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tags/tag43.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44.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charts/chart15.xml" ContentType="application/vnd.openxmlformats-officedocument.drawingml.chart+xml"/>
  <Override PartName="/ppt/charts/style6.xml" ContentType="application/vnd.ms-office.chartstyle+xml"/>
  <Override PartName="/ppt/charts/colors6.xml" ContentType="application/vnd.ms-office.chartcolorstyle+xml"/>
  <Override PartName="/ppt/charts/chart16.xml" ContentType="application/vnd.openxmlformats-officedocument.drawingml.chart+xml"/>
  <Override PartName="/ppt/charts/style7.xml" ContentType="application/vnd.ms-office.chartstyle+xml"/>
  <Override PartName="/ppt/charts/colors7.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3.xml" ContentType="application/vnd.openxmlformats-officedocument.presentationml.notesSlide+xml"/>
  <Override PartName="/ppt/charts/chart17.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2.xml" ContentType="application/vnd.openxmlformats-officedocument.drawingml.chartshapes+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4.xml" ContentType="application/vnd.openxmlformats-officedocument.drawingml.chartshapes+xml"/>
  <Override PartName="/ppt/charts/chart24.xml" ContentType="application/vnd.openxmlformats-officedocument.drawingml.chart+xml"/>
  <Override PartName="/ppt/charts/style15.xml" ContentType="application/vnd.ms-office.chartstyle+xml"/>
  <Override PartName="/ppt/charts/colors15.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4.xml" ContentType="application/vnd.openxmlformats-officedocument.presentationml.notesSlide+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911" r:id="rId5"/>
    <p:sldMasterId id="2147483919" r:id="rId6"/>
  </p:sldMasterIdLst>
  <p:notesMasterIdLst>
    <p:notesMasterId r:id="rId37"/>
  </p:notesMasterIdLst>
  <p:handoutMasterIdLst>
    <p:handoutMasterId r:id="rId38"/>
  </p:handoutMasterIdLst>
  <p:sldIdLst>
    <p:sldId id="256" r:id="rId7"/>
    <p:sldId id="2134804624" r:id="rId8"/>
    <p:sldId id="272" r:id="rId9"/>
    <p:sldId id="2783" r:id="rId10"/>
    <p:sldId id="2896" r:id="rId11"/>
    <p:sldId id="11537" r:id="rId12"/>
    <p:sldId id="11541" r:id="rId13"/>
    <p:sldId id="267" r:id="rId14"/>
    <p:sldId id="2792" r:id="rId15"/>
    <p:sldId id="2134804617" r:id="rId16"/>
    <p:sldId id="11539" r:id="rId17"/>
    <p:sldId id="2899" r:id="rId18"/>
    <p:sldId id="2908" r:id="rId19"/>
    <p:sldId id="11534" r:id="rId20"/>
    <p:sldId id="308" r:id="rId21"/>
    <p:sldId id="309" r:id="rId22"/>
    <p:sldId id="2134804625" r:id="rId23"/>
    <p:sldId id="11540" r:id="rId24"/>
    <p:sldId id="2134804622" r:id="rId25"/>
    <p:sldId id="2134804618" r:id="rId26"/>
    <p:sldId id="2895" r:id="rId27"/>
    <p:sldId id="2134804621" r:id="rId28"/>
    <p:sldId id="2887" r:id="rId29"/>
    <p:sldId id="2888" r:id="rId30"/>
    <p:sldId id="2901" r:id="rId31"/>
    <p:sldId id="2906" r:id="rId32"/>
    <p:sldId id="11542" r:id="rId33"/>
    <p:sldId id="2904" r:id="rId34"/>
    <p:sldId id="2805" r:id="rId35"/>
    <p:sldId id="311" r:id="rId36"/>
  </p:sldIdLst>
  <p:sldSz cx="12192000" cy="6858000"/>
  <p:notesSz cx="6742113" cy="9872663"/>
  <p:custDataLst>
    <p:tags r:id="rId39"/>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76"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004B"/>
    <a:srgbClr val="00B9E7"/>
    <a:srgbClr val="12ABDB"/>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88584" autoAdjust="0"/>
  </p:normalViewPr>
  <p:slideViewPr>
    <p:cSldViewPr>
      <p:cViewPr varScale="1">
        <p:scale>
          <a:sx n="116" d="100"/>
          <a:sy n="116" d="100"/>
        </p:scale>
        <p:origin x="360" y="192"/>
      </p:cViewPr>
      <p:guideLst>
        <p:guide orient="horz" pos="2376"/>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48" d="100"/>
          <a:sy n="48" d="100"/>
        </p:scale>
        <p:origin x="2684" y="5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xml"/><Relationship Id="rId1" Type="http://schemas.microsoft.com/office/2011/relationships/chartStyle" Target="style5.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6.xml"/><Relationship Id="rId1" Type="http://schemas.microsoft.com/office/2011/relationships/chartStyle" Target="style6.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7.xml"/><Relationship Id="rId1" Type="http://schemas.microsoft.com/office/2011/relationships/chartStyle" Target="style7.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4.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5.xml"/><Relationship Id="rId1" Type="http://schemas.microsoft.com/office/2011/relationships/chartStyle" Target="style1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4921933691861E-2"/>
          <c:y val="9.9750623441398747E-2"/>
          <c:w val="0.90021059581668983"/>
          <c:h val="0.82543640897754456"/>
        </c:manualLayout>
      </c:layout>
      <c:barChart>
        <c:barDir val="col"/>
        <c:grouping val="stacked"/>
        <c:varyColors val="0"/>
        <c:ser>
          <c:idx val="0"/>
          <c:order val="0"/>
          <c:tx>
            <c:strRef>
              <c:f>'WWR 2020'!$A$3</c:f>
              <c:strCache>
                <c:ptCount val="1"/>
                <c:pt idx="0">
                  <c:v>Asia-Pacific</c:v>
                </c:pt>
              </c:strCache>
            </c:strRef>
          </c:tx>
          <c:spPr>
            <a:solidFill>
              <a:schemeClr val="accent1"/>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3:$I$3</c:f>
              <c:numCache>
                <c:formatCode>0.0</c:formatCode>
                <c:ptCount val="8"/>
                <c:pt idx="0">
                  <c:v>3.68</c:v>
                </c:pt>
                <c:pt idx="1">
                  <c:v>4.32</c:v>
                </c:pt>
                <c:pt idx="2">
                  <c:v>4.6900000000000004</c:v>
                </c:pt>
                <c:pt idx="3">
                  <c:v>5.13</c:v>
                </c:pt>
                <c:pt idx="4">
                  <c:v>5.51</c:v>
                </c:pt>
                <c:pt idx="5">
                  <c:v>6.17</c:v>
                </c:pt>
                <c:pt idx="6">
                  <c:v>6.06</c:v>
                </c:pt>
                <c:pt idx="7">
                  <c:v>6.5289999999999999</c:v>
                </c:pt>
              </c:numCache>
            </c:numRef>
          </c:val>
          <c:extLst>
            <c:ext xmlns:c16="http://schemas.microsoft.com/office/drawing/2014/chart" uri="{C3380CC4-5D6E-409C-BE32-E72D297353CC}">
              <c16:uniqueId val="{00000000-06BF-4701-B1FF-CB2D76170106}"/>
            </c:ext>
          </c:extLst>
        </c:ser>
        <c:ser>
          <c:idx val="14"/>
          <c:order val="1"/>
          <c:tx>
            <c:strRef>
              <c:f>'WWR 2020'!$A$4</c:f>
              <c:strCache>
                <c:ptCount val="1"/>
                <c:pt idx="0">
                  <c:v>North America</c:v>
                </c:pt>
              </c:strCache>
            </c:strRef>
          </c:tx>
          <c:spPr>
            <a:solidFill>
              <a:schemeClr val="accent2"/>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4:$I$4</c:f>
              <c:numCache>
                <c:formatCode>0.0</c:formatCode>
                <c:ptCount val="8"/>
                <c:pt idx="0">
                  <c:v>3.73</c:v>
                </c:pt>
                <c:pt idx="1">
                  <c:v>4.33</c:v>
                </c:pt>
                <c:pt idx="2">
                  <c:v>4.68</c:v>
                </c:pt>
                <c:pt idx="3">
                  <c:v>4.78</c:v>
                </c:pt>
                <c:pt idx="4">
                  <c:v>5.15</c:v>
                </c:pt>
                <c:pt idx="5">
                  <c:v>5.66</c:v>
                </c:pt>
                <c:pt idx="6">
                  <c:v>5.68</c:v>
                </c:pt>
                <c:pt idx="7">
                  <c:v>6.3</c:v>
                </c:pt>
              </c:numCache>
            </c:numRef>
          </c:val>
          <c:extLst>
            <c:ext xmlns:c16="http://schemas.microsoft.com/office/drawing/2014/chart" uri="{C3380CC4-5D6E-409C-BE32-E72D297353CC}">
              <c16:uniqueId val="{00000001-06BF-4701-B1FF-CB2D76170106}"/>
            </c:ext>
          </c:extLst>
        </c:ser>
        <c:ser>
          <c:idx val="1"/>
          <c:order val="2"/>
          <c:tx>
            <c:strRef>
              <c:f>'WWR 2020'!$A$5</c:f>
              <c:strCache>
                <c:ptCount val="1"/>
                <c:pt idx="0">
                  <c:v>Europe</c:v>
                </c:pt>
              </c:strCache>
            </c:strRef>
          </c:tx>
          <c:spPr>
            <a:solidFill>
              <a:schemeClr val="accent3"/>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5:$I$5</c:f>
              <c:numCache>
                <c:formatCode>0.0</c:formatCode>
                <c:ptCount val="8"/>
                <c:pt idx="0">
                  <c:v>3.41</c:v>
                </c:pt>
                <c:pt idx="1">
                  <c:v>3.83</c:v>
                </c:pt>
                <c:pt idx="2">
                  <c:v>3.99</c:v>
                </c:pt>
                <c:pt idx="3">
                  <c:v>4.18</c:v>
                </c:pt>
                <c:pt idx="4">
                  <c:v>4.4960000000000004</c:v>
                </c:pt>
                <c:pt idx="5">
                  <c:v>4.82</c:v>
                </c:pt>
                <c:pt idx="6">
                  <c:v>4.8</c:v>
                </c:pt>
                <c:pt idx="7">
                  <c:v>5.2169999999999996</c:v>
                </c:pt>
              </c:numCache>
            </c:numRef>
          </c:val>
          <c:extLst>
            <c:ext xmlns:c16="http://schemas.microsoft.com/office/drawing/2014/chart" uri="{C3380CC4-5D6E-409C-BE32-E72D297353CC}">
              <c16:uniqueId val="{00000002-06BF-4701-B1FF-CB2D76170106}"/>
            </c:ext>
          </c:extLst>
        </c:ser>
        <c:ser>
          <c:idx val="3"/>
          <c:order val="3"/>
          <c:tx>
            <c:strRef>
              <c:f>'WWR 2020'!$A$6</c:f>
              <c:strCache>
                <c:ptCount val="1"/>
                <c:pt idx="0">
                  <c:v>Middle East</c:v>
                </c:pt>
              </c:strCache>
            </c:strRef>
          </c:tx>
          <c:spPr>
            <a:solidFill>
              <a:schemeClr val="accent4"/>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6:$I$6</c:f>
              <c:numCache>
                <c:formatCode>0.0</c:formatCode>
                <c:ptCount val="8"/>
                <c:pt idx="0">
                  <c:v>0.49</c:v>
                </c:pt>
                <c:pt idx="1">
                  <c:v>0.56999999999999995</c:v>
                </c:pt>
                <c:pt idx="2">
                  <c:v>0.61</c:v>
                </c:pt>
                <c:pt idx="3">
                  <c:v>0.61</c:v>
                </c:pt>
                <c:pt idx="4">
                  <c:v>0.64</c:v>
                </c:pt>
                <c:pt idx="5">
                  <c:v>0.65</c:v>
                </c:pt>
                <c:pt idx="6">
                  <c:v>0.69</c:v>
                </c:pt>
                <c:pt idx="7">
                  <c:v>0.75900000000000001</c:v>
                </c:pt>
              </c:numCache>
            </c:numRef>
          </c:val>
          <c:extLst>
            <c:ext xmlns:c16="http://schemas.microsoft.com/office/drawing/2014/chart" uri="{C3380CC4-5D6E-409C-BE32-E72D297353CC}">
              <c16:uniqueId val="{00000003-06BF-4701-B1FF-CB2D76170106}"/>
            </c:ext>
          </c:extLst>
        </c:ser>
        <c:ser>
          <c:idx val="4"/>
          <c:order val="4"/>
          <c:tx>
            <c:strRef>
              <c:f>'WWR 2020'!$A$7</c:f>
              <c:strCache>
                <c:ptCount val="1"/>
                <c:pt idx="0">
                  <c:v>Latin America</c:v>
                </c:pt>
              </c:strCache>
            </c:strRef>
          </c:tx>
          <c:spPr>
            <a:solidFill>
              <a:schemeClr val="accent5"/>
            </a:solidFill>
            <a:ln w="9525">
              <a:solidFill>
                <a:schemeClr val="accent1"/>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7:$I$7</c:f>
              <c:numCache>
                <c:formatCode>0.0</c:formatCode>
                <c:ptCount val="8"/>
                <c:pt idx="0">
                  <c:v>0.52</c:v>
                </c:pt>
                <c:pt idx="1">
                  <c:v>0.54</c:v>
                </c:pt>
                <c:pt idx="2">
                  <c:v>0.53</c:v>
                </c:pt>
                <c:pt idx="3">
                  <c:v>0.52</c:v>
                </c:pt>
                <c:pt idx="4">
                  <c:v>0.56000000000000005</c:v>
                </c:pt>
                <c:pt idx="5">
                  <c:v>0.59</c:v>
                </c:pt>
                <c:pt idx="6">
                  <c:v>0.6</c:v>
                </c:pt>
                <c:pt idx="7">
                  <c:v>0.623</c:v>
                </c:pt>
              </c:numCache>
            </c:numRef>
          </c:val>
          <c:extLst>
            <c:ext xmlns:c16="http://schemas.microsoft.com/office/drawing/2014/chart" uri="{C3380CC4-5D6E-409C-BE32-E72D297353CC}">
              <c16:uniqueId val="{00000004-06BF-4701-B1FF-CB2D76170106}"/>
            </c:ext>
          </c:extLst>
        </c:ser>
        <c:ser>
          <c:idx val="5"/>
          <c:order val="5"/>
          <c:tx>
            <c:strRef>
              <c:f>'WWR 2020'!$A$8</c:f>
              <c:strCache>
                <c:ptCount val="1"/>
                <c:pt idx="0">
                  <c:v>Africa</c:v>
                </c:pt>
              </c:strCache>
            </c:strRef>
          </c:tx>
          <c:spPr>
            <a:solidFill>
              <a:schemeClr val="accent6"/>
            </a:solidFill>
            <a:ln w="9525">
              <a:solidFill>
                <a:schemeClr val="accent1"/>
              </a:solidFill>
              <a:prstDash val="solid"/>
            </a:ln>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8:$I$8</c:f>
              <c:numCache>
                <c:formatCode>0.0</c:formatCode>
                <c:ptCount val="8"/>
                <c:pt idx="0">
                  <c:v>0.14000000000000001</c:v>
                </c:pt>
                <c:pt idx="1">
                  <c:v>0.14000000000000001</c:v>
                </c:pt>
                <c:pt idx="2">
                  <c:v>0.15</c:v>
                </c:pt>
                <c:pt idx="3">
                  <c:v>0.15</c:v>
                </c:pt>
                <c:pt idx="4">
                  <c:v>0.16</c:v>
                </c:pt>
                <c:pt idx="5">
                  <c:v>0.16</c:v>
                </c:pt>
                <c:pt idx="6">
                  <c:v>0.17</c:v>
                </c:pt>
                <c:pt idx="7">
                  <c:v>0.17599999999999999</c:v>
                </c:pt>
              </c:numCache>
            </c:numRef>
          </c:val>
          <c:extLst>
            <c:ext xmlns:c16="http://schemas.microsoft.com/office/drawing/2014/chart" uri="{C3380CC4-5D6E-409C-BE32-E72D297353CC}">
              <c16:uniqueId val="{00000005-06BF-4701-B1FF-CB2D76170106}"/>
            </c:ext>
          </c:extLst>
        </c:ser>
        <c:dLbls>
          <c:dLblPos val="ctr"/>
          <c:showLegendKey val="0"/>
          <c:showVal val="1"/>
          <c:showCatName val="0"/>
          <c:showSerName val="0"/>
          <c:showPercent val="0"/>
          <c:showBubbleSize val="0"/>
        </c:dLbls>
        <c:gapWidth val="50"/>
        <c:overlap val="100"/>
        <c:serLines>
          <c:spPr>
            <a:ln w="12636">
              <a:solidFill>
                <a:schemeClr val="accent1"/>
              </a:solidFill>
              <a:prstDash val="sysDash"/>
            </a:ln>
          </c:spPr>
        </c:serLines>
        <c:axId val="516678416"/>
        <c:axId val="516681160"/>
      </c:barChart>
      <c:catAx>
        <c:axId val="516678416"/>
        <c:scaling>
          <c:orientation val="minMax"/>
        </c:scaling>
        <c:delete val="0"/>
        <c:axPos val="b"/>
        <c:numFmt formatCode="General" sourceLinked="1"/>
        <c:majorTickMark val="out"/>
        <c:minorTickMark val="none"/>
        <c:tickLblPos val="nextTo"/>
        <c:txPr>
          <a:bodyPr rot="0" vert="horz"/>
          <a:lstStyle/>
          <a:p>
            <a:pPr>
              <a:defRPr/>
            </a:pPr>
            <a:endParaRPr lang="en-BE"/>
          </a:p>
        </c:txPr>
        <c:crossAx val="516681160"/>
        <c:crosses val="autoZero"/>
        <c:auto val="1"/>
        <c:lblAlgn val="ctr"/>
        <c:lblOffset val="100"/>
        <c:tickLblSkip val="1"/>
        <c:tickMarkSkip val="1"/>
        <c:noMultiLvlLbl val="0"/>
      </c:catAx>
      <c:valAx>
        <c:axId val="516681160"/>
        <c:scaling>
          <c:orientation val="minMax"/>
          <c:max val="20"/>
          <c:min val="0"/>
        </c:scaling>
        <c:delete val="0"/>
        <c:axPos val="l"/>
        <c:numFmt formatCode="#,##0_);[Red]\(#,##0\)" sourceLinked="0"/>
        <c:majorTickMark val="out"/>
        <c:minorTickMark val="none"/>
        <c:tickLblPos val="nextTo"/>
        <c:txPr>
          <a:bodyPr rot="0" vert="horz"/>
          <a:lstStyle/>
          <a:p>
            <a:pPr>
              <a:defRPr/>
            </a:pPr>
            <a:endParaRPr lang="en-BE"/>
          </a:p>
        </c:txPr>
        <c:crossAx val="516678416"/>
        <c:crosses val="autoZero"/>
        <c:crossBetween val="between"/>
        <c:majorUnit val="5"/>
      </c:valAx>
      <c:spPr>
        <a:noFill/>
        <a:ln w="25272">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B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4</c:v>
                </c:pt>
                <c:pt idx="1">
                  <c:v>0.13</c:v>
                </c:pt>
              </c:numCache>
            </c:numRef>
          </c:val>
          <c:extLst>
            <c:ext xmlns:c16="http://schemas.microsoft.com/office/drawing/2014/chart" uri="{C3380CC4-5D6E-409C-BE32-E72D297353CC}">
              <c16:uniqueId val="{00000000-AD86-4384-AFE3-1B149F866FD3}"/>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74-4F02-9060-806422455DE4}"/>
                </c:ext>
              </c:extLst>
            </c:dLbl>
            <c:dLbl>
              <c:idx val="1"/>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74-4F02-9060-806422455DE4}"/>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28199999999999997</c:v>
                </c:pt>
                <c:pt idx="1">
                  <c:v>0.30679353542530102</c:v>
                </c:pt>
              </c:numCache>
            </c:numRef>
          </c:val>
          <c:extLst>
            <c:ext xmlns:c16="http://schemas.microsoft.com/office/drawing/2014/chart" uri="{C3380CC4-5D6E-409C-BE32-E72D297353CC}">
              <c16:uniqueId val="{00000002-B774-4F02-9060-806422455DE4}"/>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B9-4E4F-B6FB-BED3EB678BD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10692637910774441</c:v>
                </c:pt>
                <c:pt idx="1">
                  <c:v>0.15660091874471876</c:v>
                </c:pt>
              </c:numCache>
            </c:numRef>
          </c:val>
          <c:extLst>
            <c:ext xmlns:c16="http://schemas.microsoft.com/office/drawing/2014/chart" uri="{C3380CC4-5D6E-409C-BE32-E72D297353CC}">
              <c16:uniqueId val="{00000001-52B9-4E4F-B6FB-BED3EB678BDE}"/>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extLst>
                <c:ext xmlns:c16="http://schemas.microsoft.com/office/drawing/2014/chart" uri="{C3380CC4-5D6E-409C-BE32-E72D297353CC}">
                  <c16:uniqueId val="{00000000-63C3-4F1F-B98D-45A9C96ACE7B}"/>
                </c:ext>
              </c:extLst>
            </c:dLbl>
            <c:dLbl>
              <c:idx val="1"/>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C3-4F1F-B98D-45A9C96ACE7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2021259053642602</c:v>
                </c:pt>
                <c:pt idx="1">
                  <c:v>0.13103474825157893</c:v>
                </c:pt>
              </c:numCache>
            </c:numRef>
          </c:val>
          <c:extLst>
            <c:ext xmlns:c16="http://schemas.microsoft.com/office/drawing/2014/chart" uri="{C3380CC4-5D6E-409C-BE32-E72D297353CC}">
              <c16:uniqueId val="{00000002-63C3-4F1F-B98D-45A9C96ACE7B}"/>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6</c:v>
                </c:pt>
                <c:pt idx="1">
                  <c:v>0.35</c:v>
                </c:pt>
              </c:numCache>
            </c:numRef>
          </c:val>
          <c:extLst>
            <c:ext xmlns:c16="http://schemas.microsoft.com/office/drawing/2014/chart" uri="{C3380CC4-5D6E-409C-BE32-E72D297353CC}">
              <c16:uniqueId val="{00000000-07DF-4A4B-AB7F-B81411B0511A}"/>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11</c:v>
                </c:pt>
                <c:pt idx="1">
                  <c:v>0.15</c:v>
                </c:pt>
              </c:numCache>
            </c:numRef>
          </c:val>
          <c:extLst>
            <c:ext xmlns:c16="http://schemas.microsoft.com/office/drawing/2014/chart" uri="{C3380CC4-5D6E-409C-BE32-E72D297353CC}">
              <c16:uniqueId val="{00000000-D093-475C-931E-F7763072466C}"/>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4</c:v>
                </c:pt>
                <c:pt idx="1">
                  <c:v>0.13</c:v>
                </c:pt>
              </c:numCache>
            </c:numRef>
          </c:val>
          <c:extLst>
            <c:ext xmlns:c16="http://schemas.microsoft.com/office/drawing/2014/chart" uri="{C3380CC4-5D6E-409C-BE32-E72D297353CC}">
              <c16:uniqueId val="{00000000-B3D3-4318-BE7F-FAA90F7458C0}"/>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38300000000000001</c:v>
                </c:pt>
              </c:numCache>
            </c:numRef>
          </c:val>
          <c:extLst>
            <c:ext xmlns:c16="http://schemas.microsoft.com/office/drawing/2014/chart" uri="{C3380CC4-5D6E-409C-BE32-E72D297353CC}">
              <c16:uniqueId val="{00000000-1D51-450A-9A6E-1F083C854890}"/>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61699999999999999</c:v>
                </c:pt>
              </c:numCache>
            </c:numRef>
          </c:val>
          <c:extLst>
            <c:ext xmlns:c16="http://schemas.microsoft.com/office/drawing/2014/chart" uri="{C3380CC4-5D6E-409C-BE32-E72D297353CC}">
              <c16:uniqueId val="{00000001-1D51-450A-9A6E-1F083C854890}"/>
            </c:ext>
          </c:extLst>
        </c:ser>
        <c:dLbls>
          <c:showLegendKey val="0"/>
          <c:showVal val="0"/>
          <c:showCatName val="0"/>
          <c:showSerName val="0"/>
          <c:showPercent val="0"/>
          <c:showBubbleSize val="0"/>
        </c:dLbls>
        <c:gapWidth val="37"/>
        <c:overlap val="100"/>
        <c:axId val="736391568"/>
        <c:axId val="736384512"/>
      </c:barChart>
      <c:catAx>
        <c:axId val="736391568"/>
        <c:scaling>
          <c:orientation val="minMax"/>
        </c:scaling>
        <c:delete val="1"/>
        <c:axPos val="b"/>
        <c:numFmt formatCode="General" sourceLinked="1"/>
        <c:majorTickMark val="none"/>
        <c:minorTickMark val="none"/>
        <c:tickLblPos val="nextTo"/>
        <c:crossAx val="736384512"/>
        <c:crosses val="autoZero"/>
        <c:auto val="1"/>
        <c:lblAlgn val="ctr"/>
        <c:lblOffset val="100"/>
        <c:noMultiLvlLbl val="0"/>
      </c:catAx>
      <c:valAx>
        <c:axId val="736384512"/>
        <c:scaling>
          <c:orientation val="minMax"/>
        </c:scaling>
        <c:delete val="1"/>
        <c:axPos val="l"/>
        <c:numFmt formatCode="0%" sourceLinked="1"/>
        <c:majorTickMark val="none"/>
        <c:minorTickMark val="none"/>
        <c:tickLblPos val="nextTo"/>
        <c:crossAx val="73639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54600000000000004</c:v>
                </c:pt>
              </c:numCache>
            </c:numRef>
          </c:val>
          <c:extLst>
            <c:ext xmlns:c16="http://schemas.microsoft.com/office/drawing/2014/chart" uri="{C3380CC4-5D6E-409C-BE32-E72D297353CC}">
              <c16:uniqueId val="{00000000-7955-46B8-AAAA-72359DFADCFE}"/>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45399999999999996</c:v>
                </c:pt>
              </c:numCache>
            </c:numRef>
          </c:val>
          <c:extLst>
            <c:ext xmlns:c16="http://schemas.microsoft.com/office/drawing/2014/chart" uri="{C3380CC4-5D6E-409C-BE32-E72D297353CC}">
              <c16:uniqueId val="{00000001-7955-46B8-AAAA-72359DFADCFE}"/>
            </c:ext>
          </c:extLst>
        </c:ser>
        <c:dLbls>
          <c:showLegendKey val="0"/>
          <c:showVal val="0"/>
          <c:showCatName val="0"/>
          <c:showSerName val="0"/>
          <c:showPercent val="0"/>
          <c:showBubbleSize val="0"/>
        </c:dLbls>
        <c:gapWidth val="37"/>
        <c:overlap val="100"/>
        <c:axId val="736388040"/>
        <c:axId val="736388432"/>
      </c:barChart>
      <c:catAx>
        <c:axId val="736388040"/>
        <c:scaling>
          <c:orientation val="minMax"/>
        </c:scaling>
        <c:delete val="1"/>
        <c:axPos val="b"/>
        <c:numFmt formatCode="General" sourceLinked="1"/>
        <c:majorTickMark val="none"/>
        <c:minorTickMark val="none"/>
        <c:tickLblPos val="nextTo"/>
        <c:crossAx val="736388432"/>
        <c:crosses val="autoZero"/>
        <c:auto val="1"/>
        <c:lblAlgn val="ctr"/>
        <c:lblOffset val="100"/>
        <c:noMultiLvlLbl val="0"/>
      </c:catAx>
      <c:valAx>
        <c:axId val="736388432"/>
        <c:scaling>
          <c:orientation val="minMax"/>
        </c:scaling>
        <c:delete val="1"/>
        <c:axPos val="l"/>
        <c:numFmt formatCode="0%" sourceLinked="1"/>
        <c:majorTickMark val="none"/>
        <c:minorTickMark val="none"/>
        <c:tickLblPos val="nextTo"/>
        <c:crossAx val="736388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35</c:v>
                </c:pt>
              </c:numCache>
            </c:numRef>
          </c:val>
          <c:extLst>
            <c:ext xmlns:c16="http://schemas.microsoft.com/office/drawing/2014/chart" uri="{C3380CC4-5D6E-409C-BE32-E72D297353CC}">
              <c16:uniqueId val="{00000000-ACC7-4E50-9067-C3B6C14FF4D9}"/>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65</c:v>
                </c:pt>
              </c:numCache>
            </c:numRef>
          </c:val>
          <c:extLst>
            <c:ext xmlns:c16="http://schemas.microsoft.com/office/drawing/2014/chart" uri="{C3380CC4-5D6E-409C-BE32-E72D297353CC}">
              <c16:uniqueId val="{00000001-ACC7-4E50-9067-C3B6C14FF4D9}"/>
            </c:ext>
          </c:extLst>
        </c:ser>
        <c:dLbls>
          <c:showLegendKey val="0"/>
          <c:showVal val="0"/>
          <c:showCatName val="0"/>
          <c:showSerName val="0"/>
          <c:showPercent val="0"/>
          <c:showBubbleSize val="0"/>
        </c:dLbls>
        <c:gapWidth val="37"/>
        <c:overlap val="100"/>
        <c:axId val="736392352"/>
        <c:axId val="736388824"/>
      </c:barChart>
      <c:catAx>
        <c:axId val="736392352"/>
        <c:scaling>
          <c:orientation val="minMax"/>
        </c:scaling>
        <c:delete val="1"/>
        <c:axPos val="b"/>
        <c:numFmt formatCode="General" sourceLinked="1"/>
        <c:majorTickMark val="none"/>
        <c:minorTickMark val="none"/>
        <c:tickLblPos val="nextTo"/>
        <c:crossAx val="736388824"/>
        <c:crosses val="autoZero"/>
        <c:auto val="1"/>
        <c:lblAlgn val="ctr"/>
        <c:lblOffset val="100"/>
        <c:noMultiLvlLbl val="0"/>
      </c:catAx>
      <c:valAx>
        <c:axId val="736388824"/>
        <c:scaling>
          <c:orientation val="minMax"/>
        </c:scaling>
        <c:delete val="1"/>
        <c:axPos val="l"/>
        <c:numFmt formatCode="0%" sourceLinked="1"/>
        <c:majorTickMark val="none"/>
        <c:minorTickMark val="none"/>
        <c:tickLblPos val="nextTo"/>
        <c:crossAx val="736392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4921933691861E-2"/>
          <c:y val="9.312095098071714E-2"/>
          <c:w val="0.90021059581668983"/>
          <c:h val="0.81880673781865243"/>
        </c:manualLayout>
      </c:layout>
      <c:barChart>
        <c:barDir val="col"/>
        <c:grouping val="stacked"/>
        <c:varyColors val="0"/>
        <c:ser>
          <c:idx val="0"/>
          <c:order val="0"/>
          <c:tx>
            <c:strRef>
              <c:f>Sheet1!$A$2</c:f>
              <c:strCache>
                <c:ptCount val="1"/>
                <c:pt idx="0">
                  <c:v>Asia-Pacific</c:v>
                </c:pt>
              </c:strCache>
            </c:strRef>
          </c:tx>
          <c:spPr>
            <a:solidFill>
              <a:schemeClr val="accent1"/>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2:$I$2</c:f>
              <c:numCache>
                <c:formatCode>0.0</c:formatCode>
                <c:ptCount val="8"/>
                <c:pt idx="0">
                  <c:v>12.02</c:v>
                </c:pt>
                <c:pt idx="1">
                  <c:v>14.2</c:v>
                </c:pt>
                <c:pt idx="2">
                  <c:v>15.82</c:v>
                </c:pt>
                <c:pt idx="3">
                  <c:v>17.39</c:v>
                </c:pt>
                <c:pt idx="4">
                  <c:v>18.82</c:v>
                </c:pt>
                <c:pt idx="5">
                  <c:v>21.59</c:v>
                </c:pt>
                <c:pt idx="6">
                  <c:v>20.55</c:v>
                </c:pt>
                <c:pt idx="7">
                  <c:v>22.175000000000001</c:v>
                </c:pt>
              </c:numCache>
            </c:numRef>
          </c:val>
          <c:extLst>
            <c:ext xmlns:c16="http://schemas.microsoft.com/office/drawing/2014/chart" uri="{C3380CC4-5D6E-409C-BE32-E72D297353CC}">
              <c16:uniqueId val="{00000000-89D8-4640-AF26-8B0A48611ADE}"/>
            </c:ext>
          </c:extLst>
        </c:ser>
        <c:ser>
          <c:idx val="14"/>
          <c:order val="1"/>
          <c:tx>
            <c:strRef>
              <c:f>Sheet1!$A$3</c:f>
              <c:strCache>
                <c:ptCount val="1"/>
                <c:pt idx="0">
                  <c:v>North America</c:v>
                </c:pt>
              </c:strCache>
            </c:strRef>
          </c:tx>
          <c:spPr>
            <a:solidFill>
              <a:schemeClr val="accent2"/>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3:$I$3</c:f>
              <c:numCache>
                <c:formatCode>0.0</c:formatCode>
                <c:ptCount val="8"/>
                <c:pt idx="0">
                  <c:v>12.7</c:v>
                </c:pt>
                <c:pt idx="1">
                  <c:v>14.88</c:v>
                </c:pt>
                <c:pt idx="2">
                  <c:v>16.23</c:v>
                </c:pt>
                <c:pt idx="3">
                  <c:v>16.61</c:v>
                </c:pt>
                <c:pt idx="4">
                  <c:v>17.95</c:v>
                </c:pt>
                <c:pt idx="5">
                  <c:v>19.79</c:v>
                </c:pt>
                <c:pt idx="6">
                  <c:v>19.579999999999998</c:v>
                </c:pt>
                <c:pt idx="7">
                  <c:v>21.734000000000002</c:v>
                </c:pt>
              </c:numCache>
            </c:numRef>
          </c:val>
          <c:extLst>
            <c:ext xmlns:c16="http://schemas.microsoft.com/office/drawing/2014/chart" uri="{C3380CC4-5D6E-409C-BE32-E72D297353CC}">
              <c16:uniqueId val="{00000001-89D8-4640-AF26-8B0A48611ADE}"/>
            </c:ext>
          </c:extLst>
        </c:ser>
        <c:ser>
          <c:idx val="1"/>
          <c:order val="2"/>
          <c:tx>
            <c:strRef>
              <c:f>Sheet1!$A$4</c:f>
              <c:strCache>
                <c:ptCount val="1"/>
                <c:pt idx="0">
                  <c:v>Europe</c:v>
                </c:pt>
              </c:strCache>
            </c:strRef>
          </c:tx>
          <c:spPr>
            <a:solidFill>
              <a:schemeClr val="accent3"/>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4:$I$4</c:f>
              <c:numCache>
                <c:formatCode>0.0</c:formatCode>
                <c:ptCount val="8"/>
                <c:pt idx="0">
                  <c:v>10.9</c:v>
                </c:pt>
                <c:pt idx="1">
                  <c:v>12.39</c:v>
                </c:pt>
                <c:pt idx="2">
                  <c:v>12.97</c:v>
                </c:pt>
                <c:pt idx="3">
                  <c:v>13.59</c:v>
                </c:pt>
                <c:pt idx="4">
                  <c:v>14.68</c:v>
                </c:pt>
                <c:pt idx="5">
                  <c:v>15.85</c:v>
                </c:pt>
                <c:pt idx="6">
                  <c:v>15.353999999999999</c:v>
                </c:pt>
                <c:pt idx="7">
                  <c:v>16.702999999999999</c:v>
                </c:pt>
              </c:numCache>
            </c:numRef>
          </c:val>
          <c:extLst>
            <c:ext xmlns:c16="http://schemas.microsoft.com/office/drawing/2014/chart" uri="{C3380CC4-5D6E-409C-BE32-E72D297353CC}">
              <c16:uniqueId val="{00000002-89D8-4640-AF26-8B0A48611ADE}"/>
            </c:ext>
          </c:extLst>
        </c:ser>
        <c:ser>
          <c:idx val="3"/>
          <c:order val="3"/>
          <c:tx>
            <c:strRef>
              <c:f>Sheet1!$A$5</c:f>
              <c:strCache>
                <c:ptCount val="1"/>
                <c:pt idx="0">
                  <c:v>Latin America</c:v>
                </c:pt>
              </c:strCache>
            </c:strRef>
          </c:tx>
          <c:spPr>
            <a:solidFill>
              <a:schemeClr val="accent5"/>
            </a:solidFill>
            <a:ln w="9525">
              <a:solidFill>
                <a:schemeClr val="accent1"/>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5:$I$5</c:f>
              <c:numCache>
                <c:formatCode>0.0</c:formatCode>
                <c:ptCount val="8"/>
                <c:pt idx="0">
                  <c:v>7.54</c:v>
                </c:pt>
                <c:pt idx="1">
                  <c:v>7.7</c:v>
                </c:pt>
                <c:pt idx="2">
                  <c:v>7.66</c:v>
                </c:pt>
                <c:pt idx="3">
                  <c:v>7.38</c:v>
                </c:pt>
                <c:pt idx="4">
                  <c:v>8.0399999999999991</c:v>
                </c:pt>
                <c:pt idx="5">
                  <c:v>8.74</c:v>
                </c:pt>
                <c:pt idx="6">
                  <c:v>8.43</c:v>
                </c:pt>
                <c:pt idx="7">
                  <c:v>8.8000000000000007</c:v>
                </c:pt>
              </c:numCache>
            </c:numRef>
          </c:val>
          <c:extLst>
            <c:ext xmlns:c16="http://schemas.microsoft.com/office/drawing/2014/chart" uri="{C3380CC4-5D6E-409C-BE32-E72D297353CC}">
              <c16:uniqueId val="{00000003-89D8-4640-AF26-8B0A48611ADE}"/>
            </c:ext>
          </c:extLst>
        </c:ser>
        <c:ser>
          <c:idx val="4"/>
          <c:order val="4"/>
          <c:tx>
            <c:strRef>
              <c:f>Sheet1!$A$6</c:f>
              <c:strCache>
                <c:ptCount val="1"/>
                <c:pt idx="0">
                  <c:v>Middle East</c:v>
                </c:pt>
              </c:strCache>
            </c:strRef>
          </c:tx>
          <c:spPr>
            <a:solidFill>
              <a:schemeClr val="accent4"/>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6:$I$6</c:f>
              <c:numCache>
                <c:formatCode>0.0</c:formatCode>
                <c:ptCount val="8"/>
                <c:pt idx="0">
                  <c:v>1.81</c:v>
                </c:pt>
                <c:pt idx="1">
                  <c:v>2.11</c:v>
                </c:pt>
                <c:pt idx="2">
                  <c:v>2.2799999999999998</c:v>
                </c:pt>
                <c:pt idx="3">
                  <c:v>2.2999999999999998</c:v>
                </c:pt>
                <c:pt idx="4">
                  <c:v>2.42</c:v>
                </c:pt>
                <c:pt idx="5">
                  <c:v>2.48</c:v>
                </c:pt>
                <c:pt idx="6">
                  <c:v>2.59</c:v>
                </c:pt>
                <c:pt idx="7">
                  <c:v>2.859</c:v>
                </c:pt>
              </c:numCache>
            </c:numRef>
          </c:val>
          <c:extLst>
            <c:ext xmlns:c16="http://schemas.microsoft.com/office/drawing/2014/chart" uri="{C3380CC4-5D6E-409C-BE32-E72D297353CC}">
              <c16:uniqueId val="{00000004-89D8-4640-AF26-8B0A48611ADE}"/>
            </c:ext>
          </c:extLst>
        </c:ser>
        <c:ser>
          <c:idx val="5"/>
          <c:order val="5"/>
          <c:tx>
            <c:strRef>
              <c:f>Sheet1!$A$7</c:f>
              <c:strCache>
                <c:ptCount val="1"/>
                <c:pt idx="0">
                  <c:v>Africa</c:v>
                </c:pt>
              </c:strCache>
            </c:strRef>
          </c:tx>
          <c:spPr>
            <a:solidFill>
              <a:schemeClr val="accent6"/>
            </a:solidFill>
            <a:ln w="9525">
              <a:solidFill>
                <a:schemeClr val="accent1"/>
              </a:solidFill>
              <a:prstDash val="solid"/>
            </a:ln>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7:$I$7</c:f>
              <c:numCache>
                <c:formatCode>0.0</c:formatCode>
                <c:ptCount val="8"/>
                <c:pt idx="0">
                  <c:v>1.25</c:v>
                </c:pt>
                <c:pt idx="1">
                  <c:v>1.34</c:v>
                </c:pt>
                <c:pt idx="2">
                  <c:v>1.44</c:v>
                </c:pt>
                <c:pt idx="3">
                  <c:v>1.39</c:v>
                </c:pt>
                <c:pt idx="4">
                  <c:v>1.54</c:v>
                </c:pt>
                <c:pt idx="5">
                  <c:v>1.7</c:v>
                </c:pt>
                <c:pt idx="6">
                  <c:v>1.58</c:v>
                </c:pt>
                <c:pt idx="7">
                  <c:v>1.6828799999999999</c:v>
                </c:pt>
              </c:numCache>
            </c:numRef>
          </c:val>
          <c:extLst>
            <c:ext xmlns:c16="http://schemas.microsoft.com/office/drawing/2014/chart" uri="{C3380CC4-5D6E-409C-BE32-E72D297353CC}">
              <c16:uniqueId val="{00000005-89D8-4640-AF26-8B0A48611ADE}"/>
            </c:ext>
          </c:extLst>
        </c:ser>
        <c:dLbls>
          <c:dLblPos val="ctr"/>
          <c:showLegendKey val="0"/>
          <c:showVal val="1"/>
          <c:showCatName val="0"/>
          <c:showSerName val="0"/>
          <c:showPercent val="0"/>
          <c:showBubbleSize val="0"/>
        </c:dLbls>
        <c:gapWidth val="50"/>
        <c:overlap val="100"/>
        <c:serLines>
          <c:spPr>
            <a:ln w="12636">
              <a:solidFill>
                <a:schemeClr val="accent1"/>
              </a:solidFill>
              <a:prstDash val="sysDash"/>
            </a:ln>
          </c:spPr>
        </c:serLines>
        <c:axId val="500729248"/>
        <c:axId val="500731992"/>
      </c:barChart>
      <c:catAx>
        <c:axId val="500729248"/>
        <c:scaling>
          <c:orientation val="minMax"/>
        </c:scaling>
        <c:delete val="0"/>
        <c:axPos val="b"/>
        <c:numFmt formatCode="General" sourceLinked="1"/>
        <c:majorTickMark val="out"/>
        <c:minorTickMark val="none"/>
        <c:tickLblPos val="nextTo"/>
        <c:txPr>
          <a:bodyPr rot="0" vert="horz"/>
          <a:lstStyle/>
          <a:p>
            <a:pPr>
              <a:defRPr/>
            </a:pPr>
            <a:endParaRPr lang="en-BE"/>
          </a:p>
        </c:txPr>
        <c:crossAx val="500731992"/>
        <c:crosses val="autoZero"/>
        <c:auto val="1"/>
        <c:lblAlgn val="ctr"/>
        <c:lblOffset val="100"/>
        <c:tickLblSkip val="1"/>
        <c:tickMarkSkip val="1"/>
        <c:noMultiLvlLbl val="0"/>
      </c:catAx>
      <c:valAx>
        <c:axId val="500731992"/>
        <c:scaling>
          <c:orientation val="minMax"/>
          <c:max val="75"/>
          <c:min val="0"/>
        </c:scaling>
        <c:delete val="0"/>
        <c:axPos val="l"/>
        <c:numFmt formatCode="#,##0_);[Red]\(#,##0\)" sourceLinked="0"/>
        <c:majorTickMark val="out"/>
        <c:minorTickMark val="none"/>
        <c:tickLblPos val="nextTo"/>
        <c:txPr>
          <a:bodyPr rot="0" vert="horz"/>
          <a:lstStyle/>
          <a:p>
            <a:pPr>
              <a:defRPr/>
            </a:pPr>
            <a:endParaRPr lang="en-BE"/>
          </a:p>
        </c:txPr>
        <c:crossAx val="500729248"/>
        <c:crosses val="autoZero"/>
        <c:crossBetween val="between"/>
        <c:majorUnit val="25"/>
      </c:valAx>
      <c:spPr>
        <a:noFill/>
        <a:ln w="25272">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B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03</c:v>
                </c:pt>
              </c:numCache>
            </c:numRef>
          </c:val>
          <c:extLst>
            <c:ext xmlns:c16="http://schemas.microsoft.com/office/drawing/2014/chart" uri="{C3380CC4-5D6E-409C-BE32-E72D297353CC}">
              <c16:uniqueId val="{00000000-D3B9-4148-855F-0265E8BBCF5B}"/>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97</c:v>
                </c:pt>
              </c:numCache>
            </c:numRef>
          </c:val>
          <c:extLst>
            <c:ext xmlns:c16="http://schemas.microsoft.com/office/drawing/2014/chart" uri="{C3380CC4-5D6E-409C-BE32-E72D297353CC}">
              <c16:uniqueId val="{00000001-D3B9-4148-855F-0265E8BBCF5B}"/>
            </c:ext>
          </c:extLst>
        </c:ser>
        <c:dLbls>
          <c:showLegendKey val="0"/>
          <c:showVal val="0"/>
          <c:showCatName val="0"/>
          <c:showSerName val="0"/>
          <c:showPercent val="0"/>
          <c:showBubbleSize val="0"/>
        </c:dLbls>
        <c:gapWidth val="37"/>
        <c:overlap val="100"/>
        <c:axId val="736392744"/>
        <c:axId val="736393136"/>
      </c:barChart>
      <c:catAx>
        <c:axId val="736392744"/>
        <c:scaling>
          <c:orientation val="minMax"/>
        </c:scaling>
        <c:delete val="1"/>
        <c:axPos val="b"/>
        <c:numFmt formatCode="General" sourceLinked="1"/>
        <c:majorTickMark val="none"/>
        <c:minorTickMark val="none"/>
        <c:tickLblPos val="nextTo"/>
        <c:crossAx val="736393136"/>
        <c:crosses val="autoZero"/>
        <c:auto val="1"/>
        <c:lblAlgn val="ctr"/>
        <c:lblOffset val="100"/>
        <c:noMultiLvlLbl val="0"/>
      </c:catAx>
      <c:valAx>
        <c:axId val="736393136"/>
        <c:scaling>
          <c:orientation val="minMax"/>
        </c:scaling>
        <c:delete val="1"/>
        <c:axPos val="l"/>
        <c:numFmt formatCode="0%" sourceLinked="1"/>
        <c:majorTickMark val="none"/>
        <c:minorTickMark val="none"/>
        <c:tickLblPos val="nextTo"/>
        <c:crossAx val="7363927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48299999999999998</c:v>
                </c:pt>
              </c:numCache>
            </c:numRef>
          </c:val>
          <c:extLst>
            <c:ext xmlns:c16="http://schemas.microsoft.com/office/drawing/2014/chart" uri="{C3380CC4-5D6E-409C-BE32-E72D297353CC}">
              <c16:uniqueId val="{00000000-DFAB-4D7D-99E1-D325993BC028}"/>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51700000000000002</c:v>
                </c:pt>
              </c:numCache>
            </c:numRef>
          </c:val>
          <c:extLst>
            <c:ext xmlns:c16="http://schemas.microsoft.com/office/drawing/2014/chart" uri="{C3380CC4-5D6E-409C-BE32-E72D297353CC}">
              <c16:uniqueId val="{00000001-DFAB-4D7D-99E1-D325993BC028}"/>
            </c:ext>
          </c:extLst>
        </c:ser>
        <c:dLbls>
          <c:showLegendKey val="0"/>
          <c:showVal val="0"/>
          <c:showCatName val="0"/>
          <c:showSerName val="0"/>
          <c:showPercent val="0"/>
          <c:showBubbleSize val="0"/>
        </c:dLbls>
        <c:gapWidth val="37"/>
        <c:overlap val="100"/>
        <c:axId val="736393528"/>
        <c:axId val="736394312"/>
      </c:barChart>
      <c:catAx>
        <c:axId val="736393528"/>
        <c:scaling>
          <c:orientation val="minMax"/>
        </c:scaling>
        <c:delete val="1"/>
        <c:axPos val="b"/>
        <c:numFmt formatCode="General" sourceLinked="1"/>
        <c:majorTickMark val="none"/>
        <c:minorTickMark val="none"/>
        <c:tickLblPos val="nextTo"/>
        <c:crossAx val="736394312"/>
        <c:crosses val="autoZero"/>
        <c:auto val="1"/>
        <c:lblAlgn val="ctr"/>
        <c:lblOffset val="100"/>
        <c:noMultiLvlLbl val="0"/>
      </c:catAx>
      <c:valAx>
        <c:axId val="736394312"/>
        <c:scaling>
          <c:orientation val="minMax"/>
        </c:scaling>
        <c:delete val="1"/>
        <c:axPos val="l"/>
        <c:numFmt formatCode="0%" sourceLinked="1"/>
        <c:majorTickMark val="none"/>
        <c:minorTickMark val="none"/>
        <c:tickLblPos val="nextTo"/>
        <c:crossAx val="736393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8</c:v>
                </c:pt>
              </c:numCache>
            </c:numRef>
          </c:val>
          <c:extLst>
            <c:ext xmlns:c16="http://schemas.microsoft.com/office/drawing/2014/chart" uri="{C3380CC4-5D6E-409C-BE32-E72D297353CC}">
              <c16:uniqueId val="{00000000-1148-41B3-A882-6AC0E553664B}"/>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19999999999999996</c:v>
                </c:pt>
              </c:numCache>
            </c:numRef>
          </c:val>
          <c:extLst>
            <c:ext xmlns:c16="http://schemas.microsoft.com/office/drawing/2014/chart" uri="{C3380CC4-5D6E-409C-BE32-E72D297353CC}">
              <c16:uniqueId val="{00000001-1148-41B3-A882-6AC0E553664B}"/>
            </c:ext>
          </c:extLst>
        </c:ser>
        <c:dLbls>
          <c:showLegendKey val="0"/>
          <c:showVal val="0"/>
          <c:showCatName val="0"/>
          <c:showSerName val="0"/>
          <c:showPercent val="0"/>
          <c:showBubbleSize val="0"/>
        </c:dLbls>
        <c:gapWidth val="37"/>
        <c:overlap val="100"/>
        <c:axId val="736395488"/>
        <c:axId val="736383336"/>
      </c:barChart>
      <c:catAx>
        <c:axId val="736395488"/>
        <c:scaling>
          <c:orientation val="minMax"/>
        </c:scaling>
        <c:delete val="1"/>
        <c:axPos val="b"/>
        <c:numFmt formatCode="General" sourceLinked="1"/>
        <c:majorTickMark val="none"/>
        <c:minorTickMark val="none"/>
        <c:tickLblPos val="nextTo"/>
        <c:crossAx val="736383336"/>
        <c:crosses val="autoZero"/>
        <c:auto val="1"/>
        <c:lblAlgn val="ctr"/>
        <c:lblOffset val="100"/>
        <c:noMultiLvlLbl val="0"/>
      </c:catAx>
      <c:valAx>
        <c:axId val="736383336"/>
        <c:scaling>
          <c:orientation val="minMax"/>
        </c:scaling>
        <c:delete val="1"/>
        <c:axPos val="l"/>
        <c:numFmt formatCode="0%" sourceLinked="1"/>
        <c:majorTickMark val="none"/>
        <c:minorTickMark val="none"/>
        <c:tickLblPos val="nextTo"/>
        <c:crossAx val="7363954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58499999999999996</c:v>
                </c:pt>
              </c:numCache>
            </c:numRef>
          </c:val>
          <c:extLst>
            <c:ext xmlns:c16="http://schemas.microsoft.com/office/drawing/2014/chart" uri="{C3380CC4-5D6E-409C-BE32-E72D297353CC}">
              <c16:uniqueId val="{00000000-5090-4893-96BD-33BE6F6E57B3}"/>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41500000000000004</c:v>
                </c:pt>
              </c:numCache>
            </c:numRef>
          </c:val>
          <c:extLst>
            <c:ext xmlns:c16="http://schemas.microsoft.com/office/drawing/2014/chart" uri="{C3380CC4-5D6E-409C-BE32-E72D297353CC}">
              <c16:uniqueId val="{00000001-5090-4893-96BD-33BE6F6E57B3}"/>
            </c:ext>
          </c:extLst>
        </c:ser>
        <c:dLbls>
          <c:showLegendKey val="0"/>
          <c:showVal val="0"/>
          <c:showCatName val="0"/>
          <c:showSerName val="0"/>
          <c:showPercent val="0"/>
          <c:showBubbleSize val="0"/>
        </c:dLbls>
        <c:gapWidth val="37"/>
        <c:overlap val="100"/>
        <c:axId val="736387256"/>
        <c:axId val="736405680"/>
      </c:barChart>
      <c:catAx>
        <c:axId val="736387256"/>
        <c:scaling>
          <c:orientation val="minMax"/>
        </c:scaling>
        <c:delete val="1"/>
        <c:axPos val="b"/>
        <c:numFmt formatCode="General" sourceLinked="1"/>
        <c:majorTickMark val="none"/>
        <c:minorTickMark val="none"/>
        <c:tickLblPos val="nextTo"/>
        <c:crossAx val="736405680"/>
        <c:crosses val="autoZero"/>
        <c:auto val="1"/>
        <c:lblAlgn val="ctr"/>
        <c:lblOffset val="100"/>
        <c:noMultiLvlLbl val="0"/>
      </c:catAx>
      <c:valAx>
        <c:axId val="736405680"/>
        <c:scaling>
          <c:orientation val="minMax"/>
        </c:scaling>
        <c:delete val="1"/>
        <c:axPos val="l"/>
        <c:numFmt formatCode="0%" sourceLinked="1"/>
        <c:majorTickMark val="none"/>
        <c:minorTickMark val="none"/>
        <c:tickLblPos val="nextTo"/>
        <c:crossAx val="736387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26500000000000001</c:v>
                </c:pt>
              </c:numCache>
            </c:numRef>
          </c:val>
          <c:extLst>
            <c:ext xmlns:c16="http://schemas.microsoft.com/office/drawing/2014/chart" uri="{C3380CC4-5D6E-409C-BE32-E72D297353CC}">
              <c16:uniqueId val="{00000000-09A8-482D-B80C-E414696D8B57}"/>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73499999999999999</c:v>
                </c:pt>
              </c:numCache>
            </c:numRef>
          </c:val>
          <c:extLst>
            <c:ext xmlns:c16="http://schemas.microsoft.com/office/drawing/2014/chart" uri="{C3380CC4-5D6E-409C-BE32-E72D297353CC}">
              <c16:uniqueId val="{00000001-09A8-482D-B80C-E414696D8B57}"/>
            </c:ext>
          </c:extLst>
        </c:ser>
        <c:dLbls>
          <c:showLegendKey val="0"/>
          <c:showVal val="0"/>
          <c:showCatName val="0"/>
          <c:showSerName val="0"/>
          <c:showPercent val="0"/>
          <c:showBubbleSize val="0"/>
        </c:dLbls>
        <c:gapWidth val="37"/>
        <c:overlap val="100"/>
        <c:axId val="643912376"/>
        <c:axId val="643909240"/>
      </c:barChart>
      <c:catAx>
        <c:axId val="643912376"/>
        <c:scaling>
          <c:orientation val="minMax"/>
        </c:scaling>
        <c:delete val="1"/>
        <c:axPos val="b"/>
        <c:numFmt formatCode="General" sourceLinked="1"/>
        <c:majorTickMark val="none"/>
        <c:minorTickMark val="none"/>
        <c:tickLblPos val="nextTo"/>
        <c:crossAx val="643909240"/>
        <c:crosses val="autoZero"/>
        <c:auto val="1"/>
        <c:lblAlgn val="ctr"/>
        <c:lblOffset val="100"/>
        <c:noMultiLvlLbl val="0"/>
      </c:catAx>
      <c:valAx>
        <c:axId val="643909240"/>
        <c:scaling>
          <c:orientation val="minMax"/>
        </c:scaling>
        <c:delete val="1"/>
        <c:axPos val="l"/>
        <c:numFmt formatCode="0%" sourceLinked="1"/>
        <c:majorTickMark val="none"/>
        <c:minorTickMark val="none"/>
        <c:tickLblPos val="nextTo"/>
        <c:crossAx val="64391237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FTSE</c:v>
                </c:pt>
              </c:strCache>
            </c:strRef>
          </c:tx>
          <c:spPr>
            <a:ln w="28575" cap="rnd">
              <a:solidFill>
                <a:schemeClr val="accent1"/>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B$2:$B$108</c:f>
              <c:numCache>
                <c:formatCode>0.0%</c:formatCode>
                <c:ptCount val="107"/>
                <c:pt idx="0">
                  <c:v>3.8765127921291942E-4</c:v>
                </c:pt>
                <c:pt idx="1">
                  <c:v>-1.3193978160756958E-2</c:v>
                </c:pt>
                <c:pt idx="2">
                  <c:v>-2.6027001473757139E-2</c:v>
                </c:pt>
                <c:pt idx="3">
                  <c:v>-2.0639831295899302E-2</c:v>
                </c:pt>
                <c:pt idx="4">
                  <c:v>-5.4674547748000402E-3</c:v>
                </c:pt>
                <c:pt idx="5">
                  <c:v>2.4059312004021116E-4</c:v>
                </c:pt>
                <c:pt idx="6">
                  <c:v>3.2215714267105344E-3</c:v>
                </c:pt>
                <c:pt idx="7">
                  <c:v>-1.8714825664791768E-3</c:v>
                </c:pt>
                <c:pt idx="8">
                  <c:v>-4.518332792242119E-3</c:v>
                </c:pt>
                <c:pt idx="9">
                  <c:v>2.4997268320547938E-3</c:v>
                </c:pt>
                <c:pt idx="10">
                  <c:v>7.1784332482529578E-3</c:v>
                </c:pt>
                <c:pt idx="11">
                  <c:v>-3.8365653283609635E-3</c:v>
                </c:pt>
                <c:pt idx="12">
                  <c:v>-9.5713095209799537E-3</c:v>
                </c:pt>
                <c:pt idx="13">
                  <c:v>-6.3363573949510865E-3</c:v>
                </c:pt>
                <c:pt idx="14">
                  <c:v>-1.3193978160756958E-2</c:v>
                </c:pt>
                <c:pt idx="15">
                  <c:v>-3.1681786974755433E-3</c:v>
                </c:pt>
                <c:pt idx="16">
                  <c:v>-5.8951830511101422E-3</c:v>
                </c:pt>
                <c:pt idx="17">
                  <c:v>-1.0266457817856733E-2</c:v>
                </c:pt>
                <c:pt idx="18">
                  <c:v>-4.3298138082915161E-2</c:v>
                </c:pt>
                <c:pt idx="19">
                  <c:v>-6.1865905722211623E-2</c:v>
                </c:pt>
                <c:pt idx="20">
                  <c:v>-5.8577430397877439E-2</c:v>
                </c:pt>
                <c:pt idx="21">
                  <c:v>-9.1475433470435963E-2</c:v>
                </c:pt>
                <c:pt idx="22">
                  <c:v>-0.12032297425869509</c:v>
                </c:pt>
                <c:pt idx="23">
                  <c:v>-0.11039077512449358</c:v>
                </c:pt>
                <c:pt idx="24">
                  <c:v>-0.10192896121002748</c:v>
                </c:pt>
                <c:pt idx="25">
                  <c:v>-8.8908802607080117E-2</c:v>
                </c:pt>
                <c:pt idx="26">
                  <c:v>-0.10364007015255072</c:v>
                </c:pt>
                <c:pt idx="27">
                  <c:v>-0.13609689874759112</c:v>
                </c:pt>
                <c:pt idx="28">
                  <c:v>-0.20250783355982371</c:v>
                </c:pt>
                <c:pt idx="29">
                  <c:v>-0.20325637445225808</c:v>
                </c:pt>
                <c:pt idx="30">
                  <c:v>-0.21444519272035878</c:v>
                </c:pt>
                <c:pt idx="31">
                  <c:v>-0.29986500414751616</c:v>
                </c:pt>
                <c:pt idx="32">
                  <c:v>-0.28267408690076512</c:v>
                </c:pt>
                <c:pt idx="33">
                  <c:v>-0.31141471202883841</c:v>
                </c:pt>
                <c:pt idx="34">
                  <c:v>-0.29219193872532945</c:v>
                </c:pt>
                <c:pt idx="35">
                  <c:v>-0.32083896352432295</c:v>
                </c:pt>
                <c:pt idx="36">
                  <c:v>-0.31134787336574987</c:v>
                </c:pt>
                <c:pt idx="37">
                  <c:v>-0.30610776134706474</c:v>
                </c:pt>
                <c:pt idx="38">
                  <c:v>-0.33242881390463208</c:v>
                </c:pt>
                <c:pt idx="39">
                  <c:v>-0.27199328163959391</c:v>
                </c:pt>
                <c:pt idx="40">
                  <c:v>-0.23961660717242528</c:v>
                </c:pt>
                <c:pt idx="41">
                  <c:v>-0.22257274808484684</c:v>
                </c:pt>
                <c:pt idx="42">
                  <c:v>-0.26339785563348606</c:v>
                </c:pt>
                <c:pt idx="43">
                  <c:v>-0.25625943428147235</c:v>
                </c:pt>
                <c:pt idx="44">
                  <c:v>-0.24178220592357269</c:v>
                </c:pt>
                <c:pt idx="45">
                  <c:v>-0.27084364353409307</c:v>
                </c:pt>
                <c:pt idx="46">
                  <c:v>-0.26742149101725898</c:v>
                </c:pt>
                <c:pt idx="47">
                  <c:v>-0.27607044008799508</c:v>
                </c:pt>
                <c:pt idx="48">
                  <c:v>-0.25375970744941745</c:v>
                </c:pt>
                <c:pt idx="49">
                  <c:v>-0.23743769282281746</c:v>
                </c:pt>
                <c:pt idx="50">
                  <c:v>-0.24102021909728466</c:v>
                </c:pt>
                <c:pt idx="51">
                  <c:v>-0.21896346027806557</c:v>
                </c:pt>
                <c:pt idx="52">
                  <c:v>-0.2258345269777251</c:v>
                </c:pt>
                <c:pt idx="53">
                  <c:v>-0.2517144051914515</c:v>
                </c:pt>
                <c:pt idx="54">
                  <c:v>-0.24761055044527158</c:v>
                </c:pt>
                <c:pt idx="55">
                  <c:v>-0.22640931341320791</c:v>
                </c:pt>
                <c:pt idx="56">
                  <c:v>-0.22296046446491768</c:v>
                </c:pt>
                <c:pt idx="57">
                  <c:v>-0.2459262030350623</c:v>
                </c:pt>
                <c:pt idx="58">
                  <c:v>-0.22860160846213418</c:v>
                </c:pt>
                <c:pt idx="59">
                  <c:v>-0.22111567819621736</c:v>
                </c:pt>
                <c:pt idx="60">
                  <c:v>-0.23106125829709179</c:v>
                </c:pt>
                <c:pt idx="61">
                  <c:v>-0.21841543537489683</c:v>
                </c:pt>
                <c:pt idx="62">
                  <c:v>-0.20348365197383778</c:v>
                </c:pt>
                <c:pt idx="63">
                  <c:v>-0.18252307329634943</c:v>
                </c:pt>
                <c:pt idx="64">
                  <c:v>-0.21114333669670604</c:v>
                </c:pt>
                <c:pt idx="65">
                  <c:v>-0.22960418840846231</c:v>
                </c:pt>
                <c:pt idx="66">
                  <c:v>-0.23084742670936576</c:v>
                </c:pt>
                <c:pt idx="67">
                  <c:v>-0.21806786136013567</c:v>
                </c:pt>
                <c:pt idx="68">
                  <c:v>-0.21747969409165724</c:v>
                </c:pt>
                <c:pt idx="69">
                  <c:v>-0.20649139181282217</c:v>
                </c:pt>
                <c:pt idx="70">
                  <c:v>-0.2059967596388883</c:v>
                </c:pt>
                <c:pt idx="71">
                  <c:v>-0.19863119110068816</c:v>
                </c:pt>
                <c:pt idx="72">
                  <c:v>-0.21075568541749323</c:v>
                </c:pt>
                <c:pt idx="73">
                  <c:v>-0.23249163175426524</c:v>
                </c:pt>
                <c:pt idx="74">
                  <c:v>-0.22469826970521989</c:v>
                </c:pt>
                <c:pt idx="75">
                  <c:v>-0.19143931178490448</c:v>
                </c:pt>
                <c:pt idx="76">
                  <c:v>-0.19764192675282044</c:v>
                </c:pt>
                <c:pt idx="77">
                  <c:v>-0.18895290055130998</c:v>
                </c:pt>
                <c:pt idx="78">
                  <c:v>-0.19589080591405794</c:v>
                </c:pt>
                <c:pt idx="79">
                  <c:v>-0.1988317070899539</c:v>
                </c:pt>
                <c:pt idx="80">
                  <c:v>-0.18887274628976103</c:v>
                </c:pt>
                <c:pt idx="81">
                  <c:v>-0.17864643083721399</c:v>
                </c:pt>
                <c:pt idx="82">
                  <c:v>-0.16868747003702111</c:v>
                </c:pt>
                <c:pt idx="83">
                  <c:v>-0.18769634665194601</c:v>
                </c:pt>
                <c:pt idx="84">
                  <c:v>-0.17569214896199969</c:v>
                </c:pt>
                <c:pt idx="85">
                  <c:v>-0.16851365034553434</c:v>
                </c:pt>
                <c:pt idx="86">
                  <c:v>-0.14681784650774932</c:v>
                </c:pt>
                <c:pt idx="87">
                  <c:v>-0.15229861688100976</c:v>
                </c:pt>
                <c:pt idx="88">
                  <c:v>-0.13319613993700496</c:v>
                </c:pt>
                <c:pt idx="89">
                  <c:v>-0.13476012548582028</c:v>
                </c:pt>
                <c:pt idx="90">
                  <c:v>-0.15306053847276258</c:v>
                </c:pt>
                <c:pt idx="91">
                  <c:v>-0.15394282179223207</c:v>
                </c:pt>
                <c:pt idx="92">
                  <c:v>-0.18768296595262768</c:v>
                </c:pt>
                <c:pt idx="93">
                  <c:v>-0.18387316215658067</c:v>
                </c:pt>
                <c:pt idx="94">
                  <c:v>-0.18928709386675269</c:v>
                </c:pt>
                <c:pt idx="95">
                  <c:v>-0.1654792142087711</c:v>
                </c:pt>
                <c:pt idx="96">
                  <c:v>-0.16407560228391171</c:v>
                </c:pt>
                <c:pt idx="97">
                  <c:v>-0.167978941040826</c:v>
                </c:pt>
                <c:pt idx="98">
                  <c:v>-0.15882204419769563</c:v>
                </c:pt>
                <c:pt idx="99">
                  <c:v>-0.16523855585419578</c:v>
                </c:pt>
                <c:pt idx="100">
                  <c:v>-0.15514591772782582</c:v>
                </c:pt>
                <c:pt idx="101">
                  <c:v>-0.18140013162230462</c:v>
                </c:pt>
                <c:pt idx="102">
                  <c:v>-0.17827209515646159</c:v>
                </c:pt>
                <c:pt idx="103">
                  <c:v>-0.17664127094455773</c:v>
                </c:pt>
                <c:pt idx="104">
                  <c:v>-0.16775172875378153</c:v>
                </c:pt>
              </c:numCache>
            </c:numRef>
          </c:val>
          <c:smooth val="0"/>
          <c:extLst>
            <c:ext xmlns:c16="http://schemas.microsoft.com/office/drawing/2014/chart" uri="{C3380CC4-5D6E-409C-BE32-E72D297353CC}">
              <c16:uniqueId val="{00000000-E014-445E-B3AF-021C5D05E3BB}"/>
            </c:ext>
          </c:extLst>
        </c:ser>
        <c:ser>
          <c:idx val="1"/>
          <c:order val="1"/>
          <c:tx>
            <c:strRef>
              <c:f>Sheet1!$C$1</c:f>
              <c:strCache>
                <c:ptCount val="1"/>
                <c:pt idx="0">
                  <c:v>Nikkei 225</c:v>
                </c:pt>
              </c:strCache>
            </c:strRef>
          </c:tx>
          <c:spPr>
            <a:ln w="28575" cap="rnd">
              <a:solidFill>
                <a:schemeClr val="accent2"/>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C$2:$C$108</c:f>
              <c:numCache>
                <c:formatCode>0.0%</c:formatCode>
                <c:ptCount val="107"/>
                <c:pt idx="0">
                  <c:v>-1.0051214346795789E-2</c:v>
                </c:pt>
                <c:pt idx="1">
                  <c:v>-5.1966778806010749E-3</c:v>
                </c:pt>
                <c:pt idx="2">
                  <c:v>4.9291089548921807E-3</c:v>
                </c:pt>
                <c:pt idx="3">
                  <c:v>2.8804351657128135E-2</c:v>
                </c:pt>
                <c:pt idx="4">
                  <c:v>2.6838869139292454E-2</c:v>
                </c:pt>
                <c:pt idx="5">
                  <c:v>2.0719545699042108E-2</c:v>
                </c:pt>
                <c:pt idx="6">
                  <c:v>2.8270897222969937E-2</c:v>
                </c:pt>
                <c:pt idx="7">
                  <c:v>2.6828095682531305E-2</c:v>
                </c:pt>
                <c:pt idx="8">
                  <c:v>2.0788899826940987E-2</c:v>
                </c:pt>
                <c:pt idx="9">
                  <c:v>1.3706446158849417E-2</c:v>
                </c:pt>
                <c:pt idx="10">
                  <c:v>-4.9036065020791053E-4</c:v>
                </c:pt>
                <c:pt idx="11">
                  <c:v>8.4256848526411687E-3</c:v>
                </c:pt>
                <c:pt idx="12">
                  <c:v>1.1806446090209644E-2</c:v>
                </c:pt>
                <c:pt idx="13">
                  <c:v>7.8241387673412266E-3</c:v>
                </c:pt>
                <c:pt idx="14">
                  <c:v>-2.5846364478278705E-2</c:v>
                </c:pt>
                <c:pt idx="15">
                  <c:v>-3.3569670456067957E-2</c:v>
                </c:pt>
                <c:pt idx="16">
                  <c:v>-5.4166752246697869E-2</c:v>
                </c:pt>
                <c:pt idx="17">
                  <c:v>-8.8868898139428221E-2</c:v>
                </c:pt>
                <c:pt idx="18">
                  <c:v>-8.0201904705026861E-2</c:v>
                </c:pt>
                <c:pt idx="19">
                  <c:v>-9.1464459553294297E-2</c:v>
                </c:pt>
                <c:pt idx="20">
                  <c:v>-9.0717640169302838E-2</c:v>
                </c:pt>
                <c:pt idx="21">
                  <c:v>-8.0846628736521264E-2</c:v>
                </c:pt>
                <c:pt idx="22">
                  <c:v>-0.10581386229341572</c:v>
                </c:pt>
                <c:pt idx="23">
                  <c:v>-0.15110505366236238</c:v>
                </c:pt>
                <c:pt idx="24">
                  <c:v>-0.14384980387487356</c:v>
                </c:pt>
                <c:pt idx="25">
                  <c:v>-0.16328764491142689</c:v>
                </c:pt>
                <c:pt idx="26">
                  <c:v>-0.20019447776146004</c:v>
                </c:pt>
                <c:pt idx="27">
                  <c:v>-0.24882931244811479</c:v>
                </c:pt>
                <c:pt idx="28">
                  <c:v>-0.26731706922346332</c:v>
                </c:pt>
                <c:pt idx="29">
                  <c:v>-0.26690809872085997</c:v>
                </c:pt>
                <c:pt idx="30">
                  <c:v>-0.27918891360062448</c:v>
                </c:pt>
                <c:pt idx="31">
                  <c:v>-0.28667520352967157</c:v>
                </c:pt>
                <c:pt idx="32">
                  <c:v>-0.27224095981755703</c:v>
                </c:pt>
                <c:pt idx="33">
                  <c:v>-0.22033141512987187</c:v>
                </c:pt>
                <c:pt idx="34">
                  <c:v>-0.15766087046901556</c:v>
                </c:pt>
                <c:pt idx="35">
                  <c:v>-0.1956709726039334</c:v>
                </c:pt>
                <c:pt idx="36">
                  <c:v>-0.1644352705432065</c:v>
                </c:pt>
                <c:pt idx="37">
                  <c:v>-0.17755557338479344</c:v>
                </c:pt>
                <c:pt idx="38">
                  <c:v>-0.18479365295402239</c:v>
                </c:pt>
                <c:pt idx="39">
                  <c:v>-0.22149233925811429</c:v>
                </c:pt>
                <c:pt idx="40">
                  <c:v>-0.23212313187927947</c:v>
                </c:pt>
                <c:pt idx="41">
                  <c:v>-0.23205983782080852</c:v>
                </c:pt>
                <c:pt idx="42">
                  <c:v>-0.19947610702595475</c:v>
                </c:pt>
                <c:pt idx="43">
                  <c:v>-0.18336423407229074</c:v>
                </c:pt>
                <c:pt idx="44">
                  <c:v>-0.16599481261469984</c:v>
                </c:pt>
                <c:pt idx="45">
                  <c:v>-0.16631675379767907</c:v>
                </c:pt>
                <c:pt idx="46">
                  <c:v>-0.15973501338224161</c:v>
                </c:pt>
                <c:pt idx="47">
                  <c:v>-0.17934699722028724</c:v>
                </c:pt>
                <c:pt idx="48">
                  <c:v>-0.15368849493737213</c:v>
                </c:pt>
                <c:pt idx="49">
                  <c:v>-0.15751180956767785</c:v>
                </c:pt>
                <c:pt idx="50">
                  <c:v>-0.16871149121178919</c:v>
                </c:pt>
                <c:pt idx="51">
                  <c:v>-0.14255092899412503</c:v>
                </c:pt>
                <c:pt idx="52">
                  <c:v>-0.15238238162958895</c:v>
                </c:pt>
                <c:pt idx="53">
                  <c:v>-0.16911743170122528</c:v>
                </c:pt>
                <c:pt idx="54">
                  <c:v>-0.17527252637924073</c:v>
                </c:pt>
                <c:pt idx="55">
                  <c:v>-0.16271109665022476</c:v>
                </c:pt>
                <c:pt idx="56">
                  <c:v>-0.16992670347815153</c:v>
                </c:pt>
                <c:pt idx="57">
                  <c:v>-0.1474653086513088</c:v>
                </c:pt>
                <c:pt idx="58">
                  <c:v>-0.1479837812579321</c:v>
                </c:pt>
                <c:pt idx="59">
                  <c:v>-0.12977663933183503</c:v>
                </c:pt>
                <c:pt idx="60">
                  <c:v>-0.15452714123365852</c:v>
                </c:pt>
                <c:pt idx="61">
                  <c:v>-0.15213888470019754</c:v>
                </c:pt>
                <c:pt idx="62">
                  <c:v>-0.13040579235699135</c:v>
                </c:pt>
                <c:pt idx="63">
                  <c:v>-0.12128841792401457</c:v>
                </c:pt>
                <c:pt idx="64">
                  <c:v>-0.12233041317357118</c:v>
                </c:pt>
                <c:pt idx="65">
                  <c:v>-0.12661521895128358</c:v>
                </c:pt>
                <c:pt idx="66">
                  <c:v>-0.1417959453553187</c:v>
                </c:pt>
                <c:pt idx="67">
                  <c:v>-0.13650870312536756</c:v>
                </c:pt>
                <c:pt idx="68">
                  <c:v>-0.1323605014180661</c:v>
                </c:pt>
                <c:pt idx="69">
                  <c:v>-0.11944447344371723</c:v>
                </c:pt>
                <c:pt idx="70">
                  <c:v>-0.11247615110473441</c:v>
                </c:pt>
                <c:pt idx="71">
                  <c:v>-0.11432228393266297</c:v>
                </c:pt>
                <c:pt idx="72">
                  <c:v>-0.12139615249162461</c:v>
                </c:pt>
                <c:pt idx="73">
                  <c:v>-0.10616290544278595</c:v>
                </c:pt>
                <c:pt idx="74">
                  <c:v>-8.3343882357443055E-2</c:v>
                </c:pt>
                <c:pt idx="75">
                  <c:v>-7.6963386752982643E-2</c:v>
                </c:pt>
                <c:pt idx="76">
                  <c:v>-5.5542303844624219E-2</c:v>
                </c:pt>
                <c:pt idx="77">
                  <c:v>-5.5542303844624219E-2</c:v>
                </c:pt>
                <c:pt idx="78">
                  <c:v>-5.7197965318336874E-2</c:v>
                </c:pt>
                <c:pt idx="79">
                  <c:v>-5.5542303844624219E-2</c:v>
                </c:pt>
                <c:pt idx="80">
                  <c:v>-5.7197965318336874E-2</c:v>
                </c:pt>
                <c:pt idx="81">
                  <c:v>-5.5542303844624219E-2</c:v>
                </c:pt>
                <c:pt idx="82">
                  <c:v>-5.7197965318336874E-2</c:v>
                </c:pt>
                <c:pt idx="83">
                  <c:v>-4.9247154228715839E-2</c:v>
                </c:pt>
                <c:pt idx="84">
                  <c:v>-3.7904050941473533E-2</c:v>
                </c:pt>
                <c:pt idx="85">
                  <c:v>-2.5486547829053907E-2</c:v>
                </c:pt>
                <c:pt idx="86">
                  <c:v>-2.1953695720074218E-2</c:v>
                </c:pt>
                <c:pt idx="87">
                  <c:v>-1.471435358790063E-2</c:v>
                </c:pt>
                <c:pt idx="88">
                  <c:v>-1.1669842407643349E-3</c:v>
                </c:pt>
                <c:pt idx="89">
                  <c:v>-4.9191772067608275E-3</c:v>
                </c:pt>
                <c:pt idx="90">
                  <c:v>-3.4574379547464007E-3</c:v>
                </c:pt>
                <c:pt idx="91">
                  <c:v>-3.1556296561610964E-2</c:v>
                </c:pt>
                <c:pt idx="92">
                  <c:v>-3.877148253522289E-2</c:v>
                </c:pt>
                <c:pt idx="93">
                  <c:v>-7.2148998262908992E-2</c:v>
                </c:pt>
                <c:pt idx="94">
                  <c:v>-2.6846107566327215E-2</c:v>
                </c:pt>
                <c:pt idx="95">
                  <c:v>-3.2295372502008535E-2</c:v>
                </c:pt>
                <c:pt idx="96">
                  <c:v>-3.6617632848558013E-2</c:v>
                </c:pt>
                <c:pt idx="97">
                  <c:v>-3.1302951960145098E-2</c:v>
                </c:pt>
                <c:pt idx="98">
                  <c:v>-3.3092187491101543E-2</c:v>
                </c:pt>
                <c:pt idx="99">
                  <c:v>-2.8275105636837661E-2</c:v>
                </c:pt>
                <c:pt idx="100">
                  <c:v>-2.8909897877107071E-2</c:v>
                </c:pt>
                <c:pt idx="101">
                  <c:v>-4.0740500082784847E-2</c:v>
                </c:pt>
                <c:pt idx="102">
                  <c:v>-2.9868314717615418E-2</c:v>
                </c:pt>
                <c:pt idx="103">
                  <c:v>-5.2149590792688216E-2</c:v>
                </c:pt>
                <c:pt idx="104">
                  <c:v>-3.951872277352908E-2</c:v>
                </c:pt>
              </c:numCache>
            </c:numRef>
          </c:val>
          <c:smooth val="0"/>
          <c:extLst>
            <c:ext xmlns:c16="http://schemas.microsoft.com/office/drawing/2014/chart" uri="{C3380CC4-5D6E-409C-BE32-E72D297353CC}">
              <c16:uniqueId val="{00000001-E014-445E-B3AF-021C5D05E3BB}"/>
            </c:ext>
          </c:extLst>
        </c:ser>
        <c:ser>
          <c:idx val="2"/>
          <c:order val="2"/>
          <c:tx>
            <c:strRef>
              <c:f>Sheet1!$D$1</c:f>
              <c:strCache>
                <c:ptCount val="1"/>
                <c:pt idx="0">
                  <c:v>Shanghai Stock Exchange</c:v>
                </c:pt>
              </c:strCache>
            </c:strRef>
          </c:tx>
          <c:spPr>
            <a:ln w="28575" cap="rnd">
              <a:solidFill>
                <a:schemeClr val="accent3"/>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D$2:$D$108</c:f>
              <c:numCache>
                <c:formatCode>0.0%</c:formatCode>
                <c:ptCount val="107"/>
                <c:pt idx="0">
                  <c:v>1.7182614905178584E-2</c:v>
                </c:pt>
                <c:pt idx="1">
                  <c:v>2.053593508734175E-2</c:v>
                </c:pt>
                <c:pt idx="2">
                  <c:v>2.5691230650123131E-2</c:v>
                </c:pt>
                <c:pt idx="3">
                  <c:v>2.9659128541353219E-2</c:v>
                </c:pt>
                <c:pt idx="4">
                  <c:v>3.861165414588541E-2</c:v>
                </c:pt>
                <c:pt idx="5">
                  <c:v>3.1221909111137647E-2</c:v>
                </c:pt>
                <c:pt idx="6">
                  <c:v>3.5101873974873854E-2</c:v>
                </c:pt>
                <c:pt idx="7">
                  <c:v>5.8739892225738943E-2</c:v>
                </c:pt>
                <c:pt idx="8">
                  <c:v>5.9218888641823453E-2</c:v>
                </c:pt>
                <c:pt idx="9">
                  <c:v>5.5823031461299299E-2</c:v>
                </c:pt>
                <c:pt idx="10">
                  <c:v>7.5251791357276776E-2</c:v>
                </c:pt>
                <c:pt idx="11">
                  <c:v>7.8628155888130102E-2</c:v>
                </c:pt>
                <c:pt idx="12">
                  <c:v>7.563462434252366E-2</c:v>
                </c:pt>
                <c:pt idx="13">
                  <c:v>6.9182426361733329E-2</c:v>
                </c:pt>
                <c:pt idx="14">
                  <c:v>6.0268192678593735E-2</c:v>
                </c:pt>
                <c:pt idx="15">
                  <c:v>6.1475082999815411E-2</c:v>
                </c:pt>
                <c:pt idx="16">
                  <c:v>2.2077403688755215E-2</c:v>
                </c:pt>
                <c:pt idx="17">
                  <c:v>5.4236426581345309E-2</c:v>
                </c:pt>
                <c:pt idx="18">
                  <c:v>6.2031096531190322E-2</c:v>
                </c:pt>
                <c:pt idx="19">
                  <c:v>6.8691301509162139E-2</c:v>
                </c:pt>
                <c:pt idx="20">
                  <c:v>8.9986232086612938E-2</c:v>
                </c:pt>
                <c:pt idx="21">
                  <c:v>7.6797851369781789E-2</c:v>
                </c:pt>
                <c:pt idx="22">
                  <c:v>4.4428396076593435E-2</c:v>
                </c:pt>
                <c:pt idx="23">
                  <c:v>6.3402590306222528E-2</c:v>
                </c:pt>
                <c:pt idx="24">
                  <c:v>5.3379881969053855E-2</c:v>
                </c:pt>
                <c:pt idx="25">
                  <c:v>3.7400605331226799E-2</c:v>
                </c:pt>
                <c:pt idx="26">
                  <c:v>2.4605020738155403E-2</c:v>
                </c:pt>
                <c:pt idx="27">
                  <c:v>-1.0231755046422042E-2</c:v>
                </c:pt>
                <c:pt idx="28">
                  <c:v>-1.364285979964841E-2</c:v>
                </c:pt>
                <c:pt idx="29">
                  <c:v>-3.1699432542645289E-2</c:v>
                </c:pt>
                <c:pt idx="30">
                  <c:v>-4.1147761349221934E-2</c:v>
                </c:pt>
                <c:pt idx="31">
                  <c:v>-2.5716008088833564E-2</c:v>
                </c:pt>
                <c:pt idx="32">
                  <c:v>-5.6037276021211224E-2</c:v>
                </c:pt>
                <c:pt idx="33">
                  <c:v>-3.3941419394857286E-2</c:v>
                </c:pt>
                <c:pt idx="34">
                  <c:v>-1.2950918641167375E-2</c:v>
                </c:pt>
                <c:pt idx="35">
                  <c:v>-1.8869887688680254E-2</c:v>
                </c:pt>
                <c:pt idx="36">
                  <c:v>-1.628232041539257E-2</c:v>
                </c:pt>
                <c:pt idx="37">
                  <c:v>-2.5149598856141653E-2</c:v>
                </c:pt>
                <c:pt idx="38">
                  <c:v>-2.4056025085840815E-2</c:v>
                </c:pt>
                <c:pt idx="39">
                  <c:v>-2.9653410834658778E-2</c:v>
                </c:pt>
                <c:pt idx="40">
                  <c:v>-1.3289135558760323E-2</c:v>
                </c:pt>
                <c:pt idx="41">
                  <c:v>-1.919770855010583E-2</c:v>
                </c:pt>
                <c:pt idx="42">
                  <c:v>9.49242217939128E-4</c:v>
                </c:pt>
                <c:pt idx="43">
                  <c:v>-9.648368344662428E-4</c:v>
                </c:pt>
                <c:pt idx="44">
                  <c:v>2.7735692790002986E-3</c:v>
                </c:pt>
                <c:pt idx="45">
                  <c:v>-7.6139523783220753E-3</c:v>
                </c:pt>
                <c:pt idx="46">
                  <c:v>-1.243389005428297E-2</c:v>
                </c:pt>
                <c:pt idx="47">
                  <c:v>3.2628748128706864E-3</c:v>
                </c:pt>
                <c:pt idx="48">
                  <c:v>-2.4533723813514596E-3</c:v>
                </c:pt>
                <c:pt idx="49">
                  <c:v>6.5546855578890728E-4</c:v>
                </c:pt>
                <c:pt idx="50">
                  <c:v>7.2415150943920814E-3</c:v>
                </c:pt>
                <c:pt idx="51">
                  <c:v>1.2229954967007739E-2</c:v>
                </c:pt>
                <c:pt idx="52">
                  <c:v>3.167058071007478E-3</c:v>
                </c:pt>
                <c:pt idx="53">
                  <c:v>9.1878216725214124E-3</c:v>
                </c:pt>
                <c:pt idx="54">
                  <c:v>7.2429011405874544E-3</c:v>
                </c:pt>
                <c:pt idx="55">
                  <c:v>-3.3919587925300698E-3</c:v>
                </c:pt>
                <c:pt idx="56">
                  <c:v>-9.2004724489980205E-4</c:v>
                </c:pt>
                <c:pt idx="57">
                  <c:v>-2.8615023064942902E-3</c:v>
                </c:pt>
                <c:pt idx="58">
                  <c:v>1.5450206552836132E-3</c:v>
                </c:pt>
                <c:pt idx="59">
                  <c:v>1.4901643108476081E-2</c:v>
                </c:pt>
                <c:pt idx="60">
                  <c:v>2.1309485127055661E-2</c:v>
                </c:pt>
                <c:pt idx="61">
                  <c:v>1.8961458998725034E-2</c:v>
                </c:pt>
                <c:pt idx="62">
                  <c:v>2.7412983550554548E-2</c:v>
                </c:pt>
                <c:pt idx="63">
                  <c:v>2.7221350421678503E-2</c:v>
                </c:pt>
                <c:pt idx="64">
                  <c:v>2.6070165247376043E-2</c:v>
                </c:pt>
                <c:pt idx="65">
                  <c:v>2.8374614665274134E-2</c:v>
                </c:pt>
                <c:pt idx="66">
                  <c:v>1.8542413161378501E-2</c:v>
                </c:pt>
                <c:pt idx="67">
                  <c:v>1.7874209374685535E-2</c:v>
                </c:pt>
                <c:pt idx="68">
                  <c:v>2.0343608935367907E-2</c:v>
                </c:pt>
                <c:pt idx="69">
                  <c:v>2.8561223110553424E-2</c:v>
                </c:pt>
                <c:pt idx="70">
                  <c:v>2.329598952880918E-2</c:v>
                </c:pt>
                <c:pt idx="71">
                  <c:v>1.7684395564510069E-2</c:v>
                </c:pt>
                <c:pt idx="72">
                  <c:v>-1.5340181595493441E-3</c:v>
                </c:pt>
                <c:pt idx="73">
                  <c:v>-4.184397526307837E-5</c:v>
                </c:pt>
                <c:pt idx="74">
                  <c:v>1.0098772323918093E-2</c:v>
                </c:pt>
                <c:pt idx="75">
                  <c:v>6.6414053513987881E-3</c:v>
                </c:pt>
                <c:pt idx="76">
                  <c:v>9.9833767037040833E-3</c:v>
                </c:pt>
                <c:pt idx="77">
                  <c:v>1.2158308869437695E-2</c:v>
                </c:pt>
                <c:pt idx="78">
                  <c:v>9.9833767037040833E-3</c:v>
                </c:pt>
                <c:pt idx="79">
                  <c:v>1.2158308869437695E-2</c:v>
                </c:pt>
                <c:pt idx="80">
                  <c:v>9.9833767037040833E-3</c:v>
                </c:pt>
                <c:pt idx="81">
                  <c:v>1.2158308869437695E-2</c:v>
                </c:pt>
                <c:pt idx="82">
                  <c:v>9.9833767037040833E-3</c:v>
                </c:pt>
                <c:pt idx="83">
                  <c:v>1.2158308869437695E-2</c:v>
                </c:pt>
                <c:pt idx="84">
                  <c:v>9.9833767037040833E-3</c:v>
                </c:pt>
                <c:pt idx="85">
                  <c:v>1.2158308869437695E-2</c:v>
                </c:pt>
                <c:pt idx="86">
                  <c:v>3.4542221806097562E-2</c:v>
                </c:pt>
                <c:pt idx="87">
                  <c:v>3.6659629506211155E-2</c:v>
                </c:pt>
                <c:pt idx="88">
                  <c:v>3.7359801068035603E-2</c:v>
                </c:pt>
                <c:pt idx="89">
                  <c:v>3.5897775340180127E-2</c:v>
                </c:pt>
                <c:pt idx="90">
                  <c:v>3.9995623046378492E-2</c:v>
                </c:pt>
                <c:pt idx="91">
                  <c:v>4.2469614018152635E-2</c:v>
                </c:pt>
                <c:pt idx="92">
                  <c:v>4.8977950773217982E-2</c:v>
                </c:pt>
                <c:pt idx="93">
                  <c:v>4.4592306507306168E-2</c:v>
                </c:pt>
                <c:pt idx="94">
                  <c:v>3.6481857903841952E-2</c:v>
                </c:pt>
                <c:pt idx="95">
                  <c:v>3.6071648554555358E-2</c:v>
                </c:pt>
                <c:pt idx="96">
                  <c:v>2.5528706265605994E-2</c:v>
                </c:pt>
                <c:pt idx="97">
                  <c:v>4.0333060357342854E-2</c:v>
                </c:pt>
                <c:pt idx="98">
                  <c:v>4.179508608519833E-2</c:v>
                </c:pt>
                <c:pt idx="99">
                  <c:v>4.3019303048415836E-2</c:v>
                </c:pt>
                <c:pt idx="100">
                  <c:v>5.3065056089125262E-2</c:v>
                </c:pt>
                <c:pt idx="101">
                  <c:v>5.2228350460627793E-2</c:v>
                </c:pt>
                <c:pt idx="102">
                  <c:v>5.4126142228258844E-2</c:v>
                </c:pt>
                <c:pt idx="103">
                  <c:v>5.7295279723410086E-2</c:v>
                </c:pt>
                <c:pt idx="104">
                  <c:v>5.0895581524643019E-2</c:v>
                </c:pt>
              </c:numCache>
            </c:numRef>
          </c:val>
          <c:smooth val="0"/>
          <c:extLst>
            <c:ext xmlns:c16="http://schemas.microsoft.com/office/drawing/2014/chart" uri="{C3380CC4-5D6E-409C-BE32-E72D297353CC}">
              <c16:uniqueId val="{00000002-E014-445E-B3AF-021C5D05E3BB}"/>
            </c:ext>
          </c:extLst>
        </c:ser>
        <c:ser>
          <c:idx val="3"/>
          <c:order val="3"/>
          <c:tx>
            <c:strRef>
              <c:f>Sheet1!$E$1</c:f>
              <c:strCache>
                <c:ptCount val="1"/>
                <c:pt idx="0">
                  <c:v>Hang Seng</c:v>
                </c:pt>
              </c:strCache>
            </c:strRef>
          </c:tx>
          <c:spPr>
            <a:ln w="28575" cap="rnd">
              <a:solidFill>
                <a:schemeClr val="accent4"/>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E$2:$E$106</c:f>
              <c:numCache>
                <c:formatCode>0.0%</c:formatCode>
                <c:ptCount val="105"/>
                <c:pt idx="0">
                  <c:v>-2.6196004197900913E-2</c:v>
                </c:pt>
                <c:pt idx="1">
                  <c:v>-3.1221660660323169E-2</c:v>
                </c:pt>
                <c:pt idx="2">
                  <c:v>-2.9588796894005287E-2</c:v>
                </c:pt>
                <c:pt idx="3">
                  <c:v>-1.7843856150322357E-2</c:v>
                </c:pt>
                <c:pt idx="4">
                  <c:v>-1.3765903558757286E-2</c:v>
                </c:pt>
                <c:pt idx="5">
                  <c:v>1.2262909566757463E-2</c:v>
                </c:pt>
                <c:pt idx="6">
                  <c:v>8.9702876661743591E-3</c:v>
                </c:pt>
                <c:pt idx="7">
                  <c:v>2.9715430918737518E-3</c:v>
                </c:pt>
                <c:pt idx="8">
                  <c:v>1.5583216833115365E-2</c:v>
                </c:pt>
                <c:pt idx="9">
                  <c:v>2.4411410045738879E-2</c:v>
                </c:pt>
                <c:pt idx="10">
                  <c:v>2.0963030790992487E-2</c:v>
                </c:pt>
                <c:pt idx="11">
                  <c:v>2.411463685803783E-2</c:v>
                </c:pt>
                <c:pt idx="12">
                  <c:v>2.9416428290922836E-2</c:v>
                </c:pt>
                <c:pt idx="13">
                  <c:v>1.3606766423009509E-2</c:v>
                </c:pt>
                <c:pt idx="14">
                  <c:v>1.8231523802618721E-2</c:v>
                </c:pt>
                <c:pt idx="15">
                  <c:v>1.6513949890504032E-2</c:v>
                </c:pt>
                <c:pt idx="16">
                  <c:v>5.4556791692081941E-3</c:v>
                </c:pt>
                <c:pt idx="17">
                  <c:v>-1.2508914161963203E-2</c:v>
                </c:pt>
                <c:pt idx="18">
                  <c:v>-9.8451465059176124E-3</c:v>
                </c:pt>
                <c:pt idx="19">
                  <c:v>-1.7088727703325812E-2</c:v>
                </c:pt>
                <c:pt idx="20">
                  <c:v>-1.4064905928848015E-2</c:v>
                </c:pt>
                <c:pt idx="21">
                  <c:v>-3.7948351654669477E-2</c:v>
                </c:pt>
                <c:pt idx="22">
                  <c:v>-3.1993040791689187E-2</c:v>
                </c:pt>
                <c:pt idx="23">
                  <c:v>-3.224558923342502E-2</c:v>
                </c:pt>
                <c:pt idx="24">
                  <c:v>-3.4555918486296799E-2</c:v>
                </c:pt>
                <c:pt idx="25">
                  <c:v>-1.4460699386511289E-2</c:v>
                </c:pt>
                <c:pt idx="26">
                  <c:v>-3.7332009785185472E-2</c:v>
                </c:pt>
                <c:pt idx="27">
                  <c:v>-7.8060407801516796E-2</c:v>
                </c:pt>
                <c:pt idx="28">
                  <c:v>-6.5098675438686082E-2</c:v>
                </c:pt>
                <c:pt idx="29">
                  <c:v>-7.1022705400850317E-2</c:v>
                </c:pt>
                <c:pt idx="30">
                  <c:v>-0.10498874495233246</c:v>
                </c:pt>
                <c:pt idx="31">
                  <c:v>-0.11515640852515729</c:v>
                </c:pt>
                <c:pt idx="32">
                  <c:v>-0.15084555904718211</c:v>
                </c:pt>
                <c:pt idx="33">
                  <c:v>-0.14347606321186457</c:v>
                </c:pt>
                <c:pt idx="34">
                  <c:v>-0.17925984750780055</c:v>
                </c:pt>
                <c:pt idx="35">
                  <c:v>-0.2007133055303677</c:v>
                </c:pt>
                <c:pt idx="36">
                  <c:v>-0.16036301102913197</c:v>
                </c:pt>
                <c:pt idx="37">
                  <c:v>-0.2011919394791698</c:v>
                </c:pt>
                <c:pt idx="38">
                  <c:v>-0.16557570582016945</c:v>
                </c:pt>
                <c:pt idx="39">
                  <c:v>-0.13377603137653249</c:v>
                </c:pt>
                <c:pt idx="40">
                  <c:v>-0.14021364359208466</c:v>
                </c:pt>
                <c:pt idx="41">
                  <c:v>-0.1353558973311475</c:v>
                </c:pt>
                <c:pt idx="42">
                  <c:v>-0.14673891430174013</c:v>
                </c:pt>
                <c:pt idx="43">
                  <c:v>-0.13096714904990137</c:v>
                </c:pt>
                <c:pt idx="44">
                  <c:v>-0.1500275091971861</c:v>
                </c:pt>
                <c:pt idx="45">
                  <c:v>-0.14287482246437311</c:v>
                </c:pt>
                <c:pt idx="46">
                  <c:v>-0.14449301654197633</c:v>
                </c:pt>
                <c:pt idx="47">
                  <c:v>-0.12560502499777382</c:v>
                </c:pt>
                <c:pt idx="48">
                  <c:v>-0.10704249879514927</c:v>
                </c:pt>
                <c:pt idx="49">
                  <c:v>-0.11745904336912227</c:v>
                </c:pt>
                <c:pt idx="50">
                  <c:v>-0.10531054289014086</c:v>
                </c:pt>
                <c:pt idx="51">
                  <c:v>-0.10033752463805401</c:v>
                </c:pt>
                <c:pt idx="52">
                  <c:v>-0.11101697271515509</c:v>
                </c:pt>
                <c:pt idx="53">
                  <c:v>-0.11613064719941235</c:v>
                </c:pt>
                <c:pt idx="54">
                  <c:v>-0.10237725601570868</c:v>
                </c:pt>
                <c:pt idx="55">
                  <c:v>-0.10421743672651262</c:v>
                </c:pt>
                <c:pt idx="56">
                  <c:v>-0.1239691410512388</c:v>
                </c:pt>
                <c:pt idx="57">
                  <c:v>-0.12029438863042285</c:v>
                </c:pt>
                <c:pt idx="58">
                  <c:v>-0.11720311514580206</c:v>
                </c:pt>
                <c:pt idx="59">
                  <c:v>-0.12257818304307899</c:v>
                </c:pt>
                <c:pt idx="60">
                  <c:v>-0.10605387809118272</c:v>
                </c:pt>
                <c:pt idx="61">
                  <c:v>-9.5162366972177281E-2</c:v>
                </c:pt>
                <c:pt idx="62">
                  <c:v>-9.2672406177412125E-2</c:v>
                </c:pt>
                <c:pt idx="63">
                  <c:v>-0.13058717584332968</c:v>
                </c:pt>
                <c:pt idx="64">
                  <c:v>-0.12120376437829183</c:v>
                </c:pt>
                <c:pt idx="65">
                  <c:v>-0.11130633915295252</c:v>
                </c:pt>
                <c:pt idx="66">
                  <c:v>-0.11708122747621186</c:v>
                </c:pt>
                <c:pt idx="67">
                  <c:v>-0.10789369923743708</c:v>
                </c:pt>
                <c:pt idx="68">
                  <c:v>-9.4201431670803304E-2</c:v>
                </c:pt>
                <c:pt idx="69">
                  <c:v>-0.10732266073393126</c:v>
                </c:pt>
                <c:pt idx="70">
                  <c:v>-0.10972978107437559</c:v>
                </c:pt>
                <c:pt idx="71">
                  <c:v>-0.12263671791320963</c:v>
                </c:pt>
                <c:pt idx="72">
                  <c:v>-0.12382481737848072</c:v>
                </c:pt>
                <c:pt idx="73">
                  <c:v>-0.11876974966990028</c:v>
                </c:pt>
                <c:pt idx="74">
                  <c:v>-0.10207789408106838</c:v>
                </c:pt>
                <c:pt idx="75">
                  <c:v>-0.10164276574913267</c:v>
                </c:pt>
                <c:pt idx="76">
                  <c:v>-0.10605797696504826</c:v>
                </c:pt>
                <c:pt idx="77">
                  <c:v>-0.15575817277448023</c:v>
                </c:pt>
                <c:pt idx="78">
                  <c:v>-0.15494450945735305</c:v>
                </c:pt>
                <c:pt idx="79">
                  <c:v>-0.13902367447215558</c:v>
                </c:pt>
                <c:pt idx="80">
                  <c:v>-0.1420906422989503</c:v>
                </c:pt>
                <c:pt idx="81">
                  <c:v>-0.14829814203911684</c:v>
                </c:pt>
                <c:pt idx="82">
                  <c:v>-0.15460466208606338</c:v>
                </c:pt>
                <c:pt idx="83">
                  <c:v>-0.15460466208606338</c:v>
                </c:pt>
                <c:pt idx="84">
                  <c:v>-0.15460466208606338</c:v>
                </c:pt>
                <c:pt idx="85">
                  <c:v>-0.12621618937337953</c:v>
                </c:pt>
                <c:pt idx="86">
                  <c:v>-0.11651759572260978</c:v>
                </c:pt>
                <c:pt idx="87">
                  <c:v>-0.10437945026820272</c:v>
                </c:pt>
                <c:pt idx="88">
                  <c:v>-0.10288163380689896</c:v>
                </c:pt>
                <c:pt idx="89">
                  <c:v>-8.8003136429652185E-2</c:v>
                </c:pt>
                <c:pt idx="90">
                  <c:v>-8.7768996985947312E-2</c:v>
                </c:pt>
                <c:pt idx="91">
                  <c:v>-7.7443346839751737E-2</c:v>
                </c:pt>
                <c:pt idx="92">
                  <c:v>-7.7719122245665018E-2</c:v>
                </c:pt>
                <c:pt idx="93">
                  <c:v>-9.8689919314292829E-2</c:v>
                </c:pt>
                <c:pt idx="94">
                  <c:v>-0.10527185523942106</c:v>
                </c:pt>
                <c:pt idx="95">
                  <c:v>-0.12458037729557303</c:v>
                </c:pt>
                <c:pt idx="96">
                  <c:v>-0.1036993959978918</c:v>
                </c:pt>
                <c:pt idx="97">
                  <c:v>-9.8643537291484007E-2</c:v>
                </c:pt>
                <c:pt idx="98">
                  <c:v>-9.9249955569671644E-2</c:v>
                </c:pt>
                <c:pt idx="99">
                  <c:v>-9.2661332023738607E-2</c:v>
                </c:pt>
                <c:pt idx="100">
                  <c:v>-9.7541586156572158E-2</c:v>
                </c:pt>
                <c:pt idx="101">
                  <c:v>-8.2961659716138225E-2</c:v>
                </c:pt>
                <c:pt idx="102">
                  <c:v>-8.7591882285446787E-2</c:v>
                </c:pt>
                <c:pt idx="103">
                  <c:v>-9.6118556249768838E-2</c:v>
                </c:pt>
                <c:pt idx="104">
                  <c:v>-0.10527559454873703</c:v>
                </c:pt>
              </c:numCache>
            </c:numRef>
          </c:val>
          <c:smooth val="0"/>
          <c:extLst>
            <c:ext xmlns:c16="http://schemas.microsoft.com/office/drawing/2014/chart" uri="{C3380CC4-5D6E-409C-BE32-E72D297353CC}">
              <c16:uniqueId val="{00000003-E014-445E-B3AF-021C5D05E3BB}"/>
            </c:ext>
          </c:extLst>
        </c:ser>
        <c:ser>
          <c:idx val="4"/>
          <c:order val="4"/>
          <c:tx>
            <c:strRef>
              <c:f>Sheet1!$F$1</c:f>
              <c:strCache>
                <c:ptCount val="1"/>
                <c:pt idx="0">
                  <c:v>Nasdaq</c:v>
                </c:pt>
              </c:strCache>
            </c:strRef>
          </c:tx>
          <c:spPr>
            <a:ln w="28575" cap="rnd">
              <a:solidFill>
                <a:schemeClr val="accent5"/>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F$2:$F$108</c:f>
              <c:numCache>
                <c:formatCode>0.0%</c:formatCode>
                <c:ptCount val="107"/>
                <c:pt idx="0">
                  <c:v>2.5627579199676287E-3</c:v>
                </c:pt>
                <c:pt idx="1">
                  <c:v>-1.3393401992676468E-2</c:v>
                </c:pt>
                <c:pt idx="2">
                  <c:v>-1.8996968678941517E-4</c:v>
                </c:pt>
                <c:pt idx="3">
                  <c:v>2.0787664778757486E-2</c:v>
                </c:pt>
                <c:pt idx="4">
                  <c:v>2.5176913313877725E-2</c:v>
                </c:pt>
                <c:pt idx="5">
                  <c:v>3.2019703371282571E-2</c:v>
                </c:pt>
                <c:pt idx="6">
                  <c:v>2.6452146829964329E-2</c:v>
                </c:pt>
                <c:pt idx="7">
                  <c:v>3.8083100201786069E-2</c:v>
                </c:pt>
                <c:pt idx="8">
                  <c:v>3.922054639680761E-2</c:v>
                </c:pt>
                <c:pt idx="9">
                  <c:v>4.8602590746643193E-2</c:v>
                </c:pt>
                <c:pt idx="10">
                  <c:v>4.7094045992070788E-2</c:v>
                </c:pt>
                <c:pt idx="11">
                  <c:v>4.9164844955841058E-2</c:v>
                </c:pt>
                <c:pt idx="12">
                  <c:v>4.9333682940808421E-2</c:v>
                </c:pt>
                <c:pt idx="13">
                  <c:v>5.8437349463578148E-2</c:v>
                </c:pt>
                <c:pt idx="14">
                  <c:v>5.1298392136246873E-2</c:v>
                </c:pt>
                <c:pt idx="15">
                  <c:v>3.2498185476828256E-2</c:v>
                </c:pt>
                <c:pt idx="16">
                  <c:v>-5.8093851494162019E-3</c:v>
                </c:pt>
                <c:pt idx="17">
                  <c:v>-3.3374180769202733E-2</c:v>
                </c:pt>
                <c:pt idx="18">
                  <c:v>-3.1739708322138682E-2</c:v>
                </c:pt>
                <c:pt idx="19">
                  <c:v>-7.6406627419202566E-2</c:v>
                </c:pt>
                <c:pt idx="20">
                  <c:v>-7.6310995686976524E-2</c:v>
                </c:pt>
                <c:pt idx="21">
                  <c:v>-3.4824182084543187E-2</c:v>
                </c:pt>
                <c:pt idx="22">
                  <c:v>-6.3726528177830644E-2</c:v>
                </c:pt>
                <c:pt idx="23">
                  <c:v>-2.7716383235919073E-2</c:v>
                </c:pt>
                <c:pt idx="24">
                  <c:v>-5.7850190034375859E-2</c:v>
                </c:pt>
                <c:pt idx="25">
                  <c:v>-7.5421523543950375E-2</c:v>
                </c:pt>
                <c:pt idx="26">
                  <c:v>-0.14279941573000765</c:v>
                </c:pt>
                <c:pt idx="27">
                  <c:v>-0.10036588032297866</c:v>
                </c:pt>
                <c:pt idx="28">
                  <c:v>-0.14265117037283659</c:v>
                </c:pt>
                <c:pt idx="29">
                  <c:v>-0.22353922798561843</c:v>
                </c:pt>
                <c:pt idx="30">
                  <c:v>-0.15097188578013288</c:v>
                </c:pt>
                <c:pt idx="31">
                  <c:v>-0.25558254279924331</c:v>
                </c:pt>
                <c:pt idx="32">
                  <c:v>-0.20920201518808734</c:v>
                </c:pt>
                <c:pt idx="33">
                  <c:v>-0.24639133065463859</c:v>
                </c:pt>
                <c:pt idx="34">
                  <c:v>-0.22906182575316192</c:v>
                </c:pt>
                <c:pt idx="35">
                  <c:v>-0.25828632248443273</c:v>
                </c:pt>
                <c:pt idx="36">
                  <c:v>-0.26031798467390987</c:v>
                </c:pt>
                <c:pt idx="37">
                  <c:v>-0.2002454080596312</c:v>
                </c:pt>
                <c:pt idx="38">
                  <c:v>-0.20386345729304634</c:v>
                </c:pt>
                <c:pt idx="39">
                  <c:v>-0.15931028281548454</c:v>
                </c:pt>
                <c:pt idx="40">
                  <c:v>-0.19113246946361284</c:v>
                </c:pt>
                <c:pt idx="41">
                  <c:v>-0.16183131640583392</c:v>
                </c:pt>
                <c:pt idx="42">
                  <c:v>-0.1698154339912481</c:v>
                </c:pt>
                <c:pt idx="43">
                  <c:v>-0.20642028539872725</c:v>
                </c:pt>
                <c:pt idx="44">
                  <c:v>-0.19275680731898659</c:v>
                </c:pt>
                <c:pt idx="45">
                  <c:v>-0.20507260033353591</c:v>
                </c:pt>
                <c:pt idx="46">
                  <c:v>-0.14683578640765815</c:v>
                </c:pt>
                <c:pt idx="47">
                  <c:v>-0.14963681504715176</c:v>
                </c:pt>
                <c:pt idx="48">
                  <c:v>-0.12768097685388646</c:v>
                </c:pt>
                <c:pt idx="49">
                  <c:v>-0.12092400738143294</c:v>
                </c:pt>
                <c:pt idx="50">
                  <c:v>-0.116735186569208</c:v>
                </c:pt>
                <c:pt idx="51">
                  <c:v>-8.1876935006216622E-2</c:v>
                </c:pt>
                <c:pt idx="52">
                  <c:v>-9.5091364422235647E-2</c:v>
                </c:pt>
                <c:pt idx="53">
                  <c:v>-8.0084945128733209E-2</c:v>
                </c:pt>
                <c:pt idx="54">
                  <c:v>-6.738673300008502E-2</c:v>
                </c:pt>
                <c:pt idx="55">
                  <c:v>-7.7026885993606187E-2</c:v>
                </c:pt>
                <c:pt idx="56">
                  <c:v>-0.10910146710074353</c:v>
                </c:pt>
                <c:pt idx="57">
                  <c:v>-8.4072367884815868E-2</c:v>
                </c:pt>
                <c:pt idx="58">
                  <c:v>-8.4139752138075341E-2</c:v>
                </c:pt>
                <c:pt idx="59">
                  <c:v>-6.9070908072353276E-2</c:v>
                </c:pt>
                <c:pt idx="60">
                  <c:v>-5.8759068842340723E-2</c:v>
                </c:pt>
                <c:pt idx="61">
                  <c:v>-7.1959266704071378E-2</c:v>
                </c:pt>
                <c:pt idx="62">
                  <c:v>-3.8862169984272166E-2</c:v>
                </c:pt>
                <c:pt idx="63">
                  <c:v>-4.157479048348911E-2</c:v>
                </c:pt>
                <c:pt idx="64">
                  <c:v>-7.2259099677374983E-2</c:v>
                </c:pt>
                <c:pt idx="65">
                  <c:v>-6.0855958988973224E-2</c:v>
                </c:pt>
                <c:pt idx="66">
                  <c:v>-5.0246335266956099E-2</c:v>
                </c:pt>
                <c:pt idx="67">
                  <c:v>-4.536599029407995E-2</c:v>
                </c:pt>
                <c:pt idx="68">
                  <c:v>-3.1859706200343285E-2</c:v>
                </c:pt>
                <c:pt idx="69">
                  <c:v>-1.6586660893543326E-2</c:v>
                </c:pt>
                <c:pt idx="70">
                  <c:v>-8.929222167931683E-3</c:v>
                </c:pt>
                <c:pt idx="71">
                  <c:v>-2.9391717494159808E-2</c:v>
                </c:pt>
                <c:pt idx="72">
                  <c:v>-4.441926848948452E-2</c:v>
                </c:pt>
                <c:pt idx="73">
                  <c:v>-3.5734246855365637E-2</c:v>
                </c:pt>
                <c:pt idx="74">
                  <c:v>-2.8097077313134489E-2</c:v>
                </c:pt>
                <c:pt idx="75">
                  <c:v>-4.3488179831646656E-3</c:v>
                </c:pt>
                <c:pt idx="76">
                  <c:v>-9.7096935428852005E-3</c:v>
                </c:pt>
                <c:pt idx="77">
                  <c:v>1.0848342811084599E-2</c:v>
                </c:pt>
                <c:pt idx="78">
                  <c:v>1.0479309075555054E-3</c:v>
                </c:pt>
                <c:pt idx="79">
                  <c:v>5.3292543922300872E-3</c:v>
                </c:pt>
                <c:pt idx="80">
                  <c:v>7.0143878817998662E-3</c:v>
                </c:pt>
                <c:pt idx="81">
                  <c:v>1.4792218537730273E-2</c:v>
                </c:pt>
                <c:pt idx="82">
                  <c:v>1.0116275775497341E-2</c:v>
                </c:pt>
                <c:pt idx="83">
                  <c:v>2.3148922216842394E-2</c:v>
                </c:pt>
                <c:pt idx="84">
                  <c:v>2.9852815945273337E-2</c:v>
                </c:pt>
                <c:pt idx="85">
                  <c:v>3.5926034849591559E-2</c:v>
                </c:pt>
                <c:pt idx="86">
                  <c:v>4.3961505045951199E-2</c:v>
                </c:pt>
                <c:pt idx="87">
                  <c:v>3.6727065438286521E-2</c:v>
                </c:pt>
                <c:pt idx="88">
                  <c:v>5.8103570497527235E-2</c:v>
                </c:pt>
                <c:pt idx="89">
                  <c:v>7.0035431526191738E-2</c:v>
                </c:pt>
                <c:pt idx="90">
                  <c:v>7.316206217323673E-2</c:v>
                </c:pt>
                <c:pt idx="91">
                  <c:v>8.0342489020844177E-2</c:v>
                </c:pt>
                <c:pt idx="92">
                  <c:v>2.3457310638378193E-2</c:v>
                </c:pt>
                <c:pt idx="93">
                  <c:v>3.381606449103769E-2</c:v>
                </c:pt>
                <c:pt idx="94">
                  <c:v>4.8609335840777312E-2</c:v>
                </c:pt>
                <c:pt idx="95">
                  <c:v>6.6921751275472063E-2</c:v>
                </c:pt>
                <c:pt idx="96">
                  <c:v>6.8502333794094872E-2</c:v>
                </c:pt>
                <c:pt idx="97">
                  <c:v>7.2008422255431359E-2</c:v>
                </c:pt>
                <c:pt idx="98">
                  <c:v>7.2339447482851593E-2</c:v>
                </c:pt>
                <c:pt idx="99">
                  <c:v>8.4237932268433457E-2</c:v>
                </c:pt>
                <c:pt idx="100">
                  <c:v>9.231214842647506E-2</c:v>
                </c:pt>
                <c:pt idx="101">
                  <c:v>6.8355667755220839E-2</c:v>
                </c:pt>
                <c:pt idx="102">
                  <c:v>7.9981351429291747E-2</c:v>
                </c:pt>
                <c:pt idx="103">
                  <c:v>5.197318028930864E-2</c:v>
                </c:pt>
                <c:pt idx="104">
                  <c:v>6.4580042276954019E-2</c:v>
                </c:pt>
              </c:numCache>
            </c:numRef>
          </c:val>
          <c:smooth val="0"/>
          <c:extLst>
            <c:ext xmlns:c16="http://schemas.microsoft.com/office/drawing/2014/chart" uri="{C3380CC4-5D6E-409C-BE32-E72D297353CC}">
              <c16:uniqueId val="{00000004-E014-445E-B3AF-021C5D05E3BB}"/>
            </c:ext>
          </c:extLst>
        </c:ser>
        <c:ser>
          <c:idx val="5"/>
          <c:order val="5"/>
          <c:tx>
            <c:strRef>
              <c:f>Sheet1!$G$1</c:f>
              <c:strCache>
                <c:ptCount val="1"/>
                <c:pt idx="0">
                  <c:v>CAC40</c:v>
                </c:pt>
              </c:strCache>
            </c:strRef>
          </c:tx>
          <c:spPr>
            <a:ln w="28575" cap="rnd">
              <a:solidFill>
                <a:schemeClr val="accent6"/>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G$2:$G$108</c:f>
              <c:numCache>
                <c:formatCode>0.0%</c:formatCode>
                <c:ptCount val="107"/>
                <c:pt idx="0">
                  <c:v>-1.3958295633960338E-2</c:v>
                </c:pt>
                <c:pt idx="1">
                  <c:v>-2.4945933439980861E-2</c:v>
                </c:pt>
                <c:pt idx="2">
                  <c:v>-2.0551239096688656E-2</c:v>
                </c:pt>
                <c:pt idx="3">
                  <c:v>-3.3317712910814201E-3</c:v>
                </c:pt>
                <c:pt idx="4">
                  <c:v>5.1234807524711545E-3</c:v>
                </c:pt>
                <c:pt idx="5">
                  <c:v>1.3986830501286018E-2</c:v>
                </c:pt>
                <c:pt idx="6">
                  <c:v>1.2571157700268287E-2</c:v>
                </c:pt>
                <c:pt idx="7">
                  <c:v>1.0206701316343603E-2</c:v>
                </c:pt>
                <c:pt idx="8">
                  <c:v>1.6771027962291241E-2</c:v>
                </c:pt>
                <c:pt idx="9">
                  <c:v>2.5162486553528041E-2</c:v>
                </c:pt>
                <c:pt idx="10">
                  <c:v>2.3216213367396987E-2</c:v>
                </c:pt>
                <c:pt idx="11">
                  <c:v>1.9221170897648632E-2</c:v>
                </c:pt>
                <c:pt idx="12">
                  <c:v>2.2008812082976004E-2</c:v>
                </c:pt>
                <c:pt idx="13">
                  <c:v>1.7116971876050657E-2</c:v>
                </c:pt>
                <c:pt idx="14">
                  <c:v>2.6255748368645193E-2</c:v>
                </c:pt>
                <c:pt idx="15">
                  <c:v>1.8037220759560713E-2</c:v>
                </c:pt>
                <c:pt idx="16">
                  <c:v>1.2566155928730227E-2</c:v>
                </c:pt>
                <c:pt idx="17">
                  <c:v>-2.7375823272892008E-2</c:v>
                </c:pt>
                <c:pt idx="18">
                  <c:v>-4.621579150386268E-2</c:v>
                </c:pt>
                <c:pt idx="19">
                  <c:v>-4.5398038549909314E-2</c:v>
                </c:pt>
                <c:pt idx="20">
                  <c:v>-7.7128213692181591E-2</c:v>
                </c:pt>
                <c:pt idx="21">
                  <c:v>-0.10831270101734203</c:v>
                </c:pt>
                <c:pt idx="22">
                  <c:v>-0.10434619324699057</c:v>
                </c:pt>
                <c:pt idx="23">
                  <c:v>-9.432923229092316E-2</c:v>
                </c:pt>
                <c:pt idx="24">
                  <c:v>-8.2285313200900823E-2</c:v>
                </c:pt>
                <c:pt idx="25">
                  <c:v>-9.9714692519775716E-2</c:v>
                </c:pt>
                <c:pt idx="26">
                  <c:v>-0.13699333744736064</c:v>
                </c:pt>
                <c:pt idx="27">
                  <c:v>-0.20940436386089456</c:v>
                </c:pt>
                <c:pt idx="28">
                  <c:v>-0.22137776578093749</c:v>
                </c:pt>
                <c:pt idx="29">
                  <c:v>-0.22580435676642274</c:v>
                </c:pt>
                <c:pt idx="30">
                  <c:v>-0.32085060900259565</c:v>
                </c:pt>
                <c:pt idx="31">
                  <c:v>-0.30840707918168608</c:v>
                </c:pt>
                <c:pt idx="32">
                  <c:v>-0.34818949271909971</c:v>
                </c:pt>
                <c:pt idx="33">
                  <c:v>-0.32966353078496768</c:v>
                </c:pt>
                <c:pt idx="34">
                  <c:v>-0.36945266804004517</c:v>
                </c:pt>
                <c:pt idx="35">
                  <c:v>-0.35254892847740216</c:v>
                </c:pt>
                <c:pt idx="36">
                  <c:v>-0.32008820383716852</c:v>
                </c:pt>
                <c:pt idx="37">
                  <c:v>-0.34267300169336445</c:v>
                </c:pt>
                <c:pt idx="38">
                  <c:v>-0.28752670538143299</c:v>
                </c:pt>
                <c:pt idx="39">
                  <c:v>-0.25568739254139505</c:v>
                </c:pt>
                <c:pt idx="40">
                  <c:v>-0.23700018413958535</c:v>
                </c:pt>
                <c:pt idx="41">
                  <c:v>-0.26925768000948769</c:v>
                </c:pt>
                <c:pt idx="42">
                  <c:v>-0.26472031132956575</c:v>
                </c:pt>
                <c:pt idx="43">
                  <c:v>-0.26176301898749876</c:v>
                </c:pt>
                <c:pt idx="44">
                  <c:v>-0.29348146864056923</c:v>
                </c:pt>
                <c:pt idx="45">
                  <c:v>-0.2911775257156185</c:v>
                </c:pt>
                <c:pt idx="46">
                  <c:v>-0.30232464706846363</c:v>
                </c:pt>
                <c:pt idx="47">
                  <c:v>-0.27015611757540636</c:v>
                </c:pt>
                <c:pt idx="48">
                  <c:v>-0.25468481904924867</c:v>
                </c:pt>
                <c:pt idx="49">
                  <c:v>-0.25393249954428176</c:v>
                </c:pt>
                <c:pt idx="50">
                  <c:v>-0.2431682206868564</c:v>
                </c:pt>
                <c:pt idx="51">
                  <c:v>-0.24030333861388586</c:v>
                </c:pt>
                <c:pt idx="52">
                  <c:v>-0.26888320106047325</c:v>
                </c:pt>
                <c:pt idx="53">
                  <c:v>-0.26948103895808284</c:v>
                </c:pt>
                <c:pt idx="54">
                  <c:v>-0.2444848414505687</c:v>
                </c:pt>
                <c:pt idx="55">
                  <c:v>-0.23956618832244303</c:v>
                </c:pt>
                <c:pt idx="56">
                  <c:v>-0.26825518846679619</c:v>
                </c:pt>
                <c:pt idx="57">
                  <c:v>-0.25912994135898371</c:v>
                </c:pt>
                <c:pt idx="58">
                  <c:v>-0.25254708355671551</c:v>
                </c:pt>
                <c:pt idx="59">
                  <c:v>-0.26223326998047691</c:v>
                </c:pt>
                <c:pt idx="60">
                  <c:v>-0.24343528388423064</c:v>
                </c:pt>
                <c:pt idx="61">
                  <c:v>-0.23259876607862928</c:v>
                </c:pt>
                <c:pt idx="62">
                  <c:v>-0.21558420801475153</c:v>
                </c:pt>
                <c:pt idx="63">
                  <c:v>-0.23219739225895986</c:v>
                </c:pt>
                <c:pt idx="64">
                  <c:v>-0.26476729557168655</c:v>
                </c:pt>
                <c:pt idx="65">
                  <c:v>-0.24715153766740272</c:v>
                </c:pt>
                <c:pt idx="66">
                  <c:v>-0.25550601589545341</c:v>
                </c:pt>
                <c:pt idx="67">
                  <c:v>-0.24407674408116464</c:v>
                </c:pt>
                <c:pt idx="68">
                  <c:v>-0.23598252321544044</c:v>
                </c:pt>
                <c:pt idx="69">
                  <c:v>-0.24596086381165083</c:v>
                </c:pt>
                <c:pt idx="70">
                  <c:v>-0.24893660552851271</c:v>
                </c:pt>
                <c:pt idx="71">
                  <c:v>-0.2703559435961429</c:v>
                </c:pt>
                <c:pt idx="72">
                  <c:v>-0.28241667189636022</c:v>
                </c:pt>
                <c:pt idx="73">
                  <c:v>-0.28166099044859683</c:v>
                </c:pt>
                <c:pt idx="74">
                  <c:v>-0.24459734092320173</c:v>
                </c:pt>
                <c:pt idx="75">
                  <c:v>-0.25134468421176182</c:v>
                </c:pt>
                <c:pt idx="76">
                  <c:v>-0.24482570181126417</c:v>
                </c:pt>
                <c:pt idx="77">
                  <c:v>-0.25134468421176182</c:v>
                </c:pt>
                <c:pt idx="78">
                  <c:v>-0.24482570181126417</c:v>
                </c:pt>
                <c:pt idx="79">
                  <c:v>-0.2534790579294276</c:v>
                </c:pt>
                <c:pt idx="80">
                  <c:v>-0.25362853776524674</c:v>
                </c:pt>
                <c:pt idx="81">
                  <c:v>-0.2376164712440606</c:v>
                </c:pt>
                <c:pt idx="82">
                  <c:v>-0.22647771360555002</c:v>
                </c:pt>
                <c:pt idx="83">
                  <c:v>-0.21262355372988817</c:v>
                </c:pt>
                <c:pt idx="84">
                  <c:v>-0.19874422076176745</c:v>
                </c:pt>
                <c:pt idx="85">
                  <c:v>-0.21149847722203252</c:v>
                </c:pt>
                <c:pt idx="86">
                  <c:v>-0.200190150376237</c:v>
                </c:pt>
                <c:pt idx="87">
                  <c:v>-0.1840369673977077</c:v>
                </c:pt>
                <c:pt idx="88">
                  <c:v>-0.15659571084375834</c:v>
                </c:pt>
                <c:pt idx="89">
                  <c:v>-0.15834215834501131</c:v>
                </c:pt>
                <c:pt idx="90">
                  <c:v>-0.12713922181298498</c:v>
                </c:pt>
                <c:pt idx="91">
                  <c:v>-0.13087900852401579</c:v>
                </c:pt>
                <c:pt idx="92">
                  <c:v>-0.14438222271438028</c:v>
                </c:pt>
                <c:pt idx="93">
                  <c:v>-0.15138318159705799</c:v>
                </c:pt>
                <c:pt idx="94">
                  <c:v>-0.19132007690975816</c:v>
                </c:pt>
                <c:pt idx="95">
                  <c:v>-0.18734692753912685</c:v>
                </c:pt>
                <c:pt idx="96">
                  <c:v>-0.19129990575676681</c:v>
                </c:pt>
                <c:pt idx="97">
                  <c:v>-0.16833730815141668</c:v>
                </c:pt>
                <c:pt idx="98">
                  <c:v>-0.16103066554357826</c:v>
                </c:pt>
                <c:pt idx="99">
                  <c:v>-0.16728102686741475</c:v>
                </c:pt>
                <c:pt idx="100">
                  <c:v>-0.16380485946150714</c:v>
                </c:pt>
                <c:pt idx="101">
                  <c:v>-0.16896868268789023</c:v>
                </c:pt>
                <c:pt idx="102">
                  <c:v>-0.1573849289303858</c:v>
                </c:pt>
                <c:pt idx="103">
                  <c:v>-0.18195638358928146</c:v>
                </c:pt>
                <c:pt idx="104">
                  <c:v>-0.17402673015930403</c:v>
                </c:pt>
              </c:numCache>
            </c:numRef>
          </c:val>
          <c:smooth val="0"/>
          <c:extLst>
            <c:ext xmlns:c16="http://schemas.microsoft.com/office/drawing/2014/chart" uri="{C3380CC4-5D6E-409C-BE32-E72D297353CC}">
              <c16:uniqueId val="{00000005-E014-445E-B3AF-021C5D05E3BB}"/>
            </c:ext>
          </c:extLst>
        </c:ser>
        <c:dLbls>
          <c:showLegendKey val="0"/>
          <c:showVal val="0"/>
          <c:showCatName val="0"/>
          <c:showSerName val="0"/>
          <c:showPercent val="0"/>
          <c:showBubbleSize val="0"/>
        </c:dLbls>
        <c:smooth val="0"/>
        <c:axId val="596950464"/>
        <c:axId val="596945368"/>
      </c:lineChart>
      <c:dateAx>
        <c:axId val="596950464"/>
        <c:scaling>
          <c:orientation val="minMax"/>
        </c:scaling>
        <c:delete val="0"/>
        <c:axPos val="b"/>
        <c:numFmt formatCode="[$-409]d\-mmm;@"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BE"/>
          </a:p>
        </c:txPr>
        <c:crossAx val="596945368"/>
        <c:crosses val="autoZero"/>
        <c:auto val="1"/>
        <c:lblOffset val="100"/>
        <c:baseTimeUnit val="days"/>
        <c:majorUnit val="10"/>
        <c:majorTimeUnit val="days"/>
      </c:dateAx>
      <c:valAx>
        <c:axId val="596945368"/>
        <c:scaling>
          <c:orientation val="minMax"/>
        </c:scaling>
        <c:delete val="1"/>
        <c:axPos val="l"/>
        <c:numFmt formatCode="0.0%" sourceLinked="1"/>
        <c:majorTickMark val="out"/>
        <c:minorTickMark val="none"/>
        <c:tickLblPos val="nextTo"/>
        <c:crossAx val="596950464"/>
        <c:crosses val="autoZero"/>
        <c:crossBetween val="between"/>
      </c:valAx>
      <c:spPr>
        <a:noFill/>
        <a:ln>
          <a:noFill/>
        </a:ln>
        <a:effectLst/>
      </c:spPr>
    </c:plotArea>
    <c:legend>
      <c:legendPos val="b"/>
      <c:layout>
        <c:manualLayout>
          <c:xMode val="edge"/>
          <c:yMode val="edge"/>
          <c:x val="0"/>
          <c:y val="0.93978065654887488"/>
          <c:w val="0.89999993235468589"/>
          <c:h val="5.076025696575748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85042232528231"/>
          <c:y val="2.6615969581750779E-2"/>
          <c:w val="0.78066945731484905"/>
          <c:h val="0.86537744382381032"/>
        </c:manualLayout>
      </c:layout>
      <c:barChart>
        <c:barDir val="col"/>
        <c:grouping val="clustered"/>
        <c:varyColors val="0"/>
        <c:ser>
          <c:idx val="2"/>
          <c:order val="0"/>
          <c:tx>
            <c:strRef>
              <c:f>Sheet1!$A$2</c:f>
              <c:strCache>
                <c:ptCount val="1"/>
                <c:pt idx="0">
                  <c:v>Luxembourg</c:v>
                </c:pt>
              </c:strCache>
            </c:strRef>
          </c:tx>
          <c:spPr>
            <a:solidFill>
              <a:schemeClr val="accent1"/>
            </a:solidFill>
            <a:ln w="9525">
              <a:solidFill>
                <a:schemeClr val="accent1"/>
              </a:solidFill>
            </a:ln>
          </c:spPr>
          <c:invertIfNegative val="0"/>
          <c:dLbls>
            <c:numFmt formatCode="#,##0.0" sourceLinked="0"/>
            <c:spPr>
              <a:noFill/>
              <a:ln>
                <a:noFill/>
              </a:ln>
              <a:effectLst/>
            </c:spPr>
            <c:txPr>
              <a:bodyPr/>
              <a:lstStyle/>
              <a:p>
                <a:pPr>
                  <a:defRPr>
                    <a:solidFill>
                      <a:srgbClr val="4E4641"/>
                    </a:solidFill>
                  </a:defRPr>
                </a:pPr>
                <a:endParaRPr lang="en-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pt idx="0">
                  <c:v>2018</c:v>
                </c:pt>
                <c:pt idx="1">
                  <c:v>2019</c:v>
                </c:pt>
              </c:numCache>
            </c:numRef>
          </c:cat>
          <c:val>
            <c:numRef>
              <c:f>Sheet1!$B$2:$C$2</c:f>
              <c:numCache>
                <c:formatCode>#,##0.00</c:formatCode>
                <c:ptCount val="2"/>
                <c:pt idx="0">
                  <c:v>40.042512293166787</c:v>
                </c:pt>
                <c:pt idx="1">
                  <c:v>40.205709139669615</c:v>
                </c:pt>
              </c:numCache>
            </c:numRef>
          </c:val>
          <c:extLst>
            <c:ext xmlns:c16="http://schemas.microsoft.com/office/drawing/2014/chart" uri="{C3380CC4-5D6E-409C-BE32-E72D297353CC}">
              <c16:uniqueId val="{00000000-0974-4937-A0D9-A04A75AD2E45}"/>
            </c:ext>
          </c:extLst>
        </c:ser>
        <c:dLbls>
          <c:showLegendKey val="0"/>
          <c:showVal val="1"/>
          <c:showCatName val="0"/>
          <c:showSerName val="0"/>
          <c:showPercent val="0"/>
          <c:showBubbleSize val="0"/>
        </c:dLbls>
        <c:gapWidth val="75"/>
        <c:axId val="444196512"/>
        <c:axId val="444194552"/>
      </c:barChart>
      <c:catAx>
        <c:axId val="444196512"/>
        <c:scaling>
          <c:orientation val="minMax"/>
        </c:scaling>
        <c:delete val="0"/>
        <c:axPos val="b"/>
        <c:numFmt formatCode="General" sourceLinked="1"/>
        <c:majorTickMark val="out"/>
        <c:minorTickMark val="none"/>
        <c:tickLblPos val="nextTo"/>
        <c:txPr>
          <a:bodyPr rot="0" vert="horz"/>
          <a:lstStyle/>
          <a:p>
            <a:pPr>
              <a:defRPr>
                <a:solidFill>
                  <a:srgbClr val="4E4641"/>
                </a:solidFill>
              </a:defRPr>
            </a:pPr>
            <a:endParaRPr lang="en-BE"/>
          </a:p>
        </c:txPr>
        <c:crossAx val="444194552"/>
        <c:crosses val="autoZero"/>
        <c:auto val="0"/>
        <c:lblAlgn val="ctr"/>
        <c:lblOffset val="100"/>
        <c:tickLblSkip val="1"/>
        <c:tickMarkSkip val="1"/>
        <c:noMultiLvlLbl val="0"/>
      </c:catAx>
      <c:valAx>
        <c:axId val="444194552"/>
        <c:scaling>
          <c:orientation val="minMax"/>
          <c:min val="0"/>
        </c:scaling>
        <c:delete val="0"/>
        <c:axPos val="l"/>
        <c:title>
          <c:tx>
            <c:rich>
              <a:bodyPr/>
              <a:lstStyle/>
              <a:p>
                <a:pPr>
                  <a:defRPr>
                    <a:solidFill>
                      <a:srgbClr val="4E4641"/>
                    </a:solidFill>
                  </a:defRPr>
                </a:pPr>
                <a:r>
                  <a:rPr lang="en-US" dirty="0">
                    <a:solidFill>
                      <a:srgbClr val="4E4641"/>
                    </a:solidFill>
                  </a:rPr>
                  <a:t># of HNWIs (‘000)</a:t>
                </a:r>
              </a:p>
            </c:rich>
          </c:tx>
          <c:layout>
            <c:manualLayout>
              <c:xMode val="edge"/>
              <c:yMode val="edge"/>
              <c:x val="0"/>
              <c:y val="0.14310476815398074"/>
            </c:manualLayout>
          </c:layout>
          <c:overlay val="0"/>
          <c:spPr>
            <a:noFill/>
            <a:ln w="32616">
              <a:noFill/>
            </a:ln>
          </c:spPr>
        </c:title>
        <c:numFmt formatCode="#,##0" sourceLinked="0"/>
        <c:majorTickMark val="out"/>
        <c:minorTickMark val="none"/>
        <c:tickLblPos val="nextTo"/>
        <c:txPr>
          <a:bodyPr rot="0" vert="horz"/>
          <a:lstStyle/>
          <a:p>
            <a:pPr>
              <a:defRPr sz="900">
                <a:solidFill>
                  <a:srgbClr val="4E4641"/>
                </a:solidFill>
              </a:defRPr>
            </a:pPr>
            <a:endParaRPr lang="en-BE"/>
          </a:p>
        </c:txPr>
        <c:crossAx val="444196512"/>
        <c:crosses val="autoZero"/>
        <c:crossBetween val="between"/>
        <c:majorUnit val="20"/>
      </c:valAx>
      <c:spPr>
        <a:solidFill>
          <a:srgbClr val="FFFFFF"/>
        </a:solidFill>
        <a:ln w="27304">
          <a:noFill/>
        </a:ln>
      </c:spPr>
    </c:plotArea>
    <c:plotVisOnly val="1"/>
    <c:dispBlanksAs val="gap"/>
    <c:showDLblsOverMax val="0"/>
  </c:chart>
  <c:spPr>
    <a:noFill/>
    <a:ln>
      <a:noFill/>
    </a:ln>
  </c:spPr>
  <c:txPr>
    <a:bodyPr/>
    <a:lstStyle/>
    <a:p>
      <a:pPr>
        <a:defRPr sz="1000" b="0" i="0" u="none" strike="noStrike" baseline="0">
          <a:solidFill>
            <a:srgbClr val="004182"/>
          </a:solidFill>
          <a:latin typeface="Arial"/>
          <a:ea typeface="Arial"/>
          <a:cs typeface="Arial"/>
        </a:defRPr>
      </a:pPr>
      <a:endParaRPr lang="en-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85042232528231"/>
          <c:y val="2.6615969581750779E-2"/>
          <c:w val="0.78066945731484905"/>
          <c:h val="0.86537744382381032"/>
        </c:manualLayout>
      </c:layout>
      <c:barChart>
        <c:barDir val="col"/>
        <c:grouping val="clustered"/>
        <c:varyColors val="0"/>
        <c:ser>
          <c:idx val="2"/>
          <c:order val="0"/>
          <c:tx>
            <c:strRef>
              <c:f>Sheet1!$A$2</c:f>
              <c:strCache>
                <c:ptCount val="1"/>
                <c:pt idx="0">
                  <c:v>Luxembourg</c:v>
                </c:pt>
              </c:strCache>
            </c:strRef>
          </c:tx>
          <c:spPr>
            <a:solidFill>
              <a:schemeClr val="accent1"/>
            </a:solidFill>
            <a:ln w="9525">
              <a:solidFill>
                <a:schemeClr val="accent1"/>
              </a:solidFill>
            </a:ln>
          </c:spPr>
          <c:invertIfNegative val="0"/>
          <c:dLbls>
            <c:numFmt formatCode="#,##0.0" sourceLinked="0"/>
            <c:spPr>
              <a:noFill/>
              <a:ln>
                <a:noFill/>
              </a:ln>
              <a:effectLst/>
            </c:spPr>
            <c:txPr>
              <a:bodyPr/>
              <a:lstStyle/>
              <a:p>
                <a:pPr>
                  <a:defRPr>
                    <a:solidFill>
                      <a:srgbClr val="4E4641"/>
                    </a:solidFill>
                  </a:defRPr>
                </a:pPr>
                <a:endParaRPr lang="en-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C$1</c:f>
              <c:numCache>
                <c:formatCode>General</c:formatCode>
                <c:ptCount val="2"/>
                <c:pt idx="0">
                  <c:v>2018</c:v>
                </c:pt>
                <c:pt idx="1">
                  <c:v>2019</c:v>
                </c:pt>
              </c:numCache>
            </c:numRef>
          </c:cat>
          <c:val>
            <c:numRef>
              <c:f>Sheet1!$B$2:$C$2</c:f>
              <c:numCache>
                <c:formatCode>#,##0.00</c:formatCode>
                <c:ptCount val="2"/>
                <c:pt idx="0">
                  <c:v>116.11639546087011</c:v>
                </c:pt>
                <c:pt idx="1">
                  <c:v>116.78940158198905</c:v>
                </c:pt>
              </c:numCache>
            </c:numRef>
          </c:val>
          <c:extLst>
            <c:ext xmlns:c16="http://schemas.microsoft.com/office/drawing/2014/chart" uri="{C3380CC4-5D6E-409C-BE32-E72D297353CC}">
              <c16:uniqueId val="{00000000-5544-4D6C-89BA-1A5ABD3DA8C3}"/>
            </c:ext>
          </c:extLst>
        </c:ser>
        <c:dLbls>
          <c:showLegendKey val="0"/>
          <c:showVal val="1"/>
          <c:showCatName val="0"/>
          <c:showSerName val="0"/>
          <c:showPercent val="0"/>
          <c:showBubbleSize val="0"/>
        </c:dLbls>
        <c:gapWidth val="75"/>
        <c:axId val="444196512"/>
        <c:axId val="444194552"/>
      </c:barChart>
      <c:catAx>
        <c:axId val="444196512"/>
        <c:scaling>
          <c:orientation val="minMax"/>
        </c:scaling>
        <c:delete val="0"/>
        <c:axPos val="b"/>
        <c:numFmt formatCode="General" sourceLinked="1"/>
        <c:majorTickMark val="out"/>
        <c:minorTickMark val="none"/>
        <c:tickLblPos val="nextTo"/>
        <c:txPr>
          <a:bodyPr rot="0" vert="horz"/>
          <a:lstStyle/>
          <a:p>
            <a:pPr>
              <a:defRPr>
                <a:solidFill>
                  <a:srgbClr val="4E4641"/>
                </a:solidFill>
              </a:defRPr>
            </a:pPr>
            <a:endParaRPr lang="en-BE"/>
          </a:p>
        </c:txPr>
        <c:crossAx val="444194552"/>
        <c:crosses val="autoZero"/>
        <c:auto val="0"/>
        <c:lblAlgn val="ctr"/>
        <c:lblOffset val="100"/>
        <c:tickLblSkip val="1"/>
        <c:tickMarkSkip val="1"/>
        <c:noMultiLvlLbl val="0"/>
      </c:catAx>
      <c:valAx>
        <c:axId val="444194552"/>
        <c:scaling>
          <c:orientation val="minMax"/>
          <c:min val="0"/>
        </c:scaling>
        <c:delete val="0"/>
        <c:axPos val="l"/>
        <c:title>
          <c:tx>
            <c:rich>
              <a:bodyPr anchor="b" anchorCtr="1"/>
              <a:lstStyle/>
              <a:p>
                <a:pPr algn="ctr" rtl="0">
                  <a:defRPr lang="en-US" sz="1000" b="0" i="0" u="none" strike="noStrike" kern="1200" baseline="0" dirty="0" smtClean="0">
                    <a:solidFill>
                      <a:srgbClr val="4E4641"/>
                    </a:solidFill>
                    <a:latin typeface="Arial"/>
                    <a:ea typeface="Arial"/>
                    <a:cs typeface="Arial"/>
                  </a:defRPr>
                </a:pPr>
                <a:r>
                  <a:rPr lang="en-US" sz="1000" b="0" i="0" u="none" strike="noStrike" kern="1200" baseline="0" dirty="0">
                    <a:solidFill>
                      <a:srgbClr val="4E4641"/>
                    </a:solidFill>
                    <a:latin typeface="Arial"/>
                    <a:ea typeface="Arial"/>
                    <a:cs typeface="Arial"/>
                  </a:rPr>
                  <a:t>HNWI Financial Wealth (US$ bn)</a:t>
                </a:r>
              </a:p>
            </c:rich>
          </c:tx>
          <c:layout>
            <c:manualLayout>
              <c:xMode val="edge"/>
              <c:yMode val="edge"/>
              <c:x val="5.7925962379702534E-3"/>
              <c:y val="0.1017361111111111"/>
            </c:manualLayout>
          </c:layout>
          <c:overlay val="0"/>
          <c:spPr>
            <a:noFill/>
            <a:ln w="32616">
              <a:noFill/>
            </a:ln>
          </c:spPr>
        </c:title>
        <c:numFmt formatCode="#,##0" sourceLinked="0"/>
        <c:majorTickMark val="out"/>
        <c:minorTickMark val="none"/>
        <c:tickLblPos val="nextTo"/>
        <c:txPr>
          <a:bodyPr rot="0" vert="horz"/>
          <a:lstStyle/>
          <a:p>
            <a:pPr>
              <a:defRPr sz="900">
                <a:solidFill>
                  <a:srgbClr val="4E4641"/>
                </a:solidFill>
              </a:defRPr>
            </a:pPr>
            <a:endParaRPr lang="en-BE"/>
          </a:p>
        </c:txPr>
        <c:crossAx val="444196512"/>
        <c:crosses val="autoZero"/>
        <c:crossBetween val="between"/>
        <c:majorUnit val="50"/>
      </c:valAx>
      <c:spPr>
        <a:solidFill>
          <a:srgbClr val="FFFFFF"/>
        </a:solidFill>
        <a:ln w="27304">
          <a:noFill/>
        </a:ln>
      </c:spPr>
    </c:plotArea>
    <c:plotVisOnly val="1"/>
    <c:dispBlanksAs val="gap"/>
    <c:showDLblsOverMax val="0"/>
  </c:chart>
  <c:spPr>
    <a:noFill/>
    <a:ln>
      <a:noFill/>
    </a:ln>
  </c:spPr>
  <c:txPr>
    <a:bodyPr/>
    <a:lstStyle/>
    <a:p>
      <a:pPr>
        <a:defRPr sz="1000" b="0" i="0" u="none" strike="noStrike" baseline="0">
          <a:solidFill>
            <a:srgbClr val="004182"/>
          </a:solidFill>
          <a:latin typeface="Arial"/>
          <a:ea typeface="Arial"/>
          <a:cs typeface="Arial"/>
        </a:defRPr>
      </a:pPr>
      <a:endParaRPr lang="en-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302364370487264"/>
          <c:y val="0.27504605276921595"/>
          <c:w val="0.45459702690832826"/>
          <c:h val="0.65670461675102221"/>
        </c:manualLayout>
      </c:layout>
      <c:barChart>
        <c:barDir val="col"/>
        <c:grouping val="stacked"/>
        <c:varyColors val="0"/>
        <c:ser>
          <c:idx val="0"/>
          <c:order val="0"/>
          <c:tx>
            <c:strRef>
              <c:f>Sheet1!$A$2</c:f>
              <c:strCache>
                <c:ptCount val="1"/>
                <c:pt idx="0">
                  <c:v>Equity</c:v>
                </c:pt>
              </c:strCache>
            </c:strRef>
          </c:tx>
          <c:spPr>
            <a:solidFill>
              <a:schemeClr val="accent1"/>
            </a:solidFill>
            <a:ln w="9522">
              <a:solidFill>
                <a:schemeClr val="accent1"/>
              </a:solidFill>
              <a:prstDash val="solid"/>
            </a:ln>
          </c:spPr>
          <c:invertIfNegative val="0"/>
          <c:dLbls>
            <c:numFmt formatCode="0.0%" sourceLinked="0"/>
            <c:spPr>
              <a:noFill/>
              <a:ln w="25393">
                <a:noFill/>
              </a:ln>
            </c:spPr>
            <c:txPr>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2:$E$2</c:f>
              <c:numCache>
                <c:formatCode>0.0%</c:formatCode>
                <c:ptCount val="4"/>
                <c:pt idx="0">
                  <c:v>0.30863177449196472</c:v>
                </c:pt>
                <c:pt idx="1">
                  <c:v>0.25740984830386415</c:v>
                </c:pt>
                <c:pt idx="2">
                  <c:v>0.30099688371267985</c:v>
                </c:pt>
              </c:numCache>
            </c:numRef>
          </c:val>
          <c:extLst>
            <c:ext xmlns:c16="http://schemas.microsoft.com/office/drawing/2014/chart" uri="{C3380CC4-5D6E-409C-BE32-E72D297353CC}">
              <c16:uniqueId val="{00000000-C5D8-4E9E-A907-C92B9AB0F812}"/>
            </c:ext>
          </c:extLst>
        </c:ser>
        <c:ser>
          <c:idx val="6"/>
          <c:order val="1"/>
          <c:tx>
            <c:strRef>
              <c:f>Sheet1!$A$3</c:f>
              <c:strCache>
                <c:ptCount val="1"/>
                <c:pt idx="0">
                  <c:v>Cash &amp; Cash Equivalents</c:v>
                </c:pt>
              </c:strCache>
            </c:strRef>
          </c:tx>
          <c:spPr>
            <a:solidFill>
              <a:schemeClr val="accent2"/>
            </a:solidFill>
            <a:ln w="9522">
              <a:solidFill>
                <a:schemeClr val="accent1"/>
              </a:solidFill>
              <a:prstDash val="solid"/>
            </a:ln>
          </c:spPr>
          <c:invertIfNegative val="0"/>
          <c:dLbls>
            <c:numFmt formatCode="0.0%" sourceLinked="0"/>
            <c:spPr>
              <a:noFill/>
              <a:ln w="25393">
                <a:noFill/>
              </a:ln>
            </c:spPr>
            <c:txPr>
              <a:bodyPr/>
              <a:lstStyle/>
              <a:p>
                <a:pPr algn="ct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3:$E$3</c:f>
              <c:numCache>
                <c:formatCode>0.0%</c:formatCode>
                <c:ptCount val="4"/>
                <c:pt idx="0">
                  <c:v>0.27183166885611698</c:v>
                </c:pt>
                <c:pt idx="1">
                  <c:v>0.27907283679898887</c:v>
                </c:pt>
                <c:pt idx="2">
                  <c:v>0.2520702309868767</c:v>
                </c:pt>
              </c:numCache>
            </c:numRef>
          </c:val>
          <c:extLst>
            <c:ext xmlns:c16="http://schemas.microsoft.com/office/drawing/2014/chart" uri="{C3380CC4-5D6E-409C-BE32-E72D297353CC}">
              <c16:uniqueId val="{00000001-C5D8-4E9E-A907-C92B9AB0F812}"/>
            </c:ext>
          </c:extLst>
        </c:ser>
        <c:ser>
          <c:idx val="1"/>
          <c:order val="2"/>
          <c:tx>
            <c:strRef>
              <c:f>Sheet1!$A$4</c:f>
              <c:strCache>
                <c:ptCount val="1"/>
                <c:pt idx="0">
                  <c:v>Fixed Income</c:v>
                </c:pt>
              </c:strCache>
            </c:strRef>
          </c:tx>
          <c:spPr>
            <a:solidFill>
              <a:schemeClr val="accent3"/>
            </a:solidFill>
            <a:ln w="9522">
              <a:solidFill>
                <a:schemeClr val="accent1"/>
              </a:solidFill>
              <a:prstDash val="solid"/>
            </a:ln>
          </c:spPr>
          <c:invertIfNegative val="0"/>
          <c:dLbls>
            <c:numFmt formatCode="0.0%" sourceLinked="0"/>
            <c:spPr>
              <a:noFill/>
              <a:ln w="25237">
                <a:noFill/>
              </a:ln>
            </c:spPr>
            <c:txPr>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4:$E$4</c:f>
              <c:numCache>
                <c:formatCode>0.0%</c:formatCode>
                <c:ptCount val="4"/>
                <c:pt idx="0">
                  <c:v>0.15766269134405186</c:v>
                </c:pt>
                <c:pt idx="1">
                  <c:v>0.17585431503303312</c:v>
                </c:pt>
                <c:pt idx="2">
                  <c:v>0.17148510578644838</c:v>
                </c:pt>
              </c:numCache>
            </c:numRef>
          </c:val>
          <c:extLst>
            <c:ext xmlns:c16="http://schemas.microsoft.com/office/drawing/2014/chart" uri="{C3380CC4-5D6E-409C-BE32-E72D297353CC}">
              <c16:uniqueId val="{00000002-C5D8-4E9E-A907-C92B9AB0F812}"/>
            </c:ext>
          </c:extLst>
        </c:ser>
        <c:ser>
          <c:idx val="3"/>
          <c:order val="3"/>
          <c:tx>
            <c:strRef>
              <c:f>Sheet1!$A$5</c:f>
              <c:strCache>
                <c:ptCount val="1"/>
                <c:pt idx="0">
                  <c:v>Real Estate</c:v>
                </c:pt>
              </c:strCache>
            </c:strRef>
          </c:tx>
          <c:spPr>
            <a:solidFill>
              <a:schemeClr val="accent4"/>
            </a:solidFill>
            <a:ln w="9522">
              <a:solidFill>
                <a:schemeClr val="accent1"/>
              </a:solidFill>
              <a:prstDash val="solid"/>
            </a:ln>
          </c:spPr>
          <c:invertIfNegative val="0"/>
          <c:dLbls>
            <c:numFmt formatCode="0.0%" sourceLinked="0"/>
            <c:spPr>
              <a:noFill/>
              <a:ln w="25237">
                <a:noFill/>
              </a:ln>
            </c:spPr>
            <c:txPr>
              <a:bodyPr/>
              <a:lstStyle/>
              <a:p>
                <a:pPr>
                  <a:defRPr>
                    <a:solidFill>
                      <a:schemeClr val="bg1"/>
                    </a:solidFil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5:$E$5</c:f>
              <c:numCache>
                <c:formatCode>0.0%</c:formatCode>
                <c:ptCount val="4"/>
                <c:pt idx="0">
                  <c:v>0.16792978283611276</c:v>
                </c:pt>
                <c:pt idx="1">
                  <c:v>0.15786977014838602</c:v>
                </c:pt>
                <c:pt idx="2">
                  <c:v>0.14635079917300303</c:v>
                </c:pt>
              </c:numCache>
            </c:numRef>
          </c:val>
          <c:extLst>
            <c:ext xmlns:c16="http://schemas.microsoft.com/office/drawing/2014/chart" uri="{C3380CC4-5D6E-409C-BE32-E72D297353CC}">
              <c16:uniqueId val="{00000003-C5D8-4E9E-A907-C92B9AB0F812}"/>
            </c:ext>
          </c:extLst>
        </c:ser>
        <c:ser>
          <c:idx val="2"/>
          <c:order val="4"/>
          <c:tx>
            <c:strRef>
              <c:f>Sheet1!$A$6</c:f>
              <c:strCache>
                <c:ptCount val="1"/>
                <c:pt idx="0">
                  <c:v>Alternative Investments</c:v>
                </c:pt>
              </c:strCache>
            </c:strRef>
          </c:tx>
          <c:spPr>
            <a:solidFill>
              <a:schemeClr val="accent5"/>
            </a:solidFill>
            <a:ln w="9522">
              <a:solidFill>
                <a:schemeClr val="accent1"/>
              </a:solidFill>
              <a:prstDash val="solid"/>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Q1 2018</c:v>
                </c:pt>
                <c:pt idx="1">
                  <c:v>Q1 2019</c:v>
                </c:pt>
                <c:pt idx="2">
                  <c:v>Q1 2020</c:v>
                </c:pt>
                <c:pt idx="3">
                  <c:v>Q1 2021</c:v>
                </c:pt>
              </c:strCache>
            </c:strRef>
          </c:cat>
          <c:val>
            <c:numRef>
              <c:f>Sheet1!$B$6:$E$6</c:f>
              <c:numCache>
                <c:formatCode>0.0%</c:formatCode>
                <c:ptCount val="4"/>
                <c:pt idx="0">
                  <c:v>9.3944082471753829E-2</c:v>
                </c:pt>
                <c:pt idx="1">
                  <c:v>0.12979322971572768</c:v>
                </c:pt>
                <c:pt idx="2">
                  <c:v>0.12909698034099215</c:v>
                </c:pt>
              </c:numCache>
            </c:numRef>
          </c:val>
          <c:extLst>
            <c:ext xmlns:c16="http://schemas.microsoft.com/office/drawing/2014/chart" uri="{C3380CC4-5D6E-409C-BE32-E72D297353CC}">
              <c16:uniqueId val="{00000000-FFAE-448B-862F-34B0C034FF09}"/>
            </c:ext>
          </c:extLst>
        </c:ser>
        <c:dLbls>
          <c:showLegendKey val="0"/>
          <c:showVal val="1"/>
          <c:showCatName val="0"/>
          <c:showSerName val="0"/>
          <c:showPercent val="0"/>
          <c:showBubbleSize val="0"/>
        </c:dLbls>
        <c:gapWidth val="50"/>
        <c:overlap val="100"/>
        <c:serLines>
          <c:spPr>
            <a:ln w="9522">
              <a:solidFill>
                <a:srgbClr val="004182"/>
              </a:solidFill>
              <a:prstDash val="dash"/>
            </a:ln>
          </c:spPr>
        </c:serLines>
        <c:axId val="736385688"/>
        <c:axId val="736389608"/>
      </c:barChart>
      <c:catAx>
        <c:axId val="736385688"/>
        <c:scaling>
          <c:orientation val="minMax"/>
        </c:scaling>
        <c:delete val="0"/>
        <c:axPos val="b"/>
        <c:numFmt formatCode="General" sourceLinked="1"/>
        <c:majorTickMark val="out"/>
        <c:minorTickMark val="none"/>
        <c:tickLblPos val="nextTo"/>
        <c:txPr>
          <a:bodyPr rot="0" vert="horz"/>
          <a:lstStyle/>
          <a:p>
            <a:pPr>
              <a:defRPr/>
            </a:pPr>
            <a:endParaRPr lang="en-BE"/>
          </a:p>
        </c:txPr>
        <c:crossAx val="736389608"/>
        <c:crosses val="autoZero"/>
        <c:auto val="1"/>
        <c:lblAlgn val="ctr"/>
        <c:lblOffset val="100"/>
        <c:tickLblSkip val="1"/>
        <c:tickMarkSkip val="1"/>
        <c:noMultiLvlLbl val="0"/>
      </c:catAx>
      <c:valAx>
        <c:axId val="736389608"/>
        <c:scaling>
          <c:orientation val="minMax"/>
          <c:max val="1"/>
          <c:min val="0"/>
        </c:scaling>
        <c:delete val="0"/>
        <c:axPos val="l"/>
        <c:title>
          <c:tx>
            <c:rich>
              <a:bodyPr/>
              <a:lstStyle/>
              <a:p>
                <a:pPr>
                  <a:defRPr/>
                </a:pPr>
                <a:r>
                  <a:rPr lang="en-US"/>
                  <a:t>Percentage of Assets (%)</a:t>
                </a:r>
              </a:p>
            </c:rich>
          </c:tx>
          <c:layout>
            <c:manualLayout>
              <c:xMode val="edge"/>
              <c:yMode val="edge"/>
              <c:x val="0.23227208931029367"/>
              <c:y val="0.41429828218479814"/>
            </c:manualLayout>
          </c:layout>
          <c:overlay val="0"/>
        </c:title>
        <c:numFmt formatCode="0%" sourceLinked="0"/>
        <c:majorTickMark val="out"/>
        <c:minorTickMark val="none"/>
        <c:tickLblPos val="nextTo"/>
        <c:crossAx val="736385688"/>
        <c:crosses val="autoZero"/>
        <c:crossBetween val="between"/>
        <c:majorUnit val="0.25"/>
        <c:minorUnit val="5.0000000000000114E-2"/>
      </c:valAx>
      <c:spPr>
        <a:noFill/>
        <a:ln w="25393">
          <a:noFill/>
        </a:ln>
      </c:spPr>
    </c:plotArea>
    <c:legend>
      <c:legendPos val="r"/>
      <c:layout>
        <c:manualLayout>
          <c:xMode val="edge"/>
          <c:yMode val="edge"/>
          <c:x val="1.9296493604978433E-2"/>
          <c:y val="0.27357124262567967"/>
          <c:w val="0.18145766099517111"/>
          <c:h val="0.63105525706838028"/>
        </c:manualLayout>
      </c:layout>
      <c:overlay val="0"/>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710182691610924E-2"/>
          <c:y val="8.0568720379147765E-2"/>
          <c:w val="0.74232301556264646"/>
          <c:h val="0.79169885603922152"/>
        </c:manualLayout>
      </c:layout>
      <c:barChart>
        <c:barDir val="col"/>
        <c:grouping val="stacked"/>
        <c:varyColors val="0"/>
        <c:ser>
          <c:idx val="0"/>
          <c:order val="0"/>
          <c:tx>
            <c:strRef>
              <c:f>Sheet1!$A$2</c:f>
              <c:strCache>
                <c:ptCount val="1"/>
                <c:pt idx="0">
                  <c:v>Equity</c:v>
                </c:pt>
              </c:strCache>
            </c:strRef>
          </c:tx>
          <c:spPr>
            <a:solidFill>
              <a:schemeClr val="accent2"/>
            </a:solidFill>
            <a:ln w="9522">
              <a:solidFill>
                <a:schemeClr val="accent1"/>
              </a:solidFill>
              <a:prstDash val="solid"/>
            </a:ln>
          </c:spPr>
          <c:invertIfNegative val="0"/>
          <c:dLbls>
            <c:numFmt formatCode="0.0%" sourceLinked="0"/>
            <c:spPr>
              <a:noFill/>
              <a:ln w="25393">
                <a:noFill/>
              </a:ln>
            </c:spPr>
            <c:txPr>
              <a:bodyPr anchorCtr="0"/>
              <a:lstStyle/>
              <a:p>
                <a:pPr algn="ctr">
                  <a:defRPr lang="en-US" sz="1000" b="0" i="0" u="none" strike="noStrike" kern="1200" baseline="0">
                    <a:solidFill>
                      <a:schemeClr val="bg1"/>
                    </a:solidFill>
                    <a:latin typeface="+mn-lt"/>
                    <a:ea typeface="Arial"/>
                    <a:cs typeface="Arial"/>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Global</c:v>
                </c:pt>
                <c:pt idx="1">
                  <c:v>Asia-Pacific excl. Japan</c:v>
                </c:pt>
                <c:pt idx="2">
                  <c:v>Japan</c:v>
                </c:pt>
                <c:pt idx="3">
                  <c:v>Latin America</c:v>
                </c:pt>
                <c:pt idx="4">
                  <c:v>North America</c:v>
                </c:pt>
                <c:pt idx="5">
                  <c:v>Europe</c:v>
                </c:pt>
              </c:strCache>
            </c:strRef>
          </c:cat>
          <c:val>
            <c:numRef>
              <c:f>Sheet1!$B$2:$G$2</c:f>
              <c:numCache>
                <c:formatCode>0.0%</c:formatCode>
                <c:ptCount val="6"/>
                <c:pt idx="0">
                  <c:v>0.30099688371267985</c:v>
                </c:pt>
                <c:pt idx="1">
                  <c:v>0.22735313640310145</c:v>
                </c:pt>
                <c:pt idx="2">
                  <c:v>0.30840000000000001</c:v>
                </c:pt>
                <c:pt idx="3">
                  <c:v>0.2184623791432401</c:v>
                </c:pt>
                <c:pt idx="4">
                  <c:v>0.38823468019103818</c:v>
                </c:pt>
                <c:pt idx="5">
                  <c:v>0.24505263000241087</c:v>
                </c:pt>
              </c:numCache>
            </c:numRef>
          </c:val>
          <c:extLst>
            <c:ext xmlns:c16="http://schemas.microsoft.com/office/drawing/2014/chart" uri="{C3380CC4-5D6E-409C-BE32-E72D297353CC}">
              <c16:uniqueId val="{00000000-219A-44BA-924E-5E9D5D11B5F3}"/>
            </c:ext>
          </c:extLst>
        </c:ser>
        <c:ser>
          <c:idx val="6"/>
          <c:order val="1"/>
          <c:tx>
            <c:strRef>
              <c:f>Sheet1!$A$3</c:f>
              <c:strCache>
                <c:ptCount val="1"/>
                <c:pt idx="0">
                  <c:v>Cash &amp; Cash Equivalents</c:v>
                </c:pt>
              </c:strCache>
            </c:strRef>
          </c:tx>
          <c:spPr>
            <a:solidFill>
              <a:schemeClr val="accent1"/>
            </a:solidFill>
            <a:ln w="9522">
              <a:solidFill>
                <a:schemeClr val="accent1"/>
              </a:solidFill>
              <a:prstDash val="solid"/>
            </a:ln>
          </c:spPr>
          <c:invertIfNegative val="0"/>
          <c:dLbls>
            <c:numFmt formatCode="0.0%" sourceLinked="0"/>
            <c:spPr>
              <a:noFill/>
              <a:ln w="25393">
                <a:noFill/>
              </a:ln>
            </c:spPr>
            <c:txPr>
              <a:bodyPr/>
              <a:lstStyle/>
              <a:p>
                <a:pPr>
                  <a:defRPr>
                    <a:solidFill>
                      <a:schemeClr val="bg1"/>
                    </a:solidFill>
                    <a:latin typeface="+mn-lt"/>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Global</c:v>
                </c:pt>
                <c:pt idx="1">
                  <c:v>Asia-Pacific excl. Japan</c:v>
                </c:pt>
                <c:pt idx="2">
                  <c:v>Japan</c:v>
                </c:pt>
                <c:pt idx="3">
                  <c:v>Latin America</c:v>
                </c:pt>
                <c:pt idx="4">
                  <c:v>North America</c:v>
                </c:pt>
                <c:pt idx="5">
                  <c:v>Europe</c:v>
                </c:pt>
              </c:strCache>
            </c:strRef>
          </c:cat>
          <c:val>
            <c:numRef>
              <c:f>Sheet1!$B$3:$G$3</c:f>
              <c:numCache>
                <c:formatCode>0.0%</c:formatCode>
                <c:ptCount val="6"/>
                <c:pt idx="0">
                  <c:v>0.2520702309868767</c:v>
                </c:pt>
                <c:pt idx="1">
                  <c:v>0.24105603191232894</c:v>
                </c:pt>
                <c:pt idx="2">
                  <c:v>0.29047999999999996</c:v>
                </c:pt>
                <c:pt idx="3">
                  <c:v>0.21870648353375352</c:v>
                </c:pt>
                <c:pt idx="4">
                  <c:v>0.22143886518343778</c:v>
                </c:pt>
                <c:pt idx="5">
                  <c:v>0.2747469377823521</c:v>
                </c:pt>
              </c:numCache>
            </c:numRef>
          </c:val>
          <c:extLst>
            <c:ext xmlns:c16="http://schemas.microsoft.com/office/drawing/2014/chart" uri="{C3380CC4-5D6E-409C-BE32-E72D297353CC}">
              <c16:uniqueId val="{00000001-219A-44BA-924E-5E9D5D11B5F3}"/>
            </c:ext>
          </c:extLst>
        </c:ser>
        <c:ser>
          <c:idx val="1"/>
          <c:order val="2"/>
          <c:tx>
            <c:strRef>
              <c:f>Sheet1!$A$4</c:f>
              <c:strCache>
                <c:ptCount val="1"/>
                <c:pt idx="0">
                  <c:v>Fixed Income</c:v>
                </c:pt>
              </c:strCache>
            </c:strRef>
          </c:tx>
          <c:spPr>
            <a:solidFill>
              <a:schemeClr val="accent3"/>
            </a:solidFill>
            <a:ln w="9522">
              <a:solidFill>
                <a:schemeClr val="accent1"/>
              </a:solidFill>
              <a:prstDash val="solid"/>
            </a:ln>
          </c:spPr>
          <c:invertIfNegative val="0"/>
          <c:dLbls>
            <c:numFmt formatCode="0.0%" sourceLinked="0"/>
            <c:spPr>
              <a:noFill/>
              <a:ln w="25237">
                <a:noFill/>
              </a:ln>
            </c:spPr>
            <c:txPr>
              <a:bodyPr wrap="square" lIns="38100" tIns="19050" rIns="38100" bIns="19050" anchor="ctr">
                <a:spAutoFit/>
              </a:bodyPr>
              <a:lstStyle/>
              <a:p>
                <a:pPr>
                  <a:defRPr>
                    <a:solidFill>
                      <a:schemeClr val="bg1"/>
                    </a:solidFill>
                    <a:latin typeface="+mn-lt"/>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Global</c:v>
                </c:pt>
                <c:pt idx="1">
                  <c:v>Asia-Pacific excl. Japan</c:v>
                </c:pt>
                <c:pt idx="2">
                  <c:v>Japan</c:v>
                </c:pt>
                <c:pt idx="3">
                  <c:v>Latin America</c:v>
                </c:pt>
                <c:pt idx="4">
                  <c:v>North America</c:v>
                </c:pt>
                <c:pt idx="5">
                  <c:v>Europe</c:v>
                </c:pt>
              </c:strCache>
            </c:strRef>
          </c:cat>
          <c:val>
            <c:numRef>
              <c:f>Sheet1!$B$4:$G$4</c:f>
              <c:numCache>
                <c:formatCode>0.0%</c:formatCode>
                <c:ptCount val="6"/>
                <c:pt idx="0">
                  <c:v>0.17148510578644838</c:v>
                </c:pt>
                <c:pt idx="1">
                  <c:v>0.18807123984982149</c:v>
                </c:pt>
                <c:pt idx="2">
                  <c:v>0.16248000000000001</c:v>
                </c:pt>
                <c:pt idx="3">
                  <c:v>0.18260166763884833</c:v>
                </c:pt>
                <c:pt idx="4">
                  <c:v>0.17495527519249149</c:v>
                </c:pt>
                <c:pt idx="5">
                  <c:v>0.16182354095460968</c:v>
                </c:pt>
              </c:numCache>
            </c:numRef>
          </c:val>
          <c:extLst>
            <c:ext xmlns:c16="http://schemas.microsoft.com/office/drawing/2014/chart" uri="{C3380CC4-5D6E-409C-BE32-E72D297353CC}">
              <c16:uniqueId val="{00000002-219A-44BA-924E-5E9D5D11B5F3}"/>
            </c:ext>
          </c:extLst>
        </c:ser>
        <c:ser>
          <c:idx val="3"/>
          <c:order val="3"/>
          <c:tx>
            <c:strRef>
              <c:f>Sheet1!$A$5</c:f>
              <c:strCache>
                <c:ptCount val="1"/>
                <c:pt idx="0">
                  <c:v>Real Estate</c:v>
                </c:pt>
              </c:strCache>
            </c:strRef>
          </c:tx>
          <c:spPr>
            <a:solidFill>
              <a:schemeClr val="accent4"/>
            </a:solidFill>
            <a:ln w="9522">
              <a:solidFill>
                <a:schemeClr val="accent1"/>
              </a:solidFill>
              <a:prstDash val="solid"/>
            </a:ln>
          </c:spPr>
          <c:invertIfNegative val="0"/>
          <c:dLbls>
            <c:numFmt formatCode="0.0%" sourceLinked="0"/>
            <c:spPr>
              <a:noFill/>
              <a:ln w="25237">
                <a:noFill/>
              </a:ln>
            </c:spPr>
            <c:txPr>
              <a:bodyPr wrap="square" lIns="38100" tIns="19050" rIns="38100" bIns="19050" anchor="ctr">
                <a:spAutoFit/>
              </a:bodyPr>
              <a:lstStyle/>
              <a:p>
                <a:pPr>
                  <a:defRPr>
                    <a:solidFill>
                      <a:schemeClr val="bg1"/>
                    </a:solidFill>
                    <a:latin typeface="+mn-lt"/>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Global</c:v>
                </c:pt>
                <c:pt idx="1">
                  <c:v>Asia-Pacific excl. Japan</c:v>
                </c:pt>
                <c:pt idx="2">
                  <c:v>Japan</c:v>
                </c:pt>
                <c:pt idx="3">
                  <c:v>Latin America</c:v>
                </c:pt>
                <c:pt idx="4">
                  <c:v>North America</c:v>
                </c:pt>
                <c:pt idx="5">
                  <c:v>Europe</c:v>
                </c:pt>
              </c:strCache>
            </c:strRef>
          </c:cat>
          <c:val>
            <c:numRef>
              <c:f>Sheet1!$B$5:$G$5</c:f>
              <c:numCache>
                <c:formatCode>0.0%</c:formatCode>
                <c:ptCount val="6"/>
                <c:pt idx="0">
                  <c:v>0.14635079917300303</c:v>
                </c:pt>
                <c:pt idx="1">
                  <c:v>0.18925826628989215</c:v>
                </c:pt>
                <c:pt idx="2">
                  <c:v>0.13752</c:v>
                </c:pt>
                <c:pt idx="3">
                  <c:v>0.19016036003281009</c:v>
                </c:pt>
                <c:pt idx="4">
                  <c:v>0.10981305993106007</c:v>
                </c:pt>
                <c:pt idx="5">
                  <c:v>0.16513269641634579</c:v>
                </c:pt>
              </c:numCache>
            </c:numRef>
          </c:val>
          <c:extLst>
            <c:ext xmlns:c16="http://schemas.microsoft.com/office/drawing/2014/chart" uri="{C3380CC4-5D6E-409C-BE32-E72D297353CC}">
              <c16:uniqueId val="{00000003-219A-44BA-924E-5E9D5D11B5F3}"/>
            </c:ext>
          </c:extLst>
        </c:ser>
        <c:ser>
          <c:idx val="4"/>
          <c:order val="4"/>
          <c:tx>
            <c:strRef>
              <c:f>Sheet1!$A$6</c:f>
              <c:strCache>
                <c:ptCount val="1"/>
                <c:pt idx="0">
                  <c:v>Alternative Investments</c:v>
                </c:pt>
              </c:strCache>
            </c:strRef>
          </c:tx>
          <c:spPr>
            <a:solidFill>
              <a:schemeClr val="accent5"/>
            </a:solidFill>
            <a:ln w="9522">
              <a:solidFill>
                <a:schemeClr val="accent1"/>
              </a:solidFill>
              <a:prstDash val="solid"/>
            </a:ln>
          </c:spPr>
          <c:invertIfNegative val="0"/>
          <c:dLbls>
            <c:numFmt formatCode="0.0%" sourceLinked="0"/>
            <c:spPr>
              <a:noFill/>
              <a:ln w="25237">
                <a:noFill/>
              </a:ln>
            </c:spPr>
            <c:txPr>
              <a:bodyPr/>
              <a:lstStyle/>
              <a:p>
                <a:pPr>
                  <a:defRPr>
                    <a:solidFill>
                      <a:schemeClr val="tx1"/>
                    </a:solidFill>
                    <a:latin typeface="+mn-lt"/>
                  </a:defRPr>
                </a:pPr>
                <a:endParaRPr lang="en-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Global</c:v>
                </c:pt>
                <c:pt idx="1">
                  <c:v>Asia-Pacific excl. Japan</c:v>
                </c:pt>
                <c:pt idx="2">
                  <c:v>Japan</c:v>
                </c:pt>
                <c:pt idx="3">
                  <c:v>Latin America</c:v>
                </c:pt>
                <c:pt idx="4">
                  <c:v>North America</c:v>
                </c:pt>
                <c:pt idx="5">
                  <c:v>Europe</c:v>
                </c:pt>
              </c:strCache>
            </c:strRef>
          </c:cat>
          <c:val>
            <c:numRef>
              <c:f>Sheet1!$B$6:$G$6</c:f>
              <c:numCache>
                <c:formatCode>0.0%</c:formatCode>
                <c:ptCount val="6"/>
                <c:pt idx="0">
                  <c:v>0.12909698034099215</c:v>
                </c:pt>
                <c:pt idx="1">
                  <c:v>0.15426132554485578</c:v>
                </c:pt>
                <c:pt idx="2">
                  <c:v>0.10112</c:v>
                </c:pt>
                <c:pt idx="3">
                  <c:v>0.19006910965134804</c:v>
                </c:pt>
                <c:pt idx="4">
                  <c:v>0.10555811950197257</c:v>
                </c:pt>
                <c:pt idx="5">
                  <c:v>0.15324419484428164</c:v>
                </c:pt>
              </c:numCache>
            </c:numRef>
          </c:val>
          <c:extLst>
            <c:ext xmlns:c16="http://schemas.microsoft.com/office/drawing/2014/chart" uri="{C3380CC4-5D6E-409C-BE32-E72D297353CC}">
              <c16:uniqueId val="{00000004-219A-44BA-924E-5E9D5D11B5F3}"/>
            </c:ext>
          </c:extLst>
        </c:ser>
        <c:dLbls>
          <c:showLegendKey val="0"/>
          <c:showVal val="1"/>
          <c:showCatName val="0"/>
          <c:showSerName val="0"/>
          <c:showPercent val="0"/>
          <c:showBubbleSize val="0"/>
        </c:dLbls>
        <c:gapWidth val="50"/>
        <c:overlap val="100"/>
        <c:serLines>
          <c:spPr>
            <a:ln w="9522">
              <a:solidFill>
                <a:srgbClr val="004182"/>
              </a:solidFill>
              <a:prstDash val="dash"/>
            </a:ln>
          </c:spPr>
        </c:serLines>
        <c:axId val="589184048"/>
        <c:axId val="589187968"/>
      </c:barChart>
      <c:catAx>
        <c:axId val="589184048"/>
        <c:scaling>
          <c:orientation val="minMax"/>
        </c:scaling>
        <c:delete val="0"/>
        <c:axPos val="b"/>
        <c:numFmt formatCode="General" sourceLinked="1"/>
        <c:majorTickMark val="out"/>
        <c:minorTickMark val="none"/>
        <c:tickLblPos val="nextTo"/>
        <c:spPr>
          <a:ln>
            <a:solidFill>
              <a:schemeClr val="bg1">
                <a:lumMod val="75000"/>
              </a:schemeClr>
            </a:solidFill>
          </a:ln>
        </c:spPr>
        <c:txPr>
          <a:bodyPr rot="0" vert="horz"/>
          <a:lstStyle/>
          <a:p>
            <a:pPr>
              <a:defRPr lang="en-US" sz="1000" kern="1200">
                <a:solidFill>
                  <a:schemeClr val="tx2">
                    <a:lumMod val="50000"/>
                  </a:schemeClr>
                </a:solidFill>
                <a:latin typeface="+mn-lt"/>
                <a:ea typeface="+mn-ea"/>
                <a:cs typeface="+mn-cs"/>
              </a:defRPr>
            </a:pPr>
            <a:endParaRPr lang="en-BE"/>
          </a:p>
        </c:txPr>
        <c:crossAx val="589187968"/>
        <c:crosses val="autoZero"/>
        <c:auto val="1"/>
        <c:lblAlgn val="ctr"/>
        <c:lblOffset val="100"/>
        <c:tickLblSkip val="1"/>
        <c:tickMarkSkip val="1"/>
        <c:noMultiLvlLbl val="0"/>
      </c:catAx>
      <c:valAx>
        <c:axId val="589187968"/>
        <c:scaling>
          <c:orientation val="minMax"/>
          <c:max val="1.01"/>
          <c:min val="0"/>
        </c:scaling>
        <c:delete val="0"/>
        <c:axPos val="l"/>
        <c:title>
          <c:tx>
            <c:rich>
              <a:bodyPr/>
              <a:lstStyle/>
              <a:p>
                <a:pPr>
                  <a:defRPr lang="en-US" sz="1000" kern="1200" dirty="0" smtClean="0">
                    <a:solidFill>
                      <a:schemeClr val="tx2">
                        <a:lumMod val="50000"/>
                      </a:schemeClr>
                    </a:solidFill>
                    <a:latin typeface="+mn-lt"/>
                    <a:ea typeface="+mn-ea"/>
                    <a:cs typeface="+mn-cs"/>
                  </a:defRPr>
                </a:pPr>
                <a:r>
                  <a:rPr lang="en-US" sz="1000" kern="1200" dirty="0">
                    <a:solidFill>
                      <a:schemeClr val="tx2">
                        <a:lumMod val="50000"/>
                      </a:schemeClr>
                    </a:solidFill>
                    <a:latin typeface="+mn-lt"/>
                    <a:ea typeface="+mn-ea"/>
                    <a:cs typeface="+mn-cs"/>
                  </a:rPr>
                  <a:t>Percentage of </a:t>
                </a:r>
                <a:r>
                  <a:rPr lang="en-US" sz="1000" kern="1200" dirty="0">
                    <a:solidFill>
                      <a:schemeClr val="tx1"/>
                    </a:solidFill>
                    <a:latin typeface="+mn-lt"/>
                    <a:ea typeface="+mn-ea"/>
                    <a:cs typeface="+mn-cs"/>
                  </a:rPr>
                  <a:t>assets</a:t>
                </a:r>
                <a:endParaRPr lang="en-US" sz="1000" kern="1200" dirty="0">
                  <a:solidFill>
                    <a:schemeClr val="tx2">
                      <a:lumMod val="50000"/>
                    </a:schemeClr>
                  </a:solidFill>
                  <a:latin typeface="+mn-lt"/>
                  <a:ea typeface="+mn-ea"/>
                  <a:cs typeface="+mn-cs"/>
                </a:endParaRPr>
              </a:p>
            </c:rich>
          </c:tx>
          <c:overlay val="0"/>
        </c:title>
        <c:numFmt formatCode="0%" sourceLinked="0"/>
        <c:majorTickMark val="out"/>
        <c:minorTickMark val="none"/>
        <c:tickLblPos val="nextTo"/>
        <c:spPr>
          <a:ln>
            <a:solidFill>
              <a:schemeClr val="bg1">
                <a:lumMod val="75000"/>
              </a:schemeClr>
            </a:solidFill>
          </a:ln>
        </c:spPr>
        <c:txPr>
          <a:bodyPr/>
          <a:lstStyle/>
          <a:p>
            <a:pPr>
              <a:defRPr>
                <a:latin typeface="+mn-lt"/>
              </a:defRPr>
            </a:pPr>
            <a:endParaRPr lang="en-BE"/>
          </a:p>
        </c:txPr>
        <c:crossAx val="589184048"/>
        <c:crosses val="autoZero"/>
        <c:crossBetween val="between"/>
        <c:majorUnit val="0.25"/>
        <c:minorUnit val="5.0000000000000114E-2"/>
      </c:valAx>
      <c:spPr>
        <a:noFill/>
        <a:ln w="25393">
          <a:noFill/>
        </a:ln>
      </c:spPr>
    </c:plotArea>
    <c:legend>
      <c:legendPos val="r"/>
      <c:layout>
        <c:manualLayout>
          <c:xMode val="edge"/>
          <c:yMode val="edge"/>
          <c:x val="0.84298454032299586"/>
          <c:y val="7.969147724458972E-2"/>
          <c:w val="0.1500595361330104"/>
          <c:h val="0.79030233249145732"/>
        </c:manualLayout>
      </c:layout>
      <c:overlay val="0"/>
    </c:legend>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6</c:v>
                </c:pt>
                <c:pt idx="1">
                  <c:v>0.35</c:v>
                </c:pt>
              </c:numCache>
            </c:numRef>
          </c:val>
          <c:extLst>
            <c:ext xmlns:c16="http://schemas.microsoft.com/office/drawing/2014/chart" uri="{C3380CC4-5D6E-409C-BE32-E72D297353CC}">
              <c16:uniqueId val="{00000000-6451-421D-86A3-7587F68D5623}"/>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11</c:v>
                </c:pt>
                <c:pt idx="1">
                  <c:v>0.15</c:v>
                </c:pt>
              </c:numCache>
            </c:numRef>
          </c:val>
          <c:extLst>
            <c:ext xmlns:c16="http://schemas.microsoft.com/office/drawing/2014/chart" uri="{C3380CC4-5D6E-409C-BE32-E72D297353CC}">
              <c16:uniqueId val="{00000000-CB85-4917-BDDC-C9FEB3624FAB}"/>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18971" y="0"/>
            <a:ext cx="2921582" cy="49534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10/07/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900"/>
            </a:lvl1pPr>
          </a:lstStyle>
          <a:p>
            <a:fld id="{0835B8F7-DAC4-4931-8AED-4356A8B2FD64}" type="datetimeFigureOut">
              <a:rPr lang="pt-BR" smtClean="0"/>
              <a:pPr/>
              <a:t>10/07/2020</a:t>
            </a:fld>
            <a:endParaRPr lang="pt-BR"/>
          </a:p>
        </p:txBody>
      </p:sp>
      <p:sp>
        <p:nvSpPr>
          <p:cNvPr id="4" name="Marcador de Posição da Imagem do Diapositivo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865759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3865759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2581811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illingness to pay for added services is high with the younger generation, so again focus on a new fee model not any more based on size of asset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26764455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ustainable investing is already well established in BE and all banks have a sustainable offering.  Some are even going “sustainable onl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951403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more people invest in Sustainable products, the more outperformance they will have, so the more popular they will become: self-fulfilling prophec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1347588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15068702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ig correlation between activities in value chain that have negative client perception, are susceptible to attack by BigTech and are important Wow moments! These are the areas wealth managers should focus 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82939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7</a:t>
            </a:fld>
            <a:endParaRPr lang="pt-BR"/>
          </a:p>
        </p:txBody>
      </p:sp>
    </p:spTree>
    <p:extLst>
      <p:ext uri="{BB962C8B-B14F-4D97-AF65-F5344CB8AC3E}">
        <p14:creationId xmlns:p14="http://schemas.microsoft.com/office/powerpoint/2010/main" val="3181091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g8729ec652e_0_9485:notes"/>
          <p:cNvSpPr>
            <a:spLocks noGrp="1" noRot="1" noChangeAspect="1"/>
          </p:cNvSpPr>
          <p:nvPr>
            <p:ph type="sldImg" idx="2"/>
          </p:nvPr>
        </p:nvSpPr>
        <p:spPr>
          <a:xfrm>
            <a:off x="79375" y="739775"/>
            <a:ext cx="6583363" cy="370363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0" name="Google Shape;330;g8729ec652e_0_9485:notes"/>
          <p:cNvSpPr txBox="1">
            <a:spLocks noGrp="1"/>
          </p:cNvSpPr>
          <p:nvPr>
            <p:ph type="body" idx="1"/>
          </p:nvPr>
        </p:nvSpPr>
        <p:spPr>
          <a:xfrm>
            <a:off x="674212" y="4689515"/>
            <a:ext cx="5393690" cy="444269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Fortress mentality</a:t>
            </a:r>
            <a:endParaRPr/>
          </a:p>
          <a:p>
            <a:pPr marL="0" lvl="0" indent="0" algn="l" rtl="0">
              <a:spcBef>
                <a:spcPts val="0"/>
              </a:spcBef>
              <a:spcAft>
                <a:spcPts val="0"/>
              </a:spcAft>
              <a:buNone/>
            </a:pPr>
            <a:r>
              <a:rPr lang="en"/>
              <a:t>Cross Industry Collaboration to address different remediation programs (governments, agencies, peer banks, customers, suppliers)</a:t>
            </a:r>
            <a:endParaRPr/>
          </a:p>
          <a:p>
            <a:pPr marL="0" lvl="0" indent="0" algn="l" rtl="0">
              <a:spcBef>
                <a:spcPts val="0"/>
              </a:spcBef>
              <a:spcAft>
                <a:spcPts val="0"/>
              </a:spcAft>
              <a:buNone/>
            </a:pPr>
            <a:r>
              <a:rPr lang="en"/>
              <a:t>This is the time where we need to step up as partner and not act as a Vendor.</a:t>
            </a:r>
            <a:endParaRPr/>
          </a:p>
          <a:p>
            <a:pPr marL="0" lvl="0" indent="0" algn="l" rtl="0">
              <a:spcBef>
                <a:spcPts val="0"/>
              </a:spcBef>
              <a:spcAft>
                <a:spcPts val="0"/>
              </a:spcAft>
              <a:buNone/>
            </a:pPr>
            <a:r>
              <a:rPr lang="en"/>
              <a:t>Ability to position the platform as mechanism to do rapid app build </a:t>
            </a:r>
            <a:endParaRPr/>
          </a:p>
          <a:p>
            <a:pPr marL="0" lvl="0" indent="0" algn="l" rtl="0">
              <a:spcBef>
                <a:spcPts val="0"/>
              </a:spcBef>
              <a:spcAft>
                <a:spcPts val="0"/>
              </a:spcAft>
              <a:buNone/>
            </a:pPr>
            <a:r>
              <a:rPr lang="en"/>
              <a:t>Vendor consolidation is possible </a:t>
            </a:r>
            <a:endParaRPr/>
          </a:p>
          <a:p>
            <a:pPr marL="0" lvl="0" indent="0" algn="l" rtl="0">
              <a:spcBef>
                <a:spcPts val="0"/>
              </a:spcBef>
              <a:spcAft>
                <a:spcPts val="0"/>
              </a:spcAft>
              <a:buNone/>
            </a:pPr>
            <a:r>
              <a:rPr lang="en"/>
              <a:t>What are the strategies that have happened in the past that are being radically challenged due to these shocks</a:t>
            </a:r>
            <a:endParaRPr/>
          </a:p>
          <a:p>
            <a:pPr marL="0" lvl="0" indent="0" algn="l" rtl="0">
              <a:spcBef>
                <a:spcPts val="0"/>
              </a:spcBef>
              <a:spcAft>
                <a:spcPts val="0"/>
              </a:spcAft>
              <a:buNone/>
            </a:pPr>
            <a:r>
              <a:rPr lang="en"/>
              <a:t>Build trust by leaning in on ‘how to better leverage what you’ve invested to address immediate concerns</a:t>
            </a:r>
            <a:endParaRPr/>
          </a:p>
          <a:p>
            <a:pPr marL="0" lvl="0" indent="0" algn="l" rtl="0">
              <a:spcBef>
                <a:spcPts val="0"/>
              </a:spcBef>
              <a:spcAft>
                <a:spcPts val="0"/>
              </a:spcAft>
              <a:buNone/>
            </a:pPr>
            <a:r>
              <a:rPr lang="en" b="1"/>
              <a:t>Virtual Collaboration Models- New Ways of Working!  - how to maintain ‘high touch’ albeit through virtual mechanism</a:t>
            </a:r>
            <a:endParaRPr b="1"/>
          </a:p>
          <a:p>
            <a:pPr marL="0" lvl="0" indent="0" algn="l" rtl="0">
              <a:spcBef>
                <a:spcPts val="0"/>
              </a:spcBef>
              <a:spcAft>
                <a:spcPts val="0"/>
              </a:spcAft>
              <a:buNone/>
            </a:pPr>
            <a:r>
              <a:rPr lang="en"/>
              <a:t>Unless you are helping me with ‘mission critical’ we won’t get much face time.</a:t>
            </a:r>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1447462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3442828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Growth of 8,8% while GDP growth declined: due to good performance of stock markets</a:t>
            </a:r>
          </a:p>
          <a:p>
            <a:r>
              <a:rPr lang="nl-BE" dirty="0"/>
              <a:t>For the first time since 2012 Asia-Pacific is not leading the growth, but North America is.</a:t>
            </a:r>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2690606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Growth in wealth even higher than in total HNWI populati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1621554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ealth managers to be able to be future proof need to be prepared for volatility</a:t>
            </a:r>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89915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97150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ee that Asset Allocation follows financial market so basically market effects generate the change in Asset Allocati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12184782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8.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1.png"/><Relationship Id="rId4" Type="http://schemas.openxmlformats.org/officeDocument/2006/relationships/image" Target="../media/image20.sv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8.png"/><Relationship Id="rId5" Type="http://schemas.openxmlformats.org/officeDocument/2006/relationships/image" Target="../media/image2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7.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29.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www.capgemini.com/about/how-we-work/the-collaborative-business-experiencetm" TargetMode="External"/><Relationship Id="rId3" Type="http://schemas.openxmlformats.org/officeDocument/2006/relationships/hyperlink" Target="http://www.linkedin.com/company/capgemini-invent" TargetMode="External"/><Relationship Id="rId7" Type="http://schemas.openxmlformats.org/officeDocument/2006/relationships/hyperlink" Target="https://twitter.com/CapgeminiInvent" TargetMode="External"/><Relationship Id="rId12" Type="http://schemas.openxmlformats.org/officeDocument/2006/relationships/image" Target="../media/image28.png"/><Relationship Id="rId2" Type="http://schemas.openxmlformats.org/officeDocument/2006/relationships/image" Target="../media/image31.png"/><Relationship Id="rId1" Type="http://schemas.openxmlformats.org/officeDocument/2006/relationships/slideMaster" Target="../slideMasters/slideMaster3.xml"/><Relationship Id="rId6" Type="http://schemas.openxmlformats.org/officeDocument/2006/relationships/image" Target="../media/image25.png"/><Relationship Id="rId11" Type="http://schemas.openxmlformats.org/officeDocument/2006/relationships/hyperlink" Target="https://www.facebook.com/capgeminiinvent/" TargetMode="External"/><Relationship Id="rId5" Type="http://schemas.openxmlformats.org/officeDocument/2006/relationships/hyperlink" Target="http://www.slideshare.net/capgemini" TargetMode="External"/><Relationship Id="rId10" Type="http://schemas.openxmlformats.org/officeDocument/2006/relationships/image" Target="../media/image27.png"/><Relationship Id="rId4" Type="http://schemas.openxmlformats.org/officeDocument/2006/relationships/image" Target="../media/image24.png"/><Relationship Id="rId9" Type="http://schemas.openxmlformats.org/officeDocument/2006/relationships/hyperlink" Target="http://www.youtube.com/capgeminimedia" TargetMode="External"/><Relationship Id="rId14" Type="http://schemas.openxmlformats.org/officeDocument/2006/relationships/hyperlink" Target="http://www.capgemini.com/invent"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8.xml"/><Relationship Id="rId16" Type="http://schemas.openxmlformats.org/officeDocument/2006/relationships/image" Target="../media/image17.png"/><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 Id="rId14" Type="http://schemas.openxmlformats.org/officeDocument/2006/relationships/image" Target="../media/image1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with Shapes - Layout5">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239713" y="152400"/>
            <a:ext cx="11197582" cy="863600"/>
          </a:xfrm>
          <a:prstGeom prst="rect">
            <a:avLst/>
          </a:prstGeom>
        </p:spPr>
        <p:txBody>
          <a:bodyPr vert="horz" lIns="0" tIns="0" rIns="0" bIns="0" rtlCol="0" anchor="t">
            <a:normAutofit/>
          </a:bodyPr>
          <a:lstStyle>
            <a:lvl1pPr>
              <a:lnSpc>
                <a:spcPct val="100000"/>
              </a:lnSpc>
              <a:defRPr lang="pt-PT" sz="2400"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5218099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C23CE0-C94F-4966-86AD-A9770D76EFC2}"/>
              </a:ext>
            </a:extLst>
          </p:cNvPr>
          <p:cNvGraphicFramePr>
            <a:graphicFrameLocks noChangeAspect="1"/>
          </p:cNvGraphicFramePr>
          <p:nvPr userDrawn="1">
            <p:custDataLst>
              <p:tags r:id="rId2"/>
            </p:custDataLst>
            <p:extLst>
              <p:ext uri="{D42A27DB-BD31-4B8C-83A1-F6EECF244321}">
                <p14:modId xmlns:p14="http://schemas.microsoft.com/office/powerpoint/2010/main" val="298167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5" name="think-cell Slide" r:id="rId5" imgW="503" imgH="503" progId="TCLayout.ActiveDocument.1">
                  <p:embed/>
                </p:oleObj>
              </mc:Choice>
              <mc:Fallback>
                <p:oleObj name="think-cell Slide" r:id="rId5" imgW="503" imgH="503" progId="TCLayout.ActiveDocument.1">
                  <p:embed/>
                  <p:pic>
                    <p:nvPicPr>
                      <p:cNvPr id="6" name="Object 5" hidden="1">
                        <a:extLst>
                          <a:ext uri="{FF2B5EF4-FFF2-40B4-BE49-F238E27FC236}">
                            <a16:creationId xmlns:a16="http://schemas.microsoft.com/office/drawing/2014/main" id="{99C23CE0-C94F-4966-86AD-A9770D76E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147B6B-C02E-4D33-9B0C-F5C95735EC2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AU" sz="30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AU"/>
              <a:t>Click to edit Master title style</a:t>
            </a:r>
            <a:endParaRPr lang="en-AU" dirty="0"/>
          </a:p>
        </p:txBody>
      </p:sp>
      <p:sp>
        <p:nvSpPr>
          <p:cNvPr id="4" name="Text Placeholder 3"/>
          <p:cNvSpPr>
            <a:spLocks noGrp="1"/>
          </p:cNvSpPr>
          <p:nvPr>
            <p:ph type="body" sz="quarter" idx="10" hasCustomPrompt="1"/>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AU"/>
              <a:t>Edit Master text styles</a:t>
            </a:r>
          </a:p>
          <a:p>
            <a:pPr lvl="1"/>
            <a:r>
              <a:rPr lang="en-AU"/>
              <a:t>Second level</a:t>
            </a:r>
          </a:p>
          <a:p>
            <a:pPr lvl="2"/>
            <a:r>
              <a:rPr lang="en-AU"/>
              <a:t>Third level</a:t>
            </a:r>
          </a:p>
          <a:p>
            <a:pPr lvl="3"/>
            <a:r>
              <a:rPr lang="en-AU"/>
              <a:t>Fourth level</a:t>
            </a:r>
            <a:endParaRPr lang="en-AU"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AU"/>
              <a:t>Click to edit Master subtitle styles</a:t>
            </a:r>
            <a:endParaRPr lang="en-AU" dirty="0"/>
          </a:p>
        </p:txBody>
      </p:sp>
    </p:spTree>
    <p:extLst>
      <p:ext uri="{BB962C8B-B14F-4D97-AF65-F5344CB8AC3E}">
        <p14:creationId xmlns:p14="http://schemas.microsoft.com/office/powerpoint/2010/main" val="9072258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Blank-White">
    <p:spTree>
      <p:nvGrpSpPr>
        <p:cNvPr id="1" name=""/>
        <p:cNvGrpSpPr/>
        <p:nvPr/>
      </p:nvGrpSpPr>
      <p:grpSpPr>
        <a:xfrm>
          <a:off x="0" y="0"/>
          <a:ext cx="0" cy="0"/>
          <a:chOff x="0" y="0"/>
          <a:chExt cx="0" cy="0"/>
        </a:xfrm>
      </p:grpSpPr>
      <p:grpSp>
        <p:nvGrpSpPr>
          <p:cNvPr id="5" name="Group 4"/>
          <p:cNvGrpSpPr/>
          <p:nvPr userDrawn="1"/>
        </p:nvGrpSpPr>
        <p:grpSpPr>
          <a:xfrm>
            <a:off x="-12700" y="0"/>
            <a:ext cx="12204700" cy="1141414"/>
            <a:chOff x="-12700" y="0"/>
            <a:chExt cx="12204700" cy="1346200"/>
          </a:xfrm>
        </p:grpSpPr>
        <p:sp>
          <p:nvSpPr>
            <p:cNvPr id="13" name="Freeform 12"/>
            <p:cNvSpPr/>
            <p:nvPr userDrawn="1"/>
          </p:nvSpPr>
          <p:spPr>
            <a:xfrm>
              <a:off x="-12700" y="6350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1"/>
            <p:cNvSpPr/>
            <p:nvPr userDrawn="1"/>
          </p:nvSpPr>
          <p:spPr>
            <a:xfrm>
              <a:off x="-12700" y="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293688" y="190563"/>
            <a:ext cx="11593512" cy="863601"/>
          </a:xfrm>
          <a:prstGeom prst="rect">
            <a:avLst/>
          </a:prstGeom>
        </p:spPr>
        <p:txBody>
          <a:bodyPr vert="horz" lIns="0" tIns="0" rIns="0" bIns="0" rtlCol="0" anchor="t">
            <a:normAutofit/>
          </a:bodyPr>
          <a:lstStyle>
            <a:lvl1pPr>
              <a:defRPr sz="2400">
                <a:solidFill>
                  <a:schemeClr val="bg1"/>
                </a:solidFill>
              </a:defRPr>
            </a:lvl1pPr>
          </a:lstStyle>
          <a:p>
            <a:pPr lvl="0">
              <a:lnSpc>
                <a:spcPts val="3000"/>
              </a:lnSpc>
            </a:pPr>
            <a:r>
              <a:rPr lang="en-US" dirty="0"/>
              <a:t>Click to edit Master title style</a:t>
            </a:r>
            <a:endParaRPr lang="pt-PT" dirty="0"/>
          </a:p>
        </p:txBody>
      </p:sp>
      <p:cxnSp>
        <p:nvCxnSpPr>
          <p:cNvPr id="4" name="Straight Connector 3"/>
          <p:cNvCxnSpPr/>
          <p:nvPr userDrawn="1"/>
        </p:nvCxnSpPr>
        <p:spPr>
          <a:xfrm>
            <a:off x="0" y="6481763"/>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237078" y="6479901"/>
            <a:ext cx="347039" cy="375881"/>
          </a:xfrm>
          <a:prstGeom prst="rect">
            <a:avLst/>
          </a:prstGeom>
        </p:spPr>
      </p:pic>
      <p:sp>
        <p:nvSpPr>
          <p:cNvPr id="14" name="Rectangle 13">
            <a:extLst>
              <a:ext uri="{FF2B5EF4-FFF2-40B4-BE49-F238E27FC236}">
                <a16:creationId xmlns:a16="http://schemas.microsoft.com/office/drawing/2014/main" id="{47CA165D-28E5-401A-BEEC-E2BE39024B32}"/>
              </a:ext>
            </a:extLst>
          </p:cNvPr>
          <p:cNvSpPr>
            <a:spLocks noChangeArrowheads="1"/>
          </p:cNvSpPr>
          <p:nvPr userDrawn="1">
            <p:custDataLst>
              <p:tags r:id="rId1"/>
            </p:custDataLst>
          </p:nvPr>
        </p:nvSpPr>
        <p:spPr bwMode="auto">
          <a:xfrm>
            <a:off x="293649" y="6576090"/>
            <a:ext cx="2926708" cy="183503"/>
          </a:xfrm>
          <a:prstGeom prst="rect">
            <a:avLst/>
          </a:prstGeom>
          <a:noFill/>
          <a:ln w="19050">
            <a:noFill/>
            <a:miter lim="800000"/>
            <a:headEnd/>
            <a:tailEnd/>
          </a:ln>
          <a:effectLst/>
        </p:spPr>
        <p:txBody>
          <a:bodyPr wrap="square" lIns="0" tIns="0" rIns="0" bIns="0" anchor="ctr" anchorCtr="0">
            <a:noAutofit/>
          </a:bodyPr>
          <a:lstStyle/>
          <a:p>
            <a:pPr algn="l" defTabSz="995470" eaLnBrk="0" hangingPunct="0">
              <a:lnSpc>
                <a:spcPct val="90000"/>
              </a:lnSpc>
              <a:spcBef>
                <a:spcPct val="10000"/>
              </a:spcBef>
              <a:defRPr/>
            </a:pPr>
            <a:r>
              <a:rPr lang="en-US" altLang="en-US" sz="700" dirty="0">
                <a:solidFill>
                  <a:srgbClr val="998C85"/>
                </a:solidFill>
                <a:cs typeface="Helvetica Light"/>
              </a:rPr>
              <a:t>WWR 2020_Country Decks</a:t>
            </a:r>
          </a:p>
        </p:txBody>
      </p:sp>
      <p:sp>
        <p:nvSpPr>
          <p:cNvPr id="15" name="Text Box 16">
            <a:extLst>
              <a:ext uri="{FF2B5EF4-FFF2-40B4-BE49-F238E27FC236}">
                <a16:creationId xmlns:a16="http://schemas.microsoft.com/office/drawing/2014/main" id="{9EB2BF6D-AD98-4DD8-8F29-2B83EE3112E7}"/>
              </a:ext>
            </a:extLst>
          </p:cNvPr>
          <p:cNvSpPr txBox="1">
            <a:spLocks noChangeArrowheads="1"/>
          </p:cNvSpPr>
          <p:nvPr userDrawn="1"/>
        </p:nvSpPr>
        <p:spPr bwMode="auto">
          <a:xfrm>
            <a:off x="2821422" y="6553200"/>
            <a:ext cx="6549156" cy="253916"/>
          </a:xfrm>
          <a:prstGeom prst="rect">
            <a:avLst/>
          </a:prstGeom>
          <a:noFill/>
          <a:ln w="9525" algn="ctr">
            <a:noFill/>
            <a:miter lim="800000"/>
            <a:headEnd/>
            <a:tailEnd/>
          </a:ln>
        </p:spPr>
        <p:txBody>
          <a:bodyPr wrap="square">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050" b="1" dirty="0">
                <a:solidFill>
                  <a:srgbClr val="FF0000"/>
                </a:solidFill>
                <a:cs typeface="+mn-cs"/>
              </a:rPr>
              <a:t>For your use only, do not distribute internally/externally</a:t>
            </a:r>
          </a:p>
        </p:txBody>
      </p:sp>
      <p:pic>
        <p:nvPicPr>
          <p:cNvPr id="8" name="Picture 7" descr="A picture containing bird&#10;&#10;Description automatically generated">
            <a:extLst>
              <a:ext uri="{FF2B5EF4-FFF2-40B4-BE49-F238E27FC236}">
                <a16:creationId xmlns:a16="http://schemas.microsoft.com/office/drawing/2014/main" id="{ACEC4C38-A6A3-4EC3-8B6B-532DA2742A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102403" y="192097"/>
            <a:ext cx="786384" cy="527088"/>
          </a:xfrm>
          <a:prstGeom prst="rect">
            <a:avLst/>
          </a:prstGeom>
        </p:spPr>
      </p:pic>
    </p:spTree>
    <p:extLst>
      <p:ext uri="{BB962C8B-B14F-4D97-AF65-F5344CB8AC3E}">
        <p14:creationId xmlns:p14="http://schemas.microsoft.com/office/powerpoint/2010/main" val="1104247327"/>
      </p:ext>
    </p:extLst>
  </p:cSld>
  <p:clrMapOvr>
    <a:masterClrMapping/>
  </p:clrMapOvr>
  <p:extLst>
    <p:ext uri="{DCECCB84-F9BA-43D5-87BE-67443E8EF086}">
      <p15:sldGuideLst xmlns:p15="http://schemas.microsoft.com/office/powerpoint/2012/main">
        <p15:guide id="1" orient="horz" pos="2160">
          <p15:clr>
            <a:srgbClr val="FBAE40"/>
          </p15:clr>
        </p15:guide>
        <p15:guide id="2" pos="18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1">
    <p:bg>
      <p:bgRef idx="1001">
        <a:schemeClr val="bg2"/>
      </p:bgRef>
    </p:bg>
    <p:spTree>
      <p:nvGrpSpPr>
        <p:cNvPr id="1" name=""/>
        <p:cNvGrpSpPr/>
        <p:nvPr/>
      </p:nvGrpSpPr>
      <p:grpSpPr>
        <a:xfrm>
          <a:off x="0" y="0"/>
          <a:ext cx="0" cy="0"/>
          <a:chOff x="0" y="0"/>
          <a:chExt cx="0" cy="0"/>
        </a:xfrm>
      </p:grpSpPr>
      <p:pic>
        <p:nvPicPr>
          <p:cNvPr id="22093" name="Graphic 22092">
            <a:extLst>
              <a:ext uri="{FF2B5EF4-FFF2-40B4-BE49-F238E27FC236}">
                <a16:creationId xmlns:a16="http://schemas.microsoft.com/office/drawing/2014/main" id="{DDC0F637-149F-401A-9521-187662CB0142}"/>
              </a:ext>
            </a:extLst>
          </p:cNvPr>
          <p:cNvPicPr>
            <a:picLocks noChangeAspect="1"/>
          </p:cNvPicPr>
          <p:nvPr userDrawn="1"/>
        </p:nvPicPr>
        <p:blipFill>
          <a:blip r:embed="rId4">
            <a:extLst>
              <a:ext uri="{96DAC541-7B7A-43D3-8B79-37D633B846F1}">
                <asvg:svgBlip xmlns:asvg="http://schemas.microsoft.com/office/drawing/2016/SVG/main" r:embed="rId5"/>
              </a:ext>
            </a:extLst>
          </a:blip>
          <a:srcRect l="33360" b="43449"/>
          <a:stretch>
            <a:fillRect/>
          </a:stretch>
        </p:blipFill>
        <p:spPr>
          <a:xfrm flipH="1">
            <a:off x="5120720" y="139941"/>
            <a:ext cx="7099139" cy="6718059"/>
          </a:xfrm>
          <a:custGeom>
            <a:avLst/>
            <a:gdLst>
              <a:gd name="connsiteX0" fmla="*/ 7099139 w 7099139"/>
              <a:gd name="connsiteY0" fmla="*/ 0 h 6718059"/>
              <a:gd name="connsiteX1" fmla="*/ 0 w 7099139"/>
              <a:gd name="connsiteY1" fmla="*/ 0 h 6718059"/>
              <a:gd name="connsiteX2" fmla="*/ 0 w 7099139"/>
              <a:gd name="connsiteY2" fmla="*/ 6718059 h 6718059"/>
              <a:gd name="connsiteX3" fmla="*/ 7099139 w 7099139"/>
              <a:gd name="connsiteY3" fmla="*/ 6718059 h 6718059"/>
            </a:gdLst>
            <a:ahLst/>
            <a:cxnLst>
              <a:cxn ang="0">
                <a:pos x="connsiteX0" y="connsiteY0"/>
              </a:cxn>
              <a:cxn ang="0">
                <a:pos x="connsiteX1" y="connsiteY1"/>
              </a:cxn>
              <a:cxn ang="0">
                <a:pos x="connsiteX2" y="connsiteY2"/>
              </a:cxn>
              <a:cxn ang="0">
                <a:pos x="connsiteX3" y="connsiteY3"/>
              </a:cxn>
            </a:cxnLst>
            <a:rect l="l" t="t" r="r" b="b"/>
            <a:pathLst>
              <a:path w="7099139" h="6718059">
                <a:moveTo>
                  <a:pt x="7099139" y="0"/>
                </a:moveTo>
                <a:lnTo>
                  <a:pt x="0" y="0"/>
                </a:lnTo>
                <a:lnTo>
                  <a:pt x="0" y="6718059"/>
                </a:lnTo>
                <a:lnTo>
                  <a:pt x="7099139" y="6718059"/>
                </a:lnTo>
                <a:close/>
              </a:path>
            </a:pathLst>
          </a:cu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9" name="think-cell Slide" r:id="rId6" imgW="270" imgH="270" progId="TCLayout.ActiveDocument.1">
                  <p:embed/>
                </p:oleObj>
              </mc:Choice>
              <mc:Fallback>
                <p:oleObj name="think-cell Slide" r:id="rId6" imgW="270" imgH="27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1512278"/>
            <a:ext cx="380708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3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130305"/>
            <a:ext cx="380708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25" name="Group 24">
            <a:extLst>
              <a:ext uri="{FF2B5EF4-FFF2-40B4-BE49-F238E27FC236}">
                <a16:creationId xmlns:a16="http://schemas.microsoft.com/office/drawing/2014/main" id="{89F55E10-EAF4-4D1A-A58F-07B10A177A70}"/>
              </a:ext>
            </a:extLst>
          </p:cNvPr>
          <p:cNvGrpSpPr>
            <a:grpSpLocks noChangeAspect="1"/>
          </p:cNvGrpSpPr>
          <p:nvPr/>
        </p:nvGrpSpPr>
        <p:grpSpPr>
          <a:xfrm>
            <a:off x="456849" y="325136"/>
            <a:ext cx="2591149" cy="577689"/>
            <a:chOff x="728663" y="4465638"/>
            <a:chExt cx="5354637" cy="1193801"/>
          </a:xfrm>
        </p:grpSpPr>
        <p:sp>
          <p:nvSpPr>
            <p:cNvPr id="26" name="Freeform 11">
              <a:extLst>
                <a:ext uri="{FF2B5EF4-FFF2-40B4-BE49-F238E27FC236}">
                  <a16:creationId xmlns:a16="http://schemas.microsoft.com/office/drawing/2014/main" id="{A4F90C0C-F80A-4885-A840-4743B8AD068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Freeform 12">
              <a:extLst>
                <a:ext uri="{FF2B5EF4-FFF2-40B4-BE49-F238E27FC236}">
                  <a16:creationId xmlns:a16="http://schemas.microsoft.com/office/drawing/2014/main" id="{BE9995AA-8AA4-41DE-B2B9-444AA5ECE826}"/>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13">
              <a:extLst>
                <a:ext uri="{FF2B5EF4-FFF2-40B4-BE49-F238E27FC236}">
                  <a16:creationId xmlns:a16="http://schemas.microsoft.com/office/drawing/2014/main" id="{E1D3EC12-133C-42DA-A78F-AA4C3E05EB51}"/>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14">
              <a:extLst>
                <a:ext uri="{FF2B5EF4-FFF2-40B4-BE49-F238E27FC236}">
                  <a16:creationId xmlns:a16="http://schemas.microsoft.com/office/drawing/2014/main" id="{A2A0421A-8F8C-470C-AD96-12DE9C05B6EE}"/>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 name="Freeform 15">
              <a:extLst>
                <a:ext uri="{FF2B5EF4-FFF2-40B4-BE49-F238E27FC236}">
                  <a16:creationId xmlns:a16="http://schemas.microsoft.com/office/drawing/2014/main" id="{F2369CBA-4BC5-49F7-9E90-2213665965D6}"/>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2094" name="TextBox 22093">
            <a:extLst>
              <a:ext uri="{FF2B5EF4-FFF2-40B4-BE49-F238E27FC236}">
                <a16:creationId xmlns:a16="http://schemas.microsoft.com/office/drawing/2014/main" id="{ACDB3891-5DDA-4D26-83A9-65EF2246AE77}"/>
              </a:ext>
            </a:extLst>
          </p:cNvPr>
          <p:cNvSpPr txBox="1"/>
          <p:nvPr userDrawn="1"/>
        </p:nvSpPr>
        <p:spPr>
          <a:xfrm>
            <a:off x="6096000" y="578239"/>
            <a:ext cx="4041024" cy="1868077"/>
          </a:xfrm>
          <a:prstGeom prst="rect">
            <a:avLst/>
          </a:prstGeom>
          <a:noFill/>
        </p:spPr>
        <p:txBody>
          <a:bodyPr wrap="square" lIns="36005" tIns="36005" rIns="36005" bIns="36005" rtlCol="0">
            <a:spAutoFit/>
          </a:bodyPr>
          <a:lstStyle/>
          <a:p>
            <a:pPr algn="ctr">
              <a:lnSpc>
                <a:spcPts val="3500"/>
              </a:lnSpc>
            </a:pPr>
            <a:r>
              <a:rPr lang="en-US" sz="2800" dirty="0">
                <a:solidFill>
                  <a:schemeClr val="bg1"/>
                </a:solidFill>
              </a:rPr>
              <a:t>WORLD </a:t>
            </a:r>
            <a:br>
              <a:rPr lang="en-US" sz="2800" dirty="0">
                <a:solidFill>
                  <a:schemeClr val="bg1"/>
                </a:solidFill>
              </a:rPr>
            </a:br>
            <a:r>
              <a:rPr lang="en-US" sz="3600" dirty="0">
                <a:solidFill>
                  <a:schemeClr val="bg1"/>
                </a:solidFill>
              </a:rPr>
              <a:t>WEALTH</a:t>
            </a:r>
            <a:br>
              <a:rPr lang="en-US" sz="2800" dirty="0">
                <a:solidFill>
                  <a:schemeClr val="bg1"/>
                </a:solidFill>
              </a:rPr>
            </a:br>
            <a:r>
              <a:rPr lang="en-US" sz="2800" dirty="0">
                <a:solidFill>
                  <a:schemeClr val="bg1"/>
                </a:solidFill>
              </a:rPr>
              <a:t>REPORT </a:t>
            </a:r>
            <a:br>
              <a:rPr lang="en-US" sz="2800" dirty="0">
                <a:solidFill>
                  <a:schemeClr val="bg1"/>
                </a:solidFill>
              </a:rPr>
            </a:br>
            <a:r>
              <a:rPr lang="en-US" sz="3600" b="0" dirty="0">
                <a:solidFill>
                  <a:schemeClr val="accent3">
                    <a:lumMod val="90000"/>
                    <a:lumOff val="10000"/>
                  </a:schemeClr>
                </a:solidFill>
              </a:rPr>
              <a:t>2020</a:t>
            </a:r>
            <a:endParaRPr lang="en-GB" sz="2800" b="0" dirty="0">
              <a:solidFill>
                <a:schemeClr val="accent3">
                  <a:lumMod val="90000"/>
                  <a:lumOff val="10000"/>
                </a:schemeClr>
              </a:solidFill>
            </a:endParaRPr>
          </a:p>
        </p:txBody>
      </p:sp>
      <p:grpSp>
        <p:nvGrpSpPr>
          <p:cNvPr id="1407" name="Group 1406">
            <a:extLst>
              <a:ext uri="{FF2B5EF4-FFF2-40B4-BE49-F238E27FC236}">
                <a16:creationId xmlns:a16="http://schemas.microsoft.com/office/drawing/2014/main" id="{07368BBD-9119-43B5-BFB6-11BBDE0AF4EB}"/>
              </a:ext>
            </a:extLst>
          </p:cNvPr>
          <p:cNvGrpSpPr/>
          <p:nvPr userDrawn="1"/>
        </p:nvGrpSpPr>
        <p:grpSpPr>
          <a:xfrm>
            <a:off x="5171472" y="1945640"/>
            <a:ext cx="7075456" cy="4912360"/>
            <a:chOff x="5171472" y="1945640"/>
            <a:chExt cx="7075456" cy="4912360"/>
          </a:xfrm>
        </p:grpSpPr>
        <p:grpSp>
          <p:nvGrpSpPr>
            <p:cNvPr id="1406" name="Group 1405">
              <a:extLst>
                <a:ext uri="{FF2B5EF4-FFF2-40B4-BE49-F238E27FC236}">
                  <a16:creationId xmlns:a16="http://schemas.microsoft.com/office/drawing/2014/main" id="{9DA96268-FEFD-4B49-9F07-6E78A1D7ED6C}"/>
                </a:ext>
              </a:extLst>
            </p:cNvPr>
            <p:cNvGrpSpPr/>
            <p:nvPr userDrawn="1"/>
          </p:nvGrpSpPr>
          <p:grpSpPr>
            <a:xfrm>
              <a:off x="5171472" y="4192581"/>
              <a:ext cx="379286" cy="954535"/>
              <a:chOff x="3996689" y="7380287"/>
              <a:chExt cx="476250" cy="1198563"/>
            </a:xfrm>
          </p:grpSpPr>
          <p:sp>
            <p:nvSpPr>
              <p:cNvPr id="59" name="Freeform 1666">
                <a:extLst>
                  <a:ext uri="{FF2B5EF4-FFF2-40B4-BE49-F238E27FC236}">
                    <a16:creationId xmlns:a16="http://schemas.microsoft.com/office/drawing/2014/main" id="{55F000EC-32A9-4FC6-8916-6B831DDABEC5}"/>
                  </a:ext>
                </a:extLst>
              </p:cNvPr>
              <p:cNvSpPr>
                <a:spLocks/>
              </p:cNvSpPr>
              <p:nvPr/>
            </p:nvSpPr>
            <p:spPr bwMode="auto">
              <a:xfrm>
                <a:off x="3996689" y="7683500"/>
                <a:ext cx="214313" cy="638175"/>
              </a:xfrm>
              <a:custGeom>
                <a:avLst/>
                <a:gdLst>
                  <a:gd name="T0" fmla="*/ 0 w 109"/>
                  <a:gd name="T1" fmla="*/ 0 h 326"/>
                  <a:gd name="T2" fmla="*/ 0 w 109"/>
                  <a:gd name="T3" fmla="*/ 62 h 326"/>
                  <a:gd name="T4" fmla="*/ 3 w 109"/>
                  <a:gd name="T5" fmla="*/ 64 h 326"/>
                  <a:gd name="T6" fmla="*/ 29 w 109"/>
                  <a:gd name="T7" fmla="*/ 235 h 326"/>
                  <a:gd name="T8" fmla="*/ 0 w 109"/>
                  <a:gd name="T9" fmla="*/ 263 h 326"/>
                  <a:gd name="T10" fmla="*/ 0 w 109"/>
                  <a:gd name="T11" fmla="*/ 326 h 326"/>
                  <a:gd name="T12" fmla="*/ 2 w 109"/>
                  <a:gd name="T13" fmla="*/ 325 h 326"/>
                  <a:gd name="T14" fmla="*/ 8 w 109"/>
                  <a:gd name="T15" fmla="*/ 312 h 326"/>
                  <a:gd name="T16" fmla="*/ 7 w 109"/>
                  <a:gd name="T17" fmla="*/ 291 h 326"/>
                  <a:gd name="T18" fmla="*/ 9 w 109"/>
                  <a:gd name="T19" fmla="*/ 290 h 326"/>
                  <a:gd name="T20" fmla="*/ 28 w 109"/>
                  <a:gd name="T21" fmla="*/ 300 h 326"/>
                  <a:gd name="T22" fmla="*/ 36 w 109"/>
                  <a:gd name="T23" fmla="*/ 304 h 326"/>
                  <a:gd name="T24" fmla="*/ 42 w 109"/>
                  <a:gd name="T25" fmla="*/ 301 h 326"/>
                  <a:gd name="T26" fmla="*/ 44 w 109"/>
                  <a:gd name="T27" fmla="*/ 287 h 326"/>
                  <a:gd name="T28" fmla="*/ 38 w 109"/>
                  <a:gd name="T29" fmla="*/ 266 h 326"/>
                  <a:gd name="T30" fmla="*/ 41 w 109"/>
                  <a:gd name="T31" fmla="*/ 265 h 326"/>
                  <a:gd name="T32" fmla="*/ 59 w 109"/>
                  <a:gd name="T33" fmla="*/ 271 h 326"/>
                  <a:gd name="T34" fmla="*/ 66 w 109"/>
                  <a:gd name="T35" fmla="*/ 273 h 326"/>
                  <a:gd name="T36" fmla="*/ 73 w 109"/>
                  <a:gd name="T37" fmla="*/ 269 h 326"/>
                  <a:gd name="T38" fmla="*/ 72 w 109"/>
                  <a:gd name="T39" fmla="*/ 254 h 326"/>
                  <a:gd name="T40" fmla="*/ 62 w 109"/>
                  <a:gd name="T41" fmla="*/ 234 h 326"/>
                  <a:gd name="T42" fmla="*/ 71 w 109"/>
                  <a:gd name="T43" fmla="*/ 232 h 326"/>
                  <a:gd name="T44" fmla="*/ 83 w 109"/>
                  <a:gd name="T45" fmla="*/ 234 h 326"/>
                  <a:gd name="T46" fmla="*/ 88 w 109"/>
                  <a:gd name="T47" fmla="*/ 235 h 326"/>
                  <a:gd name="T48" fmla="*/ 96 w 109"/>
                  <a:gd name="T49" fmla="*/ 228 h 326"/>
                  <a:gd name="T50" fmla="*/ 90 w 109"/>
                  <a:gd name="T51" fmla="*/ 215 h 326"/>
                  <a:gd name="T52" fmla="*/ 76 w 109"/>
                  <a:gd name="T53" fmla="*/ 198 h 326"/>
                  <a:gd name="T54" fmla="*/ 96 w 109"/>
                  <a:gd name="T55" fmla="*/ 192 h 326"/>
                  <a:gd name="T56" fmla="*/ 96 w 109"/>
                  <a:gd name="T57" fmla="*/ 192 h 326"/>
                  <a:gd name="T58" fmla="*/ 107 w 109"/>
                  <a:gd name="T59" fmla="*/ 183 h 326"/>
                  <a:gd name="T60" fmla="*/ 98 w 109"/>
                  <a:gd name="T61" fmla="*/ 172 h 326"/>
                  <a:gd name="T62" fmla="*/ 80 w 109"/>
                  <a:gd name="T63" fmla="*/ 159 h 326"/>
                  <a:gd name="T64" fmla="*/ 98 w 109"/>
                  <a:gd name="T65" fmla="*/ 148 h 326"/>
                  <a:gd name="T66" fmla="*/ 106 w 109"/>
                  <a:gd name="T67" fmla="*/ 137 h 326"/>
                  <a:gd name="T68" fmla="*/ 95 w 109"/>
                  <a:gd name="T69" fmla="*/ 128 h 326"/>
                  <a:gd name="T70" fmla="*/ 95 w 109"/>
                  <a:gd name="T71" fmla="*/ 128 h 326"/>
                  <a:gd name="T72" fmla="*/ 74 w 109"/>
                  <a:gd name="T73" fmla="*/ 120 h 326"/>
                  <a:gd name="T74" fmla="*/ 88 w 109"/>
                  <a:gd name="T75" fmla="*/ 106 h 326"/>
                  <a:gd name="T76" fmla="*/ 94 w 109"/>
                  <a:gd name="T77" fmla="*/ 92 h 326"/>
                  <a:gd name="T78" fmla="*/ 86 w 109"/>
                  <a:gd name="T79" fmla="*/ 86 h 326"/>
                  <a:gd name="T80" fmla="*/ 80 w 109"/>
                  <a:gd name="T81" fmla="*/ 87 h 326"/>
                  <a:gd name="T82" fmla="*/ 69 w 109"/>
                  <a:gd name="T83" fmla="*/ 88 h 326"/>
                  <a:gd name="T84" fmla="*/ 58 w 109"/>
                  <a:gd name="T85" fmla="*/ 85 h 326"/>
                  <a:gd name="T86" fmla="*/ 68 w 109"/>
                  <a:gd name="T87" fmla="*/ 67 h 326"/>
                  <a:gd name="T88" fmla="*/ 70 w 109"/>
                  <a:gd name="T89" fmla="*/ 52 h 326"/>
                  <a:gd name="T90" fmla="*/ 63 w 109"/>
                  <a:gd name="T91" fmla="*/ 48 h 326"/>
                  <a:gd name="T92" fmla="*/ 56 w 109"/>
                  <a:gd name="T93" fmla="*/ 50 h 326"/>
                  <a:gd name="T94" fmla="*/ 38 w 109"/>
                  <a:gd name="T95" fmla="*/ 56 h 326"/>
                  <a:gd name="T96" fmla="*/ 33 w 109"/>
                  <a:gd name="T97" fmla="*/ 55 h 326"/>
                  <a:gd name="T98" fmla="*/ 39 w 109"/>
                  <a:gd name="T99" fmla="*/ 34 h 326"/>
                  <a:gd name="T100" fmla="*/ 36 w 109"/>
                  <a:gd name="T101" fmla="*/ 20 h 326"/>
                  <a:gd name="T102" fmla="*/ 30 w 109"/>
                  <a:gd name="T103" fmla="*/ 17 h 326"/>
                  <a:gd name="T104" fmla="*/ 22 w 109"/>
                  <a:gd name="T105" fmla="*/ 22 h 326"/>
                  <a:gd name="T106" fmla="*/ 4 w 109"/>
                  <a:gd name="T107" fmla="*/ 32 h 326"/>
                  <a:gd name="T108" fmla="*/ 2 w 109"/>
                  <a:gd name="T109" fmla="*/ 32 h 326"/>
                  <a:gd name="T110" fmla="*/ 2 w 109"/>
                  <a:gd name="T111" fmla="*/ 11 h 326"/>
                  <a:gd name="T112" fmla="*/ 0 w 109"/>
                  <a:gd name="T11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 h="326">
                    <a:moveTo>
                      <a:pt x="0" y="0"/>
                    </a:moveTo>
                    <a:cubicBezTo>
                      <a:pt x="0" y="62"/>
                      <a:pt x="0" y="62"/>
                      <a:pt x="0" y="62"/>
                    </a:cubicBezTo>
                    <a:cubicBezTo>
                      <a:pt x="1" y="63"/>
                      <a:pt x="2" y="64"/>
                      <a:pt x="3" y="64"/>
                    </a:cubicBezTo>
                    <a:cubicBezTo>
                      <a:pt x="57" y="104"/>
                      <a:pt x="69" y="181"/>
                      <a:pt x="29" y="235"/>
                    </a:cubicBezTo>
                    <a:cubicBezTo>
                      <a:pt x="21" y="246"/>
                      <a:pt x="11" y="256"/>
                      <a:pt x="0" y="263"/>
                    </a:cubicBezTo>
                    <a:cubicBezTo>
                      <a:pt x="0" y="326"/>
                      <a:pt x="0" y="326"/>
                      <a:pt x="0" y="326"/>
                    </a:cubicBezTo>
                    <a:cubicBezTo>
                      <a:pt x="1" y="326"/>
                      <a:pt x="2" y="325"/>
                      <a:pt x="2" y="325"/>
                    </a:cubicBezTo>
                    <a:cubicBezTo>
                      <a:pt x="6" y="323"/>
                      <a:pt x="11" y="322"/>
                      <a:pt x="8" y="312"/>
                    </a:cubicBezTo>
                    <a:cubicBezTo>
                      <a:pt x="6" y="304"/>
                      <a:pt x="5" y="295"/>
                      <a:pt x="7" y="291"/>
                    </a:cubicBezTo>
                    <a:cubicBezTo>
                      <a:pt x="8" y="290"/>
                      <a:pt x="8" y="290"/>
                      <a:pt x="9" y="290"/>
                    </a:cubicBezTo>
                    <a:cubicBezTo>
                      <a:pt x="14" y="290"/>
                      <a:pt x="22" y="295"/>
                      <a:pt x="28" y="300"/>
                    </a:cubicBezTo>
                    <a:cubicBezTo>
                      <a:pt x="31" y="303"/>
                      <a:pt x="34" y="304"/>
                      <a:pt x="36" y="304"/>
                    </a:cubicBezTo>
                    <a:cubicBezTo>
                      <a:pt x="38" y="304"/>
                      <a:pt x="40" y="302"/>
                      <a:pt x="42" y="301"/>
                    </a:cubicBezTo>
                    <a:cubicBezTo>
                      <a:pt x="45" y="298"/>
                      <a:pt x="49" y="296"/>
                      <a:pt x="44" y="287"/>
                    </a:cubicBezTo>
                    <a:cubicBezTo>
                      <a:pt x="39" y="280"/>
                      <a:pt x="36" y="270"/>
                      <a:pt x="38" y="266"/>
                    </a:cubicBezTo>
                    <a:cubicBezTo>
                      <a:pt x="39" y="265"/>
                      <a:pt x="40" y="265"/>
                      <a:pt x="41" y="265"/>
                    </a:cubicBezTo>
                    <a:cubicBezTo>
                      <a:pt x="46" y="265"/>
                      <a:pt x="53" y="268"/>
                      <a:pt x="59" y="271"/>
                    </a:cubicBezTo>
                    <a:cubicBezTo>
                      <a:pt x="62" y="273"/>
                      <a:pt x="65" y="273"/>
                      <a:pt x="66" y="273"/>
                    </a:cubicBezTo>
                    <a:cubicBezTo>
                      <a:pt x="70" y="273"/>
                      <a:pt x="72" y="271"/>
                      <a:pt x="73" y="269"/>
                    </a:cubicBezTo>
                    <a:cubicBezTo>
                      <a:pt x="76" y="265"/>
                      <a:pt x="79" y="262"/>
                      <a:pt x="72" y="254"/>
                    </a:cubicBezTo>
                    <a:cubicBezTo>
                      <a:pt x="65" y="248"/>
                      <a:pt x="60" y="238"/>
                      <a:pt x="62" y="234"/>
                    </a:cubicBezTo>
                    <a:cubicBezTo>
                      <a:pt x="64" y="233"/>
                      <a:pt x="67" y="232"/>
                      <a:pt x="71" y="232"/>
                    </a:cubicBezTo>
                    <a:cubicBezTo>
                      <a:pt x="75" y="232"/>
                      <a:pt x="79" y="233"/>
                      <a:pt x="83" y="234"/>
                    </a:cubicBezTo>
                    <a:cubicBezTo>
                      <a:pt x="85" y="234"/>
                      <a:pt x="86" y="235"/>
                      <a:pt x="88" y="235"/>
                    </a:cubicBezTo>
                    <a:cubicBezTo>
                      <a:pt x="93" y="235"/>
                      <a:pt x="95" y="231"/>
                      <a:pt x="96" y="228"/>
                    </a:cubicBezTo>
                    <a:cubicBezTo>
                      <a:pt x="97" y="224"/>
                      <a:pt x="100" y="220"/>
                      <a:pt x="90" y="215"/>
                    </a:cubicBezTo>
                    <a:cubicBezTo>
                      <a:pt x="83" y="210"/>
                      <a:pt x="75" y="202"/>
                      <a:pt x="76" y="198"/>
                    </a:cubicBezTo>
                    <a:cubicBezTo>
                      <a:pt x="79" y="194"/>
                      <a:pt x="88" y="192"/>
                      <a:pt x="96" y="192"/>
                    </a:cubicBezTo>
                    <a:cubicBezTo>
                      <a:pt x="96" y="192"/>
                      <a:pt x="96" y="192"/>
                      <a:pt x="96" y="192"/>
                    </a:cubicBezTo>
                    <a:cubicBezTo>
                      <a:pt x="106" y="192"/>
                      <a:pt x="106" y="187"/>
                      <a:pt x="107" y="183"/>
                    </a:cubicBezTo>
                    <a:cubicBezTo>
                      <a:pt x="108" y="179"/>
                      <a:pt x="109" y="174"/>
                      <a:pt x="98" y="172"/>
                    </a:cubicBezTo>
                    <a:cubicBezTo>
                      <a:pt x="90" y="169"/>
                      <a:pt x="80" y="164"/>
                      <a:pt x="80" y="159"/>
                    </a:cubicBezTo>
                    <a:cubicBezTo>
                      <a:pt x="82" y="155"/>
                      <a:pt x="90" y="151"/>
                      <a:pt x="98" y="148"/>
                    </a:cubicBezTo>
                    <a:cubicBezTo>
                      <a:pt x="108" y="146"/>
                      <a:pt x="107" y="141"/>
                      <a:pt x="106" y="137"/>
                    </a:cubicBezTo>
                    <a:cubicBezTo>
                      <a:pt x="106" y="133"/>
                      <a:pt x="106" y="128"/>
                      <a:pt x="95" y="128"/>
                    </a:cubicBezTo>
                    <a:cubicBezTo>
                      <a:pt x="95" y="128"/>
                      <a:pt x="95" y="128"/>
                      <a:pt x="95" y="128"/>
                    </a:cubicBezTo>
                    <a:cubicBezTo>
                      <a:pt x="86" y="128"/>
                      <a:pt x="75" y="125"/>
                      <a:pt x="74" y="120"/>
                    </a:cubicBezTo>
                    <a:cubicBezTo>
                      <a:pt x="75" y="116"/>
                      <a:pt x="82" y="110"/>
                      <a:pt x="88" y="106"/>
                    </a:cubicBezTo>
                    <a:cubicBezTo>
                      <a:pt x="98" y="100"/>
                      <a:pt x="95" y="96"/>
                      <a:pt x="94" y="92"/>
                    </a:cubicBezTo>
                    <a:cubicBezTo>
                      <a:pt x="92" y="89"/>
                      <a:pt x="91" y="86"/>
                      <a:pt x="86" y="86"/>
                    </a:cubicBezTo>
                    <a:cubicBezTo>
                      <a:pt x="84" y="86"/>
                      <a:pt x="83" y="86"/>
                      <a:pt x="80" y="87"/>
                    </a:cubicBezTo>
                    <a:cubicBezTo>
                      <a:pt x="77" y="87"/>
                      <a:pt x="73" y="88"/>
                      <a:pt x="69" y="88"/>
                    </a:cubicBezTo>
                    <a:cubicBezTo>
                      <a:pt x="64" y="88"/>
                      <a:pt x="59" y="87"/>
                      <a:pt x="58" y="85"/>
                    </a:cubicBezTo>
                    <a:cubicBezTo>
                      <a:pt x="58" y="80"/>
                      <a:pt x="63" y="72"/>
                      <a:pt x="68" y="67"/>
                    </a:cubicBezTo>
                    <a:cubicBezTo>
                      <a:pt x="76" y="59"/>
                      <a:pt x="72" y="56"/>
                      <a:pt x="70" y="52"/>
                    </a:cubicBezTo>
                    <a:cubicBezTo>
                      <a:pt x="68" y="50"/>
                      <a:pt x="67" y="48"/>
                      <a:pt x="63" y="48"/>
                    </a:cubicBezTo>
                    <a:cubicBezTo>
                      <a:pt x="61" y="48"/>
                      <a:pt x="59" y="49"/>
                      <a:pt x="56" y="50"/>
                    </a:cubicBezTo>
                    <a:cubicBezTo>
                      <a:pt x="50" y="53"/>
                      <a:pt x="43" y="56"/>
                      <a:pt x="38" y="56"/>
                    </a:cubicBezTo>
                    <a:cubicBezTo>
                      <a:pt x="36" y="56"/>
                      <a:pt x="34" y="55"/>
                      <a:pt x="33" y="55"/>
                    </a:cubicBezTo>
                    <a:cubicBezTo>
                      <a:pt x="32" y="50"/>
                      <a:pt x="35" y="41"/>
                      <a:pt x="39" y="34"/>
                    </a:cubicBezTo>
                    <a:cubicBezTo>
                      <a:pt x="44" y="25"/>
                      <a:pt x="40" y="23"/>
                      <a:pt x="36" y="20"/>
                    </a:cubicBezTo>
                    <a:cubicBezTo>
                      <a:pt x="35" y="19"/>
                      <a:pt x="33" y="17"/>
                      <a:pt x="30" y="17"/>
                    </a:cubicBezTo>
                    <a:cubicBezTo>
                      <a:pt x="28" y="17"/>
                      <a:pt x="26" y="18"/>
                      <a:pt x="22" y="22"/>
                    </a:cubicBezTo>
                    <a:cubicBezTo>
                      <a:pt x="17" y="27"/>
                      <a:pt x="9" y="32"/>
                      <a:pt x="4" y="32"/>
                    </a:cubicBezTo>
                    <a:cubicBezTo>
                      <a:pt x="3" y="32"/>
                      <a:pt x="3" y="32"/>
                      <a:pt x="2" y="32"/>
                    </a:cubicBezTo>
                    <a:cubicBezTo>
                      <a:pt x="0" y="28"/>
                      <a:pt x="0" y="18"/>
                      <a:pt x="2" y="11"/>
                    </a:cubicBezTo>
                    <a:cubicBezTo>
                      <a:pt x="4" y="4"/>
                      <a:pt x="2" y="1"/>
                      <a:pt x="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667">
                <a:extLst>
                  <a:ext uri="{FF2B5EF4-FFF2-40B4-BE49-F238E27FC236}">
                    <a16:creationId xmlns:a16="http://schemas.microsoft.com/office/drawing/2014/main" id="{D5C1162D-BADD-4745-9DFE-1BC3F55C14CB}"/>
                  </a:ext>
                </a:extLst>
              </p:cNvPr>
              <p:cNvSpPr>
                <a:spLocks noEditPoints="1"/>
              </p:cNvSpPr>
              <p:nvPr/>
            </p:nvSpPr>
            <p:spPr bwMode="auto">
              <a:xfrm>
                <a:off x="3996689" y="7380287"/>
                <a:ext cx="476250" cy="1198563"/>
              </a:xfrm>
              <a:custGeom>
                <a:avLst/>
                <a:gdLst>
                  <a:gd name="T0" fmla="*/ 124 w 243"/>
                  <a:gd name="T1" fmla="*/ 466 h 612"/>
                  <a:gd name="T2" fmla="*/ 90 w 243"/>
                  <a:gd name="T3" fmla="*/ 104 h 612"/>
                  <a:gd name="T4" fmla="*/ 2 w 243"/>
                  <a:gd name="T5" fmla="*/ 33 h 612"/>
                  <a:gd name="T6" fmla="*/ 33 w 243"/>
                  <a:gd name="T7" fmla="*/ 14 h 612"/>
                  <a:gd name="T8" fmla="*/ 44 w 243"/>
                  <a:gd name="T9" fmla="*/ 48 h 612"/>
                  <a:gd name="T10" fmla="*/ 70 w 243"/>
                  <a:gd name="T11" fmla="*/ 39 h 612"/>
                  <a:gd name="T12" fmla="*/ 82 w 243"/>
                  <a:gd name="T13" fmla="*/ 68 h 612"/>
                  <a:gd name="T14" fmla="*/ 110 w 243"/>
                  <a:gd name="T15" fmla="*/ 64 h 612"/>
                  <a:gd name="T16" fmla="*/ 117 w 243"/>
                  <a:gd name="T17" fmla="*/ 95 h 612"/>
                  <a:gd name="T18" fmla="*/ 146 w 243"/>
                  <a:gd name="T19" fmla="*/ 96 h 612"/>
                  <a:gd name="T20" fmla="*/ 148 w 243"/>
                  <a:gd name="T21" fmla="*/ 128 h 612"/>
                  <a:gd name="T22" fmla="*/ 157 w 243"/>
                  <a:gd name="T23" fmla="*/ 138 h 612"/>
                  <a:gd name="T24" fmla="*/ 185 w 243"/>
                  <a:gd name="T25" fmla="*/ 148 h 612"/>
                  <a:gd name="T26" fmla="*/ 185 w 243"/>
                  <a:gd name="T27" fmla="*/ 177 h 612"/>
                  <a:gd name="T28" fmla="*/ 207 w 243"/>
                  <a:gd name="T29" fmla="*/ 191 h 612"/>
                  <a:gd name="T30" fmla="*/ 210 w 243"/>
                  <a:gd name="T31" fmla="*/ 219 h 612"/>
                  <a:gd name="T32" fmla="*/ 221 w 243"/>
                  <a:gd name="T33" fmla="*/ 236 h 612"/>
                  <a:gd name="T34" fmla="*/ 207 w 243"/>
                  <a:gd name="T35" fmla="*/ 260 h 612"/>
                  <a:gd name="T36" fmla="*/ 210 w 243"/>
                  <a:gd name="T37" fmla="*/ 292 h 612"/>
                  <a:gd name="T38" fmla="*/ 230 w 243"/>
                  <a:gd name="T39" fmla="*/ 313 h 612"/>
                  <a:gd name="T40" fmla="*/ 208 w 243"/>
                  <a:gd name="T41" fmla="*/ 338 h 612"/>
                  <a:gd name="T42" fmla="*/ 230 w 243"/>
                  <a:gd name="T43" fmla="*/ 371 h 612"/>
                  <a:gd name="T44" fmla="*/ 199 w 243"/>
                  <a:gd name="T45" fmla="*/ 382 h 612"/>
                  <a:gd name="T46" fmla="*/ 216 w 243"/>
                  <a:gd name="T47" fmla="*/ 418 h 612"/>
                  <a:gd name="T48" fmla="*/ 184 w 243"/>
                  <a:gd name="T49" fmla="*/ 424 h 612"/>
                  <a:gd name="T50" fmla="*/ 195 w 243"/>
                  <a:gd name="T51" fmla="*/ 462 h 612"/>
                  <a:gd name="T52" fmla="*/ 162 w 243"/>
                  <a:gd name="T53" fmla="*/ 463 h 612"/>
                  <a:gd name="T54" fmla="*/ 167 w 243"/>
                  <a:gd name="T55" fmla="*/ 502 h 612"/>
                  <a:gd name="T56" fmla="*/ 128 w 243"/>
                  <a:gd name="T57" fmla="*/ 504 h 612"/>
                  <a:gd name="T58" fmla="*/ 129 w 243"/>
                  <a:gd name="T59" fmla="*/ 541 h 612"/>
                  <a:gd name="T60" fmla="*/ 102 w 243"/>
                  <a:gd name="T61" fmla="*/ 528 h 612"/>
                  <a:gd name="T62" fmla="*/ 95 w 243"/>
                  <a:gd name="T63" fmla="*/ 567 h 612"/>
                  <a:gd name="T64" fmla="*/ 65 w 243"/>
                  <a:gd name="T65" fmla="*/ 553 h 612"/>
                  <a:gd name="T66" fmla="*/ 52 w 243"/>
                  <a:gd name="T67" fmla="*/ 591 h 612"/>
                  <a:gd name="T68" fmla="*/ 25 w 243"/>
                  <a:gd name="T69" fmla="*/ 571 h 612"/>
                  <a:gd name="T70" fmla="*/ 6 w 243"/>
                  <a:gd name="T71" fmla="*/ 607 h 612"/>
                  <a:gd name="T72" fmla="*/ 7 w 243"/>
                  <a:gd name="T73" fmla="*/ 612 h 612"/>
                  <a:gd name="T74" fmla="*/ 37 w 243"/>
                  <a:gd name="T75" fmla="*/ 589 h 612"/>
                  <a:gd name="T76" fmla="*/ 60 w 243"/>
                  <a:gd name="T77" fmla="*/ 561 h 612"/>
                  <a:gd name="T78" fmla="*/ 99 w 243"/>
                  <a:gd name="T79" fmla="*/ 571 h 612"/>
                  <a:gd name="T80" fmla="*/ 129 w 243"/>
                  <a:gd name="T81" fmla="*/ 546 h 612"/>
                  <a:gd name="T82" fmla="*/ 138 w 243"/>
                  <a:gd name="T83" fmla="*/ 502 h 612"/>
                  <a:gd name="T84" fmla="*/ 171 w 243"/>
                  <a:gd name="T85" fmla="*/ 487 h 612"/>
                  <a:gd name="T86" fmla="*/ 190 w 243"/>
                  <a:gd name="T87" fmla="*/ 472 h 612"/>
                  <a:gd name="T88" fmla="*/ 188 w 243"/>
                  <a:gd name="T89" fmla="*/ 427 h 612"/>
                  <a:gd name="T90" fmla="*/ 222 w 243"/>
                  <a:gd name="T91" fmla="*/ 419 h 612"/>
                  <a:gd name="T92" fmla="*/ 221 w 243"/>
                  <a:gd name="T93" fmla="*/ 383 h 612"/>
                  <a:gd name="T94" fmla="*/ 212 w 243"/>
                  <a:gd name="T95" fmla="*/ 347 h 612"/>
                  <a:gd name="T96" fmla="*/ 231 w 243"/>
                  <a:gd name="T97" fmla="*/ 308 h 612"/>
                  <a:gd name="T98" fmla="*/ 241 w 243"/>
                  <a:gd name="T99" fmla="*/ 272 h 612"/>
                  <a:gd name="T100" fmla="*/ 232 w 243"/>
                  <a:gd name="T101" fmla="*/ 225 h 612"/>
                  <a:gd name="T102" fmla="*/ 199 w 243"/>
                  <a:gd name="T103" fmla="*/ 213 h 612"/>
                  <a:gd name="T104" fmla="*/ 204 w 243"/>
                  <a:gd name="T105" fmla="*/ 169 h 612"/>
                  <a:gd name="T106" fmla="*/ 189 w 243"/>
                  <a:gd name="T107" fmla="*/ 152 h 612"/>
                  <a:gd name="T108" fmla="*/ 157 w 243"/>
                  <a:gd name="T109" fmla="*/ 133 h 612"/>
                  <a:gd name="T110" fmla="*/ 161 w 243"/>
                  <a:gd name="T111" fmla="*/ 94 h 612"/>
                  <a:gd name="T112" fmla="*/ 128 w 243"/>
                  <a:gd name="T113" fmla="*/ 78 h 612"/>
                  <a:gd name="T114" fmla="*/ 92 w 243"/>
                  <a:gd name="T115" fmla="*/ 70 h 612"/>
                  <a:gd name="T116" fmla="*/ 77 w 243"/>
                  <a:gd name="T117" fmla="*/ 29 h 612"/>
                  <a:gd name="T118" fmla="*/ 48 w 243"/>
                  <a:gd name="T119" fmla="*/ 27 h 612"/>
                  <a:gd name="T120" fmla="*/ 12 w 243"/>
                  <a:gd name="T121" fmla="*/ 3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612">
                    <a:moveTo>
                      <a:pt x="0" y="57"/>
                    </a:moveTo>
                    <a:cubicBezTo>
                      <a:pt x="0" y="62"/>
                      <a:pt x="0" y="62"/>
                      <a:pt x="0" y="62"/>
                    </a:cubicBezTo>
                    <a:cubicBezTo>
                      <a:pt x="31" y="71"/>
                      <a:pt x="61" y="87"/>
                      <a:pt x="87" y="108"/>
                    </a:cubicBezTo>
                    <a:cubicBezTo>
                      <a:pt x="140" y="151"/>
                      <a:pt x="173" y="212"/>
                      <a:pt x="180" y="279"/>
                    </a:cubicBezTo>
                    <a:cubicBezTo>
                      <a:pt x="187" y="347"/>
                      <a:pt x="167" y="413"/>
                      <a:pt x="124" y="466"/>
                    </a:cubicBezTo>
                    <a:cubicBezTo>
                      <a:pt x="91" y="506"/>
                      <a:pt x="48" y="535"/>
                      <a:pt x="0" y="550"/>
                    </a:cubicBezTo>
                    <a:cubicBezTo>
                      <a:pt x="0" y="555"/>
                      <a:pt x="0" y="555"/>
                      <a:pt x="0" y="555"/>
                    </a:cubicBezTo>
                    <a:cubicBezTo>
                      <a:pt x="50" y="540"/>
                      <a:pt x="94" y="511"/>
                      <a:pt x="128" y="469"/>
                    </a:cubicBezTo>
                    <a:cubicBezTo>
                      <a:pt x="172" y="416"/>
                      <a:pt x="192" y="348"/>
                      <a:pt x="185" y="279"/>
                    </a:cubicBezTo>
                    <a:cubicBezTo>
                      <a:pt x="177" y="210"/>
                      <a:pt x="144" y="148"/>
                      <a:pt x="90" y="104"/>
                    </a:cubicBezTo>
                    <a:cubicBezTo>
                      <a:pt x="63" y="82"/>
                      <a:pt x="33" y="66"/>
                      <a:pt x="0" y="57"/>
                    </a:cubicBezTo>
                    <a:moveTo>
                      <a:pt x="0" y="0"/>
                    </a:moveTo>
                    <a:cubicBezTo>
                      <a:pt x="0" y="30"/>
                      <a:pt x="0" y="30"/>
                      <a:pt x="0" y="30"/>
                    </a:cubicBezTo>
                    <a:cubicBezTo>
                      <a:pt x="0" y="30"/>
                      <a:pt x="0" y="31"/>
                      <a:pt x="1" y="31"/>
                    </a:cubicBezTo>
                    <a:cubicBezTo>
                      <a:pt x="1" y="32"/>
                      <a:pt x="2" y="32"/>
                      <a:pt x="2" y="33"/>
                    </a:cubicBezTo>
                    <a:cubicBezTo>
                      <a:pt x="5" y="33"/>
                      <a:pt x="8" y="34"/>
                      <a:pt x="11" y="35"/>
                    </a:cubicBezTo>
                    <a:cubicBezTo>
                      <a:pt x="11" y="35"/>
                      <a:pt x="12" y="35"/>
                      <a:pt x="12" y="35"/>
                    </a:cubicBezTo>
                    <a:cubicBezTo>
                      <a:pt x="12" y="35"/>
                      <a:pt x="13" y="35"/>
                      <a:pt x="13" y="35"/>
                    </a:cubicBezTo>
                    <a:cubicBezTo>
                      <a:pt x="18" y="32"/>
                      <a:pt x="23" y="25"/>
                      <a:pt x="27" y="19"/>
                    </a:cubicBezTo>
                    <a:cubicBezTo>
                      <a:pt x="30" y="14"/>
                      <a:pt x="32" y="14"/>
                      <a:pt x="33" y="14"/>
                    </a:cubicBezTo>
                    <a:cubicBezTo>
                      <a:pt x="34" y="14"/>
                      <a:pt x="36" y="14"/>
                      <a:pt x="37" y="15"/>
                    </a:cubicBezTo>
                    <a:cubicBezTo>
                      <a:pt x="38" y="15"/>
                      <a:pt x="38" y="15"/>
                      <a:pt x="38" y="15"/>
                    </a:cubicBezTo>
                    <a:cubicBezTo>
                      <a:pt x="42" y="17"/>
                      <a:pt x="45" y="18"/>
                      <a:pt x="43" y="26"/>
                    </a:cubicBezTo>
                    <a:cubicBezTo>
                      <a:pt x="42" y="32"/>
                      <a:pt x="41" y="41"/>
                      <a:pt x="43" y="46"/>
                    </a:cubicBezTo>
                    <a:cubicBezTo>
                      <a:pt x="43" y="47"/>
                      <a:pt x="43" y="48"/>
                      <a:pt x="44" y="48"/>
                    </a:cubicBezTo>
                    <a:cubicBezTo>
                      <a:pt x="46" y="49"/>
                      <a:pt x="48" y="50"/>
                      <a:pt x="51" y="51"/>
                    </a:cubicBezTo>
                    <a:cubicBezTo>
                      <a:pt x="52" y="52"/>
                      <a:pt x="52" y="52"/>
                      <a:pt x="52" y="52"/>
                    </a:cubicBezTo>
                    <a:cubicBezTo>
                      <a:pt x="53" y="52"/>
                      <a:pt x="53" y="52"/>
                      <a:pt x="54" y="52"/>
                    </a:cubicBezTo>
                    <a:cubicBezTo>
                      <a:pt x="54" y="52"/>
                      <a:pt x="54" y="52"/>
                      <a:pt x="54" y="52"/>
                    </a:cubicBezTo>
                    <a:cubicBezTo>
                      <a:pt x="60" y="50"/>
                      <a:pt x="66" y="44"/>
                      <a:pt x="70" y="39"/>
                    </a:cubicBezTo>
                    <a:cubicBezTo>
                      <a:pt x="73" y="36"/>
                      <a:pt x="75" y="34"/>
                      <a:pt x="77" y="34"/>
                    </a:cubicBezTo>
                    <a:cubicBezTo>
                      <a:pt x="78" y="34"/>
                      <a:pt x="80" y="35"/>
                      <a:pt x="81" y="36"/>
                    </a:cubicBezTo>
                    <a:cubicBezTo>
                      <a:pt x="83" y="36"/>
                      <a:pt x="83" y="36"/>
                      <a:pt x="83" y="36"/>
                    </a:cubicBezTo>
                    <a:cubicBezTo>
                      <a:pt x="86" y="38"/>
                      <a:pt x="89" y="40"/>
                      <a:pt x="86" y="48"/>
                    </a:cubicBezTo>
                    <a:cubicBezTo>
                      <a:pt x="83" y="54"/>
                      <a:pt x="81" y="62"/>
                      <a:pt x="82" y="68"/>
                    </a:cubicBezTo>
                    <a:cubicBezTo>
                      <a:pt x="82" y="69"/>
                      <a:pt x="82" y="69"/>
                      <a:pt x="83" y="70"/>
                    </a:cubicBezTo>
                    <a:cubicBezTo>
                      <a:pt x="86" y="71"/>
                      <a:pt x="88" y="73"/>
                      <a:pt x="91" y="75"/>
                    </a:cubicBezTo>
                    <a:cubicBezTo>
                      <a:pt x="91" y="75"/>
                      <a:pt x="91" y="75"/>
                      <a:pt x="92" y="75"/>
                    </a:cubicBezTo>
                    <a:cubicBezTo>
                      <a:pt x="92" y="75"/>
                      <a:pt x="92" y="75"/>
                      <a:pt x="93" y="75"/>
                    </a:cubicBezTo>
                    <a:cubicBezTo>
                      <a:pt x="98" y="74"/>
                      <a:pt x="105" y="69"/>
                      <a:pt x="110" y="64"/>
                    </a:cubicBezTo>
                    <a:cubicBezTo>
                      <a:pt x="113" y="62"/>
                      <a:pt x="115" y="61"/>
                      <a:pt x="117" y="61"/>
                    </a:cubicBezTo>
                    <a:cubicBezTo>
                      <a:pt x="119" y="61"/>
                      <a:pt x="120" y="62"/>
                      <a:pt x="122" y="63"/>
                    </a:cubicBezTo>
                    <a:cubicBezTo>
                      <a:pt x="123" y="64"/>
                      <a:pt x="123" y="64"/>
                      <a:pt x="123" y="64"/>
                    </a:cubicBezTo>
                    <a:cubicBezTo>
                      <a:pt x="126" y="67"/>
                      <a:pt x="128" y="69"/>
                      <a:pt x="124" y="76"/>
                    </a:cubicBezTo>
                    <a:cubicBezTo>
                      <a:pt x="121" y="81"/>
                      <a:pt x="117" y="90"/>
                      <a:pt x="117" y="95"/>
                    </a:cubicBezTo>
                    <a:cubicBezTo>
                      <a:pt x="117" y="96"/>
                      <a:pt x="117" y="97"/>
                      <a:pt x="118" y="97"/>
                    </a:cubicBezTo>
                    <a:cubicBezTo>
                      <a:pt x="120" y="99"/>
                      <a:pt x="122" y="101"/>
                      <a:pt x="125" y="103"/>
                    </a:cubicBezTo>
                    <a:cubicBezTo>
                      <a:pt x="125" y="104"/>
                      <a:pt x="126" y="104"/>
                      <a:pt x="126" y="104"/>
                    </a:cubicBezTo>
                    <a:cubicBezTo>
                      <a:pt x="126" y="104"/>
                      <a:pt x="127" y="104"/>
                      <a:pt x="127" y="104"/>
                    </a:cubicBezTo>
                    <a:cubicBezTo>
                      <a:pt x="132" y="104"/>
                      <a:pt x="140" y="100"/>
                      <a:pt x="146" y="96"/>
                    </a:cubicBezTo>
                    <a:cubicBezTo>
                      <a:pt x="148" y="95"/>
                      <a:pt x="150" y="94"/>
                      <a:pt x="152" y="94"/>
                    </a:cubicBezTo>
                    <a:cubicBezTo>
                      <a:pt x="154" y="94"/>
                      <a:pt x="155" y="95"/>
                      <a:pt x="157" y="97"/>
                    </a:cubicBezTo>
                    <a:cubicBezTo>
                      <a:pt x="158" y="98"/>
                      <a:pt x="158" y="98"/>
                      <a:pt x="158" y="98"/>
                    </a:cubicBezTo>
                    <a:cubicBezTo>
                      <a:pt x="161" y="101"/>
                      <a:pt x="163" y="103"/>
                      <a:pt x="158" y="109"/>
                    </a:cubicBezTo>
                    <a:cubicBezTo>
                      <a:pt x="153" y="115"/>
                      <a:pt x="149" y="122"/>
                      <a:pt x="148" y="128"/>
                    </a:cubicBezTo>
                    <a:cubicBezTo>
                      <a:pt x="148" y="128"/>
                      <a:pt x="148" y="129"/>
                      <a:pt x="148" y="130"/>
                    </a:cubicBezTo>
                    <a:cubicBezTo>
                      <a:pt x="149" y="131"/>
                      <a:pt x="149" y="131"/>
                      <a:pt x="149" y="131"/>
                    </a:cubicBezTo>
                    <a:cubicBezTo>
                      <a:pt x="151" y="133"/>
                      <a:pt x="152" y="135"/>
                      <a:pt x="154" y="137"/>
                    </a:cubicBezTo>
                    <a:cubicBezTo>
                      <a:pt x="154" y="138"/>
                      <a:pt x="155" y="138"/>
                      <a:pt x="156" y="138"/>
                    </a:cubicBezTo>
                    <a:cubicBezTo>
                      <a:pt x="156" y="138"/>
                      <a:pt x="157" y="138"/>
                      <a:pt x="157" y="138"/>
                    </a:cubicBezTo>
                    <a:cubicBezTo>
                      <a:pt x="162" y="138"/>
                      <a:pt x="169" y="136"/>
                      <a:pt x="176" y="133"/>
                    </a:cubicBezTo>
                    <a:cubicBezTo>
                      <a:pt x="178" y="132"/>
                      <a:pt x="180" y="132"/>
                      <a:pt x="182" y="132"/>
                    </a:cubicBezTo>
                    <a:cubicBezTo>
                      <a:pt x="184" y="132"/>
                      <a:pt x="185" y="133"/>
                      <a:pt x="187" y="136"/>
                    </a:cubicBezTo>
                    <a:cubicBezTo>
                      <a:pt x="188" y="137"/>
                      <a:pt x="188" y="137"/>
                      <a:pt x="188" y="137"/>
                    </a:cubicBezTo>
                    <a:cubicBezTo>
                      <a:pt x="190" y="140"/>
                      <a:pt x="192" y="143"/>
                      <a:pt x="185" y="148"/>
                    </a:cubicBezTo>
                    <a:cubicBezTo>
                      <a:pt x="181" y="153"/>
                      <a:pt x="175" y="159"/>
                      <a:pt x="173" y="165"/>
                    </a:cubicBezTo>
                    <a:cubicBezTo>
                      <a:pt x="173" y="165"/>
                      <a:pt x="173" y="166"/>
                      <a:pt x="173" y="167"/>
                    </a:cubicBezTo>
                    <a:cubicBezTo>
                      <a:pt x="175" y="169"/>
                      <a:pt x="176" y="172"/>
                      <a:pt x="178" y="175"/>
                    </a:cubicBezTo>
                    <a:cubicBezTo>
                      <a:pt x="178" y="175"/>
                      <a:pt x="178" y="176"/>
                      <a:pt x="179" y="176"/>
                    </a:cubicBezTo>
                    <a:cubicBezTo>
                      <a:pt x="181" y="176"/>
                      <a:pt x="183" y="177"/>
                      <a:pt x="185" y="177"/>
                    </a:cubicBezTo>
                    <a:cubicBezTo>
                      <a:pt x="189" y="177"/>
                      <a:pt x="195" y="176"/>
                      <a:pt x="200" y="174"/>
                    </a:cubicBezTo>
                    <a:cubicBezTo>
                      <a:pt x="202" y="174"/>
                      <a:pt x="203" y="174"/>
                      <a:pt x="204" y="174"/>
                    </a:cubicBezTo>
                    <a:cubicBezTo>
                      <a:pt x="208" y="174"/>
                      <a:pt x="209" y="176"/>
                      <a:pt x="210" y="179"/>
                    </a:cubicBezTo>
                    <a:cubicBezTo>
                      <a:pt x="211" y="180"/>
                      <a:pt x="211" y="180"/>
                      <a:pt x="211" y="180"/>
                    </a:cubicBezTo>
                    <a:cubicBezTo>
                      <a:pt x="213" y="183"/>
                      <a:pt x="214" y="186"/>
                      <a:pt x="207" y="191"/>
                    </a:cubicBezTo>
                    <a:cubicBezTo>
                      <a:pt x="201" y="194"/>
                      <a:pt x="194" y="200"/>
                      <a:pt x="192" y="205"/>
                    </a:cubicBezTo>
                    <a:cubicBezTo>
                      <a:pt x="192" y="206"/>
                      <a:pt x="192" y="206"/>
                      <a:pt x="192" y="207"/>
                    </a:cubicBezTo>
                    <a:cubicBezTo>
                      <a:pt x="193" y="210"/>
                      <a:pt x="194" y="213"/>
                      <a:pt x="195" y="216"/>
                    </a:cubicBezTo>
                    <a:cubicBezTo>
                      <a:pt x="195" y="216"/>
                      <a:pt x="196" y="217"/>
                      <a:pt x="196" y="217"/>
                    </a:cubicBezTo>
                    <a:cubicBezTo>
                      <a:pt x="200" y="219"/>
                      <a:pt x="206" y="219"/>
                      <a:pt x="210" y="219"/>
                    </a:cubicBezTo>
                    <a:cubicBezTo>
                      <a:pt x="212" y="219"/>
                      <a:pt x="215" y="219"/>
                      <a:pt x="217" y="219"/>
                    </a:cubicBezTo>
                    <a:cubicBezTo>
                      <a:pt x="218" y="219"/>
                      <a:pt x="219" y="219"/>
                      <a:pt x="220" y="219"/>
                    </a:cubicBezTo>
                    <a:cubicBezTo>
                      <a:pt x="225" y="219"/>
                      <a:pt x="226" y="221"/>
                      <a:pt x="227" y="225"/>
                    </a:cubicBezTo>
                    <a:cubicBezTo>
                      <a:pt x="227" y="226"/>
                      <a:pt x="227" y="226"/>
                      <a:pt x="227" y="226"/>
                    </a:cubicBezTo>
                    <a:cubicBezTo>
                      <a:pt x="228" y="230"/>
                      <a:pt x="229" y="233"/>
                      <a:pt x="221" y="236"/>
                    </a:cubicBezTo>
                    <a:cubicBezTo>
                      <a:pt x="215" y="239"/>
                      <a:pt x="208" y="243"/>
                      <a:pt x="204" y="248"/>
                    </a:cubicBezTo>
                    <a:cubicBezTo>
                      <a:pt x="204" y="248"/>
                      <a:pt x="204" y="249"/>
                      <a:pt x="204" y="250"/>
                    </a:cubicBezTo>
                    <a:cubicBezTo>
                      <a:pt x="205" y="252"/>
                      <a:pt x="205" y="255"/>
                      <a:pt x="205" y="258"/>
                    </a:cubicBezTo>
                    <a:cubicBezTo>
                      <a:pt x="206" y="259"/>
                      <a:pt x="206" y="259"/>
                      <a:pt x="206" y="259"/>
                    </a:cubicBezTo>
                    <a:cubicBezTo>
                      <a:pt x="206" y="259"/>
                      <a:pt x="206" y="260"/>
                      <a:pt x="207" y="260"/>
                    </a:cubicBezTo>
                    <a:cubicBezTo>
                      <a:pt x="211" y="264"/>
                      <a:pt x="220" y="265"/>
                      <a:pt x="227" y="265"/>
                    </a:cubicBezTo>
                    <a:cubicBezTo>
                      <a:pt x="235" y="266"/>
                      <a:pt x="235" y="269"/>
                      <a:pt x="236" y="273"/>
                    </a:cubicBezTo>
                    <a:cubicBezTo>
                      <a:pt x="236" y="274"/>
                      <a:pt x="236" y="274"/>
                      <a:pt x="236" y="274"/>
                    </a:cubicBezTo>
                    <a:cubicBezTo>
                      <a:pt x="236" y="278"/>
                      <a:pt x="237" y="281"/>
                      <a:pt x="229" y="283"/>
                    </a:cubicBezTo>
                    <a:cubicBezTo>
                      <a:pt x="222" y="285"/>
                      <a:pt x="214" y="288"/>
                      <a:pt x="210" y="292"/>
                    </a:cubicBezTo>
                    <a:cubicBezTo>
                      <a:pt x="209" y="293"/>
                      <a:pt x="209" y="293"/>
                      <a:pt x="209" y="294"/>
                    </a:cubicBezTo>
                    <a:cubicBezTo>
                      <a:pt x="209" y="295"/>
                      <a:pt x="209" y="295"/>
                      <a:pt x="209" y="295"/>
                    </a:cubicBezTo>
                    <a:cubicBezTo>
                      <a:pt x="209" y="298"/>
                      <a:pt x="210" y="300"/>
                      <a:pt x="210" y="303"/>
                    </a:cubicBezTo>
                    <a:cubicBezTo>
                      <a:pt x="210" y="304"/>
                      <a:pt x="210" y="304"/>
                      <a:pt x="210" y="305"/>
                    </a:cubicBezTo>
                    <a:cubicBezTo>
                      <a:pt x="215" y="309"/>
                      <a:pt x="223" y="312"/>
                      <a:pt x="230" y="313"/>
                    </a:cubicBezTo>
                    <a:cubicBezTo>
                      <a:pt x="238" y="314"/>
                      <a:pt x="237" y="318"/>
                      <a:pt x="237" y="322"/>
                    </a:cubicBezTo>
                    <a:cubicBezTo>
                      <a:pt x="237" y="323"/>
                      <a:pt x="237" y="323"/>
                      <a:pt x="237" y="323"/>
                    </a:cubicBezTo>
                    <a:cubicBezTo>
                      <a:pt x="237" y="327"/>
                      <a:pt x="237" y="330"/>
                      <a:pt x="228" y="331"/>
                    </a:cubicBezTo>
                    <a:cubicBezTo>
                      <a:pt x="222" y="331"/>
                      <a:pt x="213" y="333"/>
                      <a:pt x="209" y="337"/>
                    </a:cubicBezTo>
                    <a:cubicBezTo>
                      <a:pt x="208" y="337"/>
                      <a:pt x="208" y="338"/>
                      <a:pt x="208" y="338"/>
                    </a:cubicBezTo>
                    <a:cubicBezTo>
                      <a:pt x="207" y="341"/>
                      <a:pt x="207" y="344"/>
                      <a:pt x="206" y="348"/>
                    </a:cubicBezTo>
                    <a:cubicBezTo>
                      <a:pt x="206" y="348"/>
                      <a:pt x="207" y="349"/>
                      <a:pt x="207" y="349"/>
                    </a:cubicBezTo>
                    <a:cubicBezTo>
                      <a:pt x="211" y="354"/>
                      <a:pt x="218" y="358"/>
                      <a:pt x="225" y="360"/>
                    </a:cubicBezTo>
                    <a:cubicBezTo>
                      <a:pt x="232" y="363"/>
                      <a:pt x="232" y="366"/>
                      <a:pt x="231" y="370"/>
                    </a:cubicBezTo>
                    <a:cubicBezTo>
                      <a:pt x="230" y="371"/>
                      <a:pt x="230" y="371"/>
                      <a:pt x="230" y="371"/>
                    </a:cubicBezTo>
                    <a:cubicBezTo>
                      <a:pt x="230" y="375"/>
                      <a:pt x="229" y="378"/>
                      <a:pt x="223" y="378"/>
                    </a:cubicBezTo>
                    <a:cubicBezTo>
                      <a:pt x="222" y="378"/>
                      <a:pt x="222" y="378"/>
                      <a:pt x="221" y="378"/>
                    </a:cubicBezTo>
                    <a:cubicBezTo>
                      <a:pt x="220" y="378"/>
                      <a:pt x="219" y="378"/>
                      <a:pt x="217" y="378"/>
                    </a:cubicBezTo>
                    <a:cubicBezTo>
                      <a:pt x="214" y="378"/>
                      <a:pt x="206" y="378"/>
                      <a:pt x="200" y="380"/>
                    </a:cubicBezTo>
                    <a:cubicBezTo>
                      <a:pt x="200" y="381"/>
                      <a:pt x="199" y="381"/>
                      <a:pt x="199" y="382"/>
                    </a:cubicBezTo>
                    <a:cubicBezTo>
                      <a:pt x="198" y="385"/>
                      <a:pt x="197" y="388"/>
                      <a:pt x="196" y="391"/>
                    </a:cubicBezTo>
                    <a:cubicBezTo>
                      <a:pt x="196" y="392"/>
                      <a:pt x="196" y="392"/>
                      <a:pt x="197" y="393"/>
                    </a:cubicBezTo>
                    <a:cubicBezTo>
                      <a:pt x="200" y="398"/>
                      <a:pt x="207" y="403"/>
                      <a:pt x="212" y="406"/>
                    </a:cubicBezTo>
                    <a:cubicBezTo>
                      <a:pt x="220" y="410"/>
                      <a:pt x="218" y="413"/>
                      <a:pt x="217" y="417"/>
                    </a:cubicBezTo>
                    <a:cubicBezTo>
                      <a:pt x="216" y="418"/>
                      <a:pt x="216" y="418"/>
                      <a:pt x="216" y="418"/>
                    </a:cubicBezTo>
                    <a:cubicBezTo>
                      <a:pt x="215" y="421"/>
                      <a:pt x="214" y="424"/>
                      <a:pt x="210" y="424"/>
                    </a:cubicBezTo>
                    <a:cubicBezTo>
                      <a:pt x="209" y="424"/>
                      <a:pt x="208" y="423"/>
                      <a:pt x="206" y="423"/>
                    </a:cubicBezTo>
                    <a:cubicBezTo>
                      <a:pt x="202" y="422"/>
                      <a:pt x="197" y="421"/>
                      <a:pt x="193" y="421"/>
                    </a:cubicBezTo>
                    <a:cubicBezTo>
                      <a:pt x="190" y="421"/>
                      <a:pt x="187" y="422"/>
                      <a:pt x="185" y="422"/>
                    </a:cubicBezTo>
                    <a:cubicBezTo>
                      <a:pt x="185" y="423"/>
                      <a:pt x="184" y="423"/>
                      <a:pt x="184" y="424"/>
                    </a:cubicBezTo>
                    <a:cubicBezTo>
                      <a:pt x="183" y="427"/>
                      <a:pt x="181" y="430"/>
                      <a:pt x="180" y="432"/>
                    </a:cubicBezTo>
                    <a:cubicBezTo>
                      <a:pt x="179" y="433"/>
                      <a:pt x="179" y="433"/>
                      <a:pt x="180" y="434"/>
                    </a:cubicBezTo>
                    <a:cubicBezTo>
                      <a:pt x="182" y="439"/>
                      <a:pt x="188" y="446"/>
                      <a:pt x="193" y="450"/>
                    </a:cubicBezTo>
                    <a:cubicBezTo>
                      <a:pt x="200" y="455"/>
                      <a:pt x="198" y="458"/>
                      <a:pt x="196" y="461"/>
                    </a:cubicBezTo>
                    <a:cubicBezTo>
                      <a:pt x="195" y="462"/>
                      <a:pt x="195" y="462"/>
                      <a:pt x="195" y="462"/>
                    </a:cubicBezTo>
                    <a:cubicBezTo>
                      <a:pt x="194" y="465"/>
                      <a:pt x="193" y="467"/>
                      <a:pt x="190" y="467"/>
                    </a:cubicBezTo>
                    <a:cubicBezTo>
                      <a:pt x="188" y="467"/>
                      <a:pt x="186" y="466"/>
                      <a:pt x="184" y="465"/>
                    </a:cubicBezTo>
                    <a:cubicBezTo>
                      <a:pt x="178" y="463"/>
                      <a:pt x="171" y="461"/>
                      <a:pt x="166" y="461"/>
                    </a:cubicBezTo>
                    <a:cubicBezTo>
                      <a:pt x="166" y="461"/>
                      <a:pt x="165" y="461"/>
                      <a:pt x="164" y="462"/>
                    </a:cubicBezTo>
                    <a:cubicBezTo>
                      <a:pt x="163" y="462"/>
                      <a:pt x="163" y="462"/>
                      <a:pt x="162" y="463"/>
                    </a:cubicBezTo>
                    <a:cubicBezTo>
                      <a:pt x="160" y="465"/>
                      <a:pt x="159" y="468"/>
                      <a:pt x="157" y="470"/>
                    </a:cubicBezTo>
                    <a:cubicBezTo>
                      <a:pt x="156" y="471"/>
                      <a:pt x="156" y="472"/>
                      <a:pt x="156" y="472"/>
                    </a:cubicBezTo>
                    <a:cubicBezTo>
                      <a:pt x="158" y="478"/>
                      <a:pt x="163" y="485"/>
                      <a:pt x="167" y="490"/>
                    </a:cubicBezTo>
                    <a:cubicBezTo>
                      <a:pt x="173" y="496"/>
                      <a:pt x="171" y="498"/>
                      <a:pt x="168" y="501"/>
                    </a:cubicBezTo>
                    <a:cubicBezTo>
                      <a:pt x="167" y="502"/>
                      <a:pt x="167" y="502"/>
                      <a:pt x="167" y="502"/>
                    </a:cubicBezTo>
                    <a:cubicBezTo>
                      <a:pt x="166" y="505"/>
                      <a:pt x="164" y="506"/>
                      <a:pt x="162" y="506"/>
                    </a:cubicBezTo>
                    <a:cubicBezTo>
                      <a:pt x="161" y="506"/>
                      <a:pt x="159" y="505"/>
                      <a:pt x="156" y="504"/>
                    </a:cubicBezTo>
                    <a:cubicBezTo>
                      <a:pt x="150" y="500"/>
                      <a:pt x="142" y="497"/>
                      <a:pt x="136" y="497"/>
                    </a:cubicBezTo>
                    <a:cubicBezTo>
                      <a:pt x="136" y="497"/>
                      <a:pt x="135" y="497"/>
                      <a:pt x="135" y="498"/>
                    </a:cubicBezTo>
                    <a:cubicBezTo>
                      <a:pt x="133" y="500"/>
                      <a:pt x="130" y="502"/>
                      <a:pt x="128" y="504"/>
                    </a:cubicBezTo>
                    <a:cubicBezTo>
                      <a:pt x="128" y="505"/>
                      <a:pt x="128" y="506"/>
                      <a:pt x="128" y="506"/>
                    </a:cubicBezTo>
                    <a:cubicBezTo>
                      <a:pt x="128" y="512"/>
                      <a:pt x="132" y="520"/>
                      <a:pt x="135" y="525"/>
                    </a:cubicBezTo>
                    <a:cubicBezTo>
                      <a:pt x="140" y="532"/>
                      <a:pt x="138" y="534"/>
                      <a:pt x="135" y="537"/>
                    </a:cubicBezTo>
                    <a:cubicBezTo>
                      <a:pt x="134" y="538"/>
                      <a:pt x="134" y="538"/>
                      <a:pt x="134" y="538"/>
                    </a:cubicBezTo>
                    <a:cubicBezTo>
                      <a:pt x="132" y="539"/>
                      <a:pt x="131" y="541"/>
                      <a:pt x="129" y="541"/>
                    </a:cubicBezTo>
                    <a:cubicBezTo>
                      <a:pt x="127" y="541"/>
                      <a:pt x="125" y="539"/>
                      <a:pt x="122" y="537"/>
                    </a:cubicBezTo>
                    <a:cubicBezTo>
                      <a:pt x="117" y="533"/>
                      <a:pt x="110" y="528"/>
                      <a:pt x="104" y="527"/>
                    </a:cubicBezTo>
                    <a:cubicBezTo>
                      <a:pt x="104" y="527"/>
                      <a:pt x="104" y="527"/>
                      <a:pt x="104" y="527"/>
                    </a:cubicBezTo>
                    <a:cubicBezTo>
                      <a:pt x="103" y="527"/>
                      <a:pt x="103" y="528"/>
                      <a:pt x="102" y="528"/>
                    </a:cubicBezTo>
                    <a:cubicBezTo>
                      <a:pt x="102" y="528"/>
                      <a:pt x="102" y="528"/>
                      <a:pt x="102" y="528"/>
                    </a:cubicBezTo>
                    <a:cubicBezTo>
                      <a:pt x="99" y="530"/>
                      <a:pt x="97" y="532"/>
                      <a:pt x="95" y="534"/>
                    </a:cubicBezTo>
                    <a:cubicBezTo>
                      <a:pt x="94" y="534"/>
                      <a:pt x="94" y="535"/>
                      <a:pt x="94" y="535"/>
                    </a:cubicBezTo>
                    <a:cubicBezTo>
                      <a:pt x="93" y="541"/>
                      <a:pt x="96" y="549"/>
                      <a:pt x="98" y="556"/>
                    </a:cubicBezTo>
                    <a:cubicBezTo>
                      <a:pt x="102" y="563"/>
                      <a:pt x="99" y="565"/>
                      <a:pt x="96" y="567"/>
                    </a:cubicBezTo>
                    <a:cubicBezTo>
                      <a:pt x="95" y="567"/>
                      <a:pt x="95" y="567"/>
                      <a:pt x="95" y="567"/>
                    </a:cubicBezTo>
                    <a:cubicBezTo>
                      <a:pt x="93" y="568"/>
                      <a:pt x="92" y="569"/>
                      <a:pt x="90" y="569"/>
                    </a:cubicBezTo>
                    <a:cubicBezTo>
                      <a:pt x="88" y="569"/>
                      <a:pt x="86" y="568"/>
                      <a:pt x="84" y="565"/>
                    </a:cubicBezTo>
                    <a:cubicBezTo>
                      <a:pt x="79" y="560"/>
                      <a:pt x="73" y="554"/>
                      <a:pt x="67" y="553"/>
                    </a:cubicBezTo>
                    <a:cubicBezTo>
                      <a:pt x="67" y="552"/>
                      <a:pt x="67" y="552"/>
                      <a:pt x="66" y="552"/>
                    </a:cubicBezTo>
                    <a:cubicBezTo>
                      <a:pt x="66" y="552"/>
                      <a:pt x="65" y="553"/>
                      <a:pt x="65" y="553"/>
                    </a:cubicBezTo>
                    <a:cubicBezTo>
                      <a:pt x="62" y="554"/>
                      <a:pt x="60" y="556"/>
                      <a:pt x="57" y="557"/>
                    </a:cubicBezTo>
                    <a:cubicBezTo>
                      <a:pt x="56" y="558"/>
                      <a:pt x="56" y="558"/>
                      <a:pt x="56" y="559"/>
                    </a:cubicBezTo>
                    <a:cubicBezTo>
                      <a:pt x="54" y="564"/>
                      <a:pt x="56" y="573"/>
                      <a:pt x="57" y="579"/>
                    </a:cubicBezTo>
                    <a:cubicBezTo>
                      <a:pt x="60" y="587"/>
                      <a:pt x="57" y="588"/>
                      <a:pt x="53" y="590"/>
                    </a:cubicBezTo>
                    <a:cubicBezTo>
                      <a:pt x="52" y="591"/>
                      <a:pt x="52" y="591"/>
                      <a:pt x="52" y="591"/>
                    </a:cubicBezTo>
                    <a:cubicBezTo>
                      <a:pt x="50" y="591"/>
                      <a:pt x="49" y="592"/>
                      <a:pt x="48" y="592"/>
                    </a:cubicBezTo>
                    <a:cubicBezTo>
                      <a:pt x="47" y="592"/>
                      <a:pt x="44" y="592"/>
                      <a:pt x="41" y="587"/>
                    </a:cubicBezTo>
                    <a:cubicBezTo>
                      <a:pt x="38" y="581"/>
                      <a:pt x="32" y="574"/>
                      <a:pt x="27" y="572"/>
                    </a:cubicBezTo>
                    <a:cubicBezTo>
                      <a:pt x="26" y="571"/>
                      <a:pt x="26" y="571"/>
                      <a:pt x="26" y="571"/>
                    </a:cubicBezTo>
                    <a:cubicBezTo>
                      <a:pt x="25" y="571"/>
                      <a:pt x="25" y="571"/>
                      <a:pt x="25" y="571"/>
                    </a:cubicBezTo>
                    <a:cubicBezTo>
                      <a:pt x="22" y="573"/>
                      <a:pt x="19" y="574"/>
                      <a:pt x="16" y="575"/>
                    </a:cubicBezTo>
                    <a:cubicBezTo>
                      <a:pt x="15" y="575"/>
                      <a:pt x="15" y="575"/>
                      <a:pt x="15" y="576"/>
                    </a:cubicBezTo>
                    <a:cubicBezTo>
                      <a:pt x="12" y="581"/>
                      <a:pt x="12" y="590"/>
                      <a:pt x="13" y="597"/>
                    </a:cubicBezTo>
                    <a:cubicBezTo>
                      <a:pt x="14" y="605"/>
                      <a:pt x="11" y="605"/>
                      <a:pt x="7" y="606"/>
                    </a:cubicBezTo>
                    <a:cubicBezTo>
                      <a:pt x="6" y="607"/>
                      <a:pt x="6" y="607"/>
                      <a:pt x="6" y="607"/>
                    </a:cubicBezTo>
                    <a:cubicBezTo>
                      <a:pt x="4" y="607"/>
                      <a:pt x="3" y="607"/>
                      <a:pt x="2" y="607"/>
                    </a:cubicBezTo>
                    <a:cubicBezTo>
                      <a:pt x="2" y="607"/>
                      <a:pt x="1" y="607"/>
                      <a:pt x="0" y="607"/>
                    </a:cubicBezTo>
                    <a:cubicBezTo>
                      <a:pt x="0" y="612"/>
                      <a:pt x="0" y="612"/>
                      <a:pt x="0" y="612"/>
                    </a:cubicBezTo>
                    <a:cubicBezTo>
                      <a:pt x="1" y="612"/>
                      <a:pt x="1" y="612"/>
                      <a:pt x="2" y="612"/>
                    </a:cubicBezTo>
                    <a:cubicBezTo>
                      <a:pt x="4" y="612"/>
                      <a:pt x="6" y="612"/>
                      <a:pt x="7" y="612"/>
                    </a:cubicBezTo>
                    <a:cubicBezTo>
                      <a:pt x="8" y="611"/>
                      <a:pt x="8" y="611"/>
                      <a:pt x="8" y="611"/>
                    </a:cubicBezTo>
                    <a:cubicBezTo>
                      <a:pt x="12" y="610"/>
                      <a:pt x="20" y="608"/>
                      <a:pt x="18" y="596"/>
                    </a:cubicBezTo>
                    <a:cubicBezTo>
                      <a:pt x="17" y="589"/>
                      <a:pt x="18" y="583"/>
                      <a:pt x="19" y="579"/>
                    </a:cubicBezTo>
                    <a:cubicBezTo>
                      <a:pt x="21" y="578"/>
                      <a:pt x="23" y="577"/>
                      <a:pt x="25" y="577"/>
                    </a:cubicBezTo>
                    <a:cubicBezTo>
                      <a:pt x="29" y="579"/>
                      <a:pt x="33" y="584"/>
                      <a:pt x="37" y="589"/>
                    </a:cubicBezTo>
                    <a:cubicBezTo>
                      <a:pt x="40" y="594"/>
                      <a:pt x="44" y="597"/>
                      <a:pt x="48" y="597"/>
                    </a:cubicBezTo>
                    <a:cubicBezTo>
                      <a:pt x="50" y="597"/>
                      <a:pt x="52" y="596"/>
                      <a:pt x="54" y="595"/>
                    </a:cubicBezTo>
                    <a:cubicBezTo>
                      <a:pt x="55" y="595"/>
                      <a:pt x="55" y="595"/>
                      <a:pt x="55" y="595"/>
                    </a:cubicBezTo>
                    <a:cubicBezTo>
                      <a:pt x="59" y="593"/>
                      <a:pt x="66" y="590"/>
                      <a:pt x="62" y="578"/>
                    </a:cubicBezTo>
                    <a:cubicBezTo>
                      <a:pt x="60" y="572"/>
                      <a:pt x="60" y="565"/>
                      <a:pt x="60" y="561"/>
                    </a:cubicBezTo>
                    <a:cubicBezTo>
                      <a:pt x="62" y="560"/>
                      <a:pt x="64" y="559"/>
                      <a:pt x="67" y="558"/>
                    </a:cubicBezTo>
                    <a:cubicBezTo>
                      <a:pt x="70" y="559"/>
                      <a:pt x="75" y="563"/>
                      <a:pt x="80" y="568"/>
                    </a:cubicBezTo>
                    <a:cubicBezTo>
                      <a:pt x="83" y="572"/>
                      <a:pt x="87" y="574"/>
                      <a:pt x="90" y="574"/>
                    </a:cubicBezTo>
                    <a:cubicBezTo>
                      <a:pt x="93" y="574"/>
                      <a:pt x="96" y="573"/>
                      <a:pt x="98" y="571"/>
                    </a:cubicBezTo>
                    <a:cubicBezTo>
                      <a:pt x="99" y="571"/>
                      <a:pt x="99" y="571"/>
                      <a:pt x="99" y="571"/>
                    </a:cubicBezTo>
                    <a:cubicBezTo>
                      <a:pt x="102" y="569"/>
                      <a:pt x="108" y="565"/>
                      <a:pt x="103" y="553"/>
                    </a:cubicBezTo>
                    <a:cubicBezTo>
                      <a:pt x="100" y="547"/>
                      <a:pt x="99" y="541"/>
                      <a:pt x="99" y="537"/>
                    </a:cubicBezTo>
                    <a:cubicBezTo>
                      <a:pt x="101" y="536"/>
                      <a:pt x="102" y="534"/>
                      <a:pt x="104" y="533"/>
                    </a:cubicBezTo>
                    <a:cubicBezTo>
                      <a:pt x="108" y="534"/>
                      <a:pt x="114" y="537"/>
                      <a:pt x="119" y="541"/>
                    </a:cubicBezTo>
                    <a:cubicBezTo>
                      <a:pt x="123" y="544"/>
                      <a:pt x="126" y="546"/>
                      <a:pt x="129" y="546"/>
                    </a:cubicBezTo>
                    <a:cubicBezTo>
                      <a:pt x="133" y="546"/>
                      <a:pt x="135" y="543"/>
                      <a:pt x="137" y="541"/>
                    </a:cubicBezTo>
                    <a:cubicBezTo>
                      <a:pt x="138" y="541"/>
                      <a:pt x="138" y="541"/>
                      <a:pt x="138" y="541"/>
                    </a:cubicBezTo>
                    <a:cubicBezTo>
                      <a:pt x="141" y="538"/>
                      <a:pt x="147" y="533"/>
                      <a:pt x="140" y="523"/>
                    </a:cubicBezTo>
                    <a:cubicBezTo>
                      <a:pt x="136" y="517"/>
                      <a:pt x="133" y="511"/>
                      <a:pt x="133" y="507"/>
                    </a:cubicBezTo>
                    <a:cubicBezTo>
                      <a:pt x="134" y="505"/>
                      <a:pt x="136" y="504"/>
                      <a:pt x="138" y="502"/>
                    </a:cubicBezTo>
                    <a:cubicBezTo>
                      <a:pt x="141" y="502"/>
                      <a:pt x="148" y="505"/>
                      <a:pt x="154" y="508"/>
                    </a:cubicBezTo>
                    <a:cubicBezTo>
                      <a:pt x="157" y="510"/>
                      <a:pt x="160" y="511"/>
                      <a:pt x="162" y="511"/>
                    </a:cubicBezTo>
                    <a:cubicBezTo>
                      <a:pt x="167" y="511"/>
                      <a:pt x="170" y="508"/>
                      <a:pt x="171" y="505"/>
                    </a:cubicBezTo>
                    <a:cubicBezTo>
                      <a:pt x="172" y="505"/>
                      <a:pt x="172" y="505"/>
                      <a:pt x="172" y="505"/>
                    </a:cubicBezTo>
                    <a:cubicBezTo>
                      <a:pt x="175" y="501"/>
                      <a:pt x="180" y="496"/>
                      <a:pt x="171" y="487"/>
                    </a:cubicBezTo>
                    <a:cubicBezTo>
                      <a:pt x="166" y="482"/>
                      <a:pt x="163" y="476"/>
                      <a:pt x="162" y="472"/>
                    </a:cubicBezTo>
                    <a:cubicBezTo>
                      <a:pt x="163" y="470"/>
                      <a:pt x="164" y="468"/>
                      <a:pt x="166" y="466"/>
                    </a:cubicBezTo>
                    <a:cubicBezTo>
                      <a:pt x="166" y="466"/>
                      <a:pt x="166" y="466"/>
                      <a:pt x="167" y="466"/>
                    </a:cubicBezTo>
                    <a:cubicBezTo>
                      <a:pt x="171" y="466"/>
                      <a:pt x="177" y="468"/>
                      <a:pt x="182" y="470"/>
                    </a:cubicBezTo>
                    <a:cubicBezTo>
                      <a:pt x="185" y="471"/>
                      <a:pt x="188" y="472"/>
                      <a:pt x="190" y="472"/>
                    </a:cubicBezTo>
                    <a:cubicBezTo>
                      <a:pt x="196" y="472"/>
                      <a:pt x="198" y="467"/>
                      <a:pt x="200" y="465"/>
                    </a:cubicBezTo>
                    <a:cubicBezTo>
                      <a:pt x="200" y="464"/>
                      <a:pt x="200" y="464"/>
                      <a:pt x="200" y="464"/>
                    </a:cubicBezTo>
                    <a:cubicBezTo>
                      <a:pt x="202" y="460"/>
                      <a:pt x="206" y="454"/>
                      <a:pt x="196" y="446"/>
                    </a:cubicBezTo>
                    <a:cubicBezTo>
                      <a:pt x="191" y="442"/>
                      <a:pt x="187" y="437"/>
                      <a:pt x="185" y="433"/>
                    </a:cubicBezTo>
                    <a:cubicBezTo>
                      <a:pt x="186" y="431"/>
                      <a:pt x="187" y="429"/>
                      <a:pt x="188" y="427"/>
                    </a:cubicBezTo>
                    <a:cubicBezTo>
                      <a:pt x="189" y="427"/>
                      <a:pt x="191" y="426"/>
                      <a:pt x="193" y="426"/>
                    </a:cubicBezTo>
                    <a:cubicBezTo>
                      <a:pt x="197" y="426"/>
                      <a:pt x="201" y="427"/>
                      <a:pt x="205" y="428"/>
                    </a:cubicBezTo>
                    <a:cubicBezTo>
                      <a:pt x="207" y="428"/>
                      <a:pt x="209" y="429"/>
                      <a:pt x="210" y="429"/>
                    </a:cubicBezTo>
                    <a:cubicBezTo>
                      <a:pt x="218" y="429"/>
                      <a:pt x="220" y="423"/>
                      <a:pt x="221" y="420"/>
                    </a:cubicBezTo>
                    <a:cubicBezTo>
                      <a:pt x="222" y="419"/>
                      <a:pt x="222" y="419"/>
                      <a:pt x="222" y="419"/>
                    </a:cubicBezTo>
                    <a:cubicBezTo>
                      <a:pt x="223" y="415"/>
                      <a:pt x="226" y="408"/>
                      <a:pt x="215" y="402"/>
                    </a:cubicBezTo>
                    <a:cubicBezTo>
                      <a:pt x="209" y="399"/>
                      <a:pt x="204" y="394"/>
                      <a:pt x="202" y="391"/>
                    </a:cubicBezTo>
                    <a:cubicBezTo>
                      <a:pt x="202" y="389"/>
                      <a:pt x="203" y="387"/>
                      <a:pt x="204" y="384"/>
                    </a:cubicBezTo>
                    <a:cubicBezTo>
                      <a:pt x="207" y="383"/>
                      <a:pt x="212" y="383"/>
                      <a:pt x="217" y="383"/>
                    </a:cubicBezTo>
                    <a:cubicBezTo>
                      <a:pt x="218" y="383"/>
                      <a:pt x="220" y="383"/>
                      <a:pt x="221" y="383"/>
                    </a:cubicBezTo>
                    <a:cubicBezTo>
                      <a:pt x="221" y="383"/>
                      <a:pt x="222" y="383"/>
                      <a:pt x="223" y="383"/>
                    </a:cubicBezTo>
                    <a:cubicBezTo>
                      <a:pt x="233" y="383"/>
                      <a:pt x="235" y="376"/>
                      <a:pt x="235" y="372"/>
                    </a:cubicBezTo>
                    <a:cubicBezTo>
                      <a:pt x="236" y="371"/>
                      <a:pt x="236" y="371"/>
                      <a:pt x="236" y="371"/>
                    </a:cubicBezTo>
                    <a:cubicBezTo>
                      <a:pt x="236" y="367"/>
                      <a:pt x="238" y="360"/>
                      <a:pt x="226" y="356"/>
                    </a:cubicBezTo>
                    <a:cubicBezTo>
                      <a:pt x="220" y="353"/>
                      <a:pt x="214" y="350"/>
                      <a:pt x="212" y="347"/>
                    </a:cubicBezTo>
                    <a:cubicBezTo>
                      <a:pt x="212" y="345"/>
                      <a:pt x="212" y="342"/>
                      <a:pt x="212" y="340"/>
                    </a:cubicBezTo>
                    <a:cubicBezTo>
                      <a:pt x="216" y="338"/>
                      <a:pt x="222" y="336"/>
                      <a:pt x="229" y="336"/>
                    </a:cubicBezTo>
                    <a:cubicBezTo>
                      <a:pt x="242" y="335"/>
                      <a:pt x="242" y="327"/>
                      <a:pt x="242" y="323"/>
                    </a:cubicBezTo>
                    <a:cubicBezTo>
                      <a:pt x="242" y="322"/>
                      <a:pt x="242" y="322"/>
                      <a:pt x="242" y="322"/>
                    </a:cubicBezTo>
                    <a:cubicBezTo>
                      <a:pt x="242" y="318"/>
                      <a:pt x="243" y="310"/>
                      <a:pt x="231" y="308"/>
                    </a:cubicBezTo>
                    <a:cubicBezTo>
                      <a:pt x="224" y="307"/>
                      <a:pt x="218" y="304"/>
                      <a:pt x="215" y="302"/>
                    </a:cubicBezTo>
                    <a:cubicBezTo>
                      <a:pt x="214" y="300"/>
                      <a:pt x="214" y="297"/>
                      <a:pt x="214" y="295"/>
                    </a:cubicBezTo>
                    <a:cubicBezTo>
                      <a:pt x="217" y="292"/>
                      <a:pt x="223" y="290"/>
                      <a:pt x="230" y="288"/>
                    </a:cubicBezTo>
                    <a:cubicBezTo>
                      <a:pt x="242" y="285"/>
                      <a:pt x="241" y="277"/>
                      <a:pt x="241" y="273"/>
                    </a:cubicBezTo>
                    <a:cubicBezTo>
                      <a:pt x="241" y="272"/>
                      <a:pt x="241" y="272"/>
                      <a:pt x="241" y="272"/>
                    </a:cubicBezTo>
                    <a:cubicBezTo>
                      <a:pt x="240" y="268"/>
                      <a:pt x="240" y="261"/>
                      <a:pt x="227" y="260"/>
                    </a:cubicBezTo>
                    <a:cubicBezTo>
                      <a:pt x="220" y="260"/>
                      <a:pt x="214" y="259"/>
                      <a:pt x="210" y="257"/>
                    </a:cubicBezTo>
                    <a:cubicBezTo>
                      <a:pt x="210" y="254"/>
                      <a:pt x="210" y="252"/>
                      <a:pt x="209" y="250"/>
                    </a:cubicBezTo>
                    <a:cubicBezTo>
                      <a:pt x="212" y="247"/>
                      <a:pt x="217" y="243"/>
                      <a:pt x="223" y="241"/>
                    </a:cubicBezTo>
                    <a:cubicBezTo>
                      <a:pt x="235" y="236"/>
                      <a:pt x="233" y="229"/>
                      <a:pt x="232" y="225"/>
                    </a:cubicBezTo>
                    <a:cubicBezTo>
                      <a:pt x="232" y="223"/>
                      <a:pt x="232" y="223"/>
                      <a:pt x="232" y="223"/>
                    </a:cubicBezTo>
                    <a:cubicBezTo>
                      <a:pt x="231" y="220"/>
                      <a:pt x="229" y="214"/>
                      <a:pt x="220" y="214"/>
                    </a:cubicBezTo>
                    <a:cubicBezTo>
                      <a:pt x="219" y="214"/>
                      <a:pt x="218" y="214"/>
                      <a:pt x="216" y="214"/>
                    </a:cubicBezTo>
                    <a:cubicBezTo>
                      <a:pt x="214" y="214"/>
                      <a:pt x="212" y="214"/>
                      <a:pt x="210" y="214"/>
                    </a:cubicBezTo>
                    <a:cubicBezTo>
                      <a:pt x="206" y="214"/>
                      <a:pt x="202" y="214"/>
                      <a:pt x="199" y="213"/>
                    </a:cubicBezTo>
                    <a:cubicBezTo>
                      <a:pt x="198" y="211"/>
                      <a:pt x="198" y="208"/>
                      <a:pt x="197" y="206"/>
                    </a:cubicBezTo>
                    <a:cubicBezTo>
                      <a:pt x="199" y="203"/>
                      <a:pt x="204" y="199"/>
                      <a:pt x="210" y="195"/>
                    </a:cubicBezTo>
                    <a:cubicBezTo>
                      <a:pt x="220" y="188"/>
                      <a:pt x="217" y="181"/>
                      <a:pt x="215" y="178"/>
                    </a:cubicBezTo>
                    <a:cubicBezTo>
                      <a:pt x="215" y="177"/>
                      <a:pt x="215" y="177"/>
                      <a:pt x="215" y="177"/>
                    </a:cubicBezTo>
                    <a:cubicBezTo>
                      <a:pt x="214" y="174"/>
                      <a:pt x="211" y="169"/>
                      <a:pt x="204" y="169"/>
                    </a:cubicBezTo>
                    <a:cubicBezTo>
                      <a:pt x="203" y="169"/>
                      <a:pt x="201" y="169"/>
                      <a:pt x="198" y="170"/>
                    </a:cubicBezTo>
                    <a:cubicBezTo>
                      <a:pt x="194" y="171"/>
                      <a:pt x="189" y="172"/>
                      <a:pt x="185" y="172"/>
                    </a:cubicBezTo>
                    <a:cubicBezTo>
                      <a:pt x="183" y="172"/>
                      <a:pt x="182" y="172"/>
                      <a:pt x="181" y="171"/>
                    </a:cubicBezTo>
                    <a:cubicBezTo>
                      <a:pt x="180" y="169"/>
                      <a:pt x="179" y="167"/>
                      <a:pt x="178" y="165"/>
                    </a:cubicBezTo>
                    <a:cubicBezTo>
                      <a:pt x="180" y="162"/>
                      <a:pt x="184" y="156"/>
                      <a:pt x="189" y="152"/>
                    </a:cubicBezTo>
                    <a:cubicBezTo>
                      <a:pt x="198" y="144"/>
                      <a:pt x="194" y="137"/>
                      <a:pt x="192" y="134"/>
                    </a:cubicBezTo>
                    <a:cubicBezTo>
                      <a:pt x="191" y="133"/>
                      <a:pt x="191" y="133"/>
                      <a:pt x="191" y="133"/>
                    </a:cubicBezTo>
                    <a:cubicBezTo>
                      <a:pt x="190" y="131"/>
                      <a:pt x="187" y="127"/>
                      <a:pt x="182" y="127"/>
                    </a:cubicBezTo>
                    <a:cubicBezTo>
                      <a:pt x="179" y="127"/>
                      <a:pt x="177" y="127"/>
                      <a:pt x="174" y="129"/>
                    </a:cubicBezTo>
                    <a:cubicBezTo>
                      <a:pt x="168" y="131"/>
                      <a:pt x="161" y="133"/>
                      <a:pt x="157" y="133"/>
                    </a:cubicBezTo>
                    <a:cubicBezTo>
                      <a:pt x="156" y="131"/>
                      <a:pt x="154" y="129"/>
                      <a:pt x="153" y="128"/>
                    </a:cubicBezTo>
                    <a:cubicBezTo>
                      <a:pt x="153" y="127"/>
                      <a:pt x="153" y="127"/>
                      <a:pt x="153" y="127"/>
                    </a:cubicBezTo>
                    <a:cubicBezTo>
                      <a:pt x="154" y="124"/>
                      <a:pt x="157" y="118"/>
                      <a:pt x="161" y="113"/>
                    </a:cubicBezTo>
                    <a:cubicBezTo>
                      <a:pt x="170" y="103"/>
                      <a:pt x="164" y="98"/>
                      <a:pt x="162" y="95"/>
                    </a:cubicBezTo>
                    <a:cubicBezTo>
                      <a:pt x="161" y="94"/>
                      <a:pt x="161" y="94"/>
                      <a:pt x="161" y="94"/>
                    </a:cubicBezTo>
                    <a:cubicBezTo>
                      <a:pt x="159" y="92"/>
                      <a:pt x="157" y="89"/>
                      <a:pt x="152" y="89"/>
                    </a:cubicBezTo>
                    <a:cubicBezTo>
                      <a:pt x="149" y="89"/>
                      <a:pt x="146" y="90"/>
                      <a:pt x="143" y="92"/>
                    </a:cubicBezTo>
                    <a:cubicBezTo>
                      <a:pt x="137" y="96"/>
                      <a:pt x="131" y="98"/>
                      <a:pt x="127" y="99"/>
                    </a:cubicBezTo>
                    <a:cubicBezTo>
                      <a:pt x="126" y="97"/>
                      <a:pt x="124" y="96"/>
                      <a:pt x="122" y="94"/>
                    </a:cubicBezTo>
                    <a:cubicBezTo>
                      <a:pt x="123" y="90"/>
                      <a:pt x="125" y="84"/>
                      <a:pt x="128" y="78"/>
                    </a:cubicBezTo>
                    <a:cubicBezTo>
                      <a:pt x="135" y="67"/>
                      <a:pt x="129" y="63"/>
                      <a:pt x="126" y="60"/>
                    </a:cubicBezTo>
                    <a:cubicBezTo>
                      <a:pt x="125" y="60"/>
                      <a:pt x="125" y="60"/>
                      <a:pt x="125" y="60"/>
                    </a:cubicBezTo>
                    <a:cubicBezTo>
                      <a:pt x="123" y="58"/>
                      <a:pt x="120" y="56"/>
                      <a:pt x="117" y="56"/>
                    </a:cubicBezTo>
                    <a:cubicBezTo>
                      <a:pt x="114" y="56"/>
                      <a:pt x="110" y="57"/>
                      <a:pt x="107" y="61"/>
                    </a:cubicBezTo>
                    <a:cubicBezTo>
                      <a:pt x="102" y="65"/>
                      <a:pt x="96" y="69"/>
                      <a:pt x="92" y="70"/>
                    </a:cubicBezTo>
                    <a:cubicBezTo>
                      <a:pt x="91" y="69"/>
                      <a:pt x="89" y="67"/>
                      <a:pt x="87" y="66"/>
                    </a:cubicBezTo>
                    <a:cubicBezTo>
                      <a:pt x="86" y="62"/>
                      <a:pt x="88" y="56"/>
                      <a:pt x="90" y="49"/>
                    </a:cubicBezTo>
                    <a:cubicBezTo>
                      <a:pt x="95" y="38"/>
                      <a:pt x="89" y="34"/>
                      <a:pt x="85" y="32"/>
                    </a:cubicBezTo>
                    <a:cubicBezTo>
                      <a:pt x="84" y="32"/>
                      <a:pt x="84" y="32"/>
                      <a:pt x="84" y="32"/>
                    </a:cubicBezTo>
                    <a:cubicBezTo>
                      <a:pt x="82" y="30"/>
                      <a:pt x="80" y="29"/>
                      <a:pt x="77" y="29"/>
                    </a:cubicBezTo>
                    <a:cubicBezTo>
                      <a:pt x="73" y="29"/>
                      <a:pt x="70" y="31"/>
                      <a:pt x="66" y="35"/>
                    </a:cubicBezTo>
                    <a:cubicBezTo>
                      <a:pt x="62" y="41"/>
                      <a:pt x="57" y="45"/>
                      <a:pt x="54" y="47"/>
                    </a:cubicBezTo>
                    <a:cubicBezTo>
                      <a:pt x="53" y="47"/>
                      <a:pt x="53" y="47"/>
                      <a:pt x="53" y="47"/>
                    </a:cubicBezTo>
                    <a:cubicBezTo>
                      <a:pt x="51" y="46"/>
                      <a:pt x="49" y="45"/>
                      <a:pt x="47" y="44"/>
                    </a:cubicBezTo>
                    <a:cubicBezTo>
                      <a:pt x="46" y="40"/>
                      <a:pt x="47" y="33"/>
                      <a:pt x="48" y="27"/>
                    </a:cubicBezTo>
                    <a:cubicBezTo>
                      <a:pt x="51" y="15"/>
                      <a:pt x="44" y="12"/>
                      <a:pt x="40" y="11"/>
                    </a:cubicBezTo>
                    <a:cubicBezTo>
                      <a:pt x="39" y="10"/>
                      <a:pt x="39" y="10"/>
                      <a:pt x="39" y="10"/>
                    </a:cubicBezTo>
                    <a:cubicBezTo>
                      <a:pt x="37" y="10"/>
                      <a:pt x="35" y="9"/>
                      <a:pt x="33" y="9"/>
                    </a:cubicBezTo>
                    <a:cubicBezTo>
                      <a:pt x="29" y="9"/>
                      <a:pt x="25" y="11"/>
                      <a:pt x="22" y="17"/>
                    </a:cubicBezTo>
                    <a:cubicBezTo>
                      <a:pt x="19" y="23"/>
                      <a:pt x="15" y="28"/>
                      <a:pt x="12" y="30"/>
                    </a:cubicBezTo>
                    <a:cubicBezTo>
                      <a:pt x="9" y="29"/>
                      <a:pt x="7" y="29"/>
                      <a:pt x="5" y="28"/>
                    </a:cubicBezTo>
                    <a:cubicBezTo>
                      <a:pt x="3" y="24"/>
                      <a:pt x="3" y="18"/>
                      <a:pt x="3" y="11"/>
                    </a:cubicBezTo>
                    <a:cubicBezTo>
                      <a:pt x="3" y="5"/>
                      <a:pt x="2" y="2"/>
                      <a:pt x="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85" name="Group 1384">
              <a:extLst>
                <a:ext uri="{FF2B5EF4-FFF2-40B4-BE49-F238E27FC236}">
                  <a16:creationId xmlns:a16="http://schemas.microsoft.com/office/drawing/2014/main" id="{CF3E1394-F23B-4971-B53B-470C0ED787AE}"/>
                </a:ext>
              </a:extLst>
            </p:cNvPr>
            <p:cNvGrpSpPr/>
            <p:nvPr userDrawn="1"/>
          </p:nvGrpSpPr>
          <p:grpSpPr>
            <a:xfrm>
              <a:off x="8800465" y="5872321"/>
              <a:ext cx="1120775" cy="581025"/>
              <a:chOff x="4214177" y="8264525"/>
              <a:chExt cx="1120775" cy="581025"/>
            </a:xfrm>
          </p:grpSpPr>
          <p:sp>
            <p:nvSpPr>
              <p:cNvPr id="21" name="Freeform 1634">
                <a:extLst>
                  <a:ext uri="{FF2B5EF4-FFF2-40B4-BE49-F238E27FC236}">
                    <a16:creationId xmlns:a16="http://schemas.microsoft.com/office/drawing/2014/main" id="{FDBE88DC-D834-4585-BF6F-234D29D19282}"/>
                  </a:ext>
                </a:extLst>
              </p:cNvPr>
              <p:cNvSpPr>
                <a:spLocks noEditPoints="1"/>
              </p:cNvSpPr>
              <p:nvPr/>
            </p:nvSpPr>
            <p:spPr bwMode="auto">
              <a:xfrm>
                <a:off x="4528502" y="8561387"/>
                <a:ext cx="71438" cy="76200"/>
              </a:xfrm>
              <a:custGeom>
                <a:avLst/>
                <a:gdLst>
                  <a:gd name="T0" fmla="*/ 26 w 37"/>
                  <a:gd name="T1" fmla="*/ 33 h 39"/>
                  <a:gd name="T2" fmla="*/ 6 w 37"/>
                  <a:gd name="T3" fmla="*/ 6 h 39"/>
                  <a:gd name="T4" fmla="*/ 12 w 37"/>
                  <a:gd name="T5" fmla="*/ 5 h 39"/>
                  <a:gd name="T6" fmla="*/ 26 w 37"/>
                  <a:gd name="T7" fmla="*/ 12 h 39"/>
                  <a:gd name="T8" fmla="*/ 26 w 37"/>
                  <a:gd name="T9" fmla="*/ 33 h 39"/>
                  <a:gd name="T10" fmla="*/ 12 w 37"/>
                  <a:gd name="T11" fmla="*/ 0 h 39"/>
                  <a:gd name="T12" fmla="*/ 1 w 37"/>
                  <a:gd name="T13" fmla="*/ 3 h 39"/>
                  <a:gd name="T14" fmla="*/ 0 w 37"/>
                  <a:gd name="T15" fmla="*/ 5 h 39"/>
                  <a:gd name="T16" fmla="*/ 0 w 37"/>
                  <a:gd name="T17" fmla="*/ 6 h 39"/>
                  <a:gd name="T18" fmla="*/ 1 w 37"/>
                  <a:gd name="T19" fmla="*/ 7 h 39"/>
                  <a:gd name="T20" fmla="*/ 24 w 37"/>
                  <a:gd name="T21" fmla="*/ 38 h 39"/>
                  <a:gd name="T22" fmla="*/ 25 w 37"/>
                  <a:gd name="T23" fmla="*/ 39 h 39"/>
                  <a:gd name="T24" fmla="*/ 25 w 37"/>
                  <a:gd name="T25" fmla="*/ 39 h 39"/>
                  <a:gd name="T26" fmla="*/ 26 w 37"/>
                  <a:gd name="T27" fmla="*/ 39 h 39"/>
                  <a:gd name="T28" fmla="*/ 27 w 37"/>
                  <a:gd name="T29" fmla="*/ 39 h 39"/>
                  <a:gd name="T30" fmla="*/ 29 w 37"/>
                  <a:gd name="T31" fmla="*/ 8 h 39"/>
                  <a:gd name="T32" fmla="*/ 12 w 37"/>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9">
                    <a:moveTo>
                      <a:pt x="26" y="33"/>
                    </a:moveTo>
                    <a:cubicBezTo>
                      <a:pt x="6" y="6"/>
                      <a:pt x="6" y="6"/>
                      <a:pt x="6" y="6"/>
                    </a:cubicBezTo>
                    <a:cubicBezTo>
                      <a:pt x="8" y="6"/>
                      <a:pt x="10" y="5"/>
                      <a:pt x="12" y="5"/>
                    </a:cubicBezTo>
                    <a:cubicBezTo>
                      <a:pt x="18" y="5"/>
                      <a:pt x="22" y="8"/>
                      <a:pt x="26" y="12"/>
                    </a:cubicBezTo>
                    <a:cubicBezTo>
                      <a:pt x="31" y="18"/>
                      <a:pt x="31" y="27"/>
                      <a:pt x="26" y="33"/>
                    </a:cubicBezTo>
                    <a:moveTo>
                      <a:pt x="12" y="0"/>
                    </a:moveTo>
                    <a:cubicBezTo>
                      <a:pt x="9" y="0"/>
                      <a:pt x="5" y="1"/>
                      <a:pt x="1" y="3"/>
                    </a:cubicBezTo>
                    <a:cubicBezTo>
                      <a:pt x="1" y="4"/>
                      <a:pt x="0" y="4"/>
                      <a:pt x="0" y="5"/>
                    </a:cubicBezTo>
                    <a:cubicBezTo>
                      <a:pt x="0" y="5"/>
                      <a:pt x="0" y="6"/>
                      <a:pt x="0" y="6"/>
                    </a:cubicBezTo>
                    <a:cubicBezTo>
                      <a:pt x="1" y="6"/>
                      <a:pt x="1" y="6"/>
                      <a:pt x="1" y="7"/>
                    </a:cubicBezTo>
                    <a:cubicBezTo>
                      <a:pt x="24" y="38"/>
                      <a:pt x="24" y="38"/>
                      <a:pt x="24" y="38"/>
                    </a:cubicBezTo>
                    <a:cubicBezTo>
                      <a:pt x="24" y="38"/>
                      <a:pt x="25" y="39"/>
                      <a:pt x="25" y="39"/>
                    </a:cubicBezTo>
                    <a:cubicBezTo>
                      <a:pt x="25" y="39"/>
                      <a:pt x="25" y="39"/>
                      <a:pt x="25" y="39"/>
                    </a:cubicBezTo>
                    <a:cubicBezTo>
                      <a:pt x="26" y="39"/>
                      <a:pt x="26" y="39"/>
                      <a:pt x="26" y="39"/>
                    </a:cubicBezTo>
                    <a:cubicBezTo>
                      <a:pt x="26" y="39"/>
                      <a:pt x="27" y="39"/>
                      <a:pt x="27" y="39"/>
                    </a:cubicBezTo>
                    <a:cubicBezTo>
                      <a:pt x="36" y="31"/>
                      <a:pt x="37"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35">
                <a:extLst>
                  <a:ext uri="{FF2B5EF4-FFF2-40B4-BE49-F238E27FC236}">
                    <a16:creationId xmlns:a16="http://schemas.microsoft.com/office/drawing/2014/main" id="{99ED05BD-DF90-4788-9AA2-4DCF3ECF0092}"/>
                  </a:ext>
                </a:extLst>
              </p:cNvPr>
              <p:cNvSpPr>
                <a:spLocks noEditPoints="1"/>
              </p:cNvSpPr>
              <p:nvPr/>
            </p:nvSpPr>
            <p:spPr bwMode="auto">
              <a:xfrm>
                <a:off x="4504689" y="8572500"/>
                <a:ext cx="73025" cy="74613"/>
              </a:xfrm>
              <a:custGeom>
                <a:avLst/>
                <a:gdLst>
                  <a:gd name="T0" fmla="*/ 24 w 37"/>
                  <a:gd name="T1" fmla="*/ 33 h 38"/>
                  <a:gd name="T2" fmla="*/ 11 w 37"/>
                  <a:gd name="T3" fmla="*/ 27 h 38"/>
                  <a:gd name="T4" fmla="*/ 11 w 37"/>
                  <a:gd name="T5" fmla="*/ 6 h 38"/>
                  <a:gd name="T6" fmla="*/ 30 w 37"/>
                  <a:gd name="T7" fmla="*/ 32 h 38"/>
                  <a:gd name="T8" fmla="*/ 24 w 37"/>
                  <a:gd name="T9" fmla="*/ 33 h 38"/>
                  <a:gd name="T10" fmla="*/ 11 w 37"/>
                  <a:gd name="T11" fmla="*/ 0 h 38"/>
                  <a:gd name="T12" fmla="*/ 9 w 37"/>
                  <a:gd name="T13" fmla="*/ 0 h 38"/>
                  <a:gd name="T14" fmla="*/ 7 w 37"/>
                  <a:gd name="T15" fmla="*/ 30 h 38"/>
                  <a:gd name="T16" fmla="*/ 24 w 37"/>
                  <a:gd name="T17" fmla="*/ 38 h 38"/>
                  <a:gd name="T18" fmla="*/ 35 w 37"/>
                  <a:gd name="T19" fmla="*/ 36 h 38"/>
                  <a:gd name="T20" fmla="*/ 37 w 37"/>
                  <a:gd name="T21" fmla="*/ 34 h 38"/>
                  <a:gd name="T22" fmla="*/ 37 w 37"/>
                  <a:gd name="T23" fmla="*/ 33 h 38"/>
                  <a:gd name="T24" fmla="*/ 36 w 37"/>
                  <a:gd name="T25" fmla="*/ 32 h 38"/>
                  <a:gd name="T26" fmla="*/ 13 w 37"/>
                  <a:gd name="T27" fmla="*/ 1 h 38"/>
                  <a:gd name="T28" fmla="*/ 12 w 37"/>
                  <a:gd name="T29" fmla="*/ 0 h 38"/>
                  <a:gd name="T30" fmla="*/ 11 w 37"/>
                  <a:gd name="T31" fmla="*/ 0 h 38"/>
                  <a:gd name="T32" fmla="*/ 11 w 37"/>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24" y="33"/>
                    </a:moveTo>
                    <a:cubicBezTo>
                      <a:pt x="19" y="33"/>
                      <a:pt x="14" y="31"/>
                      <a:pt x="11" y="27"/>
                    </a:cubicBezTo>
                    <a:cubicBezTo>
                      <a:pt x="6" y="21"/>
                      <a:pt x="6" y="12"/>
                      <a:pt x="11" y="6"/>
                    </a:cubicBezTo>
                    <a:cubicBezTo>
                      <a:pt x="30" y="32"/>
                      <a:pt x="30" y="32"/>
                      <a:pt x="30" y="32"/>
                    </a:cubicBezTo>
                    <a:cubicBezTo>
                      <a:pt x="28" y="33"/>
                      <a:pt x="26" y="33"/>
                      <a:pt x="24" y="33"/>
                    </a:cubicBezTo>
                    <a:moveTo>
                      <a:pt x="11" y="0"/>
                    </a:moveTo>
                    <a:cubicBezTo>
                      <a:pt x="10" y="0"/>
                      <a:pt x="10" y="0"/>
                      <a:pt x="9" y="0"/>
                    </a:cubicBezTo>
                    <a:cubicBezTo>
                      <a:pt x="1" y="8"/>
                      <a:pt x="0" y="21"/>
                      <a:pt x="7" y="30"/>
                    </a:cubicBezTo>
                    <a:cubicBezTo>
                      <a:pt x="12" y="36"/>
                      <a:pt x="18" y="38"/>
                      <a:pt x="24" y="38"/>
                    </a:cubicBezTo>
                    <a:cubicBezTo>
                      <a:pt x="28" y="38"/>
                      <a:pt x="32" y="37"/>
                      <a:pt x="35" y="36"/>
                    </a:cubicBezTo>
                    <a:cubicBezTo>
                      <a:pt x="36" y="35"/>
                      <a:pt x="36" y="35"/>
                      <a:pt x="37" y="34"/>
                    </a:cubicBezTo>
                    <a:cubicBezTo>
                      <a:pt x="37" y="34"/>
                      <a:pt x="37" y="33"/>
                      <a:pt x="37" y="33"/>
                    </a:cubicBezTo>
                    <a:cubicBezTo>
                      <a:pt x="37" y="33"/>
                      <a:pt x="36" y="32"/>
                      <a:pt x="36" y="32"/>
                    </a:cubicBezTo>
                    <a:cubicBezTo>
                      <a:pt x="13" y="1"/>
                      <a:pt x="13" y="1"/>
                      <a:pt x="13" y="1"/>
                    </a:cubicBezTo>
                    <a:cubicBezTo>
                      <a:pt x="13" y="0"/>
                      <a:pt x="13" y="0"/>
                      <a:pt x="12" y="0"/>
                    </a:cubicBezTo>
                    <a:cubicBezTo>
                      <a:pt x="12" y="0"/>
                      <a:pt x="12"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36">
                <a:extLst>
                  <a:ext uri="{FF2B5EF4-FFF2-40B4-BE49-F238E27FC236}">
                    <a16:creationId xmlns:a16="http://schemas.microsoft.com/office/drawing/2014/main" id="{ADEBF132-A87D-44F4-A33C-D7309ACA0ABD}"/>
                  </a:ext>
                </a:extLst>
              </p:cNvPr>
              <p:cNvSpPr>
                <a:spLocks noEditPoints="1"/>
              </p:cNvSpPr>
              <p:nvPr/>
            </p:nvSpPr>
            <p:spPr bwMode="auto">
              <a:xfrm>
                <a:off x="5265102" y="8313737"/>
                <a:ext cx="69850" cy="74613"/>
              </a:xfrm>
              <a:custGeom>
                <a:avLst/>
                <a:gdLst>
                  <a:gd name="T0" fmla="*/ 25 w 36"/>
                  <a:gd name="T1" fmla="*/ 32 h 38"/>
                  <a:gd name="T2" fmla="*/ 6 w 36"/>
                  <a:gd name="T3" fmla="*/ 6 h 38"/>
                  <a:gd name="T4" fmla="*/ 12 w 36"/>
                  <a:gd name="T5" fmla="*/ 5 h 38"/>
                  <a:gd name="T6" fmla="*/ 25 w 36"/>
                  <a:gd name="T7" fmla="*/ 11 h 38"/>
                  <a:gd name="T8" fmla="*/ 25 w 36"/>
                  <a:gd name="T9" fmla="*/ 32 h 38"/>
                  <a:gd name="T10" fmla="*/ 12 w 36"/>
                  <a:gd name="T11" fmla="*/ 0 h 38"/>
                  <a:gd name="T12" fmla="*/ 1 w 36"/>
                  <a:gd name="T13" fmla="*/ 3 h 38"/>
                  <a:gd name="T14" fmla="*/ 0 w 36"/>
                  <a:gd name="T15" fmla="*/ 4 h 38"/>
                  <a:gd name="T16" fmla="*/ 0 w 36"/>
                  <a:gd name="T17" fmla="*/ 5 h 38"/>
                  <a:gd name="T18" fmla="*/ 1 w 36"/>
                  <a:gd name="T19" fmla="*/ 6 h 38"/>
                  <a:gd name="T20" fmla="*/ 24 w 36"/>
                  <a:gd name="T21" fmla="*/ 37 h 38"/>
                  <a:gd name="T22" fmla="*/ 24 w 36"/>
                  <a:gd name="T23" fmla="*/ 38 h 38"/>
                  <a:gd name="T24" fmla="*/ 25 w 36"/>
                  <a:gd name="T25" fmla="*/ 38 h 38"/>
                  <a:gd name="T26" fmla="*/ 25 w 36"/>
                  <a:gd name="T27" fmla="*/ 38 h 38"/>
                  <a:gd name="T28" fmla="*/ 27 w 36"/>
                  <a:gd name="T29" fmla="*/ 38 h 38"/>
                  <a:gd name="T30" fmla="*/ 29 w 36"/>
                  <a:gd name="T31" fmla="*/ 8 h 38"/>
                  <a:gd name="T32" fmla="*/ 12 w 36"/>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8">
                    <a:moveTo>
                      <a:pt x="25" y="32"/>
                    </a:moveTo>
                    <a:cubicBezTo>
                      <a:pt x="6" y="6"/>
                      <a:pt x="6" y="6"/>
                      <a:pt x="6" y="6"/>
                    </a:cubicBezTo>
                    <a:cubicBezTo>
                      <a:pt x="8" y="5"/>
                      <a:pt x="10" y="5"/>
                      <a:pt x="12" y="5"/>
                    </a:cubicBezTo>
                    <a:cubicBezTo>
                      <a:pt x="17" y="5"/>
                      <a:pt x="22" y="7"/>
                      <a:pt x="25" y="11"/>
                    </a:cubicBezTo>
                    <a:cubicBezTo>
                      <a:pt x="30" y="17"/>
                      <a:pt x="30" y="26"/>
                      <a:pt x="25" y="32"/>
                    </a:cubicBezTo>
                    <a:moveTo>
                      <a:pt x="12" y="0"/>
                    </a:moveTo>
                    <a:cubicBezTo>
                      <a:pt x="8" y="0"/>
                      <a:pt x="4" y="1"/>
                      <a:pt x="1" y="3"/>
                    </a:cubicBezTo>
                    <a:cubicBezTo>
                      <a:pt x="0" y="3"/>
                      <a:pt x="0" y="3"/>
                      <a:pt x="0" y="4"/>
                    </a:cubicBezTo>
                    <a:cubicBezTo>
                      <a:pt x="0" y="4"/>
                      <a:pt x="0" y="5"/>
                      <a:pt x="0" y="5"/>
                    </a:cubicBezTo>
                    <a:cubicBezTo>
                      <a:pt x="0" y="5"/>
                      <a:pt x="0" y="6"/>
                      <a:pt x="1" y="6"/>
                    </a:cubicBezTo>
                    <a:cubicBezTo>
                      <a:pt x="24" y="37"/>
                      <a:pt x="24" y="37"/>
                      <a:pt x="24" y="37"/>
                    </a:cubicBezTo>
                    <a:cubicBezTo>
                      <a:pt x="24" y="37"/>
                      <a:pt x="24" y="38"/>
                      <a:pt x="24" y="38"/>
                    </a:cubicBezTo>
                    <a:cubicBezTo>
                      <a:pt x="24" y="38"/>
                      <a:pt x="25" y="38"/>
                      <a:pt x="25" y="38"/>
                    </a:cubicBezTo>
                    <a:cubicBezTo>
                      <a:pt x="25" y="38"/>
                      <a:pt x="25" y="38"/>
                      <a:pt x="25" y="38"/>
                    </a:cubicBezTo>
                    <a:cubicBezTo>
                      <a:pt x="26" y="38"/>
                      <a:pt x="26" y="38"/>
                      <a:pt x="27" y="38"/>
                    </a:cubicBezTo>
                    <a:cubicBezTo>
                      <a:pt x="35" y="30"/>
                      <a:pt x="36"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637">
                <a:extLst>
                  <a:ext uri="{FF2B5EF4-FFF2-40B4-BE49-F238E27FC236}">
                    <a16:creationId xmlns:a16="http://schemas.microsoft.com/office/drawing/2014/main" id="{8F2B66B4-5F5D-47B5-B2D6-D6EB49B33DFF}"/>
                  </a:ext>
                </a:extLst>
              </p:cNvPr>
              <p:cNvSpPr>
                <a:spLocks noEditPoints="1"/>
              </p:cNvSpPr>
              <p:nvPr/>
            </p:nvSpPr>
            <p:spPr bwMode="auto">
              <a:xfrm>
                <a:off x="5241289" y="8323262"/>
                <a:ext cx="71438" cy="76200"/>
              </a:xfrm>
              <a:custGeom>
                <a:avLst/>
                <a:gdLst>
                  <a:gd name="T0" fmla="*/ 24 w 36"/>
                  <a:gd name="T1" fmla="*/ 34 h 39"/>
                  <a:gd name="T2" fmla="*/ 11 w 36"/>
                  <a:gd name="T3" fmla="*/ 27 h 39"/>
                  <a:gd name="T4" fmla="*/ 10 w 36"/>
                  <a:gd name="T5" fmla="*/ 6 h 39"/>
                  <a:gd name="T6" fmla="*/ 30 w 36"/>
                  <a:gd name="T7" fmla="*/ 33 h 39"/>
                  <a:gd name="T8" fmla="*/ 24 w 36"/>
                  <a:gd name="T9" fmla="*/ 34 h 39"/>
                  <a:gd name="T10" fmla="*/ 11 w 36"/>
                  <a:gd name="T11" fmla="*/ 0 h 39"/>
                  <a:gd name="T12" fmla="*/ 9 w 36"/>
                  <a:gd name="T13" fmla="*/ 1 h 39"/>
                  <a:gd name="T14" fmla="*/ 7 w 36"/>
                  <a:gd name="T15" fmla="*/ 31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0" y="6"/>
                    </a:cubicBezTo>
                    <a:cubicBezTo>
                      <a:pt x="30" y="33"/>
                      <a:pt x="30" y="33"/>
                      <a:pt x="30" y="33"/>
                    </a:cubicBezTo>
                    <a:cubicBezTo>
                      <a:pt x="28" y="33"/>
                      <a:pt x="26" y="34"/>
                      <a:pt x="24" y="34"/>
                    </a:cubicBezTo>
                    <a:moveTo>
                      <a:pt x="11" y="0"/>
                    </a:moveTo>
                    <a:cubicBezTo>
                      <a:pt x="10" y="0"/>
                      <a:pt x="9" y="0"/>
                      <a:pt x="9" y="1"/>
                    </a:cubicBezTo>
                    <a:cubicBezTo>
                      <a:pt x="0" y="8"/>
                      <a:pt x="0" y="22"/>
                      <a:pt x="7" y="31"/>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2" y="1"/>
                      <a:pt x="12" y="0"/>
                      <a:pt x="12" y="0"/>
                    </a:cubicBezTo>
                    <a:cubicBezTo>
                      <a:pt x="11" y="0"/>
                      <a:pt x="11"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38">
                <a:extLst>
                  <a:ext uri="{FF2B5EF4-FFF2-40B4-BE49-F238E27FC236}">
                    <a16:creationId xmlns:a16="http://schemas.microsoft.com/office/drawing/2014/main" id="{436C3C8F-AE05-46CC-B028-8731391F611E}"/>
                  </a:ext>
                </a:extLst>
              </p:cNvPr>
              <p:cNvSpPr>
                <a:spLocks noEditPoints="1"/>
              </p:cNvSpPr>
              <p:nvPr/>
            </p:nvSpPr>
            <p:spPr bwMode="auto">
              <a:xfrm>
                <a:off x="4237989" y="8458200"/>
                <a:ext cx="69850" cy="77788"/>
              </a:xfrm>
              <a:custGeom>
                <a:avLst/>
                <a:gdLst>
                  <a:gd name="T0" fmla="*/ 26 w 36"/>
                  <a:gd name="T1" fmla="*/ 33 h 39"/>
                  <a:gd name="T2" fmla="*/ 6 w 36"/>
                  <a:gd name="T3" fmla="*/ 7 h 39"/>
                  <a:gd name="T4" fmla="*/ 12 w 36"/>
                  <a:gd name="T5" fmla="*/ 5 h 39"/>
                  <a:gd name="T6" fmla="*/ 25 w 36"/>
                  <a:gd name="T7" fmla="*/ 12 h 39"/>
                  <a:gd name="T8" fmla="*/ 26 w 36"/>
                  <a:gd name="T9" fmla="*/ 33 h 39"/>
                  <a:gd name="T10" fmla="*/ 12 w 36"/>
                  <a:gd name="T11" fmla="*/ 0 h 39"/>
                  <a:gd name="T12" fmla="*/ 1 w 36"/>
                  <a:gd name="T13" fmla="*/ 3 h 39"/>
                  <a:gd name="T14" fmla="*/ 0 w 36"/>
                  <a:gd name="T15" fmla="*/ 5 h 39"/>
                  <a:gd name="T16" fmla="*/ 0 w 36"/>
                  <a:gd name="T17" fmla="*/ 6 h 39"/>
                  <a:gd name="T18" fmla="*/ 1 w 36"/>
                  <a:gd name="T19" fmla="*/ 7 h 39"/>
                  <a:gd name="T20" fmla="*/ 24 w 36"/>
                  <a:gd name="T21" fmla="*/ 38 h 39"/>
                  <a:gd name="T22" fmla="*/ 24 w 36"/>
                  <a:gd name="T23" fmla="*/ 39 h 39"/>
                  <a:gd name="T24" fmla="*/ 25 w 36"/>
                  <a:gd name="T25" fmla="*/ 39 h 39"/>
                  <a:gd name="T26" fmla="*/ 25 w 36"/>
                  <a:gd name="T27" fmla="*/ 39 h 39"/>
                  <a:gd name="T28" fmla="*/ 27 w 36"/>
                  <a:gd name="T29" fmla="*/ 39 h 39"/>
                  <a:gd name="T30" fmla="*/ 29 w 36"/>
                  <a:gd name="T31" fmla="*/ 8 h 39"/>
                  <a:gd name="T32" fmla="*/ 12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6" y="33"/>
                    </a:moveTo>
                    <a:cubicBezTo>
                      <a:pt x="6" y="7"/>
                      <a:pt x="6" y="7"/>
                      <a:pt x="6" y="7"/>
                    </a:cubicBezTo>
                    <a:cubicBezTo>
                      <a:pt x="8" y="6"/>
                      <a:pt x="10" y="5"/>
                      <a:pt x="12" y="5"/>
                    </a:cubicBezTo>
                    <a:cubicBezTo>
                      <a:pt x="17" y="5"/>
                      <a:pt x="22" y="8"/>
                      <a:pt x="25" y="12"/>
                    </a:cubicBezTo>
                    <a:cubicBezTo>
                      <a:pt x="30" y="18"/>
                      <a:pt x="30" y="27"/>
                      <a:pt x="26" y="33"/>
                    </a:cubicBezTo>
                    <a:moveTo>
                      <a:pt x="12" y="0"/>
                    </a:moveTo>
                    <a:cubicBezTo>
                      <a:pt x="8" y="0"/>
                      <a:pt x="4" y="1"/>
                      <a:pt x="1" y="3"/>
                    </a:cubicBezTo>
                    <a:cubicBezTo>
                      <a:pt x="0" y="4"/>
                      <a:pt x="0" y="4"/>
                      <a:pt x="0" y="5"/>
                    </a:cubicBezTo>
                    <a:cubicBezTo>
                      <a:pt x="0" y="5"/>
                      <a:pt x="0" y="6"/>
                      <a:pt x="0" y="6"/>
                    </a:cubicBezTo>
                    <a:cubicBezTo>
                      <a:pt x="0" y="6"/>
                      <a:pt x="1" y="6"/>
                      <a:pt x="1" y="7"/>
                    </a:cubicBezTo>
                    <a:cubicBezTo>
                      <a:pt x="24" y="38"/>
                      <a:pt x="24" y="38"/>
                      <a:pt x="24" y="38"/>
                    </a:cubicBezTo>
                    <a:cubicBezTo>
                      <a:pt x="24" y="38"/>
                      <a:pt x="24" y="39"/>
                      <a:pt x="24" y="39"/>
                    </a:cubicBezTo>
                    <a:cubicBezTo>
                      <a:pt x="25" y="39"/>
                      <a:pt x="25" y="39"/>
                      <a:pt x="25" y="39"/>
                    </a:cubicBezTo>
                    <a:cubicBezTo>
                      <a:pt x="25" y="39"/>
                      <a:pt x="25" y="39"/>
                      <a:pt x="25" y="39"/>
                    </a:cubicBezTo>
                    <a:cubicBezTo>
                      <a:pt x="26" y="39"/>
                      <a:pt x="27" y="39"/>
                      <a:pt x="27" y="39"/>
                    </a:cubicBezTo>
                    <a:cubicBezTo>
                      <a:pt x="36" y="31"/>
                      <a:pt x="36"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639">
                <a:extLst>
                  <a:ext uri="{FF2B5EF4-FFF2-40B4-BE49-F238E27FC236}">
                    <a16:creationId xmlns:a16="http://schemas.microsoft.com/office/drawing/2014/main" id="{AF4A403B-F464-4710-BC59-47AB10A779C8}"/>
                  </a:ext>
                </a:extLst>
              </p:cNvPr>
              <p:cNvSpPr>
                <a:spLocks noEditPoints="1"/>
              </p:cNvSpPr>
              <p:nvPr/>
            </p:nvSpPr>
            <p:spPr bwMode="auto">
              <a:xfrm>
                <a:off x="4214177" y="8470900"/>
                <a:ext cx="71438" cy="76200"/>
              </a:xfrm>
              <a:custGeom>
                <a:avLst/>
                <a:gdLst>
                  <a:gd name="T0" fmla="*/ 24 w 36"/>
                  <a:gd name="T1" fmla="*/ 34 h 39"/>
                  <a:gd name="T2" fmla="*/ 11 w 36"/>
                  <a:gd name="T3" fmla="*/ 27 h 39"/>
                  <a:gd name="T4" fmla="*/ 11 w 36"/>
                  <a:gd name="T5" fmla="*/ 6 h 39"/>
                  <a:gd name="T6" fmla="*/ 30 w 36"/>
                  <a:gd name="T7" fmla="*/ 32 h 39"/>
                  <a:gd name="T8" fmla="*/ 24 w 36"/>
                  <a:gd name="T9" fmla="*/ 34 h 39"/>
                  <a:gd name="T10" fmla="*/ 11 w 36"/>
                  <a:gd name="T11" fmla="*/ 0 h 39"/>
                  <a:gd name="T12" fmla="*/ 9 w 36"/>
                  <a:gd name="T13" fmla="*/ 0 h 39"/>
                  <a:gd name="T14" fmla="*/ 7 w 36"/>
                  <a:gd name="T15" fmla="*/ 30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1" y="6"/>
                    </a:cubicBezTo>
                    <a:cubicBezTo>
                      <a:pt x="30" y="32"/>
                      <a:pt x="30" y="32"/>
                      <a:pt x="30" y="32"/>
                    </a:cubicBezTo>
                    <a:cubicBezTo>
                      <a:pt x="28" y="33"/>
                      <a:pt x="26" y="34"/>
                      <a:pt x="24" y="34"/>
                    </a:cubicBezTo>
                    <a:moveTo>
                      <a:pt x="11" y="0"/>
                    </a:moveTo>
                    <a:cubicBezTo>
                      <a:pt x="10" y="0"/>
                      <a:pt x="10" y="0"/>
                      <a:pt x="9" y="0"/>
                    </a:cubicBezTo>
                    <a:cubicBezTo>
                      <a:pt x="1" y="8"/>
                      <a:pt x="0" y="22"/>
                      <a:pt x="7" y="30"/>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3" y="0"/>
                      <a:pt x="12" y="0"/>
                      <a:pt x="12" y="0"/>
                    </a:cubicBezTo>
                    <a:cubicBezTo>
                      <a:pt x="12" y="0"/>
                      <a:pt x="11"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640">
                <a:extLst>
                  <a:ext uri="{FF2B5EF4-FFF2-40B4-BE49-F238E27FC236}">
                    <a16:creationId xmlns:a16="http://schemas.microsoft.com/office/drawing/2014/main" id="{A2FF8D80-17E1-459A-AA40-8D121BAAAEEF}"/>
                  </a:ext>
                </a:extLst>
              </p:cNvPr>
              <p:cNvSpPr>
                <a:spLocks noEditPoints="1"/>
              </p:cNvSpPr>
              <p:nvPr/>
            </p:nvSpPr>
            <p:spPr bwMode="auto">
              <a:xfrm>
                <a:off x="4847589" y="8580437"/>
                <a:ext cx="73025" cy="74613"/>
              </a:xfrm>
              <a:custGeom>
                <a:avLst/>
                <a:gdLst>
                  <a:gd name="T0" fmla="*/ 18 w 37"/>
                  <a:gd name="T1" fmla="*/ 30 h 38"/>
                  <a:gd name="T2" fmla="*/ 8 w 37"/>
                  <a:gd name="T3" fmla="*/ 19 h 38"/>
                  <a:gd name="T4" fmla="*/ 18 w 37"/>
                  <a:gd name="T5" fmla="*/ 9 h 38"/>
                  <a:gd name="T6" fmla="*/ 28 w 37"/>
                  <a:gd name="T7" fmla="*/ 19 h 38"/>
                  <a:gd name="T8" fmla="*/ 18 w 37"/>
                  <a:gd name="T9" fmla="*/ 30 h 38"/>
                  <a:gd name="T10" fmla="*/ 18 w 37"/>
                  <a:gd name="T11" fmla="*/ 0 h 38"/>
                  <a:gd name="T12" fmla="*/ 0 w 37"/>
                  <a:gd name="T13" fmla="*/ 19 h 38"/>
                  <a:gd name="T14" fmla="*/ 18 w 37"/>
                  <a:gd name="T15" fmla="*/ 38 h 38"/>
                  <a:gd name="T16" fmla="*/ 37 w 37"/>
                  <a:gd name="T17" fmla="*/ 19 h 38"/>
                  <a:gd name="T18" fmla="*/ 18 w 37"/>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0"/>
                    </a:moveTo>
                    <a:cubicBezTo>
                      <a:pt x="13" y="30"/>
                      <a:pt x="8" y="25"/>
                      <a:pt x="8" y="19"/>
                    </a:cubicBezTo>
                    <a:cubicBezTo>
                      <a:pt x="8" y="14"/>
                      <a:pt x="13" y="9"/>
                      <a:pt x="18" y="9"/>
                    </a:cubicBezTo>
                    <a:cubicBezTo>
                      <a:pt x="24" y="9"/>
                      <a:pt x="28" y="14"/>
                      <a:pt x="28" y="19"/>
                    </a:cubicBezTo>
                    <a:cubicBezTo>
                      <a:pt x="28" y="25"/>
                      <a:pt x="24" y="30"/>
                      <a:pt x="18" y="30"/>
                    </a:cubicBezTo>
                    <a:moveTo>
                      <a:pt x="18" y="0"/>
                    </a:moveTo>
                    <a:cubicBezTo>
                      <a:pt x="8" y="0"/>
                      <a:pt x="0" y="9"/>
                      <a:pt x="0" y="19"/>
                    </a:cubicBezTo>
                    <a:cubicBezTo>
                      <a:pt x="0" y="30"/>
                      <a:pt x="8" y="38"/>
                      <a:pt x="18" y="38"/>
                    </a:cubicBezTo>
                    <a:cubicBezTo>
                      <a:pt x="29" y="38"/>
                      <a:pt x="37" y="30"/>
                      <a:pt x="37" y="19"/>
                    </a:cubicBezTo>
                    <a:cubicBezTo>
                      <a:pt x="37" y="9"/>
                      <a:pt x="29" y="0"/>
                      <a:pt x="1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641">
                <a:extLst>
                  <a:ext uri="{FF2B5EF4-FFF2-40B4-BE49-F238E27FC236}">
                    <a16:creationId xmlns:a16="http://schemas.microsoft.com/office/drawing/2014/main" id="{1FB68706-7B68-45DB-99C3-4CFDCBD3A478}"/>
                  </a:ext>
                </a:extLst>
              </p:cNvPr>
              <p:cNvSpPr>
                <a:spLocks noEditPoints="1"/>
              </p:cNvSpPr>
              <p:nvPr/>
            </p:nvSpPr>
            <p:spPr bwMode="auto">
              <a:xfrm>
                <a:off x="4611052" y="8640762"/>
                <a:ext cx="73025" cy="74613"/>
              </a:xfrm>
              <a:custGeom>
                <a:avLst/>
                <a:gdLst>
                  <a:gd name="T0" fmla="*/ 19 w 38"/>
                  <a:gd name="T1" fmla="*/ 29 h 38"/>
                  <a:gd name="T2" fmla="*/ 9 w 38"/>
                  <a:gd name="T3" fmla="*/ 19 h 38"/>
                  <a:gd name="T4" fmla="*/ 19 w 38"/>
                  <a:gd name="T5" fmla="*/ 8 h 38"/>
                  <a:gd name="T6" fmla="*/ 29 w 38"/>
                  <a:gd name="T7" fmla="*/ 19 h 38"/>
                  <a:gd name="T8" fmla="*/ 19 w 38"/>
                  <a:gd name="T9" fmla="*/ 29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29"/>
                    </a:moveTo>
                    <a:cubicBezTo>
                      <a:pt x="13" y="29"/>
                      <a:pt x="9" y="25"/>
                      <a:pt x="9" y="19"/>
                    </a:cubicBezTo>
                    <a:cubicBezTo>
                      <a:pt x="9" y="13"/>
                      <a:pt x="13" y="8"/>
                      <a:pt x="19" y="8"/>
                    </a:cubicBezTo>
                    <a:cubicBezTo>
                      <a:pt x="24" y="8"/>
                      <a:pt x="29" y="13"/>
                      <a:pt x="29" y="19"/>
                    </a:cubicBezTo>
                    <a:cubicBezTo>
                      <a:pt x="29" y="25"/>
                      <a:pt x="24" y="29"/>
                      <a:pt x="19" y="29"/>
                    </a:cubicBezTo>
                    <a:moveTo>
                      <a:pt x="19" y="0"/>
                    </a:moveTo>
                    <a:cubicBezTo>
                      <a:pt x="9" y="0"/>
                      <a:pt x="0" y="8"/>
                      <a:pt x="0" y="19"/>
                    </a:cubicBezTo>
                    <a:cubicBezTo>
                      <a:pt x="0" y="29"/>
                      <a:pt x="9" y="38"/>
                      <a:pt x="19" y="38"/>
                    </a:cubicBezTo>
                    <a:cubicBezTo>
                      <a:pt x="29" y="38"/>
                      <a:pt x="38" y="29"/>
                      <a:pt x="38" y="19"/>
                    </a:cubicBezTo>
                    <a:cubicBezTo>
                      <a:pt x="38" y="8"/>
                      <a:pt x="29" y="0"/>
                      <a:pt x="1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643">
                <a:extLst>
                  <a:ext uri="{FF2B5EF4-FFF2-40B4-BE49-F238E27FC236}">
                    <a16:creationId xmlns:a16="http://schemas.microsoft.com/office/drawing/2014/main" id="{CB5B92A7-663C-4889-A430-7E418FF8CACE}"/>
                  </a:ext>
                </a:extLst>
              </p:cNvPr>
              <p:cNvSpPr>
                <a:spLocks noEditPoints="1"/>
              </p:cNvSpPr>
              <p:nvPr/>
            </p:nvSpPr>
            <p:spPr bwMode="auto">
              <a:xfrm>
                <a:off x="4872989" y="8264525"/>
                <a:ext cx="320675" cy="322263"/>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4 h 164"/>
                  <a:gd name="T12" fmla="*/ 111 w 164"/>
                  <a:gd name="T13" fmla="*/ 11 h 164"/>
                  <a:gd name="T14" fmla="*/ 116 w 164"/>
                  <a:gd name="T15" fmla="*/ 33 h 164"/>
                  <a:gd name="T16" fmla="*/ 136 w 164"/>
                  <a:gd name="T17" fmla="*/ 27 h 164"/>
                  <a:gd name="T18" fmla="*/ 140 w 164"/>
                  <a:gd name="T19" fmla="*/ 51 h 164"/>
                  <a:gd name="T20" fmla="*/ 153 w 164"/>
                  <a:gd name="T21" fmla="*/ 53 h 164"/>
                  <a:gd name="T22" fmla="*/ 155 w 164"/>
                  <a:gd name="T23" fmla="*/ 78 h 164"/>
                  <a:gd name="T24" fmla="*/ 155 w 164"/>
                  <a:gd name="T25" fmla="*/ 86 h 164"/>
                  <a:gd name="T26" fmla="*/ 153 w 164"/>
                  <a:gd name="T27" fmla="*/ 111 h 164"/>
                  <a:gd name="T28" fmla="*/ 139 w 164"/>
                  <a:gd name="T29" fmla="*/ 113 h 164"/>
                  <a:gd name="T30" fmla="*/ 137 w 164"/>
                  <a:gd name="T31" fmla="*/ 137 h 164"/>
                  <a:gd name="T32" fmla="*/ 118 w 164"/>
                  <a:gd name="T33" fmla="*/ 131 h 164"/>
                  <a:gd name="T34" fmla="*/ 115 w 164"/>
                  <a:gd name="T35" fmla="*/ 152 h 164"/>
                  <a:gd name="T36" fmla="*/ 96 w 164"/>
                  <a:gd name="T37" fmla="*/ 140 h 164"/>
                  <a:gd name="T38" fmla="*/ 84 w 164"/>
                  <a:gd name="T39" fmla="*/ 159 h 164"/>
                  <a:gd name="T40" fmla="*/ 71 w 164"/>
                  <a:gd name="T41" fmla="*/ 141 h 164"/>
                  <a:gd name="T42" fmla="*/ 55 w 164"/>
                  <a:gd name="T43" fmla="*/ 154 h 164"/>
                  <a:gd name="T44" fmla="*/ 48 w 164"/>
                  <a:gd name="T45" fmla="*/ 132 h 164"/>
                  <a:gd name="T46" fmla="*/ 29 w 164"/>
                  <a:gd name="T47" fmla="*/ 138 h 164"/>
                  <a:gd name="T48" fmla="*/ 26 w 164"/>
                  <a:gd name="T49" fmla="*/ 114 h 164"/>
                  <a:gd name="T50" fmla="*/ 11 w 164"/>
                  <a:gd name="T51" fmla="*/ 113 h 164"/>
                  <a:gd name="T52" fmla="*/ 9 w 164"/>
                  <a:gd name="T53" fmla="*/ 88 h 164"/>
                  <a:gd name="T54" fmla="*/ 24 w 164"/>
                  <a:gd name="T55" fmla="*/ 71 h 164"/>
                  <a:gd name="T56" fmla="*/ 11 w 164"/>
                  <a:gd name="T57" fmla="*/ 53 h 164"/>
                  <a:gd name="T58" fmla="*/ 33 w 164"/>
                  <a:gd name="T59" fmla="*/ 50 h 164"/>
                  <a:gd name="T60" fmla="*/ 28 w 164"/>
                  <a:gd name="T61" fmla="*/ 28 h 164"/>
                  <a:gd name="T62" fmla="*/ 49 w 164"/>
                  <a:gd name="T63" fmla="*/ 32 h 164"/>
                  <a:gd name="T64" fmla="*/ 53 w 164"/>
                  <a:gd name="T65" fmla="*/ 11 h 164"/>
                  <a:gd name="T66" fmla="*/ 69 w 164"/>
                  <a:gd name="T67" fmla="*/ 25 h 164"/>
                  <a:gd name="T68" fmla="*/ 81 w 164"/>
                  <a:gd name="T69" fmla="*/ 0 h 164"/>
                  <a:gd name="T70" fmla="*/ 67 w 164"/>
                  <a:gd name="T71" fmla="*/ 19 h 164"/>
                  <a:gd name="T72" fmla="*/ 48 w 164"/>
                  <a:gd name="T73" fmla="*/ 8 h 164"/>
                  <a:gd name="T74" fmla="*/ 30 w 164"/>
                  <a:gd name="T75" fmla="*/ 22 h 164"/>
                  <a:gd name="T76" fmla="*/ 28 w 164"/>
                  <a:gd name="T77" fmla="*/ 47 h 164"/>
                  <a:gd name="T78" fmla="*/ 6 w 164"/>
                  <a:gd name="T79" fmla="*/ 52 h 164"/>
                  <a:gd name="T80" fmla="*/ 8 w 164"/>
                  <a:gd name="T81" fmla="*/ 74 h 164"/>
                  <a:gd name="T82" fmla="*/ 19 w 164"/>
                  <a:gd name="T83" fmla="*/ 96 h 164"/>
                  <a:gd name="T84" fmla="*/ 14 w 164"/>
                  <a:gd name="T85" fmla="*/ 121 h 164"/>
                  <a:gd name="T86" fmla="*/ 25 w 164"/>
                  <a:gd name="T87" fmla="*/ 129 h 164"/>
                  <a:gd name="T88" fmla="*/ 38 w 164"/>
                  <a:gd name="T89" fmla="*/ 142 h 164"/>
                  <a:gd name="T90" fmla="*/ 53 w 164"/>
                  <a:gd name="T91" fmla="*/ 159 h 164"/>
                  <a:gd name="T92" fmla="*/ 75 w 164"/>
                  <a:gd name="T93" fmla="*/ 156 h 164"/>
                  <a:gd name="T94" fmla="*/ 94 w 164"/>
                  <a:gd name="T95" fmla="*/ 155 h 164"/>
                  <a:gd name="T96" fmla="*/ 116 w 164"/>
                  <a:gd name="T97" fmla="*/ 157 h 164"/>
                  <a:gd name="T98" fmla="*/ 127 w 164"/>
                  <a:gd name="T99" fmla="*/ 141 h 164"/>
                  <a:gd name="T100" fmla="*/ 140 w 164"/>
                  <a:gd name="T101" fmla="*/ 128 h 164"/>
                  <a:gd name="T102" fmla="*/ 151 w 164"/>
                  <a:gd name="T103" fmla="*/ 119 h 164"/>
                  <a:gd name="T104" fmla="*/ 146 w 164"/>
                  <a:gd name="T105" fmla="*/ 94 h 164"/>
                  <a:gd name="T106" fmla="*/ 164 w 164"/>
                  <a:gd name="T107" fmla="*/ 82 h 164"/>
                  <a:gd name="T108" fmla="*/ 158 w 164"/>
                  <a:gd name="T109" fmla="*/ 51 h 164"/>
                  <a:gd name="T110" fmla="*/ 140 w 164"/>
                  <a:gd name="T111" fmla="*/ 46 h 164"/>
                  <a:gd name="T112" fmla="*/ 139 w 164"/>
                  <a:gd name="T113" fmla="*/ 23 h 164"/>
                  <a:gd name="T114" fmla="*/ 117 w 164"/>
                  <a:gd name="T115" fmla="*/ 17 h 164"/>
                  <a:gd name="T116" fmla="*/ 101 w 164"/>
                  <a:gd name="T11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7"/>
                      <a:pt x="35" y="95"/>
                      <a:pt x="35" y="82"/>
                    </a:cubicBezTo>
                    <a:cubicBezTo>
                      <a:pt x="35" y="70"/>
                      <a:pt x="40" y="58"/>
                      <a:pt x="49" y="49"/>
                    </a:cubicBezTo>
                    <a:cubicBezTo>
                      <a:pt x="58" y="41"/>
                      <a:pt x="70" y="36"/>
                      <a:pt x="82" y="36"/>
                    </a:cubicBezTo>
                    <a:cubicBezTo>
                      <a:pt x="95" y="36"/>
                      <a:pt x="106" y="41"/>
                      <a:pt x="115" y="49"/>
                    </a:cubicBezTo>
                    <a:cubicBezTo>
                      <a:pt x="124" y="58"/>
                      <a:pt x="129" y="70"/>
                      <a:pt x="129" y="82"/>
                    </a:cubicBezTo>
                    <a:cubicBezTo>
                      <a:pt x="129" y="95"/>
                      <a:pt x="124" y="107"/>
                      <a:pt x="115" y="115"/>
                    </a:cubicBezTo>
                    <a:cubicBezTo>
                      <a:pt x="106" y="124"/>
                      <a:pt x="95" y="129"/>
                      <a:pt x="82" y="129"/>
                    </a:cubicBezTo>
                    <a:moveTo>
                      <a:pt x="82" y="31"/>
                    </a:moveTo>
                    <a:cubicBezTo>
                      <a:pt x="68" y="31"/>
                      <a:pt x="55" y="36"/>
                      <a:pt x="45" y="46"/>
                    </a:cubicBezTo>
                    <a:cubicBezTo>
                      <a:pt x="36" y="56"/>
                      <a:pt x="30" y="69"/>
                      <a:pt x="30" y="82"/>
                    </a:cubicBezTo>
                    <a:cubicBezTo>
                      <a:pt x="30" y="96"/>
                      <a:pt x="36" y="109"/>
                      <a:pt x="46" y="119"/>
                    </a:cubicBezTo>
                    <a:cubicBezTo>
                      <a:pt x="55" y="129"/>
                      <a:pt x="68" y="134"/>
                      <a:pt x="82" y="134"/>
                    </a:cubicBezTo>
                    <a:cubicBezTo>
                      <a:pt x="96" y="134"/>
                      <a:pt x="109" y="129"/>
                      <a:pt x="119" y="119"/>
                    </a:cubicBezTo>
                    <a:cubicBezTo>
                      <a:pt x="128" y="109"/>
                      <a:pt x="134" y="96"/>
                      <a:pt x="134" y="82"/>
                    </a:cubicBezTo>
                    <a:cubicBezTo>
                      <a:pt x="134" y="68"/>
                      <a:pt x="128" y="56"/>
                      <a:pt x="119" y="46"/>
                    </a:cubicBezTo>
                    <a:cubicBezTo>
                      <a:pt x="109" y="36"/>
                      <a:pt x="96" y="31"/>
                      <a:pt x="82" y="31"/>
                    </a:cubicBezTo>
                    <a:moveTo>
                      <a:pt x="80" y="5"/>
                    </a:moveTo>
                    <a:cubicBezTo>
                      <a:pt x="81" y="5"/>
                      <a:pt x="81" y="5"/>
                      <a:pt x="81" y="5"/>
                    </a:cubicBezTo>
                    <a:cubicBezTo>
                      <a:pt x="83" y="5"/>
                      <a:pt x="84" y="5"/>
                      <a:pt x="84" y="10"/>
                    </a:cubicBezTo>
                    <a:cubicBezTo>
                      <a:pt x="85" y="15"/>
                      <a:pt x="88" y="21"/>
                      <a:pt x="91" y="23"/>
                    </a:cubicBezTo>
                    <a:cubicBezTo>
                      <a:pt x="91" y="24"/>
                      <a:pt x="92" y="24"/>
                      <a:pt x="92" y="24"/>
                    </a:cubicBezTo>
                    <a:cubicBezTo>
                      <a:pt x="92" y="24"/>
                      <a:pt x="92" y="24"/>
                      <a:pt x="92" y="24"/>
                    </a:cubicBezTo>
                    <a:cubicBezTo>
                      <a:pt x="97" y="24"/>
                      <a:pt x="103" y="17"/>
                      <a:pt x="105" y="13"/>
                    </a:cubicBezTo>
                    <a:cubicBezTo>
                      <a:pt x="106" y="12"/>
                      <a:pt x="107" y="10"/>
                      <a:pt x="108" y="10"/>
                    </a:cubicBezTo>
                    <a:cubicBezTo>
                      <a:pt x="108" y="10"/>
                      <a:pt x="109" y="10"/>
                      <a:pt x="110" y="11"/>
                    </a:cubicBezTo>
                    <a:cubicBezTo>
                      <a:pt x="111" y="11"/>
                      <a:pt x="111" y="11"/>
                      <a:pt x="111" y="11"/>
                    </a:cubicBezTo>
                    <a:cubicBezTo>
                      <a:pt x="113" y="12"/>
                      <a:pt x="114" y="12"/>
                      <a:pt x="112" y="16"/>
                    </a:cubicBezTo>
                    <a:cubicBezTo>
                      <a:pt x="111" y="21"/>
                      <a:pt x="111" y="28"/>
                      <a:pt x="113" y="31"/>
                    </a:cubicBezTo>
                    <a:cubicBezTo>
                      <a:pt x="113" y="32"/>
                      <a:pt x="113" y="32"/>
                      <a:pt x="114" y="32"/>
                    </a:cubicBezTo>
                    <a:cubicBezTo>
                      <a:pt x="115" y="33"/>
                      <a:pt x="115" y="33"/>
                      <a:pt x="116" y="33"/>
                    </a:cubicBezTo>
                    <a:cubicBezTo>
                      <a:pt x="120" y="33"/>
                      <a:pt x="126" y="30"/>
                      <a:pt x="130" y="27"/>
                    </a:cubicBezTo>
                    <a:cubicBezTo>
                      <a:pt x="132" y="26"/>
                      <a:pt x="133" y="25"/>
                      <a:pt x="133" y="25"/>
                    </a:cubicBezTo>
                    <a:cubicBezTo>
                      <a:pt x="134" y="25"/>
                      <a:pt x="134" y="26"/>
                      <a:pt x="135" y="27"/>
                    </a:cubicBezTo>
                    <a:cubicBezTo>
                      <a:pt x="136" y="27"/>
                      <a:pt x="136" y="27"/>
                      <a:pt x="136" y="27"/>
                    </a:cubicBezTo>
                    <a:cubicBezTo>
                      <a:pt x="138" y="29"/>
                      <a:pt x="138" y="30"/>
                      <a:pt x="136" y="33"/>
                    </a:cubicBezTo>
                    <a:cubicBezTo>
                      <a:pt x="133" y="37"/>
                      <a:pt x="130" y="43"/>
                      <a:pt x="130" y="47"/>
                    </a:cubicBezTo>
                    <a:cubicBezTo>
                      <a:pt x="130" y="48"/>
                      <a:pt x="130" y="48"/>
                      <a:pt x="131" y="49"/>
                    </a:cubicBezTo>
                    <a:cubicBezTo>
                      <a:pt x="132" y="50"/>
                      <a:pt x="135" y="51"/>
                      <a:pt x="140" y="51"/>
                    </a:cubicBezTo>
                    <a:cubicBezTo>
                      <a:pt x="142" y="51"/>
                      <a:pt x="145" y="51"/>
                      <a:pt x="148" y="50"/>
                    </a:cubicBezTo>
                    <a:cubicBezTo>
                      <a:pt x="149" y="50"/>
                      <a:pt x="150" y="50"/>
                      <a:pt x="150" y="50"/>
                    </a:cubicBezTo>
                    <a:cubicBezTo>
                      <a:pt x="152" y="50"/>
                      <a:pt x="152" y="50"/>
                      <a:pt x="153" y="52"/>
                    </a:cubicBezTo>
                    <a:cubicBezTo>
                      <a:pt x="153" y="53"/>
                      <a:pt x="153" y="53"/>
                      <a:pt x="153" y="53"/>
                    </a:cubicBezTo>
                    <a:cubicBezTo>
                      <a:pt x="154" y="55"/>
                      <a:pt x="154" y="56"/>
                      <a:pt x="151" y="58"/>
                    </a:cubicBezTo>
                    <a:cubicBezTo>
                      <a:pt x="146" y="60"/>
                      <a:pt x="142" y="64"/>
                      <a:pt x="140" y="68"/>
                    </a:cubicBezTo>
                    <a:cubicBezTo>
                      <a:pt x="140" y="69"/>
                      <a:pt x="140" y="69"/>
                      <a:pt x="140" y="70"/>
                    </a:cubicBezTo>
                    <a:cubicBezTo>
                      <a:pt x="142" y="74"/>
                      <a:pt x="150" y="77"/>
                      <a:pt x="155" y="78"/>
                    </a:cubicBezTo>
                    <a:cubicBezTo>
                      <a:pt x="159" y="78"/>
                      <a:pt x="159" y="79"/>
                      <a:pt x="159" y="81"/>
                    </a:cubicBezTo>
                    <a:cubicBezTo>
                      <a:pt x="159" y="82"/>
                      <a:pt x="159" y="82"/>
                      <a:pt x="159" y="82"/>
                    </a:cubicBezTo>
                    <a:cubicBezTo>
                      <a:pt x="159" y="82"/>
                      <a:pt x="159" y="82"/>
                      <a:pt x="159" y="82"/>
                    </a:cubicBezTo>
                    <a:cubicBezTo>
                      <a:pt x="159" y="85"/>
                      <a:pt x="159" y="86"/>
                      <a:pt x="155" y="86"/>
                    </a:cubicBezTo>
                    <a:cubicBezTo>
                      <a:pt x="150" y="87"/>
                      <a:pt x="144" y="89"/>
                      <a:pt x="141" y="92"/>
                    </a:cubicBezTo>
                    <a:cubicBezTo>
                      <a:pt x="141" y="92"/>
                      <a:pt x="140" y="93"/>
                      <a:pt x="140" y="94"/>
                    </a:cubicBezTo>
                    <a:cubicBezTo>
                      <a:pt x="140" y="98"/>
                      <a:pt x="147" y="104"/>
                      <a:pt x="151" y="106"/>
                    </a:cubicBezTo>
                    <a:cubicBezTo>
                      <a:pt x="155" y="109"/>
                      <a:pt x="154" y="109"/>
                      <a:pt x="153" y="111"/>
                    </a:cubicBezTo>
                    <a:cubicBezTo>
                      <a:pt x="153" y="112"/>
                      <a:pt x="153" y="112"/>
                      <a:pt x="153" y="112"/>
                    </a:cubicBezTo>
                    <a:cubicBezTo>
                      <a:pt x="152" y="114"/>
                      <a:pt x="152" y="114"/>
                      <a:pt x="151" y="114"/>
                    </a:cubicBezTo>
                    <a:cubicBezTo>
                      <a:pt x="150" y="114"/>
                      <a:pt x="149" y="114"/>
                      <a:pt x="148" y="114"/>
                    </a:cubicBezTo>
                    <a:cubicBezTo>
                      <a:pt x="145" y="113"/>
                      <a:pt x="142" y="113"/>
                      <a:pt x="139" y="113"/>
                    </a:cubicBezTo>
                    <a:cubicBezTo>
                      <a:pt x="137" y="113"/>
                      <a:pt x="134" y="113"/>
                      <a:pt x="133" y="114"/>
                    </a:cubicBezTo>
                    <a:cubicBezTo>
                      <a:pt x="132" y="114"/>
                      <a:pt x="132" y="115"/>
                      <a:pt x="132" y="115"/>
                    </a:cubicBezTo>
                    <a:cubicBezTo>
                      <a:pt x="130" y="120"/>
                      <a:pt x="134" y="127"/>
                      <a:pt x="136" y="131"/>
                    </a:cubicBezTo>
                    <a:cubicBezTo>
                      <a:pt x="139" y="135"/>
                      <a:pt x="138" y="135"/>
                      <a:pt x="137" y="137"/>
                    </a:cubicBezTo>
                    <a:cubicBezTo>
                      <a:pt x="136" y="137"/>
                      <a:pt x="136" y="137"/>
                      <a:pt x="136" y="137"/>
                    </a:cubicBezTo>
                    <a:cubicBezTo>
                      <a:pt x="135" y="138"/>
                      <a:pt x="135" y="139"/>
                      <a:pt x="134" y="139"/>
                    </a:cubicBezTo>
                    <a:cubicBezTo>
                      <a:pt x="134" y="139"/>
                      <a:pt x="132" y="138"/>
                      <a:pt x="130" y="137"/>
                    </a:cubicBezTo>
                    <a:cubicBezTo>
                      <a:pt x="127" y="134"/>
                      <a:pt x="122" y="131"/>
                      <a:pt x="118" y="131"/>
                    </a:cubicBezTo>
                    <a:cubicBezTo>
                      <a:pt x="118" y="131"/>
                      <a:pt x="118" y="131"/>
                      <a:pt x="118" y="131"/>
                    </a:cubicBezTo>
                    <a:cubicBezTo>
                      <a:pt x="117" y="131"/>
                      <a:pt x="116" y="132"/>
                      <a:pt x="115" y="133"/>
                    </a:cubicBezTo>
                    <a:cubicBezTo>
                      <a:pt x="114" y="137"/>
                      <a:pt x="115" y="143"/>
                      <a:pt x="116" y="147"/>
                    </a:cubicBezTo>
                    <a:cubicBezTo>
                      <a:pt x="117" y="151"/>
                      <a:pt x="117" y="151"/>
                      <a:pt x="115" y="152"/>
                    </a:cubicBezTo>
                    <a:cubicBezTo>
                      <a:pt x="114" y="152"/>
                      <a:pt x="114" y="152"/>
                      <a:pt x="114" y="152"/>
                    </a:cubicBezTo>
                    <a:cubicBezTo>
                      <a:pt x="113" y="153"/>
                      <a:pt x="112" y="153"/>
                      <a:pt x="112" y="153"/>
                    </a:cubicBezTo>
                    <a:cubicBezTo>
                      <a:pt x="111" y="153"/>
                      <a:pt x="110" y="152"/>
                      <a:pt x="109" y="150"/>
                    </a:cubicBezTo>
                    <a:cubicBezTo>
                      <a:pt x="106" y="147"/>
                      <a:pt x="101" y="140"/>
                      <a:pt x="96" y="140"/>
                    </a:cubicBezTo>
                    <a:cubicBezTo>
                      <a:pt x="95" y="140"/>
                      <a:pt x="94" y="140"/>
                      <a:pt x="94" y="141"/>
                    </a:cubicBezTo>
                    <a:cubicBezTo>
                      <a:pt x="91" y="144"/>
                      <a:pt x="89" y="150"/>
                      <a:pt x="89" y="155"/>
                    </a:cubicBezTo>
                    <a:cubicBezTo>
                      <a:pt x="88" y="159"/>
                      <a:pt x="87" y="159"/>
                      <a:pt x="85" y="159"/>
                    </a:cubicBezTo>
                    <a:cubicBezTo>
                      <a:pt x="84" y="159"/>
                      <a:pt x="84" y="159"/>
                      <a:pt x="84" y="159"/>
                    </a:cubicBezTo>
                    <a:cubicBezTo>
                      <a:pt x="83" y="159"/>
                      <a:pt x="83" y="159"/>
                      <a:pt x="83" y="159"/>
                    </a:cubicBezTo>
                    <a:cubicBezTo>
                      <a:pt x="82" y="159"/>
                      <a:pt x="81" y="159"/>
                      <a:pt x="80" y="155"/>
                    </a:cubicBezTo>
                    <a:cubicBezTo>
                      <a:pt x="80" y="151"/>
                      <a:pt x="77" y="142"/>
                      <a:pt x="72" y="141"/>
                    </a:cubicBezTo>
                    <a:cubicBezTo>
                      <a:pt x="71" y="141"/>
                      <a:pt x="71" y="141"/>
                      <a:pt x="71" y="141"/>
                    </a:cubicBezTo>
                    <a:cubicBezTo>
                      <a:pt x="70" y="141"/>
                      <a:pt x="70" y="141"/>
                      <a:pt x="70" y="141"/>
                    </a:cubicBezTo>
                    <a:cubicBezTo>
                      <a:pt x="67" y="142"/>
                      <a:pt x="62" y="147"/>
                      <a:pt x="60" y="152"/>
                    </a:cubicBezTo>
                    <a:cubicBezTo>
                      <a:pt x="59" y="153"/>
                      <a:pt x="58" y="155"/>
                      <a:pt x="57" y="155"/>
                    </a:cubicBezTo>
                    <a:cubicBezTo>
                      <a:pt x="57" y="155"/>
                      <a:pt x="56" y="155"/>
                      <a:pt x="55" y="154"/>
                    </a:cubicBezTo>
                    <a:cubicBezTo>
                      <a:pt x="54" y="154"/>
                      <a:pt x="54" y="154"/>
                      <a:pt x="54" y="154"/>
                    </a:cubicBezTo>
                    <a:cubicBezTo>
                      <a:pt x="52" y="153"/>
                      <a:pt x="51" y="153"/>
                      <a:pt x="52" y="149"/>
                    </a:cubicBezTo>
                    <a:cubicBezTo>
                      <a:pt x="53" y="145"/>
                      <a:pt x="54" y="136"/>
                      <a:pt x="50" y="132"/>
                    </a:cubicBezTo>
                    <a:cubicBezTo>
                      <a:pt x="50" y="132"/>
                      <a:pt x="49" y="132"/>
                      <a:pt x="48" y="132"/>
                    </a:cubicBezTo>
                    <a:cubicBezTo>
                      <a:pt x="44" y="132"/>
                      <a:pt x="39" y="135"/>
                      <a:pt x="35" y="138"/>
                    </a:cubicBezTo>
                    <a:cubicBezTo>
                      <a:pt x="33" y="139"/>
                      <a:pt x="32" y="140"/>
                      <a:pt x="31" y="140"/>
                    </a:cubicBezTo>
                    <a:cubicBezTo>
                      <a:pt x="31" y="140"/>
                      <a:pt x="30" y="139"/>
                      <a:pt x="29" y="138"/>
                    </a:cubicBezTo>
                    <a:cubicBezTo>
                      <a:pt x="29" y="138"/>
                      <a:pt x="29" y="138"/>
                      <a:pt x="29" y="138"/>
                    </a:cubicBezTo>
                    <a:cubicBezTo>
                      <a:pt x="27" y="136"/>
                      <a:pt x="26" y="136"/>
                      <a:pt x="29" y="132"/>
                    </a:cubicBezTo>
                    <a:cubicBezTo>
                      <a:pt x="31" y="129"/>
                      <a:pt x="35" y="121"/>
                      <a:pt x="33" y="116"/>
                    </a:cubicBezTo>
                    <a:cubicBezTo>
                      <a:pt x="33" y="116"/>
                      <a:pt x="33" y="115"/>
                      <a:pt x="32" y="115"/>
                    </a:cubicBezTo>
                    <a:cubicBezTo>
                      <a:pt x="31" y="114"/>
                      <a:pt x="29" y="114"/>
                      <a:pt x="26" y="114"/>
                    </a:cubicBezTo>
                    <a:cubicBezTo>
                      <a:pt x="23" y="114"/>
                      <a:pt x="20" y="114"/>
                      <a:pt x="17" y="115"/>
                    </a:cubicBezTo>
                    <a:cubicBezTo>
                      <a:pt x="16" y="116"/>
                      <a:pt x="15" y="116"/>
                      <a:pt x="14" y="116"/>
                    </a:cubicBezTo>
                    <a:cubicBezTo>
                      <a:pt x="13" y="116"/>
                      <a:pt x="13" y="115"/>
                      <a:pt x="12" y="114"/>
                    </a:cubicBezTo>
                    <a:cubicBezTo>
                      <a:pt x="11" y="113"/>
                      <a:pt x="11" y="113"/>
                      <a:pt x="11" y="113"/>
                    </a:cubicBezTo>
                    <a:cubicBezTo>
                      <a:pt x="11" y="111"/>
                      <a:pt x="10" y="110"/>
                      <a:pt x="14" y="108"/>
                    </a:cubicBezTo>
                    <a:cubicBezTo>
                      <a:pt x="17" y="105"/>
                      <a:pt x="24" y="100"/>
                      <a:pt x="24" y="95"/>
                    </a:cubicBezTo>
                    <a:cubicBezTo>
                      <a:pt x="24" y="94"/>
                      <a:pt x="24" y="94"/>
                      <a:pt x="23" y="93"/>
                    </a:cubicBezTo>
                    <a:cubicBezTo>
                      <a:pt x="21" y="90"/>
                      <a:pt x="15" y="88"/>
                      <a:pt x="9" y="88"/>
                    </a:cubicBezTo>
                    <a:cubicBezTo>
                      <a:pt x="5" y="87"/>
                      <a:pt x="5" y="86"/>
                      <a:pt x="5" y="84"/>
                    </a:cubicBezTo>
                    <a:cubicBezTo>
                      <a:pt x="5" y="83"/>
                      <a:pt x="5" y="83"/>
                      <a:pt x="5" y="83"/>
                    </a:cubicBezTo>
                    <a:cubicBezTo>
                      <a:pt x="5" y="81"/>
                      <a:pt x="5" y="80"/>
                      <a:pt x="9" y="79"/>
                    </a:cubicBezTo>
                    <a:cubicBezTo>
                      <a:pt x="14" y="79"/>
                      <a:pt x="22" y="76"/>
                      <a:pt x="24" y="71"/>
                    </a:cubicBezTo>
                    <a:cubicBezTo>
                      <a:pt x="24" y="71"/>
                      <a:pt x="24" y="70"/>
                      <a:pt x="24" y="69"/>
                    </a:cubicBezTo>
                    <a:cubicBezTo>
                      <a:pt x="22" y="66"/>
                      <a:pt x="17" y="62"/>
                      <a:pt x="13" y="59"/>
                    </a:cubicBezTo>
                    <a:cubicBezTo>
                      <a:pt x="9" y="57"/>
                      <a:pt x="10" y="56"/>
                      <a:pt x="11" y="54"/>
                    </a:cubicBezTo>
                    <a:cubicBezTo>
                      <a:pt x="11" y="53"/>
                      <a:pt x="11" y="53"/>
                      <a:pt x="11" y="53"/>
                    </a:cubicBezTo>
                    <a:cubicBezTo>
                      <a:pt x="12" y="51"/>
                      <a:pt x="12" y="51"/>
                      <a:pt x="13" y="51"/>
                    </a:cubicBezTo>
                    <a:cubicBezTo>
                      <a:pt x="14" y="51"/>
                      <a:pt x="15" y="51"/>
                      <a:pt x="16" y="51"/>
                    </a:cubicBezTo>
                    <a:cubicBezTo>
                      <a:pt x="18" y="52"/>
                      <a:pt x="21" y="52"/>
                      <a:pt x="23" y="52"/>
                    </a:cubicBezTo>
                    <a:cubicBezTo>
                      <a:pt x="26" y="52"/>
                      <a:pt x="31" y="52"/>
                      <a:pt x="33" y="50"/>
                    </a:cubicBezTo>
                    <a:cubicBezTo>
                      <a:pt x="33" y="49"/>
                      <a:pt x="33" y="49"/>
                      <a:pt x="33" y="48"/>
                    </a:cubicBezTo>
                    <a:cubicBezTo>
                      <a:pt x="33" y="44"/>
                      <a:pt x="31" y="38"/>
                      <a:pt x="28" y="34"/>
                    </a:cubicBezTo>
                    <a:cubicBezTo>
                      <a:pt x="25" y="31"/>
                      <a:pt x="25" y="30"/>
                      <a:pt x="27" y="29"/>
                    </a:cubicBezTo>
                    <a:cubicBezTo>
                      <a:pt x="28" y="28"/>
                      <a:pt x="28" y="28"/>
                      <a:pt x="28" y="28"/>
                    </a:cubicBezTo>
                    <a:cubicBezTo>
                      <a:pt x="29" y="27"/>
                      <a:pt x="29" y="27"/>
                      <a:pt x="30" y="27"/>
                    </a:cubicBezTo>
                    <a:cubicBezTo>
                      <a:pt x="30" y="27"/>
                      <a:pt x="31" y="27"/>
                      <a:pt x="33" y="28"/>
                    </a:cubicBezTo>
                    <a:cubicBezTo>
                      <a:pt x="37" y="31"/>
                      <a:pt x="43" y="34"/>
                      <a:pt x="46" y="34"/>
                    </a:cubicBezTo>
                    <a:cubicBezTo>
                      <a:pt x="48" y="34"/>
                      <a:pt x="48" y="33"/>
                      <a:pt x="49" y="32"/>
                    </a:cubicBezTo>
                    <a:cubicBezTo>
                      <a:pt x="50" y="28"/>
                      <a:pt x="50" y="22"/>
                      <a:pt x="49" y="18"/>
                    </a:cubicBezTo>
                    <a:cubicBezTo>
                      <a:pt x="47" y="13"/>
                      <a:pt x="48" y="13"/>
                      <a:pt x="50" y="12"/>
                    </a:cubicBezTo>
                    <a:cubicBezTo>
                      <a:pt x="51" y="12"/>
                      <a:pt x="51" y="12"/>
                      <a:pt x="51" y="12"/>
                    </a:cubicBezTo>
                    <a:cubicBezTo>
                      <a:pt x="52" y="12"/>
                      <a:pt x="53" y="11"/>
                      <a:pt x="53" y="11"/>
                    </a:cubicBezTo>
                    <a:cubicBezTo>
                      <a:pt x="54" y="11"/>
                      <a:pt x="55" y="13"/>
                      <a:pt x="56" y="14"/>
                    </a:cubicBezTo>
                    <a:cubicBezTo>
                      <a:pt x="59" y="19"/>
                      <a:pt x="63" y="23"/>
                      <a:pt x="67" y="25"/>
                    </a:cubicBezTo>
                    <a:cubicBezTo>
                      <a:pt x="67" y="25"/>
                      <a:pt x="67" y="25"/>
                      <a:pt x="68" y="25"/>
                    </a:cubicBezTo>
                    <a:cubicBezTo>
                      <a:pt x="68" y="25"/>
                      <a:pt x="68" y="25"/>
                      <a:pt x="69" y="25"/>
                    </a:cubicBezTo>
                    <a:cubicBezTo>
                      <a:pt x="73" y="23"/>
                      <a:pt x="76" y="14"/>
                      <a:pt x="76" y="10"/>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4"/>
                      <a:pt x="69" y="18"/>
                      <a:pt x="67" y="19"/>
                    </a:cubicBezTo>
                    <a:cubicBezTo>
                      <a:pt x="65" y="18"/>
                      <a:pt x="62" y="15"/>
                      <a:pt x="60" y="12"/>
                    </a:cubicBezTo>
                    <a:cubicBezTo>
                      <a:pt x="58" y="8"/>
                      <a:pt x="56" y="6"/>
                      <a:pt x="53" y="6"/>
                    </a:cubicBezTo>
                    <a:cubicBezTo>
                      <a:pt x="51" y="6"/>
                      <a:pt x="50" y="7"/>
                      <a:pt x="49" y="7"/>
                    </a:cubicBezTo>
                    <a:cubicBezTo>
                      <a:pt x="48" y="8"/>
                      <a:pt x="48" y="8"/>
                      <a:pt x="48" y="8"/>
                    </a:cubicBezTo>
                    <a:cubicBezTo>
                      <a:pt x="46" y="9"/>
                      <a:pt x="41" y="11"/>
                      <a:pt x="44" y="19"/>
                    </a:cubicBezTo>
                    <a:cubicBezTo>
                      <a:pt x="45" y="22"/>
                      <a:pt x="45" y="26"/>
                      <a:pt x="45" y="28"/>
                    </a:cubicBezTo>
                    <a:cubicBezTo>
                      <a:pt x="42" y="28"/>
                      <a:pt x="39" y="26"/>
                      <a:pt x="36" y="24"/>
                    </a:cubicBezTo>
                    <a:cubicBezTo>
                      <a:pt x="34" y="22"/>
                      <a:pt x="32" y="22"/>
                      <a:pt x="30" y="22"/>
                    </a:cubicBezTo>
                    <a:cubicBezTo>
                      <a:pt x="27" y="22"/>
                      <a:pt x="25" y="23"/>
                      <a:pt x="24" y="25"/>
                    </a:cubicBezTo>
                    <a:cubicBezTo>
                      <a:pt x="23" y="25"/>
                      <a:pt x="23" y="25"/>
                      <a:pt x="23" y="25"/>
                    </a:cubicBezTo>
                    <a:cubicBezTo>
                      <a:pt x="22" y="27"/>
                      <a:pt x="18" y="31"/>
                      <a:pt x="24" y="37"/>
                    </a:cubicBezTo>
                    <a:cubicBezTo>
                      <a:pt x="26" y="40"/>
                      <a:pt x="28" y="44"/>
                      <a:pt x="28" y="47"/>
                    </a:cubicBezTo>
                    <a:cubicBezTo>
                      <a:pt x="27" y="47"/>
                      <a:pt x="26" y="47"/>
                      <a:pt x="23" y="47"/>
                    </a:cubicBezTo>
                    <a:cubicBezTo>
                      <a:pt x="21" y="47"/>
                      <a:pt x="19" y="47"/>
                      <a:pt x="17" y="47"/>
                    </a:cubicBezTo>
                    <a:cubicBezTo>
                      <a:pt x="16" y="46"/>
                      <a:pt x="15" y="46"/>
                      <a:pt x="13" y="46"/>
                    </a:cubicBezTo>
                    <a:cubicBezTo>
                      <a:pt x="8" y="46"/>
                      <a:pt x="7" y="50"/>
                      <a:pt x="6" y="52"/>
                    </a:cubicBezTo>
                    <a:cubicBezTo>
                      <a:pt x="6" y="52"/>
                      <a:pt x="6" y="52"/>
                      <a:pt x="6" y="52"/>
                    </a:cubicBezTo>
                    <a:cubicBezTo>
                      <a:pt x="5" y="55"/>
                      <a:pt x="3" y="59"/>
                      <a:pt x="11" y="63"/>
                    </a:cubicBezTo>
                    <a:cubicBezTo>
                      <a:pt x="14" y="65"/>
                      <a:pt x="17" y="68"/>
                      <a:pt x="19" y="70"/>
                    </a:cubicBezTo>
                    <a:cubicBezTo>
                      <a:pt x="17" y="71"/>
                      <a:pt x="13" y="74"/>
                      <a:pt x="8" y="74"/>
                    </a:cubicBezTo>
                    <a:cubicBezTo>
                      <a:pt x="0" y="76"/>
                      <a:pt x="0" y="81"/>
                      <a:pt x="0" y="83"/>
                    </a:cubicBezTo>
                    <a:cubicBezTo>
                      <a:pt x="0" y="84"/>
                      <a:pt x="0" y="84"/>
                      <a:pt x="0" y="84"/>
                    </a:cubicBezTo>
                    <a:cubicBezTo>
                      <a:pt x="0" y="87"/>
                      <a:pt x="0" y="92"/>
                      <a:pt x="9" y="93"/>
                    </a:cubicBezTo>
                    <a:cubicBezTo>
                      <a:pt x="13" y="93"/>
                      <a:pt x="17" y="95"/>
                      <a:pt x="19" y="96"/>
                    </a:cubicBezTo>
                    <a:cubicBezTo>
                      <a:pt x="18" y="98"/>
                      <a:pt x="15" y="101"/>
                      <a:pt x="11" y="104"/>
                    </a:cubicBezTo>
                    <a:cubicBezTo>
                      <a:pt x="4" y="108"/>
                      <a:pt x="6" y="113"/>
                      <a:pt x="7" y="115"/>
                    </a:cubicBezTo>
                    <a:cubicBezTo>
                      <a:pt x="7" y="116"/>
                      <a:pt x="7" y="116"/>
                      <a:pt x="7" y="116"/>
                    </a:cubicBezTo>
                    <a:cubicBezTo>
                      <a:pt x="8" y="117"/>
                      <a:pt x="9" y="121"/>
                      <a:pt x="14" y="121"/>
                    </a:cubicBezTo>
                    <a:cubicBezTo>
                      <a:pt x="16" y="121"/>
                      <a:pt x="17" y="121"/>
                      <a:pt x="19" y="120"/>
                    </a:cubicBezTo>
                    <a:cubicBezTo>
                      <a:pt x="21" y="119"/>
                      <a:pt x="24" y="119"/>
                      <a:pt x="26" y="119"/>
                    </a:cubicBezTo>
                    <a:cubicBezTo>
                      <a:pt x="27" y="119"/>
                      <a:pt x="28" y="119"/>
                      <a:pt x="29" y="119"/>
                    </a:cubicBezTo>
                    <a:cubicBezTo>
                      <a:pt x="29" y="121"/>
                      <a:pt x="28" y="125"/>
                      <a:pt x="25" y="129"/>
                    </a:cubicBezTo>
                    <a:cubicBezTo>
                      <a:pt x="20" y="136"/>
                      <a:pt x="22" y="139"/>
                      <a:pt x="25" y="142"/>
                    </a:cubicBezTo>
                    <a:cubicBezTo>
                      <a:pt x="26" y="142"/>
                      <a:pt x="26" y="142"/>
                      <a:pt x="26" y="142"/>
                    </a:cubicBezTo>
                    <a:cubicBezTo>
                      <a:pt x="27" y="143"/>
                      <a:pt x="29" y="145"/>
                      <a:pt x="31" y="145"/>
                    </a:cubicBezTo>
                    <a:cubicBezTo>
                      <a:pt x="33" y="145"/>
                      <a:pt x="36" y="144"/>
                      <a:pt x="38" y="142"/>
                    </a:cubicBezTo>
                    <a:cubicBezTo>
                      <a:pt x="41" y="139"/>
                      <a:pt x="45" y="137"/>
                      <a:pt x="47" y="137"/>
                    </a:cubicBezTo>
                    <a:cubicBezTo>
                      <a:pt x="48" y="139"/>
                      <a:pt x="48" y="143"/>
                      <a:pt x="47" y="148"/>
                    </a:cubicBezTo>
                    <a:cubicBezTo>
                      <a:pt x="46" y="156"/>
                      <a:pt x="50" y="158"/>
                      <a:pt x="53" y="159"/>
                    </a:cubicBezTo>
                    <a:cubicBezTo>
                      <a:pt x="53" y="159"/>
                      <a:pt x="53" y="159"/>
                      <a:pt x="53" y="159"/>
                    </a:cubicBezTo>
                    <a:cubicBezTo>
                      <a:pt x="54" y="159"/>
                      <a:pt x="56" y="160"/>
                      <a:pt x="57" y="160"/>
                    </a:cubicBezTo>
                    <a:cubicBezTo>
                      <a:pt x="60" y="160"/>
                      <a:pt x="62" y="158"/>
                      <a:pt x="64" y="154"/>
                    </a:cubicBezTo>
                    <a:cubicBezTo>
                      <a:pt x="66" y="151"/>
                      <a:pt x="69" y="148"/>
                      <a:pt x="71" y="146"/>
                    </a:cubicBezTo>
                    <a:cubicBezTo>
                      <a:pt x="72" y="148"/>
                      <a:pt x="74" y="151"/>
                      <a:pt x="75" y="156"/>
                    </a:cubicBezTo>
                    <a:cubicBezTo>
                      <a:pt x="76" y="162"/>
                      <a:pt x="79" y="164"/>
                      <a:pt x="83" y="164"/>
                    </a:cubicBezTo>
                    <a:cubicBezTo>
                      <a:pt x="84" y="164"/>
                      <a:pt x="84" y="164"/>
                      <a:pt x="85" y="164"/>
                    </a:cubicBezTo>
                    <a:cubicBezTo>
                      <a:pt x="85" y="164"/>
                      <a:pt x="85" y="164"/>
                      <a:pt x="85" y="164"/>
                    </a:cubicBezTo>
                    <a:cubicBezTo>
                      <a:pt x="88" y="164"/>
                      <a:pt x="93" y="164"/>
                      <a:pt x="94" y="155"/>
                    </a:cubicBezTo>
                    <a:cubicBezTo>
                      <a:pt x="94" y="151"/>
                      <a:pt x="95" y="147"/>
                      <a:pt x="97" y="145"/>
                    </a:cubicBezTo>
                    <a:cubicBezTo>
                      <a:pt x="98" y="146"/>
                      <a:pt x="102" y="149"/>
                      <a:pt x="105" y="153"/>
                    </a:cubicBezTo>
                    <a:cubicBezTo>
                      <a:pt x="107" y="156"/>
                      <a:pt x="109" y="158"/>
                      <a:pt x="112" y="158"/>
                    </a:cubicBezTo>
                    <a:cubicBezTo>
                      <a:pt x="114" y="158"/>
                      <a:pt x="115" y="158"/>
                      <a:pt x="116" y="157"/>
                    </a:cubicBezTo>
                    <a:cubicBezTo>
                      <a:pt x="117" y="157"/>
                      <a:pt x="117" y="157"/>
                      <a:pt x="117" y="157"/>
                    </a:cubicBezTo>
                    <a:cubicBezTo>
                      <a:pt x="119" y="156"/>
                      <a:pt x="124" y="153"/>
                      <a:pt x="121" y="145"/>
                    </a:cubicBezTo>
                    <a:cubicBezTo>
                      <a:pt x="120" y="142"/>
                      <a:pt x="120" y="139"/>
                      <a:pt x="120" y="137"/>
                    </a:cubicBezTo>
                    <a:cubicBezTo>
                      <a:pt x="122" y="137"/>
                      <a:pt x="125" y="139"/>
                      <a:pt x="127" y="141"/>
                    </a:cubicBezTo>
                    <a:cubicBezTo>
                      <a:pt x="130" y="143"/>
                      <a:pt x="132" y="144"/>
                      <a:pt x="134" y="144"/>
                    </a:cubicBezTo>
                    <a:cubicBezTo>
                      <a:pt x="137" y="144"/>
                      <a:pt x="138" y="142"/>
                      <a:pt x="140" y="141"/>
                    </a:cubicBezTo>
                    <a:cubicBezTo>
                      <a:pt x="140" y="140"/>
                      <a:pt x="140" y="140"/>
                      <a:pt x="140" y="140"/>
                    </a:cubicBezTo>
                    <a:cubicBezTo>
                      <a:pt x="143" y="138"/>
                      <a:pt x="145" y="134"/>
                      <a:pt x="140" y="128"/>
                    </a:cubicBezTo>
                    <a:cubicBezTo>
                      <a:pt x="138" y="124"/>
                      <a:pt x="136" y="120"/>
                      <a:pt x="136" y="118"/>
                    </a:cubicBezTo>
                    <a:cubicBezTo>
                      <a:pt x="137" y="118"/>
                      <a:pt x="138" y="118"/>
                      <a:pt x="139" y="118"/>
                    </a:cubicBezTo>
                    <a:cubicBezTo>
                      <a:pt x="141" y="118"/>
                      <a:pt x="144" y="118"/>
                      <a:pt x="146" y="119"/>
                    </a:cubicBezTo>
                    <a:cubicBezTo>
                      <a:pt x="148" y="119"/>
                      <a:pt x="149" y="119"/>
                      <a:pt x="151" y="119"/>
                    </a:cubicBezTo>
                    <a:cubicBezTo>
                      <a:pt x="156" y="119"/>
                      <a:pt x="157" y="116"/>
                      <a:pt x="158" y="114"/>
                    </a:cubicBezTo>
                    <a:cubicBezTo>
                      <a:pt x="158" y="113"/>
                      <a:pt x="158" y="113"/>
                      <a:pt x="158" y="113"/>
                    </a:cubicBezTo>
                    <a:cubicBezTo>
                      <a:pt x="159" y="111"/>
                      <a:pt x="161" y="106"/>
                      <a:pt x="154" y="102"/>
                    </a:cubicBezTo>
                    <a:cubicBezTo>
                      <a:pt x="150" y="99"/>
                      <a:pt x="147" y="96"/>
                      <a:pt x="146" y="94"/>
                    </a:cubicBezTo>
                    <a:cubicBezTo>
                      <a:pt x="148" y="93"/>
                      <a:pt x="152" y="92"/>
                      <a:pt x="155" y="91"/>
                    </a:cubicBezTo>
                    <a:cubicBezTo>
                      <a:pt x="164" y="90"/>
                      <a:pt x="164" y="85"/>
                      <a:pt x="164" y="82"/>
                    </a:cubicBezTo>
                    <a:cubicBezTo>
                      <a:pt x="164" y="82"/>
                      <a:pt x="164" y="82"/>
                      <a:pt x="164" y="82"/>
                    </a:cubicBezTo>
                    <a:cubicBezTo>
                      <a:pt x="164" y="82"/>
                      <a:pt x="164" y="82"/>
                      <a:pt x="164" y="82"/>
                    </a:cubicBezTo>
                    <a:cubicBezTo>
                      <a:pt x="164" y="79"/>
                      <a:pt x="164" y="74"/>
                      <a:pt x="156" y="73"/>
                    </a:cubicBezTo>
                    <a:cubicBezTo>
                      <a:pt x="151" y="72"/>
                      <a:pt x="147" y="70"/>
                      <a:pt x="145" y="69"/>
                    </a:cubicBezTo>
                    <a:cubicBezTo>
                      <a:pt x="147" y="67"/>
                      <a:pt x="150" y="64"/>
                      <a:pt x="153" y="62"/>
                    </a:cubicBezTo>
                    <a:cubicBezTo>
                      <a:pt x="161" y="58"/>
                      <a:pt x="159" y="53"/>
                      <a:pt x="158" y="51"/>
                    </a:cubicBezTo>
                    <a:cubicBezTo>
                      <a:pt x="157" y="50"/>
                      <a:pt x="157" y="50"/>
                      <a:pt x="157" y="50"/>
                    </a:cubicBezTo>
                    <a:cubicBezTo>
                      <a:pt x="157" y="48"/>
                      <a:pt x="155" y="45"/>
                      <a:pt x="150" y="45"/>
                    </a:cubicBezTo>
                    <a:cubicBezTo>
                      <a:pt x="149" y="45"/>
                      <a:pt x="148" y="45"/>
                      <a:pt x="146" y="45"/>
                    </a:cubicBezTo>
                    <a:cubicBezTo>
                      <a:pt x="144" y="46"/>
                      <a:pt x="142" y="46"/>
                      <a:pt x="140" y="46"/>
                    </a:cubicBezTo>
                    <a:cubicBezTo>
                      <a:pt x="137" y="46"/>
                      <a:pt x="136" y="46"/>
                      <a:pt x="135" y="45"/>
                    </a:cubicBezTo>
                    <a:cubicBezTo>
                      <a:pt x="136" y="43"/>
                      <a:pt x="137" y="39"/>
                      <a:pt x="140" y="36"/>
                    </a:cubicBezTo>
                    <a:cubicBezTo>
                      <a:pt x="145" y="29"/>
                      <a:pt x="141" y="26"/>
                      <a:pt x="139" y="24"/>
                    </a:cubicBezTo>
                    <a:cubicBezTo>
                      <a:pt x="139" y="23"/>
                      <a:pt x="139" y="23"/>
                      <a:pt x="139" y="23"/>
                    </a:cubicBezTo>
                    <a:cubicBezTo>
                      <a:pt x="138" y="22"/>
                      <a:pt x="136" y="20"/>
                      <a:pt x="133" y="20"/>
                    </a:cubicBezTo>
                    <a:cubicBezTo>
                      <a:pt x="131" y="20"/>
                      <a:pt x="129" y="21"/>
                      <a:pt x="127" y="23"/>
                    </a:cubicBezTo>
                    <a:cubicBezTo>
                      <a:pt x="123" y="26"/>
                      <a:pt x="119" y="28"/>
                      <a:pt x="117" y="28"/>
                    </a:cubicBezTo>
                    <a:cubicBezTo>
                      <a:pt x="116" y="25"/>
                      <a:pt x="116" y="22"/>
                      <a:pt x="117" y="17"/>
                    </a:cubicBezTo>
                    <a:cubicBezTo>
                      <a:pt x="120" y="9"/>
                      <a:pt x="115" y="7"/>
                      <a:pt x="112" y="6"/>
                    </a:cubicBezTo>
                    <a:cubicBezTo>
                      <a:pt x="112" y="6"/>
                      <a:pt x="112" y="6"/>
                      <a:pt x="112" y="6"/>
                    </a:cubicBezTo>
                    <a:cubicBezTo>
                      <a:pt x="111" y="6"/>
                      <a:pt x="109" y="5"/>
                      <a:pt x="108" y="5"/>
                    </a:cubicBezTo>
                    <a:cubicBezTo>
                      <a:pt x="105" y="5"/>
                      <a:pt x="103" y="7"/>
                      <a:pt x="101" y="11"/>
                    </a:cubicBezTo>
                    <a:cubicBezTo>
                      <a:pt x="98" y="15"/>
                      <a:pt x="95" y="18"/>
                      <a:pt x="93" y="19"/>
                    </a:cubicBezTo>
                    <a:cubicBezTo>
                      <a:pt x="92" y="17"/>
                      <a:pt x="90" y="13"/>
                      <a:pt x="89" y="9"/>
                    </a:cubicBezTo>
                    <a:cubicBezTo>
                      <a:pt x="89" y="3"/>
                      <a:pt x="86" y="0"/>
                      <a:pt x="8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662">
                <a:extLst>
                  <a:ext uri="{FF2B5EF4-FFF2-40B4-BE49-F238E27FC236}">
                    <a16:creationId xmlns:a16="http://schemas.microsoft.com/office/drawing/2014/main" id="{A32BAC31-8AF1-45CB-B5E6-BFBE3DEE20CC}"/>
                  </a:ext>
                </a:extLst>
              </p:cNvPr>
              <p:cNvSpPr>
                <a:spLocks noEditPoints="1"/>
              </p:cNvSpPr>
              <p:nvPr/>
            </p:nvSpPr>
            <p:spPr bwMode="auto">
              <a:xfrm>
                <a:off x="4566602" y="8340725"/>
                <a:ext cx="306388" cy="304800"/>
              </a:xfrm>
              <a:custGeom>
                <a:avLst/>
                <a:gdLst>
                  <a:gd name="T0" fmla="*/ 44 w 156"/>
                  <a:gd name="T1" fmla="*/ 111 h 155"/>
                  <a:gd name="T2" fmla="*/ 78 w 156"/>
                  <a:gd name="T3" fmla="*/ 29 h 155"/>
                  <a:gd name="T4" fmla="*/ 112 w 156"/>
                  <a:gd name="T5" fmla="*/ 111 h 155"/>
                  <a:gd name="T6" fmla="*/ 77 w 156"/>
                  <a:gd name="T7" fmla="*/ 0 h 155"/>
                  <a:gd name="T8" fmla="*/ 75 w 156"/>
                  <a:gd name="T9" fmla="*/ 0 h 155"/>
                  <a:gd name="T10" fmla="*/ 64 w 156"/>
                  <a:gd name="T11" fmla="*/ 19 h 155"/>
                  <a:gd name="T12" fmla="*/ 50 w 156"/>
                  <a:gd name="T13" fmla="*/ 6 h 155"/>
                  <a:gd name="T14" fmla="*/ 43 w 156"/>
                  <a:gd name="T15" fmla="*/ 15 h 155"/>
                  <a:gd name="T16" fmla="*/ 32 w 156"/>
                  <a:gd name="T17" fmla="*/ 23 h 155"/>
                  <a:gd name="T18" fmla="*/ 23 w 156"/>
                  <a:gd name="T19" fmla="*/ 23 h 155"/>
                  <a:gd name="T20" fmla="*/ 28 w 156"/>
                  <a:gd name="T21" fmla="*/ 44 h 155"/>
                  <a:gd name="T22" fmla="*/ 14 w 156"/>
                  <a:gd name="T23" fmla="*/ 45 h 155"/>
                  <a:gd name="T24" fmla="*/ 6 w 156"/>
                  <a:gd name="T25" fmla="*/ 49 h 155"/>
                  <a:gd name="T26" fmla="*/ 19 w 156"/>
                  <a:gd name="T27" fmla="*/ 66 h 155"/>
                  <a:gd name="T28" fmla="*/ 1 w 156"/>
                  <a:gd name="T29" fmla="*/ 79 h 155"/>
                  <a:gd name="T30" fmla="*/ 19 w 156"/>
                  <a:gd name="T31" fmla="*/ 90 h 155"/>
                  <a:gd name="T32" fmla="*/ 7 w 156"/>
                  <a:gd name="T33" fmla="*/ 108 h 155"/>
                  <a:gd name="T34" fmla="*/ 15 w 156"/>
                  <a:gd name="T35" fmla="*/ 112 h 155"/>
                  <a:gd name="T36" fmla="*/ 28 w 156"/>
                  <a:gd name="T37" fmla="*/ 111 h 155"/>
                  <a:gd name="T38" fmla="*/ 25 w 156"/>
                  <a:gd name="T39" fmla="*/ 133 h 155"/>
                  <a:gd name="T40" fmla="*/ 34 w 156"/>
                  <a:gd name="T41" fmla="*/ 133 h 155"/>
                  <a:gd name="T42" fmla="*/ 45 w 156"/>
                  <a:gd name="T43" fmla="*/ 128 h 155"/>
                  <a:gd name="T44" fmla="*/ 51 w 156"/>
                  <a:gd name="T45" fmla="*/ 150 h 155"/>
                  <a:gd name="T46" fmla="*/ 59 w 156"/>
                  <a:gd name="T47" fmla="*/ 146 h 155"/>
                  <a:gd name="T48" fmla="*/ 74 w 156"/>
                  <a:gd name="T49" fmla="*/ 149 h 155"/>
                  <a:gd name="T50" fmla="*/ 81 w 156"/>
                  <a:gd name="T51" fmla="*/ 155 h 155"/>
                  <a:gd name="T52" fmla="*/ 91 w 156"/>
                  <a:gd name="T53" fmla="*/ 136 h 155"/>
                  <a:gd name="T54" fmla="*/ 102 w 156"/>
                  <a:gd name="T55" fmla="*/ 145 h 155"/>
                  <a:gd name="T56" fmla="*/ 110 w 156"/>
                  <a:gd name="T57" fmla="*/ 148 h 155"/>
                  <a:gd name="T58" fmla="*/ 113 w 156"/>
                  <a:gd name="T59" fmla="*/ 127 h 155"/>
                  <a:gd name="T60" fmla="*/ 129 w 156"/>
                  <a:gd name="T61" fmla="*/ 135 h 155"/>
                  <a:gd name="T62" fmla="*/ 133 w 156"/>
                  <a:gd name="T63" fmla="*/ 123 h 155"/>
                  <a:gd name="T64" fmla="*/ 134 w 156"/>
                  <a:gd name="T65" fmla="*/ 109 h 155"/>
                  <a:gd name="T66" fmla="*/ 145 w 156"/>
                  <a:gd name="T67" fmla="*/ 111 h 155"/>
                  <a:gd name="T68" fmla="*/ 146 w 156"/>
                  <a:gd name="T69" fmla="*/ 99 h 155"/>
                  <a:gd name="T70" fmla="*/ 149 w 156"/>
                  <a:gd name="T71" fmla="*/ 83 h 155"/>
                  <a:gd name="T72" fmla="*/ 149 w 156"/>
                  <a:gd name="T73" fmla="*/ 71 h 155"/>
                  <a:gd name="T74" fmla="*/ 146 w 156"/>
                  <a:gd name="T75" fmla="*/ 55 h 155"/>
                  <a:gd name="T76" fmla="*/ 145 w 156"/>
                  <a:gd name="T77" fmla="*/ 43 h 155"/>
                  <a:gd name="T78" fmla="*/ 134 w 156"/>
                  <a:gd name="T79" fmla="*/ 44 h 155"/>
                  <a:gd name="T80" fmla="*/ 132 w 156"/>
                  <a:gd name="T81" fmla="*/ 31 h 155"/>
                  <a:gd name="T82" fmla="*/ 128 w 156"/>
                  <a:gd name="T83" fmla="*/ 19 h 155"/>
                  <a:gd name="T84" fmla="*/ 112 w 156"/>
                  <a:gd name="T85" fmla="*/ 27 h 155"/>
                  <a:gd name="T86" fmla="*/ 110 w 156"/>
                  <a:gd name="T87" fmla="*/ 13 h 155"/>
                  <a:gd name="T88" fmla="*/ 103 w 156"/>
                  <a:gd name="T89" fmla="*/ 4 h 155"/>
                  <a:gd name="T90" fmla="*/ 88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6" y="125"/>
                      <a:pt x="54" y="121"/>
                      <a:pt x="44" y="111"/>
                    </a:cubicBezTo>
                    <a:cubicBezTo>
                      <a:pt x="25" y="93"/>
                      <a:pt x="25" y="62"/>
                      <a:pt x="44" y="44"/>
                    </a:cubicBezTo>
                    <a:cubicBezTo>
                      <a:pt x="53" y="34"/>
                      <a:pt x="66" y="29"/>
                      <a:pt x="78" y="29"/>
                    </a:cubicBezTo>
                    <a:cubicBezTo>
                      <a:pt x="90" y="29"/>
                      <a:pt x="103" y="34"/>
                      <a:pt x="112" y="43"/>
                    </a:cubicBezTo>
                    <a:cubicBezTo>
                      <a:pt x="131" y="62"/>
                      <a:pt x="131" y="92"/>
                      <a:pt x="112" y="111"/>
                    </a:cubicBezTo>
                    <a:cubicBezTo>
                      <a:pt x="103" y="121"/>
                      <a:pt x="90" y="125"/>
                      <a:pt x="78" y="125"/>
                    </a:cubicBezTo>
                    <a:moveTo>
                      <a:pt x="77" y="0"/>
                    </a:moveTo>
                    <a:cubicBezTo>
                      <a:pt x="77" y="0"/>
                      <a:pt x="77" y="0"/>
                      <a:pt x="76" y="0"/>
                    </a:cubicBezTo>
                    <a:cubicBezTo>
                      <a:pt x="76" y="0"/>
                      <a:pt x="76" y="0"/>
                      <a:pt x="75" y="0"/>
                    </a:cubicBezTo>
                    <a:cubicBezTo>
                      <a:pt x="73" y="0"/>
                      <a:pt x="71" y="0"/>
                      <a:pt x="70" y="6"/>
                    </a:cubicBezTo>
                    <a:cubicBezTo>
                      <a:pt x="69" y="12"/>
                      <a:pt x="67" y="18"/>
                      <a:pt x="64" y="19"/>
                    </a:cubicBezTo>
                    <a:cubicBezTo>
                      <a:pt x="61" y="18"/>
                      <a:pt x="57" y="14"/>
                      <a:pt x="55" y="10"/>
                    </a:cubicBezTo>
                    <a:cubicBezTo>
                      <a:pt x="53" y="7"/>
                      <a:pt x="51" y="6"/>
                      <a:pt x="50" y="6"/>
                    </a:cubicBezTo>
                    <a:cubicBezTo>
                      <a:pt x="49" y="6"/>
                      <a:pt x="48" y="6"/>
                      <a:pt x="46" y="7"/>
                    </a:cubicBezTo>
                    <a:cubicBezTo>
                      <a:pt x="44" y="8"/>
                      <a:pt x="41" y="8"/>
                      <a:pt x="43" y="15"/>
                    </a:cubicBezTo>
                    <a:cubicBezTo>
                      <a:pt x="44" y="19"/>
                      <a:pt x="44" y="24"/>
                      <a:pt x="43" y="27"/>
                    </a:cubicBezTo>
                    <a:cubicBezTo>
                      <a:pt x="40" y="27"/>
                      <a:pt x="35" y="25"/>
                      <a:pt x="32" y="23"/>
                    </a:cubicBezTo>
                    <a:cubicBezTo>
                      <a:pt x="30" y="21"/>
                      <a:pt x="28" y="21"/>
                      <a:pt x="27" y="21"/>
                    </a:cubicBezTo>
                    <a:cubicBezTo>
                      <a:pt x="25" y="21"/>
                      <a:pt x="24" y="22"/>
                      <a:pt x="23" y="23"/>
                    </a:cubicBezTo>
                    <a:cubicBezTo>
                      <a:pt x="21" y="25"/>
                      <a:pt x="19" y="27"/>
                      <a:pt x="23" y="32"/>
                    </a:cubicBezTo>
                    <a:cubicBezTo>
                      <a:pt x="26" y="36"/>
                      <a:pt x="28" y="41"/>
                      <a:pt x="28" y="44"/>
                    </a:cubicBezTo>
                    <a:cubicBezTo>
                      <a:pt x="27" y="45"/>
                      <a:pt x="24" y="46"/>
                      <a:pt x="21" y="46"/>
                    </a:cubicBezTo>
                    <a:cubicBezTo>
                      <a:pt x="19" y="46"/>
                      <a:pt x="16" y="45"/>
                      <a:pt x="14" y="45"/>
                    </a:cubicBezTo>
                    <a:cubicBezTo>
                      <a:pt x="13" y="45"/>
                      <a:pt x="12" y="44"/>
                      <a:pt x="11" y="44"/>
                    </a:cubicBezTo>
                    <a:cubicBezTo>
                      <a:pt x="7" y="44"/>
                      <a:pt x="7" y="47"/>
                      <a:pt x="6" y="49"/>
                    </a:cubicBezTo>
                    <a:cubicBezTo>
                      <a:pt x="5" y="51"/>
                      <a:pt x="4" y="54"/>
                      <a:pt x="10" y="57"/>
                    </a:cubicBezTo>
                    <a:cubicBezTo>
                      <a:pt x="14" y="59"/>
                      <a:pt x="18" y="63"/>
                      <a:pt x="19" y="66"/>
                    </a:cubicBezTo>
                    <a:cubicBezTo>
                      <a:pt x="18" y="68"/>
                      <a:pt x="12" y="71"/>
                      <a:pt x="7" y="72"/>
                    </a:cubicBezTo>
                    <a:cubicBezTo>
                      <a:pt x="0" y="73"/>
                      <a:pt x="1" y="76"/>
                      <a:pt x="1" y="79"/>
                    </a:cubicBezTo>
                    <a:cubicBezTo>
                      <a:pt x="1" y="81"/>
                      <a:pt x="0" y="84"/>
                      <a:pt x="7" y="85"/>
                    </a:cubicBezTo>
                    <a:cubicBezTo>
                      <a:pt x="12" y="86"/>
                      <a:pt x="17" y="87"/>
                      <a:pt x="19" y="90"/>
                    </a:cubicBezTo>
                    <a:cubicBezTo>
                      <a:pt x="19" y="92"/>
                      <a:pt x="15" y="97"/>
                      <a:pt x="10" y="100"/>
                    </a:cubicBezTo>
                    <a:cubicBezTo>
                      <a:pt x="4" y="104"/>
                      <a:pt x="6" y="106"/>
                      <a:pt x="7" y="108"/>
                    </a:cubicBezTo>
                    <a:cubicBezTo>
                      <a:pt x="8" y="110"/>
                      <a:pt x="9" y="112"/>
                      <a:pt x="12" y="112"/>
                    </a:cubicBezTo>
                    <a:cubicBezTo>
                      <a:pt x="13" y="112"/>
                      <a:pt x="14" y="112"/>
                      <a:pt x="15" y="112"/>
                    </a:cubicBezTo>
                    <a:cubicBezTo>
                      <a:pt x="18" y="111"/>
                      <a:pt x="21" y="111"/>
                      <a:pt x="24" y="111"/>
                    </a:cubicBezTo>
                    <a:cubicBezTo>
                      <a:pt x="25" y="111"/>
                      <a:pt x="27" y="111"/>
                      <a:pt x="28" y="111"/>
                    </a:cubicBezTo>
                    <a:cubicBezTo>
                      <a:pt x="29" y="114"/>
                      <a:pt x="27" y="120"/>
                      <a:pt x="24" y="125"/>
                    </a:cubicBezTo>
                    <a:cubicBezTo>
                      <a:pt x="20" y="130"/>
                      <a:pt x="23" y="132"/>
                      <a:pt x="25" y="133"/>
                    </a:cubicBezTo>
                    <a:cubicBezTo>
                      <a:pt x="26" y="134"/>
                      <a:pt x="27" y="136"/>
                      <a:pt x="29" y="136"/>
                    </a:cubicBezTo>
                    <a:cubicBezTo>
                      <a:pt x="30" y="136"/>
                      <a:pt x="32" y="135"/>
                      <a:pt x="34" y="133"/>
                    </a:cubicBezTo>
                    <a:cubicBezTo>
                      <a:pt x="37" y="130"/>
                      <a:pt x="42" y="128"/>
                      <a:pt x="45" y="128"/>
                    </a:cubicBezTo>
                    <a:cubicBezTo>
                      <a:pt x="45" y="128"/>
                      <a:pt x="45" y="128"/>
                      <a:pt x="45" y="128"/>
                    </a:cubicBezTo>
                    <a:cubicBezTo>
                      <a:pt x="47" y="130"/>
                      <a:pt x="48" y="136"/>
                      <a:pt x="47" y="142"/>
                    </a:cubicBezTo>
                    <a:cubicBezTo>
                      <a:pt x="45" y="148"/>
                      <a:pt x="48" y="149"/>
                      <a:pt x="51" y="150"/>
                    </a:cubicBezTo>
                    <a:cubicBezTo>
                      <a:pt x="52" y="150"/>
                      <a:pt x="53" y="151"/>
                      <a:pt x="54" y="151"/>
                    </a:cubicBezTo>
                    <a:cubicBezTo>
                      <a:pt x="55" y="151"/>
                      <a:pt x="57" y="150"/>
                      <a:pt x="59" y="146"/>
                    </a:cubicBezTo>
                    <a:cubicBezTo>
                      <a:pt x="61" y="142"/>
                      <a:pt x="65" y="138"/>
                      <a:pt x="67" y="137"/>
                    </a:cubicBezTo>
                    <a:cubicBezTo>
                      <a:pt x="70" y="138"/>
                      <a:pt x="73" y="144"/>
                      <a:pt x="74" y="149"/>
                    </a:cubicBezTo>
                    <a:cubicBezTo>
                      <a:pt x="75" y="154"/>
                      <a:pt x="77" y="155"/>
                      <a:pt x="79" y="155"/>
                    </a:cubicBezTo>
                    <a:cubicBezTo>
                      <a:pt x="80" y="155"/>
                      <a:pt x="80" y="155"/>
                      <a:pt x="81" y="155"/>
                    </a:cubicBezTo>
                    <a:cubicBezTo>
                      <a:pt x="83" y="155"/>
                      <a:pt x="86" y="155"/>
                      <a:pt x="87" y="148"/>
                    </a:cubicBezTo>
                    <a:cubicBezTo>
                      <a:pt x="87" y="144"/>
                      <a:pt x="89" y="138"/>
                      <a:pt x="91" y="136"/>
                    </a:cubicBezTo>
                    <a:cubicBezTo>
                      <a:pt x="91" y="136"/>
                      <a:pt x="91" y="136"/>
                      <a:pt x="91" y="136"/>
                    </a:cubicBezTo>
                    <a:cubicBezTo>
                      <a:pt x="94" y="136"/>
                      <a:pt x="99" y="141"/>
                      <a:pt x="102" y="145"/>
                    </a:cubicBezTo>
                    <a:cubicBezTo>
                      <a:pt x="104" y="148"/>
                      <a:pt x="106" y="149"/>
                      <a:pt x="107" y="149"/>
                    </a:cubicBezTo>
                    <a:cubicBezTo>
                      <a:pt x="108" y="149"/>
                      <a:pt x="109" y="148"/>
                      <a:pt x="110" y="148"/>
                    </a:cubicBezTo>
                    <a:cubicBezTo>
                      <a:pt x="113" y="147"/>
                      <a:pt x="116" y="146"/>
                      <a:pt x="114" y="139"/>
                    </a:cubicBezTo>
                    <a:cubicBezTo>
                      <a:pt x="112" y="135"/>
                      <a:pt x="112" y="130"/>
                      <a:pt x="113" y="127"/>
                    </a:cubicBezTo>
                    <a:cubicBezTo>
                      <a:pt x="116" y="128"/>
                      <a:pt x="120" y="130"/>
                      <a:pt x="124" y="132"/>
                    </a:cubicBezTo>
                    <a:cubicBezTo>
                      <a:pt x="126" y="134"/>
                      <a:pt x="127" y="135"/>
                      <a:pt x="129" y="135"/>
                    </a:cubicBezTo>
                    <a:cubicBezTo>
                      <a:pt x="130" y="135"/>
                      <a:pt x="132" y="133"/>
                      <a:pt x="133" y="132"/>
                    </a:cubicBezTo>
                    <a:cubicBezTo>
                      <a:pt x="134" y="131"/>
                      <a:pt x="137" y="129"/>
                      <a:pt x="133" y="123"/>
                    </a:cubicBezTo>
                    <a:cubicBezTo>
                      <a:pt x="130" y="119"/>
                      <a:pt x="127" y="113"/>
                      <a:pt x="129" y="110"/>
                    </a:cubicBezTo>
                    <a:cubicBezTo>
                      <a:pt x="130" y="110"/>
                      <a:pt x="132" y="109"/>
                      <a:pt x="134" y="109"/>
                    </a:cubicBezTo>
                    <a:cubicBezTo>
                      <a:pt x="136" y="109"/>
                      <a:pt x="139" y="110"/>
                      <a:pt x="141" y="110"/>
                    </a:cubicBezTo>
                    <a:cubicBezTo>
                      <a:pt x="143" y="111"/>
                      <a:pt x="144" y="111"/>
                      <a:pt x="145" y="111"/>
                    </a:cubicBezTo>
                    <a:cubicBezTo>
                      <a:pt x="148" y="111"/>
                      <a:pt x="149" y="109"/>
                      <a:pt x="150" y="107"/>
                    </a:cubicBezTo>
                    <a:cubicBezTo>
                      <a:pt x="151" y="105"/>
                      <a:pt x="152" y="102"/>
                      <a:pt x="146" y="99"/>
                    </a:cubicBezTo>
                    <a:cubicBezTo>
                      <a:pt x="142" y="96"/>
                      <a:pt x="137" y="91"/>
                      <a:pt x="137" y="88"/>
                    </a:cubicBezTo>
                    <a:cubicBezTo>
                      <a:pt x="139" y="86"/>
                      <a:pt x="145" y="84"/>
                      <a:pt x="149" y="83"/>
                    </a:cubicBezTo>
                    <a:cubicBezTo>
                      <a:pt x="156" y="83"/>
                      <a:pt x="156" y="79"/>
                      <a:pt x="156" y="77"/>
                    </a:cubicBezTo>
                    <a:cubicBezTo>
                      <a:pt x="156" y="74"/>
                      <a:pt x="156" y="71"/>
                      <a:pt x="149" y="71"/>
                    </a:cubicBezTo>
                    <a:cubicBezTo>
                      <a:pt x="144" y="70"/>
                      <a:pt x="138" y="67"/>
                      <a:pt x="137" y="64"/>
                    </a:cubicBezTo>
                    <a:cubicBezTo>
                      <a:pt x="138" y="62"/>
                      <a:pt x="142" y="58"/>
                      <a:pt x="146" y="55"/>
                    </a:cubicBezTo>
                    <a:cubicBezTo>
                      <a:pt x="152" y="52"/>
                      <a:pt x="150" y="49"/>
                      <a:pt x="149" y="47"/>
                    </a:cubicBezTo>
                    <a:cubicBezTo>
                      <a:pt x="149" y="45"/>
                      <a:pt x="148" y="43"/>
                      <a:pt x="145" y="43"/>
                    </a:cubicBezTo>
                    <a:cubicBezTo>
                      <a:pt x="144" y="43"/>
                      <a:pt x="143" y="43"/>
                      <a:pt x="141" y="43"/>
                    </a:cubicBezTo>
                    <a:cubicBezTo>
                      <a:pt x="139" y="44"/>
                      <a:pt x="136" y="44"/>
                      <a:pt x="134" y="44"/>
                    </a:cubicBezTo>
                    <a:cubicBezTo>
                      <a:pt x="131" y="44"/>
                      <a:pt x="128" y="44"/>
                      <a:pt x="127" y="43"/>
                    </a:cubicBezTo>
                    <a:cubicBezTo>
                      <a:pt x="127" y="40"/>
                      <a:pt x="129" y="35"/>
                      <a:pt x="132" y="31"/>
                    </a:cubicBezTo>
                    <a:cubicBezTo>
                      <a:pt x="136" y="25"/>
                      <a:pt x="134" y="24"/>
                      <a:pt x="132" y="22"/>
                    </a:cubicBezTo>
                    <a:cubicBezTo>
                      <a:pt x="131" y="21"/>
                      <a:pt x="130" y="19"/>
                      <a:pt x="128" y="19"/>
                    </a:cubicBezTo>
                    <a:cubicBezTo>
                      <a:pt x="127" y="19"/>
                      <a:pt x="125" y="20"/>
                      <a:pt x="123" y="22"/>
                    </a:cubicBezTo>
                    <a:cubicBezTo>
                      <a:pt x="120" y="24"/>
                      <a:pt x="115" y="27"/>
                      <a:pt x="112" y="27"/>
                    </a:cubicBezTo>
                    <a:cubicBezTo>
                      <a:pt x="111" y="27"/>
                      <a:pt x="111" y="26"/>
                      <a:pt x="110" y="26"/>
                    </a:cubicBezTo>
                    <a:cubicBezTo>
                      <a:pt x="109" y="24"/>
                      <a:pt x="109" y="18"/>
                      <a:pt x="110" y="13"/>
                    </a:cubicBezTo>
                    <a:cubicBezTo>
                      <a:pt x="112" y="7"/>
                      <a:pt x="109" y="6"/>
                      <a:pt x="106" y="5"/>
                    </a:cubicBezTo>
                    <a:cubicBezTo>
                      <a:pt x="105" y="5"/>
                      <a:pt x="104" y="4"/>
                      <a:pt x="103" y="4"/>
                    </a:cubicBezTo>
                    <a:cubicBezTo>
                      <a:pt x="102" y="4"/>
                      <a:pt x="100" y="5"/>
                      <a:pt x="98" y="9"/>
                    </a:cubicBezTo>
                    <a:cubicBezTo>
                      <a:pt x="95" y="13"/>
                      <a:pt x="91" y="18"/>
                      <a:pt x="88" y="18"/>
                    </a:cubicBezTo>
                    <a:cubicBezTo>
                      <a:pt x="86" y="16"/>
                      <a:pt x="84" y="11"/>
                      <a:pt x="83" y="6"/>
                    </a:cubicBezTo>
                    <a:cubicBezTo>
                      <a:pt x="82" y="0"/>
                      <a:pt x="80" y="0"/>
                      <a:pt x="7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669">
                <a:extLst>
                  <a:ext uri="{FF2B5EF4-FFF2-40B4-BE49-F238E27FC236}">
                    <a16:creationId xmlns:a16="http://schemas.microsoft.com/office/drawing/2014/main" id="{5C34BAD9-373C-4F00-99A8-6B54AF126ECB}"/>
                  </a:ext>
                </a:extLst>
              </p:cNvPr>
              <p:cNvSpPr>
                <a:spLocks noEditPoints="1"/>
              </p:cNvSpPr>
              <p:nvPr/>
            </p:nvSpPr>
            <p:spPr bwMode="auto">
              <a:xfrm>
                <a:off x="4682489" y="8653462"/>
                <a:ext cx="187325" cy="192088"/>
              </a:xfrm>
              <a:custGeom>
                <a:avLst/>
                <a:gdLst>
                  <a:gd name="T0" fmla="*/ 45 w 95"/>
                  <a:gd name="T1" fmla="*/ 77 h 98"/>
                  <a:gd name="T2" fmla="*/ 42 w 95"/>
                  <a:gd name="T3" fmla="*/ 77 h 98"/>
                  <a:gd name="T4" fmla="*/ 39 w 95"/>
                  <a:gd name="T5" fmla="*/ 76 h 98"/>
                  <a:gd name="T6" fmla="*/ 33 w 95"/>
                  <a:gd name="T7" fmla="*/ 74 h 98"/>
                  <a:gd name="T8" fmla="*/ 30 w 95"/>
                  <a:gd name="T9" fmla="*/ 71 h 98"/>
                  <a:gd name="T10" fmla="*/ 26 w 95"/>
                  <a:gd name="T11" fmla="*/ 67 h 98"/>
                  <a:gd name="T12" fmla="*/ 23 w 95"/>
                  <a:gd name="T13" fmla="*/ 64 h 98"/>
                  <a:gd name="T14" fmla="*/ 20 w 95"/>
                  <a:gd name="T15" fmla="*/ 57 h 98"/>
                  <a:gd name="T16" fmla="*/ 20 w 95"/>
                  <a:gd name="T17" fmla="*/ 54 h 98"/>
                  <a:gd name="T18" fmla="*/ 19 w 95"/>
                  <a:gd name="T19" fmla="*/ 51 h 98"/>
                  <a:gd name="T20" fmla="*/ 19 w 95"/>
                  <a:gd name="T21" fmla="*/ 47 h 98"/>
                  <a:gd name="T22" fmla="*/ 20 w 95"/>
                  <a:gd name="T23" fmla="*/ 44 h 98"/>
                  <a:gd name="T24" fmla="*/ 20 w 95"/>
                  <a:gd name="T25" fmla="*/ 42 h 98"/>
                  <a:gd name="T26" fmla="*/ 23 w 95"/>
                  <a:gd name="T27" fmla="*/ 34 h 98"/>
                  <a:gd name="T28" fmla="*/ 25 w 95"/>
                  <a:gd name="T29" fmla="*/ 31 h 98"/>
                  <a:gd name="T30" fmla="*/ 29 w 95"/>
                  <a:gd name="T31" fmla="*/ 27 h 98"/>
                  <a:gd name="T32" fmla="*/ 32 w 95"/>
                  <a:gd name="T33" fmla="*/ 24 h 98"/>
                  <a:gd name="T34" fmla="*/ 34 w 95"/>
                  <a:gd name="T35" fmla="*/ 23 h 98"/>
                  <a:gd name="T36" fmla="*/ 40 w 95"/>
                  <a:gd name="T37" fmla="*/ 21 h 98"/>
                  <a:gd name="T38" fmla="*/ 43 w 95"/>
                  <a:gd name="T39" fmla="*/ 20 h 98"/>
                  <a:gd name="T40" fmla="*/ 45 w 95"/>
                  <a:gd name="T41" fmla="*/ 20 h 98"/>
                  <a:gd name="T42" fmla="*/ 49 w 95"/>
                  <a:gd name="T43" fmla="*/ 20 h 98"/>
                  <a:gd name="T44" fmla="*/ 52 w 95"/>
                  <a:gd name="T45" fmla="*/ 20 h 98"/>
                  <a:gd name="T46" fmla="*/ 54 w 95"/>
                  <a:gd name="T47" fmla="*/ 21 h 98"/>
                  <a:gd name="T48" fmla="*/ 62 w 95"/>
                  <a:gd name="T49" fmla="*/ 24 h 98"/>
                  <a:gd name="T50" fmla="*/ 65 w 95"/>
                  <a:gd name="T51" fmla="*/ 27 h 98"/>
                  <a:gd name="T52" fmla="*/ 69 w 95"/>
                  <a:gd name="T53" fmla="*/ 31 h 98"/>
                  <a:gd name="T54" fmla="*/ 71 w 95"/>
                  <a:gd name="T55" fmla="*/ 34 h 98"/>
                  <a:gd name="T56" fmla="*/ 74 w 95"/>
                  <a:gd name="T57" fmla="*/ 41 h 98"/>
                  <a:gd name="T58" fmla="*/ 75 w 95"/>
                  <a:gd name="T59" fmla="*/ 44 h 98"/>
                  <a:gd name="T60" fmla="*/ 75 w 95"/>
                  <a:gd name="T61" fmla="*/ 47 h 98"/>
                  <a:gd name="T62" fmla="*/ 75 w 95"/>
                  <a:gd name="T63" fmla="*/ 50 h 98"/>
                  <a:gd name="T64" fmla="*/ 75 w 95"/>
                  <a:gd name="T65" fmla="*/ 53 h 98"/>
                  <a:gd name="T66" fmla="*/ 74 w 95"/>
                  <a:gd name="T67" fmla="*/ 56 h 98"/>
                  <a:gd name="T68" fmla="*/ 71 w 95"/>
                  <a:gd name="T69" fmla="*/ 63 h 98"/>
                  <a:gd name="T70" fmla="*/ 69 w 95"/>
                  <a:gd name="T71" fmla="*/ 67 h 98"/>
                  <a:gd name="T72" fmla="*/ 65 w 95"/>
                  <a:gd name="T73" fmla="*/ 71 h 98"/>
                  <a:gd name="T74" fmla="*/ 62 w 95"/>
                  <a:gd name="T75" fmla="*/ 73 h 98"/>
                  <a:gd name="T76" fmla="*/ 54 w 95"/>
                  <a:gd name="T77" fmla="*/ 77 h 98"/>
                  <a:gd name="T78" fmla="*/ 52 w 95"/>
                  <a:gd name="T79" fmla="*/ 77 h 98"/>
                  <a:gd name="T80" fmla="*/ 49 w 95"/>
                  <a:gd name="T81" fmla="*/ 77 h 98"/>
                  <a:gd name="T82" fmla="*/ 39 w 95"/>
                  <a:gd name="T83" fmla="*/ 0 h 98"/>
                  <a:gd name="T84" fmla="*/ 8 w 95"/>
                  <a:gd name="T85" fmla="*/ 20 h 98"/>
                  <a:gd name="T86" fmla="*/ 0 w 95"/>
                  <a:gd name="T87" fmla="*/ 57 h 98"/>
                  <a:gd name="T88" fmla="*/ 19 w 95"/>
                  <a:gd name="T89" fmla="*/ 89 h 98"/>
                  <a:gd name="T90" fmla="*/ 55 w 95"/>
                  <a:gd name="T91" fmla="*/ 98 h 98"/>
                  <a:gd name="T92" fmla="*/ 87 w 95"/>
                  <a:gd name="T93" fmla="*/ 77 h 98"/>
                  <a:gd name="T94" fmla="*/ 95 w 95"/>
                  <a:gd name="T95" fmla="*/ 40 h 98"/>
                  <a:gd name="T96" fmla="*/ 75 w 95"/>
                  <a:gd name="T97" fmla="*/ 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47" y="78"/>
                    </a:moveTo>
                    <a:cubicBezTo>
                      <a:pt x="47" y="78"/>
                      <a:pt x="46" y="77"/>
                      <a:pt x="46" y="77"/>
                    </a:cubicBezTo>
                    <a:cubicBezTo>
                      <a:pt x="45" y="77"/>
                      <a:pt x="45" y="77"/>
                      <a:pt x="45" y="77"/>
                    </a:cubicBezTo>
                    <a:cubicBezTo>
                      <a:pt x="45" y="77"/>
                      <a:pt x="45" y="77"/>
                      <a:pt x="45" y="77"/>
                    </a:cubicBezTo>
                    <a:cubicBezTo>
                      <a:pt x="44" y="77"/>
                      <a:pt x="44" y="77"/>
                      <a:pt x="44" y="77"/>
                    </a:cubicBezTo>
                    <a:cubicBezTo>
                      <a:pt x="44" y="77"/>
                      <a:pt x="43" y="77"/>
                      <a:pt x="43" y="77"/>
                    </a:cubicBezTo>
                    <a:cubicBezTo>
                      <a:pt x="43" y="77"/>
                      <a:pt x="43" y="77"/>
                      <a:pt x="43" y="77"/>
                    </a:cubicBezTo>
                    <a:cubicBezTo>
                      <a:pt x="42" y="77"/>
                      <a:pt x="42" y="77"/>
                      <a:pt x="42" y="77"/>
                    </a:cubicBezTo>
                    <a:cubicBezTo>
                      <a:pt x="41" y="77"/>
                      <a:pt x="41" y="77"/>
                      <a:pt x="41" y="77"/>
                    </a:cubicBezTo>
                    <a:cubicBezTo>
                      <a:pt x="40" y="77"/>
                      <a:pt x="40" y="77"/>
                      <a:pt x="40" y="77"/>
                    </a:cubicBezTo>
                    <a:cubicBezTo>
                      <a:pt x="40" y="77"/>
                      <a:pt x="40" y="77"/>
                      <a:pt x="40" y="77"/>
                    </a:cubicBezTo>
                    <a:cubicBezTo>
                      <a:pt x="40" y="76"/>
                      <a:pt x="39" y="76"/>
                      <a:pt x="39" y="76"/>
                    </a:cubicBezTo>
                    <a:cubicBezTo>
                      <a:pt x="39" y="76"/>
                      <a:pt x="39" y="76"/>
                      <a:pt x="39" y="76"/>
                    </a:cubicBezTo>
                    <a:cubicBezTo>
                      <a:pt x="37" y="76"/>
                      <a:pt x="36" y="75"/>
                      <a:pt x="34" y="74"/>
                    </a:cubicBezTo>
                    <a:cubicBezTo>
                      <a:pt x="33" y="74"/>
                      <a:pt x="33" y="74"/>
                      <a:pt x="33" y="74"/>
                    </a:cubicBezTo>
                    <a:cubicBezTo>
                      <a:pt x="33" y="74"/>
                      <a:pt x="33" y="74"/>
                      <a:pt x="33" y="74"/>
                    </a:cubicBezTo>
                    <a:cubicBezTo>
                      <a:pt x="32" y="73"/>
                      <a:pt x="32" y="73"/>
                      <a:pt x="32" y="73"/>
                    </a:cubicBezTo>
                    <a:cubicBezTo>
                      <a:pt x="32" y="73"/>
                      <a:pt x="32" y="73"/>
                      <a:pt x="32" y="73"/>
                    </a:cubicBezTo>
                    <a:cubicBezTo>
                      <a:pt x="31" y="73"/>
                      <a:pt x="31" y="72"/>
                      <a:pt x="30" y="71"/>
                    </a:cubicBezTo>
                    <a:cubicBezTo>
                      <a:pt x="30" y="71"/>
                      <a:pt x="30" y="71"/>
                      <a:pt x="30" y="71"/>
                    </a:cubicBezTo>
                    <a:cubicBezTo>
                      <a:pt x="29" y="71"/>
                      <a:pt x="29" y="71"/>
                      <a:pt x="29" y="71"/>
                    </a:cubicBezTo>
                    <a:cubicBezTo>
                      <a:pt x="29" y="70"/>
                      <a:pt x="29" y="70"/>
                      <a:pt x="29" y="70"/>
                    </a:cubicBezTo>
                    <a:cubicBezTo>
                      <a:pt x="28" y="70"/>
                      <a:pt x="27" y="69"/>
                      <a:pt x="26" y="68"/>
                    </a:cubicBezTo>
                    <a:cubicBezTo>
                      <a:pt x="26" y="67"/>
                      <a:pt x="26" y="67"/>
                      <a:pt x="26" y="67"/>
                    </a:cubicBezTo>
                    <a:cubicBezTo>
                      <a:pt x="25" y="67"/>
                      <a:pt x="25" y="67"/>
                      <a:pt x="25" y="67"/>
                    </a:cubicBezTo>
                    <a:cubicBezTo>
                      <a:pt x="25" y="67"/>
                      <a:pt x="25" y="67"/>
                      <a:pt x="25" y="67"/>
                    </a:cubicBezTo>
                    <a:cubicBezTo>
                      <a:pt x="25" y="66"/>
                      <a:pt x="24" y="65"/>
                      <a:pt x="24" y="64"/>
                    </a:cubicBezTo>
                    <a:cubicBezTo>
                      <a:pt x="23" y="64"/>
                      <a:pt x="23" y="64"/>
                      <a:pt x="23" y="64"/>
                    </a:cubicBezTo>
                    <a:cubicBezTo>
                      <a:pt x="23" y="63"/>
                      <a:pt x="23" y="63"/>
                      <a:pt x="23" y="63"/>
                    </a:cubicBezTo>
                    <a:cubicBezTo>
                      <a:pt x="23" y="63"/>
                      <a:pt x="23" y="63"/>
                      <a:pt x="23" y="63"/>
                    </a:cubicBezTo>
                    <a:cubicBezTo>
                      <a:pt x="22" y="62"/>
                      <a:pt x="22" y="62"/>
                      <a:pt x="22" y="62"/>
                    </a:cubicBezTo>
                    <a:cubicBezTo>
                      <a:pt x="22" y="61"/>
                      <a:pt x="21" y="59"/>
                      <a:pt x="20" y="57"/>
                    </a:cubicBezTo>
                    <a:cubicBezTo>
                      <a:pt x="20" y="57"/>
                      <a:pt x="20" y="56"/>
                      <a:pt x="20" y="56"/>
                    </a:cubicBezTo>
                    <a:cubicBezTo>
                      <a:pt x="20" y="56"/>
                      <a:pt x="20" y="56"/>
                      <a:pt x="20" y="56"/>
                    </a:cubicBezTo>
                    <a:cubicBezTo>
                      <a:pt x="20" y="55"/>
                      <a:pt x="20" y="55"/>
                      <a:pt x="20" y="55"/>
                    </a:cubicBezTo>
                    <a:cubicBezTo>
                      <a:pt x="20" y="54"/>
                      <a:pt x="20" y="54"/>
                      <a:pt x="20" y="54"/>
                    </a:cubicBezTo>
                    <a:cubicBezTo>
                      <a:pt x="20" y="54"/>
                      <a:pt x="20" y="54"/>
                      <a:pt x="20" y="53"/>
                    </a:cubicBezTo>
                    <a:cubicBezTo>
                      <a:pt x="20" y="53"/>
                      <a:pt x="20" y="53"/>
                      <a:pt x="20" y="53"/>
                    </a:cubicBezTo>
                    <a:cubicBezTo>
                      <a:pt x="19" y="53"/>
                      <a:pt x="19" y="52"/>
                      <a:pt x="19" y="52"/>
                    </a:cubicBezTo>
                    <a:cubicBezTo>
                      <a:pt x="19" y="51"/>
                      <a:pt x="19" y="51"/>
                      <a:pt x="19" y="51"/>
                    </a:cubicBezTo>
                    <a:cubicBezTo>
                      <a:pt x="19" y="50"/>
                      <a:pt x="19" y="50"/>
                      <a:pt x="19" y="50"/>
                    </a:cubicBezTo>
                    <a:cubicBezTo>
                      <a:pt x="19" y="50"/>
                      <a:pt x="19" y="50"/>
                      <a:pt x="19" y="50"/>
                    </a:cubicBezTo>
                    <a:cubicBezTo>
                      <a:pt x="19" y="50"/>
                      <a:pt x="19" y="49"/>
                      <a:pt x="19" y="49"/>
                    </a:cubicBezTo>
                    <a:cubicBezTo>
                      <a:pt x="19" y="48"/>
                      <a:pt x="19" y="48"/>
                      <a:pt x="19" y="47"/>
                    </a:cubicBezTo>
                    <a:cubicBezTo>
                      <a:pt x="19" y="47"/>
                      <a:pt x="19" y="47"/>
                      <a:pt x="19" y="47"/>
                    </a:cubicBezTo>
                    <a:cubicBezTo>
                      <a:pt x="19" y="46"/>
                      <a:pt x="19" y="46"/>
                      <a:pt x="19" y="46"/>
                    </a:cubicBezTo>
                    <a:cubicBezTo>
                      <a:pt x="19" y="46"/>
                      <a:pt x="19" y="46"/>
                      <a:pt x="19" y="46"/>
                    </a:cubicBezTo>
                    <a:cubicBezTo>
                      <a:pt x="19" y="45"/>
                      <a:pt x="19" y="45"/>
                      <a:pt x="20" y="44"/>
                    </a:cubicBezTo>
                    <a:cubicBezTo>
                      <a:pt x="20" y="44"/>
                      <a:pt x="20" y="44"/>
                      <a:pt x="20" y="44"/>
                    </a:cubicBezTo>
                    <a:cubicBezTo>
                      <a:pt x="20" y="44"/>
                      <a:pt x="20" y="43"/>
                      <a:pt x="20" y="43"/>
                    </a:cubicBezTo>
                    <a:cubicBezTo>
                      <a:pt x="20" y="43"/>
                      <a:pt x="20" y="43"/>
                      <a:pt x="20" y="43"/>
                    </a:cubicBezTo>
                    <a:cubicBezTo>
                      <a:pt x="20" y="42"/>
                      <a:pt x="20" y="42"/>
                      <a:pt x="20" y="42"/>
                    </a:cubicBezTo>
                    <a:cubicBezTo>
                      <a:pt x="20" y="41"/>
                      <a:pt x="20" y="41"/>
                      <a:pt x="20" y="41"/>
                    </a:cubicBezTo>
                    <a:cubicBezTo>
                      <a:pt x="20" y="41"/>
                      <a:pt x="20" y="41"/>
                      <a:pt x="20" y="40"/>
                    </a:cubicBezTo>
                    <a:cubicBezTo>
                      <a:pt x="21" y="39"/>
                      <a:pt x="22" y="37"/>
                      <a:pt x="22" y="35"/>
                    </a:cubicBezTo>
                    <a:cubicBezTo>
                      <a:pt x="23" y="34"/>
                      <a:pt x="23" y="34"/>
                      <a:pt x="23" y="34"/>
                    </a:cubicBezTo>
                    <a:cubicBezTo>
                      <a:pt x="23" y="34"/>
                      <a:pt x="23" y="34"/>
                      <a:pt x="23" y="34"/>
                    </a:cubicBezTo>
                    <a:cubicBezTo>
                      <a:pt x="23" y="33"/>
                      <a:pt x="23" y="33"/>
                      <a:pt x="23" y="33"/>
                    </a:cubicBezTo>
                    <a:cubicBezTo>
                      <a:pt x="24" y="33"/>
                      <a:pt x="24" y="33"/>
                      <a:pt x="24" y="33"/>
                    </a:cubicBezTo>
                    <a:cubicBezTo>
                      <a:pt x="24" y="33"/>
                      <a:pt x="25" y="32"/>
                      <a:pt x="25" y="31"/>
                    </a:cubicBezTo>
                    <a:cubicBezTo>
                      <a:pt x="25" y="31"/>
                      <a:pt x="25" y="31"/>
                      <a:pt x="25" y="31"/>
                    </a:cubicBezTo>
                    <a:cubicBezTo>
                      <a:pt x="26" y="30"/>
                      <a:pt x="26" y="30"/>
                      <a:pt x="26" y="30"/>
                    </a:cubicBezTo>
                    <a:cubicBezTo>
                      <a:pt x="26" y="30"/>
                      <a:pt x="26" y="30"/>
                      <a:pt x="26" y="30"/>
                    </a:cubicBezTo>
                    <a:cubicBezTo>
                      <a:pt x="27" y="29"/>
                      <a:pt x="28" y="28"/>
                      <a:pt x="29" y="27"/>
                    </a:cubicBezTo>
                    <a:cubicBezTo>
                      <a:pt x="29" y="27"/>
                      <a:pt x="29" y="27"/>
                      <a:pt x="29" y="27"/>
                    </a:cubicBezTo>
                    <a:cubicBezTo>
                      <a:pt x="30" y="26"/>
                      <a:pt x="30" y="26"/>
                      <a:pt x="30" y="26"/>
                    </a:cubicBezTo>
                    <a:cubicBezTo>
                      <a:pt x="30" y="26"/>
                      <a:pt x="30" y="26"/>
                      <a:pt x="30" y="26"/>
                    </a:cubicBezTo>
                    <a:cubicBezTo>
                      <a:pt x="31" y="26"/>
                      <a:pt x="31" y="25"/>
                      <a:pt x="32" y="24"/>
                    </a:cubicBezTo>
                    <a:cubicBezTo>
                      <a:pt x="32" y="24"/>
                      <a:pt x="32" y="24"/>
                      <a:pt x="32" y="24"/>
                    </a:cubicBezTo>
                    <a:cubicBezTo>
                      <a:pt x="33" y="24"/>
                      <a:pt x="33" y="24"/>
                      <a:pt x="33" y="24"/>
                    </a:cubicBezTo>
                    <a:cubicBezTo>
                      <a:pt x="33" y="24"/>
                      <a:pt x="33" y="24"/>
                      <a:pt x="33" y="24"/>
                    </a:cubicBezTo>
                    <a:cubicBezTo>
                      <a:pt x="34" y="23"/>
                      <a:pt x="34" y="23"/>
                      <a:pt x="34" y="23"/>
                    </a:cubicBezTo>
                    <a:cubicBezTo>
                      <a:pt x="36" y="22"/>
                      <a:pt x="37" y="22"/>
                      <a:pt x="39" y="21"/>
                    </a:cubicBezTo>
                    <a:cubicBezTo>
                      <a:pt x="39" y="21"/>
                      <a:pt x="39" y="21"/>
                      <a:pt x="39" y="21"/>
                    </a:cubicBezTo>
                    <a:cubicBezTo>
                      <a:pt x="39" y="21"/>
                      <a:pt x="39" y="21"/>
                      <a:pt x="39" y="21"/>
                    </a:cubicBezTo>
                    <a:cubicBezTo>
                      <a:pt x="39" y="21"/>
                      <a:pt x="40" y="21"/>
                      <a:pt x="40" y="21"/>
                    </a:cubicBezTo>
                    <a:cubicBezTo>
                      <a:pt x="40" y="21"/>
                      <a:pt x="40" y="21"/>
                      <a:pt x="40" y="21"/>
                    </a:cubicBezTo>
                    <a:cubicBezTo>
                      <a:pt x="41" y="21"/>
                      <a:pt x="41" y="21"/>
                      <a:pt x="41" y="21"/>
                    </a:cubicBezTo>
                    <a:cubicBezTo>
                      <a:pt x="42" y="21"/>
                      <a:pt x="42" y="21"/>
                      <a:pt x="42" y="21"/>
                    </a:cubicBezTo>
                    <a:cubicBezTo>
                      <a:pt x="42" y="20"/>
                      <a:pt x="42" y="20"/>
                      <a:pt x="43" y="20"/>
                    </a:cubicBezTo>
                    <a:cubicBezTo>
                      <a:pt x="43" y="20"/>
                      <a:pt x="43" y="20"/>
                      <a:pt x="43" y="20"/>
                    </a:cubicBezTo>
                    <a:cubicBezTo>
                      <a:pt x="43" y="20"/>
                      <a:pt x="44" y="20"/>
                      <a:pt x="44" y="20"/>
                    </a:cubicBezTo>
                    <a:cubicBezTo>
                      <a:pt x="45" y="20"/>
                      <a:pt x="45" y="20"/>
                      <a:pt x="45" y="20"/>
                    </a:cubicBezTo>
                    <a:cubicBezTo>
                      <a:pt x="45" y="20"/>
                      <a:pt x="45" y="20"/>
                      <a:pt x="45" y="20"/>
                    </a:cubicBezTo>
                    <a:cubicBezTo>
                      <a:pt x="46" y="20"/>
                      <a:pt x="46" y="20"/>
                      <a:pt x="46" y="20"/>
                    </a:cubicBezTo>
                    <a:cubicBezTo>
                      <a:pt x="46" y="20"/>
                      <a:pt x="47" y="20"/>
                      <a:pt x="47" y="20"/>
                    </a:cubicBezTo>
                    <a:cubicBezTo>
                      <a:pt x="48" y="20"/>
                      <a:pt x="48" y="20"/>
                      <a:pt x="48" y="20"/>
                    </a:cubicBezTo>
                    <a:cubicBezTo>
                      <a:pt x="49" y="20"/>
                      <a:pt x="49" y="20"/>
                      <a:pt x="49" y="20"/>
                    </a:cubicBezTo>
                    <a:cubicBezTo>
                      <a:pt x="50" y="20"/>
                      <a:pt x="50" y="20"/>
                      <a:pt x="50" y="20"/>
                    </a:cubicBezTo>
                    <a:cubicBezTo>
                      <a:pt x="50" y="20"/>
                      <a:pt x="50" y="20"/>
                      <a:pt x="50" y="20"/>
                    </a:cubicBezTo>
                    <a:cubicBezTo>
                      <a:pt x="51" y="20"/>
                      <a:pt x="51" y="20"/>
                      <a:pt x="51" y="20"/>
                    </a:cubicBezTo>
                    <a:cubicBezTo>
                      <a:pt x="52" y="20"/>
                      <a:pt x="52" y="20"/>
                      <a:pt x="52" y="20"/>
                    </a:cubicBezTo>
                    <a:cubicBezTo>
                      <a:pt x="52" y="20"/>
                      <a:pt x="52" y="20"/>
                      <a:pt x="53" y="21"/>
                    </a:cubicBezTo>
                    <a:cubicBezTo>
                      <a:pt x="53" y="21"/>
                      <a:pt x="53" y="21"/>
                      <a:pt x="53" y="21"/>
                    </a:cubicBezTo>
                    <a:cubicBezTo>
                      <a:pt x="54" y="21"/>
                      <a:pt x="54" y="21"/>
                      <a:pt x="54" y="21"/>
                    </a:cubicBezTo>
                    <a:cubicBezTo>
                      <a:pt x="54" y="21"/>
                      <a:pt x="54" y="21"/>
                      <a:pt x="54" y="21"/>
                    </a:cubicBezTo>
                    <a:cubicBezTo>
                      <a:pt x="56" y="21"/>
                      <a:pt x="58" y="22"/>
                      <a:pt x="60" y="23"/>
                    </a:cubicBezTo>
                    <a:cubicBezTo>
                      <a:pt x="61" y="24"/>
                      <a:pt x="61" y="24"/>
                      <a:pt x="61" y="24"/>
                    </a:cubicBezTo>
                    <a:cubicBezTo>
                      <a:pt x="61" y="24"/>
                      <a:pt x="61" y="24"/>
                      <a:pt x="61" y="24"/>
                    </a:cubicBezTo>
                    <a:cubicBezTo>
                      <a:pt x="62" y="24"/>
                      <a:pt x="62" y="24"/>
                      <a:pt x="62" y="24"/>
                    </a:cubicBezTo>
                    <a:cubicBezTo>
                      <a:pt x="62" y="24"/>
                      <a:pt x="62" y="24"/>
                      <a:pt x="62" y="24"/>
                    </a:cubicBezTo>
                    <a:cubicBezTo>
                      <a:pt x="63" y="25"/>
                      <a:pt x="64" y="26"/>
                      <a:pt x="64" y="26"/>
                    </a:cubicBezTo>
                    <a:cubicBezTo>
                      <a:pt x="65" y="26"/>
                      <a:pt x="65" y="26"/>
                      <a:pt x="65" y="26"/>
                    </a:cubicBezTo>
                    <a:cubicBezTo>
                      <a:pt x="65" y="27"/>
                      <a:pt x="65" y="27"/>
                      <a:pt x="65" y="27"/>
                    </a:cubicBezTo>
                    <a:cubicBezTo>
                      <a:pt x="65" y="27"/>
                      <a:pt x="65" y="27"/>
                      <a:pt x="65" y="27"/>
                    </a:cubicBezTo>
                    <a:cubicBezTo>
                      <a:pt x="66" y="28"/>
                      <a:pt x="67" y="29"/>
                      <a:pt x="68" y="30"/>
                    </a:cubicBezTo>
                    <a:cubicBezTo>
                      <a:pt x="68" y="30"/>
                      <a:pt x="68" y="30"/>
                      <a:pt x="68" y="30"/>
                    </a:cubicBezTo>
                    <a:cubicBezTo>
                      <a:pt x="69" y="31"/>
                      <a:pt x="69" y="31"/>
                      <a:pt x="69" y="31"/>
                    </a:cubicBezTo>
                    <a:cubicBezTo>
                      <a:pt x="69" y="31"/>
                      <a:pt x="69" y="31"/>
                      <a:pt x="69" y="31"/>
                    </a:cubicBezTo>
                    <a:cubicBezTo>
                      <a:pt x="70" y="32"/>
                      <a:pt x="70" y="33"/>
                      <a:pt x="71" y="33"/>
                    </a:cubicBezTo>
                    <a:cubicBezTo>
                      <a:pt x="71" y="33"/>
                      <a:pt x="71" y="33"/>
                      <a:pt x="71" y="33"/>
                    </a:cubicBezTo>
                    <a:cubicBezTo>
                      <a:pt x="71" y="34"/>
                      <a:pt x="71" y="34"/>
                      <a:pt x="71" y="34"/>
                    </a:cubicBezTo>
                    <a:cubicBezTo>
                      <a:pt x="71" y="34"/>
                      <a:pt x="71" y="34"/>
                      <a:pt x="71" y="34"/>
                    </a:cubicBezTo>
                    <a:cubicBezTo>
                      <a:pt x="72" y="35"/>
                      <a:pt x="72" y="35"/>
                      <a:pt x="72" y="35"/>
                    </a:cubicBezTo>
                    <a:cubicBezTo>
                      <a:pt x="73" y="37"/>
                      <a:pt x="73" y="39"/>
                      <a:pt x="74" y="40"/>
                    </a:cubicBezTo>
                    <a:cubicBezTo>
                      <a:pt x="74" y="41"/>
                      <a:pt x="74" y="41"/>
                      <a:pt x="74" y="41"/>
                    </a:cubicBezTo>
                    <a:cubicBezTo>
                      <a:pt x="74" y="42"/>
                      <a:pt x="74" y="42"/>
                      <a:pt x="74" y="42"/>
                    </a:cubicBezTo>
                    <a:cubicBezTo>
                      <a:pt x="74" y="43"/>
                      <a:pt x="74" y="43"/>
                      <a:pt x="74" y="43"/>
                    </a:cubicBezTo>
                    <a:cubicBezTo>
                      <a:pt x="75" y="43"/>
                      <a:pt x="75" y="43"/>
                      <a:pt x="75" y="43"/>
                    </a:cubicBezTo>
                    <a:cubicBezTo>
                      <a:pt x="75" y="43"/>
                      <a:pt x="75" y="44"/>
                      <a:pt x="75" y="44"/>
                    </a:cubicBezTo>
                    <a:cubicBezTo>
                      <a:pt x="75" y="44"/>
                      <a:pt x="75" y="44"/>
                      <a:pt x="75" y="44"/>
                    </a:cubicBezTo>
                    <a:cubicBezTo>
                      <a:pt x="75" y="45"/>
                      <a:pt x="75" y="45"/>
                      <a:pt x="75" y="46"/>
                    </a:cubicBezTo>
                    <a:cubicBezTo>
                      <a:pt x="75" y="46"/>
                      <a:pt x="75" y="46"/>
                      <a:pt x="75" y="46"/>
                    </a:cubicBezTo>
                    <a:cubicBezTo>
                      <a:pt x="75" y="47"/>
                      <a:pt x="75" y="47"/>
                      <a:pt x="75" y="47"/>
                    </a:cubicBezTo>
                    <a:cubicBezTo>
                      <a:pt x="75" y="47"/>
                      <a:pt x="75" y="47"/>
                      <a:pt x="75" y="47"/>
                    </a:cubicBezTo>
                    <a:cubicBezTo>
                      <a:pt x="75" y="48"/>
                      <a:pt x="75" y="48"/>
                      <a:pt x="75" y="49"/>
                    </a:cubicBezTo>
                    <a:cubicBezTo>
                      <a:pt x="75" y="49"/>
                      <a:pt x="75" y="50"/>
                      <a:pt x="75" y="50"/>
                    </a:cubicBezTo>
                    <a:cubicBezTo>
                      <a:pt x="75" y="50"/>
                      <a:pt x="75" y="50"/>
                      <a:pt x="75" y="50"/>
                    </a:cubicBezTo>
                    <a:cubicBezTo>
                      <a:pt x="75" y="51"/>
                      <a:pt x="75" y="51"/>
                      <a:pt x="75" y="51"/>
                    </a:cubicBezTo>
                    <a:cubicBezTo>
                      <a:pt x="75" y="52"/>
                      <a:pt x="75" y="52"/>
                      <a:pt x="75" y="52"/>
                    </a:cubicBezTo>
                    <a:cubicBezTo>
                      <a:pt x="75" y="52"/>
                      <a:pt x="75" y="53"/>
                      <a:pt x="75" y="53"/>
                    </a:cubicBezTo>
                    <a:cubicBezTo>
                      <a:pt x="75" y="53"/>
                      <a:pt x="75" y="53"/>
                      <a:pt x="75" y="53"/>
                    </a:cubicBezTo>
                    <a:cubicBezTo>
                      <a:pt x="75" y="54"/>
                      <a:pt x="75" y="54"/>
                      <a:pt x="75" y="54"/>
                    </a:cubicBezTo>
                    <a:cubicBezTo>
                      <a:pt x="74" y="55"/>
                      <a:pt x="74" y="55"/>
                      <a:pt x="74" y="55"/>
                    </a:cubicBezTo>
                    <a:cubicBezTo>
                      <a:pt x="74" y="56"/>
                      <a:pt x="74" y="56"/>
                      <a:pt x="74" y="56"/>
                    </a:cubicBezTo>
                    <a:cubicBezTo>
                      <a:pt x="74" y="56"/>
                      <a:pt x="74" y="56"/>
                      <a:pt x="74" y="56"/>
                    </a:cubicBezTo>
                    <a:cubicBezTo>
                      <a:pt x="74" y="56"/>
                      <a:pt x="74" y="57"/>
                      <a:pt x="74" y="57"/>
                    </a:cubicBezTo>
                    <a:cubicBezTo>
                      <a:pt x="73" y="59"/>
                      <a:pt x="73" y="61"/>
                      <a:pt x="72" y="62"/>
                    </a:cubicBezTo>
                    <a:cubicBezTo>
                      <a:pt x="71" y="63"/>
                      <a:pt x="71" y="63"/>
                      <a:pt x="71" y="63"/>
                    </a:cubicBezTo>
                    <a:cubicBezTo>
                      <a:pt x="71" y="63"/>
                      <a:pt x="71" y="63"/>
                      <a:pt x="71" y="63"/>
                    </a:cubicBezTo>
                    <a:cubicBezTo>
                      <a:pt x="71" y="64"/>
                      <a:pt x="71" y="64"/>
                      <a:pt x="71" y="64"/>
                    </a:cubicBezTo>
                    <a:cubicBezTo>
                      <a:pt x="71" y="64"/>
                      <a:pt x="71" y="64"/>
                      <a:pt x="71" y="64"/>
                    </a:cubicBezTo>
                    <a:cubicBezTo>
                      <a:pt x="70" y="65"/>
                      <a:pt x="70" y="66"/>
                      <a:pt x="69" y="67"/>
                    </a:cubicBezTo>
                    <a:cubicBezTo>
                      <a:pt x="69" y="67"/>
                      <a:pt x="69" y="67"/>
                      <a:pt x="69" y="67"/>
                    </a:cubicBezTo>
                    <a:cubicBezTo>
                      <a:pt x="68" y="67"/>
                      <a:pt x="68" y="67"/>
                      <a:pt x="68" y="67"/>
                    </a:cubicBezTo>
                    <a:cubicBezTo>
                      <a:pt x="68" y="68"/>
                      <a:pt x="68" y="68"/>
                      <a:pt x="68" y="68"/>
                    </a:cubicBezTo>
                    <a:cubicBezTo>
                      <a:pt x="67" y="69"/>
                      <a:pt x="66" y="70"/>
                      <a:pt x="65" y="70"/>
                    </a:cubicBezTo>
                    <a:cubicBezTo>
                      <a:pt x="65" y="71"/>
                      <a:pt x="65" y="71"/>
                      <a:pt x="65" y="71"/>
                    </a:cubicBezTo>
                    <a:cubicBezTo>
                      <a:pt x="65" y="71"/>
                      <a:pt x="65" y="71"/>
                      <a:pt x="65" y="71"/>
                    </a:cubicBezTo>
                    <a:cubicBezTo>
                      <a:pt x="64" y="71"/>
                      <a:pt x="64" y="71"/>
                      <a:pt x="64" y="71"/>
                    </a:cubicBezTo>
                    <a:cubicBezTo>
                      <a:pt x="64" y="72"/>
                      <a:pt x="63" y="73"/>
                      <a:pt x="62" y="73"/>
                    </a:cubicBezTo>
                    <a:cubicBezTo>
                      <a:pt x="62" y="73"/>
                      <a:pt x="62" y="73"/>
                      <a:pt x="62" y="73"/>
                    </a:cubicBezTo>
                    <a:cubicBezTo>
                      <a:pt x="61" y="74"/>
                      <a:pt x="61" y="74"/>
                      <a:pt x="61" y="74"/>
                    </a:cubicBezTo>
                    <a:cubicBezTo>
                      <a:pt x="61" y="74"/>
                      <a:pt x="61" y="74"/>
                      <a:pt x="61" y="74"/>
                    </a:cubicBezTo>
                    <a:cubicBezTo>
                      <a:pt x="60" y="74"/>
                      <a:pt x="60" y="74"/>
                      <a:pt x="60" y="74"/>
                    </a:cubicBezTo>
                    <a:cubicBezTo>
                      <a:pt x="58" y="75"/>
                      <a:pt x="56" y="76"/>
                      <a:pt x="54" y="77"/>
                    </a:cubicBezTo>
                    <a:cubicBezTo>
                      <a:pt x="54" y="77"/>
                      <a:pt x="54" y="77"/>
                      <a:pt x="54" y="77"/>
                    </a:cubicBezTo>
                    <a:cubicBezTo>
                      <a:pt x="53" y="77"/>
                      <a:pt x="53" y="77"/>
                      <a:pt x="53" y="77"/>
                    </a:cubicBezTo>
                    <a:cubicBezTo>
                      <a:pt x="53" y="77"/>
                      <a:pt x="53" y="77"/>
                      <a:pt x="53" y="77"/>
                    </a:cubicBezTo>
                    <a:cubicBezTo>
                      <a:pt x="52" y="77"/>
                      <a:pt x="52" y="77"/>
                      <a:pt x="52" y="77"/>
                    </a:cubicBezTo>
                    <a:cubicBezTo>
                      <a:pt x="51" y="77"/>
                      <a:pt x="51" y="77"/>
                      <a:pt x="51" y="77"/>
                    </a:cubicBezTo>
                    <a:cubicBezTo>
                      <a:pt x="51" y="77"/>
                      <a:pt x="51" y="77"/>
                      <a:pt x="50" y="77"/>
                    </a:cubicBezTo>
                    <a:cubicBezTo>
                      <a:pt x="50" y="77"/>
                      <a:pt x="50" y="77"/>
                      <a:pt x="50" y="77"/>
                    </a:cubicBezTo>
                    <a:cubicBezTo>
                      <a:pt x="49" y="77"/>
                      <a:pt x="49" y="77"/>
                      <a:pt x="49" y="77"/>
                    </a:cubicBezTo>
                    <a:cubicBezTo>
                      <a:pt x="48" y="77"/>
                      <a:pt x="48" y="77"/>
                      <a:pt x="48" y="77"/>
                    </a:cubicBezTo>
                    <a:cubicBezTo>
                      <a:pt x="48" y="77"/>
                      <a:pt x="48" y="78"/>
                      <a:pt x="47" y="78"/>
                    </a:cubicBezTo>
                    <a:moveTo>
                      <a:pt x="55" y="0"/>
                    </a:moveTo>
                    <a:cubicBezTo>
                      <a:pt x="39" y="0"/>
                      <a:pt x="39" y="0"/>
                      <a:pt x="39" y="0"/>
                    </a:cubicBezTo>
                    <a:cubicBezTo>
                      <a:pt x="39" y="10"/>
                      <a:pt x="39" y="10"/>
                      <a:pt x="39" y="10"/>
                    </a:cubicBezTo>
                    <a:cubicBezTo>
                      <a:pt x="34" y="11"/>
                      <a:pt x="30" y="12"/>
                      <a:pt x="26" y="15"/>
                    </a:cubicBezTo>
                    <a:cubicBezTo>
                      <a:pt x="19" y="8"/>
                      <a:pt x="19" y="8"/>
                      <a:pt x="19" y="8"/>
                    </a:cubicBezTo>
                    <a:cubicBezTo>
                      <a:pt x="8" y="20"/>
                      <a:pt x="8" y="20"/>
                      <a:pt x="8" y="20"/>
                    </a:cubicBezTo>
                    <a:cubicBezTo>
                      <a:pt x="14" y="27"/>
                      <a:pt x="14" y="27"/>
                      <a:pt x="14" y="27"/>
                    </a:cubicBezTo>
                    <a:cubicBezTo>
                      <a:pt x="12" y="31"/>
                      <a:pt x="10" y="35"/>
                      <a:pt x="9" y="40"/>
                    </a:cubicBezTo>
                    <a:cubicBezTo>
                      <a:pt x="0" y="40"/>
                      <a:pt x="0" y="40"/>
                      <a:pt x="0" y="40"/>
                    </a:cubicBezTo>
                    <a:cubicBezTo>
                      <a:pt x="0" y="57"/>
                      <a:pt x="0" y="57"/>
                      <a:pt x="0" y="57"/>
                    </a:cubicBezTo>
                    <a:cubicBezTo>
                      <a:pt x="9" y="57"/>
                      <a:pt x="9" y="57"/>
                      <a:pt x="9" y="57"/>
                    </a:cubicBezTo>
                    <a:cubicBezTo>
                      <a:pt x="10" y="62"/>
                      <a:pt x="12" y="66"/>
                      <a:pt x="14" y="70"/>
                    </a:cubicBezTo>
                    <a:cubicBezTo>
                      <a:pt x="8" y="77"/>
                      <a:pt x="8" y="77"/>
                      <a:pt x="8" y="77"/>
                    </a:cubicBezTo>
                    <a:cubicBezTo>
                      <a:pt x="19" y="89"/>
                      <a:pt x="19" y="89"/>
                      <a:pt x="19" y="89"/>
                    </a:cubicBezTo>
                    <a:cubicBezTo>
                      <a:pt x="26" y="82"/>
                      <a:pt x="26" y="82"/>
                      <a:pt x="26" y="82"/>
                    </a:cubicBezTo>
                    <a:cubicBezTo>
                      <a:pt x="30" y="85"/>
                      <a:pt x="34" y="87"/>
                      <a:pt x="39" y="88"/>
                    </a:cubicBezTo>
                    <a:cubicBezTo>
                      <a:pt x="39" y="98"/>
                      <a:pt x="39" y="98"/>
                      <a:pt x="39" y="98"/>
                    </a:cubicBezTo>
                    <a:cubicBezTo>
                      <a:pt x="55" y="98"/>
                      <a:pt x="55" y="98"/>
                      <a:pt x="55" y="98"/>
                    </a:cubicBezTo>
                    <a:cubicBezTo>
                      <a:pt x="55" y="88"/>
                      <a:pt x="55" y="88"/>
                      <a:pt x="55" y="88"/>
                    </a:cubicBezTo>
                    <a:cubicBezTo>
                      <a:pt x="60" y="87"/>
                      <a:pt x="64" y="85"/>
                      <a:pt x="68" y="82"/>
                    </a:cubicBezTo>
                    <a:cubicBezTo>
                      <a:pt x="75" y="89"/>
                      <a:pt x="75" y="89"/>
                      <a:pt x="75" y="89"/>
                    </a:cubicBezTo>
                    <a:cubicBezTo>
                      <a:pt x="87" y="77"/>
                      <a:pt x="87" y="77"/>
                      <a:pt x="87" y="77"/>
                    </a:cubicBezTo>
                    <a:cubicBezTo>
                      <a:pt x="80" y="70"/>
                      <a:pt x="80" y="70"/>
                      <a:pt x="80" y="70"/>
                    </a:cubicBezTo>
                    <a:cubicBezTo>
                      <a:pt x="82" y="66"/>
                      <a:pt x="84" y="62"/>
                      <a:pt x="85" y="57"/>
                    </a:cubicBezTo>
                    <a:cubicBezTo>
                      <a:pt x="95" y="57"/>
                      <a:pt x="95" y="57"/>
                      <a:pt x="95" y="57"/>
                    </a:cubicBezTo>
                    <a:cubicBezTo>
                      <a:pt x="95" y="40"/>
                      <a:pt x="95" y="40"/>
                      <a:pt x="95" y="40"/>
                    </a:cubicBezTo>
                    <a:cubicBezTo>
                      <a:pt x="85" y="40"/>
                      <a:pt x="85" y="40"/>
                      <a:pt x="85" y="40"/>
                    </a:cubicBezTo>
                    <a:cubicBezTo>
                      <a:pt x="84" y="35"/>
                      <a:pt x="82" y="31"/>
                      <a:pt x="80" y="27"/>
                    </a:cubicBezTo>
                    <a:cubicBezTo>
                      <a:pt x="87" y="20"/>
                      <a:pt x="87" y="20"/>
                      <a:pt x="87" y="20"/>
                    </a:cubicBezTo>
                    <a:cubicBezTo>
                      <a:pt x="75" y="8"/>
                      <a:pt x="75" y="8"/>
                      <a:pt x="75" y="8"/>
                    </a:cubicBezTo>
                    <a:cubicBezTo>
                      <a:pt x="68" y="15"/>
                      <a:pt x="68" y="15"/>
                      <a:pt x="68" y="15"/>
                    </a:cubicBezTo>
                    <a:cubicBezTo>
                      <a:pt x="64" y="12"/>
                      <a:pt x="60" y="11"/>
                      <a:pt x="55" y="10"/>
                    </a:cubicBezTo>
                    <a:cubicBezTo>
                      <a:pt x="55" y="0"/>
                      <a:pt x="55" y="0"/>
                      <a:pt x="5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674">
                <a:extLst>
                  <a:ext uri="{FF2B5EF4-FFF2-40B4-BE49-F238E27FC236}">
                    <a16:creationId xmlns:a16="http://schemas.microsoft.com/office/drawing/2014/main" id="{F3613EC5-E6F7-4E4F-B6A1-2EF959C24582}"/>
                  </a:ext>
                </a:extLst>
              </p:cNvPr>
              <p:cNvSpPr>
                <a:spLocks noEditPoints="1"/>
              </p:cNvSpPr>
              <p:nvPr/>
            </p:nvSpPr>
            <p:spPr bwMode="auto">
              <a:xfrm>
                <a:off x="4312602" y="8347075"/>
                <a:ext cx="236538" cy="234950"/>
              </a:xfrm>
              <a:custGeom>
                <a:avLst/>
                <a:gdLst>
                  <a:gd name="T0" fmla="*/ 52 w 121"/>
                  <a:gd name="T1" fmla="*/ 112 h 120"/>
                  <a:gd name="T2" fmla="*/ 7 w 121"/>
                  <a:gd name="T3" fmla="*/ 60 h 120"/>
                  <a:gd name="T4" fmla="*/ 60 w 121"/>
                  <a:gd name="T5" fmla="*/ 7 h 120"/>
                  <a:gd name="T6" fmla="*/ 114 w 121"/>
                  <a:gd name="T7" fmla="*/ 60 h 120"/>
                  <a:gd name="T8" fmla="*/ 68 w 121"/>
                  <a:gd name="T9" fmla="*/ 113 h 120"/>
                  <a:gd name="T10" fmla="*/ 68 w 121"/>
                  <a:gd name="T11" fmla="*/ 62 h 120"/>
                  <a:gd name="T12" fmla="*/ 68 w 121"/>
                  <a:gd name="T13" fmla="*/ 43 h 120"/>
                  <a:gd name="T14" fmla="*/ 76 w 121"/>
                  <a:gd name="T15" fmla="*/ 51 h 120"/>
                  <a:gd name="T16" fmla="*/ 76 w 121"/>
                  <a:gd name="T17" fmla="*/ 51 h 120"/>
                  <a:gd name="T18" fmla="*/ 78 w 121"/>
                  <a:gd name="T19" fmla="*/ 53 h 120"/>
                  <a:gd name="T20" fmla="*/ 84 w 121"/>
                  <a:gd name="T21" fmla="*/ 56 h 120"/>
                  <a:gd name="T22" fmla="*/ 89 w 121"/>
                  <a:gd name="T23" fmla="*/ 54 h 120"/>
                  <a:gd name="T24" fmla="*/ 89 w 121"/>
                  <a:gd name="T25" fmla="*/ 42 h 120"/>
                  <a:gd name="T26" fmla="*/ 79 w 121"/>
                  <a:gd name="T27" fmla="*/ 32 h 120"/>
                  <a:gd name="T28" fmla="*/ 60 w 121"/>
                  <a:gd name="T29" fmla="*/ 12 h 120"/>
                  <a:gd name="T30" fmla="*/ 31 w 121"/>
                  <a:gd name="T31" fmla="*/ 42 h 120"/>
                  <a:gd name="T32" fmla="*/ 31 w 121"/>
                  <a:gd name="T33" fmla="*/ 54 h 120"/>
                  <a:gd name="T34" fmla="*/ 36 w 121"/>
                  <a:gd name="T35" fmla="*/ 56 h 120"/>
                  <a:gd name="T36" fmla="*/ 42 w 121"/>
                  <a:gd name="T37" fmla="*/ 53 h 120"/>
                  <a:gd name="T38" fmla="*/ 52 w 121"/>
                  <a:gd name="T39" fmla="*/ 43 h 120"/>
                  <a:gd name="T40" fmla="*/ 52 w 121"/>
                  <a:gd name="T41" fmla="*/ 71 h 120"/>
                  <a:gd name="T42" fmla="*/ 52 w 121"/>
                  <a:gd name="T43" fmla="*/ 112 h 120"/>
                  <a:gd name="T44" fmla="*/ 60 w 121"/>
                  <a:gd name="T45" fmla="*/ 0 h 120"/>
                  <a:gd name="T46" fmla="*/ 0 w 121"/>
                  <a:gd name="T47" fmla="*/ 60 h 120"/>
                  <a:gd name="T48" fmla="*/ 60 w 121"/>
                  <a:gd name="T49" fmla="*/ 120 h 120"/>
                  <a:gd name="T50" fmla="*/ 121 w 121"/>
                  <a:gd name="T51" fmla="*/ 60 h 120"/>
                  <a:gd name="T52" fmla="*/ 60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2"/>
                    </a:moveTo>
                    <a:cubicBezTo>
                      <a:pt x="27" y="108"/>
                      <a:pt x="7" y="86"/>
                      <a:pt x="7" y="60"/>
                    </a:cubicBezTo>
                    <a:cubicBezTo>
                      <a:pt x="7" y="31"/>
                      <a:pt x="31" y="7"/>
                      <a:pt x="60" y="7"/>
                    </a:cubicBez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3"/>
                      <a:pt x="78" y="53"/>
                      <a:pt x="78" y="53"/>
                    </a:cubicBezTo>
                    <a:cubicBezTo>
                      <a:pt x="79" y="55"/>
                      <a:pt x="81" y="56"/>
                      <a:pt x="84" y="56"/>
                    </a:cubicBezTo>
                    <a:cubicBezTo>
                      <a:pt x="86" y="56"/>
                      <a:pt x="87" y="55"/>
                      <a:pt x="89" y="54"/>
                    </a:cubicBezTo>
                    <a:cubicBezTo>
                      <a:pt x="92" y="51"/>
                      <a:pt x="92" y="45"/>
                      <a:pt x="89" y="42"/>
                    </a:cubicBezTo>
                    <a:cubicBezTo>
                      <a:pt x="79" y="32"/>
                      <a:pt x="79" y="32"/>
                      <a:pt x="79" y="32"/>
                    </a:cubicBezTo>
                    <a:cubicBezTo>
                      <a:pt x="60" y="12"/>
                      <a:pt x="60" y="12"/>
                      <a:pt x="60" y="12"/>
                    </a:cubicBezTo>
                    <a:cubicBezTo>
                      <a:pt x="31" y="42"/>
                      <a:pt x="31" y="42"/>
                      <a:pt x="31" y="42"/>
                    </a:cubicBezTo>
                    <a:cubicBezTo>
                      <a:pt x="28" y="45"/>
                      <a:pt x="28" y="51"/>
                      <a:pt x="31" y="54"/>
                    </a:cubicBezTo>
                    <a:cubicBezTo>
                      <a:pt x="32" y="55"/>
                      <a:pt x="34" y="56"/>
                      <a:pt x="36" y="56"/>
                    </a:cubicBezTo>
                    <a:cubicBezTo>
                      <a:pt x="39" y="56"/>
                      <a:pt x="41" y="55"/>
                      <a:pt x="42" y="53"/>
                    </a:cubicBezTo>
                    <a:cubicBezTo>
                      <a:pt x="52" y="43"/>
                      <a:pt x="52" y="43"/>
                      <a:pt x="52" y="43"/>
                    </a:cubicBezTo>
                    <a:cubicBezTo>
                      <a:pt x="52" y="71"/>
                      <a:pt x="52" y="71"/>
                      <a:pt x="52" y="71"/>
                    </a:cubicBezTo>
                    <a:cubicBezTo>
                      <a:pt x="52" y="112"/>
                      <a:pt x="52" y="112"/>
                      <a:pt x="52" y="112"/>
                    </a:cubicBezTo>
                    <a:moveTo>
                      <a:pt x="60" y="0"/>
                    </a:moveTo>
                    <a:cubicBezTo>
                      <a:pt x="27" y="0"/>
                      <a:pt x="0" y="27"/>
                      <a:pt x="0" y="60"/>
                    </a:cubicBezTo>
                    <a:cubicBezTo>
                      <a:pt x="0" y="93"/>
                      <a:pt x="27" y="120"/>
                      <a:pt x="60" y="120"/>
                    </a:cubicBezTo>
                    <a:cubicBezTo>
                      <a:pt x="94" y="120"/>
                      <a:pt x="121" y="93"/>
                      <a:pt x="121" y="60"/>
                    </a:cubicBezTo>
                    <a:cubicBezTo>
                      <a:pt x="121" y="27"/>
                      <a:pt x="94" y="0"/>
                      <a:pt x="6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Freeform 1644">
              <a:extLst>
                <a:ext uri="{FF2B5EF4-FFF2-40B4-BE49-F238E27FC236}">
                  <a16:creationId xmlns:a16="http://schemas.microsoft.com/office/drawing/2014/main" id="{2CFDF17D-2E79-430F-9D71-096199406E06}"/>
                </a:ext>
              </a:extLst>
            </p:cNvPr>
            <p:cNvSpPr>
              <a:spLocks noEditPoints="1"/>
            </p:cNvSpPr>
            <p:nvPr/>
          </p:nvSpPr>
          <p:spPr bwMode="auto">
            <a:xfrm rot="18721825" flipH="1">
              <a:off x="5680262" y="5577558"/>
              <a:ext cx="323850" cy="322263"/>
            </a:xfrm>
            <a:custGeom>
              <a:avLst/>
              <a:gdLst>
                <a:gd name="T0" fmla="*/ 50 w 165"/>
                <a:gd name="T1" fmla="*/ 49 h 164"/>
                <a:gd name="T2" fmla="*/ 116 w 165"/>
                <a:gd name="T3" fmla="*/ 115 h 164"/>
                <a:gd name="T4" fmla="*/ 31 w 165"/>
                <a:gd name="T5" fmla="*/ 82 h 164"/>
                <a:gd name="T6" fmla="*/ 134 w 165"/>
                <a:gd name="T7" fmla="*/ 82 h 164"/>
                <a:gd name="T8" fmla="*/ 69 w 165"/>
                <a:gd name="T9" fmla="*/ 24 h 164"/>
                <a:gd name="T10" fmla="*/ 82 w 165"/>
                <a:gd name="T11" fmla="*/ 5 h 164"/>
                <a:gd name="T12" fmla="*/ 93 w 165"/>
                <a:gd name="T13" fmla="*/ 24 h 164"/>
                <a:gd name="T14" fmla="*/ 111 w 165"/>
                <a:gd name="T15" fmla="*/ 11 h 164"/>
                <a:gd name="T16" fmla="*/ 117 w 165"/>
                <a:gd name="T17" fmla="*/ 32 h 164"/>
                <a:gd name="T18" fmla="*/ 137 w 165"/>
                <a:gd name="T19" fmla="*/ 27 h 164"/>
                <a:gd name="T20" fmla="*/ 140 w 165"/>
                <a:gd name="T21" fmla="*/ 51 h 164"/>
                <a:gd name="T22" fmla="*/ 154 w 165"/>
                <a:gd name="T23" fmla="*/ 52 h 164"/>
                <a:gd name="T24" fmla="*/ 155 w 165"/>
                <a:gd name="T25" fmla="*/ 78 h 164"/>
                <a:gd name="T26" fmla="*/ 155 w 165"/>
                <a:gd name="T27" fmla="*/ 86 h 164"/>
                <a:gd name="T28" fmla="*/ 154 w 165"/>
                <a:gd name="T29" fmla="*/ 111 h 164"/>
                <a:gd name="T30" fmla="*/ 140 w 165"/>
                <a:gd name="T31" fmla="*/ 113 h 164"/>
                <a:gd name="T32" fmla="*/ 137 w 165"/>
                <a:gd name="T33" fmla="*/ 136 h 164"/>
                <a:gd name="T34" fmla="*/ 118 w 165"/>
                <a:gd name="T35" fmla="*/ 131 h 164"/>
                <a:gd name="T36" fmla="*/ 115 w 165"/>
                <a:gd name="T37" fmla="*/ 152 h 164"/>
                <a:gd name="T38" fmla="*/ 96 w 165"/>
                <a:gd name="T39" fmla="*/ 140 h 164"/>
                <a:gd name="T40" fmla="*/ 86 w 165"/>
                <a:gd name="T41" fmla="*/ 159 h 164"/>
                <a:gd name="T42" fmla="*/ 72 w 165"/>
                <a:gd name="T43" fmla="*/ 141 h 164"/>
                <a:gd name="T44" fmla="*/ 58 w 165"/>
                <a:gd name="T45" fmla="*/ 155 h 164"/>
                <a:gd name="T46" fmla="*/ 51 w 165"/>
                <a:gd name="T47" fmla="*/ 132 h 164"/>
                <a:gd name="T48" fmla="*/ 30 w 165"/>
                <a:gd name="T49" fmla="*/ 138 h 164"/>
                <a:gd name="T50" fmla="*/ 33 w 165"/>
                <a:gd name="T51" fmla="*/ 115 h 164"/>
                <a:gd name="T52" fmla="*/ 12 w 165"/>
                <a:gd name="T53" fmla="*/ 113 h 164"/>
                <a:gd name="T54" fmla="*/ 24 w 165"/>
                <a:gd name="T55" fmla="*/ 93 h 164"/>
                <a:gd name="T56" fmla="*/ 10 w 165"/>
                <a:gd name="T57" fmla="*/ 79 h 164"/>
                <a:gd name="T58" fmla="*/ 11 w 165"/>
                <a:gd name="T59" fmla="*/ 54 h 164"/>
                <a:gd name="T60" fmla="*/ 24 w 165"/>
                <a:gd name="T61" fmla="*/ 52 h 164"/>
                <a:gd name="T62" fmla="*/ 28 w 165"/>
                <a:gd name="T63" fmla="*/ 28 h 164"/>
                <a:gd name="T64" fmla="*/ 47 w 165"/>
                <a:gd name="T65" fmla="*/ 33 h 164"/>
                <a:gd name="T66" fmla="*/ 52 w 165"/>
                <a:gd name="T67" fmla="*/ 12 h 164"/>
                <a:gd name="T68" fmla="*/ 68 w 165"/>
                <a:gd name="T69" fmla="*/ 24 h 164"/>
                <a:gd name="T70" fmla="*/ 72 w 165"/>
                <a:gd name="T71" fmla="*/ 9 h 164"/>
                <a:gd name="T72" fmla="*/ 50 w 165"/>
                <a:gd name="T73" fmla="*/ 7 h 164"/>
                <a:gd name="T74" fmla="*/ 37 w 165"/>
                <a:gd name="T75" fmla="*/ 24 h 164"/>
                <a:gd name="T76" fmla="*/ 24 w 165"/>
                <a:gd name="T77" fmla="*/ 37 h 164"/>
                <a:gd name="T78" fmla="*/ 14 w 165"/>
                <a:gd name="T79" fmla="*/ 46 h 164"/>
                <a:gd name="T80" fmla="*/ 19 w 165"/>
                <a:gd name="T81" fmla="*/ 70 h 164"/>
                <a:gd name="T82" fmla="*/ 9 w 165"/>
                <a:gd name="T83" fmla="*/ 92 h 164"/>
                <a:gd name="T84" fmla="*/ 8 w 165"/>
                <a:gd name="T85" fmla="*/ 115 h 164"/>
                <a:gd name="T86" fmla="*/ 29 w 165"/>
                <a:gd name="T87" fmla="*/ 119 h 164"/>
                <a:gd name="T88" fmla="*/ 32 w 165"/>
                <a:gd name="T89" fmla="*/ 145 h 164"/>
                <a:gd name="T90" fmla="*/ 48 w 165"/>
                <a:gd name="T91" fmla="*/ 148 h 164"/>
                <a:gd name="T92" fmla="*/ 65 w 165"/>
                <a:gd name="T93" fmla="*/ 154 h 164"/>
                <a:gd name="T94" fmla="*/ 85 w 165"/>
                <a:gd name="T95" fmla="*/ 164 h 164"/>
                <a:gd name="T96" fmla="*/ 105 w 165"/>
                <a:gd name="T97" fmla="*/ 153 h 164"/>
                <a:gd name="T98" fmla="*/ 121 w 165"/>
                <a:gd name="T99" fmla="*/ 145 h 164"/>
                <a:gd name="T100" fmla="*/ 140 w 165"/>
                <a:gd name="T101" fmla="*/ 141 h 164"/>
                <a:gd name="T102" fmla="*/ 140 w 165"/>
                <a:gd name="T103" fmla="*/ 118 h 164"/>
                <a:gd name="T104" fmla="*/ 158 w 165"/>
                <a:gd name="T105" fmla="*/ 113 h 164"/>
                <a:gd name="T106" fmla="*/ 165 w 165"/>
                <a:gd name="T107" fmla="*/ 82 h 164"/>
                <a:gd name="T108" fmla="*/ 146 w 165"/>
                <a:gd name="T109" fmla="*/ 69 h 164"/>
                <a:gd name="T110" fmla="*/ 151 w 165"/>
                <a:gd name="T111" fmla="*/ 44 h 164"/>
                <a:gd name="T112" fmla="*/ 140 w 165"/>
                <a:gd name="T113" fmla="*/ 36 h 164"/>
                <a:gd name="T114" fmla="*/ 127 w 165"/>
                <a:gd name="T115" fmla="*/ 23 h 164"/>
                <a:gd name="T116" fmla="*/ 112 w 165"/>
                <a:gd name="T117" fmla="*/ 6 h 164"/>
                <a:gd name="T118" fmla="*/ 90 w 165"/>
                <a:gd name="T119"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4">
                  <a:moveTo>
                    <a:pt x="83" y="129"/>
                  </a:moveTo>
                  <a:cubicBezTo>
                    <a:pt x="70" y="129"/>
                    <a:pt x="58" y="124"/>
                    <a:pt x="50" y="115"/>
                  </a:cubicBezTo>
                  <a:cubicBezTo>
                    <a:pt x="41" y="106"/>
                    <a:pt x="36" y="95"/>
                    <a:pt x="36" y="82"/>
                  </a:cubicBezTo>
                  <a:cubicBezTo>
                    <a:pt x="36" y="70"/>
                    <a:pt x="41" y="58"/>
                    <a:pt x="50" y="49"/>
                  </a:cubicBezTo>
                  <a:cubicBezTo>
                    <a:pt x="58" y="40"/>
                    <a:pt x="70" y="35"/>
                    <a:pt x="83" y="35"/>
                  </a:cubicBezTo>
                  <a:cubicBezTo>
                    <a:pt x="95" y="35"/>
                    <a:pt x="107" y="40"/>
                    <a:pt x="116" y="49"/>
                  </a:cubicBezTo>
                  <a:cubicBezTo>
                    <a:pt x="124" y="58"/>
                    <a:pt x="129" y="70"/>
                    <a:pt x="129" y="82"/>
                  </a:cubicBezTo>
                  <a:cubicBezTo>
                    <a:pt x="129" y="95"/>
                    <a:pt x="124" y="106"/>
                    <a:pt x="116" y="115"/>
                  </a:cubicBezTo>
                  <a:cubicBezTo>
                    <a:pt x="107" y="124"/>
                    <a:pt x="95" y="129"/>
                    <a:pt x="83" y="129"/>
                  </a:cubicBezTo>
                  <a:moveTo>
                    <a:pt x="83" y="30"/>
                  </a:moveTo>
                  <a:cubicBezTo>
                    <a:pt x="69" y="30"/>
                    <a:pt x="56" y="36"/>
                    <a:pt x="46" y="46"/>
                  </a:cubicBezTo>
                  <a:cubicBezTo>
                    <a:pt x="36" y="55"/>
                    <a:pt x="31" y="68"/>
                    <a:pt x="31" y="82"/>
                  </a:cubicBezTo>
                  <a:cubicBezTo>
                    <a:pt x="31" y="96"/>
                    <a:pt x="36" y="109"/>
                    <a:pt x="46" y="119"/>
                  </a:cubicBezTo>
                  <a:cubicBezTo>
                    <a:pt x="56" y="129"/>
                    <a:pt x="69" y="134"/>
                    <a:pt x="83" y="134"/>
                  </a:cubicBezTo>
                  <a:cubicBezTo>
                    <a:pt x="96" y="134"/>
                    <a:pt x="109" y="128"/>
                    <a:pt x="119" y="119"/>
                  </a:cubicBezTo>
                  <a:cubicBezTo>
                    <a:pt x="129" y="109"/>
                    <a:pt x="134" y="96"/>
                    <a:pt x="134" y="82"/>
                  </a:cubicBezTo>
                  <a:cubicBezTo>
                    <a:pt x="134" y="68"/>
                    <a:pt x="129" y="55"/>
                    <a:pt x="119" y="46"/>
                  </a:cubicBezTo>
                  <a:cubicBezTo>
                    <a:pt x="109" y="36"/>
                    <a:pt x="96" y="30"/>
                    <a:pt x="83" y="30"/>
                  </a:cubicBezTo>
                  <a:moveTo>
                    <a:pt x="68" y="24"/>
                  </a:moveTo>
                  <a:cubicBezTo>
                    <a:pt x="69" y="24"/>
                    <a:pt x="69" y="24"/>
                    <a:pt x="69" y="24"/>
                  </a:cubicBezTo>
                  <a:cubicBezTo>
                    <a:pt x="74" y="23"/>
                    <a:pt x="76" y="14"/>
                    <a:pt x="77" y="9"/>
                  </a:cubicBezTo>
                  <a:cubicBezTo>
                    <a:pt x="77" y="5"/>
                    <a:pt x="78" y="5"/>
                    <a:pt x="80" y="5"/>
                  </a:cubicBezTo>
                  <a:cubicBezTo>
                    <a:pt x="81" y="5"/>
                    <a:pt x="81" y="5"/>
                    <a:pt x="81" y="5"/>
                  </a:cubicBezTo>
                  <a:cubicBezTo>
                    <a:pt x="82" y="5"/>
                    <a:pt x="82" y="5"/>
                    <a:pt x="82" y="5"/>
                  </a:cubicBezTo>
                  <a:cubicBezTo>
                    <a:pt x="83" y="5"/>
                    <a:pt x="84" y="5"/>
                    <a:pt x="85" y="9"/>
                  </a:cubicBezTo>
                  <a:cubicBezTo>
                    <a:pt x="86" y="14"/>
                    <a:pt x="88" y="20"/>
                    <a:pt x="91" y="23"/>
                  </a:cubicBezTo>
                  <a:cubicBezTo>
                    <a:pt x="92" y="23"/>
                    <a:pt x="92" y="24"/>
                    <a:pt x="93" y="24"/>
                  </a:cubicBezTo>
                  <a:cubicBezTo>
                    <a:pt x="93" y="24"/>
                    <a:pt x="93" y="24"/>
                    <a:pt x="93" y="24"/>
                  </a:cubicBezTo>
                  <a:cubicBezTo>
                    <a:pt x="98" y="24"/>
                    <a:pt x="103" y="17"/>
                    <a:pt x="105" y="13"/>
                  </a:cubicBezTo>
                  <a:cubicBezTo>
                    <a:pt x="106" y="12"/>
                    <a:pt x="107" y="10"/>
                    <a:pt x="108" y="10"/>
                  </a:cubicBezTo>
                  <a:cubicBezTo>
                    <a:pt x="109" y="10"/>
                    <a:pt x="110" y="10"/>
                    <a:pt x="110" y="10"/>
                  </a:cubicBezTo>
                  <a:cubicBezTo>
                    <a:pt x="111" y="11"/>
                    <a:pt x="111" y="11"/>
                    <a:pt x="111" y="11"/>
                  </a:cubicBezTo>
                  <a:cubicBezTo>
                    <a:pt x="113" y="12"/>
                    <a:pt x="114" y="12"/>
                    <a:pt x="113" y="16"/>
                  </a:cubicBezTo>
                  <a:cubicBezTo>
                    <a:pt x="112" y="21"/>
                    <a:pt x="111" y="27"/>
                    <a:pt x="113" y="31"/>
                  </a:cubicBezTo>
                  <a:cubicBezTo>
                    <a:pt x="113" y="31"/>
                    <a:pt x="114" y="32"/>
                    <a:pt x="115" y="32"/>
                  </a:cubicBezTo>
                  <a:cubicBezTo>
                    <a:pt x="115" y="32"/>
                    <a:pt x="116" y="32"/>
                    <a:pt x="117" y="32"/>
                  </a:cubicBezTo>
                  <a:cubicBezTo>
                    <a:pt x="121" y="32"/>
                    <a:pt x="127" y="30"/>
                    <a:pt x="130" y="27"/>
                  </a:cubicBezTo>
                  <a:cubicBezTo>
                    <a:pt x="132" y="26"/>
                    <a:pt x="133" y="25"/>
                    <a:pt x="134" y="25"/>
                  </a:cubicBezTo>
                  <a:cubicBezTo>
                    <a:pt x="135" y="25"/>
                    <a:pt x="135" y="26"/>
                    <a:pt x="136" y="27"/>
                  </a:cubicBezTo>
                  <a:cubicBezTo>
                    <a:pt x="137" y="27"/>
                    <a:pt x="137" y="27"/>
                    <a:pt x="137" y="27"/>
                  </a:cubicBezTo>
                  <a:cubicBezTo>
                    <a:pt x="138" y="29"/>
                    <a:pt x="139" y="29"/>
                    <a:pt x="136" y="33"/>
                  </a:cubicBezTo>
                  <a:cubicBezTo>
                    <a:pt x="133" y="37"/>
                    <a:pt x="130" y="43"/>
                    <a:pt x="131" y="47"/>
                  </a:cubicBezTo>
                  <a:cubicBezTo>
                    <a:pt x="131" y="47"/>
                    <a:pt x="131" y="48"/>
                    <a:pt x="131" y="48"/>
                  </a:cubicBezTo>
                  <a:cubicBezTo>
                    <a:pt x="133" y="50"/>
                    <a:pt x="136" y="51"/>
                    <a:pt x="140" y="51"/>
                  </a:cubicBezTo>
                  <a:cubicBezTo>
                    <a:pt x="143" y="51"/>
                    <a:pt x="145" y="50"/>
                    <a:pt x="148" y="50"/>
                  </a:cubicBezTo>
                  <a:cubicBezTo>
                    <a:pt x="149" y="50"/>
                    <a:pt x="150" y="49"/>
                    <a:pt x="151" y="49"/>
                  </a:cubicBezTo>
                  <a:cubicBezTo>
                    <a:pt x="152" y="49"/>
                    <a:pt x="153" y="50"/>
                    <a:pt x="153" y="52"/>
                  </a:cubicBezTo>
                  <a:cubicBezTo>
                    <a:pt x="154" y="52"/>
                    <a:pt x="154" y="52"/>
                    <a:pt x="154" y="52"/>
                  </a:cubicBezTo>
                  <a:cubicBezTo>
                    <a:pt x="154" y="54"/>
                    <a:pt x="155" y="55"/>
                    <a:pt x="151" y="57"/>
                  </a:cubicBezTo>
                  <a:cubicBezTo>
                    <a:pt x="147" y="60"/>
                    <a:pt x="142" y="64"/>
                    <a:pt x="141" y="68"/>
                  </a:cubicBezTo>
                  <a:cubicBezTo>
                    <a:pt x="140" y="69"/>
                    <a:pt x="140" y="69"/>
                    <a:pt x="141" y="70"/>
                  </a:cubicBezTo>
                  <a:cubicBezTo>
                    <a:pt x="142" y="74"/>
                    <a:pt x="151" y="77"/>
                    <a:pt x="155" y="78"/>
                  </a:cubicBezTo>
                  <a:cubicBezTo>
                    <a:pt x="160" y="78"/>
                    <a:pt x="160" y="79"/>
                    <a:pt x="160" y="81"/>
                  </a:cubicBezTo>
                  <a:cubicBezTo>
                    <a:pt x="160" y="82"/>
                    <a:pt x="160" y="82"/>
                    <a:pt x="160" y="82"/>
                  </a:cubicBezTo>
                  <a:cubicBezTo>
                    <a:pt x="160" y="82"/>
                    <a:pt x="160" y="82"/>
                    <a:pt x="160" y="82"/>
                  </a:cubicBezTo>
                  <a:cubicBezTo>
                    <a:pt x="160" y="84"/>
                    <a:pt x="160" y="85"/>
                    <a:pt x="155" y="86"/>
                  </a:cubicBezTo>
                  <a:cubicBezTo>
                    <a:pt x="150" y="87"/>
                    <a:pt x="144" y="89"/>
                    <a:pt x="142" y="92"/>
                  </a:cubicBezTo>
                  <a:cubicBezTo>
                    <a:pt x="141" y="92"/>
                    <a:pt x="141" y="93"/>
                    <a:pt x="141" y="93"/>
                  </a:cubicBezTo>
                  <a:cubicBezTo>
                    <a:pt x="141" y="98"/>
                    <a:pt x="148" y="104"/>
                    <a:pt x="152" y="106"/>
                  </a:cubicBezTo>
                  <a:cubicBezTo>
                    <a:pt x="155" y="108"/>
                    <a:pt x="155" y="109"/>
                    <a:pt x="154" y="111"/>
                  </a:cubicBezTo>
                  <a:cubicBezTo>
                    <a:pt x="154" y="112"/>
                    <a:pt x="154" y="112"/>
                    <a:pt x="154" y="112"/>
                  </a:cubicBezTo>
                  <a:cubicBezTo>
                    <a:pt x="153" y="114"/>
                    <a:pt x="153" y="114"/>
                    <a:pt x="151" y="114"/>
                  </a:cubicBezTo>
                  <a:cubicBezTo>
                    <a:pt x="150" y="114"/>
                    <a:pt x="149" y="114"/>
                    <a:pt x="148" y="114"/>
                  </a:cubicBezTo>
                  <a:cubicBezTo>
                    <a:pt x="145" y="113"/>
                    <a:pt x="142" y="113"/>
                    <a:pt x="140" y="113"/>
                  </a:cubicBezTo>
                  <a:cubicBezTo>
                    <a:pt x="137" y="113"/>
                    <a:pt x="135" y="113"/>
                    <a:pt x="133" y="114"/>
                  </a:cubicBezTo>
                  <a:cubicBezTo>
                    <a:pt x="133" y="114"/>
                    <a:pt x="132" y="114"/>
                    <a:pt x="132" y="115"/>
                  </a:cubicBezTo>
                  <a:cubicBezTo>
                    <a:pt x="130" y="119"/>
                    <a:pt x="134" y="127"/>
                    <a:pt x="137" y="131"/>
                  </a:cubicBezTo>
                  <a:cubicBezTo>
                    <a:pt x="139" y="134"/>
                    <a:pt x="139" y="135"/>
                    <a:pt x="137" y="136"/>
                  </a:cubicBezTo>
                  <a:cubicBezTo>
                    <a:pt x="137" y="137"/>
                    <a:pt x="137" y="137"/>
                    <a:pt x="137" y="137"/>
                  </a:cubicBezTo>
                  <a:cubicBezTo>
                    <a:pt x="136" y="138"/>
                    <a:pt x="135" y="138"/>
                    <a:pt x="135" y="138"/>
                  </a:cubicBezTo>
                  <a:cubicBezTo>
                    <a:pt x="134" y="138"/>
                    <a:pt x="133" y="138"/>
                    <a:pt x="131" y="137"/>
                  </a:cubicBezTo>
                  <a:cubicBezTo>
                    <a:pt x="127" y="134"/>
                    <a:pt x="122" y="131"/>
                    <a:pt x="118" y="131"/>
                  </a:cubicBezTo>
                  <a:cubicBezTo>
                    <a:pt x="118" y="131"/>
                    <a:pt x="118" y="131"/>
                    <a:pt x="118" y="131"/>
                  </a:cubicBezTo>
                  <a:cubicBezTo>
                    <a:pt x="117" y="131"/>
                    <a:pt x="116" y="132"/>
                    <a:pt x="116" y="133"/>
                  </a:cubicBezTo>
                  <a:cubicBezTo>
                    <a:pt x="115" y="137"/>
                    <a:pt x="116" y="143"/>
                    <a:pt x="117" y="147"/>
                  </a:cubicBezTo>
                  <a:cubicBezTo>
                    <a:pt x="118" y="151"/>
                    <a:pt x="117" y="151"/>
                    <a:pt x="115" y="152"/>
                  </a:cubicBezTo>
                  <a:cubicBezTo>
                    <a:pt x="114" y="152"/>
                    <a:pt x="114" y="152"/>
                    <a:pt x="114" y="152"/>
                  </a:cubicBezTo>
                  <a:cubicBezTo>
                    <a:pt x="114" y="153"/>
                    <a:pt x="113" y="153"/>
                    <a:pt x="112" y="153"/>
                  </a:cubicBezTo>
                  <a:cubicBezTo>
                    <a:pt x="112" y="153"/>
                    <a:pt x="110" y="152"/>
                    <a:pt x="109" y="150"/>
                  </a:cubicBezTo>
                  <a:cubicBezTo>
                    <a:pt x="107" y="147"/>
                    <a:pt x="101" y="140"/>
                    <a:pt x="96" y="140"/>
                  </a:cubicBezTo>
                  <a:cubicBezTo>
                    <a:pt x="96" y="140"/>
                    <a:pt x="96" y="140"/>
                    <a:pt x="96" y="140"/>
                  </a:cubicBezTo>
                  <a:cubicBezTo>
                    <a:pt x="95" y="140"/>
                    <a:pt x="95" y="140"/>
                    <a:pt x="94" y="141"/>
                  </a:cubicBezTo>
                  <a:cubicBezTo>
                    <a:pt x="92" y="143"/>
                    <a:pt x="90" y="150"/>
                    <a:pt x="89" y="155"/>
                  </a:cubicBezTo>
                  <a:cubicBezTo>
                    <a:pt x="89" y="159"/>
                    <a:pt x="88" y="159"/>
                    <a:pt x="86" y="159"/>
                  </a:cubicBezTo>
                  <a:cubicBezTo>
                    <a:pt x="85" y="159"/>
                    <a:pt x="85" y="159"/>
                    <a:pt x="85" y="159"/>
                  </a:cubicBezTo>
                  <a:cubicBezTo>
                    <a:pt x="84" y="159"/>
                    <a:pt x="84" y="159"/>
                    <a:pt x="84" y="159"/>
                  </a:cubicBezTo>
                  <a:cubicBezTo>
                    <a:pt x="83" y="159"/>
                    <a:pt x="82" y="159"/>
                    <a:pt x="81" y="155"/>
                  </a:cubicBezTo>
                  <a:cubicBezTo>
                    <a:pt x="80" y="151"/>
                    <a:pt x="77" y="142"/>
                    <a:pt x="72" y="141"/>
                  </a:cubicBezTo>
                  <a:cubicBezTo>
                    <a:pt x="72" y="141"/>
                    <a:pt x="72" y="141"/>
                    <a:pt x="72" y="141"/>
                  </a:cubicBezTo>
                  <a:cubicBezTo>
                    <a:pt x="71" y="141"/>
                    <a:pt x="71" y="141"/>
                    <a:pt x="71" y="141"/>
                  </a:cubicBezTo>
                  <a:cubicBezTo>
                    <a:pt x="67" y="142"/>
                    <a:pt x="63" y="147"/>
                    <a:pt x="61" y="152"/>
                  </a:cubicBezTo>
                  <a:cubicBezTo>
                    <a:pt x="60" y="153"/>
                    <a:pt x="59" y="155"/>
                    <a:pt x="58" y="155"/>
                  </a:cubicBezTo>
                  <a:cubicBezTo>
                    <a:pt x="57" y="155"/>
                    <a:pt x="56" y="154"/>
                    <a:pt x="56" y="154"/>
                  </a:cubicBezTo>
                  <a:cubicBezTo>
                    <a:pt x="55" y="154"/>
                    <a:pt x="55" y="154"/>
                    <a:pt x="55" y="154"/>
                  </a:cubicBezTo>
                  <a:cubicBezTo>
                    <a:pt x="53" y="153"/>
                    <a:pt x="52" y="153"/>
                    <a:pt x="53" y="149"/>
                  </a:cubicBezTo>
                  <a:cubicBezTo>
                    <a:pt x="54" y="144"/>
                    <a:pt x="54" y="135"/>
                    <a:pt x="51" y="132"/>
                  </a:cubicBezTo>
                  <a:cubicBezTo>
                    <a:pt x="50" y="132"/>
                    <a:pt x="50" y="132"/>
                    <a:pt x="49" y="132"/>
                  </a:cubicBezTo>
                  <a:cubicBezTo>
                    <a:pt x="45" y="132"/>
                    <a:pt x="39" y="135"/>
                    <a:pt x="35" y="138"/>
                  </a:cubicBezTo>
                  <a:cubicBezTo>
                    <a:pt x="33" y="139"/>
                    <a:pt x="32" y="140"/>
                    <a:pt x="32" y="140"/>
                  </a:cubicBezTo>
                  <a:cubicBezTo>
                    <a:pt x="31" y="140"/>
                    <a:pt x="31" y="139"/>
                    <a:pt x="30" y="138"/>
                  </a:cubicBezTo>
                  <a:cubicBezTo>
                    <a:pt x="29" y="138"/>
                    <a:pt x="29" y="138"/>
                    <a:pt x="29" y="138"/>
                  </a:cubicBezTo>
                  <a:cubicBezTo>
                    <a:pt x="28" y="136"/>
                    <a:pt x="27" y="136"/>
                    <a:pt x="29" y="132"/>
                  </a:cubicBezTo>
                  <a:cubicBezTo>
                    <a:pt x="32" y="128"/>
                    <a:pt x="36" y="120"/>
                    <a:pt x="34" y="116"/>
                  </a:cubicBezTo>
                  <a:cubicBezTo>
                    <a:pt x="34" y="115"/>
                    <a:pt x="33" y="115"/>
                    <a:pt x="33" y="115"/>
                  </a:cubicBezTo>
                  <a:cubicBezTo>
                    <a:pt x="31" y="114"/>
                    <a:pt x="29" y="114"/>
                    <a:pt x="27" y="114"/>
                  </a:cubicBezTo>
                  <a:cubicBezTo>
                    <a:pt x="24" y="114"/>
                    <a:pt x="21" y="114"/>
                    <a:pt x="18" y="115"/>
                  </a:cubicBezTo>
                  <a:cubicBezTo>
                    <a:pt x="16" y="115"/>
                    <a:pt x="15" y="116"/>
                    <a:pt x="15" y="116"/>
                  </a:cubicBezTo>
                  <a:cubicBezTo>
                    <a:pt x="13" y="116"/>
                    <a:pt x="13" y="115"/>
                    <a:pt x="12" y="113"/>
                  </a:cubicBezTo>
                  <a:cubicBezTo>
                    <a:pt x="12" y="113"/>
                    <a:pt x="12" y="113"/>
                    <a:pt x="12" y="113"/>
                  </a:cubicBezTo>
                  <a:cubicBezTo>
                    <a:pt x="11" y="111"/>
                    <a:pt x="11" y="110"/>
                    <a:pt x="14" y="108"/>
                  </a:cubicBezTo>
                  <a:cubicBezTo>
                    <a:pt x="18" y="105"/>
                    <a:pt x="25" y="99"/>
                    <a:pt x="25" y="95"/>
                  </a:cubicBezTo>
                  <a:cubicBezTo>
                    <a:pt x="25" y="94"/>
                    <a:pt x="24" y="93"/>
                    <a:pt x="24" y="93"/>
                  </a:cubicBezTo>
                  <a:cubicBezTo>
                    <a:pt x="21" y="90"/>
                    <a:pt x="15" y="88"/>
                    <a:pt x="10" y="87"/>
                  </a:cubicBezTo>
                  <a:cubicBezTo>
                    <a:pt x="6" y="87"/>
                    <a:pt x="6" y="86"/>
                    <a:pt x="6" y="84"/>
                  </a:cubicBezTo>
                  <a:cubicBezTo>
                    <a:pt x="6" y="83"/>
                    <a:pt x="6" y="83"/>
                    <a:pt x="6" y="83"/>
                  </a:cubicBezTo>
                  <a:cubicBezTo>
                    <a:pt x="6" y="81"/>
                    <a:pt x="6" y="80"/>
                    <a:pt x="10" y="79"/>
                  </a:cubicBezTo>
                  <a:cubicBezTo>
                    <a:pt x="14" y="78"/>
                    <a:pt x="23" y="76"/>
                    <a:pt x="24" y="71"/>
                  </a:cubicBezTo>
                  <a:cubicBezTo>
                    <a:pt x="24" y="70"/>
                    <a:pt x="24" y="70"/>
                    <a:pt x="24" y="69"/>
                  </a:cubicBezTo>
                  <a:cubicBezTo>
                    <a:pt x="23" y="66"/>
                    <a:pt x="18" y="61"/>
                    <a:pt x="14" y="59"/>
                  </a:cubicBezTo>
                  <a:cubicBezTo>
                    <a:pt x="10" y="57"/>
                    <a:pt x="10" y="56"/>
                    <a:pt x="11" y="54"/>
                  </a:cubicBezTo>
                  <a:cubicBezTo>
                    <a:pt x="11" y="53"/>
                    <a:pt x="11" y="53"/>
                    <a:pt x="11" y="53"/>
                  </a:cubicBezTo>
                  <a:cubicBezTo>
                    <a:pt x="12" y="51"/>
                    <a:pt x="12" y="51"/>
                    <a:pt x="14" y="51"/>
                  </a:cubicBezTo>
                  <a:cubicBezTo>
                    <a:pt x="15" y="51"/>
                    <a:pt x="16" y="51"/>
                    <a:pt x="17" y="51"/>
                  </a:cubicBezTo>
                  <a:cubicBezTo>
                    <a:pt x="19" y="52"/>
                    <a:pt x="21" y="52"/>
                    <a:pt x="24" y="52"/>
                  </a:cubicBezTo>
                  <a:cubicBezTo>
                    <a:pt x="27" y="52"/>
                    <a:pt x="31" y="52"/>
                    <a:pt x="33" y="49"/>
                  </a:cubicBezTo>
                  <a:cubicBezTo>
                    <a:pt x="34" y="49"/>
                    <a:pt x="34" y="48"/>
                    <a:pt x="34" y="48"/>
                  </a:cubicBezTo>
                  <a:cubicBezTo>
                    <a:pt x="34" y="44"/>
                    <a:pt x="31" y="38"/>
                    <a:pt x="28" y="34"/>
                  </a:cubicBezTo>
                  <a:cubicBezTo>
                    <a:pt x="25" y="31"/>
                    <a:pt x="26" y="30"/>
                    <a:pt x="28" y="28"/>
                  </a:cubicBezTo>
                  <a:cubicBezTo>
                    <a:pt x="28" y="28"/>
                    <a:pt x="28" y="28"/>
                    <a:pt x="28" y="28"/>
                  </a:cubicBezTo>
                  <a:cubicBezTo>
                    <a:pt x="29" y="27"/>
                    <a:pt x="30" y="26"/>
                    <a:pt x="30" y="26"/>
                  </a:cubicBezTo>
                  <a:cubicBezTo>
                    <a:pt x="31" y="26"/>
                    <a:pt x="32" y="27"/>
                    <a:pt x="34" y="28"/>
                  </a:cubicBezTo>
                  <a:cubicBezTo>
                    <a:pt x="37" y="31"/>
                    <a:pt x="43" y="33"/>
                    <a:pt x="47" y="33"/>
                  </a:cubicBezTo>
                  <a:cubicBezTo>
                    <a:pt x="48" y="33"/>
                    <a:pt x="49" y="33"/>
                    <a:pt x="49" y="32"/>
                  </a:cubicBezTo>
                  <a:cubicBezTo>
                    <a:pt x="51" y="28"/>
                    <a:pt x="50" y="22"/>
                    <a:pt x="49" y="17"/>
                  </a:cubicBezTo>
                  <a:cubicBezTo>
                    <a:pt x="48" y="13"/>
                    <a:pt x="49" y="13"/>
                    <a:pt x="51" y="12"/>
                  </a:cubicBezTo>
                  <a:cubicBezTo>
                    <a:pt x="52" y="12"/>
                    <a:pt x="52" y="12"/>
                    <a:pt x="52" y="12"/>
                  </a:cubicBezTo>
                  <a:cubicBezTo>
                    <a:pt x="52" y="11"/>
                    <a:pt x="53" y="11"/>
                    <a:pt x="54" y="11"/>
                  </a:cubicBezTo>
                  <a:cubicBezTo>
                    <a:pt x="55" y="11"/>
                    <a:pt x="56" y="13"/>
                    <a:pt x="57" y="14"/>
                  </a:cubicBezTo>
                  <a:cubicBezTo>
                    <a:pt x="59" y="18"/>
                    <a:pt x="64" y="23"/>
                    <a:pt x="67" y="24"/>
                  </a:cubicBezTo>
                  <a:cubicBezTo>
                    <a:pt x="68" y="24"/>
                    <a:pt x="68" y="24"/>
                    <a:pt x="68" y="24"/>
                  </a:cubicBezTo>
                  <a:moveTo>
                    <a:pt x="82" y="0"/>
                  </a:moveTo>
                  <a:cubicBezTo>
                    <a:pt x="81" y="0"/>
                    <a:pt x="81" y="0"/>
                    <a:pt x="81" y="0"/>
                  </a:cubicBezTo>
                  <a:cubicBezTo>
                    <a:pt x="80" y="0"/>
                    <a:pt x="80" y="0"/>
                    <a:pt x="80" y="0"/>
                  </a:cubicBezTo>
                  <a:cubicBezTo>
                    <a:pt x="77" y="0"/>
                    <a:pt x="73" y="1"/>
                    <a:pt x="72" y="9"/>
                  </a:cubicBezTo>
                  <a:cubicBezTo>
                    <a:pt x="71" y="14"/>
                    <a:pt x="69" y="18"/>
                    <a:pt x="68" y="19"/>
                  </a:cubicBezTo>
                  <a:cubicBezTo>
                    <a:pt x="66" y="18"/>
                    <a:pt x="63" y="15"/>
                    <a:pt x="61" y="12"/>
                  </a:cubicBezTo>
                  <a:cubicBezTo>
                    <a:pt x="59" y="8"/>
                    <a:pt x="56" y="6"/>
                    <a:pt x="54" y="6"/>
                  </a:cubicBezTo>
                  <a:cubicBezTo>
                    <a:pt x="52" y="6"/>
                    <a:pt x="51" y="7"/>
                    <a:pt x="50" y="7"/>
                  </a:cubicBezTo>
                  <a:cubicBezTo>
                    <a:pt x="49" y="7"/>
                    <a:pt x="49" y="7"/>
                    <a:pt x="49" y="7"/>
                  </a:cubicBezTo>
                  <a:cubicBezTo>
                    <a:pt x="46" y="8"/>
                    <a:pt x="42" y="10"/>
                    <a:pt x="44" y="19"/>
                  </a:cubicBezTo>
                  <a:cubicBezTo>
                    <a:pt x="45" y="22"/>
                    <a:pt x="45" y="26"/>
                    <a:pt x="45" y="28"/>
                  </a:cubicBezTo>
                  <a:cubicBezTo>
                    <a:pt x="43" y="27"/>
                    <a:pt x="39" y="26"/>
                    <a:pt x="37" y="24"/>
                  </a:cubicBezTo>
                  <a:cubicBezTo>
                    <a:pt x="34" y="22"/>
                    <a:pt x="32" y="21"/>
                    <a:pt x="30" y="21"/>
                  </a:cubicBezTo>
                  <a:cubicBezTo>
                    <a:pt x="27" y="21"/>
                    <a:pt x="26" y="23"/>
                    <a:pt x="24" y="24"/>
                  </a:cubicBezTo>
                  <a:cubicBezTo>
                    <a:pt x="24" y="25"/>
                    <a:pt x="24" y="25"/>
                    <a:pt x="24" y="25"/>
                  </a:cubicBezTo>
                  <a:cubicBezTo>
                    <a:pt x="22" y="27"/>
                    <a:pt x="19" y="30"/>
                    <a:pt x="24" y="37"/>
                  </a:cubicBezTo>
                  <a:cubicBezTo>
                    <a:pt x="26" y="40"/>
                    <a:pt x="28" y="44"/>
                    <a:pt x="29" y="46"/>
                  </a:cubicBezTo>
                  <a:cubicBezTo>
                    <a:pt x="28" y="47"/>
                    <a:pt x="26" y="47"/>
                    <a:pt x="24" y="47"/>
                  </a:cubicBezTo>
                  <a:cubicBezTo>
                    <a:pt x="22" y="47"/>
                    <a:pt x="20" y="47"/>
                    <a:pt x="18" y="46"/>
                  </a:cubicBezTo>
                  <a:cubicBezTo>
                    <a:pt x="16" y="46"/>
                    <a:pt x="15" y="46"/>
                    <a:pt x="14" y="46"/>
                  </a:cubicBezTo>
                  <a:cubicBezTo>
                    <a:pt x="9" y="46"/>
                    <a:pt x="7" y="49"/>
                    <a:pt x="7" y="51"/>
                  </a:cubicBezTo>
                  <a:cubicBezTo>
                    <a:pt x="6" y="52"/>
                    <a:pt x="6" y="52"/>
                    <a:pt x="6" y="52"/>
                  </a:cubicBezTo>
                  <a:cubicBezTo>
                    <a:pt x="5" y="55"/>
                    <a:pt x="4" y="59"/>
                    <a:pt x="11" y="63"/>
                  </a:cubicBezTo>
                  <a:cubicBezTo>
                    <a:pt x="14" y="65"/>
                    <a:pt x="18" y="68"/>
                    <a:pt x="19" y="70"/>
                  </a:cubicBezTo>
                  <a:cubicBezTo>
                    <a:pt x="18" y="71"/>
                    <a:pt x="14" y="73"/>
                    <a:pt x="9" y="74"/>
                  </a:cubicBezTo>
                  <a:cubicBezTo>
                    <a:pt x="0" y="76"/>
                    <a:pt x="1" y="81"/>
                    <a:pt x="1" y="83"/>
                  </a:cubicBezTo>
                  <a:cubicBezTo>
                    <a:pt x="1" y="84"/>
                    <a:pt x="1" y="84"/>
                    <a:pt x="1" y="84"/>
                  </a:cubicBezTo>
                  <a:cubicBezTo>
                    <a:pt x="1" y="87"/>
                    <a:pt x="1" y="92"/>
                    <a:pt x="9" y="92"/>
                  </a:cubicBezTo>
                  <a:cubicBezTo>
                    <a:pt x="14" y="93"/>
                    <a:pt x="17" y="94"/>
                    <a:pt x="19" y="96"/>
                  </a:cubicBezTo>
                  <a:cubicBezTo>
                    <a:pt x="18" y="97"/>
                    <a:pt x="15" y="101"/>
                    <a:pt x="12" y="103"/>
                  </a:cubicBezTo>
                  <a:cubicBezTo>
                    <a:pt x="4" y="108"/>
                    <a:pt x="6" y="112"/>
                    <a:pt x="7" y="115"/>
                  </a:cubicBezTo>
                  <a:cubicBezTo>
                    <a:pt x="8" y="115"/>
                    <a:pt x="8" y="115"/>
                    <a:pt x="8" y="115"/>
                  </a:cubicBezTo>
                  <a:cubicBezTo>
                    <a:pt x="9" y="117"/>
                    <a:pt x="10" y="121"/>
                    <a:pt x="15" y="121"/>
                  </a:cubicBezTo>
                  <a:cubicBezTo>
                    <a:pt x="16" y="121"/>
                    <a:pt x="17" y="120"/>
                    <a:pt x="19" y="120"/>
                  </a:cubicBezTo>
                  <a:cubicBezTo>
                    <a:pt x="22" y="119"/>
                    <a:pt x="24" y="119"/>
                    <a:pt x="27" y="119"/>
                  </a:cubicBezTo>
                  <a:cubicBezTo>
                    <a:pt x="28" y="119"/>
                    <a:pt x="29" y="119"/>
                    <a:pt x="29" y="119"/>
                  </a:cubicBezTo>
                  <a:cubicBezTo>
                    <a:pt x="29" y="121"/>
                    <a:pt x="28" y="125"/>
                    <a:pt x="25" y="129"/>
                  </a:cubicBezTo>
                  <a:cubicBezTo>
                    <a:pt x="21" y="135"/>
                    <a:pt x="23" y="139"/>
                    <a:pt x="26" y="141"/>
                  </a:cubicBezTo>
                  <a:cubicBezTo>
                    <a:pt x="26" y="142"/>
                    <a:pt x="26" y="142"/>
                    <a:pt x="26" y="142"/>
                  </a:cubicBezTo>
                  <a:cubicBezTo>
                    <a:pt x="28" y="143"/>
                    <a:pt x="29" y="145"/>
                    <a:pt x="32" y="145"/>
                  </a:cubicBezTo>
                  <a:cubicBezTo>
                    <a:pt x="32" y="145"/>
                    <a:pt x="32" y="145"/>
                    <a:pt x="32" y="145"/>
                  </a:cubicBezTo>
                  <a:cubicBezTo>
                    <a:pt x="34" y="145"/>
                    <a:pt x="36" y="144"/>
                    <a:pt x="39" y="142"/>
                  </a:cubicBezTo>
                  <a:cubicBezTo>
                    <a:pt x="42" y="139"/>
                    <a:pt x="45" y="137"/>
                    <a:pt x="48" y="137"/>
                  </a:cubicBezTo>
                  <a:cubicBezTo>
                    <a:pt x="48" y="139"/>
                    <a:pt x="49" y="143"/>
                    <a:pt x="48" y="148"/>
                  </a:cubicBezTo>
                  <a:cubicBezTo>
                    <a:pt x="46" y="156"/>
                    <a:pt x="51" y="158"/>
                    <a:pt x="53" y="159"/>
                  </a:cubicBezTo>
                  <a:cubicBezTo>
                    <a:pt x="54" y="159"/>
                    <a:pt x="54" y="159"/>
                    <a:pt x="54" y="159"/>
                  </a:cubicBezTo>
                  <a:cubicBezTo>
                    <a:pt x="55" y="159"/>
                    <a:pt x="56" y="160"/>
                    <a:pt x="58" y="160"/>
                  </a:cubicBezTo>
                  <a:cubicBezTo>
                    <a:pt x="61" y="160"/>
                    <a:pt x="63" y="158"/>
                    <a:pt x="65" y="154"/>
                  </a:cubicBezTo>
                  <a:cubicBezTo>
                    <a:pt x="67" y="151"/>
                    <a:pt x="70" y="147"/>
                    <a:pt x="72" y="146"/>
                  </a:cubicBezTo>
                  <a:cubicBezTo>
                    <a:pt x="73" y="147"/>
                    <a:pt x="75" y="151"/>
                    <a:pt x="76" y="156"/>
                  </a:cubicBezTo>
                  <a:cubicBezTo>
                    <a:pt x="77" y="162"/>
                    <a:pt x="79" y="164"/>
                    <a:pt x="84" y="164"/>
                  </a:cubicBezTo>
                  <a:cubicBezTo>
                    <a:pt x="84" y="164"/>
                    <a:pt x="85" y="164"/>
                    <a:pt x="85" y="164"/>
                  </a:cubicBezTo>
                  <a:cubicBezTo>
                    <a:pt x="86" y="164"/>
                    <a:pt x="86" y="164"/>
                    <a:pt x="86" y="164"/>
                  </a:cubicBezTo>
                  <a:cubicBezTo>
                    <a:pt x="88" y="164"/>
                    <a:pt x="93" y="164"/>
                    <a:pt x="94" y="155"/>
                  </a:cubicBezTo>
                  <a:cubicBezTo>
                    <a:pt x="95" y="151"/>
                    <a:pt x="96" y="147"/>
                    <a:pt x="97" y="145"/>
                  </a:cubicBezTo>
                  <a:cubicBezTo>
                    <a:pt x="99" y="146"/>
                    <a:pt x="102" y="149"/>
                    <a:pt x="105" y="153"/>
                  </a:cubicBezTo>
                  <a:cubicBezTo>
                    <a:pt x="107" y="156"/>
                    <a:pt x="110" y="158"/>
                    <a:pt x="112" y="158"/>
                  </a:cubicBezTo>
                  <a:cubicBezTo>
                    <a:pt x="114" y="158"/>
                    <a:pt x="115" y="157"/>
                    <a:pt x="117" y="157"/>
                  </a:cubicBezTo>
                  <a:cubicBezTo>
                    <a:pt x="117" y="156"/>
                    <a:pt x="117" y="156"/>
                    <a:pt x="117" y="156"/>
                  </a:cubicBezTo>
                  <a:cubicBezTo>
                    <a:pt x="120" y="155"/>
                    <a:pt x="124" y="153"/>
                    <a:pt x="121" y="145"/>
                  </a:cubicBezTo>
                  <a:cubicBezTo>
                    <a:pt x="121" y="142"/>
                    <a:pt x="120" y="139"/>
                    <a:pt x="120" y="136"/>
                  </a:cubicBezTo>
                  <a:cubicBezTo>
                    <a:pt x="123" y="137"/>
                    <a:pt x="125" y="139"/>
                    <a:pt x="128" y="140"/>
                  </a:cubicBezTo>
                  <a:cubicBezTo>
                    <a:pt x="130" y="142"/>
                    <a:pt x="132" y="143"/>
                    <a:pt x="135" y="143"/>
                  </a:cubicBezTo>
                  <a:cubicBezTo>
                    <a:pt x="137" y="143"/>
                    <a:pt x="139" y="142"/>
                    <a:pt x="140" y="141"/>
                  </a:cubicBezTo>
                  <a:cubicBezTo>
                    <a:pt x="141" y="140"/>
                    <a:pt x="141" y="140"/>
                    <a:pt x="141" y="140"/>
                  </a:cubicBezTo>
                  <a:cubicBezTo>
                    <a:pt x="143" y="137"/>
                    <a:pt x="145" y="134"/>
                    <a:pt x="141" y="128"/>
                  </a:cubicBezTo>
                  <a:cubicBezTo>
                    <a:pt x="138" y="124"/>
                    <a:pt x="137" y="120"/>
                    <a:pt x="137" y="118"/>
                  </a:cubicBezTo>
                  <a:cubicBezTo>
                    <a:pt x="137" y="118"/>
                    <a:pt x="138" y="118"/>
                    <a:pt x="140" y="118"/>
                  </a:cubicBezTo>
                  <a:cubicBezTo>
                    <a:pt x="142" y="118"/>
                    <a:pt x="145" y="118"/>
                    <a:pt x="147" y="118"/>
                  </a:cubicBezTo>
                  <a:cubicBezTo>
                    <a:pt x="149" y="119"/>
                    <a:pt x="150" y="119"/>
                    <a:pt x="151" y="119"/>
                  </a:cubicBezTo>
                  <a:cubicBezTo>
                    <a:pt x="156" y="119"/>
                    <a:pt x="157" y="116"/>
                    <a:pt x="158" y="114"/>
                  </a:cubicBezTo>
                  <a:cubicBezTo>
                    <a:pt x="158" y="113"/>
                    <a:pt x="158" y="113"/>
                    <a:pt x="158" y="113"/>
                  </a:cubicBezTo>
                  <a:cubicBezTo>
                    <a:pt x="160" y="111"/>
                    <a:pt x="162" y="106"/>
                    <a:pt x="154" y="102"/>
                  </a:cubicBezTo>
                  <a:cubicBezTo>
                    <a:pt x="150" y="99"/>
                    <a:pt x="147" y="96"/>
                    <a:pt x="146" y="94"/>
                  </a:cubicBezTo>
                  <a:cubicBezTo>
                    <a:pt x="148" y="93"/>
                    <a:pt x="152" y="91"/>
                    <a:pt x="156" y="91"/>
                  </a:cubicBezTo>
                  <a:cubicBezTo>
                    <a:pt x="165" y="90"/>
                    <a:pt x="165" y="85"/>
                    <a:pt x="165" y="82"/>
                  </a:cubicBezTo>
                  <a:cubicBezTo>
                    <a:pt x="165" y="82"/>
                    <a:pt x="165" y="82"/>
                    <a:pt x="165" y="82"/>
                  </a:cubicBezTo>
                  <a:cubicBezTo>
                    <a:pt x="165" y="81"/>
                    <a:pt x="165" y="81"/>
                    <a:pt x="165" y="81"/>
                  </a:cubicBezTo>
                  <a:cubicBezTo>
                    <a:pt x="165" y="79"/>
                    <a:pt x="165" y="74"/>
                    <a:pt x="156" y="73"/>
                  </a:cubicBezTo>
                  <a:cubicBezTo>
                    <a:pt x="151" y="72"/>
                    <a:pt x="147" y="70"/>
                    <a:pt x="146" y="69"/>
                  </a:cubicBezTo>
                  <a:cubicBezTo>
                    <a:pt x="147" y="67"/>
                    <a:pt x="150" y="64"/>
                    <a:pt x="154" y="62"/>
                  </a:cubicBezTo>
                  <a:cubicBezTo>
                    <a:pt x="161" y="57"/>
                    <a:pt x="159" y="53"/>
                    <a:pt x="158" y="50"/>
                  </a:cubicBezTo>
                  <a:cubicBezTo>
                    <a:pt x="158" y="50"/>
                    <a:pt x="158" y="50"/>
                    <a:pt x="158" y="50"/>
                  </a:cubicBezTo>
                  <a:cubicBezTo>
                    <a:pt x="157" y="48"/>
                    <a:pt x="156" y="44"/>
                    <a:pt x="151" y="44"/>
                  </a:cubicBezTo>
                  <a:cubicBezTo>
                    <a:pt x="150" y="44"/>
                    <a:pt x="148" y="45"/>
                    <a:pt x="147" y="45"/>
                  </a:cubicBezTo>
                  <a:cubicBezTo>
                    <a:pt x="145" y="45"/>
                    <a:pt x="142" y="46"/>
                    <a:pt x="140" y="46"/>
                  </a:cubicBezTo>
                  <a:cubicBezTo>
                    <a:pt x="138" y="46"/>
                    <a:pt x="137" y="45"/>
                    <a:pt x="136" y="45"/>
                  </a:cubicBezTo>
                  <a:cubicBezTo>
                    <a:pt x="136" y="43"/>
                    <a:pt x="138" y="39"/>
                    <a:pt x="140" y="36"/>
                  </a:cubicBezTo>
                  <a:cubicBezTo>
                    <a:pt x="146" y="29"/>
                    <a:pt x="142" y="26"/>
                    <a:pt x="140" y="24"/>
                  </a:cubicBezTo>
                  <a:cubicBezTo>
                    <a:pt x="140" y="23"/>
                    <a:pt x="140" y="23"/>
                    <a:pt x="140" y="23"/>
                  </a:cubicBezTo>
                  <a:cubicBezTo>
                    <a:pt x="138" y="22"/>
                    <a:pt x="137" y="20"/>
                    <a:pt x="134" y="20"/>
                  </a:cubicBezTo>
                  <a:cubicBezTo>
                    <a:pt x="132" y="20"/>
                    <a:pt x="130" y="21"/>
                    <a:pt x="127" y="23"/>
                  </a:cubicBezTo>
                  <a:cubicBezTo>
                    <a:pt x="124" y="25"/>
                    <a:pt x="120" y="27"/>
                    <a:pt x="117" y="28"/>
                  </a:cubicBezTo>
                  <a:cubicBezTo>
                    <a:pt x="117" y="25"/>
                    <a:pt x="117" y="21"/>
                    <a:pt x="118" y="17"/>
                  </a:cubicBezTo>
                  <a:cubicBezTo>
                    <a:pt x="120" y="9"/>
                    <a:pt x="115" y="7"/>
                    <a:pt x="113" y="6"/>
                  </a:cubicBezTo>
                  <a:cubicBezTo>
                    <a:pt x="112" y="6"/>
                    <a:pt x="112" y="6"/>
                    <a:pt x="112" y="6"/>
                  </a:cubicBezTo>
                  <a:cubicBezTo>
                    <a:pt x="111" y="5"/>
                    <a:pt x="110" y="5"/>
                    <a:pt x="108" y="5"/>
                  </a:cubicBezTo>
                  <a:cubicBezTo>
                    <a:pt x="106" y="5"/>
                    <a:pt x="103" y="7"/>
                    <a:pt x="101" y="10"/>
                  </a:cubicBezTo>
                  <a:cubicBezTo>
                    <a:pt x="99" y="14"/>
                    <a:pt x="95" y="17"/>
                    <a:pt x="94" y="18"/>
                  </a:cubicBezTo>
                  <a:cubicBezTo>
                    <a:pt x="92" y="17"/>
                    <a:pt x="91" y="13"/>
                    <a:pt x="90" y="9"/>
                  </a:cubicBezTo>
                  <a:cubicBezTo>
                    <a:pt x="89" y="3"/>
                    <a:pt x="87" y="0"/>
                    <a:pt x="8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645">
              <a:extLst>
                <a:ext uri="{FF2B5EF4-FFF2-40B4-BE49-F238E27FC236}">
                  <a16:creationId xmlns:a16="http://schemas.microsoft.com/office/drawing/2014/main" id="{D57C4C65-8639-402E-9585-8AD90B40C6C6}"/>
                </a:ext>
              </a:extLst>
            </p:cNvPr>
            <p:cNvSpPr>
              <a:spLocks noEditPoints="1"/>
            </p:cNvSpPr>
            <p:nvPr/>
          </p:nvSpPr>
          <p:spPr bwMode="auto">
            <a:xfrm rot="18721825" flipH="1">
              <a:off x="6002904" y="6145008"/>
              <a:ext cx="77788" cy="79375"/>
            </a:xfrm>
            <a:custGeom>
              <a:avLst/>
              <a:gdLst>
                <a:gd name="T0" fmla="*/ 20 w 40"/>
                <a:gd name="T1" fmla="*/ 30 h 40"/>
                <a:gd name="T2" fmla="*/ 13 w 40"/>
                <a:gd name="T3" fmla="*/ 27 h 40"/>
                <a:gd name="T4" fmla="*/ 13 w 40"/>
                <a:gd name="T5" fmla="*/ 13 h 40"/>
                <a:gd name="T6" fmla="*/ 20 w 40"/>
                <a:gd name="T7" fmla="*/ 10 h 40"/>
                <a:gd name="T8" fmla="*/ 27 w 40"/>
                <a:gd name="T9" fmla="*/ 13 h 40"/>
                <a:gd name="T10" fmla="*/ 30 w 40"/>
                <a:gd name="T11" fmla="*/ 20 h 40"/>
                <a:gd name="T12" fmla="*/ 27 w 40"/>
                <a:gd name="T13" fmla="*/ 27 h 40"/>
                <a:gd name="T14" fmla="*/ 20 w 40"/>
                <a:gd name="T15" fmla="*/ 30 h 40"/>
                <a:gd name="T16" fmla="*/ 20 w 40"/>
                <a:gd name="T17" fmla="*/ 7 h 40"/>
                <a:gd name="T18" fmla="*/ 10 w 40"/>
                <a:gd name="T19" fmla="*/ 11 h 40"/>
                <a:gd name="T20" fmla="*/ 10 w 40"/>
                <a:gd name="T21" fmla="*/ 30 h 40"/>
                <a:gd name="T22" fmla="*/ 20 w 40"/>
                <a:gd name="T23" fmla="*/ 33 h 40"/>
                <a:gd name="T24" fmla="*/ 29 w 40"/>
                <a:gd name="T25" fmla="*/ 30 h 40"/>
                <a:gd name="T26" fmla="*/ 33 w 40"/>
                <a:gd name="T27" fmla="*/ 20 h 40"/>
                <a:gd name="T28" fmla="*/ 29 w 40"/>
                <a:gd name="T29" fmla="*/ 11 h 40"/>
                <a:gd name="T30" fmla="*/ 20 w 40"/>
                <a:gd name="T31" fmla="*/ 7 h 40"/>
                <a:gd name="T32" fmla="*/ 20 w 40"/>
                <a:gd name="T33" fmla="*/ 37 h 40"/>
                <a:gd name="T34" fmla="*/ 8 w 40"/>
                <a:gd name="T35" fmla="*/ 32 h 40"/>
                <a:gd name="T36" fmla="*/ 3 w 40"/>
                <a:gd name="T37" fmla="*/ 20 h 40"/>
                <a:gd name="T38" fmla="*/ 8 w 40"/>
                <a:gd name="T39" fmla="*/ 8 h 40"/>
                <a:gd name="T40" fmla="*/ 20 w 40"/>
                <a:gd name="T41" fmla="*/ 3 h 40"/>
                <a:gd name="T42" fmla="*/ 32 w 40"/>
                <a:gd name="T43" fmla="*/ 8 h 40"/>
                <a:gd name="T44" fmla="*/ 36 w 40"/>
                <a:gd name="T45" fmla="*/ 20 h 40"/>
                <a:gd name="T46" fmla="*/ 32 w 40"/>
                <a:gd name="T47" fmla="*/ 32 h 40"/>
                <a:gd name="T48" fmla="*/ 20 w 40"/>
                <a:gd name="T49" fmla="*/ 37 h 40"/>
                <a:gd name="T50" fmla="*/ 20 w 40"/>
                <a:gd name="T51" fmla="*/ 0 h 40"/>
                <a:gd name="T52" fmla="*/ 5 w 40"/>
                <a:gd name="T53" fmla="*/ 6 h 40"/>
                <a:gd name="T54" fmla="*/ 0 w 40"/>
                <a:gd name="T55" fmla="*/ 20 h 40"/>
                <a:gd name="T56" fmla="*/ 6 w 40"/>
                <a:gd name="T57" fmla="*/ 35 h 40"/>
                <a:gd name="T58" fmla="*/ 20 w 40"/>
                <a:gd name="T59" fmla="*/ 40 h 40"/>
                <a:gd name="T60" fmla="*/ 34 w 40"/>
                <a:gd name="T61" fmla="*/ 34 h 40"/>
                <a:gd name="T62" fmla="*/ 40 w 40"/>
                <a:gd name="T63" fmla="*/ 20 h 40"/>
                <a:gd name="T64" fmla="*/ 34 w 40"/>
                <a:gd name="T65" fmla="*/ 6 h 40"/>
                <a:gd name="T66" fmla="*/ 20 w 40"/>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40">
                  <a:moveTo>
                    <a:pt x="20" y="30"/>
                  </a:moveTo>
                  <a:cubicBezTo>
                    <a:pt x="17" y="30"/>
                    <a:pt x="15" y="29"/>
                    <a:pt x="13" y="27"/>
                  </a:cubicBezTo>
                  <a:cubicBezTo>
                    <a:pt x="9" y="23"/>
                    <a:pt x="9" y="17"/>
                    <a:pt x="13" y="13"/>
                  </a:cubicBezTo>
                  <a:cubicBezTo>
                    <a:pt x="15" y="12"/>
                    <a:pt x="17" y="10"/>
                    <a:pt x="20" y="10"/>
                  </a:cubicBezTo>
                  <a:cubicBezTo>
                    <a:pt x="22" y="10"/>
                    <a:pt x="25" y="11"/>
                    <a:pt x="27" y="13"/>
                  </a:cubicBezTo>
                  <a:cubicBezTo>
                    <a:pt x="28" y="15"/>
                    <a:pt x="30" y="18"/>
                    <a:pt x="30" y="20"/>
                  </a:cubicBezTo>
                  <a:cubicBezTo>
                    <a:pt x="30" y="23"/>
                    <a:pt x="28" y="25"/>
                    <a:pt x="27" y="27"/>
                  </a:cubicBezTo>
                  <a:cubicBezTo>
                    <a:pt x="25" y="29"/>
                    <a:pt x="22" y="30"/>
                    <a:pt x="20" y="30"/>
                  </a:cubicBezTo>
                  <a:moveTo>
                    <a:pt x="20" y="7"/>
                  </a:moveTo>
                  <a:cubicBezTo>
                    <a:pt x="16" y="7"/>
                    <a:pt x="13" y="9"/>
                    <a:pt x="10" y="11"/>
                  </a:cubicBezTo>
                  <a:cubicBezTo>
                    <a:pt x="5" y="16"/>
                    <a:pt x="5" y="24"/>
                    <a:pt x="10" y="30"/>
                  </a:cubicBezTo>
                  <a:cubicBezTo>
                    <a:pt x="13" y="32"/>
                    <a:pt x="16" y="33"/>
                    <a:pt x="20" y="33"/>
                  </a:cubicBezTo>
                  <a:cubicBezTo>
                    <a:pt x="23" y="33"/>
                    <a:pt x="26" y="32"/>
                    <a:pt x="29" y="30"/>
                  </a:cubicBezTo>
                  <a:cubicBezTo>
                    <a:pt x="31" y="27"/>
                    <a:pt x="33" y="24"/>
                    <a:pt x="33" y="20"/>
                  </a:cubicBezTo>
                  <a:cubicBezTo>
                    <a:pt x="33" y="17"/>
                    <a:pt x="31" y="14"/>
                    <a:pt x="29" y="11"/>
                  </a:cubicBezTo>
                  <a:cubicBezTo>
                    <a:pt x="26" y="9"/>
                    <a:pt x="23" y="7"/>
                    <a:pt x="20" y="7"/>
                  </a:cubicBezTo>
                  <a:moveTo>
                    <a:pt x="20" y="37"/>
                  </a:moveTo>
                  <a:cubicBezTo>
                    <a:pt x="15" y="37"/>
                    <a:pt x="11" y="35"/>
                    <a:pt x="8" y="32"/>
                  </a:cubicBezTo>
                  <a:cubicBezTo>
                    <a:pt x="5" y="29"/>
                    <a:pt x="3" y="25"/>
                    <a:pt x="3" y="20"/>
                  </a:cubicBezTo>
                  <a:cubicBezTo>
                    <a:pt x="3" y="16"/>
                    <a:pt x="5" y="12"/>
                    <a:pt x="8" y="8"/>
                  </a:cubicBezTo>
                  <a:cubicBezTo>
                    <a:pt x="11" y="5"/>
                    <a:pt x="15" y="3"/>
                    <a:pt x="20" y="3"/>
                  </a:cubicBezTo>
                  <a:cubicBezTo>
                    <a:pt x="24" y="3"/>
                    <a:pt x="28" y="5"/>
                    <a:pt x="32" y="8"/>
                  </a:cubicBezTo>
                  <a:cubicBezTo>
                    <a:pt x="35" y="12"/>
                    <a:pt x="36" y="16"/>
                    <a:pt x="36" y="20"/>
                  </a:cubicBezTo>
                  <a:cubicBezTo>
                    <a:pt x="36" y="25"/>
                    <a:pt x="35" y="29"/>
                    <a:pt x="32" y="32"/>
                  </a:cubicBezTo>
                  <a:cubicBezTo>
                    <a:pt x="28" y="35"/>
                    <a:pt x="24" y="37"/>
                    <a:pt x="20" y="37"/>
                  </a:cubicBezTo>
                  <a:moveTo>
                    <a:pt x="20" y="0"/>
                  </a:moveTo>
                  <a:cubicBezTo>
                    <a:pt x="14" y="0"/>
                    <a:pt x="9" y="2"/>
                    <a:pt x="5" y="6"/>
                  </a:cubicBezTo>
                  <a:cubicBezTo>
                    <a:pt x="2" y="10"/>
                    <a:pt x="0" y="15"/>
                    <a:pt x="0" y="20"/>
                  </a:cubicBezTo>
                  <a:cubicBezTo>
                    <a:pt x="0" y="26"/>
                    <a:pt x="2" y="31"/>
                    <a:pt x="6" y="35"/>
                  </a:cubicBezTo>
                  <a:cubicBezTo>
                    <a:pt x="9" y="38"/>
                    <a:pt x="14" y="40"/>
                    <a:pt x="20" y="40"/>
                  </a:cubicBezTo>
                  <a:cubicBezTo>
                    <a:pt x="25" y="40"/>
                    <a:pt x="30" y="38"/>
                    <a:pt x="34" y="34"/>
                  </a:cubicBezTo>
                  <a:cubicBezTo>
                    <a:pt x="38" y="31"/>
                    <a:pt x="40" y="26"/>
                    <a:pt x="40" y="20"/>
                  </a:cubicBezTo>
                  <a:cubicBezTo>
                    <a:pt x="40" y="15"/>
                    <a:pt x="38" y="10"/>
                    <a:pt x="34" y="6"/>
                  </a:cubicBezTo>
                  <a:cubicBezTo>
                    <a:pt x="30" y="2"/>
                    <a:pt x="25" y="0"/>
                    <a:pt x="2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1646">
              <a:extLst>
                <a:ext uri="{FF2B5EF4-FFF2-40B4-BE49-F238E27FC236}">
                  <a16:creationId xmlns:a16="http://schemas.microsoft.com/office/drawing/2014/main" id="{4E67D1F4-E374-487A-ADEF-A67A90EEA02B}"/>
                </a:ext>
              </a:extLst>
            </p:cNvPr>
            <p:cNvSpPr>
              <a:spLocks noEditPoints="1"/>
            </p:cNvSpPr>
            <p:nvPr/>
          </p:nvSpPr>
          <p:spPr bwMode="auto">
            <a:xfrm rot="18721825" flipH="1">
              <a:off x="5735520" y="5916664"/>
              <a:ext cx="80963" cy="82550"/>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60">
              <a:extLst>
                <a:ext uri="{FF2B5EF4-FFF2-40B4-BE49-F238E27FC236}">
                  <a16:creationId xmlns:a16="http://schemas.microsoft.com/office/drawing/2014/main" id="{4E741468-357A-41DE-BB50-8BA46340A367}"/>
                </a:ext>
              </a:extLst>
            </p:cNvPr>
            <p:cNvSpPr>
              <a:spLocks/>
            </p:cNvSpPr>
            <p:nvPr/>
          </p:nvSpPr>
          <p:spPr bwMode="auto">
            <a:xfrm rot="18721825" flipH="1">
              <a:off x="5859183" y="6521842"/>
              <a:ext cx="177800" cy="176213"/>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661">
              <a:extLst>
                <a:ext uri="{FF2B5EF4-FFF2-40B4-BE49-F238E27FC236}">
                  <a16:creationId xmlns:a16="http://schemas.microsoft.com/office/drawing/2014/main" id="{F0A0D13C-2888-4BA2-99C2-29AB7AFD090F}"/>
                </a:ext>
              </a:extLst>
            </p:cNvPr>
            <p:cNvSpPr>
              <a:spLocks noEditPoints="1"/>
            </p:cNvSpPr>
            <p:nvPr/>
          </p:nvSpPr>
          <p:spPr bwMode="auto">
            <a:xfrm rot="18721825" flipH="1">
              <a:off x="5900725" y="6234226"/>
              <a:ext cx="306388" cy="303213"/>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668">
              <a:extLst>
                <a:ext uri="{FF2B5EF4-FFF2-40B4-BE49-F238E27FC236}">
                  <a16:creationId xmlns:a16="http://schemas.microsoft.com/office/drawing/2014/main" id="{30F537A4-9B0D-4EC8-871B-67422A811181}"/>
                </a:ext>
              </a:extLst>
            </p:cNvPr>
            <p:cNvSpPr>
              <a:spLocks noEditPoints="1"/>
            </p:cNvSpPr>
            <p:nvPr/>
          </p:nvSpPr>
          <p:spPr bwMode="auto">
            <a:xfrm rot="18721825" flipH="1">
              <a:off x="5813658" y="5927884"/>
              <a:ext cx="236538" cy="242888"/>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1678">
              <a:extLst>
                <a:ext uri="{FF2B5EF4-FFF2-40B4-BE49-F238E27FC236}">
                  <a16:creationId xmlns:a16="http://schemas.microsoft.com/office/drawing/2014/main" id="{78E3F992-C6A2-41D3-AB4B-4B8D10E6E68A}"/>
                </a:ext>
              </a:extLst>
            </p:cNvPr>
            <p:cNvSpPr>
              <a:spLocks noEditPoints="1"/>
            </p:cNvSpPr>
            <p:nvPr/>
          </p:nvSpPr>
          <p:spPr bwMode="auto">
            <a:xfrm rot="18721825" flipH="1">
              <a:off x="5482810" y="5728360"/>
              <a:ext cx="114300" cy="112713"/>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84" name="Group 1383">
              <a:extLst>
                <a:ext uri="{FF2B5EF4-FFF2-40B4-BE49-F238E27FC236}">
                  <a16:creationId xmlns:a16="http://schemas.microsoft.com/office/drawing/2014/main" id="{70DB8997-A07B-480D-86B2-F404B5CD67E3}"/>
                </a:ext>
              </a:extLst>
            </p:cNvPr>
            <p:cNvGrpSpPr/>
            <p:nvPr userDrawn="1"/>
          </p:nvGrpSpPr>
          <p:grpSpPr>
            <a:xfrm>
              <a:off x="7822565" y="5718968"/>
              <a:ext cx="709612" cy="846138"/>
              <a:chOff x="7789227" y="9026525"/>
              <a:chExt cx="709612" cy="846138"/>
            </a:xfrm>
          </p:grpSpPr>
          <p:sp>
            <p:nvSpPr>
              <p:cNvPr id="45" name="Freeform 1652">
                <a:extLst>
                  <a:ext uri="{FF2B5EF4-FFF2-40B4-BE49-F238E27FC236}">
                    <a16:creationId xmlns:a16="http://schemas.microsoft.com/office/drawing/2014/main" id="{E179902F-B057-48AF-9DE4-D19C1A1008AC}"/>
                  </a:ext>
                </a:extLst>
              </p:cNvPr>
              <p:cNvSpPr>
                <a:spLocks noEditPoints="1"/>
              </p:cNvSpPr>
              <p:nvPr/>
            </p:nvSpPr>
            <p:spPr bwMode="auto">
              <a:xfrm>
                <a:off x="8432164" y="9583737"/>
                <a:ext cx="66675" cy="69850"/>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653">
                <a:extLst>
                  <a:ext uri="{FF2B5EF4-FFF2-40B4-BE49-F238E27FC236}">
                    <a16:creationId xmlns:a16="http://schemas.microsoft.com/office/drawing/2014/main" id="{2196D669-32BC-49D2-942B-01CE51CA83DD}"/>
                  </a:ext>
                </a:extLst>
              </p:cNvPr>
              <p:cNvSpPr>
                <a:spLocks noEditPoints="1"/>
              </p:cNvSpPr>
              <p:nvPr/>
            </p:nvSpPr>
            <p:spPr bwMode="auto">
              <a:xfrm>
                <a:off x="8408352" y="9593262"/>
                <a:ext cx="66675" cy="69850"/>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4"/>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659">
                <a:extLst>
                  <a:ext uri="{FF2B5EF4-FFF2-40B4-BE49-F238E27FC236}">
                    <a16:creationId xmlns:a16="http://schemas.microsoft.com/office/drawing/2014/main" id="{7A9AB262-EE29-415F-AE43-7CDD8C162833}"/>
                  </a:ext>
                </a:extLst>
              </p:cNvPr>
              <p:cNvSpPr>
                <a:spLocks noEditPoints="1"/>
              </p:cNvSpPr>
              <p:nvPr/>
            </p:nvSpPr>
            <p:spPr bwMode="auto">
              <a:xfrm>
                <a:off x="8082914" y="9745662"/>
                <a:ext cx="31750" cy="31750"/>
              </a:xfrm>
              <a:custGeom>
                <a:avLst/>
                <a:gdLst>
                  <a:gd name="T0" fmla="*/ 8 w 16"/>
                  <a:gd name="T1" fmla="*/ 12 h 16"/>
                  <a:gd name="T2" fmla="*/ 4 w 16"/>
                  <a:gd name="T3" fmla="*/ 8 h 16"/>
                  <a:gd name="T4" fmla="*/ 8 w 16"/>
                  <a:gd name="T5" fmla="*/ 4 h 16"/>
                  <a:gd name="T6" fmla="*/ 12 w 16"/>
                  <a:gd name="T7" fmla="*/ 8 h 16"/>
                  <a:gd name="T8" fmla="*/ 8 w 16"/>
                  <a:gd name="T9" fmla="*/ 12 h 16"/>
                  <a:gd name="T10" fmla="*/ 8 w 16"/>
                  <a:gd name="T11" fmla="*/ 0 h 16"/>
                  <a:gd name="T12" fmla="*/ 0 w 16"/>
                  <a:gd name="T13" fmla="*/ 8 h 16"/>
                  <a:gd name="T14" fmla="*/ 8 w 16"/>
                  <a:gd name="T15" fmla="*/ 16 h 16"/>
                  <a:gd name="T16" fmla="*/ 16 w 16"/>
                  <a:gd name="T17" fmla="*/ 8 h 16"/>
                  <a:gd name="T18" fmla="*/ 8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2"/>
                    </a:moveTo>
                    <a:cubicBezTo>
                      <a:pt x="6" y="12"/>
                      <a:pt x="4" y="10"/>
                      <a:pt x="4" y="8"/>
                    </a:cubicBezTo>
                    <a:cubicBezTo>
                      <a:pt x="4" y="6"/>
                      <a:pt x="6" y="4"/>
                      <a:pt x="8" y="4"/>
                    </a:cubicBezTo>
                    <a:cubicBezTo>
                      <a:pt x="10" y="4"/>
                      <a:pt x="12" y="6"/>
                      <a:pt x="12" y="8"/>
                    </a:cubicBezTo>
                    <a:cubicBezTo>
                      <a:pt x="12" y="10"/>
                      <a:pt x="10" y="12"/>
                      <a:pt x="8" y="12"/>
                    </a:cubicBezTo>
                    <a:moveTo>
                      <a:pt x="8" y="0"/>
                    </a:moveTo>
                    <a:cubicBezTo>
                      <a:pt x="4" y="0"/>
                      <a:pt x="0" y="3"/>
                      <a:pt x="0" y="8"/>
                    </a:cubicBezTo>
                    <a:cubicBezTo>
                      <a:pt x="0" y="12"/>
                      <a:pt x="4" y="16"/>
                      <a:pt x="8" y="16"/>
                    </a:cubicBezTo>
                    <a:cubicBezTo>
                      <a:pt x="13" y="16"/>
                      <a:pt x="16" y="12"/>
                      <a:pt x="16" y="8"/>
                    </a:cubicBezTo>
                    <a:cubicBezTo>
                      <a:pt x="16" y="3"/>
                      <a:pt x="13" y="0"/>
                      <a:pt x="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1688">
                <a:extLst>
                  <a:ext uri="{FF2B5EF4-FFF2-40B4-BE49-F238E27FC236}">
                    <a16:creationId xmlns:a16="http://schemas.microsoft.com/office/drawing/2014/main" id="{878E9E16-0E36-4FF1-82F4-4806D7E7BD9E}"/>
                  </a:ext>
                </a:extLst>
              </p:cNvPr>
              <p:cNvSpPr>
                <a:spLocks noEditPoints="1"/>
              </p:cNvSpPr>
              <p:nvPr/>
            </p:nvSpPr>
            <p:spPr bwMode="auto">
              <a:xfrm>
                <a:off x="8124189" y="9731375"/>
                <a:ext cx="136525" cy="141288"/>
              </a:xfrm>
              <a:custGeom>
                <a:avLst/>
                <a:gdLst>
                  <a:gd name="T0" fmla="*/ 35 w 70"/>
                  <a:gd name="T1" fmla="*/ 61 h 72"/>
                  <a:gd name="T2" fmla="*/ 11 w 70"/>
                  <a:gd name="T3" fmla="*/ 36 h 72"/>
                  <a:gd name="T4" fmla="*/ 35 w 70"/>
                  <a:gd name="T5" fmla="*/ 11 h 72"/>
                  <a:gd name="T6" fmla="*/ 59 w 70"/>
                  <a:gd name="T7" fmla="*/ 36 h 72"/>
                  <a:gd name="T8" fmla="*/ 35 w 70"/>
                  <a:gd name="T9" fmla="*/ 61 h 72"/>
                  <a:gd name="T10" fmla="*/ 35 w 70"/>
                  <a:gd name="T11" fmla="*/ 8 h 72"/>
                  <a:gd name="T12" fmla="*/ 7 w 70"/>
                  <a:gd name="T13" fmla="*/ 36 h 72"/>
                  <a:gd name="T14" fmla="*/ 35 w 70"/>
                  <a:gd name="T15" fmla="*/ 65 h 72"/>
                  <a:gd name="T16" fmla="*/ 63 w 70"/>
                  <a:gd name="T17" fmla="*/ 36 h 72"/>
                  <a:gd name="T18" fmla="*/ 35 w 70"/>
                  <a:gd name="T19" fmla="*/ 8 h 72"/>
                  <a:gd name="T20" fmla="*/ 35 w 70"/>
                  <a:gd name="T21" fmla="*/ 68 h 72"/>
                  <a:gd name="T22" fmla="*/ 4 w 70"/>
                  <a:gd name="T23" fmla="*/ 36 h 72"/>
                  <a:gd name="T24" fmla="*/ 35 w 70"/>
                  <a:gd name="T25" fmla="*/ 4 h 72"/>
                  <a:gd name="T26" fmla="*/ 66 w 70"/>
                  <a:gd name="T27" fmla="*/ 36 h 72"/>
                  <a:gd name="T28" fmla="*/ 35 w 70"/>
                  <a:gd name="T29" fmla="*/ 68 h 72"/>
                  <a:gd name="T30" fmla="*/ 35 w 70"/>
                  <a:gd name="T31" fmla="*/ 0 h 72"/>
                  <a:gd name="T32" fmla="*/ 0 w 70"/>
                  <a:gd name="T33" fmla="*/ 36 h 72"/>
                  <a:gd name="T34" fmla="*/ 35 w 70"/>
                  <a:gd name="T35" fmla="*/ 72 h 72"/>
                  <a:gd name="T36" fmla="*/ 70 w 70"/>
                  <a:gd name="T37" fmla="*/ 36 h 72"/>
                  <a:gd name="T38" fmla="*/ 35 w 70"/>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2">
                    <a:moveTo>
                      <a:pt x="35" y="61"/>
                    </a:moveTo>
                    <a:cubicBezTo>
                      <a:pt x="22" y="61"/>
                      <a:pt x="11" y="50"/>
                      <a:pt x="11" y="36"/>
                    </a:cubicBezTo>
                    <a:cubicBezTo>
                      <a:pt x="11" y="22"/>
                      <a:pt x="22" y="11"/>
                      <a:pt x="35" y="11"/>
                    </a:cubicBezTo>
                    <a:cubicBezTo>
                      <a:pt x="48" y="11"/>
                      <a:pt x="59" y="22"/>
                      <a:pt x="59" y="36"/>
                    </a:cubicBezTo>
                    <a:cubicBezTo>
                      <a:pt x="59" y="50"/>
                      <a:pt x="48" y="61"/>
                      <a:pt x="35" y="61"/>
                    </a:cubicBezTo>
                    <a:moveTo>
                      <a:pt x="35" y="8"/>
                    </a:moveTo>
                    <a:cubicBezTo>
                      <a:pt x="20" y="8"/>
                      <a:pt x="7" y="20"/>
                      <a:pt x="7" y="36"/>
                    </a:cubicBezTo>
                    <a:cubicBezTo>
                      <a:pt x="7" y="52"/>
                      <a:pt x="20" y="65"/>
                      <a:pt x="35" y="65"/>
                    </a:cubicBezTo>
                    <a:cubicBezTo>
                      <a:pt x="51" y="65"/>
                      <a:pt x="63" y="52"/>
                      <a:pt x="63" y="36"/>
                    </a:cubicBezTo>
                    <a:cubicBezTo>
                      <a:pt x="63" y="20"/>
                      <a:pt x="51" y="8"/>
                      <a:pt x="35" y="8"/>
                    </a:cubicBezTo>
                    <a:moveTo>
                      <a:pt x="35" y="68"/>
                    </a:moveTo>
                    <a:cubicBezTo>
                      <a:pt x="18" y="68"/>
                      <a:pt x="4" y="54"/>
                      <a:pt x="4" y="36"/>
                    </a:cubicBezTo>
                    <a:cubicBezTo>
                      <a:pt x="4" y="19"/>
                      <a:pt x="18" y="4"/>
                      <a:pt x="35" y="4"/>
                    </a:cubicBezTo>
                    <a:cubicBezTo>
                      <a:pt x="52" y="4"/>
                      <a:pt x="66" y="19"/>
                      <a:pt x="66" y="36"/>
                    </a:cubicBezTo>
                    <a:cubicBezTo>
                      <a:pt x="66" y="54"/>
                      <a:pt x="52" y="68"/>
                      <a:pt x="35" y="68"/>
                    </a:cubicBezTo>
                    <a:moveTo>
                      <a:pt x="35" y="0"/>
                    </a:moveTo>
                    <a:cubicBezTo>
                      <a:pt x="16" y="0"/>
                      <a:pt x="0" y="16"/>
                      <a:pt x="0" y="36"/>
                    </a:cubicBezTo>
                    <a:cubicBezTo>
                      <a:pt x="0" y="56"/>
                      <a:pt x="16" y="72"/>
                      <a:pt x="35" y="72"/>
                    </a:cubicBezTo>
                    <a:cubicBezTo>
                      <a:pt x="55" y="72"/>
                      <a:pt x="70" y="56"/>
                      <a:pt x="70" y="36"/>
                    </a:cubicBezTo>
                    <a:cubicBezTo>
                      <a:pt x="70" y="16"/>
                      <a:pt x="55" y="0"/>
                      <a:pt x="3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1689">
                <a:extLst>
                  <a:ext uri="{FF2B5EF4-FFF2-40B4-BE49-F238E27FC236}">
                    <a16:creationId xmlns:a16="http://schemas.microsoft.com/office/drawing/2014/main" id="{7104D33B-573B-40D4-ADCB-E1FBB5689282}"/>
                  </a:ext>
                </a:extLst>
              </p:cNvPr>
              <p:cNvSpPr>
                <a:spLocks noEditPoints="1"/>
              </p:cNvSpPr>
              <p:nvPr/>
            </p:nvSpPr>
            <p:spPr bwMode="auto">
              <a:xfrm>
                <a:off x="8292464" y="9710737"/>
                <a:ext cx="68263" cy="69850"/>
              </a:xfrm>
              <a:custGeom>
                <a:avLst/>
                <a:gdLst>
                  <a:gd name="T0" fmla="*/ 18 w 35"/>
                  <a:gd name="T1" fmla="*/ 30 h 36"/>
                  <a:gd name="T2" fmla="*/ 6 w 35"/>
                  <a:gd name="T3" fmla="*/ 18 h 36"/>
                  <a:gd name="T4" fmla="*/ 18 w 35"/>
                  <a:gd name="T5" fmla="*/ 6 h 36"/>
                  <a:gd name="T6" fmla="*/ 29 w 35"/>
                  <a:gd name="T7" fmla="*/ 18 h 36"/>
                  <a:gd name="T8" fmla="*/ 18 w 35"/>
                  <a:gd name="T9" fmla="*/ 30 h 36"/>
                  <a:gd name="T10" fmla="*/ 18 w 35"/>
                  <a:gd name="T11" fmla="*/ 4 h 36"/>
                  <a:gd name="T12" fmla="*/ 4 w 35"/>
                  <a:gd name="T13" fmla="*/ 18 h 36"/>
                  <a:gd name="T14" fmla="*/ 18 w 35"/>
                  <a:gd name="T15" fmla="*/ 32 h 36"/>
                  <a:gd name="T16" fmla="*/ 32 w 35"/>
                  <a:gd name="T17" fmla="*/ 18 h 36"/>
                  <a:gd name="T18" fmla="*/ 18 w 35"/>
                  <a:gd name="T19" fmla="*/ 4 h 36"/>
                  <a:gd name="T20" fmla="*/ 18 w 35"/>
                  <a:gd name="T21" fmla="*/ 33 h 36"/>
                  <a:gd name="T22" fmla="*/ 3 w 35"/>
                  <a:gd name="T23" fmla="*/ 18 h 36"/>
                  <a:gd name="T24" fmla="*/ 18 w 35"/>
                  <a:gd name="T25" fmla="*/ 3 h 36"/>
                  <a:gd name="T26" fmla="*/ 33 w 35"/>
                  <a:gd name="T27" fmla="*/ 18 h 36"/>
                  <a:gd name="T28" fmla="*/ 18 w 35"/>
                  <a:gd name="T29" fmla="*/ 33 h 36"/>
                  <a:gd name="T30" fmla="*/ 18 w 35"/>
                  <a:gd name="T31" fmla="*/ 0 h 36"/>
                  <a:gd name="T32" fmla="*/ 0 w 35"/>
                  <a:gd name="T33" fmla="*/ 18 h 36"/>
                  <a:gd name="T34" fmla="*/ 18 w 35"/>
                  <a:gd name="T35" fmla="*/ 36 h 36"/>
                  <a:gd name="T36" fmla="*/ 35 w 35"/>
                  <a:gd name="T37" fmla="*/ 18 h 36"/>
                  <a:gd name="T38" fmla="*/ 18 w 35"/>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6">
                    <a:moveTo>
                      <a:pt x="18" y="30"/>
                    </a:moveTo>
                    <a:cubicBezTo>
                      <a:pt x="11" y="30"/>
                      <a:pt x="6" y="25"/>
                      <a:pt x="6" y="18"/>
                    </a:cubicBezTo>
                    <a:cubicBezTo>
                      <a:pt x="6" y="12"/>
                      <a:pt x="11" y="6"/>
                      <a:pt x="18" y="6"/>
                    </a:cubicBezTo>
                    <a:cubicBezTo>
                      <a:pt x="24" y="6"/>
                      <a:pt x="29" y="12"/>
                      <a:pt x="29" y="18"/>
                    </a:cubicBezTo>
                    <a:cubicBezTo>
                      <a:pt x="29" y="25"/>
                      <a:pt x="24" y="30"/>
                      <a:pt x="18" y="30"/>
                    </a:cubicBezTo>
                    <a:moveTo>
                      <a:pt x="18" y="4"/>
                    </a:moveTo>
                    <a:cubicBezTo>
                      <a:pt x="10" y="4"/>
                      <a:pt x="4" y="10"/>
                      <a:pt x="4" y="18"/>
                    </a:cubicBezTo>
                    <a:cubicBezTo>
                      <a:pt x="4" y="26"/>
                      <a:pt x="10" y="32"/>
                      <a:pt x="18" y="32"/>
                    </a:cubicBezTo>
                    <a:cubicBezTo>
                      <a:pt x="25" y="32"/>
                      <a:pt x="32" y="26"/>
                      <a:pt x="32" y="18"/>
                    </a:cubicBezTo>
                    <a:cubicBezTo>
                      <a:pt x="32" y="10"/>
                      <a:pt x="25" y="4"/>
                      <a:pt x="18" y="4"/>
                    </a:cubicBezTo>
                    <a:moveTo>
                      <a:pt x="18" y="33"/>
                    </a:moveTo>
                    <a:cubicBezTo>
                      <a:pt x="9" y="33"/>
                      <a:pt x="3" y="26"/>
                      <a:pt x="3" y="18"/>
                    </a:cubicBezTo>
                    <a:cubicBezTo>
                      <a:pt x="3" y="10"/>
                      <a:pt x="9" y="3"/>
                      <a:pt x="18" y="3"/>
                    </a:cubicBezTo>
                    <a:cubicBezTo>
                      <a:pt x="26" y="3"/>
                      <a:pt x="33" y="10"/>
                      <a:pt x="33" y="18"/>
                    </a:cubicBezTo>
                    <a:cubicBezTo>
                      <a:pt x="33" y="26"/>
                      <a:pt x="26" y="33"/>
                      <a:pt x="18" y="33"/>
                    </a:cubicBezTo>
                    <a:moveTo>
                      <a:pt x="18" y="0"/>
                    </a:moveTo>
                    <a:cubicBezTo>
                      <a:pt x="8" y="0"/>
                      <a:pt x="0" y="8"/>
                      <a:pt x="0" y="18"/>
                    </a:cubicBezTo>
                    <a:cubicBezTo>
                      <a:pt x="0" y="28"/>
                      <a:pt x="8" y="36"/>
                      <a:pt x="18" y="36"/>
                    </a:cubicBezTo>
                    <a:cubicBezTo>
                      <a:pt x="27" y="36"/>
                      <a:pt x="35" y="28"/>
                      <a:pt x="35" y="18"/>
                    </a:cubicBezTo>
                    <a:cubicBezTo>
                      <a:pt x="35" y="8"/>
                      <a:pt x="27" y="0"/>
                      <a:pt x="1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699">
                <a:extLst>
                  <a:ext uri="{FF2B5EF4-FFF2-40B4-BE49-F238E27FC236}">
                    <a16:creationId xmlns:a16="http://schemas.microsoft.com/office/drawing/2014/main" id="{7D5BF5E4-880B-4333-AAFF-2F098E0191DF}"/>
                  </a:ext>
                </a:extLst>
              </p:cNvPr>
              <p:cNvSpPr>
                <a:spLocks noEditPoints="1"/>
              </p:cNvSpPr>
              <p:nvPr/>
            </p:nvSpPr>
            <p:spPr bwMode="auto">
              <a:xfrm>
                <a:off x="7871777" y="9113837"/>
                <a:ext cx="561975" cy="523875"/>
              </a:xfrm>
              <a:custGeom>
                <a:avLst/>
                <a:gdLst>
                  <a:gd name="T0" fmla="*/ 137 w 287"/>
                  <a:gd name="T1" fmla="*/ 179 h 268"/>
                  <a:gd name="T2" fmla="*/ 108 w 287"/>
                  <a:gd name="T3" fmla="*/ 169 h 268"/>
                  <a:gd name="T4" fmla="*/ 102 w 287"/>
                  <a:gd name="T5" fmla="*/ 106 h 268"/>
                  <a:gd name="T6" fmla="*/ 137 w 287"/>
                  <a:gd name="T7" fmla="*/ 89 h 268"/>
                  <a:gd name="T8" fmla="*/ 165 w 287"/>
                  <a:gd name="T9" fmla="*/ 99 h 268"/>
                  <a:gd name="T10" fmla="*/ 172 w 287"/>
                  <a:gd name="T11" fmla="*/ 162 h 268"/>
                  <a:gd name="T12" fmla="*/ 137 w 287"/>
                  <a:gd name="T13" fmla="*/ 179 h 268"/>
                  <a:gd name="T14" fmla="*/ 137 w 287"/>
                  <a:gd name="T15" fmla="*/ 84 h 268"/>
                  <a:gd name="T16" fmla="*/ 98 w 287"/>
                  <a:gd name="T17" fmla="*/ 103 h 268"/>
                  <a:gd name="T18" fmla="*/ 105 w 287"/>
                  <a:gd name="T19" fmla="*/ 173 h 268"/>
                  <a:gd name="T20" fmla="*/ 137 w 287"/>
                  <a:gd name="T21" fmla="*/ 184 h 268"/>
                  <a:gd name="T22" fmla="*/ 175 w 287"/>
                  <a:gd name="T23" fmla="*/ 166 h 268"/>
                  <a:gd name="T24" fmla="*/ 168 w 287"/>
                  <a:gd name="T25" fmla="*/ 95 h 268"/>
                  <a:gd name="T26" fmla="*/ 137 w 287"/>
                  <a:gd name="T27" fmla="*/ 84 h 268"/>
                  <a:gd name="T28" fmla="*/ 137 w 287"/>
                  <a:gd name="T29" fmla="*/ 263 h 268"/>
                  <a:gd name="T30" fmla="*/ 55 w 287"/>
                  <a:gd name="T31" fmla="*/ 234 h 268"/>
                  <a:gd name="T32" fmla="*/ 8 w 287"/>
                  <a:gd name="T33" fmla="*/ 148 h 268"/>
                  <a:gd name="T34" fmla="*/ 36 w 287"/>
                  <a:gd name="T35" fmla="*/ 53 h 268"/>
                  <a:gd name="T36" fmla="*/ 137 w 287"/>
                  <a:gd name="T37" fmla="*/ 5 h 268"/>
                  <a:gd name="T38" fmla="*/ 218 w 287"/>
                  <a:gd name="T39" fmla="*/ 34 h 268"/>
                  <a:gd name="T40" fmla="*/ 237 w 287"/>
                  <a:gd name="T41" fmla="*/ 215 h 268"/>
                  <a:gd name="T42" fmla="*/ 137 w 287"/>
                  <a:gd name="T43" fmla="*/ 263 h 268"/>
                  <a:gd name="T44" fmla="*/ 137 w 287"/>
                  <a:gd name="T45" fmla="*/ 263 h 268"/>
                  <a:gd name="T46" fmla="*/ 137 w 287"/>
                  <a:gd name="T47" fmla="*/ 0 h 268"/>
                  <a:gd name="T48" fmla="*/ 33 w 287"/>
                  <a:gd name="T49" fmla="*/ 50 h 268"/>
                  <a:gd name="T50" fmla="*/ 3 w 287"/>
                  <a:gd name="T51" fmla="*/ 148 h 268"/>
                  <a:gd name="T52" fmla="*/ 52 w 287"/>
                  <a:gd name="T53" fmla="*/ 238 h 268"/>
                  <a:gd name="T54" fmla="*/ 137 w 287"/>
                  <a:gd name="T55" fmla="*/ 268 h 268"/>
                  <a:gd name="T56" fmla="*/ 137 w 287"/>
                  <a:gd name="T57" fmla="*/ 268 h 268"/>
                  <a:gd name="T58" fmla="*/ 241 w 287"/>
                  <a:gd name="T59" fmla="*/ 219 h 268"/>
                  <a:gd name="T60" fmla="*/ 221 w 287"/>
                  <a:gd name="T61" fmla="*/ 30 h 268"/>
                  <a:gd name="T62" fmla="*/ 137 w 287"/>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7" y="179"/>
                    </a:moveTo>
                    <a:cubicBezTo>
                      <a:pt x="126" y="179"/>
                      <a:pt x="116" y="176"/>
                      <a:pt x="108" y="169"/>
                    </a:cubicBezTo>
                    <a:cubicBezTo>
                      <a:pt x="89" y="153"/>
                      <a:pt x="86" y="125"/>
                      <a:pt x="102" y="106"/>
                    </a:cubicBezTo>
                    <a:cubicBezTo>
                      <a:pt x="110" y="95"/>
                      <a:pt x="123" y="89"/>
                      <a:pt x="137" y="89"/>
                    </a:cubicBezTo>
                    <a:cubicBezTo>
                      <a:pt x="147" y="89"/>
                      <a:pt x="157" y="93"/>
                      <a:pt x="165" y="99"/>
                    </a:cubicBezTo>
                    <a:cubicBezTo>
                      <a:pt x="184" y="115"/>
                      <a:pt x="187" y="143"/>
                      <a:pt x="172" y="162"/>
                    </a:cubicBezTo>
                    <a:cubicBezTo>
                      <a:pt x="163" y="173"/>
                      <a:pt x="150" y="179"/>
                      <a:pt x="137" y="179"/>
                    </a:cubicBezTo>
                    <a:moveTo>
                      <a:pt x="137" y="84"/>
                    </a:moveTo>
                    <a:cubicBezTo>
                      <a:pt x="122" y="84"/>
                      <a:pt x="107" y="91"/>
                      <a:pt x="98" y="103"/>
                    </a:cubicBezTo>
                    <a:cubicBezTo>
                      <a:pt x="80" y="124"/>
                      <a:pt x="84" y="156"/>
                      <a:pt x="105" y="173"/>
                    </a:cubicBezTo>
                    <a:cubicBezTo>
                      <a:pt x="114" y="180"/>
                      <a:pt x="125" y="184"/>
                      <a:pt x="137" y="184"/>
                    </a:cubicBezTo>
                    <a:cubicBezTo>
                      <a:pt x="152" y="184"/>
                      <a:pt x="166" y="177"/>
                      <a:pt x="175" y="166"/>
                    </a:cubicBezTo>
                    <a:cubicBezTo>
                      <a:pt x="193" y="144"/>
                      <a:pt x="189" y="113"/>
                      <a:pt x="168" y="95"/>
                    </a:cubicBezTo>
                    <a:cubicBezTo>
                      <a:pt x="159" y="88"/>
                      <a:pt x="148" y="84"/>
                      <a:pt x="137" y="84"/>
                    </a:cubicBezTo>
                    <a:moveTo>
                      <a:pt x="137" y="263"/>
                    </a:moveTo>
                    <a:cubicBezTo>
                      <a:pt x="107" y="263"/>
                      <a:pt x="78" y="253"/>
                      <a:pt x="55" y="234"/>
                    </a:cubicBezTo>
                    <a:cubicBezTo>
                      <a:pt x="29" y="213"/>
                      <a:pt x="12" y="182"/>
                      <a:pt x="8" y="148"/>
                    </a:cubicBezTo>
                    <a:cubicBezTo>
                      <a:pt x="5" y="113"/>
                      <a:pt x="15" y="80"/>
                      <a:pt x="36" y="53"/>
                    </a:cubicBezTo>
                    <a:cubicBezTo>
                      <a:pt x="61" y="23"/>
                      <a:pt x="98" y="5"/>
                      <a:pt x="137" y="5"/>
                    </a:cubicBezTo>
                    <a:cubicBezTo>
                      <a:pt x="166" y="5"/>
                      <a:pt x="195" y="15"/>
                      <a:pt x="218" y="34"/>
                    </a:cubicBezTo>
                    <a:cubicBezTo>
                      <a:pt x="273" y="79"/>
                      <a:pt x="282" y="160"/>
                      <a:pt x="237" y="215"/>
                    </a:cubicBezTo>
                    <a:cubicBezTo>
                      <a:pt x="212" y="246"/>
                      <a:pt x="176" y="263"/>
                      <a:pt x="137" y="263"/>
                    </a:cubicBezTo>
                    <a:cubicBezTo>
                      <a:pt x="137" y="263"/>
                      <a:pt x="137" y="263"/>
                      <a:pt x="137" y="263"/>
                    </a:cubicBezTo>
                    <a:moveTo>
                      <a:pt x="137" y="0"/>
                    </a:moveTo>
                    <a:cubicBezTo>
                      <a:pt x="96" y="0"/>
                      <a:pt x="58" y="18"/>
                      <a:pt x="33" y="50"/>
                    </a:cubicBezTo>
                    <a:cubicBezTo>
                      <a:pt x="10" y="78"/>
                      <a:pt x="0" y="112"/>
                      <a:pt x="3" y="148"/>
                    </a:cubicBezTo>
                    <a:cubicBezTo>
                      <a:pt x="7" y="184"/>
                      <a:pt x="24" y="216"/>
                      <a:pt x="52" y="238"/>
                    </a:cubicBezTo>
                    <a:cubicBezTo>
                      <a:pt x="76" y="257"/>
                      <a:pt x="106" y="268"/>
                      <a:pt x="137" y="268"/>
                    </a:cubicBezTo>
                    <a:cubicBezTo>
                      <a:pt x="137" y="268"/>
                      <a:pt x="137" y="268"/>
                      <a:pt x="137" y="268"/>
                    </a:cubicBezTo>
                    <a:cubicBezTo>
                      <a:pt x="177" y="268"/>
                      <a:pt x="215" y="250"/>
                      <a:pt x="241" y="219"/>
                    </a:cubicBezTo>
                    <a:cubicBezTo>
                      <a:pt x="287" y="161"/>
                      <a:pt x="278" y="77"/>
                      <a:pt x="221" y="30"/>
                    </a:cubicBezTo>
                    <a:cubicBezTo>
                      <a:pt x="197" y="11"/>
                      <a:pt x="167" y="0"/>
                      <a:pt x="13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1700">
                <a:extLst>
                  <a:ext uri="{FF2B5EF4-FFF2-40B4-BE49-F238E27FC236}">
                    <a16:creationId xmlns:a16="http://schemas.microsoft.com/office/drawing/2014/main" id="{B00CA2E6-A8BB-40D1-B4B9-A1412712BA48}"/>
                  </a:ext>
                </a:extLst>
              </p:cNvPr>
              <p:cNvSpPr>
                <a:spLocks noEditPoints="1"/>
              </p:cNvSpPr>
              <p:nvPr/>
            </p:nvSpPr>
            <p:spPr bwMode="auto">
              <a:xfrm>
                <a:off x="7789227" y="9026525"/>
                <a:ext cx="700088" cy="698500"/>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1 w 357"/>
                  <a:gd name="T19" fmla="*/ 129 h 356"/>
                  <a:gd name="T20" fmla="*/ 339 w 357"/>
                  <a:gd name="T21" fmla="*/ 148 h 356"/>
                  <a:gd name="T22" fmla="*/ 351 w 357"/>
                  <a:gd name="T23" fmla="*/ 190 h 356"/>
                  <a:gd name="T24" fmla="*/ 340 w 357"/>
                  <a:gd name="T25" fmla="*/ 241 h 356"/>
                  <a:gd name="T26" fmla="*/ 301 w 357"/>
                  <a:gd name="T27" fmla="*/ 247 h 356"/>
                  <a:gd name="T28" fmla="*/ 307 w 357"/>
                  <a:gd name="T29" fmla="*/ 292 h 356"/>
                  <a:gd name="T30" fmla="*/ 270 w 357"/>
                  <a:gd name="T31" fmla="*/ 325 h 356"/>
                  <a:gd name="T32" fmla="*/ 232 w 357"/>
                  <a:gd name="T33" fmla="*/ 308 h 356"/>
                  <a:gd name="T34" fmla="*/ 215 w 357"/>
                  <a:gd name="T35" fmla="*/ 347 h 356"/>
                  <a:gd name="T36" fmla="*/ 176 w 357"/>
                  <a:gd name="T37" fmla="*/ 342 h 356"/>
                  <a:gd name="T38" fmla="*/ 147 w 357"/>
                  <a:gd name="T39" fmla="*/ 315 h 356"/>
                  <a:gd name="T40" fmla="*/ 115 w 357"/>
                  <a:gd name="T41" fmla="*/ 339 h 356"/>
                  <a:gd name="T42" fmla="*/ 104 w 357"/>
                  <a:gd name="T43" fmla="*/ 298 h 356"/>
                  <a:gd name="T44" fmla="*/ 67 w 357"/>
                  <a:gd name="T45" fmla="*/ 298 h 356"/>
                  <a:gd name="T46" fmla="*/ 39 w 357"/>
                  <a:gd name="T47" fmla="*/ 276 h 356"/>
                  <a:gd name="T48" fmla="*/ 48 w 357"/>
                  <a:gd name="T49" fmla="*/ 232 h 356"/>
                  <a:gd name="T50" fmla="*/ 11 w 357"/>
                  <a:gd name="T51" fmla="*/ 221 h 356"/>
                  <a:gd name="T52" fmla="*/ 6 w 357"/>
                  <a:gd name="T53" fmla="*/ 169 h 356"/>
                  <a:gd name="T54" fmla="*/ 23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1 w 357"/>
                  <a:gd name="T67" fmla="*/ 17 h 356"/>
                  <a:gd name="T68" fmla="*/ 167 w 357"/>
                  <a:gd name="T69" fmla="*/ 33 h 356"/>
                  <a:gd name="T70" fmla="*/ 127 w 357"/>
                  <a:gd name="T71" fmla="*/ 21 h 356"/>
                  <a:gd name="T72" fmla="*/ 86 w 357"/>
                  <a:gd name="T73" fmla="*/ 26 h 356"/>
                  <a:gd name="T74" fmla="*/ 83 w 357"/>
                  <a:gd name="T75" fmla="*/ 69 h 356"/>
                  <a:gd name="T76" fmla="*/ 39 w 357"/>
                  <a:gd name="T77" fmla="*/ 67 h 356"/>
                  <a:gd name="T78" fmla="*/ 24 w 357"/>
                  <a:gd name="T79" fmla="*/ 105 h 356"/>
                  <a:gd name="T80" fmla="*/ 15 w 357"/>
                  <a:gd name="T81" fmla="*/ 154 h 356"/>
                  <a:gd name="T82" fmla="*/ 16 w 357"/>
                  <a:gd name="T83" fmla="*/ 206 h 356"/>
                  <a:gd name="T84" fmla="*/ 30 w 357"/>
                  <a:gd name="T85" fmla="*/ 233 h 356"/>
                  <a:gd name="T86" fmla="*/ 39 w 357"/>
                  <a:gd name="T87" fmla="*/ 281 h 356"/>
                  <a:gd name="T88" fmla="*/ 64 w 357"/>
                  <a:gd name="T89" fmla="*/ 315 h 356"/>
                  <a:gd name="T90" fmla="*/ 104 w 357"/>
                  <a:gd name="T91" fmla="*/ 325 h 356"/>
                  <a:gd name="T92" fmla="*/ 145 w 357"/>
                  <a:gd name="T93" fmla="*/ 320 h 356"/>
                  <a:gd name="T94" fmla="*/ 181 w 357"/>
                  <a:gd name="T95" fmla="*/ 343 h 356"/>
                  <a:gd name="T96" fmla="*/ 222 w 357"/>
                  <a:gd name="T97" fmla="*/ 351 h 356"/>
                  <a:gd name="T98" fmla="*/ 271 w 357"/>
                  <a:gd name="T99" fmla="*/ 330 h 356"/>
                  <a:gd name="T100" fmla="*/ 296 w 357"/>
                  <a:gd name="T101" fmla="*/ 293 h 356"/>
                  <a:gd name="T102" fmla="*/ 305 w 357"/>
                  <a:gd name="T103" fmla="*/ 251 h 356"/>
                  <a:gd name="T104" fmla="*/ 345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4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9" y="290"/>
                    </a:moveTo>
                    <a:cubicBezTo>
                      <a:pt x="153" y="290"/>
                      <a:pt x="128" y="281"/>
                      <a:pt x="108" y="265"/>
                    </a:cubicBezTo>
                    <a:cubicBezTo>
                      <a:pt x="60" y="226"/>
                      <a:pt x="53" y="156"/>
                      <a:pt x="92" y="108"/>
                    </a:cubicBezTo>
                    <a:cubicBezTo>
                      <a:pt x="113" y="81"/>
                      <a:pt x="145" y="66"/>
                      <a:pt x="179" y="66"/>
                    </a:cubicBezTo>
                    <a:cubicBezTo>
                      <a:pt x="204" y="66"/>
                      <a:pt x="229" y="75"/>
                      <a:pt x="249" y="91"/>
                    </a:cubicBezTo>
                    <a:cubicBezTo>
                      <a:pt x="272" y="110"/>
                      <a:pt x="287" y="137"/>
                      <a:pt x="290" y="167"/>
                    </a:cubicBezTo>
                    <a:cubicBezTo>
                      <a:pt x="293" y="196"/>
                      <a:pt x="284" y="225"/>
                      <a:pt x="265" y="249"/>
                    </a:cubicBezTo>
                    <a:cubicBezTo>
                      <a:pt x="244" y="275"/>
                      <a:pt x="212" y="290"/>
                      <a:pt x="179" y="290"/>
                    </a:cubicBezTo>
                    <a:moveTo>
                      <a:pt x="179" y="61"/>
                    </a:moveTo>
                    <a:cubicBezTo>
                      <a:pt x="143" y="61"/>
                      <a:pt x="110" y="77"/>
                      <a:pt x="88" y="105"/>
                    </a:cubicBezTo>
                    <a:cubicBezTo>
                      <a:pt x="47" y="155"/>
                      <a:pt x="55" y="228"/>
                      <a:pt x="105" y="269"/>
                    </a:cubicBezTo>
                    <a:cubicBezTo>
                      <a:pt x="126" y="286"/>
                      <a:pt x="152" y="295"/>
                      <a:pt x="179" y="295"/>
                    </a:cubicBezTo>
                    <a:cubicBezTo>
                      <a:pt x="214" y="295"/>
                      <a:pt x="247" y="279"/>
                      <a:pt x="269" y="252"/>
                    </a:cubicBezTo>
                    <a:cubicBezTo>
                      <a:pt x="289" y="228"/>
                      <a:pt x="298" y="197"/>
                      <a:pt x="295" y="166"/>
                    </a:cubicBezTo>
                    <a:cubicBezTo>
                      <a:pt x="292" y="135"/>
                      <a:pt x="276" y="107"/>
                      <a:pt x="252" y="87"/>
                    </a:cubicBezTo>
                    <a:cubicBezTo>
                      <a:pt x="231" y="71"/>
                      <a:pt x="205" y="61"/>
                      <a:pt x="179" y="61"/>
                    </a:cubicBezTo>
                    <a:moveTo>
                      <a:pt x="167" y="38"/>
                    </a:moveTo>
                    <a:cubicBezTo>
                      <a:pt x="167" y="38"/>
                      <a:pt x="167" y="38"/>
                      <a:pt x="168" y="38"/>
                    </a:cubicBezTo>
                    <a:cubicBezTo>
                      <a:pt x="174" y="35"/>
                      <a:pt x="179" y="24"/>
                      <a:pt x="182" y="14"/>
                    </a:cubicBezTo>
                    <a:cubicBezTo>
                      <a:pt x="184" y="5"/>
                      <a:pt x="187" y="5"/>
                      <a:pt x="189" y="5"/>
                    </a:cubicBezTo>
                    <a:cubicBezTo>
                      <a:pt x="190" y="5"/>
                      <a:pt x="191" y="5"/>
                      <a:pt x="192" y="6"/>
                    </a:cubicBezTo>
                    <a:cubicBezTo>
                      <a:pt x="193" y="6"/>
                      <a:pt x="193" y="6"/>
                      <a:pt x="193" y="6"/>
                    </a:cubicBezTo>
                    <a:cubicBezTo>
                      <a:pt x="197" y="6"/>
                      <a:pt x="201" y="6"/>
                      <a:pt x="201" y="16"/>
                    </a:cubicBezTo>
                    <a:cubicBezTo>
                      <a:pt x="202" y="24"/>
                      <a:pt x="204" y="36"/>
                      <a:pt x="209" y="41"/>
                    </a:cubicBezTo>
                    <a:cubicBezTo>
                      <a:pt x="209" y="41"/>
                      <a:pt x="210" y="41"/>
                      <a:pt x="211" y="41"/>
                    </a:cubicBezTo>
                    <a:cubicBezTo>
                      <a:pt x="211" y="41"/>
                      <a:pt x="211" y="41"/>
                      <a:pt x="211" y="41"/>
                    </a:cubicBezTo>
                    <a:cubicBezTo>
                      <a:pt x="218" y="41"/>
                      <a:pt x="227" y="32"/>
                      <a:pt x="232" y="23"/>
                    </a:cubicBezTo>
                    <a:cubicBezTo>
                      <a:pt x="236" y="16"/>
                      <a:pt x="239" y="16"/>
                      <a:pt x="240" y="16"/>
                    </a:cubicBezTo>
                    <a:cubicBezTo>
                      <a:pt x="241" y="16"/>
                      <a:pt x="242" y="17"/>
                      <a:pt x="244" y="18"/>
                    </a:cubicBezTo>
                    <a:cubicBezTo>
                      <a:pt x="245" y="18"/>
                      <a:pt x="245" y="18"/>
                      <a:pt x="245" y="18"/>
                    </a:cubicBezTo>
                    <a:cubicBezTo>
                      <a:pt x="249" y="20"/>
                      <a:pt x="252" y="21"/>
                      <a:pt x="250" y="31"/>
                    </a:cubicBezTo>
                    <a:cubicBezTo>
                      <a:pt x="248" y="39"/>
                      <a:pt x="247" y="50"/>
                      <a:pt x="250" y="57"/>
                    </a:cubicBezTo>
                    <a:cubicBezTo>
                      <a:pt x="250" y="57"/>
                      <a:pt x="251" y="58"/>
                      <a:pt x="251" y="58"/>
                    </a:cubicBezTo>
                    <a:cubicBezTo>
                      <a:pt x="252" y="58"/>
                      <a:pt x="253" y="58"/>
                      <a:pt x="253" y="58"/>
                    </a:cubicBezTo>
                    <a:cubicBezTo>
                      <a:pt x="260" y="58"/>
                      <a:pt x="270" y="52"/>
                      <a:pt x="277" y="47"/>
                    </a:cubicBezTo>
                    <a:cubicBezTo>
                      <a:pt x="280" y="44"/>
                      <a:pt x="283" y="43"/>
                      <a:pt x="285" y="43"/>
                    </a:cubicBezTo>
                    <a:cubicBezTo>
                      <a:pt x="287" y="43"/>
                      <a:pt x="288" y="44"/>
                      <a:pt x="290" y="45"/>
                    </a:cubicBezTo>
                    <a:cubicBezTo>
                      <a:pt x="291" y="46"/>
                      <a:pt x="291" y="46"/>
                      <a:pt x="291" y="46"/>
                    </a:cubicBezTo>
                    <a:cubicBezTo>
                      <a:pt x="294" y="49"/>
                      <a:pt x="297" y="51"/>
                      <a:pt x="291" y="60"/>
                    </a:cubicBezTo>
                    <a:cubicBezTo>
                      <a:pt x="287" y="67"/>
                      <a:pt x="283" y="77"/>
                      <a:pt x="283" y="84"/>
                    </a:cubicBezTo>
                    <a:cubicBezTo>
                      <a:pt x="283" y="85"/>
                      <a:pt x="284" y="86"/>
                      <a:pt x="285" y="86"/>
                    </a:cubicBezTo>
                    <a:cubicBezTo>
                      <a:pt x="286" y="87"/>
                      <a:pt x="289" y="88"/>
                      <a:pt x="292" y="88"/>
                    </a:cubicBezTo>
                    <a:cubicBezTo>
                      <a:pt x="298" y="88"/>
                      <a:pt x="306" y="86"/>
                      <a:pt x="312" y="83"/>
                    </a:cubicBezTo>
                    <a:cubicBezTo>
                      <a:pt x="315" y="82"/>
                      <a:pt x="318"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3" y="129"/>
                      <a:pt x="331" y="129"/>
                    </a:cubicBezTo>
                    <a:cubicBezTo>
                      <a:pt x="332" y="129"/>
                      <a:pt x="334" y="129"/>
                      <a:pt x="335" y="129"/>
                    </a:cubicBezTo>
                    <a:cubicBezTo>
                      <a:pt x="336" y="129"/>
                      <a:pt x="337" y="129"/>
                      <a:pt x="338" y="129"/>
                    </a:cubicBezTo>
                    <a:cubicBezTo>
                      <a:pt x="345" y="129"/>
                      <a:pt x="345" y="131"/>
                      <a:pt x="346" y="135"/>
                    </a:cubicBezTo>
                    <a:cubicBezTo>
                      <a:pt x="347" y="137"/>
                      <a:pt x="347" y="137"/>
                      <a:pt x="347" y="137"/>
                    </a:cubicBezTo>
                    <a:cubicBezTo>
                      <a:pt x="348" y="141"/>
                      <a:pt x="349" y="144"/>
                      <a:pt x="339" y="148"/>
                    </a:cubicBezTo>
                    <a:cubicBezTo>
                      <a:pt x="332" y="151"/>
                      <a:pt x="322" y="157"/>
                      <a:pt x="319" y="163"/>
                    </a:cubicBezTo>
                    <a:cubicBezTo>
                      <a:pt x="318" y="164"/>
                      <a:pt x="318" y="164"/>
                      <a:pt x="319" y="165"/>
                    </a:cubicBezTo>
                    <a:cubicBezTo>
                      <a:pt x="321" y="171"/>
                      <a:pt x="333" y="177"/>
                      <a:pt x="343" y="179"/>
                    </a:cubicBezTo>
                    <a:cubicBezTo>
                      <a:pt x="352" y="181"/>
                      <a:pt x="352" y="184"/>
                      <a:pt x="351" y="188"/>
                    </a:cubicBezTo>
                    <a:cubicBezTo>
                      <a:pt x="351" y="190"/>
                      <a:pt x="351" y="190"/>
                      <a:pt x="351" y="190"/>
                    </a:cubicBezTo>
                    <a:cubicBezTo>
                      <a:pt x="351" y="194"/>
                      <a:pt x="351" y="198"/>
                      <a:pt x="341" y="198"/>
                    </a:cubicBezTo>
                    <a:cubicBezTo>
                      <a:pt x="333" y="199"/>
                      <a:pt x="322" y="202"/>
                      <a:pt x="317" y="206"/>
                    </a:cubicBezTo>
                    <a:cubicBezTo>
                      <a:pt x="316" y="207"/>
                      <a:pt x="316" y="208"/>
                      <a:pt x="316" y="208"/>
                    </a:cubicBezTo>
                    <a:cubicBezTo>
                      <a:pt x="317" y="215"/>
                      <a:pt x="326" y="224"/>
                      <a:pt x="335" y="229"/>
                    </a:cubicBezTo>
                    <a:cubicBezTo>
                      <a:pt x="343" y="234"/>
                      <a:pt x="342" y="237"/>
                      <a:pt x="340" y="241"/>
                    </a:cubicBezTo>
                    <a:cubicBezTo>
                      <a:pt x="339" y="242"/>
                      <a:pt x="339" y="242"/>
                      <a:pt x="339" y="242"/>
                    </a:cubicBezTo>
                    <a:cubicBezTo>
                      <a:pt x="338" y="246"/>
                      <a:pt x="337" y="248"/>
                      <a:pt x="333" y="248"/>
                    </a:cubicBezTo>
                    <a:cubicBezTo>
                      <a:pt x="331" y="248"/>
                      <a:pt x="329" y="248"/>
                      <a:pt x="327" y="247"/>
                    </a:cubicBezTo>
                    <a:cubicBezTo>
                      <a:pt x="323" y="246"/>
                      <a:pt x="318" y="245"/>
                      <a:pt x="313" y="245"/>
                    </a:cubicBezTo>
                    <a:cubicBezTo>
                      <a:pt x="310" y="245"/>
                      <a:pt x="305" y="246"/>
                      <a:pt x="301" y="247"/>
                    </a:cubicBezTo>
                    <a:cubicBezTo>
                      <a:pt x="301" y="248"/>
                      <a:pt x="300" y="248"/>
                      <a:pt x="300" y="249"/>
                    </a:cubicBezTo>
                    <a:cubicBezTo>
                      <a:pt x="299" y="255"/>
                      <a:pt x="305" y="267"/>
                      <a:pt x="311" y="274"/>
                    </a:cubicBezTo>
                    <a:cubicBezTo>
                      <a:pt x="318" y="282"/>
                      <a:pt x="316" y="284"/>
                      <a:pt x="313" y="287"/>
                    </a:cubicBezTo>
                    <a:cubicBezTo>
                      <a:pt x="312" y="288"/>
                      <a:pt x="312" y="288"/>
                      <a:pt x="312" y="288"/>
                    </a:cubicBezTo>
                    <a:cubicBezTo>
                      <a:pt x="310" y="291"/>
                      <a:pt x="309" y="292"/>
                      <a:pt x="307" y="292"/>
                    </a:cubicBezTo>
                    <a:cubicBezTo>
                      <a:pt x="305" y="292"/>
                      <a:pt x="302" y="291"/>
                      <a:pt x="299" y="289"/>
                    </a:cubicBezTo>
                    <a:cubicBezTo>
                      <a:pt x="293" y="285"/>
                      <a:pt x="283" y="281"/>
                      <a:pt x="276" y="281"/>
                    </a:cubicBezTo>
                    <a:cubicBezTo>
                      <a:pt x="274" y="281"/>
                      <a:pt x="272" y="282"/>
                      <a:pt x="271" y="283"/>
                    </a:cubicBezTo>
                    <a:cubicBezTo>
                      <a:pt x="265" y="287"/>
                      <a:pt x="268" y="303"/>
                      <a:pt x="272" y="313"/>
                    </a:cubicBezTo>
                    <a:cubicBezTo>
                      <a:pt x="276" y="321"/>
                      <a:pt x="274" y="323"/>
                      <a:pt x="270" y="325"/>
                    </a:cubicBezTo>
                    <a:cubicBezTo>
                      <a:pt x="268" y="326"/>
                      <a:pt x="268" y="326"/>
                      <a:pt x="268" y="326"/>
                    </a:cubicBezTo>
                    <a:cubicBezTo>
                      <a:pt x="267" y="327"/>
                      <a:pt x="265" y="328"/>
                      <a:pt x="264" y="328"/>
                    </a:cubicBezTo>
                    <a:cubicBezTo>
                      <a:pt x="262" y="328"/>
                      <a:pt x="259" y="326"/>
                      <a:pt x="256" y="323"/>
                    </a:cubicBezTo>
                    <a:cubicBezTo>
                      <a:pt x="249" y="315"/>
                      <a:pt x="239" y="308"/>
                      <a:pt x="233" y="308"/>
                    </a:cubicBezTo>
                    <a:cubicBezTo>
                      <a:pt x="233" y="308"/>
                      <a:pt x="233" y="308"/>
                      <a:pt x="232" y="308"/>
                    </a:cubicBezTo>
                    <a:cubicBezTo>
                      <a:pt x="232" y="308"/>
                      <a:pt x="231" y="309"/>
                      <a:pt x="230" y="309"/>
                    </a:cubicBezTo>
                    <a:cubicBezTo>
                      <a:pt x="227" y="315"/>
                      <a:pt x="226" y="326"/>
                      <a:pt x="227" y="335"/>
                    </a:cubicBezTo>
                    <a:cubicBezTo>
                      <a:pt x="228" y="344"/>
                      <a:pt x="225" y="345"/>
                      <a:pt x="220" y="346"/>
                    </a:cubicBezTo>
                    <a:cubicBezTo>
                      <a:pt x="219" y="347"/>
                      <a:pt x="219" y="347"/>
                      <a:pt x="219" y="347"/>
                    </a:cubicBezTo>
                    <a:cubicBezTo>
                      <a:pt x="218" y="347"/>
                      <a:pt x="216" y="347"/>
                      <a:pt x="215" y="347"/>
                    </a:cubicBezTo>
                    <a:cubicBezTo>
                      <a:pt x="214" y="347"/>
                      <a:pt x="211" y="347"/>
                      <a:pt x="208" y="340"/>
                    </a:cubicBezTo>
                    <a:cubicBezTo>
                      <a:pt x="204" y="330"/>
                      <a:pt x="196" y="320"/>
                      <a:pt x="190" y="318"/>
                    </a:cubicBezTo>
                    <a:cubicBezTo>
                      <a:pt x="190" y="318"/>
                      <a:pt x="190" y="318"/>
                      <a:pt x="189" y="318"/>
                    </a:cubicBezTo>
                    <a:cubicBezTo>
                      <a:pt x="189" y="318"/>
                      <a:pt x="188" y="318"/>
                      <a:pt x="188" y="319"/>
                    </a:cubicBezTo>
                    <a:cubicBezTo>
                      <a:pt x="183" y="323"/>
                      <a:pt x="178" y="334"/>
                      <a:pt x="176" y="342"/>
                    </a:cubicBezTo>
                    <a:cubicBezTo>
                      <a:pt x="175" y="351"/>
                      <a:pt x="171" y="351"/>
                      <a:pt x="169" y="351"/>
                    </a:cubicBezTo>
                    <a:cubicBezTo>
                      <a:pt x="168" y="351"/>
                      <a:pt x="168" y="351"/>
                      <a:pt x="167" y="351"/>
                    </a:cubicBezTo>
                    <a:cubicBezTo>
                      <a:pt x="165" y="351"/>
                      <a:pt x="165" y="351"/>
                      <a:pt x="165" y="351"/>
                    </a:cubicBezTo>
                    <a:cubicBezTo>
                      <a:pt x="161" y="351"/>
                      <a:pt x="158" y="351"/>
                      <a:pt x="157" y="341"/>
                    </a:cubicBezTo>
                    <a:cubicBezTo>
                      <a:pt x="156" y="331"/>
                      <a:pt x="152" y="318"/>
                      <a:pt x="147" y="315"/>
                    </a:cubicBezTo>
                    <a:cubicBezTo>
                      <a:pt x="146" y="315"/>
                      <a:pt x="146" y="315"/>
                      <a:pt x="145" y="315"/>
                    </a:cubicBezTo>
                    <a:cubicBezTo>
                      <a:pt x="144" y="315"/>
                      <a:pt x="144" y="315"/>
                      <a:pt x="144" y="315"/>
                    </a:cubicBezTo>
                    <a:cubicBezTo>
                      <a:pt x="138" y="317"/>
                      <a:pt x="131" y="326"/>
                      <a:pt x="126" y="333"/>
                    </a:cubicBezTo>
                    <a:cubicBezTo>
                      <a:pt x="123" y="340"/>
                      <a:pt x="120" y="340"/>
                      <a:pt x="119" y="340"/>
                    </a:cubicBezTo>
                    <a:cubicBezTo>
                      <a:pt x="118" y="340"/>
                      <a:pt x="116" y="340"/>
                      <a:pt x="115" y="339"/>
                    </a:cubicBezTo>
                    <a:cubicBezTo>
                      <a:pt x="113" y="339"/>
                      <a:pt x="113" y="339"/>
                      <a:pt x="113" y="339"/>
                    </a:cubicBezTo>
                    <a:cubicBezTo>
                      <a:pt x="109" y="337"/>
                      <a:pt x="106" y="336"/>
                      <a:pt x="109" y="326"/>
                    </a:cubicBezTo>
                    <a:cubicBezTo>
                      <a:pt x="111" y="316"/>
                      <a:pt x="111" y="304"/>
                      <a:pt x="106" y="299"/>
                    </a:cubicBezTo>
                    <a:cubicBezTo>
                      <a:pt x="106" y="298"/>
                      <a:pt x="105" y="298"/>
                      <a:pt x="104" y="298"/>
                    </a:cubicBezTo>
                    <a:cubicBezTo>
                      <a:pt x="104" y="298"/>
                      <a:pt x="104" y="298"/>
                      <a:pt x="104" y="298"/>
                    </a:cubicBezTo>
                    <a:cubicBezTo>
                      <a:pt x="98" y="298"/>
                      <a:pt x="88" y="304"/>
                      <a:pt x="81" y="310"/>
                    </a:cubicBezTo>
                    <a:cubicBezTo>
                      <a:pt x="78" y="313"/>
                      <a:pt x="76" y="315"/>
                      <a:pt x="74" y="315"/>
                    </a:cubicBezTo>
                    <a:cubicBezTo>
                      <a:pt x="72" y="315"/>
                      <a:pt x="70" y="313"/>
                      <a:pt x="69" y="312"/>
                    </a:cubicBezTo>
                    <a:cubicBezTo>
                      <a:pt x="67" y="311"/>
                      <a:pt x="67" y="311"/>
                      <a:pt x="67" y="311"/>
                    </a:cubicBezTo>
                    <a:cubicBezTo>
                      <a:pt x="64" y="308"/>
                      <a:pt x="61" y="306"/>
                      <a:pt x="67" y="298"/>
                    </a:cubicBezTo>
                    <a:cubicBezTo>
                      <a:pt x="72" y="289"/>
                      <a:pt x="75" y="277"/>
                      <a:pt x="73" y="271"/>
                    </a:cubicBezTo>
                    <a:cubicBezTo>
                      <a:pt x="73" y="270"/>
                      <a:pt x="72" y="270"/>
                      <a:pt x="71" y="269"/>
                    </a:cubicBezTo>
                    <a:cubicBezTo>
                      <a:pt x="70" y="269"/>
                      <a:pt x="68" y="269"/>
                      <a:pt x="67" y="269"/>
                    </a:cubicBezTo>
                    <a:cubicBezTo>
                      <a:pt x="61" y="269"/>
                      <a:pt x="53" y="271"/>
                      <a:pt x="46" y="274"/>
                    </a:cubicBezTo>
                    <a:cubicBezTo>
                      <a:pt x="43" y="275"/>
                      <a:pt x="40" y="276"/>
                      <a:pt x="39" y="276"/>
                    </a:cubicBezTo>
                    <a:cubicBezTo>
                      <a:pt x="36" y="276"/>
                      <a:pt x="35" y="274"/>
                      <a:pt x="33" y="272"/>
                    </a:cubicBezTo>
                    <a:cubicBezTo>
                      <a:pt x="32" y="270"/>
                      <a:pt x="32" y="270"/>
                      <a:pt x="32" y="270"/>
                    </a:cubicBezTo>
                    <a:cubicBezTo>
                      <a:pt x="30" y="267"/>
                      <a:pt x="28" y="264"/>
                      <a:pt x="35" y="258"/>
                    </a:cubicBezTo>
                    <a:cubicBezTo>
                      <a:pt x="43" y="251"/>
                      <a:pt x="50" y="241"/>
                      <a:pt x="50" y="234"/>
                    </a:cubicBezTo>
                    <a:cubicBezTo>
                      <a:pt x="50" y="233"/>
                      <a:pt x="49" y="233"/>
                      <a:pt x="48" y="232"/>
                    </a:cubicBezTo>
                    <a:cubicBezTo>
                      <a:pt x="43" y="229"/>
                      <a:pt x="34" y="228"/>
                      <a:pt x="30" y="228"/>
                    </a:cubicBezTo>
                    <a:cubicBezTo>
                      <a:pt x="28" y="228"/>
                      <a:pt x="25" y="228"/>
                      <a:pt x="23" y="229"/>
                    </a:cubicBezTo>
                    <a:cubicBezTo>
                      <a:pt x="21" y="229"/>
                      <a:pt x="20" y="229"/>
                      <a:pt x="19" y="229"/>
                    </a:cubicBezTo>
                    <a:cubicBezTo>
                      <a:pt x="13" y="229"/>
                      <a:pt x="12" y="227"/>
                      <a:pt x="11" y="223"/>
                    </a:cubicBezTo>
                    <a:cubicBezTo>
                      <a:pt x="11" y="221"/>
                      <a:pt x="11" y="221"/>
                      <a:pt x="11" y="221"/>
                    </a:cubicBezTo>
                    <a:cubicBezTo>
                      <a:pt x="10" y="217"/>
                      <a:pt x="9" y="214"/>
                      <a:pt x="18" y="210"/>
                    </a:cubicBezTo>
                    <a:cubicBezTo>
                      <a:pt x="27" y="206"/>
                      <a:pt x="37" y="198"/>
                      <a:pt x="39" y="192"/>
                    </a:cubicBezTo>
                    <a:cubicBezTo>
                      <a:pt x="39" y="191"/>
                      <a:pt x="39" y="190"/>
                      <a:pt x="38" y="190"/>
                    </a:cubicBezTo>
                    <a:cubicBezTo>
                      <a:pt x="34" y="185"/>
                      <a:pt x="23" y="180"/>
                      <a:pt x="15" y="179"/>
                    </a:cubicBezTo>
                    <a:cubicBezTo>
                      <a:pt x="5" y="177"/>
                      <a:pt x="5" y="174"/>
                      <a:pt x="6" y="169"/>
                    </a:cubicBezTo>
                    <a:cubicBezTo>
                      <a:pt x="6" y="168"/>
                      <a:pt x="6" y="168"/>
                      <a:pt x="6" y="168"/>
                    </a:cubicBezTo>
                    <a:cubicBezTo>
                      <a:pt x="6" y="163"/>
                      <a:pt x="6" y="160"/>
                      <a:pt x="16" y="159"/>
                    </a:cubicBezTo>
                    <a:cubicBezTo>
                      <a:pt x="26" y="158"/>
                      <a:pt x="38" y="154"/>
                      <a:pt x="41" y="148"/>
                    </a:cubicBezTo>
                    <a:cubicBezTo>
                      <a:pt x="42" y="148"/>
                      <a:pt x="42" y="147"/>
                      <a:pt x="41" y="146"/>
                    </a:cubicBezTo>
                    <a:cubicBezTo>
                      <a:pt x="39" y="140"/>
                      <a:pt x="30" y="133"/>
                      <a:pt x="23" y="129"/>
                    </a:cubicBezTo>
                    <a:cubicBezTo>
                      <a:pt x="14" y="124"/>
                      <a:pt x="15" y="121"/>
                      <a:pt x="17"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8"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5" y="72"/>
                      <a:pt x="73" y="75"/>
                      <a:pt x="79" y="75"/>
                    </a:cubicBezTo>
                    <a:cubicBezTo>
                      <a:pt x="82" y="75"/>
                      <a:pt x="85" y="74"/>
                      <a:pt x="86" y="73"/>
                    </a:cubicBezTo>
                    <a:cubicBezTo>
                      <a:pt x="86" y="73"/>
                      <a:pt x="86" y="73"/>
                      <a:pt x="86" y="73"/>
                    </a:cubicBezTo>
                    <a:cubicBezTo>
                      <a:pt x="86" y="73"/>
                      <a:pt x="86" y="73"/>
                      <a:pt x="86" y="73"/>
                    </a:cubicBezTo>
                    <a:cubicBezTo>
                      <a:pt x="87" y="72"/>
                      <a:pt x="87" y="72"/>
                      <a:pt x="87" y="72"/>
                    </a:cubicBezTo>
                    <a:cubicBezTo>
                      <a:pt x="92" y="68"/>
                      <a:pt x="89" y="52"/>
                      <a:pt x="86" y="43"/>
                    </a:cubicBezTo>
                    <a:cubicBezTo>
                      <a:pt x="82" y="34"/>
                      <a:pt x="85" y="32"/>
                      <a:pt x="89" y="30"/>
                    </a:cubicBezTo>
                    <a:cubicBezTo>
                      <a:pt x="90" y="29"/>
                      <a:pt x="90" y="29"/>
                      <a:pt x="90" y="29"/>
                    </a:cubicBezTo>
                    <a:cubicBezTo>
                      <a:pt x="92" y="28"/>
                      <a:pt x="93" y="28"/>
                      <a:pt x="95" y="28"/>
                    </a:cubicBezTo>
                    <a:cubicBezTo>
                      <a:pt x="97" y="28"/>
                      <a:pt x="100" y="29"/>
                      <a:pt x="103" y="33"/>
                    </a:cubicBezTo>
                    <a:cubicBezTo>
                      <a:pt x="108" y="40"/>
                      <a:pt x="117" y="47"/>
                      <a:pt x="123" y="49"/>
                    </a:cubicBezTo>
                    <a:cubicBezTo>
                      <a:pt x="123" y="49"/>
                      <a:pt x="123" y="49"/>
                      <a:pt x="124" y="49"/>
                    </a:cubicBezTo>
                    <a:cubicBezTo>
                      <a:pt x="124" y="49"/>
                      <a:pt x="125" y="49"/>
                      <a:pt x="125" y="48"/>
                    </a:cubicBezTo>
                    <a:cubicBezTo>
                      <a:pt x="130" y="44"/>
                      <a:pt x="132" y="31"/>
                      <a:pt x="132" y="21"/>
                    </a:cubicBezTo>
                    <a:cubicBezTo>
                      <a:pt x="131" y="11"/>
                      <a:pt x="134" y="11"/>
                      <a:pt x="138" y="10"/>
                    </a:cubicBezTo>
                    <a:cubicBezTo>
                      <a:pt x="140" y="9"/>
                      <a:pt x="140" y="9"/>
                      <a:pt x="140" y="9"/>
                    </a:cubicBezTo>
                    <a:cubicBezTo>
                      <a:pt x="141" y="9"/>
                      <a:pt x="142" y="9"/>
                      <a:pt x="143" y="9"/>
                    </a:cubicBezTo>
                    <a:cubicBezTo>
                      <a:pt x="145" y="9"/>
                      <a:pt x="148" y="9"/>
                      <a:pt x="151" y="17"/>
                    </a:cubicBezTo>
                    <a:cubicBezTo>
                      <a:pt x="154" y="25"/>
                      <a:pt x="160" y="35"/>
                      <a:pt x="166" y="38"/>
                    </a:cubicBezTo>
                    <a:cubicBezTo>
                      <a:pt x="166" y="38"/>
                      <a:pt x="166" y="38"/>
                      <a:pt x="167" y="38"/>
                    </a:cubicBezTo>
                    <a:moveTo>
                      <a:pt x="189" y="0"/>
                    </a:moveTo>
                    <a:cubicBezTo>
                      <a:pt x="183" y="0"/>
                      <a:pt x="179" y="4"/>
                      <a:pt x="177" y="13"/>
                    </a:cubicBezTo>
                    <a:cubicBezTo>
                      <a:pt x="175" y="22"/>
                      <a:pt x="170" y="30"/>
                      <a:pt x="167" y="33"/>
                    </a:cubicBezTo>
                    <a:cubicBezTo>
                      <a:pt x="163" y="30"/>
                      <a:pt x="158" y="23"/>
                      <a:pt x="155" y="15"/>
                    </a:cubicBezTo>
                    <a:cubicBezTo>
                      <a:pt x="152" y="7"/>
                      <a:pt x="149" y="4"/>
                      <a:pt x="143" y="4"/>
                    </a:cubicBezTo>
                    <a:cubicBezTo>
                      <a:pt x="142" y="4"/>
                      <a:pt x="140" y="4"/>
                      <a:pt x="139" y="5"/>
                    </a:cubicBezTo>
                    <a:cubicBezTo>
                      <a:pt x="137" y="5"/>
                      <a:pt x="137" y="5"/>
                      <a:pt x="137" y="5"/>
                    </a:cubicBezTo>
                    <a:cubicBezTo>
                      <a:pt x="131" y="6"/>
                      <a:pt x="126" y="8"/>
                      <a:pt x="127" y="21"/>
                    </a:cubicBezTo>
                    <a:cubicBezTo>
                      <a:pt x="127" y="30"/>
                      <a:pt x="125" y="40"/>
                      <a:pt x="123" y="43"/>
                    </a:cubicBezTo>
                    <a:cubicBezTo>
                      <a:pt x="118" y="42"/>
                      <a:pt x="112" y="36"/>
                      <a:pt x="106" y="30"/>
                    </a:cubicBezTo>
                    <a:cubicBezTo>
                      <a:pt x="103" y="25"/>
                      <a:pt x="99" y="23"/>
                      <a:pt x="95" y="23"/>
                    </a:cubicBezTo>
                    <a:cubicBezTo>
                      <a:pt x="92" y="23"/>
                      <a:pt x="89" y="24"/>
                      <a:pt x="87" y="25"/>
                    </a:cubicBezTo>
                    <a:cubicBezTo>
                      <a:pt x="86" y="26"/>
                      <a:pt x="86" y="26"/>
                      <a:pt x="86" y="26"/>
                    </a:cubicBezTo>
                    <a:cubicBezTo>
                      <a:pt x="81" y="29"/>
                      <a:pt x="76" y="33"/>
                      <a:pt x="81" y="45"/>
                    </a:cubicBezTo>
                    <a:cubicBezTo>
                      <a:pt x="85" y="55"/>
                      <a:pt x="86" y="66"/>
                      <a:pt x="83" y="68"/>
                    </a:cubicBezTo>
                    <a:cubicBezTo>
                      <a:pt x="83" y="69"/>
                      <a:pt x="83" y="69"/>
                      <a:pt x="83" y="69"/>
                    </a:cubicBezTo>
                    <a:cubicBezTo>
                      <a:pt x="83" y="69"/>
                      <a:pt x="83" y="69"/>
                      <a:pt x="83" y="69"/>
                    </a:cubicBezTo>
                    <a:cubicBezTo>
                      <a:pt x="83" y="69"/>
                      <a:pt x="83" y="69"/>
                      <a:pt x="83" y="69"/>
                    </a:cubicBezTo>
                    <a:cubicBezTo>
                      <a:pt x="82" y="69"/>
                      <a:pt x="81" y="70"/>
                      <a:pt x="79" y="70"/>
                    </a:cubicBezTo>
                    <a:cubicBezTo>
                      <a:pt x="74" y="70"/>
                      <a:pt x="66" y="67"/>
                      <a:pt x="60" y="64"/>
                    </a:cubicBezTo>
                    <a:cubicBezTo>
                      <a:pt x="56" y="61"/>
                      <a:pt x="52" y="60"/>
                      <a:pt x="49" y="60"/>
                    </a:cubicBezTo>
                    <a:cubicBezTo>
                      <a:pt x="45" y="60"/>
                      <a:pt x="42" y="64"/>
                      <a:pt x="40" y="66"/>
                    </a:cubicBezTo>
                    <a:cubicBezTo>
                      <a:pt x="39" y="67"/>
                      <a:pt x="39" y="67"/>
                      <a:pt x="39" y="67"/>
                    </a:cubicBezTo>
                    <a:cubicBezTo>
                      <a:pt x="35" y="72"/>
                      <a:pt x="32" y="77"/>
                      <a:pt x="42" y="87"/>
                    </a:cubicBezTo>
                    <a:cubicBezTo>
                      <a:pt x="47" y="93"/>
                      <a:pt x="52" y="100"/>
                      <a:pt x="53" y="105"/>
                    </a:cubicBezTo>
                    <a:cubicBezTo>
                      <a:pt x="51" y="106"/>
                      <a:pt x="47" y="107"/>
                      <a:pt x="41" y="107"/>
                    </a:cubicBezTo>
                    <a:cubicBezTo>
                      <a:pt x="37" y="107"/>
                      <a:pt x="34" y="106"/>
                      <a:pt x="30" y="106"/>
                    </a:cubicBezTo>
                    <a:cubicBezTo>
                      <a:pt x="28" y="105"/>
                      <a:pt x="26" y="105"/>
                      <a:pt x="24" y="105"/>
                    </a:cubicBezTo>
                    <a:cubicBezTo>
                      <a:pt x="16" y="105"/>
                      <a:pt x="14" y="110"/>
                      <a:pt x="12" y="114"/>
                    </a:cubicBezTo>
                    <a:cubicBezTo>
                      <a:pt x="12" y="115"/>
                      <a:pt x="12" y="115"/>
                      <a:pt x="12" y="115"/>
                    </a:cubicBezTo>
                    <a:cubicBezTo>
                      <a:pt x="10" y="121"/>
                      <a:pt x="9" y="127"/>
                      <a:pt x="20" y="133"/>
                    </a:cubicBezTo>
                    <a:cubicBezTo>
                      <a:pt x="27" y="137"/>
                      <a:pt x="34" y="143"/>
                      <a:pt x="36" y="147"/>
                    </a:cubicBezTo>
                    <a:cubicBezTo>
                      <a:pt x="33" y="150"/>
                      <a:pt x="24" y="153"/>
                      <a:pt x="15" y="154"/>
                    </a:cubicBezTo>
                    <a:cubicBezTo>
                      <a:pt x="2" y="156"/>
                      <a:pt x="1" y="162"/>
                      <a:pt x="1" y="168"/>
                    </a:cubicBezTo>
                    <a:cubicBezTo>
                      <a:pt x="1" y="169"/>
                      <a:pt x="1" y="169"/>
                      <a:pt x="1" y="169"/>
                    </a:cubicBezTo>
                    <a:cubicBezTo>
                      <a:pt x="0" y="175"/>
                      <a:pt x="1" y="181"/>
                      <a:pt x="14" y="184"/>
                    </a:cubicBezTo>
                    <a:cubicBezTo>
                      <a:pt x="22" y="185"/>
                      <a:pt x="30" y="189"/>
                      <a:pt x="33" y="192"/>
                    </a:cubicBezTo>
                    <a:cubicBezTo>
                      <a:pt x="31" y="196"/>
                      <a:pt x="24" y="202"/>
                      <a:pt x="16" y="206"/>
                    </a:cubicBezTo>
                    <a:cubicBezTo>
                      <a:pt x="4" y="211"/>
                      <a:pt x="4" y="217"/>
                      <a:pt x="6" y="223"/>
                    </a:cubicBezTo>
                    <a:cubicBezTo>
                      <a:pt x="6" y="224"/>
                      <a:pt x="6" y="224"/>
                      <a:pt x="6" y="224"/>
                    </a:cubicBezTo>
                    <a:cubicBezTo>
                      <a:pt x="7" y="228"/>
                      <a:pt x="9" y="234"/>
                      <a:pt x="19" y="234"/>
                    </a:cubicBezTo>
                    <a:cubicBezTo>
                      <a:pt x="20" y="234"/>
                      <a:pt x="22" y="234"/>
                      <a:pt x="23" y="234"/>
                    </a:cubicBezTo>
                    <a:cubicBezTo>
                      <a:pt x="26" y="233"/>
                      <a:pt x="28" y="233"/>
                      <a:pt x="30" y="233"/>
                    </a:cubicBezTo>
                    <a:cubicBezTo>
                      <a:pt x="36" y="233"/>
                      <a:pt x="41" y="234"/>
                      <a:pt x="45" y="236"/>
                    </a:cubicBezTo>
                    <a:cubicBezTo>
                      <a:pt x="44" y="240"/>
                      <a:pt x="38" y="248"/>
                      <a:pt x="32" y="254"/>
                    </a:cubicBezTo>
                    <a:cubicBezTo>
                      <a:pt x="22" y="263"/>
                      <a:pt x="24" y="268"/>
                      <a:pt x="28" y="273"/>
                    </a:cubicBezTo>
                    <a:cubicBezTo>
                      <a:pt x="29" y="274"/>
                      <a:pt x="29" y="274"/>
                      <a:pt x="29" y="274"/>
                    </a:cubicBezTo>
                    <a:cubicBezTo>
                      <a:pt x="30" y="277"/>
                      <a:pt x="33" y="281"/>
                      <a:pt x="39" y="281"/>
                    </a:cubicBezTo>
                    <a:cubicBezTo>
                      <a:pt x="41" y="281"/>
                      <a:pt x="44" y="280"/>
                      <a:pt x="48" y="279"/>
                    </a:cubicBezTo>
                    <a:cubicBezTo>
                      <a:pt x="54" y="276"/>
                      <a:pt x="62" y="274"/>
                      <a:pt x="67" y="274"/>
                    </a:cubicBezTo>
                    <a:cubicBezTo>
                      <a:pt x="67" y="274"/>
                      <a:pt x="68" y="274"/>
                      <a:pt x="69" y="274"/>
                    </a:cubicBezTo>
                    <a:cubicBezTo>
                      <a:pt x="69" y="278"/>
                      <a:pt x="67" y="288"/>
                      <a:pt x="62" y="295"/>
                    </a:cubicBezTo>
                    <a:cubicBezTo>
                      <a:pt x="55" y="307"/>
                      <a:pt x="59" y="311"/>
                      <a:pt x="64" y="315"/>
                    </a:cubicBezTo>
                    <a:cubicBezTo>
                      <a:pt x="65" y="316"/>
                      <a:pt x="65" y="316"/>
                      <a:pt x="65" y="316"/>
                    </a:cubicBezTo>
                    <a:cubicBezTo>
                      <a:pt x="67" y="317"/>
                      <a:pt x="70" y="320"/>
                      <a:pt x="74" y="320"/>
                    </a:cubicBezTo>
                    <a:cubicBezTo>
                      <a:pt x="77" y="320"/>
                      <a:pt x="81" y="318"/>
                      <a:pt x="85" y="314"/>
                    </a:cubicBezTo>
                    <a:cubicBezTo>
                      <a:pt x="91" y="308"/>
                      <a:pt x="98" y="304"/>
                      <a:pt x="103" y="303"/>
                    </a:cubicBezTo>
                    <a:cubicBezTo>
                      <a:pt x="105" y="307"/>
                      <a:pt x="105" y="317"/>
                      <a:pt x="104" y="325"/>
                    </a:cubicBezTo>
                    <a:cubicBezTo>
                      <a:pt x="101" y="338"/>
                      <a:pt x="106" y="341"/>
                      <a:pt x="112" y="343"/>
                    </a:cubicBezTo>
                    <a:cubicBezTo>
                      <a:pt x="113" y="344"/>
                      <a:pt x="113" y="344"/>
                      <a:pt x="113" y="344"/>
                    </a:cubicBezTo>
                    <a:cubicBezTo>
                      <a:pt x="115" y="344"/>
                      <a:pt x="117" y="345"/>
                      <a:pt x="119" y="345"/>
                    </a:cubicBezTo>
                    <a:cubicBezTo>
                      <a:pt x="124" y="345"/>
                      <a:pt x="127" y="342"/>
                      <a:pt x="131" y="336"/>
                    </a:cubicBezTo>
                    <a:cubicBezTo>
                      <a:pt x="135" y="329"/>
                      <a:pt x="141" y="322"/>
                      <a:pt x="145" y="320"/>
                    </a:cubicBezTo>
                    <a:cubicBezTo>
                      <a:pt x="148" y="323"/>
                      <a:pt x="151" y="332"/>
                      <a:pt x="152" y="341"/>
                    </a:cubicBezTo>
                    <a:cubicBezTo>
                      <a:pt x="153" y="354"/>
                      <a:pt x="159" y="356"/>
                      <a:pt x="165" y="356"/>
                    </a:cubicBezTo>
                    <a:cubicBezTo>
                      <a:pt x="167" y="356"/>
                      <a:pt x="167" y="356"/>
                      <a:pt x="167" y="356"/>
                    </a:cubicBezTo>
                    <a:cubicBezTo>
                      <a:pt x="167" y="356"/>
                      <a:pt x="168" y="356"/>
                      <a:pt x="169" y="356"/>
                    </a:cubicBezTo>
                    <a:cubicBezTo>
                      <a:pt x="176" y="356"/>
                      <a:pt x="180" y="352"/>
                      <a:pt x="181" y="343"/>
                    </a:cubicBezTo>
                    <a:cubicBezTo>
                      <a:pt x="183" y="335"/>
                      <a:pt x="187" y="327"/>
                      <a:pt x="190" y="324"/>
                    </a:cubicBezTo>
                    <a:cubicBezTo>
                      <a:pt x="194" y="326"/>
                      <a:pt x="200" y="333"/>
                      <a:pt x="203" y="341"/>
                    </a:cubicBezTo>
                    <a:cubicBezTo>
                      <a:pt x="206" y="349"/>
                      <a:pt x="210" y="352"/>
                      <a:pt x="215" y="352"/>
                    </a:cubicBezTo>
                    <a:cubicBezTo>
                      <a:pt x="217" y="352"/>
                      <a:pt x="219" y="352"/>
                      <a:pt x="220" y="351"/>
                    </a:cubicBezTo>
                    <a:cubicBezTo>
                      <a:pt x="222" y="351"/>
                      <a:pt x="222" y="351"/>
                      <a:pt x="222" y="351"/>
                    </a:cubicBezTo>
                    <a:cubicBezTo>
                      <a:pt x="228" y="350"/>
                      <a:pt x="233" y="347"/>
                      <a:pt x="232" y="334"/>
                    </a:cubicBezTo>
                    <a:cubicBezTo>
                      <a:pt x="231" y="326"/>
                      <a:pt x="232" y="318"/>
                      <a:pt x="234" y="313"/>
                    </a:cubicBezTo>
                    <a:cubicBezTo>
                      <a:pt x="238" y="314"/>
                      <a:pt x="246" y="319"/>
                      <a:pt x="252" y="326"/>
                    </a:cubicBezTo>
                    <a:cubicBezTo>
                      <a:pt x="256" y="331"/>
                      <a:pt x="260" y="333"/>
                      <a:pt x="264" y="333"/>
                    </a:cubicBezTo>
                    <a:cubicBezTo>
                      <a:pt x="267" y="333"/>
                      <a:pt x="269" y="332"/>
                      <a:pt x="271" y="330"/>
                    </a:cubicBezTo>
                    <a:cubicBezTo>
                      <a:pt x="272" y="330"/>
                      <a:pt x="272" y="330"/>
                      <a:pt x="272" y="330"/>
                    </a:cubicBezTo>
                    <a:cubicBezTo>
                      <a:pt x="278" y="326"/>
                      <a:pt x="282" y="322"/>
                      <a:pt x="277" y="311"/>
                    </a:cubicBezTo>
                    <a:cubicBezTo>
                      <a:pt x="272" y="300"/>
                      <a:pt x="271" y="289"/>
                      <a:pt x="274" y="287"/>
                    </a:cubicBezTo>
                    <a:cubicBezTo>
                      <a:pt x="274" y="287"/>
                      <a:pt x="275" y="286"/>
                      <a:pt x="276" y="286"/>
                    </a:cubicBezTo>
                    <a:cubicBezTo>
                      <a:pt x="281" y="286"/>
                      <a:pt x="290" y="289"/>
                      <a:pt x="296" y="293"/>
                    </a:cubicBezTo>
                    <a:cubicBezTo>
                      <a:pt x="300" y="296"/>
                      <a:pt x="304" y="297"/>
                      <a:pt x="307"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10" y="250"/>
                      <a:pt x="313" y="250"/>
                    </a:cubicBezTo>
                    <a:cubicBezTo>
                      <a:pt x="317" y="250"/>
                      <a:pt x="322" y="251"/>
                      <a:pt x="326" y="252"/>
                    </a:cubicBezTo>
                    <a:cubicBezTo>
                      <a:pt x="329" y="252"/>
                      <a:pt x="331" y="253"/>
                      <a:pt x="333" y="253"/>
                    </a:cubicBezTo>
                    <a:cubicBezTo>
                      <a:pt x="341" y="253"/>
                      <a:pt x="343" y="248"/>
                      <a:pt x="344" y="244"/>
                    </a:cubicBezTo>
                    <a:cubicBezTo>
                      <a:pt x="345" y="243"/>
                      <a:pt x="345" y="243"/>
                      <a:pt x="345" y="243"/>
                    </a:cubicBezTo>
                    <a:cubicBezTo>
                      <a:pt x="347" y="237"/>
                      <a:pt x="348" y="231"/>
                      <a:pt x="337" y="225"/>
                    </a:cubicBezTo>
                    <a:cubicBezTo>
                      <a:pt x="330" y="220"/>
                      <a:pt x="323" y="213"/>
                      <a:pt x="321" y="209"/>
                    </a:cubicBezTo>
                    <a:cubicBezTo>
                      <a:pt x="325" y="206"/>
                      <a:pt x="333" y="204"/>
                      <a:pt x="341" y="203"/>
                    </a:cubicBezTo>
                    <a:cubicBezTo>
                      <a:pt x="354" y="203"/>
                      <a:pt x="356" y="196"/>
                      <a:pt x="356" y="190"/>
                    </a:cubicBezTo>
                    <a:cubicBezTo>
                      <a:pt x="356" y="189"/>
                      <a:pt x="356" y="189"/>
                      <a:pt x="356" y="189"/>
                    </a:cubicBezTo>
                    <a:cubicBezTo>
                      <a:pt x="357" y="183"/>
                      <a:pt x="357" y="177"/>
                      <a:pt x="344" y="174"/>
                    </a:cubicBezTo>
                    <a:cubicBezTo>
                      <a:pt x="335" y="172"/>
                      <a:pt x="327" y="168"/>
                      <a:pt x="324" y="164"/>
                    </a:cubicBezTo>
                    <a:cubicBezTo>
                      <a:pt x="327" y="160"/>
                      <a:pt x="334" y="155"/>
                      <a:pt x="341" y="152"/>
                    </a:cubicBezTo>
                    <a:cubicBezTo>
                      <a:pt x="353" y="148"/>
                      <a:pt x="353" y="141"/>
                      <a:pt x="352" y="135"/>
                    </a:cubicBezTo>
                    <a:cubicBezTo>
                      <a:pt x="351" y="134"/>
                      <a:pt x="351" y="134"/>
                      <a:pt x="351" y="134"/>
                    </a:cubicBezTo>
                    <a:cubicBezTo>
                      <a:pt x="350" y="130"/>
                      <a:pt x="349" y="124"/>
                      <a:pt x="338" y="124"/>
                    </a:cubicBezTo>
                    <a:cubicBezTo>
                      <a:pt x="337" y="124"/>
                      <a:pt x="336" y="124"/>
                      <a:pt x="335" y="124"/>
                    </a:cubicBezTo>
                    <a:cubicBezTo>
                      <a:pt x="333" y="124"/>
                      <a:pt x="332" y="124"/>
                      <a:pt x="331" y="124"/>
                    </a:cubicBezTo>
                    <a:cubicBezTo>
                      <a:pt x="323" y="124"/>
                      <a:pt x="316" y="122"/>
                      <a:pt x="312" y="120"/>
                    </a:cubicBezTo>
                    <a:cubicBezTo>
                      <a:pt x="314" y="116"/>
                      <a:pt x="319" y="109"/>
                      <a:pt x="325" y="104"/>
                    </a:cubicBezTo>
                    <a:cubicBezTo>
                      <a:pt x="336" y="96"/>
                      <a:pt x="333" y="90"/>
                      <a:pt x="330" y="85"/>
                    </a:cubicBezTo>
                    <a:cubicBezTo>
                      <a:pt x="329" y="83"/>
                      <a:pt x="329" y="83"/>
                      <a:pt x="329" y="83"/>
                    </a:cubicBezTo>
                    <a:cubicBezTo>
                      <a:pt x="328" y="81"/>
                      <a:pt x="325" y="76"/>
                      <a:pt x="319" y="76"/>
                    </a:cubicBezTo>
                    <a:cubicBezTo>
                      <a:pt x="317" y="76"/>
                      <a:pt x="314" y="77"/>
                      <a:pt x="310" y="79"/>
                    </a:cubicBezTo>
                    <a:cubicBezTo>
                      <a:pt x="304" y="81"/>
                      <a:pt x="298" y="83"/>
                      <a:pt x="292" y="83"/>
                    </a:cubicBezTo>
                    <a:cubicBezTo>
                      <a:pt x="291" y="83"/>
                      <a:pt x="289" y="82"/>
                      <a:pt x="288" y="82"/>
                    </a:cubicBezTo>
                    <a:cubicBezTo>
                      <a:pt x="288" y="77"/>
                      <a:pt x="291" y="69"/>
                      <a:pt x="296" y="62"/>
                    </a:cubicBezTo>
                    <a:cubicBezTo>
                      <a:pt x="303" y="51"/>
                      <a:pt x="299" y="47"/>
                      <a:pt x="294" y="43"/>
                    </a:cubicBezTo>
                    <a:cubicBezTo>
                      <a:pt x="293" y="42"/>
                      <a:pt x="293" y="42"/>
                      <a:pt x="293" y="42"/>
                    </a:cubicBezTo>
                    <a:cubicBezTo>
                      <a:pt x="291" y="40"/>
                      <a:pt x="289" y="38"/>
                      <a:pt x="285" y="38"/>
                    </a:cubicBezTo>
                    <a:cubicBezTo>
                      <a:pt x="281" y="38"/>
                      <a:pt x="278" y="39"/>
                      <a:pt x="274" y="43"/>
                    </a:cubicBezTo>
                    <a:cubicBezTo>
                      <a:pt x="267" y="49"/>
                      <a:pt x="258" y="53"/>
                      <a:pt x="254" y="53"/>
                    </a:cubicBezTo>
                    <a:cubicBezTo>
                      <a:pt x="252" y="48"/>
                      <a:pt x="253" y="40"/>
                      <a:pt x="255" y="32"/>
                    </a:cubicBezTo>
                    <a:cubicBezTo>
                      <a:pt x="258" y="19"/>
                      <a:pt x="253" y="16"/>
                      <a:pt x="247" y="14"/>
                    </a:cubicBezTo>
                    <a:cubicBezTo>
                      <a:pt x="246" y="13"/>
                      <a:pt x="246" y="13"/>
                      <a:pt x="246" y="13"/>
                    </a:cubicBezTo>
                    <a:cubicBezTo>
                      <a:pt x="244" y="12"/>
                      <a:pt x="242" y="11"/>
                      <a:pt x="240" y="11"/>
                    </a:cubicBezTo>
                    <a:cubicBezTo>
                      <a:pt x="235" y="11"/>
                      <a:pt x="231" y="14"/>
                      <a:pt x="228" y="20"/>
                    </a:cubicBezTo>
                    <a:cubicBezTo>
                      <a:pt x="223" y="28"/>
                      <a:pt x="216" y="35"/>
                      <a:pt x="212" y="36"/>
                    </a:cubicBezTo>
                    <a:cubicBezTo>
                      <a:pt x="209" y="32"/>
                      <a:pt x="207" y="24"/>
                      <a:pt x="206" y="16"/>
                    </a:cubicBezTo>
                    <a:cubicBezTo>
                      <a:pt x="206" y="3"/>
                      <a:pt x="200" y="1"/>
                      <a:pt x="194" y="1"/>
                    </a:cubicBezTo>
                    <a:cubicBezTo>
                      <a:pt x="192" y="1"/>
                      <a:pt x="192" y="1"/>
                      <a:pt x="192" y="1"/>
                    </a:cubicBezTo>
                    <a:cubicBezTo>
                      <a:pt x="191" y="0"/>
                      <a:pt x="190" y="0"/>
                      <a:pt x="18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1701">
                <a:extLst>
                  <a:ext uri="{FF2B5EF4-FFF2-40B4-BE49-F238E27FC236}">
                    <a16:creationId xmlns:a16="http://schemas.microsoft.com/office/drawing/2014/main" id="{93B336BC-EFBB-43DC-BBA2-64269A3F07E3}"/>
                  </a:ext>
                </a:extLst>
              </p:cNvPr>
              <p:cNvSpPr>
                <a:spLocks noEditPoints="1"/>
              </p:cNvSpPr>
              <p:nvPr/>
            </p:nvSpPr>
            <p:spPr bwMode="auto">
              <a:xfrm>
                <a:off x="8000364" y="9253537"/>
                <a:ext cx="276225" cy="246063"/>
              </a:xfrm>
              <a:custGeom>
                <a:avLst/>
                <a:gdLst>
                  <a:gd name="T0" fmla="*/ 71 w 141"/>
                  <a:gd name="T1" fmla="*/ 97 h 125"/>
                  <a:gd name="T2" fmla="*/ 49 w 141"/>
                  <a:gd name="T3" fmla="*/ 89 h 125"/>
                  <a:gd name="T4" fmla="*/ 44 w 141"/>
                  <a:gd name="T5" fmla="*/ 40 h 125"/>
                  <a:gd name="T6" fmla="*/ 71 w 141"/>
                  <a:gd name="T7" fmla="*/ 27 h 125"/>
                  <a:gd name="T8" fmla="*/ 93 w 141"/>
                  <a:gd name="T9" fmla="*/ 35 h 125"/>
                  <a:gd name="T10" fmla="*/ 98 w 141"/>
                  <a:gd name="T11" fmla="*/ 84 h 125"/>
                  <a:gd name="T12" fmla="*/ 71 w 141"/>
                  <a:gd name="T13" fmla="*/ 97 h 125"/>
                  <a:gd name="T14" fmla="*/ 71 w 141"/>
                  <a:gd name="T15" fmla="*/ 22 h 125"/>
                  <a:gd name="T16" fmla="*/ 40 w 141"/>
                  <a:gd name="T17" fmla="*/ 37 h 125"/>
                  <a:gd name="T18" fmla="*/ 46 w 141"/>
                  <a:gd name="T19" fmla="*/ 93 h 125"/>
                  <a:gd name="T20" fmla="*/ 71 w 141"/>
                  <a:gd name="T21" fmla="*/ 102 h 125"/>
                  <a:gd name="T22" fmla="*/ 102 w 141"/>
                  <a:gd name="T23" fmla="*/ 87 h 125"/>
                  <a:gd name="T24" fmla="*/ 96 w 141"/>
                  <a:gd name="T25" fmla="*/ 31 h 125"/>
                  <a:gd name="T26" fmla="*/ 71 w 141"/>
                  <a:gd name="T27" fmla="*/ 22 h 125"/>
                  <a:gd name="T28" fmla="*/ 71 w 141"/>
                  <a:gd name="T29" fmla="*/ 120 h 125"/>
                  <a:gd name="T30" fmla="*/ 34 w 141"/>
                  <a:gd name="T31" fmla="*/ 107 h 125"/>
                  <a:gd name="T32" fmla="*/ 26 w 141"/>
                  <a:gd name="T33" fmla="*/ 26 h 125"/>
                  <a:gd name="T34" fmla="*/ 71 w 141"/>
                  <a:gd name="T35" fmla="*/ 5 h 125"/>
                  <a:gd name="T36" fmla="*/ 107 w 141"/>
                  <a:gd name="T37" fmla="*/ 17 h 125"/>
                  <a:gd name="T38" fmla="*/ 115 w 141"/>
                  <a:gd name="T39" fmla="*/ 98 h 125"/>
                  <a:gd name="T40" fmla="*/ 71 w 141"/>
                  <a:gd name="T41" fmla="*/ 120 h 125"/>
                  <a:gd name="T42" fmla="*/ 71 w 141"/>
                  <a:gd name="T43" fmla="*/ 120 h 125"/>
                  <a:gd name="T44" fmla="*/ 71 w 141"/>
                  <a:gd name="T45" fmla="*/ 0 h 125"/>
                  <a:gd name="T46" fmla="*/ 22 w 141"/>
                  <a:gd name="T47" fmla="*/ 23 h 125"/>
                  <a:gd name="T48" fmla="*/ 31 w 141"/>
                  <a:gd name="T49" fmla="*/ 111 h 125"/>
                  <a:gd name="T50" fmla="*/ 71 w 141"/>
                  <a:gd name="T51" fmla="*/ 125 h 125"/>
                  <a:gd name="T52" fmla="*/ 71 w 141"/>
                  <a:gd name="T53" fmla="*/ 125 h 125"/>
                  <a:gd name="T54" fmla="*/ 119 w 141"/>
                  <a:gd name="T55" fmla="*/ 102 h 125"/>
                  <a:gd name="T56" fmla="*/ 110 w 141"/>
                  <a:gd name="T57" fmla="*/ 14 h 125"/>
                  <a:gd name="T58" fmla="*/ 71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1" y="97"/>
                    </a:moveTo>
                    <a:cubicBezTo>
                      <a:pt x="63" y="97"/>
                      <a:pt x="55" y="94"/>
                      <a:pt x="49" y="89"/>
                    </a:cubicBezTo>
                    <a:cubicBezTo>
                      <a:pt x="34" y="77"/>
                      <a:pt x="31" y="55"/>
                      <a:pt x="44" y="40"/>
                    </a:cubicBezTo>
                    <a:cubicBezTo>
                      <a:pt x="50" y="32"/>
                      <a:pt x="60" y="27"/>
                      <a:pt x="71" y="27"/>
                    </a:cubicBezTo>
                    <a:cubicBezTo>
                      <a:pt x="79" y="27"/>
                      <a:pt x="86" y="30"/>
                      <a:pt x="93" y="35"/>
                    </a:cubicBezTo>
                    <a:cubicBezTo>
                      <a:pt x="108" y="47"/>
                      <a:pt x="110" y="69"/>
                      <a:pt x="98" y="84"/>
                    </a:cubicBezTo>
                    <a:cubicBezTo>
                      <a:pt x="91" y="92"/>
                      <a:pt x="81" y="97"/>
                      <a:pt x="71" y="97"/>
                    </a:cubicBezTo>
                    <a:moveTo>
                      <a:pt x="71" y="22"/>
                    </a:moveTo>
                    <a:cubicBezTo>
                      <a:pt x="59" y="22"/>
                      <a:pt x="47" y="28"/>
                      <a:pt x="40" y="37"/>
                    </a:cubicBezTo>
                    <a:cubicBezTo>
                      <a:pt x="26" y="54"/>
                      <a:pt x="28" y="79"/>
                      <a:pt x="46" y="93"/>
                    </a:cubicBezTo>
                    <a:cubicBezTo>
                      <a:pt x="53" y="99"/>
                      <a:pt x="62" y="102"/>
                      <a:pt x="71" y="102"/>
                    </a:cubicBezTo>
                    <a:cubicBezTo>
                      <a:pt x="83" y="102"/>
                      <a:pt x="94" y="97"/>
                      <a:pt x="102" y="87"/>
                    </a:cubicBezTo>
                    <a:cubicBezTo>
                      <a:pt x="115" y="70"/>
                      <a:pt x="113" y="45"/>
                      <a:pt x="96" y="31"/>
                    </a:cubicBezTo>
                    <a:cubicBezTo>
                      <a:pt x="89" y="25"/>
                      <a:pt x="80" y="22"/>
                      <a:pt x="71" y="22"/>
                    </a:cubicBezTo>
                    <a:moveTo>
                      <a:pt x="71" y="120"/>
                    </a:moveTo>
                    <a:cubicBezTo>
                      <a:pt x="57" y="120"/>
                      <a:pt x="45" y="115"/>
                      <a:pt x="34" y="107"/>
                    </a:cubicBezTo>
                    <a:cubicBezTo>
                      <a:pt x="10" y="87"/>
                      <a:pt x="6" y="51"/>
                      <a:pt x="26" y="26"/>
                    </a:cubicBezTo>
                    <a:cubicBezTo>
                      <a:pt x="37" y="12"/>
                      <a:pt x="53" y="5"/>
                      <a:pt x="71" y="5"/>
                    </a:cubicBezTo>
                    <a:cubicBezTo>
                      <a:pt x="84" y="5"/>
                      <a:pt x="97" y="9"/>
                      <a:pt x="107" y="17"/>
                    </a:cubicBezTo>
                    <a:cubicBezTo>
                      <a:pt x="132" y="37"/>
                      <a:pt x="135" y="74"/>
                      <a:pt x="115" y="98"/>
                    </a:cubicBezTo>
                    <a:cubicBezTo>
                      <a:pt x="104" y="112"/>
                      <a:pt x="88" y="120"/>
                      <a:pt x="71" y="120"/>
                    </a:cubicBezTo>
                    <a:cubicBezTo>
                      <a:pt x="71" y="120"/>
                      <a:pt x="71" y="120"/>
                      <a:pt x="71" y="120"/>
                    </a:cubicBezTo>
                    <a:moveTo>
                      <a:pt x="71" y="0"/>
                    </a:moveTo>
                    <a:cubicBezTo>
                      <a:pt x="52" y="0"/>
                      <a:pt x="34" y="8"/>
                      <a:pt x="22" y="23"/>
                    </a:cubicBezTo>
                    <a:cubicBezTo>
                      <a:pt x="0" y="50"/>
                      <a:pt x="4" y="89"/>
                      <a:pt x="31" y="111"/>
                    </a:cubicBezTo>
                    <a:cubicBezTo>
                      <a:pt x="42" y="120"/>
                      <a:pt x="56" y="125"/>
                      <a:pt x="71" y="125"/>
                    </a:cubicBezTo>
                    <a:cubicBezTo>
                      <a:pt x="71" y="125"/>
                      <a:pt x="71" y="125"/>
                      <a:pt x="71" y="125"/>
                    </a:cubicBezTo>
                    <a:cubicBezTo>
                      <a:pt x="90" y="125"/>
                      <a:pt x="107" y="116"/>
                      <a:pt x="119" y="102"/>
                    </a:cubicBezTo>
                    <a:cubicBezTo>
                      <a:pt x="141" y="75"/>
                      <a:pt x="137" y="35"/>
                      <a:pt x="110" y="14"/>
                    </a:cubicBezTo>
                    <a:cubicBezTo>
                      <a:pt x="99" y="4"/>
                      <a:pt x="85"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83" name="Group 1382">
              <a:extLst>
                <a:ext uri="{FF2B5EF4-FFF2-40B4-BE49-F238E27FC236}">
                  <a16:creationId xmlns:a16="http://schemas.microsoft.com/office/drawing/2014/main" id="{8AD24059-609D-4E1B-B307-46103F4B17DF}"/>
                </a:ext>
              </a:extLst>
            </p:cNvPr>
            <p:cNvGrpSpPr/>
            <p:nvPr userDrawn="1"/>
          </p:nvGrpSpPr>
          <p:grpSpPr>
            <a:xfrm rot="13536244">
              <a:off x="9363562" y="2070869"/>
              <a:ext cx="1184275" cy="1647825"/>
              <a:chOff x="7765414" y="9721850"/>
              <a:chExt cx="1184275" cy="1647825"/>
            </a:xfrm>
          </p:grpSpPr>
          <p:sp>
            <p:nvSpPr>
              <p:cNvPr id="43" name="Freeform 1650">
                <a:extLst>
                  <a:ext uri="{FF2B5EF4-FFF2-40B4-BE49-F238E27FC236}">
                    <a16:creationId xmlns:a16="http://schemas.microsoft.com/office/drawing/2014/main" id="{04C39719-C552-4851-B125-CCC8C5890222}"/>
                  </a:ext>
                </a:extLst>
              </p:cNvPr>
              <p:cNvSpPr>
                <a:spLocks noEditPoints="1"/>
              </p:cNvSpPr>
              <p:nvPr/>
            </p:nvSpPr>
            <p:spPr bwMode="auto">
              <a:xfrm>
                <a:off x="7789227" y="10893425"/>
                <a:ext cx="66675" cy="71438"/>
              </a:xfrm>
              <a:custGeom>
                <a:avLst/>
                <a:gdLst>
                  <a:gd name="T0" fmla="*/ 25 w 34"/>
                  <a:gd name="T1" fmla="*/ 33 h 36"/>
                  <a:gd name="T2" fmla="*/ 3 w 34"/>
                  <a:gd name="T3" fmla="*/ 4 h 36"/>
                  <a:gd name="T4" fmla="*/ 11 w 34"/>
                  <a:gd name="T5" fmla="*/ 3 h 36"/>
                  <a:gd name="T6" fmla="*/ 25 w 34"/>
                  <a:gd name="T7" fmla="*/ 9 h 36"/>
                  <a:gd name="T8" fmla="*/ 25 w 34"/>
                  <a:gd name="T9" fmla="*/ 33 h 36"/>
                  <a:gd name="T10" fmla="*/ 11 w 34"/>
                  <a:gd name="T11" fmla="*/ 0 h 36"/>
                  <a:gd name="T12" fmla="*/ 1 w 34"/>
                  <a:gd name="T13" fmla="*/ 3 h 36"/>
                  <a:gd name="T14" fmla="*/ 0 w 34"/>
                  <a:gd name="T15" fmla="*/ 4 h 36"/>
                  <a:gd name="T16" fmla="*/ 1 w 34"/>
                  <a:gd name="T17" fmla="*/ 5 h 36"/>
                  <a:gd name="T18" fmla="*/ 24 w 34"/>
                  <a:gd name="T19" fmla="*/ 36 h 36"/>
                  <a:gd name="T20" fmla="*/ 24 w 34"/>
                  <a:gd name="T21" fmla="*/ 36 h 36"/>
                  <a:gd name="T22" fmla="*/ 25 w 34"/>
                  <a:gd name="T23" fmla="*/ 36 h 36"/>
                  <a:gd name="T24" fmla="*/ 25 w 34"/>
                  <a:gd name="T25" fmla="*/ 36 h 36"/>
                  <a:gd name="T26" fmla="*/ 27 w 34"/>
                  <a:gd name="T27" fmla="*/ 8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9" y="3"/>
                      <a:pt x="11" y="3"/>
                    </a:cubicBezTo>
                    <a:cubicBezTo>
                      <a:pt x="17" y="3"/>
                      <a:pt x="22" y="5"/>
                      <a:pt x="25" y="9"/>
                    </a:cubicBezTo>
                    <a:cubicBezTo>
                      <a:pt x="31" y="16"/>
                      <a:pt x="31" y="27"/>
                      <a:pt x="25" y="33"/>
                    </a:cubicBezTo>
                    <a:moveTo>
                      <a:pt x="11" y="0"/>
                    </a:moveTo>
                    <a:cubicBezTo>
                      <a:pt x="8" y="0"/>
                      <a:pt x="4" y="1"/>
                      <a:pt x="1" y="3"/>
                    </a:cubicBezTo>
                    <a:cubicBezTo>
                      <a:pt x="0" y="4"/>
                      <a:pt x="0" y="4"/>
                      <a:pt x="0" y="4"/>
                    </a:cubicBezTo>
                    <a:cubicBezTo>
                      <a:pt x="1" y="5"/>
                      <a:pt x="1" y="5"/>
                      <a:pt x="1" y="5"/>
                    </a:cubicBezTo>
                    <a:cubicBezTo>
                      <a:pt x="24" y="36"/>
                      <a:pt x="24" y="36"/>
                      <a:pt x="24" y="36"/>
                    </a:cubicBezTo>
                    <a:cubicBezTo>
                      <a:pt x="24" y="36"/>
                      <a:pt x="24" y="36"/>
                      <a:pt x="24" y="36"/>
                    </a:cubicBezTo>
                    <a:cubicBezTo>
                      <a:pt x="25" y="36"/>
                      <a:pt x="25" y="36"/>
                      <a:pt x="25" y="36"/>
                    </a:cubicBezTo>
                    <a:cubicBezTo>
                      <a:pt x="25" y="36"/>
                      <a:pt x="25" y="36"/>
                      <a:pt x="25" y="36"/>
                    </a:cubicBezTo>
                    <a:cubicBezTo>
                      <a:pt x="33" y="29"/>
                      <a:pt x="34" y="16"/>
                      <a:pt x="27" y="8"/>
                    </a:cubicBezTo>
                    <a:cubicBezTo>
                      <a:pt x="23" y="3"/>
                      <a:pt x="18"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651">
                <a:extLst>
                  <a:ext uri="{FF2B5EF4-FFF2-40B4-BE49-F238E27FC236}">
                    <a16:creationId xmlns:a16="http://schemas.microsoft.com/office/drawing/2014/main" id="{2B5BAD30-AF74-42B1-8756-AB6E3A03157D}"/>
                  </a:ext>
                </a:extLst>
              </p:cNvPr>
              <p:cNvSpPr>
                <a:spLocks noEditPoints="1"/>
              </p:cNvSpPr>
              <p:nvPr/>
            </p:nvSpPr>
            <p:spPr bwMode="auto">
              <a:xfrm>
                <a:off x="7765414" y="10902950"/>
                <a:ext cx="66675" cy="73025"/>
              </a:xfrm>
              <a:custGeom>
                <a:avLst/>
                <a:gdLst>
                  <a:gd name="T0" fmla="*/ 23 w 34"/>
                  <a:gd name="T1" fmla="*/ 34 h 37"/>
                  <a:gd name="T2" fmla="*/ 9 w 34"/>
                  <a:gd name="T3" fmla="*/ 27 h 37"/>
                  <a:gd name="T4" fmla="*/ 10 w 34"/>
                  <a:gd name="T5" fmla="*/ 4 h 37"/>
                  <a:gd name="T6" fmla="*/ 31 w 34"/>
                  <a:gd name="T7" fmla="*/ 32 h 37"/>
                  <a:gd name="T8" fmla="*/ 23 w 34"/>
                  <a:gd name="T9" fmla="*/ 34 h 37"/>
                  <a:gd name="T10" fmla="*/ 10 w 34"/>
                  <a:gd name="T11" fmla="*/ 0 h 37"/>
                  <a:gd name="T12" fmla="*/ 9 w 34"/>
                  <a:gd name="T13" fmla="*/ 1 h 37"/>
                  <a:gd name="T14" fmla="*/ 7 w 34"/>
                  <a:gd name="T15" fmla="*/ 29 h 37"/>
                  <a:gd name="T16" fmla="*/ 23 w 34"/>
                  <a:gd name="T17" fmla="*/ 37 h 37"/>
                  <a:gd name="T18" fmla="*/ 34 w 34"/>
                  <a:gd name="T19" fmla="*/ 34 h 37"/>
                  <a:gd name="T20" fmla="*/ 34 w 34"/>
                  <a:gd name="T21" fmla="*/ 33 h 37"/>
                  <a:gd name="T22" fmla="*/ 34 w 34"/>
                  <a:gd name="T23" fmla="*/ 32 h 37"/>
                  <a:gd name="T24" fmla="*/ 11 w 34"/>
                  <a:gd name="T25" fmla="*/ 1 h 37"/>
                  <a:gd name="T26" fmla="*/ 10 w 34"/>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4"/>
                    </a:moveTo>
                    <a:cubicBezTo>
                      <a:pt x="18" y="34"/>
                      <a:pt x="13" y="32"/>
                      <a:pt x="9" y="27"/>
                    </a:cubicBezTo>
                    <a:cubicBezTo>
                      <a:pt x="3" y="20"/>
                      <a:pt x="4" y="10"/>
                      <a:pt x="10" y="4"/>
                    </a:cubicBezTo>
                    <a:cubicBezTo>
                      <a:pt x="31" y="32"/>
                      <a:pt x="31" y="32"/>
                      <a:pt x="31" y="32"/>
                    </a:cubicBezTo>
                    <a:cubicBezTo>
                      <a:pt x="29" y="34"/>
                      <a:pt x="26" y="34"/>
                      <a:pt x="23" y="34"/>
                    </a:cubicBezTo>
                    <a:moveTo>
                      <a:pt x="10" y="0"/>
                    </a:moveTo>
                    <a:cubicBezTo>
                      <a:pt x="9" y="1"/>
                      <a:pt x="9" y="1"/>
                      <a:pt x="9" y="1"/>
                    </a:cubicBezTo>
                    <a:cubicBezTo>
                      <a:pt x="1" y="8"/>
                      <a:pt x="0" y="21"/>
                      <a:pt x="7" y="29"/>
                    </a:cubicBezTo>
                    <a:cubicBezTo>
                      <a:pt x="11" y="34"/>
                      <a:pt x="17" y="37"/>
                      <a:pt x="23" y="37"/>
                    </a:cubicBezTo>
                    <a:cubicBezTo>
                      <a:pt x="27" y="37"/>
                      <a:pt x="30" y="36"/>
                      <a:pt x="34" y="34"/>
                    </a:cubicBezTo>
                    <a:cubicBezTo>
                      <a:pt x="34" y="33"/>
                      <a:pt x="34" y="33"/>
                      <a:pt x="34" y="33"/>
                    </a:cubicBezTo>
                    <a:cubicBezTo>
                      <a:pt x="34" y="32"/>
                      <a:pt x="34" y="32"/>
                      <a:pt x="34" y="32"/>
                    </a:cubicBezTo>
                    <a:cubicBezTo>
                      <a:pt x="11" y="1"/>
                      <a:pt x="11" y="1"/>
                      <a:pt x="11" y="1"/>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1677">
                <a:extLst>
                  <a:ext uri="{FF2B5EF4-FFF2-40B4-BE49-F238E27FC236}">
                    <a16:creationId xmlns:a16="http://schemas.microsoft.com/office/drawing/2014/main" id="{452A05DE-E1C0-425B-9040-9BB257E9ED90}"/>
                  </a:ext>
                </a:extLst>
              </p:cNvPr>
              <p:cNvSpPr>
                <a:spLocks noEditPoints="1"/>
              </p:cNvSpPr>
              <p:nvPr/>
            </p:nvSpPr>
            <p:spPr bwMode="auto">
              <a:xfrm>
                <a:off x="7781289" y="10723562"/>
                <a:ext cx="95250" cy="98425"/>
              </a:xfrm>
              <a:custGeom>
                <a:avLst/>
                <a:gdLst>
                  <a:gd name="T0" fmla="*/ 22 w 49"/>
                  <a:gd name="T1" fmla="*/ 46 h 50"/>
                  <a:gd name="T2" fmla="*/ 3 w 49"/>
                  <a:gd name="T3" fmla="*/ 25 h 50"/>
                  <a:gd name="T4" fmla="*/ 25 w 49"/>
                  <a:gd name="T5" fmla="*/ 3 h 50"/>
                  <a:gd name="T6" fmla="*/ 46 w 49"/>
                  <a:gd name="T7" fmla="*/ 25 h 50"/>
                  <a:gd name="T8" fmla="*/ 28 w 49"/>
                  <a:gd name="T9" fmla="*/ 46 h 50"/>
                  <a:gd name="T10" fmla="*/ 28 w 49"/>
                  <a:gd name="T11" fmla="*/ 30 h 50"/>
                  <a:gd name="T12" fmla="*/ 28 w 49"/>
                  <a:gd name="T13" fmla="*/ 18 h 50"/>
                  <a:gd name="T14" fmla="*/ 32 w 49"/>
                  <a:gd name="T15" fmla="*/ 22 h 50"/>
                  <a:gd name="T16" fmla="*/ 35 w 49"/>
                  <a:gd name="T17" fmla="*/ 23 h 50"/>
                  <a:gd name="T18" fmla="*/ 37 w 49"/>
                  <a:gd name="T19" fmla="*/ 22 h 50"/>
                  <a:gd name="T20" fmla="*/ 37 w 49"/>
                  <a:gd name="T21" fmla="*/ 18 h 50"/>
                  <a:gd name="T22" fmla="*/ 25 w 49"/>
                  <a:gd name="T23" fmla="*/ 5 h 50"/>
                  <a:gd name="T24" fmla="*/ 17 w 49"/>
                  <a:gd name="T25" fmla="*/ 14 h 50"/>
                  <a:gd name="T26" fmla="*/ 13 w 49"/>
                  <a:gd name="T27" fmla="*/ 18 h 50"/>
                  <a:gd name="T28" fmla="*/ 13 w 49"/>
                  <a:gd name="T29" fmla="*/ 22 h 50"/>
                  <a:gd name="T30" fmla="*/ 15 w 49"/>
                  <a:gd name="T31" fmla="*/ 23 h 50"/>
                  <a:gd name="T32" fmla="*/ 18 w 49"/>
                  <a:gd name="T33" fmla="*/ 22 h 50"/>
                  <a:gd name="T34" fmla="*/ 18 w 49"/>
                  <a:gd name="T35" fmla="*/ 21 h 50"/>
                  <a:gd name="T36" fmla="*/ 22 w 49"/>
                  <a:gd name="T37" fmla="*/ 18 h 50"/>
                  <a:gd name="T38" fmla="*/ 22 w 49"/>
                  <a:gd name="T39" fmla="*/ 26 h 50"/>
                  <a:gd name="T40" fmla="*/ 22 w 49"/>
                  <a:gd name="T41" fmla="*/ 46 h 50"/>
                  <a:gd name="T42" fmla="*/ 25 w 49"/>
                  <a:gd name="T43" fmla="*/ 0 h 50"/>
                  <a:gd name="T44" fmla="*/ 0 w 49"/>
                  <a:gd name="T45" fmla="*/ 25 h 50"/>
                  <a:gd name="T46" fmla="*/ 25 w 49"/>
                  <a:gd name="T47" fmla="*/ 50 h 50"/>
                  <a:gd name="T48" fmla="*/ 49 w 49"/>
                  <a:gd name="T49" fmla="*/ 25 h 50"/>
                  <a:gd name="T50" fmla="*/ 25 w 4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22" y="46"/>
                    </a:moveTo>
                    <a:cubicBezTo>
                      <a:pt x="11" y="45"/>
                      <a:pt x="3" y="36"/>
                      <a:pt x="3" y="25"/>
                    </a:cubicBezTo>
                    <a:cubicBezTo>
                      <a:pt x="3" y="13"/>
                      <a:pt x="13" y="3"/>
                      <a:pt x="25" y="3"/>
                    </a:cubicBezTo>
                    <a:cubicBezTo>
                      <a:pt x="37" y="3"/>
                      <a:pt x="46" y="13"/>
                      <a:pt x="46" y="25"/>
                    </a:cubicBezTo>
                    <a:cubicBezTo>
                      <a:pt x="46" y="36"/>
                      <a:pt x="39" y="45"/>
                      <a:pt x="28" y="46"/>
                    </a:cubicBezTo>
                    <a:cubicBezTo>
                      <a:pt x="28" y="30"/>
                      <a:pt x="28" y="30"/>
                      <a:pt x="28" y="30"/>
                    </a:cubicBezTo>
                    <a:cubicBezTo>
                      <a:pt x="28" y="18"/>
                      <a:pt x="28" y="18"/>
                      <a:pt x="28" y="18"/>
                    </a:cubicBezTo>
                    <a:cubicBezTo>
                      <a:pt x="32" y="22"/>
                      <a:pt x="32" y="22"/>
                      <a:pt x="32" y="22"/>
                    </a:cubicBezTo>
                    <a:cubicBezTo>
                      <a:pt x="33" y="23"/>
                      <a:pt x="34" y="23"/>
                      <a:pt x="35" y="23"/>
                    </a:cubicBezTo>
                    <a:cubicBezTo>
                      <a:pt x="35" y="23"/>
                      <a:pt x="36" y="23"/>
                      <a:pt x="37" y="22"/>
                    </a:cubicBezTo>
                    <a:cubicBezTo>
                      <a:pt x="38" y="21"/>
                      <a:pt x="38" y="19"/>
                      <a:pt x="37" y="18"/>
                    </a:cubicBezTo>
                    <a:cubicBezTo>
                      <a:pt x="25" y="5"/>
                      <a:pt x="25" y="5"/>
                      <a:pt x="25" y="5"/>
                    </a:cubicBezTo>
                    <a:cubicBezTo>
                      <a:pt x="17" y="14"/>
                      <a:pt x="17" y="14"/>
                      <a:pt x="17" y="14"/>
                    </a:cubicBezTo>
                    <a:cubicBezTo>
                      <a:pt x="13" y="18"/>
                      <a:pt x="13" y="18"/>
                      <a:pt x="13" y="18"/>
                    </a:cubicBezTo>
                    <a:cubicBezTo>
                      <a:pt x="12" y="19"/>
                      <a:pt x="12" y="21"/>
                      <a:pt x="13" y="22"/>
                    </a:cubicBezTo>
                    <a:cubicBezTo>
                      <a:pt x="14" y="23"/>
                      <a:pt x="14" y="23"/>
                      <a:pt x="15" y="23"/>
                    </a:cubicBezTo>
                    <a:cubicBezTo>
                      <a:pt x="16" y="23"/>
                      <a:pt x="17" y="23"/>
                      <a:pt x="18" y="22"/>
                    </a:cubicBezTo>
                    <a:cubicBezTo>
                      <a:pt x="18" y="21"/>
                      <a:pt x="18" y="21"/>
                      <a:pt x="18" y="21"/>
                    </a:cubicBezTo>
                    <a:cubicBezTo>
                      <a:pt x="22" y="18"/>
                      <a:pt x="22" y="18"/>
                      <a:pt x="22" y="18"/>
                    </a:cubicBezTo>
                    <a:cubicBezTo>
                      <a:pt x="22" y="26"/>
                      <a:pt x="22" y="26"/>
                      <a:pt x="22" y="26"/>
                    </a:cubicBezTo>
                    <a:cubicBezTo>
                      <a:pt x="22" y="46"/>
                      <a:pt x="22" y="46"/>
                      <a:pt x="22" y="46"/>
                    </a:cubicBezTo>
                    <a:moveTo>
                      <a:pt x="25" y="0"/>
                    </a:moveTo>
                    <a:cubicBezTo>
                      <a:pt x="11" y="0"/>
                      <a:pt x="0" y="11"/>
                      <a:pt x="0" y="25"/>
                    </a:cubicBezTo>
                    <a:cubicBezTo>
                      <a:pt x="0" y="38"/>
                      <a:pt x="11" y="50"/>
                      <a:pt x="25" y="50"/>
                    </a:cubicBezTo>
                    <a:cubicBezTo>
                      <a:pt x="38" y="50"/>
                      <a:pt x="49" y="38"/>
                      <a:pt x="49" y="25"/>
                    </a:cubicBezTo>
                    <a:cubicBezTo>
                      <a:pt x="49" y="11"/>
                      <a:pt x="38" y="0"/>
                      <a:pt x="2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1684">
                <a:extLst>
                  <a:ext uri="{FF2B5EF4-FFF2-40B4-BE49-F238E27FC236}">
                    <a16:creationId xmlns:a16="http://schemas.microsoft.com/office/drawing/2014/main" id="{50C01A14-CBFA-4539-86E0-4A636CF43075}"/>
                  </a:ext>
                </a:extLst>
              </p:cNvPr>
              <p:cNvSpPr>
                <a:spLocks noEditPoints="1"/>
              </p:cNvSpPr>
              <p:nvPr/>
            </p:nvSpPr>
            <p:spPr bwMode="auto">
              <a:xfrm>
                <a:off x="8648064" y="10420350"/>
                <a:ext cx="263525" cy="250825"/>
              </a:xfrm>
              <a:custGeom>
                <a:avLst/>
                <a:gdLst>
                  <a:gd name="T0" fmla="*/ 65 w 135"/>
                  <a:gd name="T1" fmla="*/ 100 h 128"/>
                  <a:gd name="T2" fmla="*/ 39 w 135"/>
                  <a:gd name="T3" fmla="*/ 90 h 128"/>
                  <a:gd name="T4" fmla="*/ 39 w 135"/>
                  <a:gd name="T5" fmla="*/ 39 h 128"/>
                  <a:gd name="T6" fmla="*/ 65 w 135"/>
                  <a:gd name="T7" fmla="*/ 28 h 128"/>
                  <a:gd name="T8" fmla="*/ 90 w 135"/>
                  <a:gd name="T9" fmla="*/ 39 h 128"/>
                  <a:gd name="T10" fmla="*/ 90 w 135"/>
                  <a:gd name="T11" fmla="*/ 90 h 128"/>
                  <a:gd name="T12" fmla="*/ 65 w 135"/>
                  <a:gd name="T13" fmla="*/ 100 h 128"/>
                  <a:gd name="T14" fmla="*/ 65 w 135"/>
                  <a:gd name="T15" fmla="*/ 23 h 128"/>
                  <a:gd name="T16" fmla="*/ 36 w 135"/>
                  <a:gd name="T17" fmla="*/ 35 h 128"/>
                  <a:gd name="T18" fmla="*/ 36 w 135"/>
                  <a:gd name="T19" fmla="*/ 93 h 128"/>
                  <a:gd name="T20" fmla="*/ 65 w 135"/>
                  <a:gd name="T21" fmla="*/ 105 h 128"/>
                  <a:gd name="T22" fmla="*/ 93 w 135"/>
                  <a:gd name="T23" fmla="*/ 93 h 128"/>
                  <a:gd name="T24" fmla="*/ 93 w 135"/>
                  <a:gd name="T25" fmla="*/ 35 h 128"/>
                  <a:gd name="T26" fmla="*/ 65 w 135"/>
                  <a:gd name="T27" fmla="*/ 23 h 128"/>
                  <a:gd name="T28" fmla="*/ 65 w 135"/>
                  <a:gd name="T29" fmla="*/ 123 h 128"/>
                  <a:gd name="T30" fmla="*/ 23 w 135"/>
                  <a:gd name="T31" fmla="*/ 106 h 128"/>
                  <a:gd name="T32" fmla="*/ 5 w 135"/>
                  <a:gd name="T33" fmla="*/ 64 h 128"/>
                  <a:gd name="T34" fmla="*/ 23 w 135"/>
                  <a:gd name="T35" fmla="*/ 22 h 128"/>
                  <a:gd name="T36" fmla="*/ 65 w 135"/>
                  <a:gd name="T37" fmla="*/ 5 h 128"/>
                  <a:gd name="T38" fmla="*/ 106 w 135"/>
                  <a:gd name="T39" fmla="*/ 22 h 128"/>
                  <a:gd name="T40" fmla="*/ 106 w 135"/>
                  <a:gd name="T41" fmla="*/ 106 h 128"/>
                  <a:gd name="T42" fmla="*/ 65 w 135"/>
                  <a:gd name="T43" fmla="*/ 123 h 128"/>
                  <a:gd name="T44" fmla="*/ 65 w 135"/>
                  <a:gd name="T45" fmla="*/ 0 h 128"/>
                  <a:gd name="T46" fmla="*/ 45 w 135"/>
                  <a:gd name="T47" fmla="*/ 3 h 128"/>
                  <a:gd name="T48" fmla="*/ 39 w 135"/>
                  <a:gd name="T49" fmla="*/ 10 h 128"/>
                  <a:gd name="T50" fmla="*/ 33 w 135"/>
                  <a:gd name="T51" fmla="*/ 12 h 128"/>
                  <a:gd name="T52" fmla="*/ 29 w 135"/>
                  <a:gd name="T53" fmla="*/ 11 h 128"/>
                  <a:gd name="T54" fmla="*/ 19 w 135"/>
                  <a:gd name="T55" fmla="*/ 19 h 128"/>
                  <a:gd name="T56" fmla="*/ 0 w 135"/>
                  <a:gd name="T57" fmla="*/ 64 h 128"/>
                  <a:gd name="T58" fmla="*/ 19 w 135"/>
                  <a:gd name="T59" fmla="*/ 110 h 128"/>
                  <a:gd name="T60" fmla="*/ 65 w 135"/>
                  <a:gd name="T61" fmla="*/ 128 h 128"/>
                  <a:gd name="T62" fmla="*/ 65 w 135"/>
                  <a:gd name="T63" fmla="*/ 128 h 128"/>
                  <a:gd name="T64" fmla="*/ 110 w 135"/>
                  <a:gd name="T65" fmla="*/ 110 h 128"/>
                  <a:gd name="T66" fmla="*/ 110 w 135"/>
                  <a:gd name="T67" fmla="*/ 19 h 128"/>
                  <a:gd name="T68" fmla="*/ 65 w 135"/>
                  <a:gd name="T6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8">
                    <a:moveTo>
                      <a:pt x="65" y="100"/>
                    </a:moveTo>
                    <a:cubicBezTo>
                      <a:pt x="55" y="100"/>
                      <a:pt x="46" y="96"/>
                      <a:pt x="39" y="90"/>
                    </a:cubicBezTo>
                    <a:cubicBezTo>
                      <a:pt x="25" y="76"/>
                      <a:pt x="25" y="53"/>
                      <a:pt x="39" y="39"/>
                    </a:cubicBezTo>
                    <a:cubicBezTo>
                      <a:pt x="46" y="32"/>
                      <a:pt x="55" y="28"/>
                      <a:pt x="65" y="28"/>
                    </a:cubicBezTo>
                    <a:cubicBezTo>
                      <a:pt x="74" y="28"/>
                      <a:pt x="83" y="32"/>
                      <a:pt x="90" y="39"/>
                    </a:cubicBezTo>
                    <a:cubicBezTo>
                      <a:pt x="104" y="53"/>
                      <a:pt x="104" y="76"/>
                      <a:pt x="90" y="90"/>
                    </a:cubicBezTo>
                    <a:cubicBezTo>
                      <a:pt x="83" y="96"/>
                      <a:pt x="74" y="100"/>
                      <a:pt x="65" y="100"/>
                    </a:cubicBezTo>
                    <a:moveTo>
                      <a:pt x="65" y="23"/>
                    </a:moveTo>
                    <a:cubicBezTo>
                      <a:pt x="54" y="23"/>
                      <a:pt x="43" y="28"/>
                      <a:pt x="36" y="35"/>
                    </a:cubicBezTo>
                    <a:cubicBezTo>
                      <a:pt x="20" y="51"/>
                      <a:pt x="20" y="77"/>
                      <a:pt x="36" y="93"/>
                    </a:cubicBezTo>
                    <a:cubicBezTo>
                      <a:pt x="43" y="101"/>
                      <a:pt x="54" y="105"/>
                      <a:pt x="65" y="105"/>
                    </a:cubicBezTo>
                    <a:cubicBezTo>
                      <a:pt x="76" y="105"/>
                      <a:pt x="86" y="101"/>
                      <a:pt x="93" y="93"/>
                    </a:cubicBezTo>
                    <a:cubicBezTo>
                      <a:pt x="109" y="77"/>
                      <a:pt x="109" y="51"/>
                      <a:pt x="93" y="35"/>
                    </a:cubicBezTo>
                    <a:cubicBezTo>
                      <a:pt x="86" y="28"/>
                      <a:pt x="76" y="23"/>
                      <a:pt x="65" y="23"/>
                    </a:cubicBezTo>
                    <a:moveTo>
                      <a:pt x="65" y="123"/>
                    </a:moveTo>
                    <a:cubicBezTo>
                      <a:pt x="49" y="123"/>
                      <a:pt x="34" y="117"/>
                      <a:pt x="23" y="106"/>
                    </a:cubicBezTo>
                    <a:cubicBezTo>
                      <a:pt x="12" y="95"/>
                      <a:pt x="5" y="80"/>
                      <a:pt x="5" y="64"/>
                    </a:cubicBezTo>
                    <a:cubicBezTo>
                      <a:pt x="5" y="48"/>
                      <a:pt x="12" y="33"/>
                      <a:pt x="23" y="22"/>
                    </a:cubicBezTo>
                    <a:cubicBezTo>
                      <a:pt x="34" y="11"/>
                      <a:pt x="49" y="5"/>
                      <a:pt x="65" y="5"/>
                    </a:cubicBezTo>
                    <a:cubicBezTo>
                      <a:pt x="80" y="5"/>
                      <a:pt x="95" y="11"/>
                      <a:pt x="106" y="22"/>
                    </a:cubicBezTo>
                    <a:cubicBezTo>
                      <a:pt x="130" y="45"/>
                      <a:pt x="130" y="83"/>
                      <a:pt x="106" y="106"/>
                    </a:cubicBezTo>
                    <a:cubicBezTo>
                      <a:pt x="95" y="117"/>
                      <a:pt x="80" y="123"/>
                      <a:pt x="65" y="123"/>
                    </a:cubicBezTo>
                    <a:moveTo>
                      <a:pt x="65" y="0"/>
                    </a:moveTo>
                    <a:cubicBezTo>
                      <a:pt x="58" y="0"/>
                      <a:pt x="52" y="1"/>
                      <a:pt x="45" y="3"/>
                    </a:cubicBezTo>
                    <a:cubicBezTo>
                      <a:pt x="45" y="7"/>
                      <a:pt x="42" y="9"/>
                      <a:pt x="39" y="10"/>
                    </a:cubicBezTo>
                    <a:cubicBezTo>
                      <a:pt x="37" y="11"/>
                      <a:pt x="35" y="12"/>
                      <a:pt x="33" y="12"/>
                    </a:cubicBezTo>
                    <a:cubicBezTo>
                      <a:pt x="32" y="12"/>
                      <a:pt x="31" y="11"/>
                      <a:pt x="29" y="11"/>
                    </a:cubicBezTo>
                    <a:cubicBezTo>
                      <a:pt x="26" y="13"/>
                      <a:pt x="22" y="16"/>
                      <a:pt x="19" y="19"/>
                    </a:cubicBezTo>
                    <a:cubicBezTo>
                      <a:pt x="7" y="31"/>
                      <a:pt x="0" y="47"/>
                      <a:pt x="0" y="64"/>
                    </a:cubicBezTo>
                    <a:cubicBezTo>
                      <a:pt x="0" y="81"/>
                      <a:pt x="7" y="97"/>
                      <a:pt x="19" y="110"/>
                    </a:cubicBezTo>
                    <a:cubicBezTo>
                      <a:pt x="31" y="122"/>
                      <a:pt x="47" y="128"/>
                      <a:pt x="65" y="128"/>
                    </a:cubicBezTo>
                    <a:cubicBezTo>
                      <a:pt x="65" y="128"/>
                      <a:pt x="65" y="128"/>
                      <a:pt x="65" y="128"/>
                    </a:cubicBezTo>
                    <a:cubicBezTo>
                      <a:pt x="82" y="128"/>
                      <a:pt x="98" y="122"/>
                      <a:pt x="110" y="110"/>
                    </a:cubicBezTo>
                    <a:cubicBezTo>
                      <a:pt x="135" y="85"/>
                      <a:pt x="135" y="44"/>
                      <a:pt x="110" y="19"/>
                    </a:cubicBezTo>
                    <a:cubicBezTo>
                      <a:pt x="98" y="7"/>
                      <a:pt x="82" y="0"/>
                      <a:pt x="6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687">
                <a:extLst>
                  <a:ext uri="{FF2B5EF4-FFF2-40B4-BE49-F238E27FC236}">
                    <a16:creationId xmlns:a16="http://schemas.microsoft.com/office/drawing/2014/main" id="{AA696BCF-81D7-434B-9A4B-F6FFDC18CB9B}"/>
                  </a:ext>
                </a:extLst>
              </p:cNvPr>
              <p:cNvSpPr>
                <a:spLocks noEditPoints="1"/>
              </p:cNvSpPr>
              <p:nvPr/>
            </p:nvSpPr>
            <p:spPr bwMode="auto">
              <a:xfrm>
                <a:off x="8494077" y="11183937"/>
                <a:ext cx="182563" cy="185738"/>
              </a:xfrm>
              <a:custGeom>
                <a:avLst/>
                <a:gdLst>
                  <a:gd name="T0" fmla="*/ 46 w 93"/>
                  <a:gd name="T1" fmla="*/ 80 h 95"/>
                  <a:gd name="T2" fmla="*/ 14 w 93"/>
                  <a:gd name="T3" fmla="*/ 48 h 95"/>
                  <a:gd name="T4" fmla="*/ 46 w 93"/>
                  <a:gd name="T5" fmla="*/ 15 h 95"/>
                  <a:gd name="T6" fmla="*/ 78 w 93"/>
                  <a:gd name="T7" fmla="*/ 48 h 95"/>
                  <a:gd name="T8" fmla="*/ 46 w 93"/>
                  <a:gd name="T9" fmla="*/ 80 h 95"/>
                  <a:gd name="T10" fmla="*/ 46 w 93"/>
                  <a:gd name="T11" fmla="*/ 10 h 95"/>
                  <a:gd name="T12" fmla="*/ 9 w 93"/>
                  <a:gd name="T13" fmla="*/ 48 h 95"/>
                  <a:gd name="T14" fmla="*/ 46 w 93"/>
                  <a:gd name="T15" fmla="*/ 85 h 95"/>
                  <a:gd name="T16" fmla="*/ 83 w 93"/>
                  <a:gd name="T17" fmla="*/ 48 h 95"/>
                  <a:gd name="T18" fmla="*/ 46 w 93"/>
                  <a:gd name="T19" fmla="*/ 10 h 95"/>
                  <a:gd name="T20" fmla="*/ 46 w 93"/>
                  <a:gd name="T21" fmla="*/ 90 h 95"/>
                  <a:gd name="T22" fmla="*/ 5 w 93"/>
                  <a:gd name="T23" fmla="*/ 48 h 95"/>
                  <a:gd name="T24" fmla="*/ 46 w 93"/>
                  <a:gd name="T25" fmla="*/ 5 h 95"/>
                  <a:gd name="T26" fmla="*/ 88 w 93"/>
                  <a:gd name="T27" fmla="*/ 48 h 95"/>
                  <a:gd name="T28" fmla="*/ 46 w 93"/>
                  <a:gd name="T29" fmla="*/ 90 h 95"/>
                  <a:gd name="T30" fmla="*/ 46 w 93"/>
                  <a:gd name="T31" fmla="*/ 0 h 95"/>
                  <a:gd name="T32" fmla="*/ 0 w 93"/>
                  <a:gd name="T33" fmla="*/ 48 h 95"/>
                  <a:gd name="T34" fmla="*/ 46 w 93"/>
                  <a:gd name="T35" fmla="*/ 95 h 95"/>
                  <a:gd name="T36" fmla="*/ 93 w 93"/>
                  <a:gd name="T37" fmla="*/ 48 h 95"/>
                  <a:gd name="T38" fmla="*/ 46 w 93"/>
                  <a:gd name="T3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95">
                    <a:moveTo>
                      <a:pt x="46" y="80"/>
                    </a:moveTo>
                    <a:cubicBezTo>
                      <a:pt x="29" y="80"/>
                      <a:pt x="14" y="66"/>
                      <a:pt x="14" y="48"/>
                    </a:cubicBezTo>
                    <a:cubicBezTo>
                      <a:pt x="14" y="30"/>
                      <a:pt x="29" y="15"/>
                      <a:pt x="46" y="15"/>
                    </a:cubicBezTo>
                    <a:cubicBezTo>
                      <a:pt x="64" y="15"/>
                      <a:pt x="78" y="30"/>
                      <a:pt x="78" y="48"/>
                    </a:cubicBezTo>
                    <a:cubicBezTo>
                      <a:pt x="78" y="66"/>
                      <a:pt x="64" y="80"/>
                      <a:pt x="46" y="80"/>
                    </a:cubicBezTo>
                    <a:moveTo>
                      <a:pt x="46" y="10"/>
                    </a:moveTo>
                    <a:cubicBezTo>
                      <a:pt x="26" y="10"/>
                      <a:pt x="9" y="27"/>
                      <a:pt x="9" y="48"/>
                    </a:cubicBezTo>
                    <a:cubicBezTo>
                      <a:pt x="9" y="68"/>
                      <a:pt x="26" y="85"/>
                      <a:pt x="46" y="85"/>
                    </a:cubicBezTo>
                    <a:cubicBezTo>
                      <a:pt x="67" y="85"/>
                      <a:pt x="83" y="68"/>
                      <a:pt x="83" y="48"/>
                    </a:cubicBezTo>
                    <a:cubicBezTo>
                      <a:pt x="83" y="27"/>
                      <a:pt x="67" y="10"/>
                      <a:pt x="46" y="10"/>
                    </a:cubicBezTo>
                    <a:moveTo>
                      <a:pt x="46" y="90"/>
                    </a:moveTo>
                    <a:cubicBezTo>
                      <a:pt x="23" y="90"/>
                      <a:pt x="5" y="71"/>
                      <a:pt x="5" y="48"/>
                    </a:cubicBezTo>
                    <a:cubicBezTo>
                      <a:pt x="5" y="24"/>
                      <a:pt x="23" y="5"/>
                      <a:pt x="46" y="5"/>
                    </a:cubicBezTo>
                    <a:cubicBezTo>
                      <a:pt x="69" y="5"/>
                      <a:pt x="88" y="24"/>
                      <a:pt x="88" y="48"/>
                    </a:cubicBezTo>
                    <a:cubicBezTo>
                      <a:pt x="88" y="71"/>
                      <a:pt x="69" y="90"/>
                      <a:pt x="46" y="90"/>
                    </a:cubicBezTo>
                    <a:moveTo>
                      <a:pt x="46" y="0"/>
                    </a:moveTo>
                    <a:cubicBezTo>
                      <a:pt x="21" y="0"/>
                      <a:pt x="0" y="22"/>
                      <a:pt x="0" y="48"/>
                    </a:cubicBezTo>
                    <a:cubicBezTo>
                      <a:pt x="0" y="74"/>
                      <a:pt x="21" y="95"/>
                      <a:pt x="46" y="95"/>
                    </a:cubicBezTo>
                    <a:cubicBezTo>
                      <a:pt x="72" y="95"/>
                      <a:pt x="93" y="74"/>
                      <a:pt x="93" y="48"/>
                    </a:cubicBezTo>
                    <a:cubicBezTo>
                      <a:pt x="93" y="22"/>
                      <a:pt x="72"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695">
                <a:extLst>
                  <a:ext uri="{FF2B5EF4-FFF2-40B4-BE49-F238E27FC236}">
                    <a16:creationId xmlns:a16="http://schemas.microsoft.com/office/drawing/2014/main" id="{C158BE94-5DC7-4A71-A605-EF7C347E6981}"/>
                  </a:ext>
                </a:extLst>
              </p:cNvPr>
              <p:cNvSpPr>
                <a:spLocks noEditPoints="1"/>
              </p:cNvSpPr>
              <p:nvPr/>
            </p:nvSpPr>
            <p:spPr bwMode="auto">
              <a:xfrm>
                <a:off x="7903527" y="10442575"/>
                <a:ext cx="820738" cy="812800"/>
              </a:xfrm>
              <a:custGeom>
                <a:avLst/>
                <a:gdLst>
                  <a:gd name="T0" fmla="*/ 94 w 419"/>
                  <a:gd name="T1" fmla="*/ 122 h 415"/>
                  <a:gd name="T2" fmla="*/ 325 w 419"/>
                  <a:gd name="T3" fmla="*/ 292 h 415"/>
                  <a:gd name="T4" fmla="*/ 220 w 419"/>
                  <a:gd name="T5" fmla="*/ 10 h 415"/>
                  <a:gd name="T6" fmla="*/ 183 w 419"/>
                  <a:gd name="T7" fmla="*/ 1 h 415"/>
                  <a:gd name="T8" fmla="*/ 160 w 419"/>
                  <a:gd name="T9" fmla="*/ 39 h 415"/>
                  <a:gd name="T10" fmla="*/ 127 w 419"/>
                  <a:gd name="T11" fmla="*/ 16 h 415"/>
                  <a:gd name="T12" fmla="*/ 97 w 419"/>
                  <a:gd name="T13" fmla="*/ 46 h 415"/>
                  <a:gd name="T14" fmla="*/ 78 w 419"/>
                  <a:gd name="T15" fmla="*/ 60 h 415"/>
                  <a:gd name="T16" fmla="*/ 58 w 419"/>
                  <a:gd name="T17" fmla="*/ 81 h 415"/>
                  <a:gd name="T18" fmla="*/ 44 w 419"/>
                  <a:gd name="T19" fmla="*/ 101 h 415"/>
                  <a:gd name="T20" fmla="*/ 30 w 419"/>
                  <a:gd name="T21" fmla="*/ 125 h 415"/>
                  <a:gd name="T22" fmla="*/ 22 w 419"/>
                  <a:gd name="T23" fmla="*/ 147 h 415"/>
                  <a:gd name="T24" fmla="*/ 2 w 419"/>
                  <a:gd name="T25" fmla="*/ 185 h 415"/>
                  <a:gd name="T26" fmla="*/ 13 w 419"/>
                  <a:gd name="T27" fmla="*/ 225 h 415"/>
                  <a:gd name="T28" fmla="*/ 17 w 419"/>
                  <a:gd name="T29" fmla="*/ 249 h 415"/>
                  <a:gd name="T30" fmla="*/ 24 w 419"/>
                  <a:gd name="T31" fmla="*/ 276 h 415"/>
                  <a:gd name="T32" fmla="*/ 35 w 419"/>
                  <a:gd name="T33" fmla="*/ 298 h 415"/>
                  <a:gd name="T34" fmla="*/ 48 w 419"/>
                  <a:gd name="T35" fmla="*/ 321 h 415"/>
                  <a:gd name="T36" fmla="*/ 64 w 419"/>
                  <a:gd name="T37" fmla="*/ 340 h 415"/>
                  <a:gd name="T38" fmla="*/ 83 w 419"/>
                  <a:gd name="T39" fmla="*/ 359 h 415"/>
                  <a:gd name="T40" fmla="*/ 103 w 419"/>
                  <a:gd name="T41" fmla="*/ 373 h 415"/>
                  <a:gd name="T42" fmla="*/ 126 w 419"/>
                  <a:gd name="T43" fmla="*/ 392 h 415"/>
                  <a:gd name="T44" fmla="*/ 167 w 419"/>
                  <a:gd name="T45" fmla="*/ 377 h 415"/>
                  <a:gd name="T46" fmla="*/ 191 w 419"/>
                  <a:gd name="T47" fmla="*/ 415 h 415"/>
                  <a:gd name="T48" fmla="*/ 228 w 419"/>
                  <a:gd name="T49" fmla="*/ 404 h 415"/>
                  <a:gd name="T50" fmla="*/ 252 w 419"/>
                  <a:gd name="T51" fmla="*/ 400 h 415"/>
                  <a:gd name="T52" fmla="*/ 278 w 419"/>
                  <a:gd name="T53" fmla="*/ 392 h 415"/>
                  <a:gd name="T54" fmla="*/ 300 w 419"/>
                  <a:gd name="T55" fmla="*/ 382 h 415"/>
                  <a:gd name="T56" fmla="*/ 324 w 419"/>
                  <a:gd name="T57" fmla="*/ 368 h 415"/>
                  <a:gd name="T58" fmla="*/ 342 w 419"/>
                  <a:gd name="T59" fmla="*/ 353 h 415"/>
                  <a:gd name="T60" fmla="*/ 360 w 419"/>
                  <a:gd name="T61" fmla="*/ 334 h 415"/>
                  <a:gd name="T62" fmla="*/ 375 w 419"/>
                  <a:gd name="T63" fmla="*/ 315 h 415"/>
                  <a:gd name="T64" fmla="*/ 388 w 419"/>
                  <a:gd name="T65" fmla="*/ 291 h 415"/>
                  <a:gd name="T66" fmla="*/ 397 w 419"/>
                  <a:gd name="T67" fmla="*/ 268 h 415"/>
                  <a:gd name="T68" fmla="*/ 404 w 419"/>
                  <a:gd name="T69" fmla="*/ 242 h 415"/>
                  <a:gd name="T70" fmla="*/ 385 w 419"/>
                  <a:gd name="T71" fmla="*/ 203 h 415"/>
                  <a:gd name="T72" fmla="*/ 403 w 419"/>
                  <a:gd name="T73" fmla="*/ 166 h 415"/>
                  <a:gd name="T74" fmla="*/ 395 w 419"/>
                  <a:gd name="T75" fmla="*/ 140 h 415"/>
                  <a:gd name="T76" fmla="*/ 386 w 419"/>
                  <a:gd name="T77" fmla="*/ 118 h 415"/>
                  <a:gd name="T78" fmla="*/ 371 w 419"/>
                  <a:gd name="T79" fmla="*/ 94 h 415"/>
                  <a:gd name="T80" fmla="*/ 356 w 419"/>
                  <a:gd name="T81" fmla="*/ 75 h 415"/>
                  <a:gd name="T82" fmla="*/ 336 w 419"/>
                  <a:gd name="T83" fmla="*/ 57 h 415"/>
                  <a:gd name="T84" fmla="*/ 317 w 419"/>
                  <a:gd name="T85" fmla="*/ 42 h 415"/>
                  <a:gd name="T86" fmla="*/ 293 w 419"/>
                  <a:gd name="T87" fmla="*/ 29 h 415"/>
                  <a:gd name="T88" fmla="*/ 271 w 419"/>
                  <a:gd name="T89" fmla="*/ 20 h 415"/>
                  <a:gd name="T90" fmla="*/ 244 w 419"/>
                  <a:gd name="T91" fmla="*/ 1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9" h="415">
                    <a:moveTo>
                      <a:pt x="209" y="351"/>
                    </a:moveTo>
                    <a:cubicBezTo>
                      <a:pt x="180" y="351"/>
                      <a:pt x="150" y="342"/>
                      <a:pt x="124" y="323"/>
                    </a:cubicBezTo>
                    <a:cubicBezTo>
                      <a:pt x="61" y="276"/>
                      <a:pt x="47" y="186"/>
                      <a:pt x="94" y="122"/>
                    </a:cubicBezTo>
                    <a:cubicBezTo>
                      <a:pt x="122" y="84"/>
                      <a:pt x="166" y="64"/>
                      <a:pt x="210" y="64"/>
                    </a:cubicBezTo>
                    <a:cubicBezTo>
                      <a:pt x="239" y="64"/>
                      <a:pt x="269" y="73"/>
                      <a:pt x="295" y="92"/>
                    </a:cubicBezTo>
                    <a:cubicBezTo>
                      <a:pt x="359" y="139"/>
                      <a:pt x="372" y="229"/>
                      <a:pt x="325" y="292"/>
                    </a:cubicBezTo>
                    <a:cubicBezTo>
                      <a:pt x="297" y="331"/>
                      <a:pt x="254" y="351"/>
                      <a:pt x="209" y="351"/>
                    </a:cubicBezTo>
                    <a:moveTo>
                      <a:pt x="229" y="0"/>
                    </a:moveTo>
                    <a:cubicBezTo>
                      <a:pt x="226" y="0"/>
                      <a:pt x="222" y="1"/>
                      <a:pt x="220" y="10"/>
                    </a:cubicBezTo>
                    <a:cubicBezTo>
                      <a:pt x="217" y="20"/>
                      <a:pt x="211" y="31"/>
                      <a:pt x="205" y="32"/>
                    </a:cubicBezTo>
                    <a:cubicBezTo>
                      <a:pt x="201" y="29"/>
                      <a:pt x="195" y="20"/>
                      <a:pt x="193" y="11"/>
                    </a:cubicBezTo>
                    <a:cubicBezTo>
                      <a:pt x="190" y="2"/>
                      <a:pt x="187" y="1"/>
                      <a:pt x="183" y="1"/>
                    </a:cubicBezTo>
                    <a:cubicBezTo>
                      <a:pt x="182" y="1"/>
                      <a:pt x="180" y="1"/>
                      <a:pt x="179" y="1"/>
                    </a:cubicBezTo>
                    <a:cubicBezTo>
                      <a:pt x="174" y="2"/>
                      <a:pt x="169" y="1"/>
                      <a:pt x="169" y="14"/>
                    </a:cubicBezTo>
                    <a:cubicBezTo>
                      <a:pt x="168" y="25"/>
                      <a:pt x="165" y="37"/>
                      <a:pt x="160" y="39"/>
                    </a:cubicBezTo>
                    <a:cubicBezTo>
                      <a:pt x="155" y="37"/>
                      <a:pt x="147" y="30"/>
                      <a:pt x="142" y="22"/>
                    </a:cubicBezTo>
                    <a:cubicBezTo>
                      <a:pt x="139" y="16"/>
                      <a:pt x="136" y="14"/>
                      <a:pt x="133" y="14"/>
                    </a:cubicBezTo>
                    <a:cubicBezTo>
                      <a:pt x="131" y="14"/>
                      <a:pt x="129" y="15"/>
                      <a:pt x="127" y="16"/>
                    </a:cubicBezTo>
                    <a:cubicBezTo>
                      <a:pt x="122" y="18"/>
                      <a:pt x="117" y="19"/>
                      <a:pt x="120" y="31"/>
                    </a:cubicBezTo>
                    <a:cubicBezTo>
                      <a:pt x="123" y="42"/>
                      <a:pt x="122" y="55"/>
                      <a:pt x="118" y="58"/>
                    </a:cubicBezTo>
                    <a:cubicBezTo>
                      <a:pt x="113" y="58"/>
                      <a:pt x="103" y="52"/>
                      <a:pt x="97" y="46"/>
                    </a:cubicBezTo>
                    <a:cubicBezTo>
                      <a:pt x="93" y="42"/>
                      <a:pt x="90" y="40"/>
                      <a:pt x="87" y="40"/>
                    </a:cubicBezTo>
                    <a:cubicBezTo>
                      <a:pt x="84" y="40"/>
                      <a:pt x="82" y="42"/>
                      <a:pt x="80" y="44"/>
                    </a:cubicBezTo>
                    <a:cubicBezTo>
                      <a:pt x="76" y="47"/>
                      <a:pt x="71" y="49"/>
                      <a:pt x="78" y="60"/>
                    </a:cubicBezTo>
                    <a:cubicBezTo>
                      <a:pt x="82" y="69"/>
                      <a:pt x="86" y="81"/>
                      <a:pt x="83" y="86"/>
                    </a:cubicBezTo>
                    <a:cubicBezTo>
                      <a:pt x="82" y="86"/>
                      <a:pt x="80" y="87"/>
                      <a:pt x="78" y="87"/>
                    </a:cubicBezTo>
                    <a:cubicBezTo>
                      <a:pt x="72" y="87"/>
                      <a:pt x="64" y="84"/>
                      <a:pt x="58" y="81"/>
                    </a:cubicBezTo>
                    <a:cubicBezTo>
                      <a:pt x="54" y="79"/>
                      <a:pt x="51" y="78"/>
                      <a:pt x="49" y="78"/>
                    </a:cubicBezTo>
                    <a:cubicBezTo>
                      <a:pt x="45" y="78"/>
                      <a:pt x="43" y="82"/>
                      <a:pt x="41" y="84"/>
                    </a:cubicBezTo>
                    <a:cubicBezTo>
                      <a:pt x="38" y="88"/>
                      <a:pt x="34" y="92"/>
                      <a:pt x="44" y="101"/>
                    </a:cubicBezTo>
                    <a:cubicBezTo>
                      <a:pt x="50" y="107"/>
                      <a:pt x="56" y="116"/>
                      <a:pt x="57" y="122"/>
                    </a:cubicBezTo>
                    <a:cubicBezTo>
                      <a:pt x="55" y="125"/>
                      <a:pt x="49" y="126"/>
                      <a:pt x="42" y="126"/>
                    </a:cubicBezTo>
                    <a:cubicBezTo>
                      <a:pt x="38" y="126"/>
                      <a:pt x="34" y="125"/>
                      <a:pt x="30" y="125"/>
                    </a:cubicBezTo>
                    <a:cubicBezTo>
                      <a:pt x="28" y="124"/>
                      <a:pt x="26" y="124"/>
                      <a:pt x="24" y="124"/>
                    </a:cubicBezTo>
                    <a:cubicBezTo>
                      <a:pt x="17" y="124"/>
                      <a:pt x="16" y="128"/>
                      <a:pt x="15" y="132"/>
                    </a:cubicBezTo>
                    <a:cubicBezTo>
                      <a:pt x="13" y="136"/>
                      <a:pt x="11" y="142"/>
                      <a:pt x="22" y="147"/>
                    </a:cubicBezTo>
                    <a:cubicBezTo>
                      <a:pt x="30" y="152"/>
                      <a:pt x="38" y="159"/>
                      <a:pt x="40" y="164"/>
                    </a:cubicBezTo>
                    <a:cubicBezTo>
                      <a:pt x="38" y="169"/>
                      <a:pt x="26" y="173"/>
                      <a:pt x="15" y="174"/>
                    </a:cubicBezTo>
                    <a:cubicBezTo>
                      <a:pt x="2" y="174"/>
                      <a:pt x="3" y="180"/>
                      <a:pt x="2" y="185"/>
                    </a:cubicBezTo>
                    <a:cubicBezTo>
                      <a:pt x="2" y="190"/>
                      <a:pt x="0" y="195"/>
                      <a:pt x="13" y="198"/>
                    </a:cubicBezTo>
                    <a:cubicBezTo>
                      <a:pt x="21" y="200"/>
                      <a:pt x="31" y="205"/>
                      <a:pt x="34" y="210"/>
                    </a:cubicBezTo>
                    <a:cubicBezTo>
                      <a:pt x="34" y="215"/>
                      <a:pt x="23" y="222"/>
                      <a:pt x="13" y="225"/>
                    </a:cubicBezTo>
                    <a:cubicBezTo>
                      <a:pt x="1" y="229"/>
                      <a:pt x="3" y="235"/>
                      <a:pt x="4" y="239"/>
                    </a:cubicBezTo>
                    <a:cubicBezTo>
                      <a:pt x="4" y="244"/>
                      <a:pt x="5" y="249"/>
                      <a:pt x="16" y="249"/>
                    </a:cubicBezTo>
                    <a:cubicBezTo>
                      <a:pt x="16" y="249"/>
                      <a:pt x="17" y="249"/>
                      <a:pt x="17" y="249"/>
                    </a:cubicBezTo>
                    <a:cubicBezTo>
                      <a:pt x="17" y="249"/>
                      <a:pt x="17" y="249"/>
                      <a:pt x="18" y="249"/>
                    </a:cubicBezTo>
                    <a:cubicBezTo>
                      <a:pt x="27" y="249"/>
                      <a:pt x="37" y="251"/>
                      <a:pt x="41" y="255"/>
                    </a:cubicBezTo>
                    <a:cubicBezTo>
                      <a:pt x="42" y="260"/>
                      <a:pt x="33" y="270"/>
                      <a:pt x="24" y="276"/>
                    </a:cubicBezTo>
                    <a:cubicBezTo>
                      <a:pt x="14" y="282"/>
                      <a:pt x="17" y="287"/>
                      <a:pt x="19" y="292"/>
                    </a:cubicBezTo>
                    <a:cubicBezTo>
                      <a:pt x="20" y="295"/>
                      <a:pt x="22" y="299"/>
                      <a:pt x="28" y="299"/>
                    </a:cubicBezTo>
                    <a:cubicBezTo>
                      <a:pt x="30" y="299"/>
                      <a:pt x="32" y="299"/>
                      <a:pt x="35" y="298"/>
                    </a:cubicBezTo>
                    <a:cubicBezTo>
                      <a:pt x="40" y="296"/>
                      <a:pt x="45" y="295"/>
                      <a:pt x="50" y="295"/>
                    </a:cubicBezTo>
                    <a:cubicBezTo>
                      <a:pt x="54" y="295"/>
                      <a:pt x="57" y="296"/>
                      <a:pt x="59" y="297"/>
                    </a:cubicBezTo>
                    <a:cubicBezTo>
                      <a:pt x="61" y="302"/>
                      <a:pt x="55" y="313"/>
                      <a:pt x="48" y="321"/>
                    </a:cubicBezTo>
                    <a:cubicBezTo>
                      <a:pt x="40" y="331"/>
                      <a:pt x="44" y="334"/>
                      <a:pt x="47" y="338"/>
                    </a:cubicBezTo>
                    <a:cubicBezTo>
                      <a:pt x="49" y="340"/>
                      <a:pt x="51" y="343"/>
                      <a:pt x="55" y="343"/>
                    </a:cubicBezTo>
                    <a:cubicBezTo>
                      <a:pt x="57" y="343"/>
                      <a:pt x="60" y="342"/>
                      <a:pt x="64" y="340"/>
                    </a:cubicBezTo>
                    <a:cubicBezTo>
                      <a:pt x="71" y="336"/>
                      <a:pt x="80" y="333"/>
                      <a:pt x="85" y="333"/>
                    </a:cubicBezTo>
                    <a:cubicBezTo>
                      <a:pt x="86" y="333"/>
                      <a:pt x="87" y="333"/>
                      <a:pt x="87" y="333"/>
                    </a:cubicBezTo>
                    <a:cubicBezTo>
                      <a:pt x="91" y="337"/>
                      <a:pt x="88" y="350"/>
                      <a:pt x="83" y="359"/>
                    </a:cubicBezTo>
                    <a:cubicBezTo>
                      <a:pt x="78" y="370"/>
                      <a:pt x="83" y="373"/>
                      <a:pt x="86" y="375"/>
                    </a:cubicBezTo>
                    <a:cubicBezTo>
                      <a:pt x="89" y="377"/>
                      <a:pt x="92" y="378"/>
                      <a:pt x="95" y="379"/>
                    </a:cubicBezTo>
                    <a:cubicBezTo>
                      <a:pt x="97" y="378"/>
                      <a:pt x="100" y="377"/>
                      <a:pt x="103" y="373"/>
                    </a:cubicBezTo>
                    <a:cubicBezTo>
                      <a:pt x="110" y="367"/>
                      <a:pt x="119" y="361"/>
                      <a:pt x="124" y="360"/>
                    </a:cubicBezTo>
                    <a:cubicBezTo>
                      <a:pt x="128" y="363"/>
                      <a:pt x="129" y="376"/>
                      <a:pt x="127" y="387"/>
                    </a:cubicBezTo>
                    <a:cubicBezTo>
                      <a:pt x="127" y="389"/>
                      <a:pt x="126" y="390"/>
                      <a:pt x="126" y="392"/>
                    </a:cubicBezTo>
                    <a:cubicBezTo>
                      <a:pt x="133" y="395"/>
                      <a:pt x="139" y="398"/>
                      <a:pt x="146" y="401"/>
                    </a:cubicBezTo>
                    <a:cubicBezTo>
                      <a:pt x="147" y="399"/>
                      <a:pt x="148" y="398"/>
                      <a:pt x="150" y="395"/>
                    </a:cubicBezTo>
                    <a:cubicBezTo>
                      <a:pt x="154" y="387"/>
                      <a:pt x="161" y="379"/>
                      <a:pt x="167" y="377"/>
                    </a:cubicBezTo>
                    <a:cubicBezTo>
                      <a:pt x="172" y="379"/>
                      <a:pt x="176" y="391"/>
                      <a:pt x="176" y="402"/>
                    </a:cubicBezTo>
                    <a:cubicBezTo>
                      <a:pt x="177" y="414"/>
                      <a:pt x="182" y="414"/>
                      <a:pt x="187" y="415"/>
                    </a:cubicBezTo>
                    <a:cubicBezTo>
                      <a:pt x="188" y="415"/>
                      <a:pt x="190" y="415"/>
                      <a:pt x="191" y="415"/>
                    </a:cubicBezTo>
                    <a:cubicBezTo>
                      <a:pt x="195" y="415"/>
                      <a:pt x="198" y="413"/>
                      <a:pt x="200" y="404"/>
                    </a:cubicBezTo>
                    <a:cubicBezTo>
                      <a:pt x="203" y="395"/>
                      <a:pt x="207" y="386"/>
                      <a:pt x="212" y="383"/>
                    </a:cubicBezTo>
                    <a:cubicBezTo>
                      <a:pt x="217" y="383"/>
                      <a:pt x="224" y="394"/>
                      <a:pt x="228" y="404"/>
                    </a:cubicBezTo>
                    <a:cubicBezTo>
                      <a:pt x="230" y="412"/>
                      <a:pt x="234" y="414"/>
                      <a:pt x="237" y="414"/>
                    </a:cubicBezTo>
                    <a:cubicBezTo>
                      <a:pt x="239" y="414"/>
                      <a:pt x="240" y="414"/>
                      <a:pt x="242" y="413"/>
                    </a:cubicBezTo>
                    <a:cubicBezTo>
                      <a:pt x="246" y="413"/>
                      <a:pt x="252" y="412"/>
                      <a:pt x="252" y="400"/>
                    </a:cubicBezTo>
                    <a:cubicBezTo>
                      <a:pt x="252" y="391"/>
                      <a:pt x="254" y="380"/>
                      <a:pt x="257" y="376"/>
                    </a:cubicBezTo>
                    <a:cubicBezTo>
                      <a:pt x="258" y="376"/>
                      <a:pt x="258" y="376"/>
                      <a:pt x="258" y="376"/>
                    </a:cubicBezTo>
                    <a:cubicBezTo>
                      <a:pt x="263" y="376"/>
                      <a:pt x="272" y="384"/>
                      <a:pt x="278" y="392"/>
                    </a:cubicBezTo>
                    <a:cubicBezTo>
                      <a:pt x="282" y="398"/>
                      <a:pt x="285" y="400"/>
                      <a:pt x="288" y="400"/>
                    </a:cubicBezTo>
                    <a:cubicBezTo>
                      <a:pt x="290" y="400"/>
                      <a:pt x="292" y="399"/>
                      <a:pt x="294" y="398"/>
                    </a:cubicBezTo>
                    <a:cubicBezTo>
                      <a:pt x="298" y="396"/>
                      <a:pt x="304" y="394"/>
                      <a:pt x="300" y="382"/>
                    </a:cubicBezTo>
                    <a:cubicBezTo>
                      <a:pt x="298" y="374"/>
                      <a:pt x="297" y="363"/>
                      <a:pt x="299" y="358"/>
                    </a:cubicBezTo>
                    <a:cubicBezTo>
                      <a:pt x="300" y="357"/>
                      <a:pt x="301" y="357"/>
                      <a:pt x="302" y="357"/>
                    </a:cubicBezTo>
                    <a:cubicBezTo>
                      <a:pt x="307" y="357"/>
                      <a:pt x="317" y="362"/>
                      <a:pt x="324" y="368"/>
                    </a:cubicBezTo>
                    <a:cubicBezTo>
                      <a:pt x="328" y="372"/>
                      <a:pt x="331" y="373"/>
                      <a:pt x="333" y="373"/>
                    </a:cubicBezTo>
                    <a:cubicBezTo>
                      <a:pt x="336" y="373"/>
                      <a:pt x="338" y="371"/>
                      <a:pt x="340" y="370"/>
                    </a:cubicBezTo>
                    <a:cubicBezTo>
                      <a:pt x="344" y="367"/>
                      <a:pt x="349" y="364"/>
                      <a:pt x="342" y="353"/>
                    </a:cubicBezTo>
                    <a:cubicBezTo>
                      <a:pt x="337" y="345"/>
                      <a:pt x="334" y="333"/>
                      <a:pt x="336" y="328"/>
                    </a:cubicBezTo>
                    <a:cubicBezTo>
                      <a:pt x="337" y="328"/>
                      <a:pt x="338" y="328"/>
                      <a:pt x="339" y="328"/>
                    </a:cubicBezTo>
                    <a:cubicBezTo>
                      <a:pt x="345" y="328"/>
                      <a:pt x="354" y="330"/>
                      <a:pt x="360" y="334"/>
                    </a:cubicBezTo>
                    <a:cubicBezTo>
                      <a:pt x="364" y="336"/>
                      <a:pt x="367" y="337"/>
                      <a:pt x="369" y="337"/>
                    </a:cubicBezTo>
                    <a:cubicBezTo>
                      <a:pt x="373" y="337"/>
                      <a:pt x="375" y="334"/>
                      <a:pt x="377" y="332"/>
                    </a:cubicBezTo>
                    <a:cubicBezTo>
                      <a:pt x="380" y="328"/>
                      <a:pt x="384" y="324"/>
                      <a:pt x="375" y="315"/>
                    </a:cubicBezTo>
                    <a:cubicBezTo>
                      <a:pt x="368" y="307"/>
                      <a:pt x="361" y="296"/>
                      <a:pt x="363" y="291"/>
                    </a:cubicBezTo>
                    <a:cubicBezTo>
                      <a:pt x="366" y="290"/>
                      <a:pt x="370" y="289"/>
                      <a:pt x="374" y="289"/>
                    </a:cubicBezTo>
                    <a:cubicBezTo>
                      <a:pt x="379" y="289"/>
                      <a:pt x="384" y="290"/>
                      <a:pt x="388" y="291"/>
                    </a:cubicBezTo>
                    <a:cubicBezTo>
                      <a:pt x="391" y="291"/>
                      <a:pt x="393" y="292"/>
                      <a:pt x="394" y="292"/>
                    </a:cubicBezTo>
                    <a:cubicBezTo>
                      <a:pt x="401" y="292"/>
                      <a:pt x="402" y="287"/>
                      <a:pt x="403" y="284"/>
                    </a:cubicBezTo>
                    <a:cubicBezTo>
                      <a:pt x="405" y="280"/>
                      <a:pt x="408" y="275"/>
                      <a:pt x="397" y="268"/>
                    </a:cubicBezTo>
                    <a:cubicBezTo>
                      <a:pt x="388" y="263"/>
                      <a:pt x="379" y="254"/>
                      <a:pt x="380" y="248"/>
                    </a:cubicBezTo>
                    <a:cubicBezTo>
                      <a:pt x="384" y="245"/>
                      <a:pt x="395" y="242"/>
                      <a:pt x="404" y="242"/>
                    </a:cubicBezTo>
                    <a:cubicBezTo>
                      <a:pt x="404" y="242"/>
                      <a:pt x="404" y="242"/>
                      <a:pt x="404" y="242"/>
                    </a:cubicBezTo>
                    <a:cubicBezTo>
                      <a:pt x="416" y="242"/>
                      <a:pt x="416" y="236"/>
                      <a:pt x="417" y="231"/>
                    </a:cubicBezTo>
                    <a:cubicBezTo>
                      <a:pt x="417" y="226"/>
                      <a:pt x="419" y="221"/>
                      <a:pt x="407" y="218"/>
                    </a:cubicBezTo>
                    <a:cubicBezTo>
                      <a:pt x="397" y="215"/>
                      <a:pt x="386" y="208"/>
                      <a:pt x="385" y="203"/>
                    </a:cubicBezTo>
                    <a:cubicBezTo>
                      <a:pt x="388" y="198"/>
                      <a:pt x="397" y="193"/>
                      <a:pt x="406" y="190"/>
                    </a:cubicBezTo>
                    <a:cubicBezTo>
                      <a:pt x="418" y="187"/>
                      <a:pt x="417" y="181"/>
                      <a:pt x="416" y="177"/>
                    </a:cubicBezTo>
                    <a:cubicBezTo>
                      <a:pt x="415" y="172"/>
                      <a:pt x="415" y="166"/>
                      <a:pt x="403" y="166"/>
                    </a:cubicBezTo>
                    <a:cubicBezTo>
                      <a:pt x="403" y="166"/>
                      <a:pt x="403" y="166"/>
                      <a:pt x="403" y="166"/>
                    </a:cubicBezTo>
                    <a:cubicBezTo>
                      <a:pt x="392" y="166"/>
                      <a:pt x="379" y="162"/>
                      <a:pt x="378" y="158"/>
                    </a:cubicBezTo>
                    <a:cubicBezTo>
                      <a:pt x="379" y="152"/>
                      <a:pt x="387" y="145"/>
                      <a:pt x="395" y="140"/>
                    </a:cubicBezTo>
                    <a:cubicBezTo>
                      <a:pt x="406" y="134"/>
                      <a:pt x="403" y="129"/>
                      <a:pt x="401" y="124"/>
                    </a:cubicBezTo>
                    <a:cubicBezTo>
                      <a:pt x="400" y="121"/>
                      <a:pt x="398" y="117"/>
                      <a:pt x="392" y="117"/>
                    </a:cubicBezTo>
                    <a:cubicBezTo>
                      <a:pt x="390" y="117"/>
                      <a:pt x="388" y="117"/>
                      <a:pt x="386" y="118"/>
                    </a:cubicBezTo>
                    <a:cubicBezTo>
                      <a:pt x="381" y="119"/>
                      <a:pt x="376" y="119"/>
                      <a:pt x="372" y="119"/>
                    </a:cubicBezTo>
                    <a:cubicBezTo>
                      <a:pt x="366" y="119"/>
                      <a:pt x="361" y="118"/>
                      <a:pt x="359" y="116"/>
                    </a:cubicBezTo>
                    <a:cubicBezTo>
                      <a:pt x="359" y="110"/>
                      <a:pt x="365" y="101"/>
                      <a:pt x="371" y="94"/>
                    </a:cubicBezTo>
                    <a:cubicBezTo>
                      <a:pt x="380" y="86"/>
                      <a:pt x="376" y="81"/>
                      <a:pt x="373" y="78"/>
                    </a:cubicBezTo>
                    <a:cubicBezTo>
                      <a:pt x="371" y="75"/>
                      <a:pt x="369" y="72"/>
                      <a:pt x="365" y="72"/>
                    </a:cubicBezTo>
                    <a:cubicBezTo>
                      <a:pt x="363" y="72"/>
                      <a:pt x="360" y="73"/>
                      <a:pt x="356" y="75"/>
                    </a:cubicBezTo>
                    <a:cubicBezTo>
                      <a:pt x="350" y="79"/>
                      <a:pt x="341" y="82"/>
                      <a:pt x="336" y="82"/>
                    </a:cubicBezTo>
                    <a:cubicBezTo>
                      <a:pt x="333" y="82"/>
                      <a:pt x="331" y="81"/>
                      <a:pt x="330" y="80"/>
                    </a:cubicBezTo>
                    <a:cubicBezTo>
                      <a:pt x="329" y="75"/>
                      <a:pt x="332" y="65"/>
                      <a:pt x="336" y="57"/>
                    </a:cubicBezTo>
                    <a:cubicBezTo>
                      <a:pt x="343" y="46"/>
                      <a:pt x="338" y="43"/>
                      <a:pt x="334" y="40"/>
                    </a:cubicBezTo>
                    <a:cubicBezTo>
                      <a:pt x="332" y="38"/>
                      <a:pt x="330" y="36"/>
                      <a:pt x="327" y="36"/>
                    </a:cubicBezTo>
                    <a:cubicBezTo>
                      <a:pt x="324" y="36"/>
                      <a:pt x="321" y="38"/>
                      <a:pt x="317" y="42"/>
                    </a:cubicBezTo>
                    <a:cubicBezTo>
                      <a:pt x="311" y="48"/>
                      <a:pt x="301" y="54"/>
                      <a:pt x="296" y="54"/>
                    </a:cubicBezTo>
                    <a:cubicBezTo>
                      <a:pt x="295" y="54"/>
                      <a:pt x="294" y="54"/>
                      <a:pt x="293" y="53"/>
                    </a:cubicBezTo>
                    <a:cubicBezTo>
                      <a:pt x="291" y="49"/>
                      <a:pt x="291" y="38"/>
                      <a:pt x="293" y="29"/>
                    </a:cubicBezTo>
                    <a:cubicBezTo>
                      <a:pt x="296" y="17"/>
                      <a:pt x="291" y="15"/>
                      <a:pt x="286" y="13"/>
                    </a:cubicBezTo>
                    <a:cubicBezTo>
                      <a:pt x="284" y="13"/>
                      <a:pt x="282" y="12"/>
                      <a:pt x="280" y="12"/>
                    </a:cubicBezTo>
                    <a:cubicBezTo>
                      <a:pt x="277" y="12"/>
                      <a:pt x="274" y="13"/>
                      <a:pt x="271" y="20"/>
                    </a:cubicBezTo>
                    <a:cubicBezTo>
                      <a:pt x="265" y="28"/>
                      <a:pt x="257" y="37"/>
                      <a:pt x="251" y="37"/>
                    </a:cubicBezTo>
                    <a:cubicBezTo>
                      <a:pt x="251" y="37"/>
                      <a:pt x="251" y="37"/>
                      <a:pt x="251" y="37"/>
                    </a:cubicBezTo>
                    <a:cubicBezTo>
                      <a:pt x="247" y="33"/>
                      <a:pt x="244" y="22"/>
                      <a:pt x="244" y="13"/>
                    </a:cubicBezTo>
                    <a:cubicBezTo>
                      <a:pt x="244" y="1"/>
                      <a:pt x="238" y="1"/>
                      <a:pt x="234" y="0"/>
                    </a:cubicBezTo>
                    <a:cubicBezTo>
                      <a:pt x="232" y="0"/>
                      <a:pt x="231" y="0"/>
                      <a:pt x="2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696">
                <a:extLst>
                  <a:ext uri="{FF2B5EF4-FFF2-40B4-BE49-F238E27FC236}">
                    <a16:creationId xmlns:a16="http://schemas.microsoft.com/office/drawing/2014/main" id="{18CC3019-E680-4071-9ED1-29CF36EE9376}"/>
                  </a:ext>
                </a:extLst>
              </p:cNvPr>
              <p:cNvSpPr>
                <a:spLocks noEditPoints="1"/>
              </p:cNvSpPr>
              <p:nvPr/>
            </p:nvSpPr>
            <p:spPr bwMode="auto">
              <a:xfrm>
                <a:off x="8194039" y="9721850"/>
                <a:ext cx="755650" cy="746125"/>
              </a:xfrm>
              <a:custGeom>
                <a:avLst/>
                <a:gdLst>
                  <a:gd name="T0" fmla="*/ 86 w 385"/>
                  <a:gd name="T1" fmla="*/ 112 h 381"/>
                  <a:gd name="T2" fmla="*/ 298 w 385"/>
                  <a:gd name="T3" fmla="*/ 269 h 381"/>
                  <a:gd name="T4" fmla="*/ 202 w 385"/>
                  <a:gd name="T5" fmla="*/ 9 h 381"/>
                  <a:gd name="T6" fmla="*/ 168 w 385"/>
                  <a:gd name="T7" fmla="*/ 0 h 381"/>
                  <a:gd name="T8" fmla="*/ 146 w 385"/>
                  <a:gd name="T9" fmla="*/ 36 h 381"/>
                  <a:gd name="T10" fmla="*/ 116 w 385"/>
                  <a:gd name="T11" fmla="*/ 15 h 381"/>
                  <a:gd name="T12" fmla="*/ 89 w 385"/>
                  <a:gd name="T13" fmla="*/ 42 h 381"/>
                  <a:gd name="T14" fmla="*/ 71 w 385"/>
                  <a:gd name="T15" fmla="*/ 56 h 381"/>
                  <a:gd name="T16" fmla="*/ 53 w 385"/>
                  <a:gd name="T17" fmla="*/ 75 h 381"/>
                  <a:gd name="T18" fmla="*/ 40 w 385"/>
                  <a:gd name="T19" fmla="*/ 93 h 381"/>
                  <a:gd name="T20" fmla="*/ 27 w 385"/>
                  <a:gd name="T21" fmla="*/ 115 h 381"/>
                  <a:gd name="T22" fmla="*/ 20 w 385"/>
                  <a:gd name="T23" fmla="*/ 136 h 381"/>
                  <a:gd name="T24" fmla="*/ 2 w 385"/>
                  <a:gd name="T25" fmla="*/ 170 h 381"/>
                  <a:gd name="T26" fmla="*/ 11 w 385"/>
                  <a:gd name="T27" fmla="*/ 207 h 381"/>
                  <a:gd name="T28" fmla="*/ 15 w 385"/>
                  <a:gd name="T29" fmla="*/ 229 h 381"/>
                  <a:gd name="T30" fmla="*/ 22 w 385"/>
                  <a:gd name="T31" fmla="*/ 254 h 381"/>
                  <a:gd name="T32" fmla="*/ 31 w 385"/>
                  <a:gd name="T33" fmla="*/ 274 h 381"/>
                  <a:gd name="T34" fmla="*/ 44 w 385"/>
                  <a:gd name="T35" fmla="*/ 295 h 381"/>
                  <a:gd name="T36" fmla="*/ 58 w 385"/>
                  <a:gd name="T37" fmla="*/ 313 h 381"/>
                  <a:gd name="T38" fmla="*/ 76 w 385"/>
                  <a:gd name="T39" fmla="*/ 330 h 381"/>
                  <a:gd name="T40" fmla="*/ 94 w 385"/>
                  <a:gd name="T41" fmla="*/ 343 h 381"/>
                  <a:gd name="T42" fmla="*/ 123 w 385"/>
                  <a:gd name="T43" fmla="*/ 369 h 381"/>
                  <a:gd name="T44" fmla="*/ 153 w 385"/>
                  <a:gd name="T45" fmla="*/ 347 h 381"/>
                  <a:gd name="T46" fmla="*/ 175 w 385"/>
                  <a:gd name="T47" fmla="*/ 381 h 381"/>
                  <a:gd name="T48" fmla="*/ 209 w 385"/>
                  <a:gd name="T49" fmla="*/ 371 h 381"/>
                  <a:gd name="T50" fmla="*/ 231 w 385"/>
                  <a:gd name="T51" fmla="*/ 368 h 381"/>
                  <a:gd name="T52" fmla="*/ 255 w 385"/>
                  <a:gd name="T53" fmla="*/ 361 h 381"/>
                  <a:gd name="T54" fmla="*/ 270 w 385"/>
                  <a:gd name="T55" fmla="*/ 366 h 381"/>
                  <a:gd name="T56" fmla="*/ 275 w 385"/>
                  <a:gd name="T57" fmla="*/ 329 h 381"/>
                  <a:gd name="T58" fmla="*/ 306 w 385"/>
                  <a:gd name="T59" fmla="*/ 343 h 381"/>
                  <a:gd name="T60" fmla="*/ 308 w 385"/>
                  <a:gd name="T61" fmla="*/ 302 h 381"/>
                  <a:gd name="T62" fmla="*/ 339 w 385"/>
                  <a:gd name="T63" fmla="*/ 310 h 381"/>
                  <a:gd name="T64" fmla="*/ 334 w 385"/>
                  <a:gd name="T65" fmla="*/ 268 h 381"/>
                  <a:gd name="T66" fmla="*/ 362 w 385"/>
                  <a:gd name="T67" fmla="*/ 268 h 381"/>
                  <a:gd name="T68" fmla="*/ 349 w 385"/>
                  <a:gd name="T69" fmla="*/ 228 h 381"/>
                  <a:gd name="T70" fmla="*/ 383 w 385"/>
                  <a:gd name="T71" fmla="*/ 213 h 381"/>
                  <a:gd name="T72" fmla="*/ 373 w 385"/>
                  <a:gd name="T73" fmla="*/ 175 h 381"/>
                  <a:gd name="T74" fmla="*/ 370 w 385"/>
                  <a:gd name="T75" fmla="*/ 153 h 381"/>
                  <a:gd name="T76" fmla="*/ 368 w 385"/>
                  <a:gd name="T77" fmla="*/ 114 h 381"/>
                  <a:gd name="T78" fmla="*/ 342 w 385"/>
                  <a:gd name="T79" fmla="*/ 110 h 381"/>
                  <a:gd name="T80" fmla="*/ 342 w 385"/>
                  <a:gd name="T81" fmla="*/ 71 h 381"/>
                  <a:gd name="T82" fmla="*/ 308 w 385"/>
                  <a:gd name="T83" fmla="*/ 75 h 381"/>
                  <a:gd name="T84" fmla="*/ 307 w 385"/>
                  <a:gd name="T85" fmla="*/ 37 h 381"/>
                  <a:gd name="T86" fmla="*/ 271 w 385"/>
                  <a:gd name="T87" fmla="*/ 49 h 381"/>
                  <a:gd name="T88" fmla="*/ 263 w 385"/>
                  <a:gd name="T89" fmla="*/ 12 h 381"/>
                  <a:gd name="T90" fmla="*/ 231 w 385"/>
                  <a:gd name="T91" fmla="*/ 34 h 381"/>
                  <a:gd name="T92" fmla="*/ 214 w 385"/>
                  <a:gd name="T9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381">
                    <a:moveTo>
                      <a:pt x="192" y="323"/>
                    </a:moveTo>
                    <a:cubicBezTo>
                      <a:pt x="165" y="323"/>
                      <a:pt x="138" y="314"/>
                      <a:pt x="114" y="297"/>
                    </a:cubicBezTo>
                    <a:cubicBezTo>
                      <a:pt x="55" y="254"/>
                      <a:pt x="43" y="171"/>
                      <a:pt x="86" y="112"/>
                    </a:cubicBezTo>
                    <a:cubicBezTo>
                      <a:pt x="112" y="77"/>
                      <a:pt x="152" y="59"/>
                      <a:pt x="192" y="59"/>
                    </a:cubicBezTo>
                    <a:cubicBezTo>
                      <a:pt x="220" y="59"/>
                      <a:pt x="247" y="67"/>
                      <a:pt x="270" y="84"/>
                    </a:cubicBezTo>
                    <a:cubicBezTo>
                      <a:pt x="329" y="128"/>
                      <a:pt x="342" y="210"/>
                      <a:pt x="298" y="269"/>
                    </a:cubicBezTo>
                    <a:cubicBezTo>
                      <a:pt x="273" y="304"/>
                      <a:pt x="233" y="323"/>
                      <a:pt x="192" y="323"/>
                    </a:cubicBezTo>
                    <a:moveTo>
                      <a:pt x="210" y="0"/>
                    </a:moveTo>
                    <a:cubicBezTo>
                      <a:pt x="207" y="0"/>
                      <a:pt x="204" y="1"/>
                      <a:pt x="202" y="9"/>
                    </a:cubicBezTo>
                    <a:cubicBezTo>
                      <a:pt x="199" y="19"/>
                      <a:pt x="193" y="29"/>
                      <a:pt x="188" y="30"/>
                    </a:cubicBezTo>
                    <a:cubicBezTo>
                      <a:pt x="184" y="27"/>
                      <a:pt x="179" y="18"/>
                      <a:pt x="177" y="10"/>
                    </a:cubicBezTo>
                    <a:cubicBezTo>
                      <a:pt x="175" y="2"/>
                      <a:pt x="171" y="0"/>
                      <a:pt x="168" y="0"/>
                    </a:cubicBezTo>
                    <a:cubicBezTo>
                      <a:pt x="167" y="0"/>
                      <a:pt x="165" y="1"/>
                      <a:pt x="164" y="1"/>
                    </a:cubicBezTo>
                    <a:cubicBezTo>
                      <a:pt x="160" y="1"/>
                      <a:pt x="155" y="1"/>
                      <a:pt x="155" y="13"/>
                    </a:cubicBezTo>
                    <a:cubicBezTo>
                      <a:pt x="154" y="23"/>
                      <a:pt x="151" y="34"/>
                      <a:pt x="146" y="36"/>
                    </a:cubicBezTo>
                    <a:cubicBezTo>
                      <a:pt x="142" y="34"/>
                      <a:pt x="135" y="27"/>
                      <a:pt x="131" y="20"/>
                    </a:cubicBezTo>
                    <a:cubicBezTo>
                      <a:pt x="127" y="15"/>
                      <a:pt x="124" y="13"/>
                      <a:pt x="122" y="13"/>
                    </a:cubicBezTo>
                    <a:cubicBezTo>
                      <a:pt x="120" y="13"/>
                      <a:pt x="118" y="14"/>
                      <a:pt x="116" y="15"/>
                    </a:cubicBezTo>
                    <a:cubicBezTo>
                      <a:pt x="112" y="16"/>
                      <a:pt x="107" y="18"/>
                      <a:pt x="110" y="29"/>
                    </a:cubicBezTo>
                    <a:cubicBezTo>
                      <a:pt x="112" y="38"/>
                      <a:pt x="112" y="50"/>
                      <a:pt x="108" y="53"/>
                    </a:cubicBezTo>
                    <a:cubicBezTo>
                      <a:pt x="103" y="53"/>
                      <a:pt x="95" y="48"/>
                      <a:pt x="89" y="42"/>
                    </a:cubicBezTo>
                    <a:cubicBezTo>
                      <a:pt x="85" y="38"/>
                      <a:pt x="82" y="37"/>
                      <a:pt x="80" y="37"/>
                    </a:cubicBezTo>
                    <a:cubicBezTo>
                      <a:pt x="77" y="37"/>
                      <a:pt x="75" y="39"/>
                      <a:pt x="73" y="40"/>
                    </a:cubicBezTo>
                    <a:cubicBezTo>
                      <a:pt x="70" y="43"/>
                      <a:pt x="65" y="46"/>
                      <a:pt x="71" y="56"/>
                    </a:cubicBezTo>
                    <a:cubicBezTo>
                      <a:pt x="75" y="64"/>
                      <a:pt x="78" y="74"/>
                      <a:pt x="76" y="79"/>
                    </a:cubicBezTo>
                    <a:cubicBezTo>
                      <a:pt x="75" y="79"/>
                      <a:pt x="73" y="80"/>
                      <a:pt x="71" y="80"/>
                    </a:cubicBezTo>
                    <a:cubicBezTo>
                      <a:pt x="66" y="80"/>
                      <a:pt x="59" y="78"/>
                      <a:pt x="53" y="75"/>
                    </a:cubicBezTo>
                    <a:cubicBezTo>
                      <a:pt x="49" y="73"/>
                      <a:pt x="47" y="72"/>
                      <a:pt x="45" y="72"/>
                    </a:cubicBezTo>
                    <a:cubicBezTo>
                      <a:pt x="41" y="72"/>
                      <a:pt x="39" y="75"/>
                      <a:pt x="37" y="77"/>
                    </a:cubicBezTo>
                    <a:cubicBezTo>
                      <a:pt x="35" y="81"/>
                      <a:pt x="31" y="85"/>
                      <a:pt x="40" y="93"/>
                    </a:cubicBezTo>
                    <a:cubicBezTo>
                      <a:pt x="46" y="99"/>
                      <a:pt x="51" y="107"/>
                      <a:pt x="52" y="112"/>
                    </a:cubicBezTo>
                    <a:cubicBezTo>
                      <a:pt x="50" y="115"/>
                      <a:pt x="44" y="116"/>
                      <a:pt x="38" y="116"/>
                    </a:cubicBezTo>
                    <a:cubicBezTo>
                      <a:pt x="34" y="116"/>
                      <a:pt x="31" y="115"/>
                      <a:pt x="27" y="115"/>
                    </a:cubicBezTo>
                    <a:cubicBezTo>
                      <a:pt x="25" y="114"/>
                      <a:pt x="23" y="114"/>
                      <a:pt x="22" y="114"/>
                    </a:cubicBezTo>
                    <a:cubicBezTo>
                      <a:pt x="16" y="114"/>
                      <a:pt x="15" y="118"/>
                      <a:pt x="13" y="121"/>
                    </a:cubicBezTo>
                    <a:cubicBezTo>
                      <a:pt x="12" y="125"/>
                      <a:pt x="9" y="130"/>
                      <a:pt x="20" y="136"/>
                    </a:cubicBezTo>
                    <a:cubicBezTo>
                      <a:pt x="27" y="140"/>
                      <a:pt x="34" y="146"/>
                      <a:pt x="36" y="151"/>
                    </a:cubicBezTo>
                    <a:cubicBezTo>
                      <a:pt x="34" y="156"/>
                      <a:pt x="23" y="159"/>
                      <a:pt x="13" y="160"/>
                    </a:cubicBezTo>
                    <a:cubicBezTo>
                      <a:pt x="2" y="160"/>
                      <a:pt x="2" y="166"/>
                      <a:pt x="2" y="170"/>
                    </a:cubicBezTo>
                    <a:cubicBezTo>
                      <a:pt x="1" y="174"/>
                      <a:pt x="0" y="180"/>
                      <a:pt x="11" y="182"/>
                    </a:cubicBezTo>
                    <a:cubicBezTo>
                      <a:pt x="19" y="184"/>
                      <a:pt x="28" y="189"/>
                      <a:pt x="31" y="193"/>
                    </a:cubicBezTo>
                    <a:cubicBezTo>
                      <a:pt x="31" y="198"/>
                      <a:pt x="21" y="204"/>
                      <a:pt x="11" y="207"/>
                    </a:cubicBezTo>
                    <a:cubicBezTo>
                      <a:pt x="0" y="211"/>
                      <a:pt x="2" y="216"/>
                      <a:pt x="3" y="220"/>
                    </a:cubicBezTo>
                    <a:cubicBezTo>
                      <a:pt x="3" y="224"/>
                      <a:pt x="4" y="229"/>
                      <a:pt x="14" y="229"/>
                    </a:cubicBezTo>
                    <a:cubicBezTo>
                      <a:pt x="14" y="229"/>
                      <a:pt x="15" y="229"/>
                      <a:pt x="15" y="229"/>
                    </a:cubicBezTo>
                    <a:cubicBezTo>
                      <a:pt x="15" y="229"/>
                      <a:pt x="16" y="229"/>
                      <a:pt x="16" y="229"/>
                    </a:cubicBezTo>
                    <a:cubicBezTo>
                      <a:pt x="24" y="229"/>
                      <a:pt x="34" y="231"/>
                      <a:pt x="37" y="235"/>
                    </a:cubicBezTo>
                    <a:cubicBezTo>
                      <a:pt x="38" y="239"/>
                      <a:pt x="30" y="248"/>
                      <a:pt x="22" y="254"/>
                    </a:cubicBezTo>
                    <a:cubicBezTo>
                      <a:pt x="12" y="260"/>
                      <a:pt x="15" y="264"/>
                      <a:pt x="17" y="268"/>
                    </a:cubicBezTo>
                    <a:cubicBezTo>
                      <a:pt x="18" y="271"/>
                      <a:pt x="19" y="275"/>
                      <a:pt x="25" y="275"/>
                    </a:cubicBezTo>
                    <a:cubicBezTo>
                      <a:pt x="27" y="275"/>
                      <a:pt x="29" y="275"/>
                      <a:pt x="31" y="274"/>
                    </a:cubicBezTo>
                    <a:cubicBezTo>
                      <a:pt x="36" y="272"/>
                      <a:pt x="41" y="272"/>
                      <a:pt x="46" y="272"/>
                    </a:cubicBezTo>
                    <a:cubicBezTo>
                      <a:pt x="49" y="272"/>
                      <a:pt x="52" y="272"/>
                      <a:pt x="54" y="273"/>
                    </a:cubicBezTo>
                    <a:cubicBezTo>
                      <a:pt x="56" y="277"/>
                      <a:pt x="50" y="288"/>
                      <a:pt x="44" y="295"/>
                    </a:cubicBezTo>
                    <a:cubicBezTo>
                      <a:pt x="36" y="304"/>
                      <a:pt x="40" y="307"/>
                      <a:pt x="43" y="311"/>
                    </a:cubicBezTo>
                    <a:cubicBezTo>
                      <a:pt x="45" y="313"/>
                      <a:pt x="46" y="316"/>
                      <a:pt x="50" y="316"/>
                    </a:cubicBezTo>
                    <a:cubicBezTo>
                      <a:pt x="52" y="316"/>
                      <a:pt x="55" y="315"/>
                      <a:pt x="58" y="313"/>
                    </a:cubicBezTo>
                    <a:cubicBezTo>
                      <a:pt x="65" y="309"/>
                      <a:pt x="73" y="306"/>
                      <a:pt x="78" y="306"/>
                    </a:cubicBezTo>
                    <a:cubicBezTo>
                      <a:pt x="79" y="306"/>
                      <a:pt x="79" y="306"/>
                      <a:pt x="80" y="306"/>
                    </a:cubicBezTo>
                    <a:cubicBezTo>
                      <a:pt x="83" y="310"/>
                      <a:pt x="81" y="322"/>
                      <a:pt x="76" y="330"/>
                    </a:cubicBezTo>
                    <a:cubicBezTo>
                      <a:pt x="71" y="340"/>
                      <a:pt x="76" y="343"/>
                      <a:pt x="79" y="345"/>
                    </a:cubicBezTo>
                    <a:cubicBezTo>
                      <a:pt x="81" y="347"/>
                      <a:pt x="83" y="348"/>
                      <a:pt x="86" y="348"/>
                    </a:cubicBezTo>
                    <a:cubicBezTo>
                      <a:pt x="88" y="348"/>
                      <a:pt x="91" y="347"/>
                      <a:pt x="94" y="343"/>
                    </a:cubicBezTo>
                    <a:cubicBezTo>
                      <a:pt x="100" y="337"/>
                      <a:pt x="109" y="332"/>
                      <a:pt x="114" y="331"/>
                    </a:cubicBezTo>
                    <a:cubicBezTo>
                      <a:pt x="118" y="334"/>
                      <a:pt x="118" y="346"/>
                      <a:pt x="116" y="355"/>
                    </a:cubicBezTo>
                    <a:cubicBezTo>
                      <a:pt x="114" y="367"/>
                      <a:pt x="119" y="368"/>
                      <a:pt x="123" y="369"/>
                    </a:cubicBezTo>
                    <a:cubicBezTo>
                      <a:pt x="125" y="370"/>
                      <a:pt x="126" y="371"/>
                      <a:pt x="128" y="371"/>
                    </a:cubicBezTo>
                    <a:cubicBezTo>
                      <a:pt x="131" y="371"/>
                      <a:pt x="134" y="369"/>
                      <a:pt x="137" y="363"/>
                    </a:cubicBezTo>
                    <a:cubicBezTo>
                      <a:pt x="141" y="356"/>
                      <a:pt x="148" y="348"/>
                      <a:pt x="153" y="347"/>
                    </a:cubicBezTo>
                    <a:cubicBezTo>
                      <a:pt x="157" y="348"/>
                      <a:pt x="161" y="360"/>
                      <a:pt x="162" y="369"/>
                    </a:cubicBezTo>
                    <a:cubicBezTo>
                      <a:pt x="162" y="381"/>
                      <a:pt x="167" y="381"/>
                      <a:pt x="172" y="381"/>
                    </a:cubicBezTo>
                    <a:cubicBezTo>
                      <a:pt x="173" y="381"/>
                      <a:pt x="174" y="381"/>
                      <a:pt x="175" y="381"/>
                    </a:cubicBezTo>
                    <a:cubicBezTo>
                      <a:pt x="178" y="381"/>
                      <a:pt x="182" y="380"/>
                      <a:pt x="184" y="372"/>
                    </a:cubicBezTo>
                    <a:cubicBezTo>
                      <a:pt x="186" y="364"/>
                      <a:pt x="190" y="355"/>
                      <a:pt x="194" y="352"/>
                    </a:cubicBezTo>
                    <a:cubicBezTo>
                      <a:pt x="199" y="352"/>
                      <a:pt x="206" y="362"/>
                      <a:pt x="209" y="371"/>
                    </a:cubicBezTo>
                    <a:cubicBezTo>
                      <a:pt x="211" y="379"/>
                      <a:pt x="214" y="381"/>
                      <a:pt x="218" y="381"/>
                    </a:cubicBezTo>
                    <a:cubicBezTo>
                      <a:pt x="219" y="381"/>
                      <a:pt x="220" y="380"/>
                      <a:pt x="222" y="380"/>
                    </a:cubicBezTo>
                    <a:cubicBezTo>
                      <a:pt x="226" y="379"/>
                      <a:pt x="231" y="379"/>
                      <a:pt x="231" y="368"/>
                    </a:cubicBezTo>
                    <a:cubicBezTo>
                      <a:pt x="231" y="359"/>
                      <a:pt x="233" y="349"/>
                      <a:pt x="236" y="346"/>
                    </a:cubicBezTo>
                    <a:cubicBezTo>
                      <a:pt x="236" y="346"/>
                      <a:pt x="237" y="345"/>
                      <a:pt x="237" y="345"/>
                    </a:cubicBezTo>
                    <a:cubicBezTo>
                      <a:pt x="242" y="345"/>
                      <a:pt x="250" y="353"/>
                      <a:pt x="255" y="361"/>
                    </a:cubicBezTo>
                    <a:cubicBezTo>
                      <a:pt x="257" y="364"/>
                      <a:pt x="259" y="366"/>
                      <a:pt x="260" y="367"/>
                    </a:cubicBezTo>
                    <a:cubicBezTo>
                      <a:pt x="262" y="367"/>
                      <a:pt x="263" y="368"/>
                      <a:pt x="264" y="368"/>
                    </a:cubicBezTo>
                    <a:cubicBezTo>
                      <a:pt x="266" y="368"/>
                      <a:pt x="268" y="367"/>
                      <a:pt x="270" y="366"/>
                    </a:cubicBezTo>
                    <a:cubicBezTo>
                      <a:pt x="273" y="365"/>
                      <a:pt x="276" y="363"/>
                      <a:pt x="276" y="359"/>
                    </a:cubicBezTo>
                    <a:cubicBezTo>
                      <a:pt x="277" y="357"/>
                      <a:pt x="276" y="355"/>
                      <a:pt x="275" y="352"/>
                    </a:cubicBezTo>
                    <a:cubicBezTo>
                      <a:pt x="273" y="343"/>
                      <a:pt x="272" y="334"/>
                      <a:pt x="275" y="329"/>
                    </a:cubicBezTo>
                    <a:cubicBezTo>
                      <a:pt x="275" y="329"/>
                      <a:pt x="276" y="328"/>
                      <a:pt x="277" y="328"/>
                    </a:cubicBezTo>
                    <a:cubicBezTo>
                      <a:pt x="282" y="328"/>
                      <a:pt x="291" y="333"/>
                      <a:pt x="297" y="339"/>
                    </a:cubicBezTo>
                    <a:cubicBezTo>
                      <a:pt x="301" y="342"/>
                      <a:pt x="304" y="343"/>
                      <a:pt x="306" y="343"/>
                    </a:cubicBezTo>
                    <a:cubicBezTo>
                      <a:pt x="309" y="343"/>
                      <a:pt x="311" y="341"/>
                      <a:pt x="312" y="340"/>
                    </a:cubicBezTo>
                    <a:cubicBezTo>
                      <a:pt x="316" y="337"/>
                      <a:pt x="320" y="334"/>
                      <a:pt x="314" y="324"/>
                    </a:cubicBezTo>
                    <a:cubicBezTo>
                      <a:pt x="310" y="317"/>
                      <a:pt x="306" y="307"/>
                      <a:pt x="308" y="302"/>
                    </a:cubicBezTo>
                    <a:cubicBezTo>
                      <a:pt x="309" y="302"/>
                      <a:pt x="310" y="301"/>
                      <a:pt x="312" y="301"/>
                    </a:cubicBezTo>
                    <a:cubicBezTo>
                      <a:pt x="317" y="301"/>
                      <a:pt x="325" y="304"/>
                      <a:pt x="331" y="307"/>
                    </a:cubicBezTo>
                    <a:cubicBezTo>
                      <a:pt x="334" y="309"/>
                      <a:pt x="337" y="310"/>
                      <a:pt x="339" y="310"/>
                    </a:cubicBezTo>
                    <a:cubicBezTo>
                      <a:pt x="343" y="310"/>
                      <a:pt x="344" y="307"/>
                      <a:pt x="346" y="305"/>
                    </a:cubicBezTo>
                    <a:cubicBezTo>
                      <a:pt x="349" y="301"/>
                      <a:pt x="353" y="298"/>
                      <a:pt x="344" y="290"/>
                    </a:cubicBezTo>
                    <a:cubicBezTo>
                      <a:pt x="338" y="283"/>
                      <a:pt x="332" y="272"/>
                      <a:pt x="334" y="268"/>
                    </a:cubicBezTo>
                    <a:cubicBezTo>
                      <a:pt x="336" y="266"/>
                      <a:pt x="340" y="266"/>
                      <a:pt x="344" y="266"/>
                    </a:cubicBezTo>
                    <a:cubicBezTo>
                      <a:pt x="348" y="266"/>
                      <a:pt x="352" y="266"/>
                      <a:pt x="356" y="267"/>
                    </a:cubicBezTo>
                    <a:cubicBezTo>
                      <a:pt x="359" y="268"/>
                      <a:pt x="361" y="268"/>
                      <a:pt x="362" y="268"/>
                    </a:cubicBezTo>
                    <a:cubicBezTo>
                      <a:pt x="368" y="268"/>
                      <a:pt x="369" y="264"/>
                      <a:pt x="370" y="261"/>
                    </a:cubicBezTo>
                    <a:cubicBezTo>
                      <a:pt x="372" y="257"/>
                      <a:pt x="375" y="253"/>
                      <a:pt x="365" y="247"/>
                    </a:cubicBezTo>
                    <a:cubicBezTo>
                      <a:pt x="357" y="242"/>
                      <a:pt x="348" y="233"/>
                      <a:pt x="349" y="228"/>
                    </a:cubicBezTo>
                    <a:cubicBezTo>
                      <a:pt x="353" y="225"/>
                      <a:pt x="362" y="223"/>
                      <a:pt x="371" y="222"/>
                    </a:cubicBezTo>
                    <a:cubicBezTo>
                      <a:pt x="371" y="222"/>
                      <a:pt x="371" y="222"/>
                      <a:pt x="371" y="222"/>
                    </a:cubicBezTo>
                    <a:cubicBezTo>
                      <a:pt x="382" y="222"/>
                      <a:pt x="382" y="217"/>
                      <a:pt x="383" y="213"/>
                    </a:cubicBezTo>
                    <a:cubicBezTo>
                      <a:pt x="383" y="208"/>
                      <a:pt x="385" y="203"/>
                      <a:pt x="373" y="200"/>
                    </a:cubicBezTo>
                    <a:cubicBezTo>
                      <a:pt x="364" y="197"/>
                      <a:pt x="354" y="191"/>
                      <a:pt x="353" y="187"/>
                    </a:cubicBezTo>
                    <a:cubicBezTo>
                      <a:pt x="356" y="182"/>
                      <a:pt x="365" y="177"/>
                      <a:pt x="373" y="175"/>
                    </a:cubicBezTo>
                    <a:cubicBezTo>
                      <a:pt x="384" y="172"/>
                      <a:pt x="383" y="167"/>
                      <a:pt x="382" y="163"/>
                    </a:cubicBezTo>
                    <a:cubicBezTo>
                      <a:pt x="381" y="158"/>
                      <a:pt x="381" y="153"/>
                      <a:pt x="370" y="153"/>
                    </a:cubicBezTo>
                    <a:cubicBezTo>
                      <a:pt x="370" y="153"/>
                      <a:pt x="370" y="153"/>
                      <a:pt x="370" y="153"/>
                    </a:cubicBezTo>
                    <a:cubicBezTo>
                      <a:pt x="360" y="153"/>
                      <a:pt x="348" y="149"/>
                      <a:pt x="347" y="145"/>
                    </a:cubicBezTo>
                    <a:cubicBezTo>
                      <a:pt x="348" y="140"/>
                      <a:pt x="356" y="133"/>
                      <a:pt x="363" y="129"/>
                    </a:cubicBezTo>
                    <a:cubicBezTo>
                      <a:pt x="373" y="123"/>
                      <a:pt x="370" y="118"/>
                      <a:pt x="368" y="114"/>
                    </a:cubicBezTo>
                    <a:cubicBezTo>
                      <a:pt x="367" y="111"/>
                      <a:pt x="366" y="107"/>
                      <a:pt x="360" y="107"/>
                    </a:cubicBezTo>
                    <a:cubicBezTo>
                      <a:pt x="358" y="107"/>
                      <a:pt x="356" y="108"/>
                      <a:pt x="354" y="108"/>
                    </a:cubicBezTo>
                    <a:cubicBezTo>
                      <a:pt x="350" y="109"/>
                      <a:pt x="346" y="110"/>
                      <a:pt x="342" y="110"/>
                    </a:cubicBezTo>
                    <a:cubicBezTo>
                      <a:pt x="336" y="110"/>
                      <a:pt x="331" y="109"/>
                      <a:pt x="330" y="107"/>
                    </a:cubicBezTo>
                    <a:cubicBezTo>
                      <a:pt x="330" y="101"/>
                      <a:pt x="335" y="93"/>
                      <a:pt x="341" y="87"/>
                    </a:cubicBezTo>
                    <a:cubicBezTo>
                      <a:pt x="349" y="79"/>
                      <a:pt x="345" y="75"/>
                      <a:pt x="342" y="71"/>
                    </a:cubicBezTo>
                    <a:cubicBezTo>
                      <a:pt x="341" y="69"/>
                      <a:pt x="339" y="66"/>
                      <a:pt x="335" y="66"/>
                    </a:cubicBezTo>
                    <a:cubicBezTo>
                      <a:pt x="333" y="66"/>
                      <a:pt x="331" y="67"/>
                      <a:pt x="327" y="69"/>
                    </a:cubicBezTo>
                    <a:cubicBezTo>
                      <a:pt x="321" y="73"/>
                      <a:pt x="313" y="75"/>
                      <a:pt x="308" y="75"/>
                    </a:cubicBezTo>
                    <a:cubicBezTo>
                      <a:pt x="306" y="75"/>
                      <a:pt x="304" y="75"/>
                      <a:pt x="303" y="74"/>
                    </a:cubicBezTo>
                    <a:cubicBezTo>
                      <a:pt x="302" y="69"/>
                      <a:pt x="305" y="59"/>
                      <a:pt x="309" y="52"/>
                    </a:cubicBezTo>
                    <a:cubicBezTo>
                      <a:pt x="315" y="42"/>
                      <a:pt x="310" y="39"/>
                      <a:pt x="307" y="37"/>
                    </a:cubicBezTo>
                    <a:cubicBezTo>
                      <a:pt x="305" y="35"/>
                      <a:pt x="303" y="33"/>
                      <a:pt x="300" y="33"/>
                    </a:cubicBezTo>
                    <a:cubicBezTo>
                      <a:pt x="298" y="33"/>
                      <a:pt x="295" y="35"/>
                      <a:pt x="291" y="38"/>
                    </a:cubicBezTo>
                    <a:cubicBezTo>
                      <a:pt x="285" y="44"/>
                      <a:pt x="276" y="49"/>
                      <a:pt x="271" y="49"/>
                    </a:cubicBezTo>
                    <a:cubicBezTo>
                      <a:pt x="271" y="49"/>
                      <a:pt x="270" y="49"/>
                      <a:pt x="269" y="49"/>
                    </a:cubicBezTo>
                    <a:cubicBezTo>
                      <a:pt x="267" y="45"/>
                      <a:pt x="267" y="35"/>
                      <a:pt x="269" y="27"/>
                    </a:cubicBezTo>
                    <a:cubicBezTo>
                      <a:pt x="272" y="15"/>
                      <a:pt x="267" y="14"/>
                      <a:pt x="263" y="12"/>
                    </a:cubicBezTo>
                    <a:cubicBezTo>
                      <a:pt x="261" y="12"/>
                      <a:pt x="259" y="11"/>
                      <a:pt x="257" y="11"/>
                    </a:cubicBezTo>
                    <a:cubicBezTo>
                      <a:pt x="255" y="11"/>
                      <a:pt x="252" y="12"/>
                      <a:pt x="248" y="18"/>
                    </a:cubicBezTo>
                    <a:cubicBezTo>
                      <a:pt x="244" y="26"/>
                      <a:pt x="235" y="34"/>
                      <a:pt x="231" y="34"/>
                    </a:cubicBezTo>
                    <a:cubicBezTo>
                      <a:pt x="230" y="34"/>
                      <a:pt x="230" y="34"/>
                      <a:pt x="230" y="34"/>
                    </a:cubicBezTo>
                    <a:cubicBezTo>
                      <a:pt x="227" y="30"/>
                      <a:pt x="224" y="21"/>
                      <a:pt x="224" y="12"/>
                    </a:cubicBezTo>
                    <a:cubicBezTo>
                      <a:pt x="224" y="1"/>
                      <a:pt x="219" y="1"/>
                      <a:pt x="214" y="0"/>
                    </a:cubicBezTo>
                    <a:cubicBezTo>
                      <a:pt x="213" y="0"/>
                      <a:pt x="212" y="0"/>
                      <a:pt x="2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709">
                <a:extLst>
                  <a:ext uri="{FF2B5EF4-FFF2-40B4-BE49-F238E27FC236}">
                    <a16:creationId xmlns:a16="http://schemas.microsoft.com/office/drawing/2014/main" id="{C22EDDF6-6A5A-42C8-A5FD-DAE2AAF48E3D}"/>
                  </a:ext>
                </a:extLst>
              </p:cNvPr>
              <p:cNvSpPr>
                <a:spLocks noEditPoints="1"/>
              </p:cNvSpPr>
              <p:nvPr/>
            </p:nvSpPr>
            <p:spPr bwMode="auto">
              <a:xfrm>
                <a:off x="8165464" y="9920287"/>
                <a:ext cx="42863" cy="44450"/>
              </a:xfrm>
              <a:custGeom>
                <a:avLst/>
                <a:gdLst>
                  <a:gd name="T0" fmla="*/ 11 w 22"/>
                  <a:gd name="T1" fmla="*/ 18 h 23"/>
                  <a:gd name="T2" fmla="*/ 4 w 22"/>
                  <a:gd name="T3" fmla="*/ 12 h 23"/>
                  <a:gd name="T4" fmla="*/ 11 w 22"/>
                  <a:gd name="T5" fmla="*/ 5 h 23"/>
                  <a:gd name="T6" fmla="*/ 18 w 22"/>
                  <a:gd name="T7" fmla="*/ 12 h 23"/>
                  <a:gd name="T8" fmla="*/ 11 w 22"/>
                  <a:gd name="T9" fmla="*/ 18 h 23"/>
                  <a:gd name="T10" fmla="*/ 11 w 22"/>
                  <a:gd name="T11" fmla="*/ 0 h 23"/>
                  <a:gd name="T12" fmla="*/ 0 w 22"/>
                  <a:gd name="T13" fmla="*/ 12 h 23"/>
                  <a:gd name="T14" fmla="*/ 11 w 22"/>
                  <a:gd name="T15" fmla="*/ 23 h 23"/>
                  <a:gd name="T16" fmla="*/ 22 w 22"/>
                  <a:gd name="T17" fmla="*/ 12 h 23"/>
                  <a:gd name="T18" fmla="*/ 11 w 22"/>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18"/>
                    </a:moveTo>
                    <a:cubicBezTo>
                      <a:pt x="7" y="18"/>
                      <a:pt x="4" y="15"/>
                      <a:pt x="4" y="12"/>
                    </a:cubicBezTo>
                    <a:cubicBezTo>
                      <a:pt x="4" y="8"/>
                      <a:pt x="7" y="5"/>
                      <a:pt x="11" y="5"/>
                    </a:cubicBezTo>
                    <a:cubicBezTo>
                      <a:pt x="15" y="5"/>
                      <a:pt x="18" y="8"/>
                      <a:pt x="18" y="12"/>
                    </a:cubicBezTo>
                    <a:cubicBezTo>
                      <a:pt x="18" y="15"/>
                      <a:pt x="15" y="18"/>
                      <a:pt x="11" y="18"/>
                    </a:cubicBezTo>
                    <a:moveTo>
                      <a:pt x="11" y="0"/>
                    </a:moveTo>
                    <a:cubicBezTo>
                      <a:pt x="5" y="0"/>
                      <a:pt x="0" y="5"/>
                      <a:pt x="0" y="12"/>
                    </a:cubicBezTo>
                    <a:cubicBezTo>
                      <a:pt x="0" y="18"/>
                      <a:pt x="5" y="23"/>
                      <a:pt x="11" y="23"/>
                    </a:cubicBezTo>
                    <a:cubicBezTo>
                      <a:pt x="17" y="23"/>
                      <a:pt x="22" y="18"/>
                      <a:pt x="22" y="12"/>
                    </a:cubicBezTo>
                    <a:cubicBezTo>
                      <a:pt x="22" y="5"/>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710">
                <a:extLst>
                  <a:ext uri="{FF2B5EF4-FFF2-40B4-BE49-F238E27FC236}">
                    <a16:creationId xmlns:a16="http://schemas.microsoft.com/office/drawing/2014/main" id="{D4805EC1-34D9-4C18-8794-FC3E6A3905C3}"/>
                  </a:ext>
                </a:extLst>
              </p:cNvPr>
              <p:cNvSpPr>
                <a:spLocks/>
              </p:cNvSpPr>
              <p:nvPr/>
            </p:nvSpPr>
            <p:spPr bwMode="auto">
              <a:xfrm>
                <a:off x="8392477" y="11266487"/>
                <a:ext cx="101600" cy="80963"/>
              </a:xfrm>
              <a:custGeom>
                <a:avLst/>
                <a:gdLst>
                  <a:gd name="T0" fmla="*/ 22 w 52"/>
                  <a:gd name="T1" fmla="*/ 6 h 42"/>
                  <a:gd name="T2" fmla="*/ 5 w 52"/>
                  <a:gd name="T3" fmla="*/ 11 h 42"/>
                  <a:gd name="T4" fmla="*/ 0 w 52"/>
                  <a:gd name="T5" fmla="*/ 22 h 42"/>
                  <a:gd name="T6" fmla="*/ 12 w 52"/>
                  <a:gd name="T7" fmla="*/ 31 h 42"/>
                  <a:gd name="T8" fmla="*/ 11 w 52"/>
                  <a:gd name="T9" fmla="*/ 30 h 42"/>
                  <a:gd name="T10" fmla="*/ 11 w 52"/>
                  <a:gd name="T11" fmla="*/ 29 h 42"/>
                  <a:gd name="T12" fmla="*/ 11 w 52"/>
                  <a:gd name="T13" fmla="*/ 28 h 42"/>
                  <a:gd name="T14" fmla="*/ 11 w 52"/>
                  <a:gd name="T15" fmla="*/ 26 h 42"/>
                  <a:gd name="T16" fmla="*/ 11 w 52"/>
                  <a:gd name="T17" fmla="*/ 24 h 42"/>
                  <a:gd name="T18" fmla="*/ 11 w 52"/>
                  <a:gd name="T19" fmla="*/ 24 h 42"/>
                  <a:gd name="T20" fmla="*/ 12 w 52"/>
                  <a:gd name="T21" fmla="*/ 22 h 42"/>
                  <a:gd name="T22" fmla="*/ 13 w 52"/>
                  <a:gd name="T23" fmla="*/ 19 h 42"/>
                  <a:gd name="T24" fmla="*/ 14 w 52"/>
                  <a:gd name="T25" fmla="*/ 17 h 42"/>
                  <a:gd name="T26" fmla="*/ 15 w 52"/>
                  <a:gd name="T27" fmla="*/ 17 h 42"/>
                  <a:gd name="T28" fmla="*/ 17 w 52"/>
                  <a:gd name="T29" fmla="*/ 15 h 42"/>
                  <a:gd name="T30" fmla="*/ 18 w 52"/>
                  <a:gd name="T31" fmla="*/ 14 h 42"/>
                  <a:gd name="T32" fmla="*/ 19 w 52"/>
                  <a:gd name="T33" fmla="*/ 13 h 42"/>
                  <a:gd name="T34" fmla="*/ 22 w 52"/>
                  <a:gd name="T35" fmla="*/ 12 h 42"/>
                  <a:gd name="T36" fmla="*/ 23 w 52"/>
                  <a:gd name="T37" fmla="*/ 12 h 42"/>
                  <a:gd name="T38" fmla="*/ 24 w 52"/>
                  <a:gd name="T39" fmla="*/ 12 h 42"/>
                  <a:gd name="T40" fmla="*/ 25 w 52"/>
                  <a:gd name="T41" fmla="*/ 11 h 42"/>
                  <a:gd name="T42" fmla="*/ 27 w 52"/>
                  <a:gd name="T43" fmla="*/ 11 h 42"/>
                  <a:gd name="T44" fmla="*/ 28 w 52"/>
                  <a:gd name="T45" fmla="*/ 11 h 42"/>
                  <a:gd name="T46" fmla="*/ 29 w 52"/>
                  <a:gd name="T47" fmla="*/ 12 h 42"/>
                  <a:gd name="T48" fmla="*/ 30 w 52"/>
                  <a:gd name="T49" fmla="*/ 12 h 42"/>
                  <a:gd name="T50" fmla="*/ 34 w 52"/>
                  <a:gd name="T51" fmla="*/ 13 h 42"/>
                  <a:gd name="T52" fmla="*/ 35 w 52"/>
                  <a:gd name="T53" fmla="*/ 15 h 42"/>
                  <a:gd name="T54" fmla="*/ 36 w 52"/>
                  <a:gd name="T55" fmla="*/ 15 h 42"/>
                  <a:gd name="T56" fmla="*/ 38 w 52"/>
                  <a:gd name="T57" fmla="*/ 17 h 42"/>
                  <a:gd name="T58" fmla="*/ 39 w 52"/>
                  <a:gd name="T59" fmla="*/ 19 h 42"/>
                  <a:gd name="T60" fmla="*/ 39 w 52"/>
                  <a:gd name="T61" fmla="*/ 20 h 42"/>
                  <a:gd name="T62" fmla="*/ 41 w 52"/>
                  <a:gd name="T63" fmla="*/ 23 h 42"/>
                  <a:gd name="T64" fmla="*/ 41 w 52"/>
                  <a:gd name="T65" fmla="*/ 24 h 42"/>
                  <a:gd name="T66" fmla="*/ 41 w 52"/>
                  <a:gd name="T67" fmla="*/ 25 h 42"/>
                  <a:gd name="T68" fmla="*/ 41 w 52"/>
                  <a:gd name="T69" fmla="*/ 27 h 42"/>
                  <a:gd name="T70" fmla="*/ 41 w 52"/>
                  <a:gd name="T71" fmla="*/ 28 h 42"/>
                  <a:gd name="T72" fmla="*/ 41 w 52"/>
                  <a:gd name="T73" fmla="*/ 29 h 42"/>
                  <a:gd name="T74" fmla="*/ 41 w 52"/>
                  <a:gd name="T75" fmla="*/ 31 h 42"/>
                  <a:gd name="T76" fmla="*/ 40 w 52"/>
                  <a:gd name="T77" fmla="*/ 31 h 42"/>
                  <a:gd name="T78" fmla="*/ 39 w 52"/>
                  <a:gd name="T79" fmla="*/ 35 h 42"/>
                  <a:gd name="T80" fmla="*/ 38 w 52"/>
                  <a:gd name="T81" fmla="*/ 36 h 42"/>
                  <a:gd name="T82" fmla="*/ 37 w 52"/>
                  <a:gd name="T83" fmla="*/ 37 h 42"/>
                  <a:gd name="T84" fmla="*/ 36 w 52"/>
                  <a:gd name="T85" fmla="*/ 39 h 42"/>
                  <a:gd name="T86" fmla="*/ 46 w 52"/>
                  <a:gd name="T87" fmla="*/ 31 h 42"/>
                  <a:gd name="T88" fmla="*/ 46 w 52"/>
                  <a:gd name="T89" fmla="*/ 22 h 42"/>
                  <a:gd name="T90" fmla="*/ 41 w 52"/>
                  <a:gd name="T91" fmla="*/ 5 h 42"/>
                  <a:gd name="T92" fmla="*/ 31 w 5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42">
                    <a:moveTo>
                      <a:pt x="31" y="0"/>
                    </a:moveTo>
                    <a:cubicBezTo>
                      <a:pt x="22" y="0"/>
                      <a:pt x="22" y="0"/>
                      <a:pt x="22" y="0"/>
                    </a:cubicBezTo>
                    <a:cubicBezTo>
                      <a:pt x="22" y="6"/>
                      <a:pt x="22" y="6"/>
                      <a:pt x="22" y="6"/>
                    </a:cubicBezTo>
                    <a:cubicBezTo>
                      <a:pt x="19" y="6"/>
                      <a:pt x="17" y="7"/>
                      <a:pt x="15" y="9"/>
                    </a:cubicBezTo>
                    <a:cubicBezTo>
                      <a:pt x="11" y="5"/>
                      <a:pt x="11" y="5"/>
                      <a:pt x="11" y="5"/>
                    </a:cubicBezTo>
                    <a:cubicBezTo>
                      <a:pt x="5" y="11"/>
                      <a:pt x="5" y="11"/>
                      <a:pt x="5" y="11"/>
                    </a:cubicBezTo>
                    <a:cubicBezTo>
                      <a:pt x="8" y="15"/>
                      <a:pt x="8" y="15"/>
                      <a:pt x="8" y="15"/>
                    </a:cubicBezTo>
                    <a:cubicBezTo>
                      <a:pt x="7" y="17"/>
                      <a:pt x="6" y="20"/>
                      <a:pt x="6" y="22"/>
                    </a:cubicBezTo>
                    <a:cubicBezTo>
                      <a:pt x="0" y="22"/>
                      <a:pt x="0" y="22"/>
                      <a:pt x="0" y="22"/>
                    </a:cubicBezTo>
                    <a:cubicBezTo>
                      <a:pt x="0" y="27"/>
                      <a:pt x="0" y="27"/>
                      <a:pt x="0" y="27"/>
                    </a:cubicBezTo>
                    <a:cubicBezTo>
                      <a:pt x="4" y="28"/>
                      <a:pt x="8" y="30"/>
                      <a:pt x="12" y="31"/>
                    </a:cubicBezTo>
                    <a:cubicBezTo>
                      <a:pt x="12" y="31"/>
                      <a:pt x="12" y="31"/>
                      <a:pt x="12" y="31"/>
                    </a:cubicBezTo>
                    <a:cubicBezTo>
                      <a:pt x="11" y="31"/>
                      <a:pt x="11" y="31"/>
                      <a:pt x="11" y="31"/>
                    </a:cubicBezTo>
                    <a:cubicBezTo>
                      <a:pt x="11" y="30"/>
                      <a:pt x="11" y="30"/>
                      <a:pt x="11" y="30"/>
                    </a:cubicBezTo>
                    <a:cubicBezTo>
                      <a:pt x="11" y="30"/>
                      <a:pt x="11" y="30"/>
                      <a:pt x="11" y="30"/>
                    </a:cubicBezTo>
                    <a:cubicBezTo>
                      <a:pt x="11" y="29"/>
                      <a:pt x="11" y="29"/>
                      <a:pt x="11" y="29"/>
                    </a:cubicBezTo>
                    <a:cubicBezTo>
                      <a:pt x="11" y="29"/>
                      <a:pt x="11" y="29"/>
                      <a:pt x="11" y="29"/>
                    </a:cubicBezTo>
                    <a:cubicBezTo>
                      <a:pt x="11" y="29"/>
                      <a:pt x="11" y="29"/>
                      <a:pt x="11" y="29"/>
                    </a:cubicBezTo>
                    <a:cubicBezTo>
                      <a:pt x="11" y="28"/>
                      <a:pt x="11" y="28"/>
                      <a:pt x="11" y="28"/>
                    </a:cubicBezTo>
                    <a:cubicBezTo>
                      <a:pt x="11" y="28"/>
                      <a:pt x="11" y="28"/>
                      <a:pt x="11" y="28"/>
                    </a:cubicBezTo>
                    <a:cubicBezTo>
                      <a:pt x="11" y="28"/>
                      <a:pt x="11" y="28"/>
                      <a:pt x="11" y="28"/>
                    </a:cubicBezTo>
                    <a:cubicBezTo>
                      <a:pt x="11" y="27"/>
                      <a:pt x="11" y="27"/>
                      <a:pt x="11" y="27"/>
                    </a:cubicBezTo>
                    <a:cubicBezTo>
                      <a:pt x="11" y="26"/>
                      <a:pt x="11" y="26"/>
                      <a:pt x="11" y="26"/>
                    </a:cubicBezTo>
                    <a:cubicBezTo>
                      <a:pt x="11" y="26"/>
                      <a:pt x="11" y="26"/>
                      <a:pt x="11" y="26"/>
                    </a:cubicBezTo>
                    <a:cubicBezTo>
                      <a:pt x="11" y="25"/>
                      <a:pt x="11" y="25"/>
                      <a:pt x="11" y="25"/>
                    </a:cubicBezTo>
                    <a:cubicBezTo>
                      <a:pt x="11" y="25"/>
                      <a:pt x="11" y="25"/>
                      <a:pt x="11" y="25"/>
                    </a:cubicBezTo>
                    <a:cubicBezTo>
                      <a:pt x="11" y="24"/>
                      <a:pt x="11" y="24"/>
                      <a:pt x="11" y="24"/>
                    </a:cubicBezTo>
                    <a:cubicBezTo>
                      <a:pt x="11" y="24"/>
                      <a:pt x="11" y="24"/>
                      <a:pt x="11" y="24"/>
                    </a:cubicBezTo>
                    <a:cubicBezTo>
                      <a:pt x="11" y="24"/>
                      <a:pt x="11" y="24"/>
                      <a:pt x="11" y="24"/>
                    </a:cubicBezTo>
                    <a:cubicBezTo>
                      <a:pt x="11" y="24"/>
                      <a:pt x="11" y="24"/>
                      <a:pt x="11" y="24"/>
                    </a:cubicBezTo>
                    <a:cubicBezTo>
                      <a:pt x="11" y="23"/>
                      <a:pt x="11" y="23"/>
                      <a:pt x="11" y="23"/>
                    </a:cubicBezTo>
                    <a:cubicBezTo>
                      <a:pt x="12" y="23"/>
                      <a:pt x="12" y="23"/>
                      <a:pt x="12" y="23"/>
                    </a:cubicBezTo>
                    <a:cubicBezTo>
                      <a:pt x="12" y="22"/>
                      <a:pt x="12" y="22"/>
                      <a:pt x="12" y="22"/>
                    </a:cubicBezTo>
                    <a:cubicBezTo>
                      <a:pt x="12" y="21"/>
                      <a:pt x="12" y="20"/>
                      <a:pt x="13" y="20"/>
                    </a:cubicBezTo>
                    <a:cubicBezTo>
                      <a:pt x="13" y="19"/>
                      <a:pt x="13" y="19"/>
                      <a:pt x="13" y="19"/>
                    </a:cubicBezTo>
                    <a:cubicBezTo>
                      <a:pt x="13" y="19"/>
                      <a:pt x="13" y="19"/>
                      <a:pt x="13" y="19"/>
                    </a:cubicBezTo>
                    <a:cubicBezTo>
                      <a:pt x="13" y="19"/>
                      <a:pt x="13" y="19"/>
                      <a:pt x="13" y="19"/>
                    </a:cubicBezTo>
                    <a:cubicBezTo>
                      <a:pt x="13" y="19"/>
                      <a:pt x="13" y="19"/>
                      <a:pt x="13" y="19"/>
                    </a:cubicBezTo>
                    <a:cubicBezTo>
                      <a:pt x="14" y="18"/>
                      <a:pt x="14" y="18"/>
                      <a:pt x="14" y="17"/>
                    </a:cubicBezTo>
                    <a:cubicBezTo>
                      <a:pt x="14" y="17"/>
                      <a:pt x="14" y="17"/>
                      <a:pt x="14" y="17"/>
                    </a:cubicBezTo>
                    <a:cubicBezTo>
                      <a:pt x="15" y="17"/>
                      <a:pt x="15" y="17"/>
                      <a:pt x="15" y="17"/>
                    </a:cubicBezTo>
                    <a:cubicBezTo>
                      <a:pt x="15" y="17"/>
                      <a:pt x="15" y="17"/>
                      <a:pt x="15" y="17"/>
                    </a:cubicBezTo>
                    <a:cubicBezTo>
                      <a:pt x="15" y="16"/>
                      <a:pt x="16" y="16"/>
                      <a:pt x="16" y="15"/>
                    </a:cubicBezTo>
                    <a:cubicBezTo>
                      <a:pt x="16" y="15"/>
                      <a:pt x="16" y="15"/>
                      <a:pt x="16" y="15"/>
                    </a:cubicBezTo>
                    <a:cubicBezTo>
                      <a:pt x="17" y="15"/>
                      <a:pt x="17" y="15"/>
                      <a:pt x="17" y="15"/>
                    </a:cubicBezTo>
                    <a:cubicBezTo>
                      <a:pt x="17" y="15"/>
                      <a:pt x="17" y="15"/>
                      <a:pt x="17" y="15"/>
                    </a:cubicBezTo>
                    <a:cubicBezTo>
                      <a:pt x="17" y="14"/>
                      <a:pt x="18" y="14"/>
                      <a:pt x="18" y="14"/>
                    </a:cubicBezTo>
                    <a:cubicBezTo>
                      <a:pt x="18" y="14"/>
                      <a:pt x="18" y="14"/>
                      <a:pt x="18" y="14"/>
                    </a:cubicBezTo>
                    <a:cubicBezTo>
                      <a:pt x="19" y="13"/>
                      <a:pt x="19" y="13"/>
                      <a:pt x="19" y="13"/>
                    </a:cubicBezTo>
                    <a:cubicBezTo>
                      <a:pt x="19" y="13"/>
                      <a:pt x="19" y="13"/>
                      <a:pt x="19" y="13"/>
                    </a:cubicBezTo>
                    <a:cubicBezTo>
                      <a:pt x="19" y="13"/>
                      <a:pt x="19" y="13"/>
                      <a:pt x="19" y="13"/>
                    </a:cubicBezTo>
                    <a:cubicBezTo>
                      <a:pt x="20" y="13"/>
                      <a:pt x="21"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3" y="12"/>
                      <a:pt x="23" y="12"/>
                      <a:pt x="23" y="12"/>
                    </a:cubicBezTo>
                    <a:cubicBezTo>
                      <a:pt x="23" y="12"/>
                      <a:pt x="23" y="12"/>
                      <a:pt x="23" y="12"/>
                    </a:cubicBezTo>
                    <a:cubicBezTo>
                      <a:pt x="24" y="12"/>
                      <a:pt x="24" y="12"/>
                      <a:pt x="24" y="12"/>
                    </a:cubicBezTo>
                    <a:cubicBezTo>
                      <a:pt x="24" y="12"/>
                      <a:pt x="24" y="12"/>
                      <a:pt x="24" y="12"/>
                    </a:cubicBezTo>
                    <a:cubicBezTo>
                      <a:pt x="24" y="11"/>
                      <a:pt x="24" y="11"/>
                      <a:pt x="24" y="11"/>
                    </a:cubicBezTo>
                    <a:cubicBezTo>
                      <a:pt x="25" y="11"/>
                      <a:pt x="25" y="11"/>
                      <a:pt x="25" y="11"/>
                    </a:cubicBezTo>
                    <a:cubicBezTo>
                      <a:pt x="25" y="11"/>
                      <a:pt x="25" y="11"/>
                      <a:pt x="25" y="11"/>
                    </a:cubicBezTo>
                    <a:cubicBezTo>
                      <a:pt x="25" y="11"/>
                      <a:pt x="25" y="11"/>
                      <a:pt x="25" y="11"/>
                    </a:cubicBezTo>
                    <a:cubicBezTo>
                      <a:pt x="26" y="11"/>
                      <a:pt x="26" y="11"/>
                      <a:pt x="26" y="11"/>
                    </a:cubicBezTo>
                    <a:cubicBezTo>
                      <a:pt x="27" y="11"/>
                      <a:pt x="27" y="11"/>
                      <a:pt x="27" y="11"/>
                    </a:cubicBezTo>
                    <a:cubicBezTo>
                      <a:pt x="27" y="11"/>
                      <a:pt x="27" y="11"/>
                      <a:pt x="27" y="11"/>
                    </a:cubicBezTo>
                    <a:cubicBezTo>
                      <a:pt x="27" y="11"/>
                      <a:pt x="27" y="11"/>
                      <a:pt x="27" y="11"/>
                    </a:cubicBezTo>
                    <a:cubicBezTo>
                      <a:pt x="28" y="11"/>
                      <a:pt x="28" y="11"/>
                      <a:pt x="28" y="11"/>
                    </a:cubicBezTo>
                    <a:cubicBezTo>
                      <a:pt x="28" y="12"/>
                      <a:pt x="28" y="12"/>
                      <a:pt x="28" y="12"/>
                    </a:cubicBezTo>
                    <a:cubicBezTo>
                      <a:pt x="28" y="12"/>
                      <a:pt x="28" y="12"/>
                      <a:pt x="28" y="12"/>
                    </a:cubicBezTo>
                    <a:cubicBezTo>
                      <a:pt x="29" y="12"/>
                      <a:pt x="29" y="12"/>
                      <a:pt x="29" y="12"/>
                    </a:cubicBezTo>
                    <a:cubicBezTo>
                      <a:pt x="29" y="12"/>
                      <a:pt x="29" y="12"/>
                      <a:pt x="29" y="12"/>
                    </a:cubicBezTo>
                    <a:cubicBezTo>
                      <a:pt x="30" y="12"/>
                      <a:pt x="30" y="12"/>
                      <a:pt x="30" y="12"/>
                    </a:cubicBezTo>
                    <a:cubicBezTo>
                      <a:pt x="30" y="12"/>
                      <a:pt x="30" y="12"/>
                      <a:pt x="30" y="12"/>
                    </a:cubicBezTo>
                    <a:cubicBezTo>
                      <a:pt x="31" y="12"/>
                      <a:pt x="32" y="13"/>
                      <a:pt x="33" y="13"/>
                    </a:cubicBezTo>
                    <a:cubicBezTo>
                      <a:pt x="33" y="13"/>
                      <a:pt x="33" y="13"/>
                      <a:pt x="33" y="13"/>
                    </a:cubicBezTo>
                    <a:cubicBezTo>
                      <a:pt x="34" y="13"/>
                      <a:pt x="34" y="13"/>
                      <a:pt x="34" y="13"/>
                    </a:cubicBezTo>
                    <a:cubicBezTo>
                      <a:pt x="34" y="14"/>
                      <a:pt x="34" y="14"/>
                      <a:pt x="34" y="14"/>
                    </a:cubicBezTo>
                    <a:cubicBezTo>
                      <a:pt x="34" y="14"/>
                      <a:pt x="34" y="14"/>
                      <a:pt x="34" y="14"/>
                    </a:cubicBezTo>
                    <a:cubicBezTo>
                      <a:pt x="35" y="14"/>
                      <a:pt x="35" y="14"/>
                      <a:pt x="35" y="15"/>
                    </a:cubicBezTo>
                    <a:cubicBezTo>
                      <a:pt x="35" y="15"/>
                      <a:pt x="35" y="15"/>
                      <a:pt x="35" y="15"/>
                    </a:cubicBezTo>
                    <a:cubicBezTo>
                      <a:pt x="36" y="15"/>
                      <a:pt x="36" y="15"/>
                      <a:pt x="36" y="15"/>
                    </a:cubicBezTo>
                    <a:cubicBezTo>
                      <a:pt x="36" y="15"/>
                      <a:pt x="36" y="15"/>
                      <a:pt x="36" y="15"/>
                    </a:cubicBezTo>
                    <a:cubicBezTo>
                      <a:pt x="36" y="16"/>
                      <a:pt x="37" y="16"/>
                      <a:pt x="37" y="17"/>
                    </a:cubicBezTo>
                    <a:cubicBezTo>
                      <a:pt x="37" y="17"/>
                      <a:pt x="37" y="17"/>
                      <a:pt x="37" y="17"/>
                    </a:cubicBezTo>
                    <a:cubicBezTo>
                      <a:pt x="38" y="17"/>
                      <a:pt x="38" y="17"/>
                      <a:pt x="38" y="17"/>
                    </a:cubicBezTo>
                    <a:cubicBezTo>
                      <a:pt x="38" y="17"/>
                      <a:pt x="38" y="17"/>
                      <a:pt x="38" y="17"/>
                    </a:cubicBezTo>
                    <a:cubicBezTo>
                      <a:pt x="38" y="18"/>
                      <a:pt x="38" y="18"/>
                      <a:pt x="39" y="19"/>
                    </a:cubicBezTo>
                    <a:cubicBezTo>
                      <a:pt x="39" y="19"/>
                      <a:pt x="39" y="19"/>
                      <a:pt x="39" y="19"/>
                    </a:cubicBezTo>
                    <a:cubicBezTo>
                      <a:pt x="39" y="19"/>
                      <a:pt x="39" y="19"/>
                      <a:pt x="39" y="19"/>
                    </a:cubicBezTo>
                    <a:cubicBezTo>
                      <a:pt x="39" y="19"/>
                      <a:pt x="39" y="19"/>
                      <a:pt x="39" y="19"/>
                    </a:cubicBezTo>
                    <a:cubicBezTo>
                      <a:pt x="39" y="20"/>
                      <a:pt x="39" y="20"/>
                      <a:pt x="39" y="20"/>
                    </a:cubicBezTo>
                    <a:cubicBezTo>
                      <a:pt x="40" y="20"/>
                      <a:pt x="40" y="21"/>
                      <a:pt x="40" y="22"/>
                    </a:cubicBezTo>
                    <a:cubicBezTo>
                      <a:pt x="41" y="23"/>
                      <a:pt x="41" y="23"/>
                      <a:pt x="41" y="23"/>
                    </a:cubicBezTo>
                    <a:cubicBezTo>
                      <a:pt x="41" y="23"/>
                      <a:pt x="41" y="23"/>
                      <a:pt x="41" y="23"/>
                    </a:cubicBezTo>
                    <a:cubicBezTo>
                      <a:pt x="41" y="24"/>
                      <a:pt x="41" y="24"/>
                      <a:pt x="41" y="24"/>
                    </a:cubicBezTo>
                    <a:cubicBezTo>
                      <a:pt x="41" y="24"/>
                      <a:pt x="41" y="24"/>
                      <a:pt x="41" y="24"/>
                    </a:cubicBezTo>
                    <a:cubicBezTo>
                      <a:pt x="41" y="24"/>
                      <a:pt x="41" y="24"/>
                      <a:pt x="41" y="24"/>
                    </a:cubicBezTo>
                    <a:cubicBezTo>
                      <a:pt x="41" y="24"/>
                      <a:pt x="41" y="24"/>
                      <a:pt x="41" y="24"/>
                    </a:cubicBezTo>
                    <a:cubicBezTo>
                      <a:pt x="41" y="25"/>
                      <a:pt x="41" y="25"/>
                      <a:pt x="41" y="25"/>
                    </a:cubicBezTo>
                    <a:cubicBezTo>
                      <a:pt x="41" y="25"/>
                      <a:pt x="41" y="25"/>
                      <a:pt x="41" y="25"/>
                    </a:cubicBezTo>
                    <a:cubicBezTo>
                      <a:pt x="41" y="26"/>
                      <a:pt x="41" y="26"/>
                      <a:pt x="41" y="26"/>
                    </a:cubicBezTo>
                    <a:cubicBezTo>
                      <a:pt x="41" y="26"/>
                      <a:pt x="41" y="26"/>
                      <a:pt x="41" y="26"/>
                    </a:cubicBezTo>
                    <a:cubicBezTo>
                      <a:pt x="41" y="27"/>
                      <a:pt x="41" y="27"/>
                      <a:pt x="41" y="27"/>
                    </a:cubicBezTo>
                    <a:cubicBezTo>
                      <a:pt x="41" y="28"/>
                      <a:pt x="41" y="28"/>
                      <a:pt x="41" y="28"/>
                    </a:cubicBezTo>
                    <a:cubicBezTo>
                      <a:pt x="41" y="28"/>
                      <a:pt x="41" y="28"/>
                      <a:pt x="41" y="28"/>
                    </a:cubicBezTo>
                    <a:cubicBezTo>
                      <a:pt x="41" y="28"/>
                      <a:pt x="41" y="28"/>
                      <a:pt x="41" y="28"/>
                    </a:cubicBezTo>
                    <a:cubicBezTo>
                      <a:pt x="41" y="28"/>
                      <a:pt x="41" y="28"/>
                      <a:pt x="41" y="28"/>
                    </a:cubicBezTo>
                    <a:cubicBezTo>
                      <a:pt x="41" y="29"/>
                      <a:pt x="41" y="29"/>
                      <a:pt x="41" y="29"/>
                    </a:cubicBezTo>
                    <a:cubicBezTo>
                      <a:pt x="41" y="29"/>
                      <a:pt x="41" y="29"/>
                      <a:pt x="41" y="29"/>
                    </a:cubicBezTo>
                    <a:cubicBezTo>
                      <a:pt x="41" y="30"/>
                      <a:pt x="41" y="30"/>
                      <a:pt x="41" y="30"/>
                    </a:cubicBezTo>
                    <a:cubicBezTo>
                      <a:pt x="41" y="30"/>
                      <a:pt x="41" y="30"/>
                      <a:pt x="41" y="30"/>
                    </a:cubicBezTo>
                    <a:cubicBezTo>
                      <a:pt x="41" y="31"/>
                      <a:pt x="41" y="31"/>
                      <a:pt x="41" y="31"/>
                    </a:cubicBezTo>
                    <a:cubicBezTo>
                      <a:pt x="41" y="31"/>
                      <a:pt x="41" y="31"/>
                      <a:pt x="41" y="31"/>
                    </a:cubicBezTo>
                    <a:cubicBezTo>
                      <a:pt x="40" y="31"/>
                      <a:pt x="40" y="31"/>
                      <a:pt x="40" y="31"/>
                    </a:cubicBezTo>
                    <a:cubicBezTo>
                      <a:pt x="40" y="31"/>
                      <a:pt x="40" y="31"/>
                      <a:pt x="40" y="31"/>
                    </a:cubicBezTo>
                    <a:cubicBezTo>
                      <a:pt x="40" y="32"/>
                      <a:pt x="40" y="33"/>
                      <a:pt x="39" y="34"/>
                    </a:cubicBezTo>
                    <a:cubicBezTo>
                      <a:pt x="39" y="35"/>
                      <a:pt x="39" y="35"/>
                      <a:pt x="39" y="35"/>
                    </a:cubicBezTo>
                    <a:cubicBezTo>
                      <a:pt x="39" y="35"/>
                      <a:pt x="39" y="35"/>
                      <a:pt x="39" y="35"/>
                    </a:cubicBezTo>
                    <a:cubicBezTo>
                      <a:pt x="39" y="35"/>
                      <a:pt x="39" y="35"/>
                      <a:pt x="39" y="35"/>
                    </a:cubicBezTo>
                    <a:cubicBezTo>
                      <a:pt x="39" y="35"/>
                      <a:pt x="39" y="35"/>
                      <a:pt x="39" y="35"/>
                    </a:cubicBezTo>
                    <a:cubicBezTo>
                      <a:pt x="38" y="36"/>
                      <a:pt x="38" y="36"/>
                      <a:pt x="38" y="36"/>
                    </a:cubicBezTo>
                    <a:cubicBezTo>
                      <a:pt x="38" y="37"/>
                      <a:pt x="38" y="37"/>
                      <a:pt x="38" y="37"/>
                    </a:cubicBezTo>
                    <a:cubicBezTo>
                      <a:pt x="37" y="37"/>
                      <a:pt x="37" y="37"/>
                      <a:pt x="37" y="37"/>
                    </a:cubicBezTo>
                    <a:cubicBezTo>
                      <a:pt x="37" y="37"/>
                      <a:pt x="37" y="37"/>
                      <a:pt x="37" y="37"/>
                    </a:cubicBezTo>
                    <a:cubicBezTo>
                      <a:pt x="37" y="38"/>
                      <a:pt x="36" y="38"/>
                      <a:pt x="36" y="39"/>
                    </a:cubicBezTo>
                    <a:cubicBezTo>
                      <a:pt x="36" y="39"/>
                      <a:pt x="36" y="39"/>
                      <a:pt x="36" y="39"/>
                    </a:cubicBezTo>
                    <a:cubicBezTo>
                      <a:pt x="36" y="39"/>
                      <a:pt x="36" y="39"/>
                      <a:pt x="36" y="39"/>
                    </a:cubicBezTo>
                    <a:cubicBezTo>
                      <a:pt x="40" y="40"/>
                      <a:pt x="43" y="41"/>
                      <a:pt x="47" y="42"/>
                    </a:cubicBezTo>
                    <a:cubicBezTo>
                      <a:pt x="44" y="38"/>
                      <a:pt x="44" y="38"/>
                      <a:pt x="44" y="38"/>
                    </a:cubicBezTo>
                    <a:cubicBezTo>
                      <a:pt x="45" y="36"/>
                      <a:pt x="46" y="34"/>
                      <a:pt x="46" y="31"/>
                    </a:cubicBezTo>
                    <a:cubicBezTo>
                      <a:pt x="52" y="31"/>
                      <a:pt x="52" y="31"/>
                      <a:pt x="52" y="31"/>
                    </a:cubicBezTo>
                    <a:cubicBezTo>
                      <a:pt x="52" y="22"/>
                      <a:pt x="52" y="22"/>
                      <a:pt x="52" y="22"/>
                    </a:cubicBezTo>
                    <a:cubicBezTo>
                      <a:pt x="46" y="22"/>
                      <a:pt x="46" y="22"/>
                      <a:pt x="46" y="22"/>
                    </a:cubicBezTo>
                    <a:cubicBezTo>
                      <a:pt x="46" y="20"/>
                      <a:pt x="45" y="17"/>
                      <a:pt x="44" y="15"/>
                    </a:cubicBezTo>
                    <a:cubicBezTo>
                      <a:pt x="47" y="11"/>
                      <a:pt x="47" y="11"/>
                      <a:pt x="47" y="11"/>
                    </a:cubicBezTo>
                    <a:cubicBezTo>
                      <a:pt x="41" y="5"/>
                      <a:pt x="41" y="5"/>
                      <a:pt x="41" y="5"/>
                    </a:cubicBezTo>
                    <a:cubicBezTo>
                      <a:pt x="37" y="9"/>
                      <a:pt x="37" y="9"/>
                      <a:pt x="37" y="9"/>
                    </a:cubicBezTo>
                    <a:cubicBezTo>
                      <a:pt x="35" y="7"/>
                      <a:pt x="33" y="6"/>
                      <a:pt x="31" y="6"/>
                    </a:cubicBezTo>
                    <a:cubicBezTo>
                      <a:pt x="31" y="0"/>
                      <a:pt x="31" y="0"/>
                      <a:pt x="3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8213" name="Freeform 21262">
              <a:extLst>
                <a:ext uri="{FF2B5EF4-FFF2-40B4-BE49-F238E27FC236}">
                  <a16:creationId xmlns:a16="http://schemas.microsoft.com/office/drawing/2014/main" id="{53C49BDB-5F95-4D0A-BD31-605AD9A4B2D3}"/>
                </a:ext>
              </a:extLst>
            </p:cNvPr>
            <p:cNvSpPr>
              <a:spLocks noEditPoints="1"/>
            </p:cNvSpPr>
            <p:nvPr userDrawn="1"/>
          </p:nvSpPr>
          <p:spPr bwMode="auto">
            <a:xfrm>
              <a:off x="10149840" y="3522028"/>
              <a:ext cx="239713" cy="390525"/>
            </a:xfrm>
            <a:custGeom>
              <a:avLst/>
              <a:gdLst>
                <a:gd name="T0" fmla="*/ 104 w 118"/>
                <a:gd name="T1" fmla="*/ 169 h 194"/>
                <a:gd name="T2" fmla="*/ 107 w 118"/>
                <a:gd name="T3" fmla="*/ 175 h 194"/>
                <a:gd name="T4" fmla="*/ 112 w 118"/>
                <a:gd name="T5" fmla="*/ 184 h 194"/>
                <a:gd name="T6" fmla="*/ 112 w 118"/>
                <a:gd name="T7" fmla="*/ 186 h 194"/>
                <a:gd name="T8" fmla="*/ 112 w 118"/>
                <a:gd name="T9" fmla="*/ 187 h 194"/>
                <a:gd name="T10" fmla="*/ 114 w 118"/>
                <a:gd name="T11" fmla="*/ 194 h 194"/>
                <a:gd name="T12" fmla="*/ 117 w 118"/>
                <a:gd name="T13" fmla="*/ 186 h 194"/>
                <a:gd name="T14" fmla="*/ 117 w 118"/>
                <a:gd name="T15" fmla="*/ 185 h 194"/>
                <a:gd name="T16" fmla="*/ 104 w 118"/>
                <a:gd name="T17" fmla="*/ 169 h 194"/>
                <a:gd name="T18" fmla="*/ 78 w 118"/>
                <a:gd name="T19" fmla="*/ 115 h 194"/>
                <a:gd name="T20" fmla="*/ 81 w 118"/>
                <a:gd name="T21" fmla="*/ 121 h 194"/>
                <a:gd name="T22" fmla="*/ 90 w 118"/>
                <a:gd name="T23" fmla="*/ 122 h 194"/>
                <a:gd name="T24" fmla="*/ 95 w 118"/>
                <a:gd name="T25" fmla="*/ 121 h 194"/>
                <a:gd name="T26" fmla="*/ 98 w 118"/>
                <a:gd name="T27" fmla="*/ 121 h 194"/>
                <a:gd name="T28" fmla="*/ 106 w 118"/>
                <a:gd name="T29" fmla="*/ 128 h 194"/>
                <a:gd name="T30" fmla="*/ 107 w 118"/>
                <a:gd name="T31" fmla="*/ 130 h 194"/>
                <a:gd name="T32" fmla="*/ 99 w 118"/>
                <a:gd name="T33" fmla="*/ 141 h 194"/>
                <a:gd name="T34" fmla="*/ 93 w 118"/>
                <a:gd name="T35" fmla="*/ 144 h 194"/>
                <a:gd name="T36" fmla="*/ 95 w 118"/>
                <a:gd name="T37" fmla="*/ 149 h 194"/>
                <a:gd name="T38" fmla="*/ 101 w 118"/>
                <a:gd name="T39" fmla="*/ 146 h 194"/>
                <a:gd name="T40" fmla="*/ 112 w 118"/>
                <a:gd name="T41" fmla="*/ 128 h 194"/>
                <a:gd name="T42" fmla="*/ 112 w 118"/>
                <a:gd name="T43" fmla="*/ 127 h 194"/>
                <a:gd name="T44" fmla="*/ 98 w 118"/>
                <a:gd name="T45" fmla="*/ 116 h 194"/>
                <a:gd name="T46" fmla="*/ 94 w 118"/>
                <a:gd name="T47" fmla="*/ 116 h 194"/>
                <a:gd name="T48" fmla="*/ 90 w 118"/>
                <a:gd name="T49" fmla="*/ 116 h 194"/>
                <a:gd name="T50" fmla="*/ 78 w 118"/>
                <a:gd name="T51" fmla="*/ 115 h 194"/>
                <a:gd name="T52" fmla="*/ 78 w 118"/>
                <a:gd name="T53" fmla="*/ 66 h 194"/>
                <a:gd name="T54" fmla="*/ 69 w 118"/>
                <a:gd name="T55" fmla="*/ 69 h 194"/>
                <a:gd name="T56" fmla="*/ 53 w 118"/>
                <a:gd name="T57" fmla="*/ 73 h 194"/>
                <a:gd name="T58" fmla="*/ 56 w 118"/>
                <a:gd name="T59" fmla="*/ 78 h 194"/>
                <a:gd name="T60" fmla="*/ 71 w 118"/>
                <a:gd name="T61" fmla="*/ 74 h 194"/>
                <a:gd name="T62" fmla="*/ 78 w 118"/>
                <a:gd name="T63" fmla="*/ 72 h 194"/>
                <a:gd name="T64" fmla="*/ 84 w 118"/>
                <a:gd name="T65" fmla="*/ 76 h 194"/>
                <a:gd name="T66" fmla="*/ 85 w 118"/>
                <a:gd name="T67" fmla="*/ 78 h 194"/>
                <a:gd name="T68" fmla="*/ 81 w 118"/>
                <a:gd name="T69" fmla="*/ 91 h 194"/>
                <a:gd name="T70" fmla="*/ 71 w 118"/>
                <a:gd name="T71" fmla="*/ 102 h 194"/>
                <a:gd name="T72" fmla="*/ 74 w 118"/>
                <a:gd name="T73" fmla="*/ 107 h 194"/>
                <a:gd name="T74" fmla="*/ 84 w 118"/>
                <a:gd name="T75" fmla="*/ 95 h 194"/>
                <a:gd name="T76" fmla="*/ 89 w 118"/>
                <a:gd name="T77" fmla="*/ 75 h 194"/>
                <a:gd name="T78" fmla="*/ 89 w 118"/>
                <a:gd name="T79" fmla="*/ 74 h 194"/>
                <a:gd name="T80" fmla="*/ 78 w 118"/>
                <a:gd name="T81" fmla="*/ 66 h 194"/>
                <a:gd name="T82" fmla="*/ 42 w 118"/>
                <a:gd name="T83" fmla="*/ 26 h 194"/>
                <a:gd name="T84" fmla="*/ 30 w 118"/>
                <a:gd name="T85" fmla="*/ 32 h 194"/>
                <a:gd name="T86" fmla="*/ 27 w 118"/>
                <a:gd name="T87" fmla="*/ 34 h 194"/>
                <a:gd name="T88" fmla="*/ 30 w 118"/>
                <a:gd name="T89" fmla="*/ 38 h 194"/>
                <a:gd name="T90" fmla="*/ 34 w 118"/>
                <a:gd name="T91" fmla="*/ 36 h 194"/>
                <a:gd name="T92" fmla="*/ 42 w 118"/>
                <a:gd name="T93" fmla="*/ 31 h 194"/>
                <a:gd name="T94" fmla="*/ 47 w 118"/>
                <a:gd name="T95" fmla="*/ 34 h 194"/>
                <a:gd name="T96" fmla="*/ 48 w 118"/>
                <a:gd name="T97" fmla="*/ 35 h 194"/>
                <a:gd name="T98" fmla="*/ 49 w 118"/>
                <a:gd name="T99" fmla="*/ 49 h 194"/>
                <a:gd name="T100" fmla="*/ 44 w 118"/>
                <a:gd name="T101" fmla="*/ 58 h 194"/>
                <a:gd name="T102" fmla="*/ 47 w 118"/>
                <a:gd name="T103" fmla="*/ 64 h 194"/>
                <a:gd name="T104" fmla="*/ 53 w 118"/>
                <a:gd name="T105" fmla="*/ 52 h 194"/>
                <a:gd name="T106" fmla="*/ 52 w 118"/>
                <a:gd name="T107" fmla="*/ 31 h 194"/>
                <a:gd name="T108" fmla="*/ 51 w 118"/>
                <a:gd name="T109" fmla="*/ 30 h 194"/>
                <a:gd name="T110" fmla="*/ 42 w 118"/>
                <a:gd name="T111" fmla="*/ 26 h 194"/>
                <a:gd name="T112" fmla="*/ 0 w 118"/>
                <a:gd name="T113" fmla="*/ 0 h 194"/>
                <a:gd name="T114" fmla="*/ 2 w 118"/>
                <a:gd name="T115" fmla="*/ 3 h 194"/>
                <a:gd name="T116" fmla="*/ 11 w 118"/>
                <a:gd name="T117" fmla="*/ 14 h 194"/>
                <a:gd name="T118" fmla="*/ 2 w 118"/>
                <a:gd name="T119" fmla="*/ 1 h 194"/>
                <a:gd name="T120" fmla="*/ 1 w 118"/>
                <a:gd name="T121" fmla="*/ 0 h 194"/>
                <a:gd name="T122" fmla="*/ 0 w 118"/>
                <a:gd name="T1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94">
                  <a:moveTo>
                    <a:pt x="104" y="169"/>
                  </a:moveTo>
                  <a:cubicBezTo>
                    <a:pt x="105" y="171"/>
                    <a:pt x="106" y="173"/>
                    <a:pt x="107" y="175"/>
                  </a:cubicBezTo>
                  <a:cubicBezTo>
                    <a:pt x="112" y="177"/>
                    <a:pt x="112" y="180"/>
                    <a:pt x="112" y="184"/>
                  </a:cubicBezTo>
                  <a:cubicBezTo>
                    <a:pt x="112" y="186"/>
                    <a:pt x="112" y="186"/>
                    <a:pt x="112" y="186"/>
                  </a:cubicBezTo>
                  <a:cubicBezTo>
                    <a:pt x="112" y="186"/>
                    <a:pt x="112" y="187"/>
                    <a:pt x="112" y="187"/>
                  </a:cubicBezTo>
                  <a:cubicBezTo>
                    <a:pt x="113" y="189"/>
                    <a:pt x="113" y="192"/>
                    <a:pt x="114" y="194"/>
                  </a:cubicBezTo>
                  <a:cubicBezTo>
                    <a:pt x="116" y="192"/>
                    <a:pt x="117" y="189"/>
                    <a:pt x="117" y="186"/>
                  </a:cubicBezTo>
                  <a:cubicBezTo>
                    <a:pt x="117" y="185"/>
                    <a:pt x="117" y="185"/>
                    <a:pt x="117" y="185"/>
                  </a:cubicBezTo>
                  <a:cubicBezTo>
                    <a:pt x="118" y="178"/>
                    <a:pt x="117" y="172"/>
                    <a:pt x="104" y="169"/>
                  </a:cubicBezTo>
                  <a:moveTo>
                    <a:pt x="78" y="115"/>
                  </a:moveTo>
                  <a:cubicBezTo>
                    <a:pt x="79" y="117"/>
                    <a:pt x="80" y="119"/>
                    <a:pt x="81" y="121"/>
                  </a:cubicBezTo>
                  <a:cubicBezTo>
                    <a:pt x="84" y="121"/>
                    <a:pt x="87" y="122"/>
                    <a:pt x="90" y="122"/>
                  </a:cubicBezTo>
                  <a:cubicBezTo>
                    <a:pt x="92" y="122"/>
                    <a:pt x="93" y="122"/>
                    <a:pt x="95" y="121"/>
                  </a:cubicBezTo>
                  <a:cubicBezTo>
                    <a:pt x="96" y="121"/>
                    <a:pt x="97" y="121"/>
                    <a:pt x="98" y="121"/>
                  </a:cubicBezTo>
                  <a:cubicBezTo>
                    <a:pt x="105" y="121"/>
                    <a:pt x="105" y="124"/>
                    <a:pt x="106" y="128"/>
                  </a:cubicBezTo>
                  <a:cubicBezTo>
                    <a:pt x="107" y="130"/>
                    <a:pt x="107" y="130"/>
                    <a:pt x="107" y="130"/>
                  </a:cubicBezTo>
                  <a:cubicBezTo>
                    <a:pt x="108" y="134"/>
                    <a:pt x="109" y="137"/>
                    <a:pt x="99" y="141"/>
                  </a:cubicBezTo>
                  <a:cubicBezTo>
                    <a:pt x="97" y="142"/>
                    <a:pt x="95" y="143"/>
                    <a:pt x="93" y="144"/>
                  </a:cubicBezTo>
                  <a:cubicBezTo>
                    <a:pt x="94" y="146"/>
                    <a:pt x="94" y="147"/>
                    <a:pt x="95" y="149"/>
                  </a:cubicBezTo>
                  <a:cubicBezTo>
                    <a:pt x="97" y="148"/>
                    <a:pt x="99" y="147"/>
                    <a:pt x="101" y="146"/>
                  </a:cubicBezTo>
                  <a:cubicBezTo>
                    <a:pt x="114" y="141"/>
                    <a:pt x="113" y="135"/>
                    <a:pt x="112" y="128"/>
                  </a:cubicBezTo>
                  <a:cubicBezTo>
                    <a:pt x="112" y="127"/>
                    <a:pt x="112" y="127"/>
                    <a:pt x="112" y="127"/>
                  </a:cubicBezTo>
                  <a:cubicBezTo>
                    <a:pt x="111" y="123"/>
                    <a:pt x="109" y="116"/>
                    <a:pt x="98" y="116"/>
                  </a:cubicBezTo>
                  <a:cubicBezTo>
                    <a:pt x="97" y="116"/>
                    <a:pt x="95" y="116"/>
                    <a:pt x="94" y="116"/>
                  </a:cubicBezTo>
                  <a:cubicBezTo>
                    <a:pt x="93" y="116"/>
                    <a:pt x="91" y="116"/>
                    <a:pt x="90" y="116"/>
                  </a:cubicBezTo>
                  <a:cubicBezTo>
                    <a:pt x="86" y="116"/>
                    <a:pt x="82" y="116"/>
                    <a:pt x="78" y="115"/>
                  </a:cubicBezTo>
                  <a:moveTo>
                    <a:pt x="78" y="66"/>
                  </a:moveTo>
                  <a:cubicBezTo>
                    <a:pt x="76" y="66"/>
                    <a:pt x="72" y="67"/>
                    <a:pt x="69" y="69"/>
                  </a:cubicBezTo>
                  <a:cubicBezTo>
                    <a:pt x="64" y="71"/>
                    <a:pt x="58" y="72"/>
                    <a:pt x="53" y="73"/>
                  </a:cubicBezTo>
                  <a:cubicBezTo>
                    <a:pt x="54" y="74"/>
                    <a:pt x="55" y="76"/>
                    <a:pt x="56" y="78"/>
                  </a:cubicBezTo>
                  <a:cubicBezTo>
                    <a:pt x="61" y="77"/>
                    <a:pt x="66" y="76"/>
                    <a:pt x="71" y="74"/>
                  </a:cubicBezTo>
                  <a:cubicBezTo>
                    <a:pt x="74" y="72"/>
                    <a:pt x="76" y="72"/>
                    <a:pt x="78" y="72"/>
                  </a:cubicBezTo>
                  <a:cubicBezTo>
                    <a:pt x="81" y="72"/>
                    <a:pt x="82" y="73"/>
                    <a:pt x="84" y="76"/>
                  </a:cubicBezTo>
                  <a:cubicBezTo>
                    <a:pt x="85" y="78"/>
                    <a:pt x="85" y="78"/>
                    <a:pt x="85" y="78"/>
                  </a:cubicBezTo>
                  <a:cubicBezTo>
                    <a:pt x="87" y="82"/>
                    <a:pt x="89" y="85"/>
                    <a:pt x="81" y="91"/>
                  </a:cubicBezTo>
                  <a:cubicBezTo>
                    <a:pt x="78" y="94"/>
                    <a:pt x="74" y="98"/>
                    <a:pt x="71" y="102"/>
                  </a:cubicBezTo>
                  <a:cubicBezTo>
                    <a:pt x="72" y="104"/>
                    <a:pt x="73" y="105"/>
                    <a:pt x="74" y="107"/>
                  </a:cubicBezTo>
                  <a:cubicBezTo>
                    <a:pt x="76" y="103"/>
                    <a:pt x="80" y="99"/>
                    <a:pt x="84" y="95"/>
                  </a:cubicBezTo>
                  <a:cubicBezTo>
                    <a:pt x="95" y="87"/>
                    <a:pt x="93" y="81"/>
                    <a:pt x="89" y="75"/>
                  </a:cubicBezTo>
                  <a:cubicBezTo>
                    <a:pt x="89" y="74"/>
                    <a:pt x="89" y="74"/>
                    <a:pt x="89" y="74"/>
                  </a:cubicBezTo>
                  <a:cubicBezTo>
                    <a:pt x="87" y="71"/>
                    <a:pt x="84" y="66"/>
                    <a:pt x="78" y="66"/>
                  </a:cubicBezTo>
                  <a:moveTo>
                    <a:pt x="42" y="26"/>
                  </a:moveTo>
                  <a:cubicBezTo>
                    <a:pt x="38" y="26"/>
                    <a:pt x="35" y="28"/>
                    <a:pt x="30" y="32"/>
                  </a:cubicBezTo>
                  <a:cubicBezTo>
                    <a:pt x="29" y="32"/>
                    <a:pt x="28" y="33"/>
                    <a:pt x="27" y="34"/>
                  </a:cubicBezTo>
                  <a:cubicBezTo>
                    <a:pt x="28" y="36"/>
                    <a:pt x="29" y="37"/>
                    <a:pt x="30" y="38"/>
                  </a:cubicBezTo>
                  <a:cubicBezTo>
                    <a:pt x="31" y="37"/>
                    <a:pt x="33" y="37"/>
                    <a:pt x="34" y="36"/>
                  </a:cubicBezTo>
                  <a:cubicBezTo>
                    <a:pt x="37" y="33"/>
                    <a:pt x="40" y="31"/>
                    <a:pt x="42" y="31"/>
                  </a:cubicBezTo>
                  <a:cubicBezTo>
                    <a:pt x="44" y="31"/>
                    <a:pt x="45" y="32"/>
                    <a:pt x="47" y="34"/>
                  </a:cubicBezTo>
                  <a:cubicBezTo>
                    <a:pt x="48" y="35"/>
                    <a:pt x="48" y="35"/>
                    <a:pt x="48" y="35"/>
                  </a:cubicBezTo>
                  <a:cubicBezTo>
                    <a:pt x="52" y="38"/>
                    <a:pt x="55" y="40"/>
                    <a:pt x="49" y="49"/>
                  </a:cubicBezTo>
                  <a:cubicBezTo>
                    <a:pt x="47" y="52"/>
                    <a:pt x="45" y="55"/>
                    <a:pt x="44" y="58"/>
                  </a:cubicBezTo>
                  <a:cubicBezTo>
                    <a:pt x="45" y="60"/>
                    <a:pt x="46" y="62"/>
                    <a:pt x="47" y="64"/>
                  </a:cubicBezTo>
                  <a:cubicBezTo>
                    <a:pt x="49" y="60"/>
                    <a:pt x="51" y="56"/>
                    <a:pt x="53" y="52"/>
                  </a:cubicBezTo>
                  <a:cubicBezTo>
                    <a:pt x="61" y="40"/>
                    <a:pt x="57" y="35"/>
                    <a:pt x="52" y="31"/>
                  </a:cubicBezTo>
                  <a:cubicBezTo>
                    <a:pt x="51" y="30"/>
                    <a:pt x="51" y="30"/>
                    <a:pt x="51" y="30"/>
                  </a:cubicBezTo>
                  <a:cubicBezTo>
                    <a:pt x="49" y="28"/>
                    <a:pt x="46" y="26"/>
                    <a:pt x="42" y="26"/>
                  </a:cubicBezTo>
                  <a:moveTo>
                    <a:pt x="0" y="0"/>
                  </a:moveTo>
                  <a:cubicBezTo>
                    <a:pt x="0" y="1"/>
                    <a:pt x="1" y="2"/>
                    <a:pt x="2" y="3"/>
                  </a:cubicBezTo>
                  <a:cubicBezTo>
                    <a:pt x="5" y="6"/>
                    <a:pt x="8" y="10"/>
                    <a:pt x="11" y="14"/>
                  </a:cubicBezTo>
                  <a:cubicBezTo>
                    <a:pt x="12" y="6"/>
                    <a:pt x="7" y="3"/>
                    <a:pt x="2" y="1"/>
                  </a:cubicBezTo>
                  <a:cubicBezTo>
                    <a:pt x="1" y="0"/>
                    <a:pt x="1" y="0"/>
                    <a:pt x="1" y="0"/>
                  </a:cubicBezTo>
                  <a:cubicBezTo>
                    <a:pt x="1" y="0"/>
                    <a:pt x="0" y="0"/>
                    <a:pt x="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4" name="Freeform 21263">
              <a:extLst>
                <a:ext uri="{FF2B5EF4-FFF2-40B4-BE49-F238E27FC236}">
                  <a16:creationId xmlns:a16="http://schemas.microsoft.com/office/drawing/2014/main" id="{68AA9335-6863-4344-A21E-34413D9AE903}"/>
                </a:ext>
              </a:extLst>
            </p:cNvPr>
            <p:cNvSpPr>
              <a:spLocks noEditPoints="1"/>
            </p:cNvSpPr>
            <p:nvPr userDrawn="1"/>
          </p:nvSpPr>
          <p:spPr bwMode="auto">
            <a:xfrm>
              <a:off x="7263765" y="4466590"/>
              <a:ext cx="768350" cy="1046163"/>
            </a:xfrm>
            <a:custGeom>
              <a:avLst/>
              <a:gdLst>
                <a:gd name="T0" fmla="*/ 264 w 380"/>
                <a:gd name="T1" fmla="*/ 469 h 519"/>
                <a:gd name="T2" fmla="*/ 195 w 380"/>
                <a:gd name="T3" fmla="*/ 1 h 519"/>
                <a:gd name="T4" fmla="*/ 156 w 380"/>
                <a:gd name="T5" fmla="*/ 15 h 519"/>
                <a:gd name="T6" fmla="*/ 120 w 380"/>
                <a:gd name="T7" fmla="*/ 35 h 519"/>
                <a:gd name="T8" fmla="*/ 88 w 380"/>
                <a:gd name="T9" fmla="*/ 59 h 519"/>
                <a:gd name="T10" fmla="*/ 59 w 380"/>
                <a:gd name="T11" fmla="*/ 89 h 519"/>
                <a:gd name="T12" fmla="*/ 44 w 380"/>
                <a:gd name="T13" fmla="*/ 117 h 519"/>
                <a:gd name="T14" fmla="*/ 31 w 380"/>
                <a:gd name="T15" fmla="*/ 154 h 519"/>
                <a:gd name="T16" fmla="*/ 21 w 380"/>
                <a:gd name="T17" fmla="*/ 192 h 519"/>
                <a:gd name="T18" fmla="*/ 25 w 380"/>
                <a:gd name="T19" fmla="*/ 227 h 519"/>
                <a:gd name="T20" fmla="*/ 10 w 380"/>
                <a:gd name="T21" fmla="*/ 271 h 519"/>
                <a:gd name="T22" fmla="*/ 9 w 380"/>
                <a:gd name="T23" fmla="*/ 324 h 519"/>
                <a:gd name="T24" fmla="*/ 27 w 380"/>
                <a:gd name="T25" fmla="*/ 348 h 519"/>
                <a:gd name="T26" fmla="*/ 54 w 380"/>
                <a:gd name="T27" fmla="*/ 373 h 519"/>
                <a:gd name="T28" fmla="*/ 74 w 380"/>
                <a:gd name="T29" fmla="*/ 404 h 519"/>
                <a:gd name="T30" fmla="*/ 96 w 380"/>
                <a:gd name="T31" fmla="*/ 428 h 519"/>
                <a:gd name="T32" fmla="*/ 125 w 380"/>
                <a:gd name="T33" fmla="*/ 452 h 519"/>
                <a:gd name="T34" fmla="*/ 157 w 380"/>
                <a:gd name="T35" fmla="*/ 472 h 519"/>
                <a:gd name="T36" fmla="*/ 184 w 380"/>
                <a:gd name="T37" fmla="*/ 497 h 519"/>
                <a:gd name="T38" fmla="*/ 222 w 380"/>
                <a:gd name="T39" fmla="*/ 506 h 519"/>
                <a:gd name="T40" fmla="*/ 262 w 380"/>
                <a:gd name="T41" fmla="*/ 510 h 519"/>
                <a:gd name="T42" fmla="*/ 302 w 380"/>
                <a:gd name="T43" fmla="*/ 507 h 519"/>
                <a:gd name="T44" fmla="*/ 332 w 380"/>
                <a:gd name="T45" fmla="*/ 511 h 519"/>
                <a:gd name="T46" fmla="*/ 372 w 380"/>
                <a:gd name="T47" fmla="*/ 497 h 519"/>
                <a:gd name="T48" fmla="*/ 365 w 380"/>
                <a:gd name="T49" fmla="*/ 495 h 519"/>
                <a:gd name="T50" fmla="*/ 336 w 380"/>
                <a:gd name="T51" fmla="*/ 498 h 519"/>
                <a:gd name="T52" fmla="*/ 311 w 380"/>
                <a:gd name="T53" fmla="*/ 488 h 519"/>
                <a:gd name="T54" fmla="*/ 288 w 380"/>
                <a:gd name="T55" fmla="*/ 514 h 519"/>
                <a:gd name="T56" fmla="*/ 265 w 380"/>
                <a:gd name="T57" fmla="*/ 493 h 519"/>
                <a:gd name="T58" fmla="*/ 237 w 380"/>
                <a:gd name="T59" fmla="*/ 491 h 519"/>
                <a:gd name="T60" fmla="*/ 209 w 380"/>
                <a:gd name="T61" fmla="*/ 510 h 519"/>
                <a:gd name="T62" fmla="*/ 180 w 380"/>
                <a:gd name="T63" fmla="*/ 495 h 519"/>
                <a:gd name="T64" fmla="*/ 159 w 380"/>
                <a:gd name="T65" fmla="*/ 468 h 519"/>
                <a:gd name="T66" fmla="*/ 133 w 380"/>
                <a:gd name="T67" fmla="*/ 480 h 519"/>
                <a:gd name="T68" fmla="*/ 110 w 380"/>
                <a:gd name="T69" fmla="*/ 457 h 519"/>
                <a:gd name="T70" fmla="*/ 98 w 380"/>
                <a:gd name="T71" fmla="*/ 425 h 519"/>
                <a:gd name="T72" fmla="*/ 71 w 380"/>
                <a:gd name="T73" fmla="*/ 420 h 519"/>
                <a:gd name="T74" fmla="*/ 56 w 380"/>
                <a:gd name="T75" fmla="*/ 400 h 519"/>
                <a:gd name="T76" fmla="*/ 54 w 380"/>
                <a:gd name="T77" fmla="*/ 365 h 519"/>
                <a:gd name="T78" fmla="*/ 30 w 380"/>
                <a:gd name="T79" fmla="*/ 352 h 519"/>
                <a:gd name="T80" fmla="*/ 19 w 380"/>
                <a:gd name="T81" fmla="*/ 328 h 519"/>
                <a:gd name="T82" fmla="*/ 31 w 380"/>
                <a:gd name="T83" fmla="*/ 295 h 519"/>
                <a:gd name="T84" fmla="*/ 28 w 380"/>
                <a:gd name="T85" fmla="*/ 266 h 519"/>
                <a:gd name="T86" fmla="*/ 12 w 380"/>
                <a:gd name="T87" fmla="*/ 235 h 519"/>
                <a:gd name="T88" fmla="*/ 10 w 380"/>
                <a:gd name="T89" fmla="*/ 201 h 519"/>
                <a:gd name="T90" fmla="*/ 38 w 380"/>
                <a:gd name="T91" fmla="*/ 183 h 519"/>
                <a:gd name="T92" fmla="*/ 48 w 380"/>
                <a:gd name="T93" fmla="*/ 159 h 519"/>
                <a:gd name="T94" fmla="*/ 39 w 380"/>
                <a:gd name="T95" fmla="*/ 125 h 519"/>
                <a:gd name="T96" fmla="*/ 72 w 380"/>
                <a:gd name="T97" fmla="*/ 117 h 519"/>
                <a:gd name="T98" fmla="*/ 90 w 380"/>
                <a:gd name="T99" fmla="*/ 96 h 519"/>
                <a:gd name="T100" fmla="*/ 100 w 380"/>
                <a:gd name="T101" fmla="*/ 63 h 519"/>
                <a:gd name="T102" fmla="*/ 120 w 380"/>
                <a:gd name="T103" fmla="*/ 47 h 519"/>
                <a:gd name="T104" fmla="*/ 148 w 380"/>
                <a:gd name="T105" fmla="*/ 50 h 519"/>
                <a:gd name="T106" fmla="*/ 168 w 380"/>
                <a:gd name="T107" fmla="*/ 22 h 519"/>
                <a:gd name="T108" fmla="*/ 196 w 380"/>
                <a:gd name="T109" fmla="*/ 5 h 519"/>
                <a:gd name="T110" fmla="*/ 222 w 380"/>
                <a:gd name="T111" fmla="*/ 23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519">
                  <a:moveTo>
                    <a:pt x="222" y="43"/>
                  </a:moveTo>
                  <a:cubicBezTo>
                    <a:pt x="173" y="53"/>
                    <a:pt x="128" y="79"/>
                    <a:pt x="96" y="119"/>
                  </a:cubicBezTo>
                  <a:cubicBezTo>
                    <a:pt x="20" y="212"/>
                    <a:pt x="34" y="349"/>
                    <a:pt x="127" y="424"/>
                  </a:cubicBezTo>
                  <a:cubicBezTo>
                    <a:pt x="166" y="455"/>
                    <a:pt x="214" y="473"/>
                    <a:pt x="264" y="473"/>
                  </a:cubicBezTo>
                  <a:cubicBezTo>
                    <a:pt x="296" y="473"/>
                    <a:pt x="327" y="466"/>
                    <a:pt x="356" y="452"/>
                  </a:cubicBezTo>
                  <a:cubicBezTo>
                    <a:pt x="355" y="451"/>
                    <a:pt x="354" y="450"/>
                    <a:pt x="353" y="449"/>
                  </a:cubicBezTo>
                  <a:cubicBezTo>
                    <a:pt x="325" y="462"/>
                    <a:pt x="295" y="469"/>
                    <a:pt x="264" y="469"/>
                  </a:cubicBezTo>
                  <a:cubicBezTo>
                    <a:pt x="215" y="469"/>
                    <a:pt x="168" y="452"/>
                    <a:pt x="130" y="421"/>
                  </a:cubicBezTo>
                  <a:cubicBezTo>
                    <a:pt x="39" y="347"/>
                    <a:pt x="25" y="213"/>
                    <a:pt x="99" y="122"/>
                  </a:cubicBezTo>
                  <a:cubicBezTo>
                    <a:pt x="130" y="83"/>
                    <a:pt x="174" y="57"/>
                    <a:pt x="222" y="47"/>
                  </a:cubicBezTo>
                  <a:cubicBezTo>
                    <a:pt x="222" y="46"/>
                    <a:pt x="222" y="45"/>
                    <a:pt x="222" y="43"/>
                  </a:cubicBezTo>
                  <a:moveTo>
                    <a:pt x="201" y="0"/>
                  </a:moveTo>
                  <a:cubicBezTo>
                    <a:pt x="199" y="0"/>
                    <a:pt x="197" y="0"/>
                    <a:pt x="196" y="1"/>
                  </a:cubicBezTo>
                  <a:cubicBezTo>
                    <a:pt x="195" y="1"/>
                    <a:pt x="195" y="1"/>
                    <a:pt x="195" y="1"/>
                  </a:cubicBezTo>
                  <a:cubicBezTo>
                    <a:pt x="192" y="2"/>
                    <a:pt x="186" y="3"/>
                    <a:pt x="187" y="14"/>
                  </a:cubicBezTo>
                  <a:cubicBezTo>
                    <a:pt x="188" y="19"/>
                    <a:pt x="188" y="25"/>
                    <a:pt x="187" y="28"/>
                  </a:cubicBezTo>
                  <a:cubicBezTo>
                    <a:pt x="184" y="29"/>
                    <a:pt x="183" y="29"/>
                    <a:pt x="181" y="30"/>
                  </a:cubicBezTo>
                  <a:cubicBezTo>
                    <a:pt x="178" y="28"/>
                    <a:pt x="175" y="24"/>
                    <a:pt x="171" y="19"/>
                  </a:cubicBezTo>
                  <a:cubicBezTo>
                    <a:pt x="169" y="15"/>
                    <a:pt x="166" y="13"/>
                    <a:pt x="163" y="13"/>
                  </a:cubicBezTo>
                  <a:cubicBezTo>
                    <a:pt x="160" y="13"/>
                    <a:pt x="159" y="14"/>
                    <a:pt x="157" y="14"/>
                  </a:cubicBezTo>
                  <a:cubicBezTo>
                    <a:pt x="156" y="15"/>
                    <a:pt x="156" y="15"/>
                    <a:pt x="156" y="15"/>
                  </a:cubicBezTo>
                  <a:cubicBezTo>
                    <a:pt x="153" y="16"/>
                    <a:pt x="147" y="19"/>
                    <a:pt x="150" y="29"/>
                  </a:cubicBezTo>
                  <a:cubicBezTo>
                    <a:pt x="152" y="34"/>
                    <a:pt x="152" y="40"/>
                    <a:pt x="152" y="43"/>
                  </a:cubicBezTo>
                  <a:cubicBezTo>
                    <a:pt x="150" y="44"/>
                    <a:pt x="148" y="45"/>
                    <a:pt x="147" y="46"/>
                  </a:cubicBezTo>
                  <a:cubicBezTo>
                    <a:pt x="144" y="44"/>
                    <a:pt x="139" y="41"/>
                    <a:pt x="136" y="37"/>
                  </a:cubicBezTo>
                  <a:cubicBezTo>
                    <a:pt x="133" y="33"/>
                    <a:pt x="130" y="32"/>
                    <a:pt x="127" y="32"/>
                  </a:cubicBezTo>
                  <a:cubicBezTo>
                    <a:pt x="124" y="32"/>
                    <a:pt x="122" y="33"/>
                    <a:pt x="121" y="34"/>
                  </a:cubicBezTo>
                  <a:cubicBezTo>
                    <a:pt x="120" y="35"/>
                    <a:pt x="120" y="35"/>
                    <a:pt x="120" y="35"/>
                  </a:cubicBezTo>
                  <a:cubicBezTo>
                    <a:pt x="117" y="36"/>
                    <a:pt x="112" y="40"/>
                    <a:pt x="116" y="49"/>
                  </a:cubicBezTo>
                  <a:cubicBezTo>
                    <a:pt x="119" y="54"/>
                    <a:pt x="120" y="60"/>
                    <a:pt x="120" y="63"/>
                  </a:cubicBezTo>
                  <a:cubicBezTo>
                    <a:pt x="118" y="64"/>
                    <a:pt x="117" y="65"/>
                    <a:pt x="116" y="66"/>
                  </a:cubicBezTo>
                  <a:cubicBezTo>
                    <a:pt x="115" y="67"/>
                    <a:pt x="115" y="67"/>
                    <a:pt x="115" y="67"/>
                  </a:cubicBezTo>
                  <a:cubicBezTo>
                    <a:pt x="112" y="66"/>
                    <a:pt x="107" y="63"/>
                    <a:pt x="103" y="60"/>
                  </a:cubicBezTo>
                  <a:cubicBezTo>
                    <a:pt x="100" y="57"/>
                    <a:pt x="97" y="56"/>
                    <a:pt x="95" y="56"/>
                  </a:cubicBezTo>
                  <a:cubicBezTo>
                    <a:pt x="92" y="56"/>
                    <a:pt x="89" y="58"/>
                    <a:pt x="88" y="59"/>
                  </a:cubicBezTo>
                  <a:cubicBezTo>
                    <a:pt x="87" y="60"/>
                    <a:pt x="87" y="60"/>
                    <a:pt x="87" y="60"/>
                  </a:cubicBezTo>
                  <a:cubicBezTo>
                    <a:pt x="85" y="62"/>
                    <a:pt x="80" y="66"/>
                    <a:pt x="86" y="75"/>
                  </a:cubicBezTo>
                  <a:cubicBezTo>
                    <a:pt x="89" y="80"/>
                    <a:pt x="91" y="85"/>
                    <a:pt x="92" y="88"/>
                  </a:cubicBezTo>
                  <a:cubicBezTo>
                    <a:pt x="90" y="89"/>
                    <a:pt x="89" y="91"/>
                    <a:pt x="88" y="92"/>
                  </a:cubicBezTo>
                  <a:cubicBezTo>
                    <a:pt x="84" y="92"/>
                    <a:pt x="79" y="90"/>
                    <a:pt x="74" y="87"/>
                  </a:cubicBezTo>
                  <a:cubicBezTo>
                    <a:pt x="71" y="85"/>
                    <a:pt x="69" y="85"/>
                    <a:pt x="67" y="85"/>
                  </a:cubicBezTo>
                  <a:cubicBezTo>
                    <a:pt x="63" y="85"/>
                    <a:pt x="61" y="87"/>
                    <a:pt x="59" y="89"/>
                  </a:cubicBezTo>
                  <a:cubicBezTo>
                    <a:pt x="59" y="90"/>
                    <a:pt x="59" y="90"/>
                    <a:pt x="59" y="90"/>
                  </a:cubicBezTo>
                  <a:cubicBezTo>
                    <a:pt x="56" y="93"/>
                    <a:pt x="52" y="97"/>
                    <a:pt x="60" y="105"/>
                  </a:cubicBezTo>
                  <a:cubicBezTo>
                    <a:pt x="63" y="109"/>
                    <a:pt x="66" y="114"/>
                    <a:pt x="67" y="117"/>
                  </a:cubicBezTo>
                  <a:cubicBezTo>
                    <a:pt x="66" y="119"/>
                    <a:pt x="65" y="120"/>
                    <a:pt x="64" y="122"/>
                  </a:cubicBezTo>
                  <a:cubicBezTo>
                    <a:pt x="64" y="122"/>
                    <a:pt x="64" y="122"/>
                    <a:pt x="63" y="122"/>
                  </a:cubicBezTo>
                  <a:cubicBezTo>
                    <a:pt x="60" y="122"/>
                    <a:pt x="55" y="121"/>
                    <a:pt x="50" y="119"/>
                  </a:cubicBezTo>
                  <a:cubicBezTo>
                    <a:pt x="48" y="118"/>
                    <a:pt x="46" y="117"/>
                    <a:pt x="44" y="117"/>
                  </a:cubicBezTo>
                  <a:cubicBezTo>
                    <a:pt x="39" y="117"/>
                    <a:pt x="37" y="121"/>
                    <a:pt x="36" y="123"/>
                  </a:cubicBezTo>
                  <a:cubicBezTo>
                    <a:pt x="35" y="124"/>
                    <a:pt x="35" y="124"/>
                    <a:pt x="35" y="124"/>
                  </a:cubicBezTo>
                  <a:cubicBezTo>
                    <a:pt x="33" y="127"/>
                    <a:pt x="30" y="132"/>
                    <a:pt x="39" y="139"/>
                  </a:cubicBezTo>
                  <a:cubicBezTo>
                    <a:pt x="43" y="142"/>
                    <a:pt x="47" y="146"/>
                    <a:pt x="48" y="149"/>
                  </a:cubicBezTo>
                  <a:cubicBezTo>
                    <a:pt x="47" y="151"/>
                    <a:pt x="46" y="153"/>
                    <a:pt x="45" y="155"/>
                  </a:cubicBezTo>
                  <a:cubicBezTo>
                    <a:pt x="44" y="155"/>
                    <a:pt x="43" y="155"/>
                    <a:pt x="41" y="155"/>
                  </a:cubicBezTo>
                  <a:cubicBezTo>
                    <a:pt x="38" y="155"/>
                    <a:pt x="35" y="155"/>
                    <a:pt x="31" y="154"/>
                  </a:cubicBezTo>
                  <a:cubicBezTo>
                    <a:pt x="30" y="154"/>
                    <a:pt x="28" y="153"/>
                    <a:pt x="27" y="153"/>
                  </a:cubicBezTo>
                  <a:cubicBezTo>
                    <a:pt x="20" y="153"/>
                    <a:pt x="19" y="158"/>
                    <a:pt x="18" y="161"/>
                  </a:cubicBezTo>
                  <a:cubicBezTo>
                    <a:pt x="17" y="162"/>
                    <a:pt x="17" y="162"/>
                    <a:pt x="17" y="162"/>
                  </a:cubicBezTo>
                  <a:cubicBezTo>
                    <a:pt x="16" y="165"/>
                    <a:pt x="14" y="171"/>
                    <a:pt x="23" y="175"/>
                  </a:cubicBezTo>
                  <a:cubicBezTo>
                    <a:pt x="28" y="178"/>
                    <a:pt x="32" y="182"/>
                    <a:pt x="34" y="184"/>
                  </a:cubicBezTo>
                  <a:cubicBezTo>
                    <a:pt x="33" y="186"/>
                    <a:pt x="33" y="188"/>
                    <a:pt x="32" y="190"/>
                  </a:cubicBezTo>
                  <a:cubicBezTo>
                    <a:pt x="30" y="191"/>
                    <a:pt x="26" y="192"/>
                    <a:pt x="21" y="192"/>
                  </a:cubicBezTo>
                  <a:cubicBezTo>
                    <a:pt x="20" y="192"/>
                    <a:pt x="19" y="192"/>
                    <a:pt x="18" y="192"/>
                  </a:cubicBezTo>
                  <a:cubicBezTo>
                    <a:pt x="18" y="192"/>
                    <a:pt x="17" y="192"/>
                    <a:pt x="16" y="192"/>
                  </a:cubicBezTo>
                  <a:cubicBezTo>
                    <a:pt x="8" y="192"/>
                    <a:pt x="7" y="197"/>
                    <a:pt x="6" y="200"/>
                  </a:cubicBezTo>
                  <a:cubicBezTo>
                    <a:pt x="6" y="201"/>
                    <a:pt x="6" y="201"/>
                    <a:pt x="6" y="201"/>
                  </a:cubicBezTo>
                  <a:cubicBezTo>
                    <a:pt x="5" y="205"/>
                    <a:pt x="4" y="211"/>
                    <a:pt x="13" y="214"/>
                  </a:cubicBezTo>
                  <a:cubicBezTo>
                    <a:pt x="19" y="216"/>
                    <a:pt x="23" y="219"/>
                    <a:pt x="26" y="221"/>
                  </a:cubicBezTo>
                  <a:cubicBezTo>
                    <a:pt x="26" y="223"/>
                    <a:pt x="25" y="225"/>
                    <a:pt x="25" y="227"/>
                  </a:cubicBezTo>
                  <a:cubicBezTo>
                    <a:pt x="22" y="229"/>
                    <a:pt x="17" y="230"/>
                    <a:pt x="11" y="231"/>
                  </a:cubicBezTo>
                  <a:cubicBezTo>
                    <a:pt x="1" y="232"/>
                    <a:pt x="1" y="238"/>
                    <a:pt x="0" y="241"/>
                  </a:cubicBezTo>
                  <a:cubicBezTo>
                    <a:pt x="0" y="242"/>
                    <a:pt x="0" y="242"/>
                    <a:pt x="0" y="242"/>
                  </a:cubicBezTo>
                  <a:cubicBezTo>
                    <a:pt x="0" y="246"/>
                    <a:pt x="0" y="252"/>
                    <a:pt x="10" y="254"/>
                  </a:cubicBezTo>
                  <a:cubicBezTo>
                    <a:pt x="15" y="255"/>
                    <a:pt x="21" y="257"/>
                    <a:pt x="23" y="259"/>
                  </a:cubicBezTo>
                  <a:cubicBezTo>
                    <a:pt x="23" y="261"/>
                    <a:pt x="23" y="263"/>
                    <a:pt x="23" y="265"/>
                  </a:cubicBezTo>
                  <a:cubicBezTo>
                    <a:pt x="21" y="267"/>
                    <a:pt x="16" y="269"/>
                    <a:pt x="10" y="271"/>
                  </a:cubicBezTo>
                  <a:cubicBezTo>
                    <a:pt x="0" y="273"/>
                    <a:pt x="1" y="279"/>
                    <a:pt x="1" y="283"/>
                  </a:cubicBezTo>
                  <a:cubicBezTo>
                    <a:pt x="2" y="284"/>
                    <a:pt x="2" y="284"/>
                    <a:pt x="2" y="284"/>
                  </a:cubicBezTo>
                  <a:cubicBezTo>
                    <a:pt x="2" y="287"/>
                    <a:pt x="2" y="293"/>
                    <a:pt x="13" y="294"/>
                  </a:cubicBezTo>
                  <a:cubicBezTo>
                    <a:pt x="18" y="294"/>
                    <a:pt x="24" y="295"/>
                    <a:pt x="27" y="297"/>
                  </a:cubicBezTo>
                  <a:cubicBezTo>
                    <a:pt x="27" y="299"/>
                    <a:pt x="27" y="301"/>
                    <a:pt x="28" y="302"/>
                  </a:cubicBezTo>
                  <a:cubicBezTo>
                    <a:pt x="26" y="305"/>
                    <a:pt x="21" y="308"/>
                    <a:pt x="16" y="310"/>
                  </a:cubicBezTo>
                  <a:cubicBezTo>
                    <a:pt x="6" y="314"/>
                    <a:pt x="8" y="320"/>
                    <a:pt x="9" y="324"/>
                  </a:cubicBezTo>
                  <a:cubicBezTo>
                    <a:pt x="9" y="324"/>
                    <a:pt x="9" y="324"/>
                    <a:pt x="9" y="324"/>
                  </a:cubicBezTo>
                  <a:cubicBezTo>
                    <a:pt x="10" y="327"/>
                    <a:pt x="11" y="333"/>
                    <a:pt x="19" y="333"/>
                  </a:cubicBezTo>
                  <a:cubicBezTo>
                    <a:pt x="20" y="333"/>
                    <a:pt x="21" y="333"/>
                    <a:pt x="22" y="332"/>
                  </a:cubicBezTo>
                  <a:cubicBezTo>
                    <a:pt x="24" y="332"/>
                    <a:pt x="25" y="332"/>
                    <a:pt x="27" y="332"/>
                  </a:cubicBezTo>
                  <a:cubicBezTo>
                    <a:pt x="31" y="332"/>
                    <a:pt x="34" y="333"/>
                    <a:pt x="36" y="333"/>
                  </a:cubicBezTo>
                  <a:cubicBezTo>
                    <a:pt x="37" y="335"/>
                    <a:pt x="37" y="337"/>
                    <a:pt x="38" y="339"/>
                  </a:cubicBezTo>
                  <a:cubicBezTo>
                    <a:pt x="36" y="342"/>
                    <a:pt x="32" y="345"/>
                    <a:pt x="27" y="348"/>
                  </a:cubicBezTo>
                  <a:cubicBezTo>
                    <a:pt x="18" y="354"/>
                    <a:pt x="21" y="360"/>
                    <a:pt x="23" y="363"/>
                  </a:cubicBezTo>
                  <a:cubicBezTo>
                    <a:pt x="23" y="363"/>
                    <a:pt x="23" y="363"/>
                    <a:pt x="23" y="363"/>
                  </a:cubicBezTo>
                  <a:cubicBezTo>
                    <a:pt x="24" y="366"/>
                    <a:pt x="26" y="370"/>
                    <a:pt x="32" y="370"/>
                  </a:cubicBezTo>
                  <a:cubicBezTo>
                    <a:pt x="33" y="370"/>
                    <a:pt x="35" y="370"/>
                    <a:pt x="37" y="369"/>
                  </a:cubicBezTo>
                  <a:cubicBezTo>
                    <a:pt x="41" y="368"/>
                    <a:pt x="45" y="368"/>
                    <a:pt x="48" y="368"/>
                  </a:cubicBezTo>
                  <a:cubicBezTo>
                    <a:pt x="49" y="368"/>
                    <a:pt x="50" y="368"/>
                    <a:pt x="51" y="368"/>
                  </a:cubicBezTo>
                  <a:cubicBezTo>
                    <a:pt x="52" y="370"/>
                    <a:pt x="53" y="371"/>
                    <a:pt x="54" y="373"/>
                  </a:cubicBezTo>
                  <a:cubicBezTo>
                    <a:pt x="52" y="376"/>
                    <a:pt x="49" y="380"/>
                    <a:pt x="45" y="384"/>
                  </a:cubicBezTo>
                  <a:cubicBezTo>
                    <a:pt x="37" y="391"/>
                    <a:pt x="40" y="396"/>
                    <a:pt x="42" y="399"/>
                  </a:cubicBezTo>
                  <a:cubicBezTo>
                    <a:pt x="43" y="400"/>
                    <a:pt x="43" y="400"/>
                    <a:pt x="43" y="400"/>
                  </a:cubicBezTo>
                  <a:cubicBezTo>
                    <a:pt x="44" y="402"/>
                    <a:pt x="46" y="405"/>
                    <a:pt x="51" y="405"/>
                  </a:cubicBezTo>
                  <a:cubicBezTo>
                    <a:pt x="53" y="405"/>
                    <a:pt x="55" y="405"/>
                    <a:pt x="57" y="404"/>
                  </a:cubicBezTo>
                  <a:cubicBezTo>
                    <a:pt x="62" y="401"/>
                    <a:pt x="68" y="400"/>
                    <a:pt x="71" y="400"/>
                  </a:cubicBezTo>
                  <a:cubicBezTo>
                    <a:pt x="72" y="401"/>
                    <a:pt x="73" y="403"/>
                    <a:pt x="74" y="404"/>
                  </a:cubicBezTo>
                  <a:cubicBezTo>
                    <a:pt x="75" y="405"/>
                    <a:pt x="75" y="405"/>
                    <a:pt x="75" y="405"/>
                  </a:cubicBezTo>
                  <a:cubicBezTo>
                    <a:pt x="74" y="408"/>
                    <a:pt x="71" y="413"/>
                    <a:pt x="68" y="417"/>
                  </a:cubicBezTo>
                  <a:cubicBezTo>
                    <a:pt x="61" y="425"/>
                    <a:pt x="65" y="429"/>
                    <a:pt x="67" y="432"/>
                  </a:cubicBezTo>
                  <a:cubicBezTo>
                    <a:pt x="68" y="433"/>
                    <a:pt x="68" y="433"/>
                    <a:pt x="68" y="433"/>
                  </a:cubicBezTo>
                  <a:cubicBezTo>
                    <a:pt x="69" y="434"/>
                    <a:pt x="72" y="437"/>
                    <a:pt x="75" y="437"/>
                  </a:cubicBezTo>
                  <a:cubicBezTo>
                    <a:pt x="78" y="437"/>
                    <a:pt x="80" y="436"/>
                    <a:pt x="83" y="434"/>
                  </a:cubicBezTo>
                  <a:cubicBezTo>
                    <a:pt x="88" y="431"/>
                    <a:pt x="93" y="429"/>
                    <a:pt x="96" y="428"/>
                  </a:cubicBezTo>
                  <a:cubicBezTo>
                    <a:pt x="97" y="430"/>
                    <a:pt x="99" y="431"/>
                    <a:pt x="100" y="432"/>
                  </a:cubicBezTo>
                  <a:cubicBezTo>
                    <a:pt x="100" y="436"/>
                    <a:pt x="98" y="441"/>
                    <a:pt x="95" y="446"/>
                  </a:cubicBezTo>
                  <a:cubicBezTo>
                    <a:pt x="90" y="455"/>
                    <a:pt x="95" y="458"/>
                    <a:pt x="97" y="460"/>
                  </a:cubicBezTo>
                  <a:cubicBezTo>
                    <a:pt x="98" y="461"/>
                    <a:pt x="98" y="461"/>
                    <a:pt x="98" y="461"/>
                  </a:cubicBezTo>
                  <a:cubicBezTo>
                    <a:pt x="100" y="462"/>
                    <a:pt x="102" y="464"/>
                    <a:pt x="105" y="464"/>
                  </a:cubicBezTo>
                  <a:cubicBezTo>
                    <a:pt x="107" y="464"/>
                    <a:pt x="110" y="463"/>
                    <a:pt x="113" y="460"/>
                  </a:cubicBezTo>
                  <a:cubicBezTo>
                    <a:pt x="117" y="456"/>
                    <a:pt x="122" y="453"/>
                    <a:pt x="125" y="452"/>
                  </a:cubicBezTo>
                  <a:cubicBezTo>
                    <a:pt x="127" y="454"/>
                    <a:pt x="128" y="455"/>
                    <a:pt x="130" y="456"/>
                  </a:cubicBezTo>
                  <a:cubicBezTo>
                    <a:pt x="130" y="459"/>
                    <a:pt x="129" y="464"/>
                    <a:pt x="127" y="470"/>
                  </a:cubicBezTo>
                  <a:cubicBezTo>
                    <a:pt x="123" y="479"/>
                    <a:pt x="128" y="482"/>
                    <a:pt x="131" y="484"/>
                  </a:cubicBezTo>
                  <a:cubicBezTo>
                    <a:pt x="132" y="485"/>
                    <a:pt x="132" y="485"/>
                    <a:pt x="132" y="485"/>
                  </a:cubicBezTo>
                  <a:cubicBezTo>
                    <a:pt x="134" y="485"/>
                    <a:pt x="136" y="487"/>
                    <a:pt x="138" y="487"/>
                  </a:cubicBezTo>
                  <a:cubicBezTo>
                    <a:pt x="141" y="487"/>
                    <a:pt x="144" y="485"/>
                    <a:pt x="147" y="481"/>
                  </a:cubicBezTo>
                  <a:cubicBezTo>
                    <a:pt x="150" y="477"/>
                    <a:pt x="155" y="473"/>
                    <a:pt x="157" y="472"/>
                  </a:cubicBezTo>
                  <a:cubicBezTo>
                    <a:pt x="158" y="472"/>
                    <a:pt x="158" y="472"/>
                    <a:pt x="158" y="472"/>
                  </a:cubicBezTo>
                  <a:cubicBezTo>
                    <a:pt x="159" y="473"/>
                    <a:pt x="161" y="473"/>
                    <a:pt x="163" y="474"/>
                  </a:cubicBezTo>
                  <a:cubicBezTo>
                    <a:pt x="164" y="478"/>
                    <a:pt x="163" y="483"/>
                    <a:pt x="162" y="488"/>
                  </a:cubicBezTo>
                  <a:cubicBezTo>
                    <a:pt x="160" y="499"/>
                    <a:pt x="166" y="501"/>
                    <a:pt x="169" y="502"/>
                  </a:cubicBezTo>
                  <a:cubicBezTo>
                    <a:pt x="170" y="502"/>
                    <a:pt x="170" y="502"/>
                    <a:pt x="170" y="502"/>
                  </a:cubicBezTo>
                  <a:cubicBezTo>
                    <a:pt x="171" y="503"/>
                    <a:pt x="173" y="504"/>
                    <a:pt x="175" y="504"/>
                  </a:cubicBezTo>
                  <a:cubicBezTo>
                    <a:pt x="178" y="504"/>
                    <a:pt x="181" y="501"/>
                    <a:pt x="184" y="497"/>
                  </a:cubicBezTo>
                  <a:cubicBezTo>
                    <a:pt x="186" y="492"/>
                    <a:pt x="190" y="488"/>
                    <a:pt x="193" y="486"/>
                  </a:cubicBezTo>
                  <a:cubicBezTo>
                    <a:pt x="194" y="486"/>
                    <a:pt x="196" y="487"/>
                    <a:pt x="198" y="487"/>
                  </a:cubicBezTo>
                  <a:cubicBezTo>
                    <a:pt x="199" y="490"/>
                    <a:pt x="200" y="496"/>
                    <a:pt x="200" y="502"/>
                  </a:cubicBezTo>
                  <a:cubicBezTo>
                    <a:pt x="199" y="512"/>
                    <a:pt x="205" y="513"/>
                    <a:pt x="208" y="514"/>
                  </a:cubicBezTo>
                  <a:cubicBezTo>
                    <a:pt x="209" y="514"/>
                    <a:pt x="209" y="514"/>
                    <a:pt x="209" y="514"/>
                  </a:cubicBezTo>
                  <a:cubicBezTo>
                    <a:pt x="210" y="514"/>
                    <a:pt x="212" y="515"/>
                    <a:pt x="213" y="515"/>
                  </a:cubicBezTo>
                  <a:cubicBezTo>
                    <a:pt x="217" y="515"/>
                    <a:pt x="220" y="512"/>
                    <a:pt x="222" y="506"/>
                  </a:cubicBezTo>
                  <a:cubicBezTo>
                    <a:pt x="224" y="501"/>
                    <a:pt x="227" y="496"/>
                    <a:pt x="229" y="494"/>
                  </a:cubicBezTo>
                  <a:cubicBezTo>
                    <a:pt x="231" y="494"/>
                    <a:pt x="233" y="495"/>
                    <a:pt x="235" y="495"/>
                  </a:cubicBezTo>
                  <a:cubicBezTo>
                    <a:pt x="237" y="498"/>
                    <a:pt x="238" y="503"/>
                    <a:pt x="239" y="509"/>
                  </a:cubicBezTo>
                  <a:cubicBezTo>
                    <a:pt x="240" y="519"/>
                    <a:pt x="246" y="519"/>
                    <a:pt x="249" y="519"/>
                  </a:cubicBezTo>
                  <a:cubicBezTo>
                    <a:pt x="250" y="519"/>
                    <a:pt x="250" y="519"/>
                    <a:pt x="250" y="519"/>
                  </a:cubicBezTo>
                  <a:cubicBezTo>
                    <a:pt x="251" y="519"/>
                    <a:pt x="252" y="519"/>
                    <a:pt x="252" y="519"/>
                  </a:cubicBezTo>
                  <a:cubicBezTo>
                    <a:pt x="258" y="519"/>
                    <a:pt x="261" y="516"/>
                    <a:pt x="262" y="510"/>
                  </a:cubicBezTo>
                  <a:cubicBezTo>
                    <a:pt x="263" y="504"/>
                    <a:pt x="265" y="499"/>
                    <a:pt x="267" y="496"/>
                  </a:cubicBezTo>
                  <a:cubicBezTo>
                    <a:pt x="269" y="496"/>
                    <a:pt x="271" y="496"/>
                    <a:pt x="273" y="496"/>
                  </a:cubicBezTo>
                  <a:cubicBezTo>
                    <a:pt x="275" y="499"/>
                    <a:pt x="277" y="504"/>
                    <a:pt x="279" y="509"/>
                  </a:cubicBezTo>
                  <a:cubicBezTo>
                    <a:pt x="280" y="516"/>
                    <a:pt x="283" y="519"/>
                    <a:pt x="288" y="519"/>
                  </a:cubicBezTo>
                  <a:cubicBezTo>
                    <a:pt x="289" y="519"/>
                    <a:pt x="290" y="518"/>
                    <a:pt x="291" y="518"/>
                  </a:cubicBezTo>
                  <a:cubicBezTo>
                    <a:pt x="292" y="518"/>
                    <a:pt x="292" y="518"/>
                    <a:pt x="292" y="518"/>
                  </a:cubicBezTo>
                  <a:cubicBezTo>
                    <a:pt x="295" y="518"/>
                    <a:pt x="301" y="517"/>
                    <a:pt x="302" y="507"/>
                  </a:cubicBezTo>
                  <a:cubicBezTo>
                    <a:pt x="302" y="501"/>
                    <a:pt x="303" y="496"/>
                    <a:pt x="305" y="493"/>
                  </a:cubicBezTo>
                  <a:cubicBezTo>
                    <a:pt x="305" y="493"/>
                    <a:pt x="305" y="493"/>
                    <a:pt x="305" y="493"/>
                  </a:cubicBezTo>
                  <a:cubicBezTo>
                    <a:pt x="307" y="493"/>
                    <a:pt x="309" y="492"/>
                    <a:pt x="310" y="492"/>
                  </a:cubicBezTo>
                  <a:cubicBezTo>
                    <a:pt x="313" y="494"/>
                    <a:pt x="316" y="499"/>
                    <a:pt x="318" y="504"/>
                  </a:cubicBezTo>
                  <a:cubicBezTo>
                    <a:pt x="320" y="509"/>
                    <a:pt x="323" y="512"/>
                    <a:pt x="327" y="512"/>
                  </a:cubicBezTo>
                  <a:cubicBezTo>
                    <a:pt x="329" y="512"/>
                    <a:pt x="330" y="511"/>
                    <a:pt x="332" y="511"/>
                  </a:cubicBezTo>
                  <a:cubicBezTo>
                    <a:pt x="332" y="511"/>
                    <a:pt x="332" y="511"/>
                    <a:pt x="332" y="511"/>
                  </a:cubicBezTo>
                  <a:cubicBezTo>
                    <a:pt x="336" y="510"/>
                    <a:pt x="342" y="508"/>
                    <a:pt x="340" y="498"/>
                  </a:cubicBezTo>
                  <a:cubicBezTo>
                    <a:pt x="340" y="492"/>
                    <a:pt x="340" y="487"/>
                    <a:pt x="341" y="484"/>
                  </a:cubicBezTo>
                  <a:cubicBezTo>
                    <a:pt x="343" y="483"/>
                    <a:pt x="345" y="482"/>
                    <a:pt x="347" y="482"/>
                  </a:cubicBezTo>
                  <a:cubicBezTo>
                    <a:pt x="350" y="484"/>
                    <a:pt x="353" y="488"/>
                    <a:pt x="356" y="492"/>
                  </a:cubicBezTo>
                  <a:cubicBezTo>
                    <a:pt x="359" y="497"/>
                    <a:pt x="362" y="499"/>
                    <a:pt x="365" y="499"/>
                  </a:cubicBezTo>
                  <a:cubicBezTo>
                    <a:pt x="367" y="499"/>
                    <a:pt x="369" y="498"/>
                    <a:pt x="371" y="497"/>
                  </a:cubicBezTo>
                  <a:cubicBezTo>
                    <a:pt x="372" y="497"/>
                    <a:pt x="372" y="497"/>
                    <a:pt x="372" y="497"/>
                  </a:cubicBezTo>
                  <a:cubicBezTo>
                    <a:pt x="375" y="496"/>
                    <a:pt x="380" y="493"/>
                    <a:pt x="377" y="483"/>
                  </a:cubicBezTo>
                  <a:cubicBezTo>
                    <a:pt x="377" y="482"/>
                    <a:pt x="377" y="481"/>
                    <a:pt x="377" y="479"/>
                  </a:cubicBezTo>
                  <a:cubicBezTo>
                    <a:pt x="375" y="477"/>
                    <a:pt x="373" y="475"/>
                    <a:pt x="372" y="473"/>
                  </a:cubicBezTo>
                  <a:cubicBezTo>
                    <a:pt x="372" y="477"/>
                    <a:pt x="373" y="481"/>
                    <a:pt x="373" y="484"/>
                  </a:cubicBezTo>
                  <a:cubicBezTo>
                    <a:pt x="375" y="491"/>
                    <a:pt x="373" y="492"/>
                    <a:pt x="370" y="493"/>
                  </a:cubicBezTo>
                  <a:cubicBezTo>
                    <a:pt x="369" y="493"/>
                    <a:pt x="369" y="493"/>
                    <a:pt x="369" y="493"/>
                  </a:cubicBezTo>
                  <a:cubicBezTo>
                    <a:pt x="368" y="494"/>
                    <a:pt x="366" y="495"/>
                    <a:pt x="365" y="495"/>
                  </a:cubicBezTo>
                  <a:cubicBezTo>
                    <a:pt x="365" y="495"/>
                    <a:pt x="363" y="495"/>
                    <a:pt x="360" y="490"/>
                  </a:cubicBezTo>
                  <a:cubicBezTo>
                    <a:pt x="357" y="485"/>
                    <a:pt x="352" y="480"/>
                    <a:pt x="348" y="478"/>
                  </a:cubicBezTo>
                  <a:cubicBezTo>
                    <a:pt x="348" y="477"/>
                    <a:pt x="347" y="477"/>
                    <a:pt x="347" y="477"/>
                  </a:cubicBezTo>
                  <a:cubicBezTo>
                    <a:pt x="347" y="477"/>
                    <a:pt x="347" y="477"/>
                    <a:pt x="346" y="478"/>
                  </a:cubicBezTo>
                  <a:cubicBezTo>
                    <a:pt x="344" y="478"/>
                    <a:pt x="341" y="479"/>
                    <a:pt x="339" y="480"/>
                  </a:cubicBezTo>
                  <a:cubicBezTo>
                    <a:pt x="338" y="480"/>
                    <a:pt x="338" y="481"/>
                    <a:pt x="338" y="481"/>
                  </a:cubicBezTo>
                  <a:cubicBezTo>
                    <a:pt x="336" y="485"/>
                    <a:pt x="336" y="493"/>
                    <a:pt x="336" y="498"/>
                  </a:cubicBezTo>
                  <a:cubicBezTo>
                    <a:pt x="337" y="505"/>
                    <a:pt x="335" y="506"/>
                    <a:pt x="331" y="507"/>
                  </a:cubicBezTo>
                  <a:cubicBezTo>
                    <a:pt x="330" y="507"/>
                    <a:pt x="330" y="507"/>
                    <a:pt x="330" y="507"/>
                  </a:cubicBezTo>
                  <a:cubicBezTo>
                    <a:pt x="329" y="507"/>
                    <a:pt x="328" y="508"/>
                    <a:pt x="327" y="508"/>
                  </a:cubicBezTo>
                  <a:cubicBezTo>
                    <a:pt x="326" y="508"/>
                    <a:pt x="324" y="508"/>
                    <a:pt x="322" y="502"/>
                  </a:cubicBezTo>
                  <a:cubicBezTo>
                    <a:pt x="320" y="497"/>
                    <a:pt x="316" y="491"/>
                    <a:pt x="312" y="488"/>
                  </a:cubicBezTo>
                  <a:cubicBezTo>
                    <a:pt x="312" y="488"/>
                    <a:pt x="311" y="488"/>
                    <a:pt x="311" y="488"/>
                  </a:cubicBezTo>
                  <a:cubicBezTo>
                    <a:pt x="311" y="488"/>
                    <a:pt x="311" y="488"/>
                    <a:pt x="311" y="488"/>
                  </a:cubicBezTo>
                  <a:cubicBezTo>
                    <a:pt x="308" y="488"/>
                    <a:pt x="306" y="488"/>
                    <a:pt x="304" y="489"/>
                  </a:cubicBezTo>
                  <a:cubicBezTo>
                    <a:pt x="303" y="489"/>
                    <a:pt x="303" y="489"/>
                    <a:pt x="303" y="489"/>
                  </a:cubicBezTo>
                  <a:cubicBezTo>
                    <a:pt x="302" y="489"/>
                    <a:pt x="302" y="489"/>
                    <a:pt x="302" y="490"/>
                  </a:cubicBezTo>
                  <a:cubicBezTo>
                    <a:pt x="299" y="494"/>
                    <a:pt x="298" y="501"/>
                    <a:pt x="298" y="507"/>
                  </a:cubicBezTo>
                  <a:cubicBezTo>
                    <a:pt x="297" y="514"/>
                    <a:pt x="295" y="514"/>
                    <a:pt x="291" y="514"/>
                  </a:cubicBezTo>
                  <a:cubicBezTo>
                    <a:pt x="290" y="514"/>
                    <a:pt x="290" y="514"/>
                    <a:pt x="290" y="514"/>
                  </a:cubicBezTo>
                  <a:cubicBezTo>
                    <a:pt x="290" y="514"/>
                    <a:pt x="289" y="514"/>
                    <a:pt x="288" y="514"/>
                  </a:cubicBezTo>
                  <a:cubicBezTo>
                    <a:pt x="287" y="514"/>
                    <a:pt x="284" y="514"/>
                    <a:pt x="283" y="508"/>
                  </a:cubicBezTo>
                  <a:cubicBezTo>
                    <a:pt x="281" y="503"/>
                    <a:pt x="279" y="496"/>
                    <a:pt x="275" y="493"/>
                  </a:cubicBezTo>
                  <a:cubicBezTo>
                    <a:pt x="275" y="492"/>
                    <a:pt x="274" y="492"/>
                    <a:pt x="274" y="492"/>
                  </a:cubicBezTo>
                  <a:cubicBezTo>
                    <a:pt x="274" y="492"/>
                    <a:pt x="274" y="492"/>
                    <a:pt x="274" y="492"/>
                  </a:cubicBezTo>
                  <a:cubicBezTo>
                    <a:pt x="273" y="492"/>
                    <a:pt x="273" y="492"/>
                    <a:pt x="273" y="492"/>
                  </a:cubicBezTo>
                  <a:cubicBezTo>
                    <a:pt x="271" y="492"/>
                    <a:pt x="268" y="492"/>
                    <a:pt x="266" y="492"/>
                  </a:cubicBezTo>
                  <a:cubicBezTo>
                    <a:pt x="265" y="492"/>
                    <a:pt x="265" y="493"/>
                    <a:pt x="265" y="493"/>
                  </a:cubicBezTo>
                  <a:cubicBezTo>
                    <a:pt x="261" y="497"/>
                    <a:pt x="259" y="504"/>
                    <a:pt x="258" y="509"/>
                  </a:cubicBezTo>
                  <a:cubicBezTo>
                    <a:pt x="257" y="515"/>
                    <a:pt x="254" y="515"/>
                    <a:pt x="252" y="515"/>
                  </a:cubicBezTo>
                  <a:cubicBezTo>
                    <a:pt x="252" y="515"/>
                    <a:pt x="251" y="515"/>
                    <a:pt x="251" y="515"/>
                  </a:cubicBezTo>
                  <a:cubicBezTo>
                    <a:pt x="250" y="515"/>
                    <a:pt x="250" y="515"/>
                    <a:pt x="250" y="515"/>
                  </a:cubicBezTo>
                  <a:cubicBezTo>
                    <a:pt x="246" y="515"/>
                    <a:pt x="244" y="515"/>
                    <a:pt x="243" y="508"/>
                  </a:cubicBezTo>
                  <a:cubicBezTo>
                    <a:pt x="243" y="503"/>
                    <a:pt x="241" y="495"/>
                    <a:pt x="238" y="492"/>
                  </a:cubicBezTo>
                  <a:cubicBezTo>
                    <a:pt x="238" y="491"/>
                    <a:pt x="237" y="491"/>
                    <a:pt x="237" y="491"/>
                  </a:cubicBezTo>
                  <a:cubicBezTo>
                    <a:pt x="234" y="490"/>
                    <a:pt x="232" y="490"/>
                    <a:pt x="229" y="490"/>
                  </a:cubicBezTo>
                  <a:cubicBezTo>
                    <a:pt x="229" y="490"/>
                    <a:pt x="229" y="490"/>
                    <a:pt x="229" y="490"/>
                  </a:cubicBezTo>
                  <a:cubicBezTo>
                    <a:pt x="228" y="490"/>
                    <a:pt x="228" y="490"/>
                    <a:pt x="227" y="490"/>
                  </a:cubicBezTo>
                  <a:cubicBezTo>
                    <a:pt x="224" y="493"/>
                    <a:pt x="220" y="500"/>
                    <a:pt x="218" y="505"/>
                  </a:cubicBezTo>
                  <a:cubicBezTo>
                    <a:pt x="216" y="510"/>
                    <a:pt x="214" y="510"/>
                    <a:pt x="213" y="510"/>
                  </a:cubicBezTo>
                  <a:cubicBezTo>
                    <a:pt x="212" y="510"/>
                    <a:pt x="211" y="510"/>
                    <a:pt x="210" y="510"/>
                  </a:cubicBezTo>
                  <a:cubicBezTo>
                    <a:pt x="209" y="510"/>
                    <a:pt x="209" y="510"/>
                    <a:pt x="209" y="510"/>
                  </a:cubicBezTo>
                  <a:cubicBezTo>
                    <a:pt x="206" y="509"/>
                    <a:pt x="203" y="509"/>
                    <a:pt x="204" y="502"/>
                  </a:cubicBezTo>
                  <a:cubicBezTo>
                    <a:pt x="204" y="496"/>
                    <a:pt x="204" y="489"/>
                    <a:pt x="202" y="485"/>
                  </a:cubicBezTo>
                  <a:cubicBezTo>
                    <a:pt x="201" y="484"/>
                    <a:pt x="201" y="484"/>
                    <a:pt x="200" y="484"/>
                  </a:cubicBezTo>
                  <a:cubicBezTo>
                    <a:pt x="198" y="483"/>
                    <a:pt x="195" y="482"/>
                    <a:pt x="193" y="481"/>
                  </a:cubicBezTo>
                  <a:cubicBezTo>
                    <a:pt x="193" y="481"/>
                    <a:pt x="192" y="481"/>
                    <a:pt x="192" y="481"/>
                  </a:cubicBezTo>
                  <a:cubicBezTo>
                    <a:pt x="192" y="481"/>
                    <a:pt x="192" y="481"/>
                    <a:pt x="191" y="482"/>
                  </a:cubicBezTo>
                  <a:cubicBezTo>
                    <a:pt x="187" y="484"/>
                    <a:pt x="183" y="490"/>
                    <a:pt x="180" y="495"/>
                  </a:cubicBezTo>
                  <a:cubicBezTo>
                    <a:pt x="177" y="499"/>
                    <a:pt x="175" y="499"/>
                    <a:pt x="175" y="499"/>
                  </a:cubicBezTo>
                  <a:cubicBezTo>
                    <a:pt x="173" y="499"/>
                    <a:pt x="172" y="499"/>
                    <a:pt x="171" y="498"/>
                  </a:cubicBezTo>
                  <a:cubicBezTo>
                    <a:pt x="170" y="498"/>
                    <a:pt x="170" y="498"/>
                    <a:pt x="170" y="498"/>
                  </a:cubicBezTo>
                  <a:cubicBezTo>
                    <a:pt x="167" y="497"/>
                    <a:pt x="165" y="496"/>
                    <a:pt x="166" y="489"/>
                  </a:cubicBezTo>
                  <a:cubicBezTo>
                    <a:pt x="167" y="484"/>
                    <a:pt x="168" y="477"/>
                    <a:pt x="167" y="472"/>
                  </a:cubicBezTo>
                  <a:cubicBezTo>
                    <a:pt x="166" y="472"/>
                    <a:pt x="166" y="471"/>
                    <a:pt x="165" y="471"/>
                  </a:cubicBezTo>
                  <a:cubicBezTo>
                    <a:pt x="163" y="470"/>
                    <a:pt x="161" y="469"/>
                    <a:pt x="159" y="468"/>
                  </a:cubicBezTo>
                  <a:cubicBezTo>
                    <a:pt x="158" y="468"/>
                    <a:pt x="158" y="468"/>
                    <a:pt x="158" y="468"/>
                  </a:cubicBezTo>
                  <a:cubicBezTo>
                    <a:pt x="158" y="467"/>
                    <a:pt x="158" y="467"/>
                    <a:pt x="158" y="467"/>
                  </a:cubicBezTo>
                  <a:cubicBezTo>
                    <a:pt x="157" y="467"/>
                    <a:pt x="157" y="467"/>
                    <a:pt x="157" y="467"/>
                  </a:cubicBezTo>
                  <a:cubicBezTo>
                    <a:pt x="152" y="469"/>
                    <a:pt x="147" y="474"/>
                    <a:pt x="144" y="479"/>
                  </a:cubicBezTo>
                  <a:cubicBezTo>
                    <a:pt x="142" y="481"/>
                    <a:pt x="140" y="482"/>
                    <a:pt x="138" y="482"/>
                  </a:cubicBezTo>
                  <a:cubicBezTo>
                    <a:pt x="137" y="482"/>
                    <a:pt x="136" y="482"/>
                    <a:pt x="134" y="481"/>
                  </a:cubicBezTo>
                  <a:cubicBezTo>
                    <a:pt x="133" y="480"/>
                    <a:pt x="133" y="480"/>
                    <a:pt x="133" y="480"/>
                  </a:cubicBezTo>
                  <a:cubicBezTo>
                    <a:pt x="130" y="479"/>
                    <a:pt x="128" y="478"/>
                    <a:pt x="131" y="471"/>
                  </a:cubicBezTo>
                  <a:cubicBezTo>
                    <a:pt x="133" y="466"/>
                    <a:pt x="135" y="459"/>
                    <a:pt x="134" y="454"/>
                  </a:cubicBezTo>
                  <a:cubicBezTo>
                    <a:pt x="134" y="454"/>
                    <a:pt x="134" y="453"/>
                    <a:pt x="133" y="453"/>
                  </a:cubicBezTo>
                  <a:cubicBezTo>
                    <a:pt x="131" y="451"/>
                    <a:pt x="129" y="450"/>
                    <a:pt x="127" y="448"/>
                  </a:cubicBezTo>
                  <a:cubicBezTo>
                    <a:pt x="126" y="448"/>
                    <a:pt x="126" y="448"/>
                    <a:pt x="125" y="448"/>
                  </a:cubicBezTo>
                  <a:cubicBezTo>
                    <a:pt x="125" y="448"/>
                    <a:pt x="125" y="448"/>
                    <a:pt x="125" y="448"/>
                  </a:cubicBezTo>
                  <a:cubicBezTo>
                    <a:pt x="120" y="449"/>
                    <a:pt x="114" y="453"/>
                    <a:pt x="110" y="457"/>
                  </a:cubicBezTo>
                  <a:cubicBezTo>
                    <a:pt x="108" y="459"/>
                    <a:pt x="106" y="460"/>
                    <a:pt x="105" y="460"/>
                  </a:cubicBezTo>
                  <a:cubicBezTo>
                    <a:pt x="103" y="460"/>
                    <a:pt x="102" y="459"/>
                    <a:pt x="101" y="458"/>
                  </a:cubicBezTo>
                  <a:cubicBezTo>
                    <a:pt x="100" y="457"/>
                    <a:pt x="100" y="457"/>
                    <a:pt x="100" y="457"/>
                  </a:cubicBezTo>
                  <a:cubicBezTo>
                    <a:pt x="97" y="455"/>
                    <a:pt x="95" y="454"/>
                    <a:pt x="99" y="448"/>
                  </a:cubicBezTo>
                  <a:cubicBezTo>
                    <a:pt x="102" y="443"/>
                    <a:pt x="104" y="436"/>
                    <a:pt x="105" y="431"/>
                  </a:cubicBezTo>
                  <a:cubicBezTo>
                    <a:pt x="105" y="431"/>
                    <a:pt x="104" y="430"/>
                    <a:pt x="104" y="430"/>
                  </a:cubicBezTo>
                  <a:cubicBezTo>
                    <a:pt x="102" y="428"/>
                    <a:pt x="100" y="426"/>
                    <a:pt x="98" y="425"/>
                  </a:cubicBezTo>
                  <a:cubicBezTo>
                    <a:pt x="98" y="424"/>
                    <a:pt x="97" y="424"/>
                    <a:pt x="97" y="424"/>
                  </a:cubicBezTo>
                  <a:cubicBezTo>
                    <a:pt x="97" y="424"/>
                    <a:pt x="97" y="424"/>
                    <a:pt x="97" y="424"/>
                  </a:cubicBezTo>
                  <a:cubicBezTo>
                    <a:pt x="92" y="424"/>
                    <a:pt x="85" y="428"/>
                    <a:pt x="81" y="431"/>
                  </a:cubicBezTo>
                  <a:cubicBezTo>
                    <a:pt x="79" y="432"/>
                    <a:pt x="77" y="433"/>
                    <a:pt x="75" y="433"/>
                  </a:cubicBezTo>
                  <a:cubicBezTo>
                    <a:pt x="74" y="433"/>
                    <a:pt x="73" y="432"/>
                    <a:pt x="71" y="430"/>
                  </a:cubicBezTo>
                  <a:cubicBezTo>
                    <a:pt x="70" y="429"/>
                    <a:pt x="70" y="429"/>
                    <a:pt x="70" y="429"/>
                  </a:cubicBezTo>
                  <a:cubicBezTo>
                    <a:pt x="68" y="427"/>
                    <a:pt x="66" y="425"/>
                    <a:pt x="71" y="420"/>
                  </a:cubicBezTo>
                  <a:cubicBezTo>
                    <a:pt x="74" y="415"/>
                    <a:pt x="78" y="409"/>
                    <a:pt x="79" y="404"/>
                  </a:cubicBezTo>
                  <a:cubicBezTo>
                    <a:pt x="79" y="404"/>
                    <a:pt x="79" y="403"/>
                    <a:pt x="79" y="403"/>
                  </a:cubicBezTo>
                  <a:cubicBezTo>
                    <a:pt x="78" y="402"/>
                    <a:pt x="78" y="402"/>
                    <a:pt x="78" y="402"/>
                  </a:cubicBezTo>
                  <a:cubicBezTo>
                    <a:pt x="76" y="400"/>
                    <a:pt x="75" y="398"/>
                    <a:pt x="74" y="397"/>
                  </a:cubicBezTo>
                  <a:cubicBezTo>
                    <a:pt x="73" y="396"/>
                    <a:pt x="73" y="396"/>
                    <a:pt x="72" y="396"/>
                  </a:cubicBezTo>
                  <a:cubicBezTo>
                    <a:pt x="72" y="396"/>
                    <a:pt x="71" y="396"/>
                    <a:pt x="71" y="396"/>
                  </a:cubicBezTo>
                  <a:cubicBezTo>
                    <a:pt x="67" y="396"/>
                    <a:pt x="61" y="397"/>
                    <a:pt x="56" y="400"/>
                  </a:cubicBezTo>
                  <a:cubicBezTo>
                    <a:pt x="54" y="401"/>
                    <a:pt x="52" y="401"/>
                    <a:pt x="51" y="401"/>
                  </a:cubicBezTo>
                  <a:cubicBezTo>
                    <a:pt x="49" y="401"/>
                    <a:pt x="48" y="400"/>
                    <a:pt x="46" y="398"/>
                  </a:cubicBezTo>
                  <a:cubicBezTo>
                    <a:pt x="46" y="397"/>
                    <a:pt x="46" y="397"/>
                    <a:pt x="46" y="397"/>
                  </a:cubicBezTo>
                  <a:cubicBezTo>
                    <a:pt x="44" y="394"/>
                    <a:pt x="42" y="392"/>
                    <a:pt x="48" y="387"/>
                  </a:cubicBezTo>
                  <a:cubicBezTo>
                    <a:pt x="52" y="384"/>
                    <a:pt x="57" y="378"/>
                    <a:pt x="58" y="374"/>
                  </a:cubicBezTo>
                  <a:cubicBezTo>
                    <a:pt x="58" y="373"/>
                    <a:pt x="58" y="372"/>
                    <a:pt x="58" y="372"/>
                  </a:cubicBezTo>
                  <a:cubicBezTo>
                    <a:pt x="57" y="370"/>
                    <a:pt x="55" y="367"/>
                    <a:pt x="54" y="365"/>
                  </a:cubicBezTo>
                  <a:cubicBezTo>
                    <a:pt x="54" y="365"/>
                    <a:pt x="53" y="364"/>
                    <a:pt x="53" y="364"/>
                  </a:cubicBezTo>
                  <a:cubicBezTo>
                    <a:pt x="52" y="364"/>
                    <a:pt x="50" y="364"/>
                    <a:pt x="48" y="364"/>
                  </a:cubicBezTo>
                  <a:cubicBezTo>
                    <a:pt x="44" y="364"/>
                    <a:pt x="40" y="364"/>
                    <a:pt x="36" y="365"/>
                  </a:cubicBezTo>
                  <a:cubicBezTo>
                    <a:pt x="34" y="366"/>
                    <a:pt x="33" y="366"/>
                    <a:pt x="32" y="366"/>
                  </a:cubicBezTo>
                  <a:cubicBezTo>
                    <a:pt x="29" y="366"/>
                    <a:pt x="28" y="364"/>
                    <a:pt x="27" y="362"/>
                  </a:cubicBezTo>
                  <a:cubicBezTo>
                    <a:pt x="26" y="361"/>
                    <a:pt x="26" y="361"/>
                    <a:pt x="26" y="361"/>
                  </a:cubicBezTo>
                  <a:cubicBezTo>
                    <a:pt x="25" y="358"/>
                    <a:pt x="24" y="355"/>
                    <a:pt x="30" y="352"/>
                  </a:cubicBezTo>
                  <a:cubicBezTo>
                    <a:pt x="34" y="349"/>
                    <a:pt x="40" y="344"/>
                    <a:pt x="42" y="340"/>
                  </a:cubicBezTo>
                  <a:cubicBezTo>
                    <a:pt x="42" y="339"/>
                    <a:pt x="42" y="339"/>
                    <a:pt x="42" y="338"/>
                  </a:cubicBezTo>
                  <a:cubicBezTo>
                    <a:pt x="41" y="336"/>
                    <a:pt x="41" y="334"/>
                    <a:pt x="40" y="331"/>
                  </a:cubicBezTo>
                  <a:cubicBezTo>
                    <a:pt x="40" y="330"/>
                    <a:pt x="39" y="330"/>
                    <a:pt x="39" y="330"/>
                  </a:cubicBezTo>
                  <a:cubicBezTo>
                    <a:pt x="35" y="328"/>
                    <a:pt x="31" y="328"/>
                    <a:pt x="27" y="328"/>
                  </a:cubicBezTo>
                  <a:cubicBezTo>
                    <a:pt x="25" y="328"/>
                    <a:pt x="23" y="328"/>
                    <a:pt x="21" y="328"/>
                  </a:cubicBezTo>
                  <a:cubicBezTo>
                    <a:pt x="20" y="328"/>
                    <a:pt x="20" y="328"/>
                    <a:pt x="19" y="328"/>
                  </a:cubicBezTo>
                  <a:cubicBezTo>
                    <a:pt x="14" y="328"/>
                    <a:pt x="14" y="326"/>
                    <a:pt x="13" y="323"/>
                  </a:cubicBezTo>
                  <a:cubicBezTo>
                    <a:pt x="13" y="322"/>
                    <a:pt x="13" y="322"/>
                    <a:pt x="13" y="322"/>
                  </a:cubicBezTo>
                  <a:cubicBezTo>
                    <a:pt x="12" y="319"/>
                    <a:pt x="11" y="317"/>
                    <a:pt x="18" y="314"/>
                  </a:cubicBezTo>
                  <a:cubicBezTo>
                    <a:pt x="23" y="312"/>
                    <a:pt x="29" y="308"/>
                    <a:pt x="32" y="304"/>
                  </a:cubicBezTo>
                  <a:cubicBezTo>
                    <a:pt x="32" y="304"/>
                    <a:pt x="32" y="303"/>
                    <a:pt x="32" y="303"/>
                  </a:cubicBezTo>
                  <a:cubicBezTo>
                    <a:pt x="32" y="300"/>
                    <a:pt x="31" y="298"/>
                    <a:pt x="31" y="296"/>
                  </a:cubicBezTo>
                  <a:cubicBezTo>
                    <a:pt x="31" y="295"/>
                    <a:pt x="31" y="295"/>
                    <a:pt x="31" y="295"/>
                  </a:cubicBezTo>
                  <a:cubicBezTo>
                    <a:pt x="31" y="294"/>
                    <a:pt x="30" y="294"/>
                    <a:pt x="30" y="294"/>
                  </a:cubicBezTo>
                  <a:cubicBezTo>
                    <a:pt x="26" y="291"/>
                    <a:pt x="19" y="290"/>
                    <a:pt x="13" y="289"/>
                  </a:cubicBezTo>
                  <a:cubicBezTo>
                    <a:pt x="6" y="289"/>
                    <a:pt x="6" y="287"/>
                    <a:pt x="6" y="283"/>
                  </a:cubicBezTo>
                  <a:cubicBezTo>
                    <a:pt x="6" y="282"/>
                    <a:pt x="6" y="282"/>
                    <a:pt x="6" y="282"/>
                  </a:cubicBezTo>
                  <a:cubicBezTo>
                    <a:pt x="5" y="279"/>
                    <a:pt x="5" y="276"/>
                    <a:pt x="11" y="275"/>
                  </a:cubicBezTo>
                  <a:cubicBezTo>
                    <a:pt x="17" y="273"/>
                    <a:pt x="24" y="271"/>
                    <a:pt x="27" y="267"/>
                  </a:cubicBezTo>
                  <a:cubicBezTo>
                    <a:pt x="27" y="267"/>
                    <a:pt x="28" y="266"/>
                    <a:pt x="28" y="266"/>
                  </a:cubicBezTo>
                  <a:cubicBezTo>
                    <a:pt x="28" y="265"/>
                    <a:pt x="28" y="265"/>
                    <a:pt x="28" y="265"/>
                  </a:cubicBezTo>
                  <a:cubicBezTo>
                    <a:pt x="28" y="263"/>
                    <a:pt x="27" y="260"/>
                    <a:pt x="27" y="258"/>
                  </a:cubicBezTo>
                  <a:cubicBezTo>
                    <a:pt x="27" y="257"/>
                    <a:pt x="27" y="257"/>
                    <a:pt x="27" y="256"/>
                  </a:cubicBezTo>
                  <a:cubicBezTo>
                    <a:pt x="23" y="253"/>
                    <a:pt x="16" y="251"/>
                    <a:pt x="11" y="250"/>
                  </a:cubicBezTo>
                  <a:cubicBezTo>
                    <a:pt x="4" y="249"/>
                    <a:pt x="4" y="246"/>
                    <a:pt x="5" y="243"/>
                  </a:cubicBezTo>
                  <a:cubicBezTo>
                    <a:pt x="5" y="241"/>
                    <a:pt x="5" y="241"/>
                    <a:pt x="5" y="241"/>
                  </a:cubicBezTo>
                  <a:cubicBezTo>
                    <a:pt x="5" y="238"/>
                    <a:pt x="5" y="236"/>
                    <a:pt x="12" y="235"/>
                  </a:cubicBezTo>
                  <a:cubicBezTo>
                    <a:pt x="17" y="234"/>
                    <a:pt x="24" y="233"/>
                    <a:pt x="28" y="230"/>
                  </a:cubicBezTo>
                  <a:cubicBezTo>
                    <a:pt x="29" y="230"/>
                    <a:pt x="29" y="229"/>
                    <a:pt x="29" y="229"/>
                  </a:cubicBezTo>
                  <a:cubicBezTo>
                    <a:pt x="29" y="226"/>
                    <a:pt x="30" y="223"/>
                    <a:pt x="30" y="221"/>
                  </a:cubicBezTo>
                  <a:cubicBezTo>
                    <a:pt x="30" y="220"/>
                    <a:pt x="30" y="220"/>
                    <a:pt x="30" y="219"/>
                  </a:cubicBezTo>
                  <a:cubicBezTo>
                    <a:pt x="27" y="216"/>
                    <a:pt x="20" y="212"/>
                    <a:pt x="15" y="210"/>
                  </a:cubicBezTo>
                  <a:cubicBezTo>
                    <a:pt x="8" y="208"/>
                    <a:pt x="9" y="205"/>
                    <a:pt x="10" y="202"/>
                  </a:cubicBezTo>
                  <a:cubicBezTo>
                    <a:pt x="10" y="201"/>
                    <a:pt x="10" y="201"/>
                    <a:pt x="10" y="201"/>
                  </a:cubicBezTo>
                  <a:cubicBezTo>
                    <a:pt x="11" y="198"/>
                    <a:pt x="11" y="196"/>
                    <a:pt x="16" y="196"/>
                  </a:cubicBezTo>
                  <a:cubicBezTo>
                    <a:pt x="17" y="196"/>
                    <a:pt x="17" y="196"/>
                    <a:pt x="18" y="196"/>
                  </a:cubicBezTo>
                  <a:cubicBezTo>
                    <a:pt x="19" y="196"/>
                    <a:pt x="20" y="196"/>
                    <a:pt x="21" y="196"/>
                  </a:cubicBezTo>
                  <a:cubicBezTo>
                    <a:pt x="24" y="196"/>
                    <a:pt x="31" y="196"/>
                    <a:pt x="35" y="194"/>
                  </a:cubicBezTo>
                  <a:cubicBezTo>
                    <a:pt x="36" y="193"/>
                    <a:pt x="36" y="193"/>
                    <a:pt x="36" y="192"/>
                  </a:cubicBezTo>
                  <a:cubicBezTo>
                    <a:pt x="37" y="190"/>
                    <a:pt x="38" y="187"/>
                    <a:pt x="38" y="185"/>
                  </a:cubicBezTo>
                  <a:cubicBezTo>
                    <a:pt x="39" y="184"/>
                    <a:pt x="38" y="184"/>
                    <a:pt x="38" y="183"/>
                  </a:cubicBezTo>
                  <a:cubicBezTo>
                    <a:pt x="36" y="179"/>
                    <a:pt x="30" y="175"/>
                    <a:pt x="25" y="172"/>
                  </a:cubicBezTo>
                  <a:cubicBezTo>
                    <a:pt x="19" y="169"/>
                    <a:pt x="20" y="166"/>
                    <a:pt x="21" y="163"/>
                  </a:cubicBezTo>
                  <a:cubicBezTo>
                    <a:pt x="22" y="162"/>
                    <a:pt x="22" y="162"/>
                    <a:pt x="22" y="162"/>
                  </a:cubicBezTo>
                  <a:cubicBezTo>
                    <a:pt x="23" y="159"/>
                    <a:pt x="24" y="158"/>
                    <a:pt x="27" y="158"/>
                  </a:cubicBezTo>
                  <a:cubicBezTo>
                    <a:pt x="28" y="158"/>
                    <a:pt x="29" y="158"/>
                    <a:pt x="30" y="158"/>
                  </a:cubicBezTo>
                  <a:cubicBezTo>
                    <a:pt x="34" y="159"/>
                    <a:pt x="38" y="159"/>
                    <a:pt x="41" y="159"/>
                  </a:cubicBezTo>
                  <a:cubicBezTo>
                    <a:pt x="44" y="159"/>
                    <a:pt x="46" y="159"/>
                    <a:pt x="48" y="159"/>
                  </a:cubicBezTo>
                  <a:cubicBezTo>
                    <a:pt x="48" y="158"/>
                    <a:pt x="49" y="158"/>
                    <a:pt x="49" y="157"/>
                  </a:cubicBezTo>
                  <a:cubicBezTo>
                    <a:pt x="50" y="155"/>
                    <a:pt x="51" y="153"/>
                    <a:pt x="52" y="151"/>
                  </a:cubicBezTo>
                  <a:cubicBezTo>
                    <a:pt x="52" y="150"/>
                    <a:pt x="52" y="150"/>
                    <a:pt x="52" y="150"/>
                  </a:cubicBezTo>
                  <a:cubicBezTo>
                    <a:pt x="53" y="150"/>
                    <a:pt x="53" y="149"/>
                    <a:pt x="52" y="149"/>
                  </a:cubicBezTo>
                  <a:cubicBezTo>
                    <a:pt x="51" y="144"/>
                    <a:pt x="45" y="139"/>
                    <a:pt x="41" y="135"/>
                  </a:cubicBezTo>
                  <a:cubicBezTo>
                    <a:pt x="36" y="131"/>
                    <a:pt x="37" y="129"/>
                    <a:pt x="39" y="126"/>
                  </a:cubicBezTo>
                  <a:cubicBezTo>
                    <a:pt x="39" y="125"/>
                    <a:pt x="39" y="125"/>
                    <a:pt x="39" y="125"/>
                  </a:cubicBezTo>
                  <a:cubicBezTo>
                    <a:pt x="41" y="123"/>
                    <a:pt x="42" y="122"/>
                    <a:pt x="44" y="122"/>
                  </a:cubicBezTo>
                  <a:cubicBezTo>
                    <a:pt x="45" y="122"/>
                    <a:pt x="47" y="122"/>
                    <a:pt x="49" y="123"/>
                  </a:cubicBezTo>
                  <a:cubicBezTo>
                    <a:pt x="54" y="125"/>
                    <a:pt x="59" y="126"/>
                    <a:pt x="63" y="126"/>
                  </a:cubicBezTo>
                  <a:cubicBezTo>
                    <a:pt x="64" y="126"/>
                    <a:pt x="65" y="126"/>
                    <a:pt x="66" y="126"/>
                  </a:cubicBezTo>
                  <a:cubicBezTo>
                    <a:pt x="66" y="126"/>
                    <a:pt x="67" y="125"/>
                    <a:pt x="67" y="125"/>
                  </a:cubicBezTo>
                  <a:cubicBezTo>
                    <a:pt x="68" y="123"/>
                    <a:pt x="70" y="121"/>
                    <a:pt x="71" y="119"/>
                  </a:cubicBezTo>
                  <a:cubicBezTo>
                    <a:pt x="72" y="118"/>
                    <a:pt x="72" y="118"/>
                    <a:pt x="72" y="117"/>
                  </a:cubicBezTo>
                  <a:cubicBezTo>
                    <a:pt x="71" y="112"/>
                    <a:pt x="66" y="106"/>
                    <a:pt x="63" y="102"/>
                  </a:cubicBezTo>
                  <a:cubicBezTo>
                    <a:pt x="58" y="97"/>
                    <a:pt x="60" y="95"/>
                    <a:pt x="62" y="93"/>
                  </a:cubicBezTo>
                  <a:cubicBezTo>
                    <a:pt x="63" y="92"/>
                    <a:pt x="63" y="92"/>
                    <a:pt x="63" y="92"/>
                  </a:cubicBezTo>
                  <a:cubicBezTo>
                    <a:pt x="64" y="90"/>
                    <a:pt x="65" y="89"/>
                    <a:pt x="67" y="89"/>
                  </a:cubicBezTo>
                  <a:cubicBezTo>
                    <a:pt x="68" y="89"/>
                    <a:pt x="70" y="89"/>
                    <a:pt x="72" y="91"/>
                  </a:cubicBezTo>
                  <a:cubicBezTo>
                    <a:pt x="77" y="93"/>
                    <a:pt x="84" y="96"/>
                    <a:pt x="88" y="96"/>
                  </a:cubicBezTo>
                  <a:cubicBezTo>
                    <a:pt x="89" y="96"/>
                    <a:pt x="90" y="96"/>
                    <a:pt x="90" y="96"/>
                  </a:cubicBezTo>
                  <a:cubicBezTo>
                    <a:pt x="92" y="94"/>
                    <a:pt x="93" y="92"/>
                    <a:pt x="95" y="90"/>
                  </a:cubicBezTo>
                  <a:cubicBezTo>
                    <a:pt x="96" y="90"/>
                    <a:pt x="96" y="89"/>
                    <a:pt x="96" y="89"/>
                  </a:cubicBezTo>
                  <a:cubicBezTo>
                    <a:pt x="96" y="84"/>
                    <a:pt x="92" y="77"/>
                    <a:pt x="89" y="73"/>
                  </a:cubicBezTo>
                  <a:cubicBezTo>
                    <a:pt x="85" y="67"/>
                    <a:pt x="87" y="65"/>
                    <a:pt x="90" y="63"/>
                  </a:cubicBezTo>
                  <a:cubicBezTo>
                    <a:pt x="91" y="62"/>
                    <a:pt x="91" y="62"/>
                    <a:pt x="91" y="62"/>
                  </a:cubicBezTo>
                  <a:cubicBezTo>
                    <a:pt x="92" y="61"/>
                    <a:pt x="93" y="60"/>
                    <a:pt x="95" y="60"/>
                  </a:cubicBezTo>
                  <a:cubicBezTo>
                    <a:pt x="96" y="60"/>
                    <a:pt x="98" y="61"/>
                    <a:pt x="100" y="63"/>
                  </a:cubicBezTo>
                  <a:cubicBezTo>
                    <a:pt x="105" y="66"/>
                    <a:pt x="111" y="70"/>
                    <a:pt x="115" y="71"/>
                  </a:cubicBezTo>
                  <a:cubicBezTo>
                    <a:pt x="116" y="71"/>
                    <a:pt x="116" y="71"/>
                    <a:pt x="116" y="71"/>
                  </a:cubicBezTo>
                  <a:cubicBezTo>
                    <a:pt x="116" y="71"/>
                    <a:pt x="117" y="71"/>
                    <a:pt x="117" y="71"/>
                  </a:cubicBezTo>
                  <a:cubicBezTo>
                    <a:pt x="118" y="70"/>
                    <a:pt x="118" y="70"/>
                    <a:pt x="118" y="70"/>
                  </a:cubicBezTo>
                  <a:cubicBezTo>
                    <a:pt x="120" y="68"/>
                    <a:pt x="122" y="67"/>
                    <a:pt x="123" y="66"/>
                  </a:cubicBezTo>
                  <a:cubicBezTo>
                    <a:pt x="124" y="65"/>
                    <a:pt x="124" y="65"/>
                    <a:pt x="124" y="64"/>
                  </a:cubicBezTo>
                  <a:cubicBezTo>
                    <a:pt x="124" y="60"/>
                    <a:pt x="122" y="53"/>
                    <a:pt x="120" y="47"/>
                  </a:cubicBezTo>
                  <a:cubicBezTo>
                    <a:pt x="117" y="41"/>
                    <a:pt x="119" y="40"/>
                    <a:pt x="122" y="38"/>
                  </a:cubicBezTo>
                  <a:cubicBezTo>
                    <a:pt x="123" y="38"/>
                    <a:pt x="123" y="38"/>
                    <a:pt x="123" y="38"/>
                  </a:cubicBezTo>
                  <a:cubicBezTo>
                    <a:pt x="124" y="37"/>
                    <a:pt x="126" y="36"/>
                    <a:pt x="127" y="36"/>
                  </a:cubicBezTo>
                  <a:cubicBezTo>
                    <a:pt x="129" y="36"/>
                    <a:pt x="130" y="37"/>
                    <a:pt x="132" y="40"/>
                  </a:cubicBezTo>
                  <a:cubicBezTo>
                    <a:pt x="136" y="44"/>
                    <a:pt x="142" y="48"/>
                    <a:pt x="146" y="50"/>
                  </a:cubicBezTo>
                  <a:cubicBezTo>
                    <a:pt x="146" y="50"/>
                    <a:pt x="147" y="50"/>
                    <a:pt x="147" y="50"/>
                  </a:cubicBezTo>
                  <a:cubicBezTo>
                    <a:pt x="147" y="50"/>
                    <a:pt x="148" y="50"/>
                    <a:pt x="148" y="50"/>
                  </a:cubicBezTo>
                  <a:cubicBezTo>
                    <a:pt x="150" y="49"/>
                    <a:pt x="152" y="47"/>
                    <a:pt x="155" y="46"/>
                  </a:cubicBezTo>
                  <a:cubicBezTo>
                    <a:pt x="155" y="46"/>
                    <a:pt x="156" y="45"/>
                    <a:pt x="156" y="45"/>
                  </a:cubicBezTo>
                  <a:cubicBezTo>
                    <a:pt x="157" y="40"/>
                    <a:pt x="156" y="33"/>
                    <a:pt x="154" y="28"/>
                  </a:cubicBezTo>
                  <a:cubicBezTo>
                    <a:pt x="153" y="21"/>
                    <a:pt x="155" y="20"/>
                    <a:pt x="158" y="19"/>
                  </a:cubicBezTo>
                  <a:cubicBezTo>
                    <a:pt x="159" y="18"/>
                    <a:pt x="159" y="18"/>
                    <a:pt x="159" y="18"/>
                  </a:cubicBezTo>
                  <a:cubicBezTo>
                    <a:pt x="160" y="18"/>
                    <a:pt x="161" y="17"/>
                    <a:pt x="163" y="17"/>
                  </a:cubicBezTo>
                  <a:cubicBezTo>
                    <a:pt x="163" y="17"/>
                    <a:pt x="165" y="17"/>
                    <a:pt x="168" y="22"/>
                  </a:cubicBezTo>
                  <a:cubicBezTo>
                    <a:pt x="171" y="26"/>
                    <a:pt x="176" y="32"/>
                    <a:pt x="180" y="34"/>
                  </a:cubicBezTo>
                  <a:cubicBezTo>
                    <a:pt x="180" y="34"/>
                    <a:pt x="180" y="34"/>
                    <a:pt x="181" y="34"/>
                  </a:cubicBezTo>
                  <a:cubicBezTo>
                    <a:pt x="181" y="34"/>
                    <a:pt x="181" y="34"/>
                    <a:pt x="182" y="34"/>
                  </a:cubicBezTo>
                  <a:cubicBezTo>
                    <a:pt x="184" y="33"/>
                    <a:pt x="186" y="33"/>
                    <a:pt x="189" y="32"/>
                  </a:cubicBezTo>
                  <a:cubicBezTo>
                    <a:pt x="189" y="31"/>
                    <a:pt x="190" y="31"/>
                    <a:pt x="190" y="31"/>
                  </a:cubicBezTo>
                  <a:cubicBezTo>
                    <a:pt x="192" y="26"/>
                    <a:pt x="192" y="19"/>
                    <a:pt x="192" y="13"/>
                  </a:cubicBezTo>
                  <a:cubicBezTo>
                    <a:pt x="191" y="7"/>
                    <a:pt x="193" y="6"/>
                    <a:pt x="196" y="5"/>
                  </a:cubicBezTo>
                  <a:cubicBezTo>
                    <a:pt x="197" y="5"/>
                    <a:pt x="197" y="5"/>
                    <a:pt x="197" y="5"/>
                  </a:cubicBezTo>
                  <a:cubicBezTo>
                    <a:pt x="198" y="4"/>
                    <a:pt x="200" y="4"/>
                    <a:pt x="201" y="4"/>
                  </a:cubicBezTo>
                  <a:cubicBezTo>
                    <a:pt x="201" y="4"/>
                    <a:pt x="204" y="4"/>
                    <a:pt x="206" y="9"/>
                  </a:cubicBezTo>
                  <a:cubicBezTo>
                    <a:pt x="208" y="15"/>
                    <a:pt x="212" y="21"/>
                    <a:pt x="216" y="24"/>
                  </a:cubicBezTo>
                  <a:cubicBezTo>
                    <a:pt x="216" y="24"/>
                    <a:pt x="216" y="24"/>
                    <a:pt x="217" y="24"/>
                  </a:cubicBezTo>
                  <a:cubicBezTo>
                    <a:pt x="217" y="24"/>
                    <a:pt x="217" y="24"/>
                    <a:pt x="217" y="24"/>
                  </a:cubicBezTo>
                  <a:cubicBezTo>
                    <a:pt x="219" y="24"/>
                    <a:pt x="221" y="23"/>
                    <a:pt x="222" y="23"/>
                  </a:cubicBezTo>
                  <a:cubicBezTo>
                    <a:pt x="222" y="22"/>
                    <a:pt x="223" y="20"/>
                    <a:pt x="223" y="19"/>
                  </a:cubicBezTo>
                  <a:cubicBezTo>
                    <a:pt x="221" y="19"/>
                    <a:pt x="219" y="19"/>
                    <a:pt x="217" y="20"/>
                  </a:cubicBezTo>
                  <a:cubicBezTo>
                    <a:pt x="215" y="18"/>
                    <a:pt x="212" y="13"/>
                    <a:pt x="210" y="8"/>
                  </a:cubicBezTo>
                  <a:cubicBezTo>
                    <a:pt x="207" y="3"/>
                    <a:pt x="204" y="0"/>
                    <a:pt x="20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5" name="Freeform 21264">
              <a:extLst>
                <a:ext uri="{FF2B5EF4-FFF2-40B4-BE49-F238E27FC236}">
                  <a16:creationId xmlns:a16="http://schemas.microsoft.com/office/drawing/2014/main" id="{0874DBB7-9502-4E4B-BF11-C3119A48B7B5}"/>
                </a:ext>
              </a:extLst>
            </p:cNvPr>
            <p:cNvSpPr>
              <a:spLocks noEditPoints="1"/>
            </p:cNvSpPr>
            <p:nvPr userDrawn="1"/>
          </p:nvSpPr>
          <p:spPr bwMode="auto">
            <a:xfrm>
              <a:off x="7519353" y="3136265"/>
              <a:ext cx="893763" cy="1074738"/>
            </a:xfrm>
            <a:custGeom>
              <a:avLst/>
              <a:gdLst>
                <a:gd name="T0" fmla="*/ 317 w 442"/>
                <a:gd name="T1" fmla="*/ 61 h 533"/>
                <a:gd name="T2" fmla="*/ 313 w 442"/>
                <a:gd name="T3" fmla="*/ 28 h 533"/>
                <a:gd name="T4" fmla="*/ 271 w 442"/>
                <a:gd name="T5" fmla="*/ 15 h 533"/>
                <a:gd name="T6" fmla="*/ 235 w 442"/>
                <a:gd name="T7" fmla="*/ 10 h 533"/>
                <a:gd name="T8" fmla="*/ 195 w 442"/>
                <a:gd name="T9" fmla="*/ 25 h 533"/>
                <a:gd name="T10" fmla="*/ 163 w 442"/>
                <a:gd name="T11" fmla="*/ 54 h 533"/>
                <a:gd name="T12" fmla="*/ 139 w 442"/>
                <a:gd name="T13" fmla="*/ 89 h 533"/>
                <a:gd name="T14" fmla="*/ 103 w 442"/>
                <a:gd name="T15" fmla="*/ 99 h 533"/>
                <a:gd name="T16" fmla="*/ 70 w 442"/>
                <a:gd name="T17" fmla="*/ 117 h 533"/>
                <a:gd name="T18" fmla="*/ 53 w 442"/>
                <a:gd name="T19" fmla="*/ 150 h 533"/>
                <a:gd name="T20" fmla="*/ 49 w 442"/>
                <a:gd name="T21" fmla="*/ 195 h 533"/>
                <a:gd name="T22" fmla="*/ 41 w 442"/>
                <a:gd name="T23" fmla="*/ 231 h 533"/>
                <a:gd name="T24" fmla="*/ 7 w 442"/>
                <a:gd name="T25" fmla="*/ 251 h 533"/>
                <a:gd name="T26" fmla="*/ 0 w 442"/>
                <a:gd name="T27" fmla="*/ 300 h 533"/>
                <a:gd name="T28" fmla="*/ 2 w 442"/>
                <a:gd name="T29" fmla="*/ 350 h 533"/>
                <a:gd name="T30" fmla="*/ 11 w 442"/>
                <a:gd name="T31" fmla="*/ 397 h 533"/>
                <a:gd name="T32" fmla="*/ 46 w 442"/>
                <a:gd name="T33" fmla="*/ 416 h 533"/>
                <a:gd name="T34" fmla="*/ 58 w 442"/>
                <a:gd name="T35" fmla="*/ 450 h 533"/>
                <a:gd name="T36" fmla="*/ 61 w 442"/>
                <a:gd name="T37" fmla="*/ 495 h 533"/>
                <a:gd name="T38" fmla="*/ 81 w 442"/>
                <a:gd name="T39" fmla="*/ 527 h 533"/>
                <a:gd name="T40" fmla="*/ 97 w 442"/>
                <a:gd name="T41" fmla="*/ 526 h 533"/>
                <a:gd name="T42" fmla="*/ 94 w 442"/>
                <a:gd name="T43" fmla="*/ 492 h 533"/>
                <a:gd name="T44" fmla="*/ 61 w 442"/>
                <a:gd name="T45" fmla="*/ 490 h 533"/>
                <a:gd name="T46" fmla="*/ 65 w 442"/>
                <a:gd name="T47" fmla="*/ 447 h 533"/>
                <a:gd name="T48" fmla="*/ 32 w 442"/>
                <a:gd name="T49" fmla="*/ 442 h 533"/>
                <a:gd name="T50" fmla="*/ 33 w 442"/>
                <a:gd name="T51" fmla="*/ 403 h 533"/>
                <a:gd name="T52" fmla="*/ 38 w 442"/>
                <a:gd name="T53" fmla="*/ 374 h 533"/>
                <a:gd name="T54" fmla="*/ 7 w 442"/>
                <a:gd name="T55" fmla="*/ 349 h 533"/>
                <a:gd name="T56" fmla="*/ 33 w 442"/>
                <a:gd name="T57" fmla="*/ 319 h 533"/>
                <a:gd name="T58" fmla="*/ 34 w 442"/>
                <a:gd name="T59" fmla="*/ 285 h 533"/>
                <a:gd name="T60" fmla="*/ 12 w 442"/>
                <a:gd name="T61" fmla="*/ 251 h 533"/>
                <a:gd name="T62" fmla="*/ 46 w 442"/>
                <a:gd name="T63" fmla="*/ 231 h 533"/>
                <a:gd name="T64" fmla="*/ 36 w 442"/>
                <a:gd name="T65" fmla="*/ 199 h 533"/>
                <a:gd name="T66" fmla="*/ 63 w 442"/>
                <a:gd name="T67" fmla="*/ 188 h 533"/>
                <a:gd name="T68" fmla="*/ 76 w 442"/>
                <a:gd name="T69" fmla="*/ 161 h 533"/>
                <a:gd name="T70" fmla="*/ 74 w 442"/>
                <a:gd name="T71" fmla="*/ 121 h 533"/>
                <a:gd name="T72" fmla="*/ 114 w 442"/>
                <a:gd name="T73" fmla="*/ 118 h 533"/>
                <a:gd name="T74" fmla="*/ 120 w 442"/>
                <a:gd name="T75" fmla="*/ 85 h 533"/>
                <a:gd name="T76" fmla="*/ 149 w 442"/>
                <a:gd name="T77" fmla="*/ 86 h 533"/>
                <a:gd name="T78" fmla="*/ 175 w 442"/>
                <a:gd name="T79" fmla="*/ 69 h 533"/>
                <a:gd name="T80" fmla="*/ 189 w 442"/>
                <a:gd name="T81" fmla="*/ 32 h 533"/>
                <a:gd name="T82" fmla="*/ 218 w 442"/>
                <a:gd name="T83" fmla="*/ 51 h 533"/>
                <a:gd name="T84" fmla="*/ 240 w 442"/>
                <a:gd name="T85" fmla="*/ 15 h 533"/>
                <a:gd name="T86" fmla="*/ 270 w 442"/>
                <a:gd name="T87" fmla="*/ 37 h 533"/>
                <a:gd name="T88" fmla="*/ 294 w 442"/>
                <a:gd name="T89" fmla="*/ 14 h 533"/>
                <a:gd name="T90" fmla="*/ 324 w 442"/>
                <a:gd name="T91" fmla="*/ 13 h 533"/>
                <a:gd name="T92" fmla="*/ 349 w 442"/>
                <a:gd name="T93" fmla="*/ 35 h 533"/>
                <a:gd name="T94" fmla="*/ 381 w 442"/>
                <a:gd name="T95" fmla="*/ 12 h 533"/>
                <a:gd name="T96" fmla="*/ 402 w 442"/>
                <a:gd name="T97" fmla="*/ 46 h 533"/>
                <a:gd name="T98" fmla="*/ 434 w 442"/>
                <a:gd name="T99" fmla="*/ 36 h 533"/>
                <a:gd name="T100" fmla="*/ 424 w 442"/>
                <a:gd name="T101" fmla="*/ 19 h 533"/>
                <a:gd name="T102" fmla="*/ 382 w 442"/>
                <a:gd name="T103" fmla="*/ 7 h 533"/>
                <a:gd name="T104" fmla="*/ 334 w 442"/>
                <a:gd name="T105"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2" h="533">
                  <a:moveTo>
                    <a:pt x="317" y="56"/>
                  </a:moveTo>
                  <a:cubicBezTo>
                    <a:pt x="238" y="56"/>
                    <a:pt x="164" y="91"/>
                    <a:pt x="115" y="152"/>
                  </a:cubicBezTo>
                  <a:cubicBezTo>
                    <a:pt x="36" y="249"/>
                    <a:pt x="39" y="385"/>
                    <a:pt x="113" y="478"/>
                  </a:cubicBezTo>
                  <a:cubicBezTo>
                    <a:pt x="114" y="476"/>
                    <a:pt x="114" y="474"/>
                    <a:pt x="115" y="472"/>
                  </a:cubicBezTo>
                  <a:cubicBezTo>
                    <a:pt x="44" y="381"/>
                    <a:pt x="43" y="249"/>
                    <a:pt x="118" y="156"/>
                  </a:cubicBezTo>
                  <a:cubicBezTo>
                    <a:pt x="167" y="96"/>
                    <a:pt x="239" y="61"/>
                    <a:pt x="317" y="61"/>
                  </a:cubicBezTo>
                  <a:cubicBezTo>
                    <a:pt x="340" y="61"/>
                    <a:pt x="364" y="65"/>
                    <a:pt x="386" y="71"/>
                  </a:cubicBezTo>
                  <a:cubicBezTo>
                    <a:pt x="388" y="70"/>
                    <a:pt x="390" y="69"/>
                    <a:pt x="392" y="67"/>
                  </a:cubicBezTo>
                  <a:cubicBezTo>
                    <a:pt x="367" y="60"/>
                    <a:pt x="342" y="56"/>
                    <a:pt x="317" y="56"/>
                  </a:cubicBezTo>
                  <a:moveTo>
                    <a:pt x="330" y="0"/>
                  </a:moveTo>
                  <a:cubicBezTo>
                    <a:pt x="324" y="0"/>
                    <a:pt x="320" y="4"/>
                    <a:pt x="319" y="12"/>
                  </a:cubicBezTo>
                  <a:cubicBezTo>
                    <a:pt x="317" y="18"/>
                    <a:pt x="315" y="25"/>
                    <a:pt x="313" y="28"/>
                  </a:cubicBezTo>
                  <a:cubicBezTo>
                    <a:pt x="310" y="28"/>
                    <a:pt x="308" y="28"/>
                    <a:pt x="306" y="28"/>
                  </a:cubicBezTo>
                  <a:cubicBezTo>
                    <a:pt x="303" y="25"/>
                    <a:pt x="300" y="19"/>
                    <a:pt x="299" y="12"/>
                  </a:cubicBezTo>
                  <a:cubicBezTo>
                    <a:pt x="297" y="5"/>
                    <a:pt x="293" y="1"/>
                    <a:pt x="287" y="1"/>
                  </a:cubicBezTo>
                  <a:cubicBezTo>
                    <a:pt x="286" y="1"/>
                    <a:pt x="285" y="1"/>
                    <a:pt x="284" y="2"/>
                  </a:cubicBezTo>
                  <a:cubicBezTo>
                    <a:pt x="283" y="2"/>
                    <a:pt x="283" y="2"/>
                    <a:pt x="283" y="2"/>
                  </a:cubicBezTo>
                  <a:cubicBezTo>
                    <a:pt x="279" y="2"/>
                    <a:pt x="272" y="3"/>
                    <a:pt x="271" y="15"/>
                  </a:cubicBezTo>
                  <a:cubicBezTo>
                    <a:pt x="271" y="22"/>
                    <a:pt x="269" y="28"/>
                    <a:pt x="268" y="32"/>
                  </a:cubicBezTo>
                  <a:cubicBezTo>
                    <a:pt x="267" y="32"/>
                    <a:pt x="267" y="32"/>
                    <a:pt x="267" y="32"/>
                  </a:cubicBezTo>
                  <a:cubicBezTo>
                    <a:pt x="265" y="32"/>
                    <a:pt x="263" y="33"/>
                    <a:pt x="261" y="33"/>
                  </a:cubicBezTo>
                  <a:cubicBezTo>
                    <a:pt x="258" y="31"/>
                    <a:pt x="254" y="25"/>
                    <a:pt x="251" y="19"/>
                  </a:cubicBezTo>
                  <a:cubicBezTo>
                    <a:pt x="249" y="13"/>
                    <a:pt x="245" y="10"/>
                    <a:pt x="240" y="10"/>
                  </a:cubicBezTo>
                  <a:cubicBezTo>
                    <a:pt x="239" y="10"/>
                    <a:pt x="237" y="10"/>
                    <a:pt x="235" y="10"/>
                  </a:cubicBezTo>
                  <a:cubicBezTo>
                    <a:pt x="234" y="11"/>
                    <a:pt x="234" y="11"/>
                    <a:pt x="234" y="11"/>
                  </a:cubicBezTo>
                  <a:cubicBezTo>
                    <a:pt x="230" y="12"/>
                    <a:pt x="223" y="14"/>
                    <a:pt x="225" y="26"/>
                  </a:cubicBezTo>
                  <a:cubicBezTo>
                    <a:pt x="225" y="33"/>
                    <a:pt x="225" y="39"/>
                    <a:pt x="224" y="43"/>
                  </a:cubicBezTo>
                  <a:cubicBezTo>
                    <a:pt x="221" y="44"/>
                    <a:pt x="219" y="45"/>
                    <a:pt x="217" y="45"/>
                  </a:cubicBezTo>
                  <a:cubicBezTo>
                    <a:pt x="214" y="43"/>
                    <a:pt x="209" y="38"/>
                    <a:pt x="206" y="33"/>
                  </a:cubicBezTo>
                  <a:cubicBezTo>
                    <a:pt x="202" y="28"/>
                    <a:pt x="199" y="25"/>
                    <a:pt x="195" y="25"/>
                  </a:cubicBezTo>
                  <a:cubicBezTo>
                    <a:pt x="192" y="25"/>
                    <a:pt x="190" y="26"/>
                    <a:pt x="189" y="27"/>
                  </a:cubicBezTo>
                  <a:cubicBezTo>
                    <a:pt x="187" y="27"/>
                    <a:pt x="187" y="27"/>
                    <a:pt x="187" y="27"/>
                  </a:cubicBezTo>
                  <a:cubicBezTo>
                    <a:pt x="184" y="29"/>
                    <a:pt x="177" y="32"/>
                    <a:pt x="180" y="44"/>
                  </a:cubicBezTo>
                  <a:cubicBezTo>
                    <a:pt x="182" y="50"/>
                    <a:pt x="183" y="57"/>
                    <a:pt x="182" y="61"/>
                  </a:cubicBezTo>
                  <a:cubicBezTo>
                    <a:pt x="180" y="62"/>
                    <a:pt x="178" y="63"/>
                    <a:pt x="176" y="64"/>
                  </a:cubicBezTo>
                  <a:cubicBezTo>
                    <a:pt x="172" y="63"/>
                    <a:pt x="167" y="59"/>
                    <a:pt x="163" y="54"/>
                  </a:cubicBezTo>
                  <a:cubicBezTo>
                    <a:pt x="159" y="50"/>
                    <a:pt x="156" y="48"/>
                    <a:pt x="152" y="48"/>
                  </a:cubicBezTo>
                  <a:cubicBezTo>
                    <a:pt x="149" y="48"/>
                    <a:pt x="147" y="49"/>
                    <a:pt x="145" y="50"/>
                  </a:cubicBezTo>
                  <a:cubicBezTo>
                    <a:pt x="144" y="51"/>
                    <a:pt x="144" y="51"/>
                    <a:pt x="144" y="51"/>
                  </a:cubicBezTo>
                  <a:cubicBezTo>
                    <a:pt x="140" y="53"/>
                    <a:pt x="134" y="57"/>
                    <a:pt x="139" y="68"/>
                  </a:cubicBezTo>
                  <a:cubicBezTo>
                    <a:pt x="142" y="75"/>
                    <a:pt x="144" y="81"/>
                    <a:pt x="144" y="85"/>
                  </a:cubicBezTo>
                  <a:cubicBezTo>
                    <a:pt x="142" y="86"/>
                    <a:pt x="140" y="88"/>
                    <a:pt x="139" y="89"/>
                  </a:cubicBezTo>
                  <a:cubicBezTo>
                    <a:pt x="138" y="89"/>
                    <a:pt x="138" y="89"/>
                    <a:pt x="138" y="89"/>
                  </a:cubicBezTo>
                  <a:cubicBezTo>
                    <a:pt x="134" y="88"/>
                    <a:pt x="129" y="85"/>
                    <a:pt x="123" y="81"/>
                  </a:cubicBezTo>
                  <a:cubicBezTo>
                    <a:pt x="120" y="78"/>
                    <a:pt x="117" y="76"/>
                    <a:pt x="114" y="76"/>
                  </a:cubicBezTo>
                  <a:cubicBezTo>
                    <a:pt x="110" y="76"/>
                    <a:pt x="107" y="79"/>
                    <a:pt x="105" y="81"/>
                  </a:cubicBezTo>
                  <a:cubicBezTo>
                    <a:pt x="105" y="81"/>
                    <a:pt x="105" y="81"/>
                    <a:pt x="105" y="81"/>
                  </a:cubicBezTo>
                  <a:cubicBezTo>
                    <a:pt x="101" y="84"/>
                    <a:pt x="96" y="89"/>
                    <a:pt x="103" y="99"/>
                  </a:cubicBezTo>
                  <a:cubicBezTo>
                    <a:pt x="107" y="105"/>
                    <a:pt x="109" y="111"/>
                    <a:pt x="110" y="115"/>
                  </a:cubicBezTo>
                  <a:cubicBezTo>
                    <a:pt x="108" y="117"/>
                    <a:pt x="107" y="118"/>
                    <a:pt x="105" y="120"/>
                  </a:cubicBezTo>
                  <a:cubicBezTo>
                    <a:pt x="101" y="120"/>
                    <a:pt x="95" y="117"/>
                    <a:pt x="89" y="114"/>
                  </a:cubicBezTo>
                  <a:cubicBezTo>
                    <a:pt x="86" y="112"/>
                    <a:pt x="83" y="111"/>
                    <a:pt x="80" y="111"/>
                  </a:cubicBezTo>
                  <a:cubicBezTo>
                    <a:pt x="75" y="111"/>
                    <a:pt x="73" y="114"/>
                    <a:pt x="71" y="116"/>
                  </a:cubicBezTo>
                  <a:cubicBezTo>
                    <a:pt x="70" y="117"/>
                    <a:pt x="70" y="117"/>
                    <a:pt x="70" y="117"/>
                  </a:cubicBezTo>
                  <a:cubicBezTo>
                    <a:pt x="68" y="121"/>
                    <a:pt x="63" y="126"/>
                    <a:pt x="72" y="135"/>
                  </a:cubicBezTo>
                  <a:cubicBezTo>
                    <a:pt x="76" y="140"/>
                    <a:pt x="80" y="146"/>
                    <a:pt x="81" y="150"/>
                  </a:cubicBezTo>
                  <a:cubicBezTo>
                    <a:pt x="79" y="152"/>
                    <a:pt x="78" y="154"/>
                    <a:pt x="77" y="156"/>
                  </a:cubicBezTo>
                  <a:cubicBezTo>
                    <a:pt x="77" y="156"/>
                    <a:pt x="76" y="156"/>
                    <a:pt x="76" y="156"/>
                  </a:cubicBezTo>
                  <a:cubicBezTo>
                    <a:pt x="72" y="156"/>
                    <a:pt x="66" y="154"/>
                    <a:pt x="60" y="152"/>
                  </a:cubicBezTo>
                  <a:cubicBezTo>
                    <a:pt x="57" y="151"/>
                    <a:pt x="55" y="150"/>
                    <a:pt x="53" y="150"/>
                  </a:cubicBezTo>
                  <a:cubicBezTo>
                    <a:pt x="47" y="150"/>
                    <a:pt x="44" y="155"/>
                    <a:pt x="43" y="157"/>
                  </a:cubicBezTo>
                  <a:cubicBezTo>
                    <a:pt x="42" y="158"/>
                    <a:pt x="42" y="158"/>
                    <a:pt x="42" y="158"/>
                  </a:cubicBezTo>
                  <a:cubicBezTo>
                    <a:pt x="40" y="162"/>
                    <a:pt x="36" y="168"/>
                    <a:pt x="46" y="176"/>
                  </a:cubicBezTo>
                  <a:cubicBezTo>
                    <a:pt x="52" y="180"/>
                    <a:pt x="56" y="185"/>
                    <a:pt x="58" y="189"/>
                  </a:cubicBezTo>
                  <a:cubicBezTo>
                    <a:pt x="57" y="191"/>
                    <a:pt x="56" y="193"/>
                    <a:pt x="55" y="195"/>
                  </a:cubicBezTo>
                  <a:cubicBezTo>
                    <a:pt x="53" y="195"/>
                    <a:pt x="51" y="195"/>
                    <a:pt x="49" y="195"/>
                  </a:cubicBezTo>
                  <a:cubicBezTo>
                    <a:pt x="46" y="195"/>
                    <a:pt x="42" y="195"/>
                    <a:pt x="38" y="194"/>
                  </a:cubicBezTo>
                  <a:cubicBezTo>
                    <a:pt x="36" y="194"/>
                    <a:pt x="34" y="193"/>
                    <a:pt x="32" y="193"/>
                  </a:cubicBezTo>
                  <a:cubicBezTo>
                    <a:pt x="25" y="193"/>
                    <a:pt x="23" y="199"/>
                    <a:pt x="21" y="202"/>
                  </a:cubicBezTo>
                  <a:cubicBezTo>
                    <a:pt x="21" y="203"/>
                    <a:pt x="21" y="203"/>
                    <a:pt x="21" y="203"/>
                  </a:cubicBezTo>
                  <a:cubicBezTo>
                    <a:pt x="19" y="207"/>
                    <a:pt x="17" y="214"/>
                    <a:pt x="28" y="220"/>
                  </a:cubicBezTo>
                  <a:cubicBezTo>
                    <a:pt x="33" y="223"/>
                    <a:pt x="39" y="227"/>
                    <a:pt x="41" y="231"/>
                  </a:cubicBezTo>
                  <a:cubicBezTo>
                    <a:pt x="40" y="233"/>
                    <a:pt x="40" y="235"/>
                    <a:pt x="39" y="237"/>
                  </a:cubicBezTo>
                  <a:cubicBezTo>
                    <a:pt x="36" y="239"/>
                    <a:pt x="31" y="239"/>
                    <a:pt x="25" y="239"/>
                  </a:cubicBezTo>
                  <a:cubicBezTo>
                    <a:pt x="24" y="239"/>
                    <a:pt x="23" y="239"/>
                    <a:pt x="22" y="239"/>
                  </a:cubicBezTo>
                  <a:cubicBezTo>
                    <a:pt x="21" y="239"/>
                    <a:pt x="20" y="239"/>
                    <a:pt x="20" y="239"/>
                  </a:cubicBezTo>
                  <a:cubicBezTo>
                    <a:pt x="9" y="239"/>
                    <a:pt x="8" y="246"/>
                    <a:pt x="7" y="250"/>
                  </a:cubicBezTo>
                  <a:cubicBezTo>
                    <a:pt x="7" y="251"/>
                    <a:pt x="7" y="251"/>
                    <a:pt x="7" y="251"/>
                  </a:cubicBezTo>
                  <a:cubicBezTo>
                    <a:pt x="6" y="255"/>
                    <a:pt x="4" y="262"/>
                    <a:pt x="16" y="266"/>
                  </a:cubicBezTo>
                  <a:cubicBezTo>
                    <a:pt x="22" y="269"/>
                    <a:pt x="28" y="272"/>
                    <a:pt x="31" y="275"/>
                  </a:cubicBezTo>
                  <a:cubicBezTo>
                    <a:pt x="31" y="277"/>
                    <a:pt x="30" y="279"/>
                    <a:pt x="30" y="282"/>
                  </a:cubicBezTo>
                  <a:cubicBezTo>
                    <a:pt x="27" y="284"/>
                    <a:pt x="20" y="286"/>
                    <a:pt x="14" y="286"/>
                  </a:cubicBezTo>
                  <a:cubicBezTo>
                    <a:pt x="1" y="287"/>
                    <a:pt x="1" y="295"/>
                    <a:pt x="1" y="299"/>
                  </a:cubicBezTo>
                  <a:cubicBezTo>
                    <a:pt x="0" y="300"/>
                    <a:pt x="0" y="300"/>
                    <a:pt x="0" y="300"/>
                  </a:cubicBezTo>
                  <a:cubicBezTo>
                    <a:pt x="0" y="304"/>
                    <a:pt x="0" y="312"/>
                    <a:pt x="12" y="314"/>
                  </a:cubicBezTo>
                  <a:cubicBezTo>
                    <a:pt x="19" y="315"/>
                    <a:pt x="25" y="318"/>
                    <a:pt x="28" y="320"/>
                  </a:cubicBezTo>
                  <a:cubicBezTo>
                    <a:pt x="28" y="322"/>
                    <a:pt x="28" y="325"/>
                    <a:pt x="28" y="327"/>
                  </a:cubicBezTo>
                  <a:cubicBezTo>
                    <a:pt x="25" y="330"/>
                    <a:pt x="19" y="332"/>
                    <a:pt x="13" y="334"/>
                  </a:cubicBezTo>
                  <a:cubicBezTo>
                    <a:pt x="0" y="337"/>
                    <a:pt x="1" y="344"/>
                    <a:pt x="2" y="348"/>
                  </a:cubicBezTo>
                  <a:cubicBezTo>
                    <a:pt x="2" y="350"/>
                    <a:pt x="2" y="350"/>
                    <a:pt x="2" y="350"/>
                  </a:cubicBezTo>
                  <a:cubicBezTo>
                    <a:pt x="2" y="354"/>
                    <a:pt x="3" y="361"/>
                    <a:pt x="15" y="362"/>
                  </a:cubicBezTo>
                  <a:cubicBezTo>
                    <a:pt x="22" y="362"/>
                    <a:pt x="29" y="363"/>
                    <a:pt x="32" y="365"/>
                  </a:cubicBezTo>
                  <a:cubicBezTo>
                    <a:pt x="32" y="365"/>
                    <a:pt x="32" y="365"/>
                    <a:pt x="32" y="365"/>
                  </a:cubicBezTo>
                  <a:cubicBezTo>
                    <a:pt x="33" y="368"/>
                    <a:pt x="33" y="370"/>
                    <a:pt x="33" y="372"/>
                  </a:cubicBezTo>
                  <a:cubicBezTo>
                    <a:pt x="31" y="375"/>
                    <a:pt x="25" y="379"/>
                    <a:pt x="19" y="381"/>
                  </a:cubicBezTo>
                  <a:cubicBezTo>
                    <a:pt x="7" y="386"/>
                    <a:pt x="10" y="393"/>
                    <a:pt x="11" y="397"/>
                  </a:cubicBezTo>
                  <a:cubicBezTo>
                    <a:pt x="11" y="398"/>
                    <a:pt x="11" y="398"/>
                    <a:pt x="11" y="398"/>
                  </a:cubicBezTo>
                  <a:cubicBezTo>
                    <a:pt x="12" y="402"/>
                    <a:pt x="13" y="408"/>
                    <a:pt x="23" y="408"/>
                  </a:cubicBezTo>
                  <a:cubicBezTo>
                    <a:pt x="24" y="408"/>
                    <a:pt x="25" y="408"/>
                    <a:pt x="26" y="408"/>
                  </a:cubicBezTo>
                  <a:cubicBezTo>
                    <a:pt x="28" y="408"/>
                    <a:pt x="31" y="408"/>
                    <a:pt x="33" y="408"/>
                  </a:cubicBezTo>
                  <a:cubicBezTo>
                    <a:pt x="37" y="408"/>
                    <a:pt x="41" y="408"/>
                    <a:pt x="43" y="409"/>
                  </a:cubicBezTo>
                  <a:cubicBezTo>
                    <a:pt x="44" y="411"/>
                    <a:pt x="45" y="413"/>
                    <a:pt x="46" y="416"/>
                  </a:cubicBezTo>
                  <a:cubicBezTo>
                    <a:pt x="43" y="419"/>
                    <a:pt x="39" y="423"/>
                    <a:pt x="33" y="427"/>
                  </a:cubicBezTo>
                  <a:cubicBezTo>
                    <a:pt x="22" y="434"/>
                    <a:pt x="25" y="441"/>
                    <a:pt x="27" y="444"/>
                  </a:cubicBezTo>
                  <a:cubicBezTo>
                    <a:pt x="28" y="445"/>
                    <a:pt x="28" y="445"/>
                    <a:pt x="28" y="445"/>
                  </a:cubicBezTo>
                  <a:cubicBezTo>
                    <a:pt x="29" y="448"/>
                    <a:pt x="31" y="453"/>
                    <a:pt x="38" y="453"/>
                  </a:cubicBezTo>
                  <a:cubicBezTo>
                    <a:pt x="40" y="453"/>
                    <a:pt x="42" y="453"/>
                    <a:pt x="44" y="452"/>
                  </a:cubicBezTo>
                  <a:cubicBezTo>
                    <a:pt x="49" y="451"/>
                    <a:pt x="54" y="450"/>
                    <a:pt x="58" y="450"/>
                  </a:cubicBezTo>
                  <a:cubicBezTo>
                    <a:pt x="59" y="450"/>
                    <a:pt x="60" y="450"/>
                    <a:pt x="61" y="451"/>
                  </a:cubicBezTo>
                  <a:cubicBezTo>
                    <a:pt x="62" y="453"/>
                    <a:pt x="63" y="455"/>
                    <a:pt x="64" y="457"/>
                  </a:cubicBezTo>
                  <a:cubicBezTo>
                    <a:pt x="63" y="460"/>
                    <a:pt x="59" y="466"/>
                    <a:pt x="54" y="470"/>
                  </a:cubicBezTo>
                  <a:cubicBezTo>
                    <a:pt x="44" y="478"/>
                    <a:pt x="48" y="485"/>
                    <a:pt x="51" y="488"/>
                  </a:cubicBezTo>
                  <a:cubicBezTo>
                    <a:pt x="51" y="489"/>
                    <a:pt x="51" y="489"/>
                    <a:pt x="51" y="489"/>
                  </a:cubicBezTo>
                  <a:cubicBezTo>
                    <a:pt x="53" y="491"/>
                    <a:pt x="55" y="495"/>
                    <a:pt x="61" y="495"/>
                  </a:cubicBezTo>
                  <a:cubicBezTo>
                    <a:pt x="63" y="495"/>
                    <a:pt x="66" y="495"/>
                    <a:pt x="69" y="493"/>
                  </a:cubicBezTo>
                  <a:cubicBezTo>
                    <a:pt x="75" y="491"/>
                    <a:pt x="81" y="489"/>
                    <a:pt x="85" y="489"/>
                  </a:cubicBezTo>
                  <a:cubicBezTo>
                    <a:pt x="87" y="491"/>
                    <a:pt x="88" y="492"/>
                    <a:pt x="89" y="494"/>
                  </a:cubicBezTo>
                  <a:cubicBezTo>
                    <a:pt x="90" y="494"/>
                    <a:pt x="90" y="494"/>
                    <a:pt x="90" y="494"/>
                  </a:cubicBezTo>
                  <a:cubicBezTo>
                    <a:pt x="89" y="498"/>
                    <a:pt x="85" y="504"/>
                    <a:pt x="81" y="509"/>
                  </a:cubicBezTo>
                  <a:cubicBezTo>
                    <a:pt x="73" y="519"/>
                    <a:pt x="78" y="524"/>
                    <a:pt x="81" y="527"/>
                  </a:cubicBezTo>
                  <a:cubicBezTo>
                    <a:pt x="82" y="528"/>
                    <a:pt x="82" y="528"/>
                    <a:pt x="82" y="528"/>
                  </a:cubicBezTo>
                  <a:cubicBezTo>
                    <a:pt x="83" y="530"/>
                    <a:pt x="86" y="533"/>
                    <a:pt x="90" y="533"/>
                  </a:cubicBezTo>
                  <a:cubicBezTo>
                    <a:pt x="93" y="533"/>
                    <a:pt x="96" y="532"/>
                    <a:pt x="99" y="530"/>
                  </a:cubicBezTo>
                  <a:cubicBezTo>
                    <a:pt x="101" y="529"/>
                    <a:pt x="103" y="528"/>
                    <a:pt x="104" y="527"/>
                  </a:cubicBezTo>
                  <a:cubicBezTo>
                    <a:pt x="104" y="525"/>
                    <a:pt x="105" y="523"/>
                    <a:pt x="105" y="521"/>
                  </a:cubicBezTo>
                  <a:cubicBezTo>
                    <a:pt x="102" y="522"/>
                    <a:pt x="99" y="524"/>
                    <a:pt x="97" y="526"/>
                  </a:cubicBezTo>
                  <a:cubicBezTo>
                    <a:pt x="94" y="527"/>
                    <a:pt x="92" y="528"/>
                    <a:pt x="90" y="528"/>
                  </a:cubicBezTo>
                  <a:cubicBezTo>
                    <a:pt x="88" y="528"/>
                    <a:pt x="87" y="527"/>
                    <a:pt x="85" y="525"/>
                  </a:cubicBezTo>
                  <a:cubicBezTo>
                    <a:pt x="84" y="524"/>
                    <a:pt x="84" y="524"/>
                    <a:pt x="84" y="524"/>
                  </a:cubicBezTo>
                  <a:cubicBezTo>
                    <a:pt x="82" y="521"/>
                    <a:pt x="80" y="519"/>
                    <a:pt x="85" y="512"/>
                  </a:cubicBezTo>
                  <a:cubicBezTo>
                    <a:pt x="89" y="507"/>
                    <a:pt x="94" y="500"/>
                    <a:pt x="95" y="494"/>
                  </a:cubicBezTo>
                  <a:cubicBezTo>
                    <a:pt x="95" y="494"/>
                    <a:pt x="95" y="493"/>
                    <a:pt x="94" y="492"/>
                  </a:cubicBezTo>
                  <a:cubicBezTo>
                    <a:pt x="93" y="491"/>
                    <a:pt x="93" y="491"/>
                    <a:pt x="93" y="491"/>
                  </a:cubicBezTo>
                  <a:cubicBezTo>
                    <a:pt x="92" y="489"/>
                    <a:pt x="90" y="487"/>
                    <a:pt x="89" y="485"/>
                  </a:cubicBezTo>
                  <a:cubicBezTo>
                    <a:pt x="88" y="484"/>
                    <a:pt x="87" y="484"/>
                    <a:pt x="87" y="484"/>
                  </a:cubicBezTo>
                  <a:cubicBezTo>
                    <a:pt x="86" y="484"/>
                    <a:pt x="86" y="484"/>
                    <a:pt x="85" y="484"/>
                  </a:cubicBezTo>
                  <a:cubicBezTo>
                    <a:pt x="81" y="484"/>
                    <a:pt x="74" y="486"/>
                    <a:pt x="67" y="489"/>
                  </a:cubicBezTo>
                  <a:cubicBezTo>
                    <a:pt x="64" y="490"/>
                    <a:pt x="62" y="490"/>
                    <a:pt x="61" y="490"/>
                  </a:cubicBezTo>
                  <a:cubicBezTo>
                    <a:pt x="58" y="490"/>
                    <a:pt x="57" y="489"/>
                    <a:pt x="56" y="486"/>
                  </a:cubicBezTo>
                  <a:cubicBezTo>
                    <a:pt x="55" y="485"/>
                    <a:pt x="55" y="485"/>
                    <a:pt x="55" y="485"/>
                  </a:cubicBezTo>
                  <a:cubicBezTo>
                    <a:pt x="53" y="482"/>
                    <a:pt x="51" y="479"/>
                    <a:pt x="57" y="474"/>
                  </a:cubicBezTo>
                  <a:cubicBezTo>
                    <a:pt x="62" y="469"/>
                    <a:pt x="68" y="463"/>
                    <a:pt x="70" y="457"/>
                  </a:cubicBezTo>
                  <a:cubicBezTo>
                    <a:pt x="70" y="457"/>
                    <a:pt x="70" y="456"/>
                    <a:pt x="69" y="455"/>
                  </a:cubicBezTo>
                  <a:cubicBezTo>
                    <a:pt x="68" y="453"/>
                    <a:pt x="66" y="450"/>
                    <a:pt x="65" y="447"/>
                  </a:cubicBezTo>
                  <a:cubicBezTo>
                    <a:pt x="65" y="447"/>
                    <a:pt x="64" y="446"/>
                    <a:pt x="63" y="446"/>
                  </a:cubicBezTo>
                  <a:cubicBezTo>
                    <a:pt x="62" y="446"/>
                    <a:pt x="60" y="445"/>
                    <a:pt x="58" y="445"/>
                  </a:cubicBezTo>
                  <a:cubicBezTo>
                    <a:pt x="53" y="445"/>
                    <a:pt x="48" y="446"/>
                    <a:pt x="43" y="448"/>
                  </a:cubicBezTo>
                  <a:cubicBezTo>
                    <a:pt x="41" y="448"/>
                    <a:pt x="39" y="448"/>
                    <a:pt x="38" y="448"/>
                  </a:cubicBezTo>
                  <a:cubicBezTo>
                    <a:pt x="34" y="448"/>
                    <a:pt x="33" y="446"/>
                    <a:pt x="32" y="443"/>
                  </a:cubicBezTo>
                  <a:cubicBezTo>
                    <a:pt x="32" y="442"/>
                    <a:pt x="32" y="442"/>
                    <a:pt x="32" y="442"/>
                  </a:cubicBezTo>
                  <a:cubicBezTo>
                    <a:pt x="30" y="438"/>
                    <a:pt x="29" y="436"/>
                    <a:pt x="36" y="431"/>
                  </a:cubicBezTo>
                  <a:cubicBezTo>
                    <a:pt x="41" y="428"/>
                    <a:pt x="48" y="422"/>
                    <a:pt x="51" y="417"/>
                  </a:cubicBezTo>
                  <a:cubicBezTo>
                    <a:pt x="51" y="416"/>
                    <a:pt x="51" y="416"/>
                    <a:pt x="51" y="415"/>
                  </a:cubicBezTo>
                  <a:cubicBezTo>
                    <a:pt x="50" y="412"/>
                    <a:pt x="49" y="409"/>
                    <a:pt x="48" y="406"/>
                  </a:cubicBezTo>
                  <a:cubicBezTo>
                    <a:pt x="47" y="406"/>
                    <a:pt x="47" y="405"/>
                    <a:pt x="46" y="405"/>
                  </a:cubicBezTo>
                  <a:cubicBezTo>
                    <a:pt x="42" y="403"/>
                    <a:pt x="37" y="403"/>
                    <a:pt x="33" y="403"/>
                  </a:cubicBezTo>
                  <a:cubicBezTo>
                    <a:pt x="30" y="403"/>
                    <a:pt x="28" y="403"/>
                    <a:pt x="26" y="403"/>
                  </a:cubicBezTo>
                  <a:cubicBezTo>
                    <a:pt x="25" y="403"/>
                    <a:pt x="24" y="403"/>
                    <a:pt x="23" y="403"/>
                  </a:cubicBezTo>
                  <a:cubicBezTo>
                    <a:pt x="17" y="403"/>
                    <a:pt x="17" y="401"/>
                    <a:pt x="16" y="397"/>
                  </a:cubicBezTo>
                  <a:cubicBezTo>
                    <a:pt x="15" y="396"/>
                    <a:pt x="15" y="396"/>
                    <a:pt x="15" y="396"/>
                  </a:cubicBezTo>
                  <a:cubicBezTo>
                    <a:pt x="14" y="392"/>
                    <a:pt x="13" y="389"/>
                    <a:pt x="21" y="386"/>
                  </a:cubicBezTo>
                  <a:cubicBezTo>
                    <a:pt x="27" y="383"/>
                    <a:pt x="35" y="379"/>
                    <a:pt x="38" y="374"/>
                  </a:cubicBezTo>
                  <a:cubicBezTo>
                    <a:pt x="38" y="374"/>
                    <a:pt x="39" y="373"/>
                    <a:pt x="39" y="372"/>
                  </a:cubicBezTo>
                  <a:cubicBezTo>
                    <a:pt x="38" y="370"/>
                    <a:pt x="38" y="367"/>
                    <a:pt x="37" y="364"/>
                  </a:cubicBezTo>
                  <a:cubicBezTo>
                    <a:pt x="37" y="363"/>
                    <a:pt x="37" y="363"/>
                    <a:pt x="37" y="363"/>
                  </a:cubicBezTo>
                  <a:cubicBezTo>
                    <a:pt x="37" y="362"/>
                    <a:pt x="36" y="362"/>
                    <a:pt x="36" y="361"/>
                  </a:cubicBezTo>
                  <a:cubicBezTo>
                    <a:pt x="31" y="358"/>
                    <a:pt x="22" y="357"/>
                    <a:pt x="16" y="356"/>
                  </a:cubicBezTo>
                  <a:cubicBezTo>
                    <a:pt x="7" y="356"/>
                    <a:pt x="7" y="353"/>
                    <a:pt x="7" y="349"/>
                  </a:cubicBezTo>
                  <a:cubicBezTo>
                    <a:pt x="7" y="348"/>
                    <a:pt x="7" y="348"/>
                    <a:pt x="7" y="348"/>
                  </a:cubicBezTo>
                  <a:cubicBezTo>
                    <a:pt x="6" y="344"/>
                    <a:pt x="6" y="341"/>
                    <a:pt x="14" y="339"/>
                  </a:cubicBezTo>
                  <a:cubicBezTo>
                    <a:pt x="20" y="337"/>
                    <a:pt x="29" y="334"/>
                    <a:pt x="33" y="330"/>
                  </a:cubicBezTo>
                  <a:cubicBezTo>
                    <a:pt x="33" y="329"/>
                    <a:pt x="33" y="329"/>
                    <a:pt x="33" y="328"/>
                  </a:cubicBezTo>
                  <a:cubicBezTo>
                    <a:pt x="33" y="328"/>
                    <a:pt x="33" y="328"/>
                    <a:pt x="33" y="328"/>
                  </a:cubicBezTo>
                  <a:cubicBezTo>
                    <a:pt x="33" y="325"/>
                    <a:pt x="33" y="322"/>
                    <a:pt x="33" y="319"/>
                  </a:cubicBezTo>
                  <a:cubicBezTo>
                    <a:pt x="33" y="318"/>
                    <a:pt x="33" y="317"/>
                    <a:pt x="32" y="317"/>
                  </a:cubicBezTo>
                  <a:cubicBezTo>
                    <a:pt x="28" y="313"/>
                    <a:pt x="19" y="310"/>
                    <a:pt x="13" y="309"/>
                  </a:cubicBezTo>
                  <a:cubicBezTo>
                    <a:pt x="5" y="307"/>
                    <a:pt x="5" y="304"/>
                    <a:pt x="5" y="300"/>
                  </a:cubicBezTo>
                  <a:cubicBezTo>
                    <a:pt x="6" y="299"/>
                    <a:pt x="6" y="299"/>
                    <a:pt x="6" y="299"/>
                  </a:cubicBezTo>
                  <a:cubicBezTo>
                    <a:pt x="6" y="295"/>
                    <a:pt x="6" y="292"/>
                    <a:pt x="14" y="291"/>
                  </a:cubicBezTo>
                  <a:cubicBezTo>
                    <a:pt x="21" y="291"/>
                    <a:pt x="29" y="289"/>
                    <a:pt x="34" y="285"/>
                  </a:cubicBezTo>
                  <a:cubicBezTo>
                    <a:pt x="34" y="285"/>
                    <a:pt x="35" y="284"/>
                    <a:pt x="35" y="284"/>
                  </a:cubicBezTo>
                  <a:cubicBezTo>
                    <a:pt x="35" y="280"/>
                    <a:pt x="36" y="277"/>
                    <a:pt x="36" y="274"/>
                  </a:cubicBezTo>
                  <a:cubicBezTo>
                    <a:pt x="36" y="274"/>
                    <a:pt x="36" y="273"/>
                    <a:pt x="36" y="272"/>
                  </a:cubicBezTo>
                  <a:cubicBezTo>
                    <a:pt x="32" y="268"/>
                    <a:pt x="24" y="264"/>
                    <a:pt x="18" y="262"/>
                  </a:cubicBezTo>
                  <a:cubicBezTo>
                    <a:pt x="10" y="259"/>
                    <a:pt x="11" y="256"/>
                    <a:pt x="12" y="252"/>
                  </a:cubicBezTo>
                  <a:cubicBezTo>
                    <a:pt x="12" y="251"/>
                    <a:pt x="12" y="251"/>
                    <a:pt x="12" y="251"/>
                  </a:cubicBezTo>
                  <a:cubicBezTo>
                    <a:pt x="13" y="247"/>
                    <a:pt x="13" y="244"/>
                    <a:pt x="20" y="244"/>
                  </a:cubicBezTo>
                  <a:cubicBezTo>
                    <a:pt x="20" y="244"/>
                    <a:pt x="21" y="244"/>
                    <a:pt x="22" y="244"/>
                  </a:cubicBezTo>
                  <a:cubicBezTo>
                    <a:pt x="23" y="244"/>
                    <a:pt x="24" y="244"/>
                    <a:pt x="25" y="244"/>
                  </a:cubicBezTo>
                  <a:cubicBezTo>
                    <a:pt x="28" y="244"/>
                    <a:pt x="37" y="244"/>
                    <a:pt x="42" y="242"/>
                  </a:cubicBezTo>
                  <a:cubicBezTo>
                    <a:pt x="43" y="241"/>
                    <a:pt x="43" y="241"/>
                    <a:pt x="43" y="240"/>
                  </a:cubicBezTo>
                  <a:cubicBezTo>
                    <a:pt x="44" y="237"/>
                    <a:pt x="45" y="234"/>
                    <a:pt x="46" y="231"/>
                  </a:cubicBezTo>
                  <a:cubicBezTo>
                    <a:pt x="46" y="230"/>
                    <a:pt x="46" y="230"/>
                    <a:pt x="46" y="229"/>
                  </a:cubicBezTo>
                  <a:cubicBezTo>
                    <a:pt x="43" y="224"/>
                    <a:pt x="36" y="219"/>
                    <a:pt x="30" y="216"/>
                  </a:cubicBezTo>
                  <a:cubicBezTo>
                    <a:pt x="23" y="212"/>
                    <a:pt x="24" y="209"/>
                    <a:pt x="26" y="205"/>
                  </a:cubicBezTo>
                  <a:cubicBezTo>
                    <a:pt x="26" y="204"/>
                    <a:pt x="26" y="204"/>
                    <a:pt x="26" y="204"/>
                  </a:cubicBezTo>
                  <a:cubicBezTo>
                    <a:pt x="27" y="200"/>
                    <a:pt x="28" y="198"/>
                    <a:pt x="32" y="198"/>
                  </a:cubicBezTo>
                  <a:cubicBezTo>
                    <a:pt x="33" y="198"/>
                    <a:pt x="35" y="199"/>
                    <a:pt x="36" y="199"/>
                  </a:cubicBezTo>
                  <a:cubicBezTo>
                    <a:pt x="41" y="200"/>
                    <a:pt x="45" y="200"/>
                    <a:pt x="49" y="200"/>
                  </a:cubicBezTo>
                  <a:cubicBezTo>
                    <a:pt x="52" y="200"/>
                    <a:pt x="55" y="200"/>
                    <a:pt x="57" y="200"/>
                  </a:cubicBezTo>
                  <a:cubicBezTo>
                    <a:pt x="58" y="199"/>
                    <a:pt x="58" y="199"/>
                    <a:pt x="59" y="198"/>
                  </a:cubicBezTo>
                  <a:cubicBezTo>
                    <a:pt x="60" y="196"/>
                    <a:pt x="61" y="193"/>
                    <a:pt x="62" y="191"/>
                  </a:cubicBezTo>
                  <a:cubicBezTo>
                    <a:pt x="63" y="190"/>
                    <a:pt x="63" y="190"/>
                    <a:pt x="63" y="190"/>
                  </a:cubicBezTo>
                  <a:cubicBezTo>
                    <a:pt x="63" y="189"/>
                    <a:pt x="63" y="188"/>
                    <a:pt x="63" y="188"/>
                  </a:cubicBezTo>
                  <a:cubicBezTo>
                    <a:pt x="61" y="183"/>
                    <a:pt x="55" y="176"/>
                    <a:pt x="49" y="172"/>
                  </a:cubicBezTo>
                  <a:cubicBezTo>
                    <a:pt x="43" y="167"/>
                    <a:pt x="45" y="164"/>
                    <a:pt x="47" y="161"/>
                  </a:cubicBezTo>
                  <a:cubicBezTo>
                    <a:pt x="47" y="160"/>
                    <a:pt x="47" y="160"/>
                    <a:pt x="47" y="160"/>
                  </a:cubicBezTo>
                  <a:cubicBezTo>
                    <a:pt x="49" y="157"/>
                    <a:pt x="50" y="155"/>
                    <a:pt x="53" y="155"/>
                  </a:cubicBezTo>
                  <a:cubicBezTo>
                    <a:pt x="54" y="155"/>
                    <a:pt x="56" y="156"/>
                    <a:pt x="58" y="157"/>
                  </a:cubicBezTo>
                  <a:cubicBezTo>
                    <a:pt x="65" y="159"/>
                    <a:pt x="71" y="161"/>
                    <a:pt x="76" y="161"/>
                  </a:cubicBezTo>
                  <a:cubicBezTo>
                    <a:pt x="77" y="161"/>
                    <a:pt x="78" y="161"/>
                    <a:pt x="79" y="160"/>
                  </a:cubicBezTo>
                  <a:cubicBezTo>
                    <a:pt x="79" y="160"/>
                    <a:pt x="80" y="160"/>
                    <a:pt x="80" y="159"/>
                  </a:cubicBezTo>
                  <a:cubicBezTo>
                    <a:pt x="82" y="157"/>
                    <a:pt x="84" y="154"/>
                    <a:pt x="86" y="152"/>
                  </a:cubicBezTo>
                  <a:cubicBezTo>
                    <a:pt x="86" y="151"/>
                    <a:pt x="86" y="150"/>
                    <a:pt x="86" y="150"/>
                  </a:cubicBezTo>
                  <a:cubicBezTo>
                    <a:pt x="85" y="144"/>
                    <a:pt x="80" y="137"/>
                    <a:pt x="75" y="132"/>
                  </a:cubicBezTo>
                  <a:cubicBezTo>
                    <a:pt x="70" y="126"/>
                    <a:pt x="72" y="124"/>
                    <a:pt x="74" y="121"/>
                  </a:cubicBezTo>
                  <a:cubicBezTo>
                    <a:pt x="75" y="120"/>
                    <a:pt x="75" y="120"/>
                    <a:pt x="75" y="120"/>
                  </a:cubicBezTo>
                  <a:cubicBezTo>
                    <a:pt x="77" y="117"/>
                    <a:pt x="78" y="116"/>
                    <a:pt x="80" y="116"/>
                  </a:cubicBezTo>
                  <a:cubicBezTo>
                    <a:pt x="82" y="116"/>
                    <a:pt x="84" y="117"/>
                    <a:pt x="86" y="118"/>
                  </a:cubicBezTo>
                  <a:cubicBezTo>
                    <a:pt x="92" y="122"/>
                    <a:pt x="100" y="125"/>
                    <a:pt x="106" y="125"/>
                  </a:cubicBezTo>
                  <a:cubicBezTo>
                    <a:pt x="107" y="125"/>
                    <a:pt x="107" y="125"/>
                    <a:pt x="108" y="124"/>
                  </a:cubicBezTo>
                  <a:cubicBezTo>
                    <a:pt x="110" y="122"/>
                    <a:pt x="112" y="120"/>
                    <a:pt x="114" y="118"/>
                  </a:cubicBezTo>
                  <a:cubicBezTo>
                    <a:pt x="115" y="117"/>
                    <a:pt x="115" y="116"/>
                    <a:pt x="115" y="116"/>
                  </a:cubicBezTo>
                  <a:cubicBezTo>
                    <a:pt x="115" y="110"/>
                    <a:pt x="111" y="102"/>
                    <a:pt x="107" y="96"/>
                  </a:cubicBezTo>
                  <a:cubicBezTo>
                    <a:pt x="102" y="90"/>
                    <a:pt x="105" y="88"/>
                    <a:pt x="108" y="85"/>
                  </a:cubicBezTo>
                  <a:cubicBezTo>
                    <a:pt x="109" y="84"/>
                    <a:pt x="109" y="84"/>
                    <a:pt x="109" y="84"/>
                  </a:cubicBezTo>
                  <a:cubicBezTo>
                    <a:pt x="110" y="83"/>
                    <a:pt x="112" y="81"/>
                    <a:pt x="114" y="81"/>
                  </a:cubicBezTo>
                  <a:cubicBezTo>
                    <a:pt x="115" y="81"/>
                    <a:pt x="118" y="83"/>
                    <a:pt x="120" y="85"/>
                  </a:cubicBezTo>
                  <a:cubicBezTo>
                    <a:pt x="125" y="89"/>
                    <a:pt x="133" y="94"/>
                    <a:pt x="138" y="95"/>
                  </a:cubicBezTo>
                  <a:cubicBezTo>
                    <a:pt x="139" y="95"/>
                    <a:pt x="139" y="95"/>
                    <a:pt x="139" y="95"/>
                  </a:cubicBezTo>
                  <a:cubicBezTo>
                    <a:pt x="139" y="95"/>
                    <a:pt x="140" y="94"/>
                    <a:pt x="140" y="94"/>
                  </a:cubicBezTo>
                  <a:cubicBezTo>
                    <a:pt x="142" y="93"/>
                    <a:pt x="142" y="93"/>
                    <a:pt x="142" y="93"/>
                  </a:cubicBezTo>
                  <a:cubicBezTo>
                    <a:pt x="144" y="91"/>
                    <a:pt x="146" y="90"/>
                    <a:pt x="148" y="88"/>
                  </a:cubicBezTo>
                  <a:cubicBezTo>
                    <a:pt x="148" y="88"/>
                    <a:pt x="149" y="87"/>
                    <a:pt x="149" y="86"/>
                  </a:cubicBezTo>
                  <a:cubicBezTo>
                    <a:pt x="149" y="81"/>
                    <a:pt x="147" y="72"/>
                    <a:pt x="144" y="66"/>
                  </a:cubicBezTo>
                  <a:cubicBezTo>
                    <a:pt x="140" y="59"/>
                    <a:pt x="143" y="57"/>
                    <a:pt x="147" y="55"/>
                  </a:cubicBezTo>
                  <a:cubicBezTo>
                    <a:pt x="148" y="55"/>
                    <a:pt x="148" y="55"/>
                    <a:pt x="148" y="55"/>
                  </a:cubicBezTo>
                  <a:cubicBezTo>
                    <a:pt x="149" y="54"/>
                    <a:pt x="151" y="53"/>
                    <a:pt x="152" y="53"/>
                  </a:cubicBezTo>
                  <a:cubicBezTo>
                    <a:pt x="154" y="53"/>
                    <a:pt x="156" y="54"/>
                    <a:pt x="159" y="57"/>
                  </a:cubicBezTo>
                  <a:cubicBezTo>
                    <a:pt x="163" y="62"/>
                    <a:pt x="170" y="68"/>
                    <a:pt x="175" y="69"/>
                  </a:cubicBezTo>
                  <a:cubicBezTo>
                    <a:pt x="176" y="69"/>
                    <a:pt x="176" y="70"/>
                    <a:pt x="176" y="70"/>
                  </a:cubicBezTo>
                  <a:cubicBezTo>
                    <a:pt x="177" y="70"/>
                    <a:pt x="177" y="69"/>
                    <a:pt x="177" y="69"/>
                  </a:cubicBezTo>
                  <a:cubicBezTo>
                    <a:pt x="180" y="68"/>
                    <a:pt x="183" y="66"/>
                    <a:pt x="185" y="65"/>
                  </a:cubicBezTo>
                  <a:cubicBezTo>
                    <a:pt x="186" y="64"/>
                    <a:pt x="187" y="64"/>
                    <a:pt x="187" y="63"/>
                  </a:cubicBezTo>
                  <a:cubicBezTo>
                    <a:pt x="188" y="58"/>
                    <a:pt x="187" y="49"/>
                    <a:pt x="185" y="42"/>
                  </a:cubicBezTo>
                  <a:cubicBezTo>
                    <a:pt x="183" y="35"/>
                    <a:pt x="186" y="34"/>
                    <a:pt x="189" y="32"/>
                  </a:cubicBezTo>
                  <a:cubicBezTo>
                    <a:pt x="191" y="31"/>
                    <a:pt x="191" y="31"/>
                    <a:pt x="191" y="31"/>
                  </a:cubicBezTo>
                  <a:cubicBezTo>
                    <a:pt x="192" y="31"/>
                    <a:pt x="194" y="30"/>
                    <a:pt x="195" y="30"/>
                  </a:cubicBezTo>
                  <a:cubicBezTo>
                    <a:pt x="196" y="30"/>
                    <a:pt x="198" y="30"/>
                    <a:pt x="201" y="35"/>
                  </a:cubicBezTo>
                  <a:cubicBezTo>
                    <a:pt x="205" y="41"/>
                    <a:pt x="211" y="48"/>
                    <a:pt x="216" y="50"/>
                  </a:cubicBezTo>
                  <a:cubicBezTo>
                    <a:pt x="216" y="51"/>
                    <a:pt x="216" y="51"/>
                    <a:pt x="217" y="51"/>
                  </a:cubicBezTo>
                  <a:cubicBezTo>
                    <a:pt x="217" y="51"/>
                    <a:pt x="217" y="51"/>
                    <a:pt x="218" y="51"/>
                  </a:cubicBezTo>
                  <a:cubicBezTo>
                    <a:pt x="220" y="50"/>
                    <a:pt x="223" y="49"/>
                    <a:pt x="226" y="47"/>
                  </a:cubicBezTo>
                  <a:cubicBezTo>
                    <a:pt x="227" y="47"/>
                    <a:pt x="228" y="47"/>
                    <a:pt x="228" y="46"/>
                  </a:cubicBezTo>
                  <a:cubicBezTo>
                    <a:pt x="230" y="41"/>
                    <a:pt x="230" y="32"/>
                    <a:pt x="230" y="25"/>
                  </a:cubicBezTo>
                  <a:cubicBezTo>
                    <a:pt x="229" y="17"/>
                    <a:pt x="232" y="17"/>
                    <a:pt x="235" y="16"/>
                  </a:cubicBezTo>
                  <a:cubicBezTo>
                    <a:pt x="237" y="15"/>
                    <a:pt x="237" y="15"/>
                    <a:pt x="237" y="15"/>
                  </a:cubicBezTo>
                  <a:cubicBezTo>
                    <a:pt x="238" y="15"/>
                    <a:pt x="239" y="15"/>
                    <a:pt x="240" y="15"/>
                  </a:cubicBezTo>
                  <a:cubicBezTo>
                    <a:pt x="241" y="15"/>
                    <a:pt x="244" y="15"/>
                    <a:pt x="247" y="21"/>
                  </a:cubicBezTo>
                  <a:cubicBezTo>
                    <a:pt x="249" y="27"/>
                    <a:pt x="254" y="35"/>
                    <a:pt x="259" y="38"/>
                  </a:cubicBezTo>
                  <a:cubicBezTo>
                    <a:pt x="259" y="38"/>
                    <a:pt x="259" y="38"/>
                    <a:pt x="260" y="38"/>
                  </a:cubicBezTo>
                  <a:cubicBezTo>
                    <a:pt x="260" y="38"/>
                    <a:pt x="260" y="38"/>
                    <a:pt x="260" y="38"/>
                  </a:cubicBezTo>
                  <a:cubicBezTo>
                    <a:pt x="263" y="38"/>
                    <a:pt x="266" y="37"/>
                    <a:pt x="268" y="37"/>
                  </a:cubicBezTo>
                  <a:cubicBezTo>
                    <a:pt x="270" y="37"/>
                    <a:pt x="270" y="37"/>
                    <a:pt x="270" y="37"/>
                  </a:cubicBezTo>
                  <a:cubicBezTo>
                    <a:pt x="270" y="37"/>
                    <a:pt x="271" y="36"/>
                    <a:pt x="271" y="36"/>
                  </a:cubicBezTo>
                  <a:cubicBezTo>
                    <a:pt x="274" y="31"/>
                    <a:pt x="276" y="22"/>
                    <a:pt x="276" y="15"/>
                  </a:cubicBezTo>
                  <a:cubicBezTo>
                    <a:pt x="276" y="7"/>
                    <a:pt x="280" y="7"/>
                    <a:pt x="283" y="7"/>
                  </a:cubicBezTo>
                  <a:cubicBezTo>
                    <a:pt x="285" y="6"/>
                    <a:pt x="285" y="6"/>
                    <a:pt x="285" y="6"/>
                  </a:cubicBezTo>
                  <a:cubicBezTo>
                    <a:pt x="286" y="6"/>
                    <a:pt x="287" y="6"/>
                    <a:pt x="287" y="6"/>
                  </a:cubicBezTo>
                  <a:cubicBezTo>
                    <a:pt x="289" y="6"/>
                    <a:pt x="292" y="6"/>
                    <a:pt x="294" y="14"/>
                  </a:cubicBezTo>
                  <a:cubicBezTo>
                    <a:pt x="296" y="20"/>
                    <a:pt x="299" y="28"/>
                    <a:pt x="303" y="32"/>
                  </a:cubicBezTo>
                  <a:cubicBezTo>
                    <a:pt x="303" y="33"/>
                    <a:pt x="304" y="33"/>
                    <a:pt x="305" y="33"/>
                  </a:cubicBezTo>
                  <a:cubicBezTo>
                    <a:pt x="305" y="33"/>
                    <a:pt x="305" y="33"/>
                    <a:pt x="305" y="33"/>
                  </a:cubicBezTo>
                  <a:cubicBezTo>
                    <a:pt x="308" y="33"/>
                    <a:pt x="311" y="33"/>
                    <a:pt x="314" y="33"/>
                  </a:cubicBezTo>
                  <a:cubicBezTo>
                    <a:pt x="315" y="33"/>
                    <a:pt x="315" y="32"/>
                    <a:pt x="316" y="32"/>
                  </a:cubicBezTo>
                  <a:cubicBezTo>
                    <a:pt x="320" y="28"/>
                    <a:pt x="322" y="19"/>
                    <a:pt x="324" y="13"/>
                  </a:cubicBezTo>
                  <a:cubicBezTo>
                    <a:pt x="325" y="5"/>
                    <a:pt x="328" y="5"/>
                    <a:pt x="330" y="5"/>
                  </a:cubicBezTo>
                  <a:cubicBezTo>
                    <a:pt x="331" y="5"/>
                    <a:pt x="332" y="5"/>
                    <a:pt x="332" y="5"/>
                  </a:cubicBezTo>
                  <a:cubicBezTo>
                    <a:pt x="334" y="5"/>
                    <a:pt x="334" y="5"/>
                    <a:pt x="334" y="5"/>
                  </a:cubicBezTo>
                  <a:cubicBezTo>
                    <a:pt x="338" y="5"/>
                    <a:pt x="341" y="6"/>
                    <a:pt x="341" y="14"/>
                  </a:cubicBezTo>
                  <a:cubicBezTo>
                    <a:pt x="342" y="20"/>
                    <a:pt x="344" y="29"/>
                    <a:pt x="347" y="34"/>
                  </a:cubicBezTo>
                  <a:cubicBezTo>
                    <a:pt x="348" y="34"/>
                    <a:pt x="348" y="35"/>
                    <a:pt x="349" y="35"/>
                  </a:cubicBezTo>
                  <a:cubicBezTo>
                    <a:pt x="353" y="35"/>
                    <a:pt x="356" y="35"/>
                    <a:pt x="358" y="36"/>
                  </a:cubicBezTo>
                  <a:cubicBezTo>
                    <a:pt x="358" y="36"/>
                    <a:pt x="359" y="36"/>
                    <a:pt x="359" y="36"/>
                  </a:cubicBezTo>
                  <a:cubicBezTo>
                    <a:pt x="359" y="36"/>
                    <a:pt x="360" y="36"/>
                    <a:pt x="360" y="35"/>
                  </a:cubicBezTo>
                  <a:cubicBezTo>
                    <a:pt x="365" y="32"/>
                    <a:pt x="369" y="24"/>
                    <a:pt x="371" y="18"/>
                  </a:cubicBezTo>
                  <a:cubicBezTo>
                    <a:pt x="373" y="11"/>
                    <a:pt x="376" y="11"/>
                    <a:pt x="377" y="11"/>
                  </a:cubicBezTo>
                  <a:cubicBezTo>
                    <a:pt x="379" y="11"/>
                    <a:pt x="380" y="11"/>
                    <a:pt x="381" y="12"/>
                  </a:cubicBezTo>
                  <a:cubicBezTo>
                    <a:pt x="382" y="12"/>
                    <a:pt x="382" y="12"/>
                    <a:pt x="382" y="12"/>
                  </a:cubicBezTo>
                  <a:cubicBezTo>
                    <a:pt x="386" y="13"/>
                    <a:pt x="389" y="13"/>
                    <a:pt x="388" y="21"/>
                  </a:cubicBezTo>
                  <a:cubicBezTo>
                    <a:pt x="388" y="28"/>
                    <a:pt x="389" y="37"/>
                    <a:pt x="391" y="42"/>
                  </a:cubicBezTo>
                  <a:cubicBezTo>
                    <a:pt x="391" y="42"/>
                    <a:pt x="392" y="43"/>
                    <a:pt x="393" y="43"/>
                  </a:cubicBezTo>
                  <a:cubicBezTo>
                    <a:pt x="396" y="44"/>
                    <a:pt x="399" y="45"/>
                    <a:pt x="402" y="46"/>
                  </a:cubicBezTo>
                  <a:cubicBezTo>
                    <a:pt x="402" y="46"/>
                    <a:pt x="402" y="46"/>
                    <a:pt x="402" y="46"/>
                  </a:cubicBezTo>
                  <a:cubicBezTo>
                    <a:pt x="403" y="46"/>
                    <a:pt x="403" y="46"/>
                    <a:pt x="404" y="46"/>
                  </a:cubicBezTo>
                  <a:cubicBezTo>
                    <a:pt x="409" y="43"/>
                    <a:pt x="414" y="36"/>
                    <a:pt x="417" y="30"/>
                  </a:cubicBezTo>
                  <a:cubicBezTo>
                    <a:pt x="420" y="24"/>
                    <a:pt x="423" y="24"/>
                    <a:pt x="424" y="24"/>
                  </a:cubicBezTo>
                  <a:cubicBezTo>
                    <a:pt x="425" y="24"/>
                    <a:pt x="426" y="25"/>
                    <a:pt x="428" y="25"/>
                  </a:cubicBezTo>
                  <a:cubicBezTo>
                    <a:pt x="429" y="26"/>
                    <a:pt x="429" y="26"/>
                    <a:pt x="429" y="26"/>
                  </a:cubicBezTo>
                  <a:cubicBezTo>
                    <a:pt x="433" y="27"/>
                    <a:pt x="436" y="28"/>
                    <a:pt x="434" y="36"/>
                  </a:cubicBezTo>
                  <a:cubicBezTo>
                    <a:pt x="433" y="38"/>
                    <a:pt x="433" y="39"/>
                    <a:pt x="433" y="41"/>
                  </a:cubicBezTo>
                  <a:cubicBezTo>
                    <a:pt x="435" y="40"/>
                    <a:pt x="437" y="39"/>
                    <a:pt x="438" y="38"/>
                  </a:cubicBezTo>
                  <a:cubicBezTo>
                    <a:pt x="438" y="38"/>
                    <a:pt x="439" y="38"/>
                    <a:pt x="439" y="37"/>
                  </a:cubicBezTo>
                  <a:cubicBezTo>
                    <a:pt x="442" y="25"/>
                    <a:pt x="434" y="23"/>
                    <a:pt x="431" y="21"/>
                  </a:cubicBezTo>
                  <a:cubicBezTo>
                    <a:pt x="430" y="21"/>
                    <a:pt x="430" y="21"/>
                    <a:pt x="430" y="21"/>
                  </a:cubicBezTo>
                  <a:cubicBezTo>
                    <a:pt x="428" y="20"/>
                    <a:pt x="426" y="19"/>
                    <a:pt x="424" y="19"/>
                  </a:cubicBezTo>
                  <a:cubicBezTo>
                    <a:pt x="419" y="19"/>
                    <a:pt x="416" y="22"/>
                    <a:pt x="413" y="27"/>
                  </a:cubicBezTo>
                  <a:cubicBezTo>
                    <a:pt x="409" y="33"/>
                    <a:pt x="405" y="38"/>
                    <a:pt x="402" y="41"/>
                  </a:cubicBezTo>
                  <a:cubicBezTo>
                    <a:pt x="400" y="40"/>
                    <a:pt x="398" y="39"/>
                    <a:pt x="395" y="39"/>
                  </a:cubicBezTo>
                  <a:cubicBezTo>
                    <a:pt x="394" y="35"/>
                    <a:pt x="393" y="28"/>
                    <a:pt x="393" y="22"/>
                  </a:cubicBezTo>
                  <a:cubicBezTo>
                    <a:pt x="394" y="9"/>
                    <a:pt x="387" y="8"/>
                    <a:pt x="383" y="7"/>
                  </a:cubicBezTo>
                  <a:cubicBezTo>
                    <a:pt x="382" y="7"/>
                    <a:pt x="382" y="7"/>
                    <a:pt x="382" y="7"/>
                  </a:cubicBezTo>
                  <a:cubicBezTo>
                    <a:pt x="381" y="6"/>
                    <a:pt x="379" y="6"/>
                    <a:pt x="377" y="6"/>
                  </a:cubicBezTo>
                  <a:cubicBezTo>
                    <a:pt x="372" y="6"/>
                    <a:pt x="369" y="9"/>
                    <a:pt x="366" y="16"/>
                  </a:cubicBezTo>
                  <a:cubicBezTo>
                    <a:pt x="364" y="22"/>
                    <a:pt x="361" y="28"/>
                    <a:pt x="358" y="31"/>
                  </a:cubicBezTo>
                  <a:cubicBezTo>
                    <a:pt x="356" y="30"/>
                    <a:pt x="353" y="30"/>
                    <a:pt x="351" y="30"/>
                  </a:cubicBezTo>
                  <a:cubicBezTo>
                    <a:pt x="349" y="26"/>
                    <a:pt x="347" y="20"/>
                    <a:pt x="346" y="13"/>
                  </a:cubicBezTo>
                  <a:cubicBezTo>
                    <a:pt x="345" y="1"/>
                    <a:pt x="338" y="0"/>
                    <a:pt x="334" y="0"/>
                  </a:cubicBezTo>
                  <a:cubicBezTo>
                    <a:pt x="333" y="0"/>
                    <a:pt x="333" y="0"/>
                    <a:pt x="333" y="0"/>
                  </a:cubicBezTo>
                  <a:cubicBezTo>
                    <a:pt x="332" y="0"/>
                    <a:pt x="331" y="0"/>
                    <a:pt x="33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6" name="Freeform 21265">
              <a:extLst>
                <a:ext uri="{FF2B5EF4-FFF2-40B4-BE49-F238E27FC236}">
                  <a16:creationId xmlns:a16="http://schemas.microsoft.com/office/drawing/2014/main" id="{3ADD3AE7-7984-44AE-99F3-BD8B5DEB5611}"/>
                </a:ext>
              </a:extLst>
            </p:cNvPr>
            <p:cNvSpPr>
              <a:spLocks noEditPoints="1"/>
            </p:cNvSpPr>
            <p:nvPr userDrawn="1"/>
          </p:nvSpPr>
          <p:spPr bwMode="auto">
            <a:xfrm>
              <a:off x="7281228" y="3180715"/>
              <a:ext cx="74613" cy="79375"/>
            </a:xfrm>
            <a:custGeom>
              <a:avLst/>
              <a:gdLst>
                <a:gd name="T0" fmla="*/ 26 w 37"/>
                <a:gd name="T1" fmla="*/ 33 h 39"/>
                <a:gd name="T2" fmla="*/ 6 w 37"/>
                <a:gd name="T3" fmla="*/ 6 h 39"/>
                <a:gd name="T4" fmla="*/ 12 w 37"/>
                <a:gd name="T5" fmla="*/ 5 h 39"/>
                <a:gd name="T6" fmla="*/ 26 w 37"/>
                <a:gd name="T7" fmla="*/ 12 h 39"/>
                <a:gd name="T8" fmla="*/ 26 w 37"/>
                <a:gd name="T9" fmla="*/ 33 h 39"/>
                <a:gd name="T10" fmla="*/ 12 w 37"/>
                <a:gd name="T11" fmla="*/ 0 h 39"/>
                <a:gd name="T12" fmla="*/ 1 w 37"/>
                <a:gd name="T13" fmla="*/ 3 h 39"/>
                <a:gd name="T14" fmla="*/ 0 w 37"/>
                <a:gd name="T15" fmla="*/ 5 h 39"/>
                <a:gd name="T16" fmla="*/ 0 w 37"/>
                <a:gd name="T17" fmla="*/ 6 h 39"/>
                <a:gd name="T18" fmla="*/ 1 w 37"/>
                <a:gd name="T19" fmla="*/ 7 h 39"/>
                <a:gd name="T20" fmla="*/ 24 w 37"/>
                <a:gd name="T21" fmla="*/ 38 h 39"/>
                <a:gd name="T22" fmla="*/ 25 w 37"/>
                <a:gd name="T23" fmla="*/ 39 h 39"/>
                <a:gd name="T24" fmla="*/ 25 w 37"/>
                <a:gd name="T25" fmla="*/ 39 h 39"/>
                <a:gd name="T26" fmla="*/ 26 w 37"/>
                <a:gd name="T27" fmla="*/ 39 h 39"/>
                <a:gd name="T28" fmla="*/ 27 w 37"/>
                <a:gd name="T29" fmla="*/ 39 h 39"/>
                <a:gd name="T30" fmla="*/ 29 w 37"/>
                <a:gd name="T31" fmla="*/ 8 h 39"/>
                <a:gd name="T32" fmla="*/ 12 w 37"/>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9">
                  <a:moveTo>
                    <a:pt x="26" y="33"/>
                  </a:moveTo>
                  <a:cubicBezTo>
                    <a:pt x="6" y="6"/>
                    <a:pt x="6" y="6"/>
                    <a:pt x="6" y="6"/>
                  </a:cubicBezTo>
                  <a:cubicBezTo>
                    <a:pt x="8" y="6"/>
                    <a:pt x="10" y="5"/>
                    <a:pt x="12" y="5"/>
                  </a:cubicBezTo>
                  <a:cubicBezTo>
                    <a:pt x="18" y="5"/>
                    <a:pt x="22" y="8"/>
                    <a:pt x="26" y="12"/>
                  </a:cubicBezTo>
                  <a:cubicBezTo>
                    <a:pt x="31" y="18"/>
                    <a:pt x="31" y="27"/>
                    <a:pt x="26" y="33"/>
                  </a:cubicBezTo>
                  <a:moveTo>
                    <a:pt x="12" y="0"/>
                  </a:moveTo>
                  <a:cubicBezTo>
                    <a:pt x="9" y="0"/>
                    <a:pt x="5" y="1"/>
                    <a:pt x="1" y="3"/>
                  </a:cubicBezTo>
                  <a:cubicBezTo>
                    <a:pt x="1" y="4"/>
                    <a:pt x="0" y="4"/>
                    <a:pt x="0" y="5"/>
                  </a:cubicBezTo>
                  <a:cubicBezTo>
                    <a:pt x="0" y="5"/>
                    <a:pt x="0" y="6"/>
                    <a:pt x="0" y="6"/>
                  </a:cubicBezTo>
                  <a:cubicBezTo>
                    <a:pt x="1" y="6"/>
                    <a:pt x="1" y="6"/>
                    <a:pt x="1" y="7"/>
                  </a:cubicBezTo>
                  <a:cubicBezTo>
                    <a:pt x="24" y="38"/>
                    <a:pt x="24" y="38"/>
                    <a:pt x="24" y="38"/>
                  </a:cubicBezTo>
                  <a:cubicBezTo>
                    <a:pt x="24" y="38"/>
                    <a:pt x="25" y="39"/>
                    <a:pt x="25" y="39"/>
                  </a:cubicBezTo>
                  <a:cubicBezTo>
                    <a:pt x="25" y="39"/>
                    <a:pt x="25" y="39"/>
                    <a:pt x="25" y="39"/>
                  </a:cubicBezTo>
                  <a:cubicBezTo>
                    <a:pt x="26" y="39"/>
                    <a:pt x="26" y="39"/>
                    <a:pt x="26" y="39"/>
                  </a:cubicBezTo>
                  <a:cubicBezTo>
                    <a:pt x="26" y="39"/>
                    <a:pt x="27" y="39"/>
                    <a:pt x="27" y="39"/>
                  </a:cubicBezTo>
                  <a:cubicBezTo>
                    <a:pt x="36" y="31"/>
                    <a:pt x="37"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7" name="Freeform 21266">
              <a:extLst>
                <a:ext uri="{FF2B5EF4-FFF2-40B4-BE49-F238E27FC236}">
                  <a16:creationId xmlns:a16="http://schemas.microsoft.com/office/drawing/2014/main" id="{3E522259-41A1-4CCE-B3CA-7FDF69F4E193}"/>
                </a:ext>
              </a:extLst>
            </p:cNvPr>
            <p:cNvSpPr>
              <a:spLocks noEditPoints="1"/>
            </p:cNvSpPr>
            <p:nvPr userDrawn="1"/>
          </p:nvSpPr>
          <p:spPr bwMode="auto">
            <a:xfrm>
              <a:off x="7257415" y="3193415"/>
              <a:ext cx="74613" cy="76200"/>
            </a:xfrm>
            <a:custGeom>
              <a:avLst/>
              <a:gdLst>
                <a:gd name="T0" fmla="*/ 24 w 37"/>
                <a:gd name="T1" fmla="*/ 33 h 38"/>
                <a:gd name="T2" fmla="*/ 11 w 37"/>
                <a:gd name="T3" fmla="*/ 27 h 38"/>
                <a:gd name="T4" fmla="*/ 11 w 37"/>
                <a:gd name="T5" fmla="*/ 6 h 38"/>
                <a:gd name="T6" fmla="*/ 30 w 37"/>
                <a:gd name="T7" fmla="*/ 32 h 38"/>
                <a:gd name="T8" fmla="*/ 24 w 37"/>
                <a:gd name="T9" fmla="*/ 33 h 38"/>
                <a:gd name="T10" fmla="*/ 11 w 37"/>
                <a:gd name="T11" fmla="*/ 0 h 38"/>
                <a:gd name="T12" fmla="*/ 9 w 37"/>
                <a:gd name="T13" fmla="*/ 0 h 38"/>
                <a:gd name="T14" fmla="*/ 7 w 37"/>
                <a:gd name="T15" fmla="*/ 30 h 38"/>
                <a:gd name="T16" fmla="*/ 24 w 37"/>
                <a:gd name="T17" fmla="*/ 38 h 38"/>
                <a:gd name="T18" fmla="*/ 35 w 37"/>
                <a:gd name="T19" fmla="*/ 36 h 38"/>
                <a:gd name="T20" fmla="*/ 37 w 37"/>
                <a:gd name="T21" fmla="*/ 34 h 38"/>
                <a:gd name="T22" fmla="*/ 37 w 37"/>
                <a:gd name="T23" fmla="*/ 33 h 38"/>
                <a:gd name="T24" fmla="*/ 36 w 37"/>
                <a:gd name="T25" fmla="*/ 32 h 38"/>
                <a:gd name="T26" fmla="*/ 13 w 37"/>
                <a:gd name="T27" fmla="*/ 1 h 38"/>
                <a:gd name="T28" fmla="*/ 12 w 37"/>
                <a:gd name="T29" fmla="*/ 0 h 38"/>
                <a:gd name="T30" fmla="*/ 11 w 37"/>
                <a:gd name="T31" fmla="*/ 0 h 38"/>
                <a:gd name="T32" fmla="*/ 11 w 37"/>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24" y="33"/>
                  </a:moveTo>
                  <a:cubicBezTo>
                    <a:pt x="19" y="33"/>
                    <a:pt x="14" y="31"/>
                    <a:pt x="11" y="27"/>
                  </a:cubicBezTo>
                  <a:cubicBezTo>
                    <a:pt x="6" y="21"/>
                    <a:pt x="6" y="12"/>
                    <a:pt x="11" y="6"/>
                  </a:cubicBezTo>
                  <a:cubicBezTo>
                    <a:pt x="30" y="32"/>
                    <a:pt x="30" y="32"/>
                    <a:pt x="30" y="32"/>
                  </a:cubicBezTo>
                  <a:cubicBezTo>
                    <a:pt x="28" y="33"/>
                    <a:pt x="26" y="33"/>
                    <a:pt x="24" y="33"/>
                  </a:cubicBezTo>
                  <a:moveTo>
                    <a:pt x="11" y="0"/>
                  </a:moveTo>
                  <a:cubicBezTo>
                    <a:pt x="10" y="0"/>
                    <a:pt x="10" y="0"/>
                    <a:pt x="9" y="0"/>
                  </a:cubicBezTo>
                  <a:cubicBezTo>
                    <a:pt x="1" y="8"/>
                    <a:pt x="0" y="21"/>
                    <a:pt x="7" y="30"/>
                  </a:cubicBezTo>
                  <a:cubicBezTo>
                    <a:pt x="12" y="36"/>
                    <a:pt x="18" y="38"/>
                    <a:pt x="24" y="38"/>
                  </a:cubicBezTo>
                  <a:cubicBezTo>
                    <a:pt x="28" y="38"/>
                    <a:pt x="32" y="37"/>
                    <a:pt x="35" y="36"/>
                  </a:cubicBezTo>
                  <a:cubicBezTo>
                    <a:pt x="36" y="35"/>
                    <a:pt x="36" y="35"/>
                    <a:pt x="37" y="34"/>
                  </a:cubicBezTo>
                  <a:cubicBezTo>
                    <a:pt x="37" y="34"/>
                    <a:pt x="37" y="33"/>
                    <a:pt x="37" y="33"/>
                  </a:cubicBezTo>
                  <a:cubicBezTo>
                    <a:pt x="37" y="33"/>
                    <a:pt x="36" y="32"/>
                    <a:pt x="36" y="32"/>
                  </a:cubicBezTo>
                  <a:cubicBezTo>
                    <a:pt x="13" y="1"/>
                    <a:pt x="13" y="1"/>
                    <a:pt x="13" y="1"/>
                  </a:cubicBezTo>
                  <a:cubicBezTo>
                    <a:pt x="13" y="0"/>
                    <a:pt x="13" y="0"/>
                    <a:pt x="12" y="0"/>
                  </a:cubicBezTo>
                  <a:cubicBezTo>
                    <a:pt x="12" y="0"/>
                    <a:pt x="12"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8" name="Freeform 21267">
              <a:extLst>
                <a:ext uri="{FF2B5EF4-FFF2-40B4-BE49-F238E27FC236}">
                  <a16:creationId xmlns:a16="http://schemas.microsoft.com/office/drawing/2014/main" id="{F02BC023-F74A-43E1-B032-6AC53C67DBCD}"/>
                </a:ext>
              </a:extLst>
            </p:cNvPr>
            <p:cNvSpPr>
              <a:spLocks noEditPoints="1"/>
            </p:cNvSpPr>
            <p:nvPr userDrawn="1"/>
          </p:nvSpPr>
          <p:spPr bwMode="auto">
            <a:xfrm>
              <a:off x="8041640" y="2926715"/>
              <a:ext cx="73025" cy="76200"/>
            </a:xfrm>
            <a:custGeom>
              <a:avLst/>
              <a:gdLst>
                <a:gd name="T0" fmla="*/ 25 w 36"/>
                <a:gd name="T1" fmla="*/ 32 h 38"/>
                <a:gd name="T2" fmla="*/ 6 w 36"/>
                <a:gd name="T3" fmla="*/ 6 h 38"/>
                <a:gd name="T4" fmla="*/ 12 w 36"/>
                <a:gd name="T5" fmla="*/ 5 h 38"/>
                <a:gd name="T6" fmla="*/ 25 w 36"/>
                <a:gd name="T7" fmla="*/ 11 h 38"/>
                <a:gd name="T8" fmla="*/ 25 w 36"/>
                <a:gd name="T9" fmla="*/ 32 h 38"/>
                <a:gd name="T10" fmla="*/ 12 w 36"/>
                <a:gd name="T11" fmla="*/ 0 h 38"/>
                <a:gd name="T12" fmla="*/ 1 w 36"/>
                <a:gd name="T13" fmla="*/ 3 h 38"/>
                <a:gd name="T14" fmla="*/ 0 w 36"/>
                <a:gd name="T15" fmla="*/ 4 h 38"/>
                <a:gd name="T16" fmla="*/ 0 w 36"/>
                <a:gd name="T17" fmla="*/ 5 h 38"/>
                <a:gd name="T18" fmla="*/ 1 w 36"/>
                <a:gd name="T19" fmla="*/ 6 h 38"/>
                <a:gd name="T20" fmla="*/ 24 w 36"/>
                <a:gd name="T21" fmla="*/ 37 h 38"/>
                <a:gd name="T22" fmla="*/ 24 w 36"/>
                <a:gd name="T23" fmla="*/ 38 h 38"/>
                <a:gd name="T24" fmla="*/ 25 w 36"/>
                <a:gd name="T25" fmla="*/ 38 h 38"/>
                <a:gd name="T26" fmla="*/ 25 w 36"/>
                <a:gd name="T27" fmla="*/ 38 h 38"/>
                <a:gd name="T28" fmla="*/ 27 w 36"/>
                <a:gd name="T29" fmla="*/ 38 h 38"/>
                <a:gd name="T30" fmla="*/ 29 w 36"/>
                <a:gd name="T31" fmla="*/ 8 h 38"/>
                <a:gd name="T32" fmla="*/ 12 w 36"/>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8">
                  <a:moveTo>
                    <a:pt x="25" y="32"/>
                  </a:moveTo>
                  <a:cubicBezTo>
                    <a:pt x="6" y="6"/>
                    <a:pt x="6" y="6"/>
                    <a:pt x="6" y="6"/>
                  </a:cubicBezTo>
                  <a:cubicBezTo>
                    <a:pt x="8" y="5"/>
                    <a:pt x="10" y="5"/>
                    <a:pt x="12" y="5"/>
                  </a:cubicBezTo>
                  <a:cubicBezTo>
                    <a:pt x="17" y="5"/>
                    <a:pt x="22" y="7"/>
                    <a:pt x="25" y="11"/>
                  </a:cubicBezTo>
                  <a:cubicBezTo>
                    <a:pt x="30" y="17"/>
                    <a:pt x="30" y="26"/>
                    <a:pt x="25" y="32"/>
                  </a:cubicBezTo>
                  <a:moveTo>
                    <a:pt x="12" y="0"/>
                  </a:moveTo>
                  <a:cubicBezTo>
                    <a:pt x="8" y="0"/>
                    <a:pt x="4" y="1"/>
                    <a:pt x="1" y="3"/>
                  </a:cubicBezTo>
                  <a:cubicBezTo>
                    <a:pt x="0" y="3"/>
                    <a:pt x="0" y="3"/>
                    <a:pt x="0" y="4"/>
                  </a:cubicBezTo>
                  <a:cubicBezTo>
                    <a:pt x="0" y="4"/>
                    <a:pt x="0" y="5"/>
                    <a:pt x="0" y="5"/>
                  </a:cubicBezTo>
                  <a:cubicBezTo>
                    <a:pt x="0" y="5"/>
                    <a:pt x="0" y="6"/>
                    <a:pt x="1" y="6"/>
                  </a:cubicBezTo>
                  <a:cubicBezTo>
                    <a:pt x="24" y="37"/>
                    <a:pt x="24" y="37"/>
                    <a:pt x="24" y="37"/>
                  </a:cubicBezTo>
                  <a:cubicBezTo>
                    <a:pt x="24" y="37"/>
                    <a:pt x="24" y="38"/>
                    <a:pt x="24" y="38"/>
                  </a:cubicBezTo>
                  <a:cubicBezTo>
                    <a:pt x="24" y="38"/>
                    <a:pt x="25" y="38"/>
                    <a:pt x="25" y="38"/>
                  </a:cubicBezTo>
                  <a:cubicBezTo>
                    <a:pt x="25" y="38"/>
                    <a:pt x="25" y="38"/>
                    <a:pt x="25" y="38"/>
                  </a:cubicBezTo>
                  <a:cubicBezTo>
                    <a:pt x="26" y="38"/>
                    <a:pt x="26" y="38"/>
                    <a:pt x="27" y="38"/>
                  </a:cubicBezTo>
                  <a:cubicBezTo>
                    <a:pt x="35" y="30"/>
                    <a:pt x="36"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9" name="Freeform 21268">
              <a:extLst>
                <a:ext uri="{FF2B5EF4-FFF2-40B4-BE49-F238E27FC236}">
                  <a16:creationId xmlns:a16="http://schemas.microsoft.com/office/drawing/2014/main" id="{7715966C-9531-4BE3-9F51-8A7DA4AFB226}"/>
                </a:ext>
              </a:extLst>
            </p:cNvPr>
            <p:cNvSpPr>
              <a:spLocks noEditPoints="1"/>
            </p:cNvSpPr>
            <p:nvPr userDrawn="1"/>
          </p:nvSpPr>
          <p:spPr bwMode="auto">
            <a:xfrm>
              <a:off x="8017828" y="2937828"/>
              <a:ext cx="73025" cy="77788"/>
            </a:xfrm>
            <a:custGeom>
              <a:avLst/>
              <a:gdLst>
                <a:gd name="T0" fmla="*/ 24 w 36"/>
                <a:gd name="T1" fmla="*/ 34 h 39"/>
                <a:gd name="T2" fmla="*/ 11 w 36"/>
                <a:gd name="T3" fmla="*/ 27 h 39"/>
                <a:gd name="T4" fmla="*/ 10 w 36"/>
                <a:gd name="T5" fmla="*/ 6 h 39"/>
                <a:gd name="T6" fmla="*/ 30 w 36"/>
                <a:gd name="T7" fmla="*/ 33 h 39"/>
                <a:gd name="T8" fmla="*/ 24 w 36"/>
                <a:gd name="T9" fmla="*/ 34 h 39"/>
                <a:gd name="T10" fmla="*/ 11 w 36"/>
                <a:gd name="T11" fmla="*/ 0 h 39"/>
                <a:gd name="T12" fmla="*/ 9 w 36"/>
                <a:gd name="T13" fmla="*/ 1 h 39"/>
                <a:gd name="T14" fmla="*/ 7 w 36"/>
                <a:gd name="T15" fmla="*/ 31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0" y="6"/>
                  </a:cubicBezTo>
                  <a:cubicBezTo>
                    <a:pt x="30" y="33"/>
                    <a:pt x="30" y="33"/>
                    <a:pt x="30" y="33"/>
                  </a:cubicBezTo>
                  <a:cubicBezTo>
                    <a:pt x="28" y="33"/>
                    <a:pt x="26" y="34"/>
                    <a:pt x="24" y="34"/>
                  </a:cubicBezTo>
                  <a:moveTo>
                    <a:pt x="11" y="0"/>
                  </a:moveTo>
                  <a:cubicBezTo>
                    <a:pt x="10" y="0"/>
                    <a:pt x="9" y="0"/>
                    <a:pt x="9" y="1"/>
                  </a:cubicBezTo>
                  <a:cubicBezTo>
                    <a:pt x="0" y="8"/>
                    <a:pt x="0" y="22"/>
                    <a:pt x="7" y="31"/>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2" y="1"/>
                    <a:pt x="12" y="0"/>
                    <a:pt x="12" y="0"/>
                  </a:cubicBezTo>
                  <a:cubicBezTo>
                    <a:pt x="11" y="0"/>
                    <a:pt x="11"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0" name="Freeform 21269">
              <a:extLst>
                <a:ext uri="{FF2B5EF4-FFF2-40B4-BE49-F238E27FC236}">
                  <a16:creationId xmlns:a16="http://schemas.microsoft.com/office/drawing/2014/main" id="{6CFC77A0-47B1-485B-958B-4A718B586444}"/>
                </a:ext>
              </a:extLst>
            </p:cNvPr>
            <p:cNvSpPr>
              <a:spLocks noEditPoints="1"/>
            </p:cNvSpPr>
            <p:nvPr userDrawn="1"/>
          </p:nvSpPr>
          <p:spPr bwMode="auto">
            <a:xfrm>
              <a:off x="6982778" y="3075940"/>
              <a:ext cx="71438" cy="79375"/>
            </a:xfrm>
            <a:custGeom>
              <a:avLst/>
              <a:gdLst>
                <a:gd name="T0" fmla="*/ 26 w 36"/>
                <a:gd name="T1" fmla="*/ 33 h 39"/>
                <a:gd name="T2" fmla="*/ 6 w 36"/>
                <a:gd name="T3" fmla="*/ 7 h 39"/>
                <a:gd name="T4" fmla="*/ 12 w 36"/>
                <a:gd name="T5" fmla="*/ 5 h 39"/>
                <a:gd name="T6" fmla="*/ 25 w 36"/>
                <a:gd name="T7" fmla="*/ 12 h 39"/>
                <a:gd name="T8" fmla="*/ 26 w 36"/>
                <a:gd name="T9" fmla="*/ 33 h 39"/>
                <a:gd name="T10" fmla="*/ 12 w 36"/>
                <a:gd name="T11" fmla="*/ 0 h 39"/>
                <a:gd name="T12" fmla="*/ 1 w 36"/>
                <a:gd name="T13" fmla="*/ 3 h 39"/>
                <a:gd name="T14" fmla="*/ 0 w 36"/>
                <a:gd name="T15" fmla="*/ 5 h 39"/>
                <a:gd name="T16" fmla="*/ 0 w 36"/>
                <a:gd name="T17" fmla="*/ 6 h 39"/>
                <a:gd name="T18" fmla="*/ 1 w 36"/>
                <a:gd name="T19" fmla="*/ 7 h 39"/>
                <a:gd name="T20" fmla="*/ 24 w 36"/>
                <a:gd name="T21" fmla="*/ 38 h 39"/>
                <a:gd name="T22" fmla="*/ 24 w 36"/>
                <a:gd name="T23" fmla="*/ 39 h 39"/>
                <a:gd name="T24" fmla="*/ 25 w 36"/>
                <a:gd name="T25" fmla="*/ 39 h 39"/>
                <a:gd name="T26" fmla="*/ 25 w 36"/>
                <a:gd name="T27" fmla="*/ 39 h 39"/>
                <a:gd name="T28" fmla="*/ 27 w 36"/>
                <a:gd name="T29" fmla="*/ 39 h 39"/>
                <a:gd name="T30" fmla="*/ 29 w 36"/>
                <a:gd name="T31" fmla="*/ 8 h 39"/>
                <a:gd name="T32" fmla="*/ 12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6" y="33"/>
                  </a:moveTo>
                  <a:cubicBezTo>
                    <a:pt x="6" y="7"/>
                    <a:pt x="6" y="7"/>
                    <a:pt x="6" y="7"/>
                  </a:cubicBezTo>
                  <a:cubicBezTo>
                    <a:pt x="8" y="6"/>
                    <a:pt x="10" y="5"/>
                    <a:pt x="12" y="5"/>
                  </a:cubicBezTo>
                  <a:cubicBezTo>
                    <a:pt x="17" y="5"/>
                    <a:pt x="22" y="8"/>
                    <a:pt x="25" y="12"/>
                  </a:cubicBezTo>
                  <a:cubicBezTo>
                    <a:pt x="30" y="18"/>
                    <a:pt x="30" y="27"/>
                    <a:pt x="26" y="33"/>
                  </a:cubicBezTo>
                  <a:moveTo>
                    <a:pt x="12" y="0"/>
                  </a:moveTo>
                  <a:cubicBezTo>
                    <a:pt x="8" y="0"/>
                    <a:pt x="4" y="1"/>
                    <a:pt x="1" y="3"/>
                  </a:cubicBezTo>
                  <a:cubicBezTo>
                    <a:pt x="0" y="4"/>
                    <a:pt x="0" y="4"/>
                    <a:pt x="0" y="5"/>
                  </a:cubicBezTo>
                  <a:cubicBezTo>
                    <a:pt x="0" y="5"/>
                    <a:pt x="0" y="6"/>
                    <a:pt x="0" y="6"/>
                  </a:cubicBezTo>
                  <a:cubicBezTo>
                    <a:pt x="0" y="6"/>
                    <a:pt x="1" y="6"/>
                    <a:pt x="1" y="7"/>
                  </a:cubicBezTo>
                  <a:cubicBezTo>
                    <a:pt x="24" y="38"/>
                    <a:pt x="24" y="38"/>
                    <a:pt x="24" y="38"/>
                  </a:cubicBezTo>
                  <a:cubicBezTo>
                    <a:pt x="24" y="38"/>
                    <a:pt x="24" y="39"/>
                    <a:pt x="24" y="39"/>
                  </a:cubicBezTo>
                  <a:cubicBezTo>
                    <a:pt x="25" y="39"/>
                    <a:pt x="25" y="39"/>
                    <a:pt x="25" y="39"/>
                  </a:cubicBezTo>
                  <a:cubicBezTo>
                    <a:pt x="25" y="39"/>
                    <a:pt x="25" y="39"/>
                    <a:pt x="25" y="39"/>
                  </a:cubicBezTo>
                  <a:cubicBezTo>
                    <a:pt x="26" y="39"/>
                    <a:pt x="27" y="39"/>
                    <a:pt x="27" y="39"/>
                  </a:cubicBezTo>
                  <a:cubicBezTo>
                    <a:pt x="36" y="31"/>
                    <a:pt x="36"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1" name="Freeform 21270">
              <a:extLst>
                <a:ext uri="{FF2B5EF4-FFF2-40B4-BE49-F238E27FC236}">
                  <a16:creationId xmlns:a16="http://schemas.microsoft.com/office/drawing/2014/main" id="{497501AA-1EB5-40AB-BEF1-92B0CBA06733}"/>
                </a:ext>
              </a:extLst>
            </p:cNvPr>
            <p:cNvSpPr>
              <a:spLocks noEditPoints="1"/>
            </p:cNvSpPr>
            <p:nvPr userDrawn="1"/>
          </p:nvSpPr>
          <p:spPr bwMode="auto">
            <a:xfrm>
              <a:off x="6957378" y="3088640"/>
              <a:ext cx="73025" cy="77788"/>
            </a:xfrm>
            <a:custGeom>
              <a:avLst/>
              <a:gdLst>
                <a:gd name="T0" fmla="*/ 24 w 36"/>
                <a:gd name="T1" fmla="*/ 34 h 39"/>
                <a:gd name="T2" fmla="*/ 11 w 36"/>
                <a:gd name="T3" fmla="*/ 27 h 39"/>
                <a:gd name="T4" fmla="*/ 11 w 36"/>
                <a:gd name="T5" fmla="*/ 6 h 39"/>
                <a:gd name="T6" fmla="*/ 30 w 36"/>
                <a:gd name="T7" fmla="*/ 32 h 39"/>
                <a:gd name="T8" fmla="*/ 24 w 36"/>
                <a:gd name="T9" fmla="*/ 34 h 39"/>
                <a:gd name="T10" fmla="*/ 11 w 36"/>
                <a:gd name="T11" fmla="*/ 0 h 39"/>
                <a:gd name="T12" fmla="*/ 9 w 36"/>
                <a:gd name="T13" fmla="*/ 0 h 39"/>
                <a:gd name="T14" fmla="*/ 7 w 36"/>
                <a:gd name="T15" fmla="*/ 30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1" y="6"/>
                  </a:cubicBezTo>
                  <a:cubicBezTo>
                    <a:pt x="30" y="32"/>
                    <a:pt x="30" y="32"/>
                    <a:pt x="30" y="32"/>
                  </a:cubicBezTo>
                  <a:cubicBezTo>
                    <a:pt x="28" y="33"/>
                    <a:pt x="26" y="34"/>
                    <a:pt x="24" y="34"/>
                  </a:cubicBezTo>
                  <a:moveTo>
                    <a:pt x="11" y="0"/>
                  </a:moveTo>
                  <a:cubicBezTo>
                    <a:pt x="10" y="0"/>
                    <a:pt x="10" y="0"/>
                    <a:pt x="9" y="0"/>
                  </a:cubicBezTo>
                  <a:cubicBezTo>
                    <a:pt x="1" y="8"/>
                    <a:pt x="0" y="22"/>
                    <a:pt x="7" y="30"/>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3" y="0"/>
                    <a:pt x="12" y="0"/>
                    <a:pt x="12" y="0"/>
                  </a:cubicBezTo>
                  <a:cubicBezTo>
                    <a:pt x="12" y="0"/>
                    <a:pt x="11"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2" name="Freeform 21271">
              <a:extLst>
                <a:ext uri="{FF2B5EF4-FFF2-40B4-BE49-F238E27FC236}">
                  <a16:creationId xmlns:a16="http://schemas.microsoft.com/office/drawing/2014/main" id="{A6BBFEAF-EB07-4360-8EA5-943A5EFA633E}"/>
                </a:ext>
              </a:extLst>
            </p:cNvPr>
            <p:cNvSpPr>
              <a:spLocks noEditPoints="1"/>
            </p:cNvSpPr>
            <p:nvPr userDrawn="1"/>
          </p:nvSpPr>
          <p:spPr bwMode="auto">
            <a:xfrm>
              <a:off x="7611428" y="3201353"/>
              <a:ext cx="74613" cy="76200"/>
            </a:xfrm>
            <a:custGeom>
              <a:avLst/>
              <a:gdLst>
                <a:gd name="T0" fmla="*/ 18 w 37"/>
                <a:gd name="T1" fmla="*/ 30 h 38"/>
                <a:gd name="T2" fmla="*/ 8 w 37"/>
                <a:gd name="T3" fmla="*/ 19 h 38"/>
                <a:gd name="T4" fmla="*/ 18 w 37"/>
                <a:gd name="T5" fmla="*/ 9 h 38"/>
                <a:gd name="T6" fmla="*/ 28 w 37"/>
                <a:gd name="T7" fmla="*/ 19 h 38"/>
                <a:gd name="T8" fmla="*/ 18 w 37"/>
                <a:gd name="T9" fmla="*/ 30 h 38"/>
                <a:gd name="T10" fmla="*/ 18 w 37"/>
                <a:gd name="T11" fmla="*/ 0 h 38"/>
                <a:gd name="T12" fmla="*/ 0 w 37"/>
                <a:gd name="T13" fmla="*/ 19 h 38"/>
                <a:gd name="T14" fmla="*/ 18 w 37"/>
                <a:gd name="T15" fmla="*/ 38 h 38"/>
                <a:gd name="T16" fmla="*/ 37 w 37"/>
                <a:gd name="T17" fmla="*/ 19 h 38"/>
                <a:gd name="T18" fmla="*/ 18 w 37"/>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0"/>
                  </a:moveTo>
                  <a:cubicBezTo>
                    <a:pt x="13" y="30"/>
                    <a:pt x="8" y="25"/>
                    <a:pt x="8" y="19"/>
                  </a:cubicBezTo>
                  <a:cubicBezTo>
                    <a:pt x="8" y="14"/>
                    <a:pt x="13" y="9"/>
                    <a:pt x="18" y="9"/>
                  </a:cubicBezTo>
                  <a:cubicBezTo>
                    <a:pt x="24" y="9"/>
                    <a:pt x="28" y="14"/>
                    <a:pt x="28" y="19"/>
                  </a:cubicBezTo>
                  <a:cubicBezTo>
                    <a:pt x="28" y="25"/>
                    <a:pt x="24" y="30"/>
                    <a:pt x="18" y="30"/>
                  </a:cubicBezTo>
                  <a:moveTo>
                    <a:pt x="18" y="0"/>
                  </a:moveTo>
                  <a:cubicBezTo>
                    <a:pt x="8" y="0"/>
                    <a:pt x="0" y="9"/>
                    <a:pt x="0" y="19"/>
                  </a:cubicBezTo>
                  <a:cubicBezTo>
                    <a:pt x="0" y="30"/>
                    <a:pt x="8" y="38"/>
                    <a:pt x="18" y="38"/>
                  </a:cubicBezTo>
                  <a:cubicBezTo>
                    <a:pt x="29" y="38"/>
                    <a:pt x="37" y="30"/>
                    <a:pt x="37" y="19"/>
                  </a:cubicBezTo>
                  <a:cubicBezTo>
                    <a:pt x="37" y="9"/>
                    <a:pt x="29" y="0"/>
                    <a:pt x="1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3" name="Freeform 21272">
              <a:extLst>
                <a:ext uri="{FF2B5EF4-FFF2-40B4-BE49-F238E27FC236}">
                  <a16:creationId xmlns:a16="http://schemas.microsoft.com/office/drawing/2014/main" id="{C658046C-E938-4E2B-8BD8-EEA2E39F5714}"/>
                </a:ext>
              </a:extLst>
            </p:cNvPr>
            <p:cNvSpPr>
              <a:spLocks noEditPoints="1"/>
            </p:cNvSpPr>
            <p:nvPr userDrawn="1"/>
          </p:nvSpPr>
          <p:spPr bwMode="auto">
            <a:xfrm>
              <a:off x="7366953" y="3263265"/>
              <a:ext cx="76200" cy="77788"/>
            </a:xfrm>
            <a:custGeom>
              <a:avLst/>
              <a:gdLst>
                <a:gd name="T0" fmla="*/ 19 w 38"/>
                <a:gd name="T1" fmla="*/ 29 h 38"/>
                <a:gd name="T2" fmla="*/ 9 w 38"/>
                <a:gd name="T3" fmla="*/ 19 h 38"/>
                <a:gd name="T4" fmla="*/ 19 w 38"/>
                <a:gd name="T5" fmla="*/ 8 h 38"/>
                <a:gd name="T6" fmla="*/ 29 w 38"/>
                <a:gd name="T7" fmla="*/ 19 h 38"/>
                <a:gd name="T8" fmla="*/ 19 w 38"/>
                <a:gd name="T9" fmla="*/ 29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29"/>
                  </a:moveTo>
                  <a:cubicBezTo>
                    <a:pt x="13" y="29"/>
                    <a:pt x="9" y="25"/>
                    <a:pt x="9" y="19"/>
                  </a:cubicBezTo>
                  <a:cubicBezTo>
                    <a:pt x="9" y="13"/>
                    <a:pt x="13" y="8"/>
                    <a:pt x="19" y="8"/>
                  </a:cubicBezTo>
                  <a:cubicBezTo>
                    <a:pt x="24" y="8"/>
                    <a:pt x="29" y="13"/>
                    <a:pt x="29" y="19"/>
                  </a:cubicBezTo>
                  <a:cubicBezTo>
                    <a:pt x="29" y="25"/>
                    <a:pt x="24" y="29"/>
                    <a:pt x="19" y="29"/>
                  </a:cubicBezTo>
                  <a:moveTo>
                    <a:pt x="19" y="0"/>
                  </a:moveTo>
                  <a:cubicBezTo>
                    <a:pt x="9" y="0"/>
                    <a:pt x="0" y="8"/>
                    <a:pt x="0" y="19"/>
                  </a:cubicBezTo>
                  <a:cubicBezTo>
                    <a:pt x="0" y="29"/>
                    <a:pt x="9" y="38"/>
                    <a:pt x="19" y="38"/>
                  </a:cubicBezTo>
                  <a:cubicBezTo>
                    <a:pt x="29" y="38"/>
                    <a:pt x="38" y="29"/>
                    <a:pt x="38" y="19"/>
                  </a:cubicBezTo>
                  <a:cubicBezTo>
                    <a:pt x="38" y="8"/>
                    <a:pt x="29" y="0"/>
                    <a:pt x="1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4" name="Freeform 21273">
              <a:extLst>
                <a:ext uri="{FF2B5EF4-FFF2-40B4-BE49-F238E27FC236}">
                  <a16:creationId xmlns:a16="http://schemas.microsoft.com/office/drawing/2014/main" id="{D99E6F2B-6C19-4452-9C30-6896CBC450E0}"/>
                </a:ext>
              </a:extLst>
            </p:cNvPr>
            <p:cNvSpPr>
              <a:spLocks noEditPoints="1"/>
            </p:cNvSpPr>
            <p:nvPr userDrawn="1"/>
          </p:nvSpPr>
          <p:spPr bwMode="auto">
            <a:xfrm>
              <a:off x="10581640" y="3836353"/>
              <a:ext cx="76200" cy="76200"/>
            </a:xfrm>
            <a:custGeom>
              <a:avLst/>
              <a:gdLst>
                <a:gd name="T0" fmla="*/ 19 w 38"/>
                <a:gd name="T1" fmla="*/ 30 h 38"/>
                <a:gd name="T2" fmla="*/ 9 w 38"/>
                <a:gd name="T3" fmla="*/ 19 h 38"/>
                <a:gd name="T4" fmla="*/ 19 w 38"/>
                <a:gd name="T5" fmla="*/ 9 h 38"/>
                <a:gd name="T6" fmla="*/ 29 w 38"/>
                <a:gd name="T7" fmla="*/ 19 h 38"/>
                <a:gd name="T8" fmla="*/ 19 w 38"/>
                <a:gd name="T9" fmla="*/ 30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0"/>
                  </a:moveTo>
                  <a:cubicBezTo>
                    <a:pt x="13" y="30"/>
                    <a:pt x="9" y="25"/>
                    <a:pt x="9" y="19"/>
                  </a:cubicBezTo>
                  <a:cubicBezTo>
                    <a:pt x="9" y="13"/>
                    <a:pt x="13" y="9"/>
                    <a:pt x="19" y="9"/>
                  </a:cubicBezTo>
                  <a:cubicBezTo>
                    <a:pt x="25" y="9"/>
                    <a:pt x="29" y="13"/>
                    <a:pt x="29" y="19"/>
                  </a:cubicBezTo>
                  <a:cubicBezTo>
                    <a:pt x="29" y="25"/>
                    <a:pt x="25" y="30"/>
                    <a:pt x="19" y="30"/>
                  </a:cubicBezTo>
                  <a:moveTo>
                    <a:pt x="19" y="0"/>
                  </a:moveTo>
                  <a:cubicBezTo>
                    <a:pt x="9" y="0"/>
                    <a:pt x="0" y="9"/>
                    <a:pt x="0" y="19"/>
                  </a:cubicBezTo>
                  <a:cubicBezTo>
                    <a:pt x="0" y="30"/>
                    <a:pt x="9" y="38"/>
                    <a:pt x="19" y="38"/>
                  </a:cubicBezTo>
                  <a:cubicBezTo>
                    <a:pt x="29" y="38"/>
                    <a:pt x="38" y="30"/>
                    <a:pt x="38" y="19"/>
                  </a:cubicBezTo>
                  <a:cubicBezTo>
                    <a:pt x="38" y="9"/>
                    <a:pt x="29" y="0"/>
                    <a:pt x="1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5" name="Freeform 21274">
              <a:extLst>
                <a:ext uri="{FF2B5EF4-FFF2-40B4-BE49-F238E27FC236}">
                  <a16:creationId xmlns:a16="http://schemas.microsoft.com/office/drawing/2014/main" id="{DFC48BBE-9F0F-48CA-8D2B-10191948B38A}"/>
                </a:ext>
              </a:extLst>
            </p:cNvPr>
            <p:cNvSpPr>
              <a:spLocks noEditPoints="1"/>
            </p:cNvSpPr>
            <p:nvPr userDrawn="1"/>
          </p:nvSpPr>
          <p:spPr bwMode="auto">
            <a:xfrm>
              <a:off x="7636828" y="2875915"/>
              <a:ext cx="331788" cy="331788"/>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4 h 164"/>
                <a:gd name="T12" fmla="*/ 111 w 164"/>
                <a:gd name="T13" fmla="*/ 11 h 164"/>
                <a:gd name="T14" fmla="*/ 116 w 164"/>
                <a:gd name="T15" fmla="*/ 33 h 164"/>
                <a:gd name="T16" fmla="*/ 136 w 164"/>
                <a:gd name="T17" fmla="*/ 27 h 164"/>
                <a:gd name="T18" fmla="*/ 140 w 164"/>
                <a:gd name="T19" fmla="*/ 51 h 164"/>
                <a:gd name="T20" fmla="*/ 153 w 164"/>
                <a:gd name="T21" fmla="*/ 53 h 164"/>
                <a:gd name="T22" fmla="*/ 155 w 164"/>
                <a:gd name="T23" fmla="*/ 78 h 164"/>
                <a:gd name="T24" fmla="*/ 155 w 164"/>
                <a:gd name="T25" fmla="*/ 86 h 164"/>
                <a:gd name="T26" fmla="*/ 153 w 164"/>
                <a:gd name="T27" fmla="*/ 111 h 164"/>
                <a:gd name="T28" fmla="*/ 139 w 164"/>
                <a:gd name="T29" fmla="*/ 113 h 164"/>
                <a:gd name="T30" fmla="*/ 137 w 164"/>
                <a:gd name="T31" fmla="*/ 137 h 164"/>
                <a:gd name="T32" fmla="*/ 118 w 164"/>
                <a:gd name="T33" fmla="*/ 131 h 164"/>
                <a:gd name="T34" fmla="*/ 115 w 164"/>
                <a:gd name="T35" fmla="*/ 152 h 164"/>
                <a:gd name="T36" fmla="*/ 96 w 164"/>
                <a:gd name="T37" fmla="*/ 140 h 164"/>
                <a:gd name="T38" fmla="*/ 84 w 164"/>
                <a:gd name="T39" fmla="*/ 159 h 164"/>
                <a:gd name="T40" fmla="*/ 71 w 164"/>
                <a:gd name="T41" fmla="*/ 141 h 164"/>
                <a:gd name="T42" fmla="*/ 55 w 164"/>
                <a:gd name="T43" fmla="*/ 154 h 164"/>
                <a:gd name="T44" fmla="*/ 48 w 164"/>
                <a:gd name="T45" fmla="*/ 132 h 164"/>
                <a:gd name="T46" fmla="*/ 29 w 164"/>
                <a:gd name="T47" fmla="*/ 138 h 164"/>
                <a:gd name="T48" fmla="*/ 26 w 164"/>
                <a:gd name="T49" fmla="*/ 114 h 164"/>
                <a:gd name="T50" fmla="*/ 11 w 164"/>
                <a:gd name="T51" fmla="*/ 113 h 164"/>
                <a:gd name="T52" fmla="*/ 9 w 164"/>
                <a:gd name="T53" fmla="*/ 88 h 164"/>
                <a:gd name="T54" fmla="*/ 24 w 164"/>
                <a:gd name="T55" fmla="*/ 71 h 164"/>
                <a:gd name="T56" fmla="*/ 11 w 164"/>
                <a:gd name="T57" fmla="*/ 53 h 164"/>
                <a:gd name="T58" fmla="*/ 33 w 164"/>
                <a:gd name="T59" fmla="*/ 50 h 164"/>
                <a:gd name="T60" fmla="*/ 28 w 164"/>
                <a:gd name="T61" fmla="*/ 28 h 164"/>
                <a:gd name="T62" fmla="*/ 49 w 164"/>
                <a:gd name="T63" fmla="*/ 32 h 164"/>
                <a:gd name="T64" fmla="*/ 53 w 164"/>
                <a:gd name="T65" fmla="*/ 11 h 164"/>
                <a:gd name="T66" fmla="*/ 69 w 164"/>
                <a:gd name="T67" fmla="*/ 25 h 164"/>
                <a:gd name="T68" fmla="*/ 81 w 164"/>
                <a:gd name="T69" fmla="*/ 0 h 164"/>
                <a:gd name="T70" fmla="*/ 67 w 164"/>
                <a:gd name="T71" fmla="*/ 19 h 164"/>
                <a:gd name="T72" fmla="*/ 48 w 164"/>
                <a:gd name="T73" fmla="*/ 8 h 164"/>
                <a:gd name="T74" fmla="*/ 30 w 164"/>
                <a:gd name="T75" fmla="*/ 22 h 164"/>
                <a:gd name="T76" fmla="*/ 28 w 164"/>
                <a:gd name="T77" fmla="*/ 47 h 164"/>
                <a:gd name="T78" fmla="*/ 6 w 164"/>
                <a:gd name="T79" fmla="*/ 52 h 164"/>
                <a:gd name="T80" fmla="*/ 8 w 164"/>
                <a:gd name="T81" fmla="*/ 74 h 164"/>
                <a:gd name="T82" fmla="*/ 19 w 164"/>
                <a:gd name="T83" fmla="*/ 96 h 164"/>
                <a:gd name="T84" fmla="*/ 14 w 164"/>
                <a:gd name="T85" fmla="*/ 121 h 164"/>
                <a:gd name="T86" fmla="*/ 25 w 164"/>
                <a:gd name="T87" fmla="*/ 129 h 164"/>
                <a:gd name="T88" fmla="*/ 38 w 164"/>
                <a:gd name="T89" fmla="*/ 142 h 164"/>
                <a:gd name="T90" fmla="*/ 53 w 164"/>
                <a:gd name="T91" fmla="*/ 159 h 164"/>
                <a:gd name="T92" fmla="*/ 75 w 164"/>
                <a:gd name="T93" fmla="*/ 156 h 164"/>
                <a:gd name="T94" fmla="*/ 94 w 164"/>
                <a:gd name="T95" fmla="*/ 155 h 164"/>
                <a:gd name="T96" fmla="*/ 116 w 164"/>
                <a:gd name="T97" fmla="*/ 157 h 164"/>
                <a:gd name="T98" fmla="*/ 127 w 164"/>
                <a:gd name="T99" fmla="*/ 141 h 164"/>
                <a:gd name="T100" fmla="*/ 140 w 164"/>
                <a:gd name="T101" fmla="*/ 128 h 164"/>
                <a:gd name="T102" fmla="*/ 151 w 164"/>
                <a:gd name="T103" fmla="*/ 119 h 164"/>
                <a:gd name="T104" fmla="*/ 146 w 164"/>
                <a:gd name="T105" fmla="*/ 94 h 164"/>
                <a:gd name="T106" fmla="*/ 164 w 164"/>
                <a:gd name="T107" fmla="*/ 82 h 164"/>
                <a:gd name="T108" fmla="*/ 158 w 164"/>
                <a:gd name="T109" fmla="*/ 51 h 164"/>
                <a:gd name="T110" fmla="*/ 140 w 164"/>
                <a:gd name="T111" fmla="*/ 46 h 164"/>
                <a:gd name="T112" fmla="*/ 139 w 164"/>
                <a:gd name="T113" fmla="*/ 23 h 164"/>
                <a:gd name="T114" fmla="*/ 117 w 164"/>
                <a:gd name="T115" fmla="*/ 17 h 164"/>
                <a:gd name="T116" fmla="*/ 101 w 164"/>
                <a:gd name="T11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7"/>
                    <a:pt x="35" y="95"/>
                    <a:pt x="35" y="82"/>
                  </a:cubicBezTo>
                  <a:cubicBezTo>
                    <a:pt x="35" y="70"/>
                    <a:pt x="40" y="58"/>
                    <a:pt x="49" y="49"/>
                  </a:cubicBezTo>
                  <a:cubicBezTo>
                    <a:pt x="58" y="41"/>
                    <a:pt x="70" y="36"/>
                    <a:pt x="82" y="36"/>
                  </a:cubicBezTo>
                  <a:cubicBezTo>
                    <a:pt x="95" y="36"/>
                    <a:pt x="106" y="41"/>
                    <a:pt x="115" y="49"/>
                  </a:cubicBezTo>
                  <a:cubicBezTo>
                    <a:pt x="124" y="58"/>
                    <a:pt x="129" y="70"/>
                    <a:pt x="129" y="82"/>
                  </a:cubicBezTo>
                  <a:cubicBezTo>
                    <a:pt x="129" y="95"/>
                    <a:pt x="124" y="107"/>
                    <a:pt x="115" y="115"/>
                  </a:cubicBezTo>
                  <a:cubicBezTo>
                    <a:pt x="106" y="124"/>
                    <a:pt x="95" y="129"/>
                    <a:pt x="82" y="129"/>
                  </a:cubicBezTo>
                  <a:moveTo>
                    <a:pt x="82" y="31"/>
                  </a:moveTo>
                  <a:cubicBezTo>
                    <a:pt x="68" y="31"/>
                    <a:pt x="55" y="36"/>
                    <a:pt x="45" y="46"/>
                  </a:cubicBezTo>
                  <a:cubicBezTo>
                    <a:pt x="36" y="56"/>
                    <a:pt x="30" y="69"/>
                    <a:pt x="30" y="82"/>
                  </a:cubicBezTo>
                  <a:cubicBezTo>
                    <a:pt x="30" y="96"/>
                    <a:pt x="36" y="109"/>
                    <a:pt x="46" y="119"/>
                  </a:cubicBezTo>
                  <a:cubicBezTo>
                    <a:pt x="55" y="129"/>
                    <a:pt x="68" y="134"/>
                    <a:pt x="82" y="134"/>
                  </a:cubicBezTo>
                  <a:cubicBezTo>
                    <a:pt x="96" y="134"/>
                    <a:pt x="109" y="129"/>
                    <a:pt x="119" y="119"/>
                  </a:cubicBezTo>
                  <a:cubicBezTo>
                    <a:pt x="128" y="109"/>
                    <a:pt x="134" y="96"/>
                    <a:pt x="134" y="82"/>
                  </a:cubicBezTo>
                  <a:cubicBezTo>
                    <a:pt x="134" y="68"/>
                    <a:pt x="128" y="56"/>
                    <a:pt x="119" y="46"/>
                  </a:cubicBezTo>
                  <a:cubicBezTo>
                    <a:pt x="109" y="36"/>
                    <a:pt x="96" y="31"/>
                    <a:pt x="82" y="31"/>
                  </a:cubicBezTo>
                  <a:moveTo>
                    <a:pt x="80" y="5"/>
                  </a:moveTo>
                  <a:cubicBezTo>
                    <a:pt x="81" y="5"/>
                    <a:pt x="81" y="5"/>
                    <a:pt x="81" y="5"/>
                  </a:cubicBezTo>
                  <a:cubicBezTo>
                    <a:pt x="83" y="5"/>
                    <a:pt x="84" y="5"/>
                    <a:pt x="84" y="10"/>
                  </a:cubicBezTo>
                  <a:cubicBezTo>
                    <a:pt x="85" y="15"/>
                    <a:pt x="88" y="21"/>
                    <a:pt x="91" y="23"/>
                  </a:cubicBezTo>
                  <a:cubicBezTo>
                    <a:pt x="91" y="24"/>
                    <a:pt x="92" y="24"/>
                    <a:pt x="92" y="24"/>
                  </a:cubicBezTo>
                  <a:cubicBezTo>
                    <a:pt x="92" y="24"/>
                    <a:pt x="92" y="24"/>
                    <a:pt x="92" y="24"/>
                  </a:cubicBezTo>
                  <a:cubicBezTo>
                    <a:pt x="97" y="24"/>
                    <a:pt x="103" y="17"/>
                    <a:pt x="105" y="13"/>
                  </a:cubicBezTo>
                  <a:cubicBezTo>
                    <a:pt x="106" y="12"/>
                    <a:pt x="107" y="10"/>
                    <a:pt x="108" y="10"/>
                  </a:cubicBezTo>
                  <a:cubicBezTo>
                    <a:pt x="108" y="10"/>
                    <a:pt x="109" y="10"/>
                    <a:pt x="110" y="11"/>
                  </a:cubicBezTo>
                  <a:cubicBezTo>
                    <a:pt x="111" y="11"/>
                    <a:pt x="111" y="11"/>
                    <a:pt x="111" y="11"/>
                  </a:cubicBezTo>
                  <a:cubicBezTo>
                    <a:pt x="113" y="12"/>
                    <a:pt x="114" y="12"/>
                    <a:pt x="112" y="16"/>
                  </a:cubicBezTo>
                  <a:cubicBezTo>
                    <a:pt x="111" y="21"/>
                    <a:pt x="111" y="28"/>
                    <a:pt x="113" y="31"/>
                  </a:cubicBezTo>
                  <a:cubicBezTo>
                    <a:pt x="113" y="32"/>
                    <a:pt x="113" y="32"/>
                    <a:pt x="114" y="32"/>
                  </a:cubicBezTo>
                  <a:cubicBezTo>
                    <a:pt x="115" y="33"/>
                    <a:pt x="115" y="33"/>
                    <a:pt x="116" y="33"/>
                  </a:cubicBezTo>
                  <a:cubicBezTo>
                    <a:pt x="120" y="33"/>
                    <a:pt x="126" y="30"/>
                    <a:pt x="130" y="27"/>
                  </a:cubicBezTo>
                  <a:cubicBezTo>
                    <a:pt x="132" y="26"/>
                    <a:pt x="133" y="25"/>
                    <a:pt x="133" y="25"/>
                  </a:cubicBezTo>
                  <a:cubicBezTo>
                    <a:pt x="134" y="25"/>
                    <a:pt x="134" y="26"/>
                    <a:pt x="135" y="27"/>
                  </a:cubicBezTo>
                  <a:cubicBezTo>
                    <a:pt x="136" y="27"/>
                    <a:pt x="136" y="27"/>
                    <a:pt x="136" y="27"/>
                  </a:cubicBezTo>
                  <a:cubicBezTo>
                    <a:pt x="138" y="29"/>
                    <a:pt x="138" y="30"/>
                    <a:pt x="136" y="33"/>
                  </a:cubicBezTo>
                  <a:cubicBezTo>
                    <a:pt x="133" y="37"/>
                    <a:pt x="130" y="43"/>
                    <a:pt x="130" y="47"/>
                  </a:cubicBezTo>
                  <a:cubicBezTo>
                    <a:pt x="130" y="48"/>
                    <a:pt x="130" y="48"/>
                    <a:pt x="131" y="49"/>
                  </a:cubicBezTo>
                  <a:cubicBezTo>
                    <a:pt x="132" y="50"/>
                    <a:pt x="135" y="51"/>
                    <a:pt x="140" y="51"/>
                  </a:cubicBezTo>
                  <a:cubicBezTo>
                    <a:pt x="142" y="51"/>
                    <a:pt x="145" y="51"/>
                    <a:pt x="148" y="50"/>
                  </a:cubicBezTo>
                  <a:cubicBezTo>
                    <a:pt x="149" y="50"/>
                    <a:pt x="150" y="50"/>
                    <a:pt x="150" y="50"/>
                  </a:cubicBezTo>
                  <a:cubicBezTo>
                    <a:pt x="152" y="50"/>
                    <a:pt x="152" y="50"/>
                    <a:pt x="153" y="52"/>
                  </a:cubicBezTo>
                  <a:cubicBezTo>
                    <a:pt x="153" y="53"/>
                    <a:pt x="153" y="53"/>
                    <a:pt x="153" y="53"/>
                  </a:cubicBezTo>
                  <a:cubicBezTo>
                    <a:pt x="154" y="55"/>
                    <a:pt x="154" y="56"/>
                    <a:pt x="151" y="58"/>
                  </a:cubicBezTo>
                  <a:cubicBezTo>
                    <a:pt x="146" y="60"/>
                    <a:pt x="142" y="64"/>
                    <a:pt x="140" y="68"/>
                  </a:cubicBezTo>
                  <a:cubicBezTo>
                    <a:pt x="140" y="69"/>
                    <a:pt x="140" y="69"/>
                    <a:pt x="140" y="70"/>
                  </a:cubicBezTo>
                  <a:cubicBezTo>
                    <a:pt x="142" y="74"/>
                    <a:pt x="150" y="77"/>
                    <a:pt x="155" y="78"/>
                  </a:cubicBezTo>
                  <a:cubicBezTo>
                    <a:pt x="159" y="78"/>
                    <a:pt x="159" y="79"/>
                    <a:pt x="159" y="81"/>
                  </a:cubicBezTo>
                  <a:cubicBezTo>
                    <a:pt x="159" y="82"/>
                    <a:pt x="159" y="82"/>
                    <a:pt x="159" y="82"/>
                  </a:cubicBezTo>
                  <a:cubicBezTo>
                    <a:pt x="159" y="82"/>
                    <a:pt x="159" y="82"/>
                    <a:pt x="159" y="82"/>
                  </a:cubicBezTo>
                  <a:cubicBezTo>
                    <a:pt x="159" y="85"/>
                    <a:pt x="159" y="86"/>
                    <a:pt x="155" y="86"/>
                  </a:cubicBezTo>
                  <a:cubicBezTo>
                    <a:pt x="150" y="87"/>
                    <a:pt x="144" y="89"/>
                    <a:pt x="141" y="92"/>
                  </a:cubicBezTo>
                  <a:cubicBezTo>
                    <a:pt x="141" y="92"/>
                    <a:pt x="140" y="93"/>
                    <a:pt x="140" y="94"/>
                  </a:cubicBezTo>
                  <a:cubicBezTo>
                    <a:pt x="140" y="98"/>
                    <a:pt x="147" y="104"/>
                    <a:pt x="151" y="106"/>
                  </a:cubicBezTo>
                  <a:cubicBezTo>
                    <a:pt x="155" y="109"/>
                    <a:pt x="154" y="109"/>
                    <a:pt x="153" y="111"/>
                  </a:cubicBezTo>
                  <a:cubicBezTo>
                    <a:pt x="153" y="112"/>
                    <a:pt x="153" y="112"/>
                    <a:pt x="153" y="112"/>
                  </a:cubicBezTo>
                  <a:cubicBezTo>
                    <a:pt x="152" y="114"/>
                    <a:pt x="152" y="114"/>
                    <a:pt x="151" y="114"/>
                  </a:cubicBezTo>
                  <a:cubicBezTo>
                    <a:pt x="150" y="114"/>
                    <a:pt x="149" y="114"/>
                    <a:pt x="148" y="114"/>
                  </a:cubicBezTo>
                  <a:cubicBezTo>
                    <a:pt x="145" y="113"/>
                    <a:pt x="142" y="113"/>
                    <a:pt x="139" y="113"/>
                  </a:cubicBezTo>
                  <a:cubicBezTo>
                    <a:pt x="137" y="113"/>
                    <a:pt x="134" y="113"/>
                    <a:pt x="133" y="114"/>
                  </a:cubicBezTo>
                  <a:cubicBezTo>
                    <a:pt x="132" y="114"/>
                    <a:pt x="132" y="115"/>
                    <a:pt x="132" y="115"/>
                  </a:cubicBezTo>
                  <a:cubicBezTo>
                    <a:pt x="130" y="120"/>
                    <a:pt x="134" y="127"/>
                    <a:pt x="136" y="131"/>
                  </a:cubicBezTo>
                  <a:cubicBezTo>
                    <a:pt x="139" y="135"/>
                    <a:pt x="138" y="135"/>
                    <a:pt x="137" y="137"/>
                  </a:cubicBezTo>
                  <a:cubicBezTo>
                    <a:pt x="136" y="137"/>
                    <a:pt x="136" y="137"/>
                    <a:pt x="136" y="137"/>
                  </a:cubicBezTo>
                  <a:cubicBezTo>
                    <a:pt x="135" y="138"/>
                    <a:pt x="135" y="139"/>
                    <a:pt x="134" y="139"/>
                  </a:cubicBezTo>
                  <a:cubicBezTo>
                    <a:pt x="134" y="139"/>
                    <a:pt x="132" y="138"/>
                    <a:pt x="130" y="137"/>
                  </a:cubicBezTo>
                  <a:cubicBezTo>
                    <a:pt x="127" y="134"/>
                    <a:pt x="122" y="131"/>
                    <a:pt x="118" y="131"/>
                  </a:cubicBezTo>
                  <a:cubicBezTo>
                    <a:pt x="118" y="131"/>
                    <a:pt x="118" y="131"/>
                    <a:pt x="118" y="131"/>
                  </a:cubicBezTo>
                  <a:cubicBezTo>
                    <a:pt x="117" y="131"/>
                    <a:pt x="116" y="132"/>
                    <a:pt x="115" y="133"/>
                  </a:cubicBezTo>
                  <a:cubicBezTo>
                    <a:pt x="114" y="137"/>
                    <a:pt x="115" y="143"/>
                    <a:pt x="116" y="147"/>
                  </a:cubicBezTo>
                  <a:cubicBezTo>
                    <a:pt x="117" y="151"/>
                    <a:pt x="117" y="151"/>
                    <a:pt x="115" y="152"/>
                  </a:cubicBezTo>
                  <a:cubicBezTo>
                    <a:pt x="114" y="152"/>
                    <a:pt x="114" y="152"/>
                    <a:pt x="114" y="152"/>
                  </a:cubicBezTo>
                  <a:cubicBezTo>
                    <a:pt x="113" y="153"/>
                    <a:pt x="112" y="153"/>
                    <a:pt x="112" y="153"/>
                  </a:cubicBezTo>
                  <a:cubicBezTo>
                    <a:pt x="111" y="153"/>
                    <a:pt x="110" y="152"/>
                    <a:pt x="109" y="150"/>
                  </a:cubicBezTo>
                  <a:cubicBezTo>
                    <a:pt x="106" y="147"/>
                    <a:pt x="101" y="140"/>
                    <a:pt x="96" y="140"/>
                  </a:cubicBezTo>
                  <a:cubicBezTo>
                    <a:pt x="95" y="140"/>
                    <a:pt x="94" y="140"/>
                    <a:pt x="94" y="141"/>
                  </a:cubicBezTo>
                  <a:cubicBezTo>
                    <a:pt x="91" y="144"/>
                    <a:pt x="89" y="150"/>
                    <a:pt x="89" y="155"/>
                  </a:cubicBezTo>
                  <a:cubicBezTo>
                    <a:pt x="88" y="159"/>
                    <a:pt x="87" y="159"/>
                    <a:pt x="85" y="159"/>
                  </a:cubicBezTo>
                  <a:cubicBezTo>
                    <a:pt x="84" y="159"/>
                    <a:pt x="84" y="159"/>
                    <a:pt x="84" y="159"/>
                  </a:cubicBezTo>
                  <a:cubicBezTo>
                    <a:pt x="83" y="159"/>
                    <a:pt x="83" y="159"/>
                    <a:pt x="83" y="159"/>
                  </a:cubicBezTo>
                  <a:cubicBezTo>
                    <a:pt x="82" y="159"/>
                    <a:pt x="81" y="159"/>
                    <a:pt x="80" y="155"/>
                  </a:cubicBezTo>
                  <a:cubicBezTo>
                    <a:pt x="80" y="151"/>
                    <a:pt x="77" y="142"/>
                    <a:pt x="72" y="141"/>
                  </a:cubicBezTo>
                  <a:cubicBezTo>
                    <a:pt x="71" y="141"/>
                    <a:pt x="71" y="141"/>
                    <a:pt x="71" y="141"/>
                  </a:cubicBezTo>
                  <a:cubicBezTo>
                    <a:pt x="70" y="141"/>
                    <a:pt x="70" y="141"/>
                    <a:pt x="70" y="141"/>
                  </a:cubicBezTo>
                  <a:cubicBezTo>
                    <a:pt x="67" y="142"/>
                    <a:pt x="62" y="147"/>
                    <a:pt x="60" y="152"/>
                  </a:cubicBezTo>
                  <a:cubicBezTo>
                    <a:pt x="59" y="153"/>
                    <a:pt x="58" y="155"/>
                    <a:pt x="57" y="155"/>
                  </a:cubicBezTo>
                  <a:cubicBezTo>
                    <a:pt x="57" y="155"/>
                    <a:pt x="56" y="155"/>
                    <a:pt x="55" y="154"/>
                  </a:cubicBezTo>
                  <a:cubicBezTo>
                    <a:pt x="54" y="154"/>
                    <a:pt x="54" y="154"/>
                    <a:pt x="54" y="154"/>
                  </a:cubicBezTo>
                  <a:cubicBezTo>
                    <a:pt x="52" y="153"/>
                    <a:pt x="51" y="153"/>
                    <a:pt x="52" y="149"/>
                  </a:cubicBezTo>
                  <a:cubicBezTo>
                    <a:pt x="53" y="145"/>
                    <a:pt x="54" y="136"/>
                    <a:pt x="50" y="132"/>
                  </a:cubicBezTo>
                  <a:cubicBezTo>
                    <a:pt x="50" y="132"/>
                    <a:pt x="49" y="132"/>
                    <a:pt x="48" y="132"/>
                  </a:cubicBezTo>
                  <a:cubicBezTo>
                    <a:pt x="44" y="132"/>
                    <a:pt x="39" y="135"/>
                    <a:pt x="35" y="138"/>
                  </a:cubicBezTo>
                  <a:cubicBezTo>
                    <a:pt x="33" y="139"/>
                    <a:pt x="32" y="140"/>
                    <a:pt x="31" y="140"/>
                  </a:cubicBezTo>
                  <a:cubicBezTo>
                    <a:pt x="31" y="140"/>
                    <a:pt x="30" y="139"/>
                    <a:pt x="29" y="138"/>
                  </a:cubicBezTo>
                  <a:cubicBezTo>
                    <a:pt x="29" y="138"/>
                    <a:pt x="29" y="138"/>
                    <a:pt x="29" y="138"/>
                  </a:cubicBezTo>
                  <a:cubicBezTo>
                    <a:pt x="27" y="136"/>
                    <a:pt x="26" y="136"/>
                    <a:pt x="29" y="132"/>
                  </a:cubicBezTo>
                  <a:cubicBezTo>
                    <a:pt x="31" y="129"/>
                    <a:pt x="35" y="121"/>
                    <a:pt x="33" y="116"/>
                  </a:cubicBezTo>
                  <a:cubicBezTo>
                    <a:pt x="33" y="116"/>
                    <a:pt x="33" y="115"/>
                    <a:pt x="32" y="115"/>
                  </a:cubicBezTo>
                  <a:cubicBezTo>
                    <a:pt x="31" y="114"/>
                    <a:pt x="29" y="114"/>
                    <a:pt x="26" y="114"/>
                  </a:cubicBezTo>
                  <a:cubicBezTo>
                    <a:pt x="23" y="114"/>
                    <a:pt x="20" y="114"/>
                    <a:pt x="17" y="115"/>
                  </a:cubicBezTo>
                  <a:cubicBezTo>
                    <a:pt x="16" y="116"/>
                    <a:pt x="15" y="116"/>
                    <a:pt x="14" y="116"/>
                  </a:cubicBezTo>
                  <a:cubicBezTo>
                    <a:pt x="13" y="116"/>
                    <a:pt x="13" y="115"/>
                    <a:pt x="12" y="114"/>
                  </a:cubicBezTo>
                  <a:cubicBezTo>
                    <a:pt x="11" y="113"/>
                    <a:pt x="11" y="113"/>
                    <a:pt x="11" y="113"/>
                  </a:cubicBezTo>
                  <a:cubicBezTo>
                    <a:pt x="11" y="111"/>
                    <a:pt x="10" y="110"/>
                    <a:pt x="14" y="108"/>
                  </a:cubicBezTo>
                  <a:cubicBezTo>
                    <a:pt x="17" y="105"/>
                    <a:pt x="24" y="100"/>
                    <a:pt x="24" y="95"/>
                  </a:cubicBezTo>
                  <a:cubicBezTo>
                    <a:pt x="24" y="94"/>
                    <a:pt x="24" y="94"/>
                    <a:pt x="23" y="93"/>
                  </a:cubicBezTo>
                  <a:cubicBezTo>
                    <a:pt x="21" y="90"/>
                    <a:pt x="15" y="88"/>
                    <a:pt x="9" y="88"/>
                  </a:cubicBezTo>
                  <a:cubicBezTo>
                    <a:pt x="5" y="87"/>
                    <a:pt x="5" y="86"/>
                    <a:pt x="5" y="84"/>
                  </a:cubicBezTo>
                  <a:cubicBezTo>
                    <a:pt x="5" y="83"/>
                    <a:pt x="5" y="83"/>
                    <a:pt x="5" y="83"/>
                  </a:cubicBezTo>
                  <a:cubicBezTo>
                    <a:pt x="5" y="81"/>
                    <a:pt x="5" y="80"/>
                    <a:pt x="9" y="79"/>
                  </a:cubicBezTo>
                  <a:cubicBezTo>
                    <a:pt x="14" y="79"/>
                    <a:pt x="22" y="76"/>
                    <a:pt x="24" y="71"/>
                  </a:cubicBezTo>
                  <a:cubicBezTo>
                    <a:pt x="24" y="71"/>
                    <a:pt x="24" y="70"/>
                    <a:pt x="24" y="69"/>
                  </a:cubicBezTo>
                  <a:cubicBezTo>
                    <a:pt x="22" y="66"/>
                    <a:pt x="17" y="62"/>
                    <a:pt x="13" y="59"/>
                  </a:cubicBezTo>
                  <a:cubicBezTo>
                    <a:pt x="9" y="57"/>
                    <a:pt x="10" y="56"/>
                    <a:pt x="11" y="54"/>
                  </a:cubicBezTo>
                  <a:cubicBezTo>
                    <a:pt x="11" y="53"/>
                    <a:pt x="11" y="53"/>
                    <a:pt x="11" y="53"/>
                  </a:cubicBezTo>
                  <a:cubicBezTo>
                    <a:pt x="12" y="51"/>
                    <a:pt x="12" y="51"/>
                    <a:pt x="13" y="51"/>
                  </a:cubicBezTo>
                  <a:cubicBezTo>
                    <a:pt x="14" y="51"/>
                    <a:pt x="15" y="51"/>
                    <a:pt x="16" y="51"/>
                  </a:cubicBezTo>
                  <a:cubicBezTo>
                    <a:pt x="18" y="52"/>
                    <a:pt x="21" y="52"/>
                    <a:pt x="23" y="52"/>
                  </a:cubicBezTo>
                  <a:cubicBezTo>
                    <a:pt x="26" y="52"/>
                    <a:pt x="31" y="52"/>
                    <a:pt x="33" y="50"/>
                  </a:cubicBezTo>
                  <a:cubicBezTo>
                    <a:pt x="33" y="49"/>
                    <a:pt x="33" y="49"/>
                    <a:pt x="33" y="48"/>
                  </a:cubicBezTo>
                  <a:cubicBezTo>
                    <a:pt x="33" y="44"/>
                    <a:pt x="31" y="38"/>
                    <a:pt x="28" y="34"/>
                  </a:cubicBezTo>
                  <a:cubicBezTo>
                    <a:pt x="25" y="31"/>
                    <a:pt x="25" y="30"/>
                    <a:pt x="27" y="29"/>
                  </a:cubicBezTo>
                  <a:cubicBezTo>
                    <a:pt x="28" y="28"/>
                    <a:pt x="28" y="28"/>
                    <a:pt x="28" y="28"/>
                  </a:cubicBezTo>
                  <a:cubicBezTo>
                    <a:pt x="29" y="27"/>
                    <a:pt x="29" y="27"/>
                    <a:pt x="30" y="27"/>
                  </a:cubicBezTo>
                  <a:cubicBezTo>
                    <a:pt x="30" y="27"/>
                    <a:pt x="31" y="27"/>
                    <a:pt x="33" y="28"/>
                  </a:cubicBezTo>
                  <a:cubicBezTo>
                    <a:pt x="37" y="31"/>
                    <a:pt x="43" y="34"/>
                    <a:pt x="46" y="34"/>
                  </a:cubicBezTo>
                  <a:cubicBezTo>
                    <a:pt x="48" y="34"/>
                    <a:pt x="48" y="33"/>
                    <a:pt x="49" y="32"/>
                  </a:cubicBezTo>
                  <a:cubicBezTo>
                    <a:pt x="50" y="28"/>
                    <a:pt x="50" y="22"/>
                    <a:pt x="49" y="18"/>
                  </a:cubicBezTo>
                  <a:cubicBezTo>
                    <a:pt x="47" y="13"/>
                    <a:pt x="48" y="13"/>
                    <a:pt x="50" y="12"/>
                  </a:cubicBezTo>
                  <a:cubicBezTo>
                    <a:pt x="51" y="12"/>
                    <a:pt x="51" y="12"/>
                    <a:pt x="51" y="12"/>
                  </a:cubicBezTo>
                  <a:cubicBezTo>
                    <a:pt x="52" y="12"/>
                    <a:pt x="53" y="11"/>
                    <a:pt x="53" y="11"/>
                  </a:cubicBezTo>
                  <a:cubicBezTo>
                    <a:pt x="54" y="11"/>
                    <a:pt x="55" y="13"/>
                    <a:pt x="56" y="14"/>
                  </a:cubicBezTo>
                  <a:cubicBezTo>
                    <a:pt x="59" y="19"/>
                    <a:pt x="63" y="23"/>
                    <a:pt x="67" y="25"/>
                  </a:cubicBezTo>
                  <a:cubicBezTo>
                    <a:pt x="67" y="25"/>
                    <a:pt x="67" y="25"/>
                    <a:pt x="68" y="25"/>
                  </a:cubicBezTo>
                  <a:cubicBezTo>
                    <a:pt x="68" y="25"/>
                    <a:pt x="68" y="25"/>
                    <a:pt x="69" y="25"/>
                  </a:cubicBezTo>
                  <a:cubicBezTo>
                    <a:pt x="73" y="23"/>
                    <a:pt x="76" y="14"/>
                    <a:pt x="76" y="10"/>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4"/>
                    <a:pt x="69" y="18"/>
                    <a:pt x="67" y="19"/>
                  </a:cubicBezTo>
                  <a:cubicBezTo>
                    <a:pt x="65" y="18"/>
                    <a:pt x="62" y="15"/>
                    <a:pt x="60" y="12"/>
                  </a:cubicBezTo>
                  <a:cubicBezTo>
                    <a:pt x="58" y="8"/>
                    <a:pt x="56" y="6"/>
                    <a:pt x="53" y="6"/>
                  </a:cubicBezTo>
                  <a:cubicBezTo>
                    <a:pt x="51" y="6"/>
                    <a:pt x="50" y="7"/>
                    <a:pt x="49" y="7"/>
                  </a:cubicBezTo>
                  <a:cubicBezTo>
                    <a:pt x="48" y="8"/>
                    <a:pt x="48" y="8"/>
                    <a:pt x="48" y="8"/>
                  </a:cubicBezTo>
                  <a:cubicBezTo>
                    <a:pt x="46" y="9"/>
                    <a:pt x="41" y="11"/>
                    <a:pt x="44" y="19"/>
                  </a:cubicBezTo>
                  <a:cubicBezTo>
                    <a:pt x="45" y="22"/>
                    <a:pt x="45" y="26"/>
                    <a:pt x="45" y="28"/>
                  </a:cubicBezTo>
                  <a:cubicBezTo>
                    <a:pt x="42" y="28"/>
                    <a:pt x="39" y="26"/>
                    <a:pt x="36" y="24"/>
                  </a:cubicBezTo>
                  <a:cubicBezTo>
                    <a:pt x="34" y="22"/>
                    <a:pt x="32" y="22"/>
                    <a:pt x="30" y="22"/>
                  </a:cubicBezTo>
                  <a:cubicBezTo>
                    <a:pt x="27" y="22"/>
                    <a:pt x="25" y="23"/>
                    <a:pt x="24" y="25"/>
                  </a:cubicBezTo>
                  <a:cubicBezTo>
                    <a:pt x="23" y="25"/>
                    <a:pt x="23" y="25"/>
                    <a:pt x="23" y="25"/>
                  </a:cubicBezTo>
                  <a:cubicBezTo>
                    <a:pt x="22" y="27"/>
                    <a:pt x="18" y="31"/>
                    <a:pt x="24" y="37"/>
                  </a:cubicBezTo>
                  <a:cubicBezTo>
                    <a:pt x="26" y="40"/>
                    <a:pt x="28" y="44"/>
                    <a:pt x="28" y="47"/>
                  </a:cubicBezTo>
                  <a:cubicBezTo>
                    <a:pt x="27" y="47"/>
                    <a:pt x="26" y="47"/>
                    <a:pt x="23" y="47"/>
                  </a:cubicBezTo>
                  <a:cubicBezTo>
                    <a:pt x="21" y="47"/>
                    <a:pt x="19" y="47"/>
                    <a:pt x="17" y="47"/>
                  </a:cubicBezTo>
                  <a:cubicBezTo>
                    <a:pt x="16" y="46"/>
                    <a:pt x="15" y="46"/>
                    <a:pt x="13" y="46"/>
                  </a:cubicBezTo>
                  <a:cubicBezTo>
                    <a:pt x="8" y="46"/>
                    <a:pt x="7" y="50"/>
                    <a:pt x="6" y="52"/>
                  </a:cubicBezTo>
                  <a:cubicBezTo>
                    <a:pt x="6" y="52"/>
                    <a:pt x="6" y="52"/>
                    <a:pt x="6" y="52"/>
                  </a:cubicBezTo>
                  <a:cubicBezTo>
                    <a:pt x="5" y="55"/>
                    <a:pt x="3" y="59"/>
                    <a:pt x="11" y="63"/>
                  </a:cubicBezTo>
                  <a:cubicBezTo>
                    <a:pt x="14" y="65"/>
                    <a:pt x="17" y="68"/>
                    <a:pt x="19" y="70"/>
                  </a:cubicBezTo>
                  <a:cubicBezTo>
                    <a:pt x="17" y="71"/>
                    <a:pt x="13" y="74"/>
                    <a:pt x="8" y="74"/>
                  </a:cubicBezTo>
                  <a:cubicBezTo>
                    <a:pt x="0" y="76"/>
                    <a:pt x="0" y="81"/>
                    <a:pt x="0" y="83"/>
                  </a:cubicBezTo>
                  <a:cubicBezTo>
                    <a:pt x="0" y="84"/>
                    <a:pt x="0" y="84"/>
                    <a:pt x="0" y="84"/>
                  </a:cubicBezTo>
                  <a:cubicBezTo>
                    <a:pt x="0" y="87"/>
                    <a:pt x="0" y="92"/>
                    <a:pt x="9" y="93"/>
                  </a:cubicBezTo>
                  <a:cubicBezTo>
                    <a:pt x="13" y="93"/>
                    <a:pt x="17" y="95"/>
                    <a:pt x="19" y="96"/>
                  </a:cubicBezTo>
                  <a:cubicBezTo>
                    <a:pt x="18" y="98"/>
                    <a:pt x="15" y="101"/>
                    <a:pt x="11" y="104"/>
                  </a:cubicBezTo>
                  <a:cubicBezTo>
                    <a:pt x="4" y="108"/>
                    <a:pt x="6" y="113"/>
                    <a:pt x="7" y="115"/>
                  </a:cubicBezTo>
                  <a:cubicBezTo>
                    <a:pt x="7" y="116"/>
                    <a:pt x="7" y="116"/>
                    <a:pt x="7" y="116"/>
                  </a:cubicBezTo>
                  <a:cubicBezTo>
                    <a:pt x="8" y="117"/>
                    <a:pt x="9" y="121"/>
                    <a:pt x="14" y="121"/>
                  </a:cubicBezTo>
                  <a:cubicBezTo>
                    <a:pt x="16" y="121"/>
                    <a:pt x="17" y="121"/>
                    <a:pt x="19" y="120"/>
                  </a:cubicBezTo>
                  <a:cubicBezTo>
                    <a:pt x="21" y="119"/>
                    <a:pt x="24" y="119"/>
                    <a:pt x="26" y="119"/>
                  </a:cubicBezTo>
                  <a:cubicBezTo>
                    <a:pt x="27" y="119"/>
                    <a:pt x="28" y="119"/>
                    <a:pt x="29" y="119"/>
                  </a:cubicBezTo>
                  <a:cubicBezTo>
                    <a:pt x="29" y="121"/>
                    <a:pt x="28" y="125"/>
                    <a:pt x="25" y="129"/>
                  </a:cubicBezTo>
                  <a:cubicBezTo>
                    <a:pt x="20" y="136"/>
                    <a:pt x="22" y="139"/>
                    <a:pt x="25" y="142"/>
                  </a:cubicBezTo>
                  <a:cubicBezTo>
                    <a:pt x="26" y="142"/>
                    <a:pt x="26" y="142"/>
                    <a:pt x="26" y="142"/>
                  </a:cubicBezTo>
                  <a:cubicBezTo>
                    <a:pt x="27" y="143"/>
                    <a:pt x="29" y="145"/>
                    <a:pt x="31" y="145"/>
                  </a:cubicBezTo>
                  <a:cubicBezTo>
                    <a:pt x="33" y="145"/>
                    <a:pt x="36" y="144"/>
                    <a:pt x="38" y="142"/>
                  </a:cubicBezTo>
                  <a:cubicBezTo>
                    <a:pt x="41" y="139"/>
                    <a:pt x="45" y="137"/>
                    <a:pt x="47" y="137"/>
                  </a:cubicBezTo>
                  <a:cubicBezTo>
                    <a:pt x="48" y="139"/>
                    <a:pt x="48" y="143"/>
                    <a:pt x="47" y="148"/>
                  </a:cubicBezTo>
                  <a:cubicBezTo>
                    <a:pt x="46" y="156"/>
                    <a:pt x="50" y="158"/>
                    <a:pt x="53" y="159"/>
                  </a:cubicBezTo>
                  <a:cubicBezTo>
                    <a:pt x="53" y="159"/>
                    <a:pt x="53" y="159"/>
                    <a:pt x="53" y="159"/>
                  </a:cubicBezTo>
                  <a:cubicBezTo>
                    <a:pt x="54" y="159"/>
                    <a:pt x="56" y="160"/>
                    <a:pt x="57" y="160"/>
                  </a:cubicBezTo>
                  <a:cubicBezTo>
                    <a:pt x="60" y="160"/>
                    <a:pt x="62" y="158"/>
                    <a:pt x="64" y="154"/>
                  </a:cubicBezTo>
                  <a:cubicBezTo>
                    <a:pt x="66" y="151"/>
                    <a:pt x="69" y="148"/>
                    <a:pt x="71" y="146"/>
                  </a:cubicBezTo>
                  <a:cubicBezTo>
                    <a:pt x="72" y="148"/>
                    <a:pt x="74" y="151"/>
                    <a:pt x="75" y="156"/>
                  </a:cubicBezTo>
                  <a:cubicBezTo>
                    <a:pt x="76" y="162"/>
                    <a:pt x="79" y="164"/>
                    <a:pt x="83" y="164"/>
                  </a:cubicBezTo>
                  <a:cubicBezTo>
                    <a:pt x="84" y="164"/>
                    <a:pt x="84" y="164"/>
                    <a:pt x="85" y="164"/>
                  </a:cubicBezTo>
                  <a:cubicBezTo>
                    <a:pt x="85" y="164"/>
                    <a:pt x="85" y="164"/>
                    <a:pt x="85" y="164"/>
                  </a:cubicBezTo>
                  <a:cubicBezTo>
                    <a:pt x="88" y="164"/>
                    <a:pt x="93" y="164"/>
                    <a:pt x="94" y="155"/>
                  </a:cubicBezTo>
                  <a:cubicBezTo>
                    <a:pt x="94" y="151"/>
                    <a:pt x="95" y="147"/>
                    <a:pt x="97" y="145"/>
                  </a:cubicBezTo>
                  <a:cubicBezTo>
                    <a:pt x="98" y="146"/>
                    <a:pt x="102" y="149"/>
                    <a:pt x="105" y="153"/>
                  </a:cubicBezTo>
                  <a:cubicBezTo>
                    <a:pt x="107" y="156"/>
                    <a:pt x="109" y="158"/>
                    <a:pt x="112" y="158"/>
                  </a:cubicBezTo>
                  <a:cubicBezTo>
                    <a:pt x="114" y="158"/>
                    <a:pt x="115" y="158"/>
                    <a:pt x="116" y="157"/>
                  </a:cubicBezTo>
                  <a:cubicBezTo>
                    <a:pt x="117" y="157"/>
                    <a:pt x="117" y="157"/>
                    <a:pt x="117" y="157"/>
                  </a:cubicBezTo>
                  <a:cubicBezTo>
                    <a:pt x="119" y="156"/>
                    <a:pt x="124" y="153"/>
                    <a:pt x="121" y="145"/>
                  </a:cubicBezTo>
                  <a:cubicBezTo>
                    <a:pt x="120" y="142"/>
                    <a:pt x="120" y="139"/>
                    <a:pt x="120" y="137"/>
                  </a:cubicBezTo>
                  <a:cubicBezTo>
                    <a:pt x="122" y="137"/>
                    <a:pt x="125" y="139"/>
                    <a:pt x="127" y="141"/>
                  </a:cubicBezTo>
                  <a:cubicBezTo>
                    <a:pt x="130" y="143"/>
                    <a:pt x="132" y="144"/>
                    <a:pt x="134" y="144"/>
                  </a:cubicBezTo>
                  <a:cubicBezTo>
                    <a:pt x="137" y="144"/>
                    <a:pt x="138" y="142"/>
                    <a:pt x="140" y="141"/>
                  </a:cubicBezTo>
                  <a:cubicBezTo>
                    <a:pt x="140" y="140"/>
                    <a:pt x="140" y="140"/>
                    <a:pt x="140" y="140"/>
                  </a:cubicBezTo>
                  <a:cubicBezTo>
                    <a:pt x="143" y="138"/>
                    <a:pt x="145" y="134"/>
                    <a:pt x="140" y="128"/>
                  </a:cubicBezTo>
                  <a:cubicBezTo>
                    <a:pt x="138" y="124"/>
                    <a:pt x="136" y="120"/>
                    <a:pt x="136" y="118"/>
                  </a:cubicBezTo>
                  <a:cubicBezTo>
                    <a:pt x="137" y="118"/>
                    <a:pt x="138" y="118"/>
                    <a:pt x="139" y="118"/>
                  </a:cubicBezTo>
                  <a:cubicBezTo>
                    <a:pt x="141" y="118"/>
                    <a:pt x="144" y="118"/>
                    <a:pt x="146" y="119"/>
                  </a:cubicBezTo>
                  <a:cubicBezTo>
                    <a:pt x="148" y="119"/>
                    <a:pt x="149" y="119"/>
                    <a:pt x="151" y="119"/>
                  </a:cubicBezTo>
                  <a:cubicBezTo>
                    <a:pt x="156" y="119"/>
                    <a:pt x="157" y="116"/>
                    <a:pt x="158" y="114"/>
                  </a:cubicBezTo>
                  <a:cubicBezTo>
                    <a:pt x="158" y="113"/>
                    <a:pt x="158" y="113"/>
                    <a:pt x="158" y="113"/>
                  </a:cubicBezTo>
                  <a:cubicBezTo>
                    <a:pt x="159" y="111"/>
                    <a:pt x="161" y="106"/>
                    <a:pt x="154" y="102"/>
                  </a:cubicBezTo>
                  <a:cubicBezTo>
                    <a:pt x="150" y="99"/>
                    <a:pt x="147" y="96"/>
                    <a:pt x="146" y="94"/>
                  </a:cubicBezTo>
                  <a:cubicBezTo>
                    <a:pt x="148" y="93"/>
                    <a:pt x="152" y="92"/>
                    <a:pt x="155" y="91"/>
                  </a:cubicBezTo>
                  <a:cubicBezTo>
                    <a:pt x="164" y="90"/>
                    <a:pt x="164" y="85"/>
                    <a:pt x="164" y="82"/>
                  </a:cubicBezTo>
                  <a:cubicBezTo>
                    <a:pt x="164" y="82"/>
                    <a:pt x="164" y="82"/>
                    <a:pt x="164" y="82"/>
                  </a:cubicBezTo>
                  <a:cubicBezTo>
                    <a:pt x="164" y="82"/>
                    <a:pt x="164" y="82"/>
                    <a:pt x="164" y="82"/>
                  </a:cubicBezTo>
                  <a:cubicBezTo>
                    <a:pt x="164" y="79"/>
                    <a:pt x="164" y="74"/>
                    <a:pt x="156" y="73"/>
                  </a:cubicBezTo>
                  <a:cubicBezTo>
                    <a:pt x="151" y="72"/>
                    <a:pt x="147" y="70"/>
                    <a:pt x="145" y="69"/>
                  </a:cubicBezTo>
                  <a:cubicBezTo>
                    <a:pt x="147" y="67"/>
                    <a:pt x="150" y="64"/>
                    <a:pt x="153" y="62"/>
                  </a:cubicBezTo>
                  <a:cubicBezTo>
                    <a:pt x="161" y="58"/>
                    <a:pt x="159" y="53"/>
                    <a:pt x="158" y="51"/>
                  </a:cubicBezTo>
                  <a:cubicBezTo>
                    <a:pt x="157" y="50"/>
                    <a:pt x="157" y="50"/>
                    <a:pt x="157" y="50"/>
                  </a:cubicBezTo>
                  <a:cubicBezTo>
                    <a:pt x="157" y="48"/>
                    <a:pt x="155" y="45"/>
                    <a:pt x="150" y="45"/>
                  </a:cubicBezTo>
                  <a:cubicBezTo>
                    <a:pt x="149" y="45"/>
                    <a:pt x="148" y="45"/>
                    <a:pt x="146" y="45"/>
                  </a:cubicBezTo>
                  <a:cubicBezTo>
                    <a:pt x="144" y="46"/>
                    <a:pt x="142" y="46"/>
                    <a:pt x="140" y="46"/>
                  </a:cubicBezTo>
                  <a:cubicBezTo>
                    <a:pt x="137" y="46"/>
                    <a:pt x="136" y="46"/>
                    <a:pt x="135" y="45"/>
                  </a:cubicBezTo>
                  <a:cubicBezTo>
                    <a:pt x="136" y="43"/>
                    <a:pt x="137" y="39"/>
                    <a:pt x="140" y="36"/>
                  </a:cubicBezTo>
                  <a:cubicBezTo>
                    <a:pt x="145" y="29"/>
                    <a:pt x="141" y="26"/>
                    <a:pt x="139" y="24"/>
                  </a:cubicBezTo>
                  <a:cubicBezTo>
                    <a:pt x="139" y="23"/>
                    <a:pt x="139" y="23"/>
                    <a:pt x="139" y="23"/>
                  </a:cubicBezTo>
                  <a:cubicBezTo>
                    <a:pt x="138" y="22"/>
                    <a:pt x="136" y="20"/>
                    <a:pt x="133" y="20"/>
                  </a:cubicBezTo>
                  <a:cubicBezTo>
                    <a:pt x="131" y="20"/>
                    <a:pt x="129" y="21"/>
                    <a:pt x="127" y="23"/>
                  </a:cubicBezTo>
                  <a:cubicBezTo>
                    <a:pt x="123" y="26"/>
                    <a:pt x="119" y="28"/>
                    <a:pt x="117" y="28"/>
                  </a:cubicBezTo>
                  <a:cubicBezTo>
                    <a:pt x="116" y="25"/>
                    <a:pt x="116" y="22"/>
                    <a:pt x="117" y="17"/>
                  </a:cubicBezTo>
                  <a:cubicBezTo>
                    <a:pt x="120" y="9"/>
                    <a:pt x="115" y="7"/>
                    <a:pt x="112" y="6"/>
                  </a:cubicBezTo>
                  <a:cubicBezTo>
                    <a:pt x="112" y="6"/>
                    <a:pt x="112" y="6"/>
                    <a:pt x="112" y="6"/>
                  </a:cubicBezTo>
                  <a:cubicBezTo>
                    <a:pt x="111" y="6"/>
                    <a:pt x="109" y="5"/>
                    <a:pt x="108" y="5"/>
                  </a:cubicBezTo>
                  <a:cubicBezTo>
                    <a:pt x="105" y="5"/>
                    <a:pt x="103" y="7"/>
                    <a:pt x="101" y="11"/>
                  </a:cubicBezTo>
                  <a:cubicBezTo>
                    <a:pt x="98" y="15"/>
                    <a:pt x="95" y="18"/>
                    <a:pt x="93" y="19"/>
                  </a:cubicBezTo>
                  <a:cubicBezTo>
                    <a:pt x="92" y="17"/>
                    <a:pt x="90" y="13"/>
                    <a:pt x="89" y="9"/>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9" name="Freeform 21278">
              <a:extLst>
                <a:ext uri="{FF2B5EF4-FFF2-40B4-BE49-F238E27FC236}">
                  <a16:creationId xmlns:a16="http://schemas.microsoft.com/office/drawing/2014/main" id="{3A895623-56D0-4DCB-AA24-0A165F8C0540}"/>
                </a:ext>
              </a:extLst>
            </p:cNvPr>
            <p:cNvSpPr>
              <a:spLocks noEditPoints="1"/>
            </p:cNvSpPr>
            <p:nvPr userDrawn="1"/>
          </p:nvSpPr>
          <p:spPr bwMode="auto">
            <a:xfrm>
              <a:off x="6379528" y="3179128"/>
              <a:ext cx="1157288" cy="1150938"/>
            </a:xfrm>
            <a:custGeom>
              <a:avLst/>
              <a:gdLst>
                <a:gd name="T0" fmla="*/ 286 w 572"/>
                <a:gd name="T1" fmla="*/ 520 h 571"/>
                <a:gd name="T2" fmla="*/ 302 w 572"/>
                <a:gd name="T3" fmla="*/ 5 h 571"/>
                <a:gd name="T4" fmla="*/ 353 w 572"/>
                <a:gd name="T5" fmla="*/ 38 h 571"/>
                <a:gd name="T6" fmla="*/ 399 w 572"/>
                <a:gd name="T7" fmla="*/ 56 h 571"/>
                <a:gd name="T8" fmla="*/ 436 w 572"/>
                <a:gd name="T9" fmla="*/ 78 h 571"/>
                <a:gd name="T10" fmla="*/ 484 w 572"/>
                <a:gd name="T11" fmla="*/ 97 h 571"/>
                <a:gd name="T12" fmla="*/ 517 w 572"/>
                <a:gd name="T13" fmla="*/ 128 h 571"/>
                <a:gd name="T14" fmla="*/ 543 w 572"/>
                <a:gd name="T15" fmla="*/ 172 h 571"/>
                <a:gd name="T16" fmla="*/ 552 w 572"/>
                <a:gd name="T17" fmla="*/ 222 h 571"/>
                <a:gd name="T18" fmla="*/ 542 w 572"/>
                <a:gd name="T19" fmla="*/ 283 h 571"/>
                <a:gd name="T20" fmla="*/ 560 w 572"/>
                <a:gd name="T21" fmla="*/ 344 h 571"/>
                <a:gd name="T22" fmla="*/ 543 w 572"/>
                <a:gd name="T23" fmla="*/ 391 h 571"/>
                <a:gd name="T24" fmla="*/ 519 w 572"/>
                <a:gd name="T25" fmla="*/ 429 h 571"/>
                <a:gd name="T26" fmla="*/ 474 w 572"/>
                <a:gd name="T27" fmla="*/ 458 h 571"/>
                <a:gd name="T28" fmla="*/ 437 w 572"/>
                <a:gd name="T29" fmla="*/ 493 h 571"/>
                <a:gd name="T30" fmla="*/ 401 w 572"/>
                <a:gd name="T31" fmla="*/ 542 h 571"/>
                <a:gd name="T32" fmla="*/ 355 w 572"/>
                <a:gd name="T33" fmla="*/ 557 h 571"/>
                <a:gd name="T34" fmla="*/ 307 w 572"/>
                <a:gd name="T35" fmla="*/ 558 h 571"/>
                <a:gd name="T36" fmla="*/ 258 w 572"/>
                <a:gd name="T37" fmla="*/ 540 h 571"/>
                <a:gd name="T38" fmla="*/ 209 w 572"/>
                <a:gd name="T39" fmla="*/ 529 h 571"/>
                <a:gd name="T40" fmla="*/ 171 w 572"/>
                <a:gd name="T41" fmla="*/ 514 h 571"/>
                <a:gd name="T42" fmla="*/ 119 w 572"/>
                <a:gd name="T43" fmla="*/ 503 h 571"/>
                <a:gd name="T44" fmla="*/ 82 w 572"/>
                <a:gd name="T45" fmla="*/ 476 h 571"/>
                <a:gd name="T46" fmla="*/ 51 w 572"/>
                <a:gd name="T47" fmla="*/ 439 h 571"/>
                <a:gd name="T48" fmla="*/ 33 w 572"/>
                <a:gd name="T49" fmla="*/ 389 h 571"/>
                <a:gd name="T50" fmla="*/ 35 w 572"/>
                <a:gd name="T51" fmla="*/ 336 h 571"/>
                <a:gd name="T52" fmla="*/ 12 w 572"/>
                <a:gd name="T53" fmla="*/ 278 h 571"/>
                <a:gd name="T54" fmla="*/ 20 w 572"/>
                <a:gd name="T55" fmla="*/ 221 h 571"/>
                <a:gd name="T56" fmla="*/ 52 w 572"/>
                <a:gd name="T57" fmla="*/ 180 h 571"/>
                <a:gd name="T58" fmla="*/ 73 w 572"/>
                <a:gd name="T59" fmla="*/ 144 h 571"/>
                <a:gd name="T60" fmla="*/ 104 w 572"/>
                <a:gd name="T61" fmla="*/ 104 h 571"/>
                <a:gd name="T62" fmla="*/ 131 w 572"/>
                <a:gd name="T63" fmla="*/ 60 h 571"/>
                <a:gd name="T64" fmla="*/ 173 w 572"/>
                <a:gd name="T65" fmla="*/ 28 h 571"/>
                <a:gd name="T66" fmla="*/ 223 w 572"/>
                <a:gd name="T67" fmla="*/ 19 h 571"/>
                <a:gd name="T68" fmla="*/ 274 w 572"/>
                <a:gd name="T69" fmla="*/ 29 h 571"/>
                <a:gd name="T70" fmla="*/ 241 w 572"/>
                <a:gd name="T71" fmla="*/ 29 h 571"/>
                <a:gd name="T72" fmla="*/ 169 w 572"/>
                <a:gd name="T73" fmla="*/ 24 h 571"/>
                <a:gd name="T74" fmla="*/ 103 w 572"/>
                <a:gd name="T75" fmla="*/ 69 h 571"/>
                <a:gd name="T76" fmla="*/ 70 w 572"/>
                <a:gd name="T77" fmla="*/ 140 h 571"/>
                <a:gd name="T78" fmla="*/ 29 w 572"/>
                <a:gd name="T79" fmla="*/ 174 h 571"/>
                <a:gd name="T80" fmla="*/ 28 w 572"/>
                <a:gd name="T81" fmla="*/ 248 h 571"/>
                <a:gd name="T82" fmla="*/ 29 w 572"/>
                <a:gd name="T83" fmla="*/ 330 h 571"/>
                <a:gd name="T84" fmla="*/ 25 w 572"/>
                <a:gd name="T85" fmla="*/ 402 h 571"/>
                <a:gd name="T86" fmla="*/ 81 w 572"/>
                <a:gd name="T87" fmla="*/ 446 h 571"/>
                <a:gd name="T88" fmla="*/ 114 w 572"/>
                <a:gd name="T89" fmla="*/ 511 h 571"/>
                <a:gd name="T90" fmla="*/ 176 w 572"/>
                <a:gd name="T91" fmla="*/ 537 h 571"/>
                <a:gd name="T92" fmla="*/ 249 w 572"/>
                <a:gd name="T93" fmla="*/ 543 h 571"/>
                <a:gd name="T94" fmla="*/ 316 w 572"/>
                <a:gd name="T95" fmla="*/ 570 h 571"/>
                <a:gd name="T96" fmla="*/ 396 w 572"/>
                <a:gd name="T97" fmla="*/ 548 h 571"/>
                <a:gd name="T98" fmla="*/ 447 w 572"/>
                <a:gd name="T99" fmla="*/ 490 h 571"/>
                <a:gd name="T100" fmla="*/ 507 w 572"/>
                <a:gd name="T101" fmla="*/ 448 h 571"/>
                <a:gd name="T102" fmla="*/ 527 w 572"/>
                <a:gd name="T103" fmla="*/ 395 h 571"/>
                <a:gd name="T104" fmla="*/ 565 w 572"/>
                <a:gd name="T105" fmla="*/ 345 h 571"/>
                <a:gd name="T106" fmla="*/ 570 w 572"/>
                <a:gd name="T107" fmla="*/ 256 h 571"/>
                <a:gd name="T108" fmla="*/ 533 w 572"/>
                <a:gd name="T109" fmla="*/ 201 h 571"/>
                <a:gd name="T110" fmla="*/ 526 w 572"/>
                <a:gd name="T111" fmla="*/ 129 h 571"/>
                <a:gd name="T112" fmla="*/ 463 w 572"/>
                <a:gd name="T113" fmla="*/ 94 h 571"/>
                <a:gd name="T114" fmla="*/ 412 w 572"/>
                <a:gd name="T115" fmla="*/ 41 h 571"/>
                <a:gd name="T116" fmla="*/ 346 w 572"/>
                <a:gd name="T117" fmla="*/ 6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571">
                  <a:moveTo>
                    <a:pt x="286" y="515"/>
                  </a:moveTo>
                  <a:cubicBezTo>
                    <a:pt x="233" y="515"/>
                    <a:pt x="182" y="497"/>
                    <a:pt x="141" y="464"/>
                  </a:cubicBezTo>
                  <a:cubicBezTo>
                    <a:pt x="43" y="384"/>
                    <a:pt x="28" y="239"/>
                    <a:pt x="107" y="141"/>
                  </a:cubicBezTo>
                  <a:cubicBezTo>
                    <a:pt x="151" y="86"/>
                    <a:pt x="216" y="55"/>
                    <a:pt x="286" y="55"/>
                  </a:cubicBezTo>
                  <a:cubicBezTo>
                    <a:pt x="339" y="55"/>
                    <a:pt x="390" y="74"/>
                    <a:pt x="431" y="107"/>
                  </a:cubicBezTo>
                  <a:cubicBezTo>
                    <a:pt x="478" y="145"/>
                    <a:pt x="508" y="200"/>
                    <a:pt x="515" y="261"/>
                  </a:cubicBezTo>
                  <a:cubicBezTo>
                    <a:pt x="521" y="323"/>
                    <a:pt x="503" y="382"/>
                    <a:pt x="464" y="430"/>
                  </a:cubicBezTo>
                  <a:cubicBezTo>
                    <a:pt x="421" y="484"/>
                    <a:pt x="356" y="515"/>
                    <a:pt x="286" y="515"/>
                  </a:cubicBezTo>
                  <a:moveTo>
                    <a:pt x="286" y="50"/>
                  </a:moveTo>
                  <a:cubicBezTo>
                    <a:pt x="215" y="50"/>
                    <a:pt x="148" y="82"/>
                    <a:pt x="104" y="137"/>
                  </a:cubicBezTo>
                  <a:cubicBezTo>
                    <a:pt x="22" y="238"/>
                    <a:pt x="37" y="386"/>
                    <a:pt x="138" y="468"/>
                  </a:cubicBezTo>
                  <a:cubicBezTo>
                    <a:pt x="180" y="502"/>
                    <a:pt x="232" y="520"/>
                    <a:pt x="286" y="520"/>
                  </a:cubicBezTo>
                  <a:cubicBezTo>
                    <a:pt x="357" y="520"/>
                    <a:pt x="424" y="489"/>
                    <a:pt x="468" y="433"/>
                  </a:cubicBezTo>
                  <a:cubicBezTo>
                    <a:pt x="508" y="385"/>
                    <a:pt x="526" y="323"/>
                    <a:pt x="520" y="261"/>
                  </a:cubicBezTo>
                  <a:cubicBezTo>
                    <a:pt x="513" y="199"/>
                    <a:pt x="483" y="142"/>
                    <a:pt x="434" y="103"/>
                  </a:cubicBezTo>
                  <a:cubicBezTo>
                    <a:pt x="392" y="69"/>
                    <a:pt x="340" y="50"/>
                    <a:pt x="286" y="50"/>
                  </a:cubicBezTo>
                  <a:moveTo>
                    <a:pt x="275" y="30"/>
                  </a:moveTo>
                  <a:cubicBezTo>
                    <a:pt x="275" y="30"/>
                    <a:pt x="275" y="30"/>
                    <a:pt x="275" y="30"/>
                  </a:cubicBezTo>
                  <a:cubicBezTo>
                    <a:pt x="278" y="30"/>
                    <a:pt x="281" y="30"/>
                    <a:pt x="284" y="30"/>
                  </a:cubicBezTo>
                  <a:cubicBezTo>
                    <a:pt x="284" y="30"/>
                    <a:pt x="285" y="29"/>
                    <a:pt x="285" y="29"/>
                  </a:cubicBezTo>
                  <a:cubicBezTo>
                    <a:pt x="289" y="25"/>
                    <a:pt x="292" y="17"/>
                    <a:pt x="293" y="11"/>
                  </a:cubicBezTo>
                  <a:cubicBezTo>
                    <a:pt x="294" y="5"/>
                    <a:pt x="297" y="5"/>
                    <a:pt x="298" y="5"/>
                  </a:cubicBezTo>
                  <a:cubicBezTo>
                    <a:pt x="299" y="5"/>
                    <a:pt x="300" y="5"/>
                    <a:pt x="300" y="5"/>
                  </a:cubicBezTo>
                  <a:cubicBezTo>
                    <a:pt x="302" y="5"/>
                    <a:pt x="302" y="5"/>
                    <a:pt x="302" y="5"/>
                  </a:cubicBezTo>
                  <a:cubicBezTo>
                    <a:pt x="305" y="5"/>
                    <a:pt x="308" y="5"/>
                    <a:pt x="308" y="12"/>
                  </a:cubicBezTo>
                  <a:cubicBezTo>
                    <a:pt x="309" y="18"/>
                    <a:pt x="311" y="26"/>
                    <a:pt x="314" y="30"/>
                  </a:cubicBezTo>
                  <a:cubicBezTo>
                    <a:pt x="314" y="31"/>
                    <a:pt x="315" y="31"/>
                    <a:pt x="315" y="31"/>
                  </a:cubicBezTo>
                  <a:cubicBezTo>
                    <a:pt x="318" y="32"/>
                    <a:pt x="321" y="32"/>
                    <a:pt x="324" y="32"/>
                  </a:cubicBezTo>
                  <a:cubicBezTo>
                    <a:pt x="324" y="33"/>
                    <a:pt x="324" y="33"/>
                    <a:pt x="324" y="33"/>
                  </a:cubicBezTo>
                  <a:cubicBezTo>
                    <a:pt x="325" y="33"/>
                    <a:pt x="325" y="32"/>
                    <a:pt x="326" y="32"/>
                  </a:cubicBezTo>
                  <a:cubicBezTo>
                    <a:pt x="330" y="29"/>
                    <a:pt x="333" y="22"/>
                    <a:pt x="336" y="16"/>
                  </a:cubicBezTo>
                  <a:cubicBezTo>
                    <a:pt x="338" y="10"/>
                    <a:pt x="340" y="10"/>
                    <a:pt x="341" y="10"/>
                  </a:cubicBezTo>
                  <a:cubicBezTo>
                    <a:pt x="342" y="10"/>
                    <a:pt x="343" y="10"/>
                    <a:pt x="344" y="11"/>
                  </a:cubicBezTo>
                  <a:cubicBezTo>
                    <a:pt x="345" y="11"/>
                    <a:pt x="345" y="11"/>
                    <a:pt x="345" y="11"/>
                  </a:cubicBezTo>
                  <a:cubicBezTo>
                    <a:pt x="349" y="12"/>
                    <a:pt x="351" y="12"/>
                    <a:pt x="351" y="19"/>
                  </a:cubicBezTo>
                  <a:cubicBezTo>
                    <a:pt x="350" y="25"/>
                    <a:pt x="351" y="33"/>
                    <a:pt x="353" y="38"/>
                  </a:cubicBezTo>
                  <a:cubicBezTo>
                    <a:pt x="354" y="38"/>
                    <a:pt x="354" y="39"/>
                    <a:pt x="355" y="39"/>
                  </a:cubicBezTo>
                  <a:cubicBezTo>
                    <a:pt x="357" y="40"/>
                    <a:pt x="360" y="41"/>
                    <a:pt x="363" y="41"/>
                  </a:cubicBezTo>
                  <a:cubicBezTo>
                    <a:pt x="363" y="42"/>
                    <a:pt x="363" y="42"/>
                    <a:pt x="364" y="42"/>
                  </a:cubicBezTo>
                  <a:cubicBezTo>
                    <a:pt x="364" y="42"/>
                    <a:pt x="364" y="41"/>
                    <a:pt x="365" y="41"/>
                  </a:cubicBezTo>
                  <a:cubicBezTo>
                    <a:pt x="369" y="39"/>
                    <a:pt x="374" y="32"/>
                    <a:pt x="377" y="27"/>
                  </a:cubicBezTo>
                  <a:cubicBezTo>
                    <a:pt x="380" y="22"/>
                    <a:pt x="382" y="22"/>
                    <a:pt x="383" y="22"/>
                  </a:cubicBezTo>
                  <a:cubicBezTo>
                    <a:pt x="384" y="22"/>
                    <a:pt x="385" y="23"/>
                    <a:pt x="386" y="23"/>
                  </a:cubicBezTo>
                  <a:cubicBezTo>
                    <a:pt x="387" y="23"/>
                    <a:pt x="387" y="23"/>
                    <a:pt x="387" y="23"/>
                  </a:cubicBezTo>
                  <a:cubicBezTo>
                    <a:pt x="391" y="25"/>
                    <a:pt x="393" y="26"/>
                    <a:pt x="392" y="33"/>
                  </a:cubicBezTo>
                  <a:cubicBezTo>
                    <a:pt x="390" y="38"/>
                    <a:pt x="390" y="46"/>
                    <a:pt x="391" y="51"/>
                  </a:cubicBezTo>
                  <a:cubicBezTo>
                    <a:pt x="391" y="52"/>
                    <a:pt x="392" y="53"/>
                    <a:pt x="392" y="53"/>
                  </a:cubicBezTo>
                  <a:cubicBezTo>
                    <a:pt x="395" y="54"/>
                    <a:pt x="397" y="55"/>
                    <a:pt x="399" y="56"/>
                  </a:cubicBezTo>
                  <a:cubicBezTo>
                    <a:pt x="400" y="57"/>
                    <a:pt x="400" y="57"/>
                    <a:pt x="400" y="57"/>
                  </a:cubicBezTo>
                  <a:cubicBezTo>
                    <a:pt x="400" y="57"/>
                    <a:pt x="401" y="57"/>
                    <a:pt x="401" y="57"/>
                  </a:cubicBezTo>
                  <a:cubicBezTo>
                    <a:pt x="401" y="57"/>
                    <a:pt x="402" y="57"/>
                    <a:pt x="402" y="57"/>
                  </a:cubicBezTo>
                  <a:cubicBezTo>
                    <a:pt x="407" y="55"/>
                    <a:pt x="413" y="49"/>
                    <a:pt x="416" y="44"/>
                  </a:cubicBezTo>
                  <a:cubicBezTo>
                    <a:pt x="418" y="42"/>
                    <a:pt x="420" y="40"/>
                    <a:pt x="422" y="40"/>
                  </a:cubicBezTo>
                  <a:cubicBezTo>
                    <a:pt x="423" y="40"/>
                    <a:pt x="425" y="41"/>
                    <a:pt x="426" y="42"/>
                  </a:cubicBezTo>
                  <a:cubicBezTo>
                    <a:pt x="427" y="43"/>
                    <a:pt x="427" y="43"/>
                    <a:pt x="427" y="43"/>
                  </a:cubicBezTo>
                  <a:cubicBezTo>
                    <a:pt x="430" y="44"/>
                    <a:pt x="433" y="46"/>
                    <a:pt x="430" y="52"/>
                  </a:cubicBezTo>
                  <a:cubicBezTo>
                    <a:pt x="428" y="58"/>
                    <a:pt x="426" y="66"/>
                    <a:pt x="426" y="71"/>
                  </a:cubicBezTo>
                  <a:cubicBezTo>
                    <a:pt x="427" y="71"/>
                    <a:pt x="427" y="72"/>
                    <a:pt x="427" y="72"/>
                  </a:cubicBezTo>
                  <a:cubicBezTo>
                    <a:pt x="430" y="74"/>
                    <a:pt x="432" y="76"/>
                    <a:pt x="434" y="77"/>
                  </a:cubicBezTo>
                  <a:cubicBezTo>
                    <a:pt x="435" y="77"/>
                    <a:pt x="435" y="78"/>
                    <a:pt x="436" y="78"/>
                  </a:cubicBezTo>
                  <a:cubicBezTo>
                    <a:pt x="436" y="78"/>
                    <a:pt x="436" y="78"/>
                    <a:pt x="436" y="78"/>
                  </a:cubicBezTo>
                  <a:cubicBezTo>
                    <a:pt x="441" y="77"/>
                    <a:pt x="448" y="72"/>
                    <a:pt x="452" y="68"/>
                  </a:cubicBezTo>
                  <a:cubicBezTo>
                    <a:pt x="455" y="66"/>
                    <a:pt x="457" y="65"/>
                    <a:pt x="458" y="65"/>
                  </a:cubicBezTo>
                  <a:cubicBezTo>
                    <a:pt x="460" y="65"/>
                    <a:pt x="461" y="66"/>
                    <a:pt x="462" y="67"/>
                  </a:cubicBezTo>
                  <a:cubicBezTo>
                    <a:pt x="463" y="68"/>
                    <a:pt x="463" y="68"/>
                    <a:pt x="463" y="68"/>
                  </a:cubicBezTo>
                  <a:cubicBezTo>
                    <a:pt x="466" y="70"/>
                    <a:pt x="468" y="71"/>
                    <a:pt x="464" y="78"/>
                  </a:cubicBezTo>
                  <a:cubicBezTo>
                    <a:pt x="461" y="83"/>
                    <a:pt x="458" y="90"/>
                    <a:pt x="458" y="95"/>
                  </a:cubicBezTo>
                  <a:cubicBezTo>
                    <a:pt x="458" y="96"/>
                    <a:pt x="459" y="97"/>
                    <a:pt x="459" y="97"/>
                  </a:cubicBezTo>
                  <a:cubicBezTo>
                    <a:pt x="461" y="99"/>
                    <a:pt x="463" y="101"/>
                    <a:pt x="465" y="103"/>
                  </a:cubicBezTo>
                  <a:cubicBezTo>
                    <a:pt x="466" y="103"/>
                    <a:pt x="466" y="104"/>
                    <a:pt x="467" y="104"/>
                  </a:cubicBezTo>
                  <a:cubicBezTo>
                    <a:pt x="467" y="104"/>
                    <a:pt x="467" y="104"/>
                    <a:pt x="467" y="104"/>
                  </a:cubicBezTo>
                  <a:cubicBezTo>
                    <a:pt x="472" y="103"/>
                    <a:pt x="479" y="100"/>
                    <a:pt x="484" y="97"/>
                  </a:cubicBezTo>
                  <a:cubicBezTo>
                    <a:pt x="487" y="95"/>
                    <a:pt x="489" y="94"/>
                    <a:pt x="490" y="94"/>
                  </a:cubicBezTo>
                  <a:cubicBezTo>
                    <a:pt x="492" y="94"/>
                    <a:pt x="493" y="95"/>
                    <a:pt x="494" y="97"/>
                  </a:cubicBezTo>
                  <a:cubicBezTo>
                    <a:pt x="495" y="98"/>
                    <a:pt x="495" y="98"/>
                    <a:pt x="495" y="98"/>
                  </a:cubicBezTo>
                  <a:cubicBezTo>
                    <a:pt x="498" y="101"/>
                    <a:pt x="499" y="103"/>
                    <a:pt x="495" y="108"/>
                  </a:cubicBezTo>
                  <a:cubicBezTo>
                    <a:pt x="491" y="113"/>
                    <a:pt x="487" y="120"/>
                    <a:pt x="486" y="125"/>
                  </a:cubicBezTo>
                  <a:cubicBezTo>
                    <a:pt x="486" y="125"/>
                    <a:pt x="486" y="126"/>
                    <a:pt x="486" y="127"/>
                  </a:cubicBezTo>
                  <a:cubicBezTo>
                    <a:pt x="487" y="128"/>
                    <a:pt x="487" y="128"/>
                    <a:pt x="487" y="128"/>
                  </a:cubicBezTo>
                  <a:cubicBezTo>
                    <a:pt x="489" y="130"/>
                    <a:pt x="490" y="131"/>
                    <a:pt x="492" y="133"/>
                  </a:cubicBezTo>
                  <a:cubicBezTo>
                    <a:pt x="492" y="134"/>
                    <a:pt x="493" y="134"/>
                    <a:pt x="493" y="134"/>
                  </a:cubicBezTo>
                  <a:cubicBezTo>
                    <a:pt x="494" y="134"/>
                    <a:pt x="494" y="134"/>
                    <a:pt x="495" y="134"/>
                  </a:cubicBezTo>
                  <a:cubicBezTo>
                    <a:pt x="499" y="134"/>
                    <a:pt x="505" y="133"/>
                    <a:pt x="512" y="130"/>
                  </a:cubicBezTo>
                  <a:cubicBezTo>
                    <a:pt x="514" y="129"/>
                    <a:pt x="515" y="128"/>
                    <a:pt x="517" y="128"/>
                  </a:cubicBezTo>
                  <a:cubicBezTo>
                    <a:pt x="519" y="128"/>
                    <a:pt x="520" y="130"/>
                    <a:pt x="521" y="132"/>
                  </a:cubicBezTo>
                  <a:cubicBezTo>
                    <a:pt x="522" y="133"/>
                    <a:pt x="522" y="133"/>
                    <a:pt x="522" y="133"/>
                  </a:cubicBezTo>
                  <a:cubicBezTo>
                    <a:pt x="524" y="136"/>
                    <a:pt x="525" y="138"/>
                    <a:pt x="520" y="143"/>
                  </a:cubicBezTo>
                  <a:cubicBezTo>
                    <a:pt x="515" y="147"/>
                    <a:pt x="510" y="153"/>
                    <a:pt x="509" y="158"/>
                  </a:cubicBezTo>
                  <a:cubicBezTo>
                    <a:pt x="508" y="159"/>
                    <a:pt x="508" y="159"/>
                    <a:pt x="509" y="160"/>
                  </a:cubicBezTo>
                  <a:cubicBezTo>
                    <a:pt x="510" y="162"/>
                    <a:pt x="511" y="165"/>
                    <a:pt x="513" y="167"/>
                  </a:cubicBezTo>
                  <a:cubicBezTo>
                    <a:pt x="513" y="168"/>
                    <a:pt x="514" y="168"/>
                    <a:pt x="514" y="168"/>
                  </a:cubicBezTo>
                  <a:cubicBezTo>
                    <a:pt x="516" y="169"/>
                    <a:pt x="518" y="169"/>
                    <a:pt x="520" y="169"/>
                  </a:cubicBezTo>
                  <a:cubicBezTo>
                    <a:pt x="523" y="169"/>
                    <a:pt x="528" y="168"/>
                    <a:pt x="533" y="167"/>
                  </a:cubicBezTo>
                  <a:cubicBezTo>
                    <a:pt x="535" y="167"/>
                    <a:pt x="536" y="166"/>
                    <a:pt x="537" y="166"/>
                  </a:cubicBezTo>
                  <a:cubicBezTo>
                    <a:pt x="540" y="166"/>
                    <a:pt x="541" y="168"/>
                    <a:pt x="542" y="171"/>
                  </a:cubicBezTo>
                  <a:cubicBezTo>
                    <a:pt x="543" y="172"/>
                    <a:pt x="543" y="172"/>
                    <a:pt x="543" y="172"/>
                  </a:cubicBezTo>
                  <a:cubicBezTo>
                    <a:pt x="544" y="175"/>
                    <a:pt x="545" y="178"/>
                    <a:pt x="539" y="181"/>
                  </a:cubicBezTo>
                  <a:cubicBezTo>
                    <a:pt x="534" y="185"/>
                    <a:pt x="528" y="190"/>
                    <a:pt x="526" y="194"/>
                  </a:cubicBezTo>
                  <a:cubicBezTo>
                    <a:pt x="525" y="195"/>
                    <a:pt x="525" y="196"/>
                    <a:pt x="526" y="196"/>
                  </a:cubicBezTo>
                  <a:cubicBezTo>
                    <a:pt x="527" y="199"/>
                    <a:pt x="527" y="201"/>
                    <a:pt x="528" y="204"/>
                  </a:cubicBezTo>
                  <a:cubicBezTo>
                    <a:pt x="529" y="205"/>
                    <a:pt x="529" y="205"/>
                    <a:pt x="530" y="206"/>
                  </a:cubicBezTo>
                  <a:cubicBezTo>
                    <a:pt x="533" y="207"/>
                    <a:pt x="538" y="208"/>
                    <a:pt x="542" y="208"/>
                  </a:cubicBezTo>
                  <a:cubicBezTo>
                    <a:pt x="542" y="208"/>
                    <a:pt x="542" y="208"/>
                    <a:pt x="542" y="208"/>
                  </a:cubicBezTo>
                  <a:cubicBezTo>
                    <a:pt x="544" y="208"/>
                    <a:pt x="546" y="207"/>
                    <a:pt x="549" y="207"/>
                  </a:cubicBezTo>
                  <a:cubicBezTo>
                    <a:pt x="549" y="207"/>
                    <a:pt x="550" y="207"/>
                    <a:pt x="551" y="207"/>
                  </a:cubicBezTo>
                  <a:cubicBezTo>
                    <a:pt x="556" y="207"/>
                    <a:pt x="556" y="209"/>
                    <a:pt x="557" y="212"/>
                  </a:cubicBezTo>
                  <a:cubicBezTo>
                    <a:pt x="557" y="213"/>
                    <a:pt x="557" y="213"/>
                    <a:pt x="557" y="213"/>
                  </a:cubicBezTo>
                  <a:cubicBezTo>
                    <a:pt x="558" y="217"/>
                    <a:pt x="559" y="219"/>
                    <a:pt x="552" y="222"/>
                  </a:cubicBezTo>
                  <a:cubicBezTo>
                    <a:pt x="547" y="225"/>
                    <a:pt x="540" y="229"/>
                    <a:pt x="537" y="233"/>
                  </a:cubicBezTo>
                  <a:cubicBezTo>
                    <a:pt x="537" y="233"/>
                    <a:pt x="536" y="234"/>
                    <a:pt x="537" y="235"/>
                  </a:cubicBezTo>
                  <a:cubicBezTo>
                    <a:pt x="537" y="237"/>
                    <a:pt x="537" y="239"/>
                    <a:pt x="538" y="241"/>
                  </a:cubicBezTo>
                  <a:cubicBezTo>
                    <a:pt x="538" y="243"/>
                    <a:pt x="538" y="243"/>
                    <a:pt x="538" y="243"/>
                  </a:cubicBezTo>
                  <a:cubicBezTo>
                    <a:pt x="538" y="244"/>
                    <a:pt x="539" y="244"/>
                    <a:pt x="539" y="245"/>
                  </a:cubicBezTo>
                  <a:cubicBezTo>
                    <a:pt x="543" y="248"/>
                    <a:pt x="551" y="249"/>
                    <a:pt x="558" y="249"/>
                  </a:cubicBezTo>
                  <a:cubicBezTo>
                    <a:pt x="565" y="249"/>
                    <a:pt x="565" y="252"/>
                    <a:pt x="565" y="256"/>
                  </a:cubicBezTo>
                  <a:cubicBezTo>
                    <a:pt x="565" y="257"/>
                    <a:pt x="565" y="257"/>
                    <a:pt x="565" y="257"/>
                  </a:cubicBezTo>
                  <a:cubicBezTo>
                    <a:pt x="566" y="260"/>
                    <a:pt x="566" y="263"/>
                    <a:pt x="559" y="265"/>
                  </a:cubicBezTo>
                  <a:cubicBezTo>
                    <a:pt x="553" y="266"/>
                    <a:pt x="546" y="269"/>
                    <a:pt x="542" y="273"/>
                  </a:cubicBezTo>
                  <a:cubicBezTo>
                    <a:pt x="542" y="273"/>
                    <a:pt x="541" y="274"/>
                    <a:pt x="541" y="275"/>
                  </a:cubicBezTo>
                  <a:cubicBezTo>
                    <a:pt x="541" y="278"/>
                    <a:pt x="542" y="280"/>
                    <a:pt x="542" y="283"/>
                  </a:cubicBezTo>
                  <a:cubicBezTo>
                    <a:pt x="542" y="284"/>
                    <a:pt x="542" y="284"/>
                    <a:pt x="542" y="285"/>
                  </a:cubicBezTo>
                  <a:cubicBezTo>
                    <a:pt x="546" y="288"/>
                    <a:pt x="554" y="291"/>
                    <a:pt x="560" y="292"/>
                  </a:cubicBezTo>
                  <a:cubicBezTo>
                    <a:pt x="567" y="293"/>
                    <a:pt x="567" y="296"/>
                    <a:pt x="566" y="300"/>
                  </a:cubicBezTo>
                  <a:cubicBezTo>
                    <a:pt x="566" y="301"/>
                    <a:pt x="566" y="301"/>
                    <a:pt x="566" y="301"/>
                  </a:cubicBezTo>
                  <a:cubicBezTo>
                    <a:pt x="566" y="304"/>
                    <a:pt x="566" y="307"/>
                    <a:pt x="559" y="308"/>
                  </a:cubicBezTo>
                  <a:cubicBezTo>
                    <a:pt x="553" y="308"/>
                    <a:pt x="545" y="310"/>
                    <a:pt x="541" y="313"/>
                  </a:cubicBezTo>
                  <a:cubicBezTo>
                    <a:pt x="540" y="313"/>
                    <a:pt x="540" y="314"/>
                    <a:pt x="540" y="315"/>
                  </a:cubicBezTo>
                  <a:cubicBezTo>
                    <a:pt x="540" y="318"/>
                    <a:pt x="539" y="320"/>
                    <a:pt x="539" y="323"/>
                  </a:cubicBezTo>
                  <a:cubicBezTo>
                    <a:pt x="539" y="324"/>
                    <a:pt x="539" y="324"/>
                    <a:pt x="539" y="325"/>
                  </a:cubicBezTo>
                  <a:cubicBezTo>
                    <a:pt x="543" y="329"/>
                    <a:pt x="550" y="333"/>
                    <a:pt x="555" y="335"/>
                  </a:cubicBezTo>
                  <a:cubicBezTo>
                    <a:pt x="562" y="337"/>
                    <a:pt x="561" y="340"/>
                    <a:pt x="561" y="343"/>
                  </a:cubicBezTo>
                  <a:cubicBezTo>
                    <a:pt x="560" y="344"/>
                    <a:pt x="560" y="344"/>
                    <a:pt x="560" y="344"/>
                  </a:cubicBezTo>
                  <a:cubicBezTo>
                    <a:pt x="560" y="348"/>
                    <a:pt x="559" y="350"/>
                    <a:pt x="554" y="350"/>
                  </a:cubicBezTo>
                  <a:cubicBezTo>
                    <a:pt x="553" y="350"/>
                    <a:pt x="553" y="350"/>
                    <a:pt x="552" y="350"/>
                  </a:cubicBezTo>
                  <a:cubicBezTo>
                    <a:pt x="551" y="350"/>
                    <a:pt x="550" y="350"/>
                    <a:pt x="549" y="350"/>
                  </a:cubicBezTo>
                  <a:cubicBezTo>
                    <a:pt x="546" y="350"/>
                    <a:pt x="538" y="350"/>
                    <a:pt x="534" y="353"/>
                  </a:cubicBezTo>
                  <a:cubicBezTo>
                    <a:pt x="533" y="353"/>
                    <a:pt x="532" y="353"/>
                    <a:pt x="532" y="354"/>
                  </a:cubicBezTo>
                  <a:cubicBezTo>
                    <a:pt x="532" y="356"/>
                    <a:pt x="531" y="358"/>
                    <a:pt x="530" y="361"/>
                  </a:cubicBezTo>
                  <a:cubicBezTo>
                    <a:pt x="530" y="362"/>
                    <a:pt x="530" y="362"/>
                    <a:pt x="530" y="362"/>
                  </a:cubicBezTo>
                  <a:cubicBezTo>
                    <a:pt x="530" y="363"/>
                    <a:pt x="530" y="364"/>
                    <a:pt x="530" y="364"/>
                  </a:cubicBezTo>
                  <a:cubicBezTo>
                    <a:pt x="533" y="369"/>
                    <a:pt x="539" y="373"/>
                    <a:pt x="544" y="376"/>
                  </a:cubicBezTo>
                  <a:cubicBezTo>
                    <a:pt x="551" y="380"/>
                    <a:pt x="550" y="382"/>
                    <a:pt x="548" y="386"/>
                  </a:cubicBezTo>
                  <a:cubicBezTo>
                    <a:pt x="548" y="387"/>
                    <a:pt x="548" y="387"/>
                    <a:pt x="548" y="387"/>
                  </a:cubicBezTo>
                  <a:cubicBezTo>
                    <a:pt x="547" y="390"/>
                    <a:pt x="546" y="391"/>
                    <a:pt x="543" y="391"/>
                  </a:cubicBezTo>
                  <a:cubicBezTo>
                    <a:pt x="541" y="391"/>
                    <a:pt x="540" y="391"/>
                    <a:pt x="539" y="391"/>
                  </a:cubicBezTo>
                  <a:cubicBezTo>
                    <a:pt x="535" y="390"/>
                    <a:pt x="531" y="390"/>
                    <a:pt x="527" y="390"/>
                  </a:cubicBezTo>
                  <a:cubicBezTo>
                    <a:pt x="524" y="390"/>
                    <a:pt x="522" y="390"/>
                    <a:pt x="520" y="390"/>
                  </a:cubicBezTo>
                  <a:cubicBezTo>
                    <a:pt x="519" y="391"/>
                    <a:pt x="519" y="391"/>
                    <a:pt x="518" y="392"/>
                  </a:cubicBezTo>
                  <a:cubicBezTo>
                    <a:pt x="518" y="394"/>
                    <a:pt x="517" y="396"/>
                    <a:pt x="516" y="398"/>
                  </a:cubicBezTo>
                  <a:cubicBezTo>
                    <a:pt x="515" y="399"/>
                    <a:pt x="515" y="399"/>
                    <a:pt x="515" y="399"/>
                  </a:cubicBezTo>
                  <a:cubicBezTo>
                    <a:pt x="514" y="400"/>
                    <a:pt x="514" y="401"/>
                    <a:pt x="515" y="401"/>
                  </a:cubicBezTo>
                  <a:cubicBezTo>
                    <a:pt x="517" y="406"/>
                    <a:pt x="522" y="412"/>
                    <a:pt x="527" y="416"/>
                  </a:cubicBezTo>
                  <a:cubicBezTo>
                    <a:pt x="533" y="420"/>
                    <a:pt x="531" y="422"/>
                    <a:pt x="529" y="425"/>
                  </a:cubicBezTo>
                  <a:cubicBezTo>
                    <a:pt x="529" y="426"/>
                    <a:pt x="529" y="426"/>
                    <a:pt x="529" y="426"/>
                  </a:cubicBezTo>
                  <a:cubicBezTo>
                    <a:pt x="527" y="429"/>
                    <a:pt x="526" y="430"/>
                    <a:pt x="524" y="430"/>
                  </a:cubicBezTo>
                  <a:cubicBezTo>
                    <a:pt x="523" y="430"/>
                    <a:pt x="521" y="430"/>
                    <a:pt x="519" y="429"/>
                  </a:cubicBezTo>
                  <a:cubicBezTo>
                    <a:pt x="513" y="427"/>
                    <a:pt x="507" y="426"/>
                    <a:pt x="503" y="426"/>
                  </a:cubicBezTo>
                  <a:cubicBezTo>
                    <a:pt x="502" y="426"/>
                    <a:pt x="501" y="426"/>
                    <a:pt x="501" y="426"/>
                  </a:cubicBezTo>
                  <a:cubicBezTo>
                    <a:pt x="500" y="426"/>
                    <a:pt x="499" y="426"/>
                    <a:pt x="499" y="427"/>
                  </a:cubicBezTo>
                  <a:cubicBezTo>
                    <a:pt x="497" y="429"/>
                    <a:pt x="496" y="431"/>
                    <a:pt x="494" y="434"/>
                  </a:cubicBezTo>
                  <a:cubicBezTo>
                    <a:pt x="494" y="434"/>
                    <a:pt x="494" y="435"/>
                    <a:pt x="494" y="436"/>
                  </a:cubicBezTo>
                  <a:cubicBezTo>
                    <a:pt x="495" y="441"/>
                    <a:pt x="499" y="447"/>
                    <a:pt x="504" y="452"/>
                  </a:cubicBezTo>
                  <a:cubicBezTo>
                    <a:pt x="508" y="457"/>
                    <a:pt x="507" y="459"/>
                    <a:pt x="504" y="462"/>
                  </a:cubicBezTo>
                  <a:cubicBezTo>
                    <a:pt x="504" y="463"/>
                    <a:pt x="504" y="463"/>
                    <a:pt x="504" y="463"/>
                  </a:cubicBezTo>
                  <a:cubicBezTo>
                    <a:pt x="502" y="465"/>
                    <a:pt x="501" y="466"/>
                    <a:pt x="499" y="466"/>
                  </a:cubicBezTo>
                  <a:cubicBezTo>
                    <a:pt x="498" y="466"/>
                    <a:pt x="496" y="465"/>
                    <a:pt x="494" y="464"/>
                  </a:cubicBezTo>
                  <a:cubicBezTo>
                    <a:pt x="488" y="461"/>
                    <a:pt x="481" y="458"/>
                    <a:pt x="476" y="458"/>
                  </a:cubicBezTo>
                  <a:cubicBezTo>
                    <a:pt x="475" y="458"/>
                    <a:pt x="475" y="458"/>
                    <a:pt x="474" y="458"/>
                  </a:cubicBezTo>
                  <a:cubicBezTo>
                    <a:pt x="472" y="460"/>
                    <a:pt x="470" y="462"/>
                    <a:pt x="468" y="464"/>
                  </a:cubicBezTo>
                  <a:cubicBezTo>
                    <a:pt x="468" y="465"/>
                    <a:pt x="468" y="466"/>
                    <a:pt x="468" y="466"/>
                  </a:cubicBezTo>
                  <a:cubicBezTo>
                    <a:pt x="468" y="471"/>
                    <a:pt x="472" y="479"/>
                    <a:pt x="475" y="484"/>
                  </a:cubicBezTo>
                  <a:cubicBezTo>
                    <a:pt x="479" y="490"/>
                    <a:pt x="477" y="491"/>
                    <a:pt x="474" y="494"/>
                  </a:cubicBezTo>
                  <a:cubicBezTo>
                    <a:pt x="473" y="495"/>
                    <a:pt x="473" y="495"/>
                    <a:pt x="473" y="495"/>
                  </a:cubicBezTo>
                  <a:cubicBezTo>
                    <a:pt x="472" y="496"/>
                    <a:pt x="471" y="497"/>
                    <a:pt x="469" y="497"/>
                  </a:cubicBezTo>
                  <a:cubicBezTo>
                    <a:pt x="467" y="497"/>
                    <a:pt x="466" y="496"/>
                    <a:pt x="463" y="494"/>
                  </a:cubicBezTo>
                  <a:cubicBezTo>
                    <a:pt x="459" y="490"/>
                    <a:pt x="452" y="486"/>
                    <a:pt x="447" y="485"/>
                  </a:cubicBezTo>
                  <a:cubicBezTo>
                    <a:pt x="447" y="485"/>
                    <a:pt x="446" y="485"/>
                    <a:pt x="446" y="485"/>
                  </a:cubicBezTo>
                  <a:cubicBezTo>
                    <a:pt x="446" y="485"/>
                    <a:pt x="445" y="485"/>
                    <a:pt x="445" y="486"/>
                  </a:cubicBezTo>
                  <a:cubicBezTo>
                    <a:pt x="443" y="487"/>
                    <a:pt x="440" y="489"/>
                    <a:pt x="438" y="491"/>
                  </a:cubicBezTo>
                  <a:cubicBezTo>
                    <a:pt x="438" y="491"/>
                    <a:pt x="437" y="492"/>
                    <a:pt x="437" y="493"/>
                  </a:cubicBezTo>
                  <a:cubicBezTo>
                    <a:pt x="436" y="499"/>
                    <a:pt x="440" y="508"/>
                    <a:pt x="441" y="511"/>
                  </a:cubicBezTo>
                  <a:cubicBezTo>
                    <a:pt x="444" y="517"/>
                    <a:pt x="442" y="519"/>
                    <a:pt x="439" y="521"/>
                  </a:cubicBezTo>
                  <a:cubicBezTo>
                    <a:pt x="438" y="521"/>
                    <a:pt x="438" y="521"/>
                    <a:pt x="438" y="521"/>
                  </a:cubicBezTo>
                  <a:cubicBezTo>
                    <a:pt x="437" y="522"/>
                    <a:pt x="436" y="523"/>
                    <a:pt x="434" y="523"/>
                  </a:cubicBezTo>
                  <a:cubicBezTo>
                    <a:pt x="432" y="523"/>
                    <a:pt x="431" y="522"/>
                    <a:pt x="428" y="519"/>
                  </a:cubicBezTo>
                  <a:cubicBezTo>
                    <a:pt x="424" y="515"/>
                    <a:pt x="418" y="509"/>
                    <a:pt x="413" y="508"/>
                  </a:cubicBezTo>
                  <a:cubicBezTo>
                    <a:pt x="413" y="508"/>
                    <a:pt x="413" y="508"/>
                    <a:pt x="413" y="508"/>
                  </a:cubicBezTo>
                  <a:cubicBezTo>
                    <a:pt x="412" y="508"/>
                    <a:pt x="412" y="508"/>
                    <a:pt x="411" y="508"/>
                  </a:cubicBezTo>
                  <a:cubicBezTo>
                    <a:pt x="409" y="509"/>
                    <a:pt x="407" y="511"/>
                    <a:pt x="404" y="512"/>
                  </a:cubicBezTo>
                  <a:cubicBezTo>
                    <a:pt x="403" y="512"/>
                    <a:pt x="403" y="513"/>
                    <a:pt x="403" y="514"/>
                  </a:cubicBezTo>
                  <a:cubicBezTo>
                    <a:pt x="402" y="519"/>
                    <a:pt x="403" y="527"/>
                    <a:pt x="404" y="532"/>
                  </a:cubicBezTo>
                  <a:cubicBezTo>
                    <a:pt x="406" y="539"/>
                    <a:pt x="404" y="540"/>
                    <a:pt x="401" y="542"/>
                  </a:cubicBezTo>
                  <a:cubicBezTo>
                    <a:pt x="399" y="542"/>
                    <a:pt x="399" y="542"/>
                    <a:pt x="399" y="542"/>
                  </a:cubicBezTo>
                  <a:cubicBezTo>
                    <a:pt x="398" y="543"/>
                    <a:pt x="397" y="543"/>
                    <a:pt x="396" y="543"/>
                  </a:cubicBezTo>
                  <a:cubicBezTo>
                    <a:pt x="395" y="543"/>
                    <a:pt x="393" y="543"/>
                    <a:pt x="390" y="539"/>
                  </a:cubicBezTo>
                  <a:cubicBezTo>
                    <a:pt x="387" y="534"/>
                    <a:pt x="382" y="527"/>
                    <a:pt x="377" y="525"/>
                  </a:cubicBezTo>
                  <a:cubicBezTo>
                    <a:pt x="377" y="525"/>
                    <a:pt x="376" y="525"/>
                    <a:pt x="376" y="525"/>
                  </a:cubicBezTo>
                  <a:cubicBezTo>
                    <a:pt x="376" y="525"/>
                    <a:pt x="375" y="525"/>
                    <a:pt x="375" y="525"/>
                  </a:cubicBezTo>
                  <a:cubicBezTo>
                    <a:pt x="372" y="526"/>
                    <a:pt x="370" y="527"/>
                    <a:pt x="367" y="528"/>
                  </a:cubicBezTo>
                  <a:cubicBezTo>
                    <a:pt x="367" y="528"/>
                    <a:pt x="366" y="528"/>
                    <a:pt x="366" y="529"/>
                  </a:cubicBezTo>
                  <a:cubicBezTo>
                    <a:pt x="364" y="534"/>
                    <a:pt x="363" y="542"/>
                    <a:pt x="364" y="548"/>
                  </a:cubicBezTo>
                  <a:cubicBezTo>
                    <a:pt x="365" y="555"/>
                    <a:pt x="363" y="556"/>
                    <a:pt x="359" y="556"/>
                  </a:cubicBezTo>
                  <a:cubicBezTo>
                    <a:pt x="358" y="557"/>
                    <a:pt x="358" y="557"/>
                    <a:pt x="358" y="557"/>
                  </a:cubicBezTo>
                  <a:cubicBezTo>
                    <a:pt x="357" y="557"/>
                    <a:pt x="356" y="557"/>
                    <a:pt x="355" y="557"/>
                  </a:cubicBezTo>
                  <a:cubicBezTo>
                    <a:pt x="354" y="557"/>
                    <a:pt x="351" y="557"/>
                    <a:pt x="349" y="552"/>
                  </a:cubicBezTo>
                  <a:cubicBezTo>
                    <a:pt x="347" y="546"/>
                    <a:pt x="343" y="539"/>
                    <a:pt x="338" y="536"/>
                  </a:cubicBezTo>
                  <a:cubicBezTo>
                    <a:pt x="338" y="536"/>
                    <a:pt x="337" y="536"/>
                    <a:pt x="337" y="536"/>
                  </a:cubicBezTo>
                  <a:cubicBezTo>
                    <a:pt x="337" y="536"/>
                    <a:pt x="337" y="536"/>
                    <a:pt x="336" y="536"/>
                  </a:cubicBezTo>
                  <a:cubicBezTo>
                    <a:pt x="334" y="536"/>
                    <a:pt x="332" y="537"/>
                    <a:pt x="329" y="537"/>
                  </a:cubicBezTo>
                  <a:cubicBezTo>
                    <a:pt x="328" y="537"/>
                    <a:pt x="328" y="537"/>
                    <a:pt x="328" y="537"/>
                  </a:cubicBezTo>
                  <a:cubicBezTo>
                    <a:pt x="328" y="537"/>
                    <a:pt x="327" y="538"/>
                    <a:pt x="327" y="538"/>
                  </a:cubicBezTo>
                  <a:cubicBezTo>
                    <a:pt x="324" y="543"/>
                    <a:pt x="322" y="551"/>
                    <a:pt x="322" y="557"/>
                  </a:cubicBezTo>
                  <a:cubicBezTo>
                    <a:pt x="322" y="564"/>
                    <a:pt x="319" y="564"/>
                    <a:pt x="316" y="565"/>
                  </a:cubicBezTo>
                  <a:cubicBezTo>
                    <a:pt x="314" y="565"/>
                    <a:pt x="314" y="565"/>
                    <a:pt x="314" y="565"/>
                  </a:cubicBezTo>
                  <a:cubicBezTo>
                    <a:pt x="314" y="565"/>
                    <a:pt x="313" y="565"/>
                    <a:pt x="312" y="565"/>
                  </a:cubicBezTo>
                  <a:cubicBezTo>
                    <a:pt x="311" y="565"/>
                    <a:pt x="308" y="565"/>
                    <a:pt x="307" y="558"/>
                  </a:cubicBezTo>
                  <a:cubicBezTo>
                    <a:pt x="305" y="553"/>
                    <a:pt x="302" y="545"/>
                    <a:pt x="298" y="541"/>
                  </a:cubicBezTo>
                  <a:cubicBezTo>
                    <a:pt x="298" y="541"/>
                    <a:pt x="297" y="541"/>
                    <a:pt x="297" y="541"/>
                  </a:cubicBezTo>
                  <a:cubicBezTo>
                    <a:pt x="297" y="541"/>
                    <a:pt x="297" y="541"/>
                    <a:pt x="297" y="541"/>
                  </a:cubicBezTo>
                  <a:cubicBezTo>
                    <a:pt x="296" y="541"/>
                    <a:pt x="296" y="541"/>
                    <a:pt x="296" y="541"/>
                  </a:cubicBezTo>
                  <a:cubicBezTo>
                    <a:pt x="293" y="541"/>
                    <a:pt x="291" y="541"/>
                    <a:pt x="288" y="541"/>
                  </a:cubicBezTo>
                  <a:cubicBezTo>
                    <a:pt x="288" y="541"/>
                    <a:pt x="287" y="541"/>
                    <a:pt x="286" y="542"/>
                  </a:cubicBezTo>
                  <a:cubicBezTo>
                    <a:pt x="283" y="546"/>
                    <a:pt x="280" y="553"/>
                    <a:pt x="279" y="559"/>
                  </a:cubicBezTo>
                  <a:cubicBezTo>
                    <a:pt x="278" y="566"/>
                    <a:pt x="275" y="566"/>
                    <a:pt x="273" y="566"/>
                  </a:cubicBezTo>
                  <a:cubicBezTo>
                    <a:pt x="273" y="566"/>
                    <a:pt x="272" y="566"/>
                    <a:pt x="272" y="566"/>
                  </a:cubicBezTo>
                  <a:cubicBezTo>
                    <a:pt x="270" y="566"/>
                    <a:pt x="270" y="566"/>
                    <a:pt x="270" y="566"/>
                  </a:cubicBezTo>
                  <a:cubicBezTo>
                    <a:pt x="267" y="566"/>
                    <a:pt x="264" y="565"/>
                    <a:pt x="264" y="558"/>
                  </a:cubicBezTo>
                  <a:cubicBezTo>
                    <a:pt x="263" y="552"/>
                    <a:pt x="261" y="544"/>
                    <a:pt x="258" y="540"/>
                  </a:cubicBezTo>
                  <a:cubicBezTo>
                    <a:pt x="258" y="540"/>
                    <a:pt x="257" y="539"/>
                    <a:pt x="257" y="539"/>
                  </a:cubicBezTo>
                  <a:cubicBezTo>
                    <a:pt x="254" y="539"/>
                    <a:pt x="251" y="539"/>
                    <a:pt x="248" y="538"/>
                  </a:cubicBezTo>
                  <a:cubicBezTo>
                    <a:pt x="248" y="538"/>
                    <a:pt x="248" y="538"/>
                    <a:pt x="248" y="538"/>
                  </a:cubicBezTo>
                  <a:cubicBezTo>
                    <a:pt x="247" y="538"/>
                    <a:pt x="247" y="538"/>
                    <a:pt x="246" y="539"/>
                  </a:cubicBezTo>
                  <a:cubicBezTo>
                    <a:pt x="242" y="542"/>
                    <a:pt x="239" y="549"/>
                    <a:pt x="236" y="555"/>
                  </a:cubicBezTo>
                  <a:cubicBezTo>
                    <a:pt x="234" y="561"/>
                    <a:pt x="232" y="561"/>
                    <a:pt x="231" y="561"/>
                  </a:cubicBezTo>
                  <a:cubicBezTo>
                    <a:pt x="230" y="561"/>
                    <a:pt x="229" y="560"/>
                    <a:pt x="228" y="560"/>
                  </a:cubicBezTo>
                  <a:cubicBezTo>
                    <a:pt x="227" y="560"/>
                    <a:pt x="227" y="560"/>
                    <a:pt x="227" y="560"/>
                  </a:cubicBezTo>
                  <a:cubicBezTo>
                    <a:pt x="223" y="559"/>
                    <a:pt x="221" y="559"/>
                    <a:pt x="221" y="551"/>
                  </a:cubicBezTo>
                  <a:cubicBezTo>
                    <a:pt x="222" y="545"/>
                    <a:pt x="221" y="537"/>
                    <a:pt x="219" y="533"/>
                  </a:cubicBezTo>
                  <a:cubicBezTo>
                    <a:pt x="218" y="532"/>
                    <a:pt x="218" y="532"/>
                    <a:pt x="217" y="532"/>
                  </a:cubicBezTo>
                  <a:cubicBezTo>
                    <a:pt x="215" y="531"/>
                    <a:pt x="212" y="530"/>
                    <a:pt x="209" y="529"/>
                  </a:cubicBezTo>
                  <a:cubicBezTo>
                    <a:pt x="209" y="529"/>
                    <a:pt x="209" y="529"/>
                    <a:pt x="208" y="529"/>
                  </a:cubicBezTo>
                  <a:cubicBezTo>
                    <a:pt x="208" y="529"/>
                    <a:pt x="208" y="529"/>
                    <a:pt x="207" y="529"/>
                  </a:cubicBezTo>
                  <a:cubicBezTo>
                    <a:pt x="203" y="532"/>
                    <a:pt x="198" y="538"/>
                    <a:pt x="195" y="544"/>
                  </a:cubicBezTo>
                  <a:cubicBezTo>
                    <a:pt x="192" y="549"/>
                    <a:pt x="190" y="549"/>
                    <a:pt x="189" y="549"/>
                  </a:cubicBezTo>
                  <a:cubicBezTo>
                    <a:pt x="188" y="549"/>
                    <a:pt x="187" y="548"/>
                    <a:pt x="186" y="548"/>
                  </a:cubicBezTo>
                  <a:cubicBezTo>
                    <a:pt x="185" y="547"/>
                    <a:pt x="185" y="547"/>
                    <a:pt x="185" y="547"/>
                  </a:cubicBezTo>
                  <a:cubicBezTo>
                    <a:pt x="181" y="546"/>
                    <a:pt x="179" y="545"/>
                    <a:pt x="180" y="538"/>
                  </a:cubicBezTo>
                  <a:cubicBezTo>
                    <a:pt x="182" y="532"/>
                    <a:pt x="182" y="524"/>
                    <a:pt x="181" y="519"/>
                  </a:cubicBezTo>
                  <a:cubicBezTo>
                    <a:pt x="181" y="519"/>
                    <a:pt x="180" y="518"/>
                    <a:pt x="180" y="518"/>
                  </a:cubicBezTo>
                  <a:cubicBezTo>
                    <a:pt x="177" y="517"/>
                    <a:pt x="175" y="516"/>
                    <a:pt x="173" y="515"/>
                  </a:cubicBezTo>
                  <a:cubicBezTo>
                    <a:pt x="172" y="514"/>
                    <a:pt x="172" y="514"/>
                    <a:pt x="172" y="514"/>
                  </a:cubicBezTo>
                  <a:cubicBezTo>
                    <a:pt x="172" y="514"/>
                    <a:pt x="171" y="514"/>
                    <a:pt x="171" y="514"/>
                  </a:cubicBezTo>
                  <a:cubicBezTo>
                    <a:pt x="171" y="514"/>
                    <a:pt x="170" y="514"/>
                    <a:pt x="170" y="514"/>
                  </a:cubicBezTo>
                  <a:cubicBezTo>
                    <a:pt x="165" y="516"/>
                    <a:pt x="159" y="522"/>
                    <a:pt x="156" y="526"/>
                  </a:cubicBezTo>
                  <a:cubicBezTo>
                    <a:pt x="153" y="529"/>
                    <a:pt x="152" y="530"/>
                    <a:pt x="150" y="530"/>
                  </a:cubicBezTo>
                  <a:cubicBezTo>
                    <a:pt x="149" y="530"/>
                    <a:pt x="147" y="529"/>
                    <a:pt x="146" y="529"/>
                  </a:cubicBezTo>
                  <a:cubicBezTo>
                    <a:pt x="145" y="528"/>
                    <a:pt x="145" y="528"/>
                    <a:pt x="145" y="528"/>
                  </a:cubicBezTo>
                  <a:cubicBezTo>
                    <a:pt x="142" y="526"/>
                    <a:pt x="139" y="525"/>
                    <a:pt x="142" y="518"/>
                  </a:cubicBezTo>
                  <a:cubicBezTo>
                    <a:pt x="144" y="513"/>
                    <a:pt x="146" y="505"/>
                    <a:pt x="146" y="500"/>
                  </a:cubicBezTo>
                  <a:cubicBezTo>
                    <a:pt x="145" y="499"/>
                    <a:pt x="145" y="499"/>
                    <a:pt x="144" y="498"/>
                  </a:cubicBezTo>
                  <a:cubicBezTo>
                    <a:pt x="142" y="497"/>
                    <a:pt x="140" y="495"/>
                    <a:pt x="138" y="493"/>
                  </a:cubicBezTo>
                  <a:cubicBezTo>
                    <a:pt x="137" y="493"/>
                    <a:pt x="137" y="493"/>
                    <a:pt x="136" y="493"/>
                  </a:cubicBezTo>
                  <a:cubicBezTo>
                    <a:pt x="136" y="493"/>
                    <a:pt x="136" y="493"/>
                    <a:pt x="136" y="493"/>
                  </a:cubicBezTo>
                  <a:cubicBezTo>
                    <a:pt x="131" y="494"/>
                    <a:pt x="124" y="499"/>
                    <a:pt x="119" y="503"/>
                  </a:cubicBezTo>
                  <a:cubicBezTo>
                    <a:pt x="117" y="505"/>
                    <a:pt x="115" y="506"/>
                    <a:pt x="114" y="506"/>
                  </a:cubicBezTo>
                  <a:cubicBezTo>
                    <a:pt x="114" y="506"/>
                    <a:pt x="114" y="506"/>
                    <a:pt x="114" y="506"/>
                  </a:cubicBezTo>
                  <a:cubicBezTo>
                    <a:pt x="112" y="506"/>
                    <a:pt x="111" y="505"/>
                    <a:pt x="110" y="504"/>
                  </a:cubicBezTo>
                  <a:cubicBezTo>
                    <a:pt x="109" y="503"/>
                    <a:pt x="109" y="503"/>
                    <a:pt x="109" y="503"/>
                  </a:cubicBezTo>
                  <a:cubicBezTo>
                    <a:pt x="106" y="501"/>
                    <a:pt x="104" y="499"/>
                    <a:pt x="108" y="493"/>
                  </a:cubicBezTo>
                  <a:cubicBezTo>
                    <a:pt x="111" y="488"/>
                    <a:pt x="114" y="480"/>
                    <a:pt x="114" y="475"/>
                  </a:cubicBezTo>
                  <a:cubicBezTo>
                    <a:pt x="114" y="475"/>
                    <a:pt x="113" y="474"/>
                    <a:pt x="113" y="473"/>
                  </a:cubicBezTo>
                  <a:cubicBezTo>
                    <a:pt x="111" y="472"/>
                    <a:pt x="109" y="470"/>
                    <a:pt x="107" y="468"/>
                  </a:cubicBezTo>
                  <a:cubicBezTo>
                    <a:pt x="106" y="467"/>
                    <a:pt x="106" y="467"/>
                    <a:pt x="105" y="467"/>
                  </a:cubicBezTo>
                  <a:cubicBezTo>
                    <a:pt x="105" y="467"/>
                    <a:pt x="105" y="467"/>
                    <a:pt x="105" y="467"/>
                  </a:cubicBezTo>
                  <a:cubicBezTo>
                    <a:pt x="100" y="467"/>
                    <a:pt x="93" y="471"/>
                    <a:pt x="87" y="474"/>
                  </a:cubicBezTo>
                  <a:cubicBezTo>
                    <a:pt x="85" y="476"/>
                    <a:pt x="83" y="476"/>
                    <a:pt x="82" y="476"/>
                  </a:cubicBezTo>
                  <a:cubicBezTo>
                    <a:pt x="80" y="476"/>
                    <a:pt x="79" y="475"/>
                    <a:pt x="78" y="473"/>
                  </a:cubicBezTo>
                  <a:cubicBezTo>
                    <a:pt x="77" y="473"/>
                    <a:pt x="77" y="473"/>
                    <a:pt x="77" y="473"/>
                  </a:cubicBezTo>
                  <a:cubicBezTo>
                    <a:pt x="74" y="470"/>
                    <a:pt x="73" y="468"/>
                    <a:pt x="77" y="463"/>
                  </a:cubicBezTo>
                  <a:cubicBezTo>
                    <a:pt x="81" y="458"/>
                    <a:pt x="85" y="451"/>
                    <a:pt x="86" y="446"/>
                  </a:cubicBezTo>
                  <a:cubicBezTo>
                    <a:pt x="86" y="445"/>
                    <a:pt x="86" y="445"/>
                    <a:pt x="86" y="444"/>
                  </a:cubicBezTo>
                  <a:cubicBezTo>
                    <a:pt x="85" y="443"/>
                    <a:pt x="85" y="443"/>
                    <a:pt x="85" y="443"/>
                  </a:cubicBezTo>
                  <a:cubicBezTo>
                    <a:pt x="83" y="441"/>
                    <a:pt x="82" y="439"/>
                    <a:pt x="80" y="437"/>
                  </a:cubicBezTo>
                  <a:cubicBezTo>
                    <a:pt x="80" y="437"/>
                    <a:pt x="79" y="436"/>
                    <a:pt x="79" y="436"/>
                  </a:cubicBezTo>
                  <a:cubicBezTo>
                    <a:pt x="78" y="436"/>
                    <a:pt x="78" y="436"/>
                    <a:pt x="77" y="436"/>
                  </a:cubicBezTo>
                  <a:cubicBezTo>
                    <a:pt x="73" y="436"/>
                    <a:pt x="67" y="438"/>
                    <a:pt x="60" y="441"/>
                  </a:cubicBezTo>
                  <a:cubicBezTo>
                    <a:pt x="58" y="442"/>
                    <a:pt x="57" y="442"/>
                    <a:pt x="55" y="442"/>
                  </a:cubicBezTo>
                  <a:cubicBezTo>
                    <a:pt x="53" y="442"/>
                    <a:pt x="52" y="441"/>
                    <a:pt x="51" y="439"/>
                  </a:cubicBezTo>
                  <a:cubicBezTo>
                    <a:pt x="50" y="438"/>
                    <a:pt x="50" y="438"/>
                    <a:pt x="50" y="438"/>
                  </a:cubicBezTo>
                  <a:cubicBezTo>
                    <a:pt x="48" y="435"/>
                    <a:pt x="47" y="432"/>
                    <a:pt x="52" y="428"/>
                  </a:cubicBezTo>
                  <a:cubicBezTo>
                    <a:pt x="57" y="424"/>
                    <a:pt x="62" y="418"/>
                    <a:pt x="63" y="413"/>
                  </a:cubicBezTo>
                  <a:cubicBezTo>
                    <a:pt x="64" y="412"/>
                    <a:pt x="64" y="411"/>
                    <a:pt x="63" y="411"/>
                  </a:cubicBezTo>
                  <a:cubicBezTo>
                    <a:pt x="62" y="408"/>
                    <a:pt x="61" y="406"/>
                    <a:pt x="59" y="403"/>
                  </a:cubicBezTo>
                  <a:cubicBezTo>
                    <a:pt x="59" y="403"/>
                    <a:pt x="58" y="402"/>
                    <a:pt x="58" y="402"/>
                  </a:cubicBezTo>
                  <a:cubicBezTo>
                    <a:pt x="56" y="402"/>
                    <a:pt x="54" y="402"/>
                    <a:pt x="52" y="402"/>
                  </a:cubicBezTo>
                  <a:cubicBezTo>
                    <a:pt x="49" y="402"/>
                    <a:pt x="44" y="402"/>
                    <a:pt x="39" y="404"/>
                  </a:cubicBezTo>
                  <a:cubicBezTo>
                    <a:pt x="37" y="404"/>
                    <a:pt x="36" y="404"/>
                    <a:pt x="35" y="404"/>
                  </a:cubicBezTo>
                  <a:cubicBezTo>
                    <a:pt x="32" y="404"/>
                    <a:pt x="31" y="403"/>
                    <a:pt x="30" y="400"/>
                  </a:cubicBezTo>
                  <a:cubicBezTo>
                    <a:pt x="29" y="399"/>
                    <a:pt x="29" y="399"/>
                    <a:pt x="29" y="399"/>
                  </a:cubicBezTo>
                  <a:cubicBezTo>
                    <a:pt x="28" y="396"/>
                    <a:pt x="27" y="393"/>
                    <a:pt x="33" y="389"/>
                  </a:cubicBezTo>
                  <a:cubicBezTo>
                    <a:pt x="38" y="386"/>
                    <a:pt x="44" y="381"/>
                    <a:pt x="46" y="376"/>
                  </a:cubicBezTo>
                  <a:cubicBezTo>
                    <a:pt x="47" y="376"/>
                    <a:pt x="47" y="375"/>
                    <a:pt x="46" y="374"/>
                  </a:cubicBezTo>
                  <a:cubicBezTo>
                    <a:pt x="45" y="372"/>
                    <a:pt x="44" y="369"/>
                    <a:pt x="44" y="367"/>
                  </a:cubicBezTo>
                  <a:cubicBezTo>
                    <a:pt x="43" y="366"/>
                    <a:pt x="43" y="365"/>
                    <a:pt x="42" y="365"/>
                  </a:cubicBezTo>
                  <a:cubicBezTo>
                    <a:pt x="39" y="363"/>
                    <a:pt x="34" y="363"/>
                    <a:pt x="30" y="363"/>
                  </a:cubicBezTo>
                  <a:cubicBezTo>
                    <a:pt x="28" y="363"/>
                    <a:pt x="26" y="363"/>
                    <a:pt x="23" y="363"/>
                  </a:cubicBezTo>
                  <a:cubicBezTo>
                    <a:pt x="23" y="364"/>
                    <a:pt x="22" y="364"/>
                    <a:pt x="21" y="364"/>
                  </a:cubicBezTo>
                  <a:cubicBezTo>
                    <a:pt x="16" y="364"/>
                    <a:pt x="16" y="361"/>
                    <a:pt x="15" y="358"/>
                  </a:cubicBezTo>
                  <a:cubicBezTo>
                    <a:pt x="15" y="357"/>
                    <a:pt x="15" y="357"/>
                    <a:pt x="15" y="357"/>
                  </a:cubicBezTo>
                  <a:cubicBezTo>
                    <a:pt x="14" y="354"/>
                    <a:pt x="13" y="351"/>
                    <a:pt x="20" y="348"/>
                  </a:cubicBezTo>
                  <a:cubicBezTo>
                    <a:pt x="25" y="346"/>
                    <a:pt x="32" y="342"/>
                    <a:pt x="35" y="338"/>
                  </a:cubicBezTo>
                  <a:cubicBezTo>
                    <a:pt x="35" y="337"/>
                    <a:pt x="36" y="336"/>
                    <a:pt x="35" y="336"/>
                  </a:cubicBezTo>
                  <a:cubicBezTo>
                    <a:pt x="35" y="333"/>
                    <a:pt x="34" y="331"/>
                    <a:pt x="34" y="329"/>
                  </a:cubicBezTo>
                  <a:cubicBezTo>
                    <a:pt x="34" y="328"/>
                    <a:pt x="34" y="328"/>
                    <a:pt x="34" y="328"/>
                  </a:cubicBezTo>
                  <a:cubicBezTo>
                    <a:pt x="34" y="327"/>
                    <a:pt x="33" y="326"/>
                    <a:pt x="33" y="326"/>
                  </a:cubicBezTo>
                  <a:cubicBezTo>
                    <a:pt x="29" y="323"/>
                    <a:pt x="21" y="322"/>
                    <a:pt x="14" y="321"/>
                  </a:cubicBezTo>
                  <a:cubicBezTo>
                    <a:pt x="7" y="321"/>
                    <a:pt x="7" y="319"/>
                    <a:pt x="7" y="315"/>
                  </a:cubicBezTo>
                  <a:cubicBezTo>
                    <a:pt x="7" y="314"/>
                    <a:pt x="7" y="314"/>
                    <a:pt x="7" y="314"/>
                  </a:cubicBezTo>
                  <a:cubicBezTo>
                    <a:pt x="6" y="310"/>
                    <a:pt x="6" y="308"/>
                    <a:pt x="13" y="306"/>
                  </a:cubicBezTo>
                  <a:cubicBezTo>
                    <a:pt x="19" y="304"/>
                    <a:pt x="26" y="301"/>
                    <a:pt x="30" y="298"/>
                  </a:cubicBezTo>
                  <a:cubicBezTo>
                    <a:pt x="30" y="297"/>
                    <a:pt x="31" y="297"/>
                    <a:pt x="31" y="296"/>
                  </a:cubicBezTo>
                  <a:cubicBezTo>
                    <a:pt x="30" y="293"/>
                    <a:pt x="30" y="290"/>
                    <a:pt x="30" y="288"/>
                  </a:cubicBezTo>
                  <a:cubicBezTo>
                    <a:pt x="30" y="287"/>
                    <a:pt x="30" y="286"/>
                    <a:pt x="30" y="286"/>
                  </a:cubicBezTo>
                  <a:cubicBezTo>
                    <a:pt x="26" y="282"/>
                    <a:pt x="18" y="280"/>
                    <a:pt x="12" y="278"/>
                  </a:cubicBezTo>
                  <a:cubicBezTo>
                    <a:pt x="5" y="277"/>
                    <a:pt x="5" y="274"/>
                    <a:pt x="6" y="271"/>
                  </a:cubicBezTo>
                  <a:cubicBezTo>
                    <a:pt x="6" y="270"/>
                    <a:pt x="6" y="270"/>
                    <a:pt x="6" y="270"/>
                  </a:cubicBezTo>
                  <a:cubicBezTo>
                    <a:pt x="6" y="266"/>
                    <a:pt x="6" y="264"/>
                    <a:pt x="13" y="263"/>
                  </a:cubicBezTo>
                  <a:cubicBezTo>
                    <a:pt x="19" y="262"/>
                    <a:pt x="27" y="261"/>
                    <a:pt x="31" y="258"/>
                  </a:cubicBezTo>
                  <a:cubicBezTo>
                    <a:pt x="32" y="257"/>
                    <a:pt x="32" y="257"/>
                    <a:pt x="32" y="256"/>
                  </a:cubicBezTo>
                  <a:cubicBezTo>
                    <a:pt x="32" y="253"/>
                    <a:pt x="33" y="250"/>
                    <a:pt x="33" y="248"/>
                  </a:cubicBezTo>
                  <a:cubicBezTo>
                    <a:pt x="33" y="247"/>
                    <a:pt x="33" y="246"/>
                    <a:pt x="33" y="246"/>
                  </a:cubicBezTo>
                  <a:cubicBezTo>
                    <a:pt x="29" y="242"/>
                    <a:pt x="22" y="238"/>
                    <a:pt x="17" y="236"/>
                  </a:cubicBezTo>
                  <a:cubicBezTo>
                    <a:pt x="10" y="233"/>
                    <a:pt x="10" y="231"/>
                    <a:pt x="11" y="227"/>
                  </a:cubicBezTo>
                  <a:cubicBezTo>
                    <a:pt x="12" y="226"/>
                    <a:pt x="12" y="226"/>
                    <a:pt x="12" y="226"/>
                  </a:cubicBezTo>
                  <a:cubicBezTo>
                    <a:pt x="12" y="223"/>
                    <a:pt x="13" y="221"/>
                    <a:pt x="18" y="221"/>
                  </a:cubicBezTo>
                  <a:cubicBezTo>
                    <a:pt x="19" y="221"/>
                    <a:pt x="19" y="221"/>
                    <a:pt x="20" y="221"/>
                  </a:cubicBezTo>
                  <a:cubicBezTo>
                    <a:pt x="21" y="221"/>
                    <a:pt x="22" y="221"/>
                    <a:pt x="23" y="221"/>
                  </a:cubicBezTo>
                  <a:cubicBezTo>
                    <a:pt x="26" y="221"/>
                    <a:pt x="34" y="220"/>
                    <a:pt x="38" y="218"/>
                  </a:cubicBezTo>
                  <a:cubicBezTo>
                    <a:pt x="39" y="218"/>
                    <a:pt x="40" y="217"/>
                    <a:pt x="40" y="217"/>
                  </a:cubicBezTo>
                  <a:cubicBezTo>
                    <a:pt x="40" y="214"/>
                    <a:pt x="41" y="211"/>
                    <a:pt x="42" y="209"/>
                  </a:cubicBezTo>
                  <a:cubicBezTo>
                    <a:pt x="42" y="208"/>
                    <a:pt x="42" y="207"/>
                    <a:pt x="42" y="206"/>
                  </a:cubicBezTo>
                  <a:cubicBezTo>
                    <a:pt x="39" y="202"/>
                    <a:pt x="33" y="197"/>
                    <a:pt x="28" y="194"/>
                  </a:cubicBezTo>
                  <a:cubicBezTo>
                    <a:pt x="21" y="191"/>
                    <a:pt x="22" y="188"/>
                    <a:pt x="24" y="185"/>
                  </a:cubicBezTo>
                  <a:cubicBezTo>
                    <a:pt x="24" y="184"/>
                    <a:pt x="24" y="184"/>
                    <a:pt x="24" y="184"/>
                  </a:cubicBezTo>
                  <a:cubicBezTo>
                    <a:pt x="25" y="181"/>
                    <a:pt x="26" y="179"/>
                    <a:pt x="29" y="179"/>
                  </a:cubicBezTo>
                  <a:cubicBezTo>
                    <a:pt x="31" y="179"/>
                    <a:pt x="32" y="179"/>
                    <a:pt x="33" y="180"/>
                  </a:cubicBezTo>
                  <a:cubicBezTo>
                    <a:pt x="37" y="181"/>
                    <a:pt x="41" y="181"/>
                    <a:pt x="45" y="181"/>
                  </a:cubicBezTo>
                  <a:cubicBezTo>
                    <a:pt x="48" y="181"/>
                    <a:pt x="50" y="181"/>
                    <a:pt x="52" y="180"/>
                  </a:cubicBezTo>
                  <a:cubicBezTo>
                    <a:pt x="53" y="180"/>
                    <a:pt x="53" y="180"/>
                    <a:pt x="53" y="179"/>
                  </a:cubicBezTo>
                  <a:cubicBezTo>
                    <a:pt x="54" y="177"/>
                    <a:pt x="56" y="175"/>
                    <a:pt x="57" y="172"/>
                  </a:cubicBezTo>
                  <a:cubicBezTo>
                    <a:pt x="57" y="171"/>
                    <a:pt x="57" y="171"/>
                    <a:pt x="57" y="171"/>
                  </a:cubicBezTo>
                  <a:cubicBezTo>
                    <a:pt x="57" y="171"/>
                    <a:pt x="58" y="170"/>
                    <a:pt x="57" y="169"/>
                  </a:cubicBezTo>
                  <a:cubicBezTo>
                    <a:pt x="55" y="165"/>
                    <a:pt x="50" y="159"/>
                    <a:pt x="45" y="155"/>
                  </a:cubicBezTo>
                  <a:cubicBezTo>
                    <a:pt x="39" y="151"/>
                    <a:pt x="41" y="148"/>
                    <a:pt x="43" y="145"/>
                  </a:cubicBezTo>
                  <a:cubicBezTo>
                    <a:pt x="43" y="144"/>
                    <a:pt x="43" y="144"/>
                    <a:pt x="43" y="144"/>
                  </a:cubicBezTo>
                  <a:cubicBezTo>
                    <a:pt x="45" y="142"/>
                    <a:pt x="46" y="140"/>
                    <a:pt x="48" y="140"/>
                  </a:cubicBezTo>
                  <a:cubicBezTo>
                    <a:pt x="49" y="140"/>
                    <a:pt x="51" y="141"/>
                    <a:pt x="53" y="142"/>
                  </a:cubicBezTo>
                  <a:cubicBezTo>
                    <a:pt x="59" y="144"/>
                    <a:pt x="65" y="145"/>
                    <a:pt x="69" y="145"/>
                  </a:cubicBezTo>
                  <a:cubicBezTo>
                    <a:pt x="70" y="145"/>
                    <a:pt x="71" y="145"/>
                    <a:pt x="71" y="145"/>
                  </a:cubicBezTo>
                  <a:cubicBezTo>
                    <a:pt x="72" y="145"/>
                    <a:pt x="73" y="144"/>
                    <a:pt x="73" y="144"/>
                  </a:cubicBezTo>
                  <a:cubicBezTo>
                    <a:pt x="75" y="142"/>
                    <a:pt x="76" y="139"/>
                    <a:pt x="78" y="137"/>
                  </a:cubicBezTo>
                  <a:cubicBezTo>
                    <a:pt x="78" y="136"/>
                    <a:pt x="78" y="136"/>
                    <a:pt x="78" y="135"/>
                  </a:cubicBezTo>
                  <a:cubicBezTo>
                    <a:pt x="77" y="130"/>
                    <a:pt x="73" y="123"/>
                    <a:pt x="68" y="119"/>
                  </a:cubicBezTo>
                  <a:cubicBezTo>
                    <a:pt x="64" y="114"/>
                    <a:pt x="65" y="112"/>
                    <a:pt x="68" y="109"/>
                  </a:cubicBezTo>
                  <a:cubicBezTo>
                    <a:pt x="68" y="108"/>
                    <a:pt x="68" y="108"/>
                    <a:pt x="68" y="108"/>
                  </a:cubicBezTo>
                  <a:cubicBezTo>
                    <a:pt x="70" y="106"/>
                    <a:pt x="71" y="105"/>
                    <a:pt x="73" y="105"/>
                  </a:cubicBezTo>
                  <a:cubicBezTo>
                    <a:pt x="74" y="105"/>
                    <a:pt x="76" y="105"/>
                    <a:pt x="78" y="107"/>
                  </a:cubicBezTo>
                  <a:cubicBezTo>
                    <a:pt x="83" y="110"/>
                    <a:pt x="91" y="113"/>
                    <a:pt x="96" y="113"/>
                  </a:cubicBezTo>
                  <a:cubicBezTo>
                    <a:pt x="96" y="113"/>
                    <a:pt x="96" y="113"/>
                    <a:pt x="96" y="113"/>
                  </a:cubicBezTo>
                  <a:cubicBezTo>
                    <a:pt x="97" y="113"/>
                    <a:pt x="97" y="113"/>
                    <a:pt x="98" y="112"/>
                  </a:cubicBezTo>
                  <a:cubicBezTo>
                    <a:pt x="100" y="110"/>
                    <a:pt x="102" y="108"/>
                    <a:pt x="104" y="106"/>
                  </a:cubicBezTo>
                  <a:cubicBezTo>
                    <a:pt x="104" y="106"/>
                    <a:pt x="104" y="105"/>
                    <a:pt x="104" y="104"/>
                  </a:cubicBezTo>
                  <a:cubicBezTo>
                    <a:pt x="104" y="99"/>
                    <a:pt x="100" y="92"/>
                    <a:pt x="97" y="87"/>
                  </a:cubicBezTo>
                  <a:cubicBezTo>
                    <a:pt x="93" y="81"/>
                    <a:pt x="95" y="79"/>
                    <a:pt x="98" y="77"/>
                  </a:cubicBezTo>
                  <a:cubicBezTo>
                    <a:pt x="99" y="76"/>
                    <a:pt x="99" y="76"/>
                    <a:pt x="99" y="76"/>
                  </a:cubicBezTo>
                  <a:cubicBezTo>
                    <a:pt x="100" y="75"/>
                    <a:pt x="101" y="74"/>
                    <a:pt x="103" y="74"/>
                  </a:cubicBezTo>
                  <a:cubicBezTo>
                    <a:pt x="105" y="74"/>
                    <a:pt x="106" y="75"/>
                    <a:pt x="109" y="77"/>
                  </a:cubicBezTo>
                  <a:cubicBezTo>
                    <a:pt x="113" y="80"/>
                    <a:pt x="120" y="85"/>
                    <a:pt x="125" y="85"/>
                  </a:cubicBezTo>
                  <a:cubicBezTo>
                    <a:pt x="125" y="85"/>
                    <a:pt x="126" y="85"/>
                    <a:pt x="126" y="85"/>
                  </a:cubicBezTo>
                  <a:cubicBezTo>
                    <a:pt x="126" y="85"/>
                    <a:pt x="127" y="85"/>
                    <a:pt x="127" y="85"/>
                  </a:cubicBezTo>
                  <a:cubicBezTo>
                    <a:pt x="128" y="84"/>
                    <a:pt x="128" y="84"/>
                    <a:pt x="128" y="84"/>
                  </a:cubicBezTo>
                  <a:cubicBezTo>
                    <a:pt x="130" y="83"/>
                    <a:pt x="132" y="81"/>
                    <a:pt x="134" y="80"/>
                  </a:cubicBezTo>
                  <a:cubicBezTo>
                    <a:pt x="134" y="79"/>
                    <a:pt x="135" y="79"/>
                    <a:pt x="135" y="78"/>
                  </a:cubicBezTo>
                  <a:cubicBezTo>
                    <a:pt x="135" y="73"/>
                    <a:pt x="133" y="65"/>
                    <a:pt x="131" y="60"/>
                  </a:cubicBezTo>
                  <a:cubicBezTo>
                    <a:pt x="127" y="53"/>
                    <a:pt x="130" y="52"/>
                    <a:pt x="133" y="50"/>
                  </a:cubicBezTo>
                  <a:cubicBezTo>
                    <a:pt x="134" y="49"/>
                    <a:pt x="134" y="49"/>
                    <a:pt x="134" y="49"/>
                  </a:cubicBezTo>
                  <a:cubicBezTo>
                    <a:pt x="135" y="48"/>
                    <a:pt x="136" y="48"/>
                    <a:pt x="138" y="48"/>
                  </a:cubicBezTo>
                  <a:cubicBezTo>
                    <a:pt x="139" y="48"/>
                    <a:pt x="141" y="49"/>
                    <a:pt x="144" y="51"/>
                  </a:cubicBezTo>
                  <a:cubicBezTo>
                    <a:pt x="148" y="56"/>
                    <a:pt x="154" y="61"/>
                    <a:pt x="159" y="63"/>
                  </a:cubicBezTo>
                  <a:cubicBezTo>
                    <a:pt x="159" y="63"/>
                    <a:pt x="159" y="63"/>
                    <a:pt x="159" y="63"/>
                  </a:cubicBezTo>
                  <a:cubicBezTo>
                    <a:pt x="160" y="63"/>
                    <a:pt x="160" y="63"/>
                    <a:pt x="161" y="63"/>
                  </a:cubicBezTo>
                  <a:cubicBezTo>
                    <a:pt x="163" y="61"/>
                    <a:pt x="165" y="60"/>
                    <a:pt x="168" y="59"/>
                  </a:cubicBezTo>
                  <a:cubicBezTo>
                    <a:pt x="169" y="58"/>
                    <a:pt x="169" y="58"/>
                    <a:pt x="169" y="57"/>
                  </a:cubicBezTo>
                  <a:cubicBezTo>
                    <a:pt x="170" y="52"/>
                    <a:pt x="169" y="44"/>
                    <a:pt x="168" y="38"/>
                  </a:cubicBezTo>
                  <a:cubicBezTo>
                    <a:pt x="166" y="31"/>
                    <a:pt x="168" y="30"/>
                    <a:pt x="171" y="29"/>
                  </a:cubicBezTo>
                  <a:cubicBezTo>
                    <a:pt x="173" y="28"/>
                    <a:pt x="173" y="28"/>
                    <a:pt x="173" y="28"/>
                  </a:cubicBezTo>
                  <a:cubicBezTo>
                    <a:pt x="174" y="28"/>
                    <a:pt x="175" y="27"/>
                    <a:pt x="176" y="27"/>
                  </a:cubicBezTo>
                  <a:cubicBezTo>
                    <a:pt x="177" y="27"/>
                    <a:pt x="179" y="27"/>
                    <a:pt x="182" y="32"/>
                  </a:cubicBezTo>
                  <a:cubicBezTo>
                    <a:pt x="185" y="37"/>
                    <a:pt x="190" y="43"/>
                    <a:pt x="195" y="46"/>
                  </a:cubicBezTo>
                  <a:cubicBezTo>
                    <a:pt x="195" y="46"/>
                    <a:pt x="196" y="46"/>
                    <a:pt x="196" y="46"/>
                  </a:cubicBezTo>
                  <a:cubicBezTo>
                    <a:pt x="196" y="46"/>
                    <a:pt x="197" y="46"/>
                    <a:pt x="197" y="46"/>
                  </a:cubicBezTo>
                  <a:cubicBezTo>
                    <a:pt x="200" y="45"/>
                    <a:pt x="202" y="44"/>
                    <a:pt x="205" y="43"/>
                  </a:cubicBezTo>
                  <a:cubicBezTo>
                    <a:pt x="205" y="43"/>
                    <a:pt x="206" y="42"/>
                    <a:pt x="206" y="42"/>
                  </a:cubicBezTo>
                  <a:cubicBezTo>
                    <a:pt x="208" y="37"/>
                    <a:pt x="208" y="29"/>
                    <a:pt x="208" y="23"/>
                  </a:cubicBezTo>
                  <a:cubicBezTo>
                    <a:pt x="207" y="16"/>
                    <a:pt x="210" y="15"/>
                    <a:pt x="213" y="14"/>
                  </a:cubicBezTo>
                  <a:cubicBezTo>
                    <a:pt x="214" y="14"/>
                    <a:pt x="214" y="14"/>
                    <a:pt x="214" y="14"/>
                  </a:cubicBezTo>
                  <a:cubicBezTo>
                    <a:pt x="215" y="14"/>
                    <a:pt x="216" y="13"/>
                    <a:pt x="217" y="13"/>
                  </a:cubicBezTo>
                  <a:cubicBezTo>
                    <a:pt x="218" y="13"/>
                    <a:pt x="221" y="13"/>
                    <a:pt x="223" y="19"/>
                  </a:cubicBezTo>
                  <a:cubicBezTo>
                    <a:pt x="225" y="24"/>
                    <a:pt x="229" y="31"/>
                    <a:pt x="234" y="34"/>
                  </a:cubicBezTo>
                  <a:cubicBezTo>
                    <a:pt x="234" y="35"/>
                    <a:pt x="234" y="35"/>
                    <a:pt x="235" y="35"/>
                  </a:cubicBezTo>
                  <a:cubicBezTo>
                    <a:pt x="235" y="35"/>
                    <a:pt x="235" y="35"/>
                    <a:pt x="236" y="35"/>
                  </a:cubicBezTo>
                  <a:cubicBezTo>
                    <a:pt x="238" y="34"/>
                    <a:pt x="240" y="34"/>
                    <a:pt x="242" y="34"/>
                  </a:cubicBezTo>
                  <a:cubicBezTo>
                    <a:pt x="244" y="33"/>
                    <a:pt x="244" y="33"/>
                    <a:pt x="244" y="33"/>
                  </a:cubicBezTo>
                  <a:cubicBezTo>
                    <a:pt x="244" y="33"/>
                    <a:pt x="245" y="33"/>
                    <a:pt x="245" y="32"/>
                  </a:cubicBezTo>
                  <a:cubicBezTo>
                    <a:pt x="248" y="28"/>
                    <a:pt x="250" y="20"/>
                    <a:pt x="250" y="14"/>
                  </a:cubicBezTo>
                  <a:cubicBezTo>
                    <a:pt x="250" y="7"/>
                    <a:pt x="253" y="6"/>
                    <a:pt x="256" y="6"/>
                  </a:cubicBezTo>
                  <a:cubicBezTo>
                    <a:pt x="257" y="6"/>
                    <a:pt x="257" y="6"/>
                    <a:pt x="257" y="6"/>
                  </a:cubicBezTo>
                  <a:cubicBezTo>
                    <a:pt x="258" y="6"/>
                    <a:pt x="259" y="6"/>
                    <a:pt x="260" y="6"/>
                  </a:cubicBezTo>
                  <a:cubicBezTo>
                    <a:pt x="261" y="6"/>
                    <a:pt x="264" y="6"/>
                    <a:pt x="265" y="12"/>
                  </a:cubicBezTo>
                  <a:cubicBezTo>
                    <a:pt x="267" y="18"/>
                    <a:pt x="270" y="26"/>
                    <a:pt x="274" y="29"/>
                  </a:cubicBezTo>
                  <a:cubicBezTo>
                    <a:pt x="274" y="30"/>
                    <a:pt x="275" y="30"/>
                    <a:pt x="275" y="30"/>
                  </a:cubicBezTo>
                  <a:moveTo>
                    <a:pt x="298" y="0"/>
                  </a:moveTo>
                  <a:cubicBezTo>
                    <a:pt x="293" y="0"/>
                    <a:pt x="289" y="3"/>
                    <a:pt x="288" y="10"/>
                  </a:cubicBezTo>
                  <a:cubicBezTo>
                    <a:pt x="287" y="16"/>
                    <a:pt x="284" y="22"/>
                    <a:pt x="282" y="25"/>
                  </a:cubicBezTo>
                  <a:cubicBezTo>
                    <a:pt x="280" y="25"/>
                    <a:pt x="278" y="25"/>
                    <a:pt x="276" y="25"/>
                  </a:cubicBezTo>
                  <a:cubicBezTo>
                    <a:pt x="274" y="22"/>
                    <a:pt x="272" y="17"/>
                    <a:pt x="270" y="11"/>
                  </a:cubicBezTo>
                  <a:cubicBezTo>
                    <a:pt x="269" y="4"/>
                    <a:pt x="265" y="1"/>
                    <a:pt x="260" y="1"/>
                  </a:cubicBezTo>
                  <a:cubicBezTo>
                    <a:pt x="259" y="1"/>
                    <a:pt x="258" y="1"/>
                    <a:pt x="257" y="1"/>
                  </a:cubicBezTo>
                  <a:cubicBezTo>
                    <a:pt x="256" y="1"/>
                    <a:pt x="256" y="1"/>
                    <a:pt x="256" y="1"/>
                  </a:cubicBezTo>
                  <a:cubicBezTo>
                    <a:pt x="252" y="1"/>
                    <a:pt x="245" y="2"/>
                    <a:pt x="245" y="14"/>
                  </a:cubicBezTo>
                  <a:cubicBezTo>
                    <a:pt x="245" y="20"/>
                    <a:pt x="243" y="25"/>
                    <a:pt x="242" y="29"/>
                  </a:cubicBezTo>
                  <a:cubicBezTo>
                    <a:pt x="241" y="29"/>
                    <a:pt x="241" y="29"/>
                    <a:pt x="241" y="29"/>
                  </a:cubicBezTo>
                  <a:cubicBezTo>
                    <a:pt x="240" y="29"/>
                    <a:pt x="238" y="29"/>
                    <a:pt x="236" y="30"/>
                  </a:cubicBezTo>
                  <a:cubicBezTo>
                    <a:pt x="233" y="27"/>
                    <a:pt x="230" y="22"/>
                    <a:pt x="227" y="17"/>
                  </a:cubicBezTo>
                  <a:cubicBezTo>
                    <a:pt x="225" y="11"/>
                    <a:pt x="222" y="8"/>
                    <a:pt x="217" y="8"/>
                  </a:cubicBezTo>
                  <a:cubicBezTo>
                    <a:pt x="216" y="8"/>
                    <a:pt x="214" y="9"/>
                    <a:pt x="213" y="9"/>
                  </a:cubicBezTo>
                  <a:cubicBezTo>
                    <a:pt x="212" y="9"/>
                    <a:pt x="212" y="9"/>
                    <a:pt x="212" y="9"/>
                  </a:cubicBezTo>
                  <a:cubicBezTo>
                    <a:pt x="208" y="10"/>
                    <a:pt x="201" y="12"/>
                    <a:pt x="203" y="23"/>
                  </a:cubicBezTo>
                  <a:cubicBezTo>
                    <a:pt x="203" y="29"/>
                    <a:pt x="203" y="35"/>
                    <a:pt x="202" y="39"/>
                  </a:cubicBezTo>
                  <a:cubicBezTo>
                    <a:pt x="200" y="39"/>
                    <a:pt x="198" y="40"/>
                    <a:pt x="196" y="41"/>
                  </a:cubicBezTo>
                  <a:cubicBezTo>
                    <a:pt x="193" y="39"/>
                    <a:pt x="189" y="34"/>
                    <a:pt x="186" y="29"/>
                  </a:cubicBezTo>
                  <a:cubicBezTo>
                    <a:pt x="183" y="25"/>
                    <a:pt x="180" y="22"/>
                    <a:pt x="176" y="22"/>
                  </a:cubicBezTo>
                  <a:cubicBezTo>
                    <a:pt x="174" y="22"/>
                    <a:pt x="172" y="23"/>
                    <a:pt x="170" y="24"/>
                  </a:cubicBezTo>
                  <a:cubicBezTo>
                    <a:pt x="169" y="24"/>
                    <a:pt x="169" y="24"/>
                    <a:pt x="169" y="24"/>
                  </a:cubicBezTo>
                  <a:cubicBezTo>
                    <a:pt x="166" y="26"/>
                    <a:pt x="160" y="29"/>
                    <a:pt x="163" y="40"/>
                  </a:cubicBezTo>
                  <a:cubicBezTo>
                    <a:pt x="164" y="45"/>
                    <a:pt x="165" y="51"/>
                    <a:pt x="165" y="55"/>
                  </a:cubicBezTo>
                  <a:cubicBezTo>
                    <a:pt x="163" y="56"/>
                    <a:pt x="161" y="57"/>
                    <a:pt x="159" y="58"/>
                  </a:cubicBezTo>
                  <a:cubicBezTo>
                    <a:pt x="156" y="56"/>
                    <a:pt x="151" y="52"/>
                    <a:pt x="147" y="48"/>
                  </a:cubicBezTo>
                  <a:cubicBezTo>
                    <a:pt x="144" y="44"/>
                    <a:pt x="141" y="43"/>
                    <a:pt x="138" y="43"/>
                  </a:cubicBezTo>
                  <a:cubicBezTo>
                    <a:pt x="135" y="43"/>
                    <a:pt x="133" y="44"/>
                    <a:pt x="131" y="45"/>
                  </a:cubicBezTo>
                  <a:cubicBezTo>
                    <a:pt x="130" y="46"/>
                    <a:pt x="130" y="46"/>
                    <a:pt x="130" y="46"/>
                  </a:cubicBezTo>
                  <a:cubicBezTo>
                    <a:pt x="127" y="48"/>
                    <a:pt x="121" y="51"/>
                    <a:pt x="126" y="62"/>
                  </a:cubicBezTo>
                  <a:cubicBezTo>
                    <a:pt x="128" y="67"/>
                    <a:pt x="130" y="73"/>
                    <a:pt x="130" y="76"/>
                  </a:cubicBezTo>
                  <a:cubicBezTo>
                    <a:pt x="128" y="78"/>
                    <a:pt x="127" y="79"/>
                    <a:pt x="125" y="80"/>
                  </a:cubicBezTo>
                  <a:cubicBezTo>
                    <a:pt x="122" y="79"/>
                    <a:pt x="117" y="76"/>
                    <a:pt x="112" y="73"/>
                  </a:cubicBezTo>
                  <a:cubicBezTo>
                    <a:pt x="109" y="70"/>
                    <a:pt x="106" y="69"/>
                    <a:pt x="103" y="69"/>
                  </a:cubicBezTo>
                  <a:cubicBezTo>
                    <a:pt x="99" y="69"/>
                    <a:pt x="97" y="71"/>
                    <a:pt x="95" y="72"/>
                  </a:cubicBezTo>
                  <a:cubicBezTo>
                    <a:pt x="95" y="73"/>
                    <a:pt x="95" y="73"/>
                    <a:pt x="95" y="73"/>
                  </a:cubicBezTo>
                  <a:cubicBezTo>
                    <a:pt x="92" y="76"/>
                    <a:pt x="86" y="80"/>
                    <a:pt x="93" y="90"/>
                  </a:cubicBezTo>
                  <a:cubicBezTo>
                    <a:pt x="96" y="95"/>
                    <a:pt x="99" y="100"/>
                    <a:pt x="99" y="104"/>
                  </a:cubicBezTo>
                  <a:cubicBezTo>
                    <a:pt x="98" y="105"/>
                    <a:pt x="96" y="106"/>
                    <a:pt x="95" y="108"/>
                  </a:cubicBezTo>
                  <a:cubicBezTo>
                    <a:pt x="91" y="108"/>
                    <a:pt x="86" y="106"/>
                    <a:pt x="81" y="103"/>
                  </a:cubicBezTo>
                  <a:cubicBezTo>
                    <a:pt x="78" y="101"/>
                    <a:pt x="75" y="100"/>
                    <a:pt x="73" y="100"/>
                  </a:cubicBezTo>
                  <a:cubicBezTo>
                    <a:pt x="68" y="100"/>
                    <a:pt x="66" y="103"/>
                    <a:pt x="64" y="105"/>
                  </a:cubicBezTo>
                  <a:cubicBezTo>
                    <a:pt x="64" y="106"/>
                    <a:pt x="64" y="106"/>
                    <a:pt x="64" y="106"/>
                  </a:cubicBezTo>
                  <a:cubicBezTo>
                    <a:pt x="61" y="109"/>
                    <a:pt x="57" y="114"/>
                    <a:pt x="65" y="122"/>
                  </a:cubicBezTo>
                  <a:cubicBezTo>
                    <a:pt x="69" y="127"/>
                    <a:pt x="72" y="132"/>
                    <a:pt x="73" y="135"/>
                  </a:cubicBezTo>
                  <a:cubicBezTo>
                    <a:pt x="72" y="137"/>
                    <a:pt x="71" y="138"/>
                    <a:pt x="70" y="140"/>
                  </a:cubicBezTo>
                  <a:cubicBezTo>
                    <a:pt x="69" y="140"/>
                    <a:pt x="69" y="140"/>
                    <a:pt x="69" y="140"/>
                  </a:cubicBezTo>
                  <a:cubicBezTo>
                    <a:pt x="65" y="140"/>
                    <a:pt x="60" y="139"/>
                    <a:pt x="55" y="137"/>
                  </a:cubicBezTo>
                  <a:cubicBezTo>
                    <a:pt x="52" y="136"/>
                    <a:pt x="50" y="135"/>
                    <a:pt x="48" y="135"/>
                  </a:cubicBezTo>
                  <a:cubicBezTo>
                    <a:pt x="42" y="135"/>
                    <a:pt x="40" y="139"/>
                    <a:pt x="39" y="142"/>
                  </a:cubicBezTo>
                  <a:cubicBezTo>
                    <a:pt x="38" y="143"/>
                    <a:pt x="38" y="143"/>
                    <a:pt x="38" y="143"/>
                  </a:cubicBezTo>
                  <a:cubicBezTo>
                    <a:pt x="36" y="146"/>
                    <a:pt x="33" y="152"/>
                    <a:pt x="42" y="159"/>
                  </a:cubicBezTo>
                  <a:cubicBezTo>
                    <a:pt x="47" y="163"/>
                    <a:pt x="51" y="167"/>
                    <a:pt x="52" y="170"/>
                  </a:cubicBezTo>
                  <a:cubicBezTo>
                    <a:pt x="52" y="170"/>
                    <a:pt x="52" y="170"/>
                    <a:pt x="52" y="170"/>
                  </a:cubicBezTo>
                  <a:cubicBezTo>
                    <a:pt x="51" y="172"/>
                    <a:pt x="50" y="174"/>
                    <a:pt x="49" y="176"/>
                  </a:cubicBezTo>
                  <a:cubicBezTo>
                    <a:pt x="48" y="176"/>
                    <a:pt x="47" y="176"/>
                    <a:pt x="45" y="176"/>
                  </a:cubicBezTo>
                  <a:cubicBezTo>
                    <a:pt x="42" y="176"/>
                    <a:pt x="38" y="176"/>
                    <a:pt x="34" y="175"/>
                  </a:cubicBezTo>
                  <a:cubicBezTo>
                    <a:pt x="33" y="174"/>
                    <a:pt x="31" y="174"/>
                    <a:pt x="29" y="174"/>
                  </a:cubicBezTo>
                  <a:cubicBezTo>
                    <a:pt x="22" y="174"/>
                    <a:pt x="20" y="179"/>
                    <a:pt x="19" y="182"/>
                  </a:cubicBezTo>
                  <a:cubicBezTo>
                    <a:pt x="19" y="183"/>
                    <a:pt x="19" y="183"/>
                    <a:pt x="19" y="183"/>
                  </a:cubicBezTo>
                  <a:cubicBezTo>
                    <a:pt x="18" y="187"/>
                    <a:pt x="15" y="193"/>
                    <a:pt x="25" y="199"/>
                  </a:cubicBezTo>
                  <a:cubicBezTo>
                    <a:pt x="30" y="202"/>
                    <a:pt x="35" y="205"/>
                    <a:pt x="37" y="208"/>
                  </a:cubicBezTo>
                  <a:cubicBezTo>
                    <a:pt x="36" y="210"/>
                    <a:pt x="36" y="212"/>
                    <a:pt x="35" y="214"/>
                  </a:cubicBezTo>
                  <a:cubicBezTo>
                    <a:pt x="32" y="215"/>
                    <a:pt x="28" y="216"/>
                    <a:pt x="23" y="216"/>
                  </a:cubicBezTo>
                  <a:cubicBezTo>
                    <a:pt x="22" y="216"/>
                    <a:pt x="21" y="216"/>
                    <a:pt x="20" y="216"/>
                  </a:cubicBezTo>
                  <a:cubicBezTo>
                    <a:pt x="19" y="216"/>
                    <a:pt x="19" y="216"/>
                    <a:pt x="18" y="216"/>
                  </a:cubicBezTo>
                  <a:cubicBezTo>
                    <a:pt x="8" y="216"/>
                    <a:pt x="7" y="222"/>
                    <a:pt x="7" y="225"/>
                  </a:cubicBezTo>
                  <a:cubicBezTo>
                    <a:pt x="6" y="226"/>
                    <a:pt x="6" y="226"/>
                    <a:pt x="6" y="226"/>
                  </a:cubicBezTo>
                  <a:cubicBezTo>
                    <a:pt x="6" y="230"/>
                    <a:pt x="4" y="237"/>
                    <a:pt x="15" y="240"/>
                  </a:cubicBezTo>
                  <a:cubicBezTo>
                    <a:pt x="20" y="243"/>
                    <a:pt x="26" y="246"/>
                    <a:pt x="28" y="248"/>
                  </a:cubicBezTo>
                  <a:cubicBezTo>
                    <a:pt x="28" y="250"/>
                    <a:pt x="27" y="252"/>
                    <a:pt x="27" y="254"/>
                  </a:cubicBezTo>
                  <a:cubicBezTo>
                    <a:pt x="24" y="256"/>
                    <a:pt x="18" y="257"/>
                    <a:pt x="13" y="258"/>
                  </a:cubicBezTo>
                  <a:cubicBezTo>
                    <a:pt x="1" y="259"/>
                    <a:pt x="1" y="266"/>
                    <a:pt x="1" y="270"/>
                  </a:cubicBezTo>
                  <a:cubicBezTo>
                    <a:pt x="1" y="271"/>
                    <a:pt x="1" y="271"/>
                    <a:pt x="1" y="271"/>
                  </a:cubicBezTo>
                  <a:cubicBezTo>
                    <a:pt x="0" y="274"/>
                    <a:pt x="0" y="281"/>
                    <a:pt x="11" y="283"/>
                  </a:cubicBezTo>
                  <a:cubicBezTo>
                    <a:pt x="17" y="285"/>
                    <a:pt x="22" y="287"/>
                    <a:pt x="25" y="289"/>
                  </a:cubicBezTo>
                  <a:cubicBezTo>
                    <a:pt x="25" y="291"/>
                    <a:pt x="25" y="293"/>
                    <a:pt x="26" y="295"/>
                  </a:cubicBezTo>
                  <a:cubicBezTo>
                    <a:pt x="23" y="297"/>
                    <a:pt x="17" y="300"/>
                    <a:pt x="12" y="301"/>
                  </a:cubicBezTo>
                  <a:cubicBezTo>
                    <a:pt x="0" y="304"/>
                    <a:pt x="1" y="311"/>
                    <a:pt x="2" y="314"/>
                  </a:cubicBezTo>
                  <a:cubicBezTo>
                    <a:pt x="2" y="315"/>
                    <a:pt x="2" y="315"/>
                    <a:pt x="2" y="315"/>
                  </a:cubicBezTo>
                  <a:cubicBezTo>
                    <a:pt x="2" y="319"/>
                    <a:pt x="3" y="326"/>
                    <a:pt x="14" y="326"/>
                  </a:cubicBezTo>
                  <a:cubicBezTo>
                    <a:pt x="20" y="327"/>
                    <a:pt x="26" y="328"/>
                    <a:pt x="29" y="330"/>
                  </a:cubicBezTo>
                  <a:cubicBezTo>
                    <a:pt x="30" y="332"/>
                    <a:pt x="30" y="334"/>
                    <a:pt x="30" y="336"/>
                  </a:cubicBezTo>
                  <a:cubicBezTo>
                    <a:pt x="28" y="338"/>
                    <a:pt x="23" y="341"/>
                    <a:pt x="18" y="344"/>
                  </a:cubicBezTo>
                  <a:cubicBezTo>
                    <a:pt x="7" y="348"/>
                    <a:pt x="9" y="355"/>
                    <a:pt x="10" y="359"/>
                  </a:cubicBezTo>
                  <a:cubicBezTo>
                    <a:pt x="10" y="360"/>
                    <a:pt x="10" y="360"/>
                    <a:pt x="10" y="360"/>
                  </a:cubicBezTo>
                  <a:cubicBezTo>
                    <a:pt x="11" y="363"/>
                    <a:pt x="12" y="369"/>
                    <a:pt x="21" y="369"/>
                  </a:cubicBezTo>
                  <a:cubicBezTo>
                    <a:pt x="22" y="369"/>
                    <a:pt x="23" y="369"/>
                    <a:pt x="24" y="368"/>
                  </a:cubicBezTo>
                  <a:cubicBezTo>
                    <a:pt x="26" y="368"/>
                    <a:pt x="28" y="368"/>
                    <a:pt x="30" y="368"/>
                  </a:cubicBezTo>
                  <a:cubicBezTo>
                    <a:pt x="34" y="368"/>
                    <a:pt x="37" y="369"/>
                    <a:pt x="39" y="369"/>
                  </a:cubicBezTo>
                  <a:cubicBezTo>
                    <a:pt x="40" y="371"/>
                    <a:pt x="41" y="373"/>
                    <a:pt x="41" y="375"/>
                  </a:cubicBezTo>
                  <a:cubicBezTo>
                    <a:pt x="39" y="378"/>
                    <a:pt x="35" y="382"/>
                    <a:pt x="30" y="385"/>
                  </a:cubicBezTo>
                  <a:cubicBezTo>
                    <a:pt x="20" y="391"/>
                    <a:pt x="23" y="397"/>
                    <a:pt x="25" y="401"/>
                  </a:cubicBezTo>
                  <a:cubicBezTo>
                    <a:pt x="25" y="402"/>
                    <a:pt x="25" y="402"/>
                    <a:pt x="25" y="402"/>
                  </a:cubicBezTo>
                  <a:cubicBezTo>
                    <a:pt x="26" y="405"/>
                    <a:pt x="28" y="409"/>
                    <a:pt x="35" y="409"/>
                  </a:cubicBezTo>
                  <a:cubicBezTo>
                    <a:pt x="36" y="409"/>
                    <a:pt x="38" y="409"/>
                    <a:pt x="40" y="408"/>
                  </a:cubicBezTo>
                  <a:cubicBezTo>
                    <a:pt x="45" y="407"/>
                    <a:pt x="49" y="407"/>
                    <a:pt x="53" y="407"/>
                  </a:cubicBezTo>
                  <a:cubicBezTo>
                    <a:pt x="54" y="407"/>
                    <a:pt x="55" y="407"/>
                    <a:pt x="55" y="407"/>
                  </a:cubicBezTo>
                  <a:cubicBezTo>
                    <a:pt x="56" y="409"/>
                    <a:pt x="57" y="410"/>
                    <a:pt x="58" y="412"/>
                  </a:cubicBezTo>
                  <a:cubicBezTo>
                    <a:pt x="57" y="415"/>
                    <a:pt x="53" y="420"/>
                    <a:pt x="49" y="424"/>
                  </a:cubicBezTo>
                  <a:cubicBezTo>
                    <a:pt x="40" y="431"/>
                    <a:pt x="44" y="437"/>
                    <a:pt x="46" y="440"/>
                  </a:cubicBezTo>
                  <a:cubicBezTo>
                    <a:pt x="46" y="441"/>
                    <a:pt x="46" y="441"/>
                    <a:pt x="46" y="441"/>
                  </a:cubicBezTo>
                  <a:cubicBezTo>
                    <a:pt x="48" y="443"/>
                    <a:pt x="50" y="447"/>
                    <a:pt x="55" y="447"/>
                  </a:cubicBezTo>
                  <a:cubicBezTo>
                    <a:pt x="57" y="447"/>
                    <a:pt x="60" y="447"/>
                    <a:pt x="62" y="445"/>
                  </a:cubicBezTo>
                  <a:cubicBezTo>
                    <a:pt x="68" y="443"/>
                    <a:pt x="74" y="441"/>
                    <a:pt x="77" y="441"/>
                  </a:cubicBezTo>
                  <a:cubicBezTo>
                    <a:pt x="78" y="443"/>
                    <a:pt x="80" y="445"/>
                    <a:pt x="81" y="446"/>
                  </a:cubicBezTo>
                  <a:cubicBezTo>
                    <a:pt x="81" y="446"/>
                    <a:pt x="81" y="446"/>
                    <a:pt x="81" y="446"/>
                  </a:cubicBezTo>
                  <a:cubicBezTo>
                    <a:pt x="80" y="450"/>
                    <a:pt x="77" y="455"/>
                    <a:pt x="73" y="459"/>
                  </a:cubicBezTo>
                  <a:cubicBezTo>
                    <a:pt x="66" y="468"/>
                    <a:pt x="71" y="473"/>
                    <a:pt x="73" y="476"/>
                  </a:cubicBezTo>
                  <a:cubicBezTo>
                    <a:pt x="74" y="477"/>
                    <a:pt x="74" y="477"/>
                    <a:pt x="74" y="477"/>
                  </a:cubicBezTo>
                  <a:cubicBezTo>
                    <a:pt x="75" y="479"/>
                    <a:pt x="78" y="481"/>
                    <a:pt x="82" y="481"/>
                  </a:cubicBezTo>
                  <a:cubicBezTo>
                    <a:pt x="85" y="481"/>
                    <a:pt x="87" y="480"/>
                    <a:pt x="90" y="478"/>
                  </a:cubicBezTo>
                  <a:cubicBezTo>
                    <a:pt x="95" y="475"/>
                    <a:pt x="101" y="473"/>
                    <a:pt x="104" y="472"/>
                  </a:cubicBezTo>
                  <a:cubicBezTo>
                    <a:pt x="106" y="474"/>
                    <a:pt x="107" y="475"/>
                    <a:pt x="109" y="476"/>
                  </a:cubicBezTo>
                  <a:cubicBezTo>
                    <a:pt x="108" y="480"/>
                    <a:pt x="106" y="485"/>
                    <a:pt x="103" y="490"/>
                  </a:cubicBezTo>
                  <a:cubicBezTo>
                    <a:pt x="97" y="500"/>
                    <a:pt x="103" y="505"/>
                    <a:pt x="106" y="507"/>
                  </a:cubicBezTo>
                  <a:cubicBezTo>
                    <a:pt x="106" y="508"/>
                    <a:pt x="106" y="508"/>
                    <a:pt x="106" y="508"/>
                  </a:cubicBezTo>
                  <a:cubicBezTo>
                    <a:pt x="108" y="509"/>
                    <a:pt x="110" y="511"/>
                    <a:pt x="114" y="511"/>
                  </a:cubicBezTo>
                  <a:cubicBezTo>
                    <a:pt x="114" y="511"/>
                    <a:pt x="114" y="511"/>
                    <a:pt x="114" y="511"/>
                  </a:cubicBezTo>
                  <a:cubicBezTo>
                    <a:pt x="117" y="511"/>
                    <a:pt x="120" y="510"/>
                    <a:pt x="123" y="507"/>
                  </a:cubicBezTo>
                  <a:cubicBezTo>
                    <a:pt x="127" y="503"/>
                    <a:pt x="132" y="499"/>
                    <a:pt x="136" y="498"/>
                  </a:cubicBezTo>
                  <a:cubicBezTo>
                    <a:pt x="137" y="499"/>
                    <a:pt x="139" y="501"/>
                    <a:pt x="141" y="502"/>
                  </a:cubicBezTo>
                  <a:cubicBezTo>
                    <a:pt x="141" y="505"/>
                    <a:pt x="140" y="511"/>
                    <a:pt x="138" y="517"/>
                  </a:cubicBezTo>
                  <a:cubicBezTo>
                    <a:pt x="133" y="527"/>
                    <a:pt x="139" y="531"/>
                    <a:pt x="142" y="532"/>
                  </a:cubicBezTo>
                  <a:cubicBezTo>
                    <a:pt x="143" y="533"/>
                    <a:pt x="143" y="533"/>
                    <a:pt x="143" y="533"/>
                  </a:cubicBezTo>
                  <a:cubicBezTo>
                    <a:pt x="145" y="534"/>
                    <a:pt x="147" y="535"/>
                    <a:pt x="150" y="535"/>
                  </a:cubicBezTo>
                  <a:cubicBezTo>
                    <a:pt x="153" y="535"/>
                    <a:pt x="156" y="533"/>
                    <a:pt x="159" y="529"/>
                  </a:cubicBezTo>
                  <a:cubicBezTo>
                    <a:pt x="163" y="525"/>
                    <a:pt x="168" y="521"/>
                    <a:pt x="171" y="519"/>
                  </a:cubicBezTo>
                  <a:cubicBezTo>
                    <a:pt x="173" y="520"/>
                    <a:pt x="175" y="521"/>
                    <a:pt x="176" y="522"/>
                  </a:cubicBezTo>
                  <a:cubicBezTo>
                    <a:pt x="177" y="525"/>
                    <a:pt x="177" y="531"/>
                    <a:pt x="176" y="537"/>
                  </a:cubicBezTo>
                  <a:cubicBezTo>
                    <a:pt x="173" y="548"/>
                    <a:pt x="179" y="551"/>
                    <a:pt x="183" y="552"/>
                  </a:cubicBezTo>
                  <a:cubicBezTo>
                    <a:pt x="184" y="552"/>
                    <a:pt x="184" y="552"/>
                    <a:pt x="184" y="552"/>
                  </a:cubicBezTo>
                  <a:cubicBezTo>
                    <a:pt x="185" y="553"/>
                    <a:pt x="187" y="554"/>
                    <a:pt x="189" y="554"/>
                  </a:cubicBezTo>
                  <a:cubicBezTo>
                    <a:pt x="193" y="554"/>
                    <a:pt x="197" y="551"/>
                    <a:pt x="199" y="546"/>
                  </a:cubicBezTo>
                  <a:cubicBezTo>
                    <a:pt x="202" y="541"/>
                    <a:pt x="206" y="536"/>
                    <a:pt x="209" y="534"/>
                  </a:cubicBezTo>
                  <a:cubicBezTo>
                    <a:pt x="211" y="535"/>
                    <a:pt x="213" y="535"/>
                    <a:pt x="215" y="536"/>
                  </a:cubicBezTo>
                  <a:cubicBezTo>
                    <a:pt x="216" y="539"/>
                    <a:pt x="217" y="545"/>
                    <a:pt x="216" y="551"/>
                  </a:cubicBezTo>
                  <a:cubicBezTo>
                    <a:pt x="215" y="563"/>
                    <a:pt x="222" y="564"/>
                    <a:pt x="226" y="565"/>
                  </a:cubicBezTo>
                  <a:cubicBezTo>
                    <a:pt x="227" y="565"/>
                    <a:pt x="227" y="565"/>
                    <a:pt x="227" y="565"/>
                  </a:cubicBezTo>
                  <a:cubicBezTo>
                    <a:pt x="228" y="565"/>
                    <a:pt x="229" y="566"/>
                    <a:pt x="231" y="566"/>
                  </a:cubicBezTo>
                  <a:cubicBezTo>
                    <a:pt x="236" y="566"/>
                    <a:pt x="239" y="563"/>
                    <a:pt x="241" y="556"/>
                  </a:cubicBezTo>
                  <a:cubicBezTo>
                    <a:pt x="243" y="551"/>
                    <a:pt x="246" y="546"/>
                    <a:pt x="249" y="543"/>
                  </a:cubicBezTo>
                  <a:cubicBezTo>
                    <a:pt x="251" y="544"/>
                    <a:pt x="253" y="544"/>
                    <a:pt x="255" y="544"/>
                  </a:cubicBezTo>
                  <a:cubicBezTo>
                    <a:pt x="257" y="547"/>
                    <a:pt x="258" y="553"/>
                    <a:pt x="259" y="559"/>
                  </a:cubicBezTo>
                  <a:cubicBezTo>
                    <a:pt x="260" y="570"/>
                    <a:pt x="267" y="571"/>
                    <a:pt x="270" y="571"/>
                  </a:cubicBezTo>
                  <a:cubicBezTo>
                    <a:pt x="271" y="571"/>
                    <a:pt x="271" y="571"/>
                    <a:pt x="271" y="571"/>
                  </a:cubicBezTo>
                  <a:cubicBezTo>
                    <a:pt x="272" y="571"/>
                    <a:pt x="273" y="571"/>
                    <a:pt x="273" y="571"/>
                  </a:cubicBezTo>
                  <a:cubicBezTo>
                    <a:pt x="279" y="571"/>
                    <a:pt x="283" y="567"/>
                    <a:pt x="284" y="560"/>
                  </a:cubicBezTo>
                  <a:cubicBezTo>
                    <a:pt x="285" y="554"/>
                    <a:pt x="287" y="549"/>
                    <a:pt x="290" y="546"/>
                  </a:cubicBezTo>
                  <a:cubicBezTo>
                    <a:pt x="292" y="546"/>
                    <a:pt x="294" y="546"/>
                    <a:pt x="296" y="546"/>
                  </a:cubicBezTo>
                  <a:cubicBezTo>
                    <a:pt x="298" y="548"/>
                    <a:pt x="300" y="554"/>
                    <a:pt x="302" y="560"/>
                  </a:cubicBezTo>
                  <a:cubicBezTo>
                    <a:pt x="303" y="567"/>
                    <a:pt x="307" y="570"/>
                    <a:pt x="312" y="570"/>
                  </a:cubicBezTo>
                  <a:cubicBezTo>
                    <a:pt x="313" y="570"/>
                    <a:pt x="314" y="570"/>
                    <a:pt x="315" y="570"/>
                  </a:cubicBezTo>
                  <a:cubicBezTo>
                    <a:pt x="316" y="570"/>
                    <a:pt x="316" y="570"/>
                    <a:pt x="316" y="570"/>
                  </a:cubicBezTo>
                  <a:cubicBezTo>
                    <a:pt x="320" y="569"/>
                    <a:pt x="327" y="569"/>
                    <a:pt x="327" y="557"/>
                  </a:cubicBezTo>
                  <a:cubicBezTo>
                    <a:pt x="327" y="551"/>
                    <a:pt x="329" y="545"/>
                    <a:pt x="330" y="542"/>
                  </a:cubicBezTo>
                  <a:cubicBezTo>
                    <a:pt x="332" y="542"/>
                    <a:pt x="334" y="541"/>
                    <a:pt x="336" y="541"/>
                  </a:cubicBezTo>
                  <a:cubicBezTo>
                    <a:pt x="339" y="543"/>
                    <a:pt x="342" y="548"/>
                    <a:pt x="345" y="554"/>
                  </a:cubicBezTo>
                  <a:cubicBezTo>
                    <a:pt x="347" y="560"/>
                    <a:pt x="350" y="562"/>
                    <a:pt x="355" y="562"/>
                  </a:cubicBezTo>
                  <a:cubicBezTo>
                    <a:pt x="356" y="562"/>
                    <a:pt x="358" y="562"/>
                    <a:pt x="359" y="562"/>
                  </a:cubicBezTo>
                  <a:cubicBezTo>
                    <a:pt x="360" y="561"/>
                    <a:pt x="360" y="561"/>
                    <a:pt x="360" y="561"/>
                  </a:cubicBezTo>
                  <a:cubicBezTo>
                    <a:pt x="364" y="560"/>
                    <a:pt x="371" y="559"/>
                    <a:pt x="369" y="547"/>
                  </a:cubicBezTo>
                  <a:cubicBezTo>
                    <a:pt x="368" y="541"/>
                    <a:pt x="369" y="535"/>
                    <a:pt x="370" y="532"/>
                  </a:cubicBezTo>
                  <a:cubicBezTo>
                    <a:pt x="372" y="531"/>
                    <a:pt x="374" y="531"/>
                    <a:pt x="376" y="530"/>
                  </a:cubicBezTo>
                  <a:cubicBezTo>
                    <a:pt x="379" y="532"/>
                    <a:pt x="383" y="536"/>
                    <a:pt x="386" y="541"/>
                  </a:cubicBezTo>
                  <a:cubicBezTo>
                    <a:pt x="389" y="546"/>
                    <a:pt x="392" y="548"/>
                    <a:pt x="396" y="548"/>
                  </a:cubicBezTo>
                  <a:cubicBezTo>
                    <a:pt x="398" y="548"/>
                    <a:pt x="400" y="547"/>
                    <a:pt x="402" y="547"/>
                  </a:cubicBezTo>
                  <a:cubicBezTo>
                    <a:pt x="402" y="546"/>
                    <a:pt x="402" y="546"/>
                    <a:pt x="402" y="546"/>
                  </a:cubicBezTo>
                  <a:cubicBezTo>
                    <a:pt x="406" y="545"/>
                    <a:pt x="412" y="542"/>
                    <a:pt x="409" y="531"/>
                  </a:cubicBezTo>
                  <a:cubicBezTo>
                    <a:pt x="408" y="525"/>
                    <a:pt x="407" y="519"/>
                    <a:pt x="407" y="516"/>
                  </a:cubicBezTo>
                  <a:cubicBezTo>
                    <a:pt x="409" y="515"/>
                    <a:pt x="411" y="514"/>
                    <a:pt x="413" y="513"/>
                  </a:cubicBezTo>
                  <a:cubicBezTo>
                    <a:pt x="416" y="514"/>
                    <a:pt x="421" y="518"/>
                    <a:pt x="425" y="523"/>
                  </a:cubicBezTo>
                  <a:cubicBezTo>
                    <a:pt x="428" y="526"/>
                    <a:pt x="431" y="528"/>
                    <a:pt x="434" y="528"/>
                  </a:cubicBezTo>
                  <a:cubicBezTo>
                    <a:pt x="437" y="528"/>
                    <a:pt x="439" y="527"/>
                    <a:pt x="441" y="525"/>
                  </a:cubicBezTo>
                  <a:cubicBezTo>
                    <a:pt x="442" y="525"/>
                    <a:pt x="442" y="525"/>
                    <a:pt x="442" y="525"/>
                  </a:cubicBezTo>
                  <a:cubicBezTo>
                    <a:pt x="445" y="523"/>
                    <a:pt x="451" y="519"/>
                    <a:pt x="446" y="509"/>
                  </a:cubicBezTo>
                  <a:cubicBezTo>
                    <a:pt x="444" y="503"/>
                    <a:pt x="442" y="498"/>
                    <a:pt x="442" y="494"/>
                  </a:cubicBezTo>
                  <a:cubicBezTo>
                    <a:pt x="444" y="493"/>
                    <a:pt x="445" y="492"/>
                    <a:pt x="447" y="490"/>
                  </a:cubicBezTo>
                  <a:cubicBezTo>
                    <a:pt x="450" y="491"/>
                    <a:pt x="455" y="494"/>
                    <a:pt x="460" y="498"/>
                  </a:cubicBezTo>
                  <a:cubicBezTo>
                    <a:pt x="463" y="501"/>
                    <a:pt x="466" y="502"/>
                    <a:pt x="469" y="502"/>
                  </a:cubicBezTo>
                  <a:cubicBezTo>
                    <a:pt x="473" y="502"/>
                    <a:pt x="475" y="500"/>
                    <a:pt x="477" y="498"/>
                  </a:cubicBezTo>
                  <a:cubicBezTo>
                    <a:pt x="477" y="497"/>
                    <a:pt x="477" y="497"/>
                    <a:pt x="477" y="497"/>
                  </a:cubicBezTo>
                  <a:cubicBezTo>
                    <a:pt x="480" y="495"/>
                    <a:pt x="485" y="490"/>
                    <a:pt x="479" y="481"/>
                  </a:cubicBezTo>
                  <a:cubicBezTo>
                    <a:pt x="476" y="476"/>
                    <a:pt x="473" y="471"/>
                    <a:pt x="473" y="467"/>
                  </a:cubicBezTo>
                  <a:cubicBezTo>
                    <a:pt x="474" y="466"/>
                    <a:pt x="476" y="464"/>
                    <a:pt x="477" y="463"/>
                  </a:cubicBezTo>
                  <a:cubicBezTo>
                    <a:pt x="480" y="463"/>
                    <a:pt x="486" y="465"/>
                    <a:pt x="491" y="468"/>
                  </a:cubicBezTo>
                  <a:cubicBezTo>
                    <a:pt x="494" y="470"/>
                    <a:pt x="497" y="471"/>
                    <a:pt x="499" y="471"/>
                  </a:cubicBezTo>
                  <a:cubicBezTo>
                    <a:pt x="504" y="471"/>
                    <a:pt x="506" y="468"/>
                    <a:pt x="508" y="466"/>
                  </a:cubicBezTo>
                  <a:cubicBezTo>
                    <a:pt x="508" y="465"/>
                    <a:pt x="508" y="465"/>
                    <a:pt x="508" y="465"/>
                  </a:cubicBezTo>
                  <a:cubicBezTo>
                    <a:pt x="511" y="462"/>
                    <a:pt x="515" y="457"/>
                    <a:pt x="507" y="448"/>
                  </a:cubicBezTo>
                  <a:cubicBezTo>
                    <a:pt x="503" y="444"/>
                    <a:pt x="500" y="439"/>
                    <a:pt x="499" y="436"/>
                  </a:cubicBezTo>
                  <a:cubicBezTo>
                    <a:pt x="500" y="434"/>
                    <a:pt x="501" y="432"/>
                    <a:pt x="502" y="431"/>
                  </a:cubicBezTo>
                  <a:cubicBezTo>
                    <a:pt x="503" y="431"/>
                    <a:pt x="503" y="431"/>
                    <a:pt x="503" y="431"/>
                  </a:cubicBezTo>
                  <a:cubicBezTo>
                    <a:pt x="507" y="431"/>
                    <a:pt x="512" y="432"/>
                    <a:pt x="517" y="434"/>
                  </a:cubicBezTo>
                  <a:cubicBezTo>
                    <a:pt x="520" y="435"/>
                    <a:pt x="522" y="435"/>
                    <a:pt x="524" y="435"/>
                  </a:cubicBezTo>
                  <a:cubicBezTo>
                    <a:pt x="530" y="435"/>
                    <a:pt x="532" y="431"/>
                    <a:pt x="533" y="429"/>
                  </a:cubicBezTo>
                  <a:cubicBezTo>
                    <a:pt x="534" y="428"/>
                    <a:pt x="534" y="428"/>
                    <a:pt x="534" y="428"/>
                  </a:cubicBezTo>
                  <a:cubicBezTo>
                    <a:pt x="536" y="425"/>
                    <a:pt x="539" y="419"/>
                    <a:pt x="530" y="412"/>
                  </a:cubicBezTo>
                  <a:cubicBezTo>
                    <a:pt x="525" y="408"/>
                    <a:pt x="521" y="404"/>
                    <a:pt x="520" y="400"/>
                  </a:cubicBezTo>
                  <a:cubicBezTo>
                    <a:pt x="520" y="400"/>
                    <a:pt x="520" y="400"/>
                    <a:pt x="520" y="400"/>
                  </a:cubicBezTo>
                  <a:cubicBezTo>
                    <a:pt x="521" y="398"/>
                    <a:pt x="522" y="397"/>
                    <a:pt x="523" y="395"/>
                  </a:cubicBezTo>
                  <a:cubicBezTo>
                    <a:pt x="524" y="395"/>
                    <a:pt x="525" y="395"/>
                    <a:pt x="527" y="395"/>
                  </a:cubicBezTo>
                  <a:cubicBezTo>
                    <a:pt x="530" y="395"/>
                    <a:pt x="534" y="395"/>
                    <a:pt x="538" y="396"/>
                  </a:cubicBezTo>
                  <a:cubicBezTo>
                    <a:pt x="539" y="396"/>
                    <a:pt x="541" y="396"/>
                    <a:pt x="543" y="396"/>
                  </a:cubicBezTo>
                  <a:cubicBezTo>
                    <a:pt x="550" y="396"/>
                    <a:pt x="552" y="391"/>
                    <a:pt x="553" y="388"/>
                  </a:cubicBezTo>
                  <a:cubicBezTo>
                    <a:pt x="553" y="387"/>
                    <a:pt x="553" y="387"/>
                    <a:pt x="553" y="387"/>
                  </a:cubicBezTo>
                  <a:cubicBezTo>
                    <a:pt x="554" y="384"/>
                    <a:pt x="557" y="378"/>
                    <a:pt x="547" y="372"/>
                  </a:cubicBezTo>
                  <a:cubicBezTo>
                    <a:pt x="542" y="369"/>
                    <a:pt x="537" y="365"/>
                    <a:pt x="535" y="362"/>
                  </a:cubicBezTo>
                  <a:cubicBezTo>
                    <a:pt x="535" y="362"/>
                    <a:pt x="535" y="362"/>
                    <a:pt x="535" y="362"/>
                  </a:cubicBezTo>
                  <a:cubicBezTo>
                    <a:pt x="536" y="360"/>
                    <a:pt x="536" y="358"/>
                    <a:pt x="537" y="357"/>
                  </a:cubicBezTo>
                  <a:cubicBezTo>
                    <a:pt x="539" y="356"/>
                    <a:pt x="544" y="355"/>
                    <a:pt x="549" y="355"/>
                  </a:cubicBezTo>
                  <a:cubicBezTo>
                    <a:pt x="550" y="355"/>
                    <a:pt x="551" y="355"/>
                    <a:pt x="552" y="355"/>
                  </a:cubicBezTo>
                  <a:cubicBezTo>
                    <a:pt x="553" y="355"/>
                    <a:pt x="553" y="355"/>
                    <a:pt x="554" y="355"/>
                  </a:cubicBezTo>
                  <a:cubicBezTo>
                    <a:pt x="564" y="355"/>
                    <a:pt x="565" y="349"/>
                    <a:pt x="565" y="345"/>
                  </a:cubicBezTo>
                  <a:cubicBezTo>
                    <a:pt x="566" y="344"/>
                    <a:pt x="566" y="344"/>
                    <a:pt x="566" y="344"/>
                  </a:cubicBezTo>
                  <a:cubicBezTo>
                    <a:pt x="566" y="341"/>
                    <a:pt x="568" y="334"/>
                    <a:pt x="557" y="330"/>
                  </a:cubicBezTo>
                  <a:cubicBezTo>
                    <a:pt x="552" y="328"/>
                    <a:pt x="546" y="325"/>
                    <a:pt x="544" y="323"/>
                  </a:cubicBezTo>
                  <a:cubicBezTo>
                    <a:pt x="544" y="321"/>
                    <a:pt x="544" y="319"/>
                    <a:pt x="545" y="317"/>
                  </a:cubicBezTo>
                  <a:cubicBezTo>
                    <a:pt x="548" y="315"/>
                    <a:pt x="553" y="313"/>
                    <a:pt x="559" y="313"/>
                  </a:cubicBezTo>
                  <a:cubicBezTo>
                    <a:pt x="571" y="312"/>
                    <a:pt x="571" y="305"/>
                    <a:pt x="571" y="301"/>
                  </a:cubicBezTo>
                  <a:cubicBezTo>
                    <a:pt x="571" y="300"/>
                    <a:pt x="571" y="300"/>
                    <a:pt x="571" y="300"/>
                  </a:cubicBezTo>
                  <a:cubicBezTo>
                    <a:pt x="572" y="296"/>
                    <a:pt x="572" y="289"/>
                    <a:pt x="561" y="287"/>
                  </a:cubicBezTo>
                  <a:cubicBezTo>
                    <a:pt x="555" y="286"/>
                    <a:pt x="549" y="284"/>
                    <a:pt x="547" y="282"/>
                  </a:cubicBezTo>
                  <a:cubicBezTo>
                    <a:pt x="547" y="280"/>
                    <a:pt x="546" y="278"/>
                    <a:pt x="546" y="276"/>
                  </a:cubicBezTo>
                  <a:cubicBezTo>
                    <a:pt x="549" y="273"/>
                    <a:pt x="555" y="271"/>
                    <a:pt x="560" y="269"/>
                  </a:cubicBezTo>
                  <a:cubicBezTo>
                    <a:pt x="572" y="267"/>
                    <a:pt x="571" y="260"/>
                    <a:pt x="570" y="256"/>
                  </a:cubicBezTo>
                  <a:cubicBezTo>
                    <a:pt x="570" y="255"/>
                    <a:pt x="570" y="255"/>
                    <a:pt x="570" y="255"/>
                  </a:cubicBezTo>
                  <a:cubicBezTo>
                    <a:pt x="570" y="251"/>
                    <a:pt x="569" y="245"/>
                    <a:pt x="558" y="244"/>
                  </a:cubicBezTo>
                  <a:cubicBezTo>
                    <a:pt x="552" y="244"/>
                    <a:pt x="546" y="243"/>
                    <a:pt x="543" y="241"/>
                  </a:cubicBezTo>
                  <a:cubicBezTo>
                    <a:pt x="543" y="240"/>
                    <a:pt x="543" y="240"/>
                    <a:pt x="543" y="240"/>
                  </a:cubicBezTo>
                  <a:cubicBezTo>
                    <a:pt x="542" y="238"/>
                    <a:pt x="542" y="237"/>
                    <a:pt x="542" y="235"/>
                  </a:cubicBezTo>
                  <a:cubicBezTo>
                    <a:pt x="544" y="232"/>
                    <a:pt x="549" y="229"/>
                    <a:pt x="554" y="227"/>
                  </a:cubicBezTo>
                  <a:cubicBezTo>
                    <a:pt x="565" y="222"/>
                    <a:pt x="563" y="216"/>
                    <a:pt x="562" y="212"/>
                  </a:cubicBezTo>
                  <a:cubicBezTo>
                    <a:pt x="562" y="211"/>
                    <a:pt x="562" y="211"/>
                    <a:pt x="562" y="211"/>
                  </a:cubicBezTo>
                  <a:cubicBezTo>
                    <a:pt x="561" y="208"/>
                    <a:pt x="560" y="202"/>
                    <a:pt x="551" y="202"/>
                  </a:cubicBezTo>
                  <a:cubicBezTo>
                    <a:pt x="550" y="202"/>
                    <a:pt x="549" y="202"/>
                    <a:pt x="548" y="202"/>
                  </a:cubicBezTo>
                  <a:cubicBezTo>
                    <a:pt x="546" y="202"/>
                    <a:pt x="544" y="203"/>
                    <a:pt x="542" y="203"/>
                  </a:cubicBezTo>
                  <a:cubicBezTo>
                    <a:pt x="538" y="203"/>
                    <a:pt x="535" y="202"/>
                    <a:pt x="533" y="201"/>
                  </a:cubicBezTo>
                  <a:cubicBezTo>
                    <a:pt x="532" y="199"/>
                    <a:pt x="531" y="198"/>
                    <a:pt x="531" y="196"/>
                  </a:cubicBezTo>
                  <a:cubicBezTo>
                    <a:pt x="533" y="193"/>
                    <a:pt x="537" y="189"/>
                    <a:pt x="542" y="185"/>
                  </a:cubicBezTo>
                  <a:cubicBezTo>
                    <a:pt x="552" y="179"/>
                    <a:pt x="549" y="173"/>
                    <a:pt x="547" y="170"/>
                  </a:cubicBezTo>
                  <a:cubicBezTo>
                    <a:pt x="547" y="169"/>
                    <a:pt x="547" y="169"/>
                    <a:pt x="547" y="169"/>
                  </a:cubicBezTo>
                  <a:cubicBezTo>
                    <a:pt x="546" y="166"/>
                    <a:pt x="544" y="161"/>
                    <a:pt x="537" y="161"/>
                  </a:cubicBezTo>
                  <a:cubicBezTo>
                    <a:pt x="536" y="161"/>
                    <a:pt x="534" y="162"/>
                    <a:pt x="532" y="162"/>
                  </a:cubicBezTo>
                  <a:cubicBezTo>
                    <a:pt x="527" y="163"/>
                    <a:pt x="523" y="164"/>
                    <a:pt x="519" y="164"/>
                  </a:cubicBezTo>
                  <a:cubicBezTo>
                    <a:pt x="518" y="164"/>
                    <a:pt x="517" y="164"/>
                    <a:pt x="517" y="164"/>
                  </a:cubicBezTo>
                  <a:cubicBezTo>
                    <a:pt x="516" y="162"/>
                    <a:pt x="515" y="160"/>
                    <a:pt x="514" y="158"/>
                  </a:cubicBezTo>
                  <a:cubicBezTo>
                    <a:pt x="515" y="155"/>
                    <a:pt x="519" y="151"/>
                    <a:pt x="523" y="147"/>
                  </a:cubicBezTo>
                  <a:cubicBezTo>
                    <a:pt x="532" y="139"/>
                    <a:pt x="528" y="133"/>
                    <a:pt x="526" y="130"/>
                  </a:cubicBezTo>
                  <a:cubicBezTo>
                    <a:pt x="526" y="129"/>
                    <a:pt x="526" y="129"/>
                    <a:pt x="526" y="129"/>
                  </a:cubicBezTo>
                  <a:cubicBezTo>
                    <a:pt x="524" y="127"/>
                    <a:pt x="522" y="123"/>
                    <a:pt x="517" y="123"/>
                  </a:cubicBezTo>
                  <a:cubicBezTo>
                    <a:pt x="514" y="123"/>
                    <a:pt x="512" y="124"/>
                    <a:pt x="509" y="125"/>
                  </a:cubicBezTo>
                  <a:cubicBezTo>
                    <a:pt x="504" y="128"/>
                    <a:pt x="498" y="129"/>
                    <a:pt x="495" y="129"/>
                  </a:cubicBezTo>
                  <a:cubicBezTo>
                    <a:pt x="494" y="128"/>
                    <a:pt x="492" y="126"/>
                    <a:pt x="491" y="125"/>
                  </a:cubicBezTo>
                  <a:cubicBezTo>
                    <a:pt x="491" y="124"/>
                    <a:pt x="491" y="124"/>
                    <a:pt x="491" y="124"/>
                  </a:cubicBezTo>
                  <a:cubicBezTo>
                    <a:pt x="492" y="121"/>
                    <a:pt x="495" y="116"/>
                    <a:pt x="499" y="111"/>
                  </a:cubicBezTo>
                  <a:cubicBezTo>
                    <a:pt x="506" y="102"/>
                    <a:pt x="501" y="97"/>
                    <a:pt x="499" y="95"/>
                  </a:cubicBezTo>
                  <a:cubicBezTo>
                    <a:pt x="498" y="94"/>
                    <a:pt x="498" y="94"/>
                    <a:pt x="498" y="94"/>
                  </a:cubicBezTo>
                  <a:cubicBezTo>
                    <a:pt x="497" y="92"/>
                    <a:pt x="494" y="89"/>
                    <a:pt x="490" y="89"/>
                  </a:cubicBezTo>
                  <a:cubicBezTo>
                    <a:pt x="487" y="89"/>
                    <a:pt x="485" y="90"/>
                    <a:pt x="482" y="92"/>
                  </a:cubicBezTo>
                  <a:cubicBezTo>
                    <a:pt x="477" y="96"/>
                    <a:pt x="471" y="98"/>
                    <a:pt x="468" y="99"/>
                  </a:cubicBezTo>
                  <a:cubicBezTo>
                    <a:pt x="466" y="97"/>
                    <a:pt x="465" y="96"/>
                    <a:pt x="463" y="94"/>
                  </a:cubicBezTo>
                  <a:cubicBezTo>
                    <a:pt x="464" y="91"/>
                    <a:pt x="466" y="85"/>
                    <a:pt x="469" y="80"/>
                  </a:cubicBezTo>
                  <a:cubicBezTo>
                    <a:pt x="475" y="70"/>
                    <a:pt x="469" y="66"/>
                    <a:pt x="466" y="64"/>
                  </a:cubicBezTo>
                  <a:cubicBezTo>
                    <a:pt x="466" y="63"/>
                    <a:pt x="466" y="63"/>
                    <a:pt x="466" y="63"/>
                  </a:cubicBezTo>
                  <a:cubicBezTo>
                    <a:pt x="464" y="62"/>
                    <a:pt x="462" y="60"/>
                    <a:pt x="458" y="60"/>
                  </a:cubicBezTo>
                  <a:cubicBezTo>
                    <a:pt x="455" y="60"/>
                    <a:pt x="452" y="61"/>
                    <a:pt x="449" y="64"/>
                  </a:cubicBezTo>
                  <a:cubicBezTo>
                    <a:pt x="445" y="68"/>
                    <a:pt x="440" y="71"/>
                    <a:pt x="436" y="72"/>
                  </a:cubicBezTo>
                  <a:cubicBezTo>
                    <a:pt x="435" y="71"/>
                    <a:pt x="433" y="70"/>
                    <a:pt x="431" y="69"/>
                  </a:cubicBezTo>
                  <a:cubicBezTo>
                    <a:pt x="431" y="65"/>
                    <a:pt x="432" y="60"/>
                    <a:pt x="434" y="54"/>
                  </a:cubicBezTo>
                  <a:cubicBezTo>
                    <a:pt x="439" y="43"/>
                    <a:pt x="433" y="40"/>
                    <a:pt x="430" y="38"/>
                  </a:cubicBezTo>
                  <a:cubicBezTo>
                    <a:pt x="429" y="38"/>
                    <a:pt x="429" y="38"/>
                    <a:pt x="429" y="38"/>
                  </a:cubicBezTo>
                  <a:cubicBezTo>
                    <a:pt x="427" y="37"/>
                    <a:pt x="425" y="35"/>
                    <a:pt x="422" y="35"/>
                  </a:cubicBezTo>
                  <a:cubicBezTo>
                    <a:pt x="419" y="35"/>
                    <a:pt x="416" y="37"/>
                    <a:pt x="412" y="41"/>
                  </a:cubicBezTo>
                  <a:cubicBezTo>
                    <a:pt x="409" y="46"/>
                    <a:pt x="404" y="50"/>
                    <a:pt x="401" y="52"/>
                  </a:cubicBezTo>
                  <a:cubicBezTo>
                    <a:pt x="401" y="51"/>
                    <a:pt x="401" y="51"/>
                    <a:pt x="401" y="51"/>
                  </a:cubicBezTo>
                  <a:cubicBezTo>
                    <a:pt x="399" y="51"/>
                    <a:pt x="397" y="50"/>
                    <a:pt x="396" y="49"/>
                  </a:cubicBezTo>
                  <a:cubicBezTo>
                    <a:pt x="395" y="45"/>
                    <a:pt x="395" y="39"/>
                    <a:pt x="396" y="34"/>
                  </a:cubicBezTo>
                  <a:cubicBezTo>
                    <a:pt x="399" y="22"/>
                    <a:pt x="393" y="20"/>
                    <a:pt x="389" y="19"/>
                  </a:cubicBezTo>
                  <a:cubicBezTo>
                    <a:pt x="388" y="18"/>
                    <a:pt x="388" y="18"/>
                    <a:pt x="388" y="18"/>
                  </a:cubicBezTo>
                  <a:cubicBezTo>
                    <a:pt x="387" y="18"/>
                    <a:pt x="385" y="17"/>
                    <a:pt x="383" y="17"/>
                  </a:cubicBezTo>
                  <a:cubicBezTo>
                    <a:pt x="379" y="17"/>
                    <a:pt x="375" y="20"/>
                    <a:pt x="373" y="25"/>
                  </a:cubicBezTo>
                  <a:cubicBezTo>
                    <a:pt x="370" y="30"/>
                    <a:pt x="366" y="34"/>
                    <a:pt x="363" y="36"/>
                  </a:cubicBezTo>
                  <a:cubicBezTo>
                    <a:pt x="361" y="36"/>
                    <a:pt x="359" y="35"/>
                    <a:pt x="357" y="35"/>
                  </a:cubicBezTo>
                  <a:cubicBezTo>
                    <a:pt x="356" y="31"/>
                    <a:pt x="355" y="25"/>
                    <a:pt x="356" y="20"/>
                  </a:cubicBezTo>
                  <a:cubicBezTo>
                    <a:pt x="357" y="8"/>
                    <a:pt x="350" y="7"/>
                    <a:pt x="346" y="6"/>
                  </a:cubicBezTo>
                  <a:cubicBezTo>
                    <a:pt x="345" y="6"/>
                    <a:pt x="345" y="6"/>
                    <a:pt x="345" y="6"/>
                  </a:cubicBezTo>
                  <a:cubicBezTo>
                    <a:pt x="344" y="5"/>
                    <a:pt x="343" y="5"/>
                    <a:pt x="341" y="5"/>
                  </a:cubicBezTo>
                  <a:cubicBezTo>
                    <a:pt x="336" y="5"/>
                    <a:pt x="333" y="8"/>
                    <a:pt x="331" y="14"/>
                  </a:cubicBezTo>
                  <a:cubicBezTo>
                    <a:pt x="329" y="20"/>
                    <a:pt x="326" y="25"/>
                    <a:pt x="323" y="27"/>
                  </a:cubicBezTo>
                  <a:cubicBezTo>
                    <a:pt x="321" y="27"/>
                    <a:pt x="319" y="27"/>
                    <a:pt x="317" y="27"/>
                  </a:cubicBezTo>
                  <a:cubicBezTo>
                    <a:pt x="315" y="24"/>
                    <a:pt x="314" y="18"/>
                    <a:pt x="313" y="12"/>
                  </a:cubicBezTo>
                  <a:cubicBezTo>
                    <a:pt x="312" y="0"/>
                    <a:pt x="305" y="0"/>
                    <a:pt x="302" y="0"/>
                  </a:cubicBezTo>
                  <a:cubicBezTo>
                    <a:pt x="301" y="0"/>
                    <a:pt x="301" y="0"/>
                    <a:pt x="301" y="0"/>
                  </a:cubicBezTo>
                  <a:cubicBezTo>
                    <a:pt x="300" y="0"/>
                    <a:pt x="299" y="0"/>
                    <a:pt x="29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0" name="Freeform 21279">
              <a:extLst>
                <a:ext uri="{FF2B5EF4-FFF2-40B4-BE49-F238E27FC236}">
                  <a16:creationId xmlns:a16="http://schemas.microsoft.com/office/drawing/2014/main" id="{F695A8C4-117A-4B9B-ABD1-CECB0A6B2E9B}"/>
                </a:ext>
              </a:extLst>
            </p:cNvPr>
            <p:cNvSpPr>
              <a:spLocks noEditPoints="1"/>
            </p:cNvSpPr>
            <p:nvPr userDrawn="1"/>
          </p:nvSpPr>
          <p:spPr bwMode="auto">
            <a:xfrm>
              <a:off x="6528753" y="4257040"/>
              <a:ext cx="250825" cy="250825"/>
            </a:xfrm>
            <a:custGeom>
              <a:avLst/>
              <a:gdLst>
                <a:gd name="T0" fmla="*/ 61 w 124"/>
                <a:gd name="T1" fmla="*/ 5 h 124"/>
                <a:gd name="T2" fmla="*/ 68 w 124"/>
                <a:gd name="T3" fmla="*/ 18 h 124"/>
                <a:gd name="T4" fmla="*/ 83 w 124"/>
                <a:gd name="T5" fmla="*/ 9 h 124"/>
                <a:gd name="T6" fmla="*/ 86 w 124"/>
                <a:gd name="T7" fmla="*/ 26 h 124"/>
                <a:gd name="T8" fmla="*/ 102 w 124"/>
                <a:gd name="T9" fmla="*/ 22 h 124"/>
                <a:gd name="T10" fmla="*/ 98 w 124"/>
                <a:gd name="T11" fmla="*/ 38 h 124"/>
                <a:gd name="T12" fmla="*/ 114 w 124"/>
                <a:gd name="T13" fmla="*/ 40 h 124"/>
                <a:gd name="T14" fmla="*/ 105 w 124"/>
                <a:gd name="T15" fmla="*/ 54 h 124"/>
                <a:gd name="T16" fmla="*/ 116 w 124"/>
                <a:gd name="T17" fmla="*/ 65 h 124"/>
                <a:gd name="T18" fmla="*/ 115 w 124"/>
                <a:gd name="T19" fmla="*/ 82 h 124"/>
                <a:gd name="T20" fmla="*/ 107 w 124"/>
                <a:gd name="T21" fmla="*/ 83 h 124"/>
                <a:gd name="T22" fmla="*/ 104 w 124"/>
                <a:gd name="T23" fmla="*/ 101 h 124"/>
                <a:gd name="T24" fmla="*/ 90 w 124"/>
                <a:gd name="T25" fmla="*/ 97 h 124"/>
                <a:gd name="T26" fmla="*/ 85 w 124"/>
                <a:gd name="T27" fmla="*/ 114 h 124"/>
                <a:gd name="T28" fmla="*/ 72 w 124"/>
                <a:gd name="T29" fmla="*/ 105 h 124"/>
                <a:gd name="T30" fmla="*/ 64 w 124"/>
                <a:gd name="T31" fmla="*/ 119 h 124"/>
                <a:gd name="T32" fmla="*/ 54 w 124"/>
                <a:gd name="T33" fmla="*/ 105 h 124"/>
                <a:gd name="T34" fmla="*/ 43 w 124"/>
                <a:gd name="T35" fmla="*/ 115 h 124"/>
                <a:gd name="T36" fmla="*/ 38 w 124"/>
                <a:gd name="T37" fmla="*/ 99 h 124"/>
                <a:gd name="T38" fmla="*/ 23 w 124"/>
                <a:gd name="T39" fmla="*/ 103 h 124"/>
                <a:gd name="T40" fmla="*/ 25 w 124"/>
                <a:gd name="T41" fmla="*/ 85 h 124"/>
                <a:gd name="T42" fmla="*/ 11 w 124"/>
                <a:gd name="T43" fmla="*/ 86 h 124"/>
                <a:gd name="T44" fmla="*/ 19 w 124"/>
                <a:gd name="T45" fmla="*/ 71 h 124"/>
                <a:gd name="T46" fmla="*/ 5 w 124"/>
                <a:gd name="T47" fmla="*/ 62 h 124"/>
                <a:gd name="T48" fmla="*/ 11 w 124"/>
                <a:gd name="T49" fmla="*/ 45 h 124"/>
                <a:gd name="T50" fmla="*/ 12 w 124"/>
                <a:gd name="T51" fmla="*/ 40 h 124"/>
                <a:gd name="T52" fmla="*/ 21 w 124"/>
                <a:gd name="T53" fmla="*/ 26 h 124"/>
                <a:gd name="T54" fmla="*/ 25 w 124"/>
                <a:gd name="T55" fmla="*/ 23 h 124"/>
                <a:gd name="T56" fmla="*/ 38 w 124"/>
                <a:gd name="T57" fmla="*/ 13 h 124"/>
                <a:gd name="T58" fmla="*/ 43 w 124"/>
                <a:gd name="T59" fmla="*/ 12 h 124"/>
                <a:gd name="T60" fmla="*/ 54 w 124"/>
                <a:gd name="T61" fmla="*/ 7 h 124"/>
                <a:gd name="T62" fmla="*/ 38 w 124"/>
                <a:gd name="T63" fmla="*/ 5 h 124"/>
                <a:gd name="T64" fmla="*/ 28 w 124"/>
                <a:gd name="T65" fmla="*/ 19 h 124"/>
                <a:gd name="T66" fmla="*/ 17 w 124"/>
                <a:gd name="T67" fmla="*/ 29 h 124"/>
                <a:gd name="T68" fmla="*/ 10 w 124"/>
                <a:gd name="T69" fmla="*/ 35 h 124"/>
                <a:gd name="T70" fmla="*/ 13 w 124"/>
                <a:gd name="T71" fmla="*/ 53 h 124"/>
                <a:gd name="T72" fmla="*/ 7 w 124"/>
                <a:gd name="T73" fmla="*/ 70 h 124"/>
                <a:gd name="T74" fmla="*/ 5 w 124"/>
                <a:gd name="T75" fmla="*/ 87 h 124"/>
                <a:gd name="T76" fmla="*/ 21 w 124"/>
                <a:gd name="T77" fmla="*/ 90 h 124"/>
                <a:gd name="T78" fmla="*/ 24 w 124"/>
                <a:gd name="T79" fmla="*/ 109 h 124"/>
                <a:gd name="T80" fmla="*/ 39 w 124"/>
                <a:gd name="T81" fmla="*/ 120 h 124"/>
                <a:gd name="T82" fmla="*/ 53 w 124"/>
                <a:gd name="T83" fmla="*/ 110 h 124"/>
                <a:gd name="T84" fmla="*/ 64 w 124"/>
                <a:gd name="T85" fmla="*/ 124 h 124"/>
                <a:gd name="T86" fmla="*/ 84 w 124"/>
                <a:gd name="T87" fmla="*/ 120 h 124"/>
                <a:gd name="T88" fmla="*/ 90 w 124"/>
                <a:gd name="T89" fmla="*/ 102 h 124"/>
                <a:gd name="T90" fmla="*/ 107 w 124"/>
                <a:gd name="T91" fmla="*/ 104 h 124"/>
                <a:gd name="T92" fmla="*/ 111 w 124"/>
                <a:gd name="T93" fmla="*/ 88 h 124"/>
                <a:gd name="T94" fmla="*/ 116 w 124"/>
                <a:gd name="T95" fmla="*/ 74 h 124"/>
                <a:gd name="T96" fmla="*/ 124 w 124"/>
                <a:gd name="T97" fmla="*/ 62 h 124"/>
                <a:gd name="T98" fmla="*/ 119 w 124"/>
                <a:gd name="T99" fmla="*/ 39 h 124"/>
                <a:gd name="T100" fmla="*/ 105 w 124"/>
                <a:gd name="T101" fmla="*/ 35 h 124"/>
                <a:gd name="T102" fmla="*/ 105 w 124"/>
                <a:gd name="T103" fmla="*/ 18 h 124"/>
                <a:gd name="T104" fmla="*/ 89 w 124"/>
                <a:gd name="T105" fmla="*/ 14 h 124"/>
                <a:gd name="T106" fmla="*/ 76 w 124"/>
                <a:gd name="T107" fmla="*/ 8 h 124"/>
                <a:gd name="T108" fmla="*/ 61 w 124"/>
                <a:gd name="T10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124">
                  <a:moveTo>
                    <a:pt x="52" y="20"/>
                  </a:moveTo>
                  <a:cubicBezTo>
                    <a:pt x="52" y="20"/>
                    <a:pt x="52" y="19"/>
                    <a:pt x="53" y="19"/>
                  </a:cubicBezTo>
                  <a:cubicBezTo>
                    <a:pt x="56" y="18"/>
                    <a:pt x="58" y="11"/>
                    <a:pt x="59" y="8"/>
                  </a:cubicBezTo>
                  <a:cubicBezTo>
                    <a:pt x="59" y="5"/>
                    <a:pt x="60" y="5"/>
                    <a:pt x="61" y="5"/>
                  </a:cubicBezTo>
                  <a:cubicBezTo>
                    <a:pt x="61" y="5"/>
                    <a:pt x="61" y="5"/>
                    <a:pt x="61" y="5"/>
                  </a:cubicBezTo>
                  <a:cubicBezTo>
                    <a:pt x="62" y="5"/>
                    <a:pt x="62" y="5"/>
                    <a:pt x="62" y="5"/>
                  </a:cubicBezTo>
                  <a:cubicBezTo>
                    <a:pt x="63" y="5"/>
                    <a:pt x="63" y="5"/>
                    <a:pt x="64" y="8"/>
                  </a:cubicBezTo>
                  <a:cubicBezTo>
                    <a:pt x="64" y="12"/>
                    <a:pt x="66" y="16"/>
                    <a:pt x="68" y="18"/>
                  </a:cubicBezTo>
                  <a:cubicBezTo>
                    <a:pt x="69" y="19"/>
                    <a:pt x="69" y="19"/>
                    <a:pt x="70" y="19"/>
                  </a:cubicBezTo>
                  <a:cubicBezTo>
                    <a:pt x="74" y="19"/>
                    <a:pt x="78" y="14"/>
                    <a:pt x="80" y="11"/>
                  </a:cubicBezTo>
                  <a:cubicBezTo>
                    <a:pt x="81" y="9"/>
                    <a:pt x="82" y="9"/>
                    <a:pt x="82" y="9"/>
                  </a:cubicBezTo>
                  <a:cubicBezTo>
                    <a:pt x="82" y="9"/>
                    <a:pt x="83" y="9"/>
                    <a:pt x="83" y="9"/>
                  </a:cubicBezTo>
                  <a:cubicBezTo>
                    <a:pt x="84" y="10"/>
                    <a:pt x="84" y="10"/>
                    <a:pt x="84" y="10"/>
                  </a:cubicBezTo>
                  <a:cubicBezTo>
                    <a:pt x="85" y="10"/>
                    <a:pt x="85" y="10"/>
                    <a:pt x="85" y="13"/>
                  </a:cubicBezTo>
                  <a:cubicBezTo>
                    <a:pt x="84" y="17"/>
                    <a:pt x="83" y="21"/>
                    <a:pt x="85" y="24"/>
                  </a:cubicBezTo>
                  <a:cubicBezTo>
                    <a:pt x="85" y="25"/>
                    <a:pt x="85" y="25"/>
                    <a:pt x="86" y="26"/>
                  </a:cubicBezTo>
                  <a:cubicBezTo>
                    <a:pt x="87" y="26"/>
                    <a:pt x="87" y="26"/>
                    <a:pt x="88" y="26"/>
                  </a:cubicBezTo>
                  <a:cubicBezTo>
                    <a:pt x="91" y="26"/>
                    <a:pt x="96" y="24"/>
                    <a:pt x="99" y="22"/>
                  </a:cubicBezTo>
                  <a:cubicBezTo>
                    <a:pt x="100" y="21"/>
                    <a:pt x="101" y="21"/>
                    <a:pt x="101" y="21"/>
                  </a:cubicBezTo>
                  <a:cubicBezTo>
                    <a:pt x="101" y="21"/>
                    <a:pt x="101" y="21"/>
                    <a:pt x="102" y="22"/>
                  </a:cubicBezTo>
                  <a:cubicBezTo>
                    <a:pt x="102" y="22"/>
                    <a:pt x="102" y="22"/>
                    <a:pt x="102" y="22"/>
                  </a:cubicBezTo>
                  <a:cubicBezTo>
                    <a:pt x="103" y="23"/>
                    <a:pt x="104" y="23"/>
                    <a:pt x="102" y="25"/>
                  </a:cubicBezTo>
                  <a:cubicBezTo>
                    <a:pt x="100" y="28"/>
                    <a:pt x="97" y="33"/>
                    <a:pt x="98" y="36"/>
                  </a:cubicBezTo>
                  <a:cubicBezTo>
                    <a:pt x="98" y="37"/>
                    <a:pt x="98" y="37"/>
                    <a:pt x="98" y="38"/>
                  </a:cubicBezTo>
                  <a:cubicBezTo>
                    <a:pt x="100" y="39"/>
                    <a:pt x="102" y="40"/>
                    <a:pt x="105" y="40"/>
                  </a:cubicBezTo>
                  <a:cubicBezTo>
                    <a:pt x="107" y="40"/>
                    <a:pt x="109" y="39"/>
                    <a:pt x="111" y="39"/>
                  </a:cubicBezTo>
                  <a:cubicBezTo>
                    <a:pt x="112" y="39"/>
                    <a:pt x="113" y="39"/>
                    <a:pt x="113" y="39"/>
                  </a:cubicBezTo>
                  <a:cubicBezTo>
                    <a:pt x="114" y="39"/>
                    <a:pt x="114" y="39"/>
                    <a:pt x="114" y="40"/>
                  </a:cubicBezTo>
                  <a:cubicBezTo>
                    <a:pt x="115" y="41"/>
                    <a:pt x="115" y="41"/>
                    <a:pt x="115" y="41"/>
                  </a:cubicBezTo>
                  <a:cubicBezTo>
                    <a:pt x="115" y="42"/>
                    <a:pt x="115" y="42"/>
                    <a:pt x="113" y="44"/>
                  </a:cubicBezTo>
                  <a:cubicBezTo>
                    <a:pt x="110" y="46"/>
                    <a:pt x="106" y="49"/>
                    <a:pt x="105" y="52"/>
                  </a:cubicBezTo>
                  <a:cubicBezTo>
                    <a:pt x="105" y="52"/>
                    <a:pt x="105" y="53"/>
                    <a:pt x="105" y="54"/>
                  </a:cubicBezTo>
                  <a:cubicBezTo>
                    <a:pt x="106" y="57"/>
                    <a:pt x="113" y="59"/>
                    <a:pt x="116" y="60"/>
                  </a:cubicBezTo>
                  <a:cubicBezTo>
                    <a:pt x="119" y="60"/>
                    <a:pt x="119" y="61"/>
                    <a:pt x="119" y="62"/>
                  </a:cubicBezTo>
                  <a:cubicBezTo>
                    <a:pt x="119" y="63"/>
                    <a:pt x="119" y="63"/>
                    <a:pt x="119" y="63"/>
                  </a:cubicBezTo>
                  <a:cubicBezTo>
                    <a:pt x="119" y="64"/>
                    <a:pt x="119" y="64"/>
                    <a:pt x="116" y="65"/>
                  </a:cubicBezTo>
                  <a:cubicBezTo>
                    <a:pt x="113" y="65"/>
                    <a:pt x="109" y="66"/>
                    <a:pt x="106" y="69"/>
                  </a:cubicBezTo>
                  <a:cubicBezTo>
                    <a:pt x="105" y="69"/>
                    <a:pt x="105" y="71"/>
                    <a:pt x="106" y="72"/>
                  </a:cubicBezTo>
                  <a:cubicBezTo>
                    <a:pt x="107" y="74"/>
                    <a:pt x="111" y="77"/>
                    <a:pt x="114" y="79"/>
                  </a:cubicBezTo>
                  <a:cubicBezTo>
                    <a:pt x="116" y="80"/>
                    <a:pt x="116" y="80"/>
                    <a:pt x="115" y="82"/>
                  </a:cubicBezTo>
                  <a:cubicBezTo>
                    <a:pt x="115" y="82"/>
                    <a:pt x="115" y="82"/>
                    <a:pt x="115" y="82"/>
                  </a:cubicBezTo>
                  <a:cubicBezTo>
                    <a:pt x="115" y="84"/>
                    <a:pt x="115" y="84"/>
                    <a:pt x="114" y="84"/>
                  </a:cubicBezTo>
                  <a:cubicBezTo>
                    <a:pt x="113" y="84"/>
                    <a:pt x="113" y="83"/>
                    <a:pt x="112" y="83"/>
                  </a:cubicBezTo>
                  <a:cubicBezTo>
                    <a:pt x="110" y="83"/>
                    <a:pt x="109" y="83"/>
                    <a:pt x="107" y="83"/>
                  </a:cubicBezTo>
                  <a:cubicBezTo>
                    <a:pt x="104" y="83"/>
                    <a:pt x="101" y="83"/>
                    <a:pt x="99" y="85"/>
                  </a:cubicBezTo>
                  <a:cubicBezTo>
                    <a:pt x="99" y="86"/>
                    <a:pt x="98" y="86"/>
                    <a:pt x="98" y="87"/>
                  </a:cubicBezTo>
                  <a:cubicBezTo>
                    <a:pt x="98" y="90"/>
                    <a:pt x="101" y="94"/>
                    <a:pt x="103" y="97"/>
                  </a:cubicBezTo>
                  <a:cubicBezTo>
                    <a:pt x="105" y="99"/>
                    <a:pt x="105" y="100"/>
                    <a:pt x="104" y="101"/>
                  </a:cubicBezTo>
                  <a:cubicBezTo>
                    <a:pt x="103" y="101"/>
                    <a:pt x="103" y="101"/>
                    <a:pt x="103" y="101"/>
                  </a:cubicBezTo>
                  <a:cubicBezTo>
                    <a:pt x="103" y="102"/>
                    <a:pt x="102" y="102"/>
                    <a:pt x="102" y="102"/>
                  </a:cubicBezTo>
                  <a:cubicBezTo>
                    <a:pt x="102" y="102"/>
                    <a:pt x="101" y="102"/>
                    <a:pt x="100" y="101"/>
                  </a:cubicBezTo>
                  <a:cubicBezTo>
                    <a:pt x="97" y="99"/>
                    <a:pt x="93" y="97"/>
                    <a:pt x="90" y="97"/>
                  </a:cubicBezTo>
                  <a:cubicBezTo>
                    <a:pt x="89" y="97"/>
                    <a:pt x="88" y="97"/>
                    <a:pt x="87" y="98"/>
                  </a:cubicBezTo>
                  <a:cubicBezTo>
                    <a:pt x="87" y="98"/>
                    <a:pt x="86" y="98"/>
                    <a:pt x="86" y="99"/>
                  </a:cubicBezTo>
                  <a:cubicBezTo>
                    <a:pt x="85" y="102"/>
                    <a:pt x="85" y="107"/>
                    <a:pt x="86" y="111"/>
                  </a:cubicBezTo>
                  <a:cubicBezTo>
                    <a:pt x="87" y="113"/>
                    <a:pt x="87" y="113"/>
                    <a:pt x="85" y="114"/>
                  </a:cubicBezTo>
                  <a:cubicBezTo>
                    <a:pt x="85" y="114"/>
                    <a:pt x="85" y="114"/>
                    <a:pt x="85" y="114"/>
                  </a:cubicBezTo>
                  <a:cubicBezTo>
                    <a:pt x="84" y="114"/>
                    <a:pt x="84" y="115"/>
                    <a:pt x="84" y="115"/>
                  </a:cubicBezTo>
                  <a:cubicBezTo>
                    <a:pt x="84" y="115"/>
                    <a:pt x="83" y="114"/>
                    <a:pt x="82" y="113"/>
                  </a:cubicBezTo>
                  <a:cubicBezTo>
                    <a:pt x="80" y="110"/>
                    <a:pt x="76" y="105"/>
                    <a:pt x="72" y="105"/>
                  </a:cubicBezTo>
                  <a:cubicBezTo>
                    <a:pt x="71" y="105"/>
                    <a:pt x="71" y="105"/>
                    <a:pt x="71" y="105"/>
                  </a:cubicBezTo>
                  <a:cubicBezTo>
                    <a:pt x="71" y="105"/>
                    <a:pt x="70" y="105"/>
                    <a:pt x="70" y="105"/>
                  </a:cubicBezTo>
                  <a:cubicBezTo>
                    <a:pt x="68" y="108"/>
                    <a:pt x="66" y="112"/>
                    <a:pt x="66" y="116"/>
                  </a:cubicBezTo>
                  <a:cubicBezTo>
                    <a:pt x="65" y="119"/>
                    <a:pt x="65" y="119"/>
                    <a:pt x="64" y="119"/>
                  </a:cubicBezTo>
                  <a:cubicBezTo>
                    <a:pt x="63" y="119"/>
                    <a:pt x="63" y="119"/>
                    <a:pt x="63" y="119"/>
                  </a:cubicBezTo>
                  <a:cubicBezTo>
                    <a:pt x="62" y="119"/>
                    <a:pt x="62" y="119"/>
                    <a:pt x="62" y="119"/>
                  </a:cubicBezTo>
                  <a:cubicBezTo>
                    <a:pt x="62" y="119"/>
                    <a:pt x="61" y="119"/>
                    <a:pt x="61" y="116"/>
                  </a:cubicBezTo>
                  <a:cubicBezTo>
                    <a:pt x="60" y="113"/>
                    <a:pt x="58" y="106"/>
                    <a:pt x="54" y="105"/>
                  </a:cubicBezTo>
                  <a:cubicBezTo>
                    <a:pt x="53" y="105"/>
                    <a:pt x="53" y="105"/>
                    <a:pt x="53" y="105"/>
                  </a:cubicBezTo>
                  <a:cubicBezTo>
                    <a:pt x="52" y="105"/>
                    <a:pt x="52" y="105"/>
                    <a:pt x="52" y="105"/>
                  </a:cubicBezTo>
                  <a:cubicBezTo>
                    <a:pt x="50" y="106"/>
                    <a:pt x="46" y="110"/>
                    <a:pt x="44" y="113"/>
                  </a:cubicBezTo>
                  <a:cubicBezTo>
                    <a:pt x="44" y="115"/>
                    <a:pt x="43" y="115"/>
                    <a:pt x="43" y="115"/>
                  </a:cubicBezTo>
                  <a:cubicBezTo>
                    <a:pt x="42" y="115"/>
                    <a:pt x="42" y="115"/>
                    <a:pt x="42" y="115"/>
                  </a:cubicBezTo>
                  <a:cubicBezTo>
                    <a:pt x="41" y="115"/>
                    <a:pt x="41" y="115"/>
                    <a:pt x="41" y="115"/>
                  </a:cubicBezTo>
                  <a:cubicBezTo>
                    <a:pt x="40" y="114"/>
                    <a:pt x="39" y="114"/>
                    <a:pt x="40" y="112"/>
                  </a:cubicBezTo>
                  <a:cubicBezTo>
                    <a:pt x="41" y="108"/>
                    <a:pt x="41" y="101"/>
                    <a:pt x="38" y="99"/>
                  </a:cubicBezTo>
                  <a:cubicBezTo>
                    <a:pt x="38" y="98"/>
                    <a:pt x="37" y="98"/>
                    <a:pt x="36" y="98"/>
                  </a:cubicBezTo>
                  <a:cubicBezTo>
                    <a:pt x="33" y="98"/>
                    <a:pt x="29" y="100"/>
                    <a:pt x="26" y="103"/>
                  </a:cubicBezTo>
                  <a:cubicBezTo>
                    <a:pt x="25" y="104"/>
                    <a:pt x="24" y="104"/>
                    <a:pt x="24" y="104"/>
                  </a:cubicBezTo>
                  <a:cubicBezTo>
                    <a:pt x="24" y="104"/>
                    <a:pt x="23" y="103"/>
                    <a:pt x="23" y="103"/>
                  </a:cubicBezTo>
                  <a:cubicBezTo>
                    <a:pt x="22" y="103"/>
                    <a:pt x="22" y="103"/>
                    <a:pt x="22" y="103"/>
                  </a:cubicBezTo>
                  <a:cubicBezTo>
                    <a:pt x="21" y="102"/>
                    <a:pt x="21" y="101"/>
                    <a:pt x="23" y="99"/>
                  </a:cubicBezTo>
                  <a:cubicBezTo>
                    <a:pt x="25" y="96"/>
                    <a:pt x="28" y="90"/>
                    <a:pt x="26" y="87"/>
                  </a:cubicBezTo>
                  <a:cubicBezTo>
                    <a:pt x="26" y="86"/>
                    <a:pt x="25" y="86"/>
                    <a:pt x="25" y="85"/>
                  </a:cubicBezTo>
                  <a:cubicBezTo>
                    <a:pt x="23" y="85"/>
                    <a:pt x="22" y="85"/>
                    <a:pt x="20" y="85"/>
                  </a:cubicBezTo>
                  <a:cubicBezTo>
                    <a:pt x="18" y="85"/>
                    <a:pt x="15" y="85"/>
                    <a:pt x="13" y="85"/>
                  </a:cubicBezTo>
                  <a:cubicBezTo>
                    <a:pt x="12" y="86"/>
                    <a:pt x="12" y="86"/>
                    <a:pt x="11" y="86"/>
                  </a:cubicBezTo>
                  <a:cubicBezTo>
                    <a:pt x="11" y="86"/>
                    <a:pt x="11" y="86"/>
                    <a:pt x="11" y="86"/>
                  </a:cubicBezTo>
                  <a:cubicBezTo>
                    <a:pt x="10" y="86"/>
                    <a:pt x="10" y="86"/>
                    <a:pt x="10" y="85"/>
                  </a:cubicBezTo>
                  <a:cubicBezTo>
                    <a:pt x="10" y="84"/>
                    <a:pt x="10" y="84"/>
                    <a:pt x="10" y="84"/>
                  </a:cubicBezTo>
                  <a:cubicBezTo>
                    <a:pt x="9" y="83"/>
                    <a:pt x="9" y="82"/>
                    <a:pt x="11" y="81"/>
                  </a:cubicBezTo>
                  <a:cubicBezTo>
                    <a:pt x="14" y="79"/>
                    <a:pt x="19" y="75"/>
                    <a:pt x="19" y="71"/>
                  </a:cubicBezTo>
                  <a:cubicBezTo>
                    <a:pt x="19" y="70"/>
                    <a:pt x="19" y="70"/>
                    <a:pt x="19" y="69"/>
                  </a:cubicBezTo>
                  <a:cubicBezTo>
                    <a:pt x="16" y="67"/>
                    <a:pt x="12" y="65"/>
                    <a:pt x="8" y="65"/>
                  </a:cubicBezTo>
                  <a:cubicBezTo>
                    <a:pt x="5" y="64"/>
                    <a:pt x="5" y="64"/>
                    <a:pt x="5" y="63"/>
                  </a:cubicBezTo>
                  <a:cubicBezTo>
                    <a:pt x="5" y="62"/>
                    <a:pt x="5" y="62"/>
                    <a:pt x="5" y="62"/>
                  </a:cubicBezTo>
                  <a:cubicBezTo>
                    <a:pt x="5" y="61"/>
                    <a:pt x="5" y="60"/>
                    <a:pt x="8" y="60"/>
                  </a:cubicBezTo>
                  <a:cubicBezTo>
                    <a:pt x="11" y="59"/>
                    <a:pt x="16" y="58"/>
                    <a:pt x="18" y="55"/>
                  </a:cubicBezTo>
                  <a:cubicBezTo>
                    <a:pt x="19" y="55"/>
                    <a:pt x="19" y="54"/>
                    <a:pt x="18" y="53"/>
                  </a:cubicBezTo>
                  <a:cubicBezTo>
                    <a:pt x="17" y="50"/>
                    <a:pt x="14" y="47"/>
                    <a:pt x="11" y="45"/>
                  </a:cubicBezTo>
                  <a:cubicBezTo>
                    <a:pt x="8" y="44"/>
                    <a:pt x="8" y="43"/>
                    <a:pt x="9" y="42"/>
                  </a:cubicBezTo>
                  <a:cubicBezTo>
                    <a:pt x="9" y="41"/>
                    <a:pt x="9" y="41"/>
                    <a:pt x="9" y="41"/>
                  </a:cubicBezTo>
                  <a:cubicBezTo>
                    <a:pt x="10" y="40"/>
                    <a:pt x="10" y="40"/>
                    <a:pt x="10" y="40"/>
                  </a:cubicBezTo>
                  <a:cubicBezTo>
                    <a:pt x="11" y="40"/>
                    <a:pt x="12" y="40"/>
                    <a:pt x="12" y="40"/>
                  </a:cubicBezTo>
                  <a:cubicBezTo>
                    <a:pt x="14" y="41"/>
                    <a:pt x="16" y="41"/>
                    <a:pt x="18" y="41"/>
                  </a:cubicBezTo>
                  <a:cubicBezTo>
                    <a:pt x="21" y="41"/>
                    <a:pt x="22" y="41"/>
                    <a:pt x="24" y="40"/>
                  </a:cubicBezTo>
                  <a:cubicBezTo>
                    <a:pt x="24" y="40"/>
                    <a:pt x="25" y="39"/>
                    <a:pt x="25" y="39"/>
                  </a:cubicBezTo>
                  <a:cubicBezTo>
                    <a:pt x="27" y="35"/>
                    <a:pt x="23" y="29"/>
                    <a:pt x="21" y="26"/>
                  </a:cubicBezTo>
                  <a:cubicBezTo>
                    <a:pt x="20" y="24"/>
                    <a:pt x="20" y="24"/>
                    <a:pt x="21" y="23"/>
                  </a:cubicBezTo>
                  <a:cubicBezTo>
                    <a:pt x="21" y="23"/>
                    <a:pt x="21" y="23"/>
                    <a:pt x="21" y="23"/>
                  </a:cubicBezTo>
                  <a:cubicBezTo>
                    <a:pt x="22" y="22"/>
                    <a:pt x="22" y="22"/>
                    <a:pt x="22" y="22"/>
                  </a:cubicBezTo>
                  <a:cubicBezTo>
                    <a:pt x="22" y="22"/>
                    <a:pt x="23" y="22"/>
                    <a:pt x="25" y="23"/>
                  </a:cubicBezTo>
                  <a:cubicBezTo>
                    <a:pt x="28" y="25"/>
                    <a:pt x="32" y="27"/>
                    <a:pt x="35" y="27"/>
                  </a:cubicBezTo>
                  <a:cubicBezTo>
                    <a:pt x="35" y="27"/>
                    <a:pt x="35" y="27"/>
                    <a:pt x="35" y="27"/>
                  </a:cubicBezTo>
                  <a:cubicBezTo>
                    <a:pt x="36" y="27"/>
                    <a:pt x="37" y="27"/>
                    <a:pt x="37" y="26"/>
                  </a:cubicBezTo>
                  <a:cubicBezTo>
                    <a:pt x="40" y="24"/>
                    <a:pt x="39" y="17"/>
                    <a:pt x="38" y="13"/>
                  </a:cubicBezTo>
                  <a:cubicBezTo>
                    <a:pt x="37" y="11"/>
                    <a:pt x="38" y="11"/>
                    <a:pt x="39" y="10"/>
                  </a:cubicBezTo>
                  <a:cubicBezTo>
                    <a:pt x="40" y="10"/>
                    <a:pt x="40" y="10"/>
                    <a:pt x="40" y="10"/>
                  </a:cubicBezTo>
                  <a:cubicBezTo>
                    <a:pt x="40" y="10"/>
                    <a:pt x="41" y="9"/>
                    <a:pt x="41" y="9"/>
                  </a:cubicBezTo>
                  <a:cubicBezTo>
                    <a:pt x="41" y="9"/>
                    <a:pt x="42" y="10"/>
                    <a:pt x="43" y="12"/>
                  </a:cubicBezTo>
                  <a:cubicBezTo>
                    <a:pt x="45" y="15"/>
                    <a:pt x="48" y="18"/>
                    <a:pt x="51" y="19"/>
                  </a:cubicBezTo>
                  <a:cubicBezTo>
                    <a:pt x="51" y="19"/>
                    <a:pt x="52" y="20"/>
                    <a:pt x="52" y="20"/>
                  </a:cubicBezTo>
                  <a:moveTo>
                    <a:pt x="61" y="0"/>
                  </a:moveTo>
                  <a:cubicBezTo>
                    <a:pt x="57" y="0"/>
                    <a:pt x="55" y="2"/>
                    <a:pt x="54" y="7"/>
                  </a:cubicBezTo>
                  <a:cubicBezTo>
                    <a:pt x="53" y="10"/>
                    <a:pt x="52" y="13"/>
                    <a:pt x="51" y="14"/>
                  </a:cubicBezTo>
                  <a:cubicBezTo>
                    <a:pt x="50" y="13"/>
                    <a:pt x="48" y="11"/>
                    <a:pt x="47" y="9"/>
                  </a:cubicBezTo>
                  <a:cubicBezTo>
                    <a:pt x="46" y="8"/>
                    <a:pt x="44" y="4"/>
                    <a:pt x="41" y="4"/>
                  </a:cubicBezTo>
                  <a:cubicBezTo>
                    <a:pt x="40" y="4"/>
                    <a:pt x="38" y="5"/>
                    <a:pt x="38" y="5"/>
                  </a:cubicBezTo>
                  <a:cubicBezTo>
                    <a:pt x="37" y="5"/>
                    <a:pt x="37" y="5"/>
                    <a:pt x="37" y="5"/>
                  </a:cubicBezTo>
                  <a:cubicBezTo>
                    <a:pt x="35" y="6"/>
                    <a:pt x="31" y="8"/>
                    <a:pt x="33" y="15"/>
                  </a:cubicBezTo>
                  <a:cubicBezTo>
                    <a:pt x="34" y="18"/>
                    <a:pt x="34" y="20"/>
                    <a:pt x="34" y="22"/>
                  </a:cubicBezTo>
                  <a:cubicBezTo>
                    <a:pt x="32" y="21"/>
                    <a:pt x="30" y="20"/>
                    <a:pt x="28" y="19"/>
                  </a:cubicBezTo>
                  <a:cubicBezTo>
                    <a:pt x="26" y="17"/>
                    <a:pt x="24" y="17"/>
                    <a:pt x="22" y="17"/>
                  </a:cubicBezTo>
                  <a:cubicBezTo>
                    <a:pt x="20" y="17"/>
                    <a:pt x="18" y="18"/>
                    <a:pt x="18" y="19"/>
                  </a:cubicBezTo>
                  <a:cubicBezTo>
                    <a:pt x="17" y="19"/>
                    <a:pt x="17" y="19"/>
                    <a:pt x="17" y="19"/>
                  </a:cubicBezTo>
                  <a:cubicBezTo>
                    <a:pt x="15" y="22"/>
                    <a:pt x="13" y="24"/>
                    <a:pt x="17" y="29"/>
                  </a:cubicBezTo>
                  <a:cubicBezTo>
                    <a:pt x="19" y="32"/>
                    <a:pt x="20" y="35"/>
                    <a:pt x="20" y="36"/>
                  </a:cubicBezTo>
                  <a:cubicBezTo>
                    <a:pt x="20" y="36"/>
                    <a:pt x="19" y="36"/>
                    <a:pt x="18" y="36"/>
                  </a:cubicBezTo>
                  <a:cubicBezTo>
                    <a:pt x="17" y="36"/>
                    <a:pt x="15" y="36"/>
                    <a:pt x="14" y="36"/>
                  </a:cubicBezTo>
                  <a:cubicBezTo>
                    <a:pt x="12" y="35"/>
                    <a:pt x="11" y="35"/>
                    <a:pt x="10" y="35"/>
                  </a:cubicBezTo>
                  <a:cubicBezTo>
                    <a:pt x="6" y="35"/>
                    <a:pt x="5" y="38"/>
                    <a:pt x="4" y="40"/>
                  </a:cubicBezTo>
                  <a:cubicBezTo>
                    <a:pt x="4" y="40"/>
                    <a:pt x="4" y="40"/>
                    <a:pt x="4" y="40"/>
                  </a:cubicBezTo>
                  <a:cubicBezTo>
                    <a:pt x="3" y="43"/>
                    <a:pt x="3" y="46"/>
                    <a:pt x="8" y="49"/>
                  </a:cubicBezTo>
                  <a:cubicBezTo>
                    <a:pt x="10" y="50"/>
                    <a:pt x="12" y="52"/>
                    <a:pt x="13" y="53"/>
                  </a:cubicBezTo>
                  <a:cubicBezTo>
                    <a:pt x="11" y="54"/>
                    <a:pt x="9" y="55"/>
                    <a:pt x="7" y="55"/>
                  </a:cubicBezTo>
                  <a:cubicBezTo>
                    <a:pt x="1" y="56"/>
                    <a:pt x="0" y="59"/>
                    <a:pt x="0" y="62"/>
                  </a:cubicBezTo>
                  <a:cubicBezTo>
                    <a:pt x="0" y="63"/>
                    <a:pt x="0" y="63"/>
                    <a:pt x="0" y="63"/>
                  </a:cubicBezTo>
                  <a:cubicBezTo>
                    <a:pt x="0" y="65"/>
                    <a:pt x="0" y="69"/>
                    <a:pt x="7" y="70"/>
                  </a:cubicBezTo>
                  <a:cubicBezTo>
                    <a:pt x="10" y="70"/>
                    <a:pt x="12" y="71"/>
                    <a:pt x="14" y="72"/>
                  </a:cubicBezTo>
                  <a:cubicBezTo>
                    <a:pt x="13" y="73"/>
                    <a:pt x="11" y="75"/>
                    <a:pt x="9" y="77"/>
                  </a:cubicBezTo>
                  <a:cubicBezTo>
                    <a:pt x="3" y="80"/>
                    <a:pt x="4" y="83"/>
                    <a:pt x="5" y="86"/>
                  </a:cubicBezTo>
                  <a:cubicBezTo>
                    <a:pt x="5" y="87"/>
                    <a:pt x="5" y="87"/>
                    <a:pt x="5" y="87"/>
                  </a:cubicBezTo>
                  <a:cubicBezTo>
                    <a:pt x="6" y="88"/>
                    <a:pt x="7" y="91"/>
                    <a:pt x="11" y="91"/>
                  </a:cubicBezTo>
                  <a:cubicBezTo>
                    <a:pt x="12" y="91"/>
                    <a:pt x="13" y="91"/>
                    <a:pt x="14" y="90"/>
                  </a:cubicBezTo>
                  <a:cubicBezTo>
                    <a:pt x="16" y="90"/>
                    <a:pt x="18" y="90"/>
                    <a:pt x="20" y="90"/>
                  </a:cubicBezTo>
                  <a:cubicBezTo>
                    <a:pt x="20" y="90"/>
                    <a:pt x="21" y="90"/>
                    <a:pt x="21" y="90"/>
                  </a:cubicBezTo>
                  <a:cubicBezTo>
                    <a:pt x="21" y="91"/>
                    <a:pt x="20" y="94"/>
                    <a:pt x="18" y="96"/>
                  </a:cubicBezTo>
                  <a:cubicBezTo>
                    <a:pt x="15" y="101"/>
                    <a:pt x="17" y="104"/>
                    <a:pt x="19" y="106"/>
                  </a:cubicBezTo>
                  <a:cubicBezTo>
                    <a:pt x="19" y="107"/>
                    <a:pt x="19" y="107"/>
                    <a:pt x="19" y="107"/>
                  </a:cubicBezTo>
                  <a:cubicBezTo>
                    <a:pt x="20" y="107"/>
                    <a:pt x="21" y="109"/>
                    <a:pt x="24" y="109"/>
                  </a:cubicBezTo>
                  <a:cubicBezTo>
                    <a:pt x="25" y="109"/>
                    <a:pt x="27" y="108"/>
                    <a:pt x="29" y="107"/>
                  </a:cubicBezTo>
                  <a:cubicBezTo>
                    <a:pt x="31" y="105"/>
                    <a:pt x="34" y="104"/>
                    <a:pt x="35" y="103"/>
                  </a:cubicBezTo>
                  <a:cubicBezTo>
                    <a:pt x="35" y="105"/>
                    <a:pt x="36" y="107"/>
                    <a:pt x="35" y="111"/>
                  </a:cubicBezTo>
                  <a:cubicBezTo>
                    <a:pt x="33" y="117"/>
                    <a:pt x="37" y="119"/>
                    <a:pt x="39" y="120"/>
                  </a:cubicBezTo>
                  <a:cubicBezTo>
                    <a:pt x="40" y="120"/>
                    <a:pt x="40" y="120"/>
                    <a:pt x="40" y="120"/>
                  </a:cubicBezTo>
                  <a:cubicBezTo>
                    <a:pt x="40" y="120"/>
                    <a:pt x="42" y="120"/>
                    <a:pt x="43" y="120"/>
                  </a:cubicBezTo>
                  <a:cubicBezTo>
                    <a:pt x="46" y="120"/>
                    <a:pt x="48" y="117"/>
                    <a:pt x="49" y="116"/>
                  </a:cubicBezTo>
                  <a:cubicBezTo>
                    <a:pt x="50" y="113"/>
                    <a:pt x="52" y="111"/>
                    <a:pt x="53" y="110"/>
                  </a:cubicBezTo>
                  <a:cubicBezTo>
                    <a:pt x="54" y="112"/>
                    <a:pt x="55" y="114"/>
                    <a:pt x="56" y="117"/>
                  </a:cubicBezTo>
                  <a:cubicBezTo>
                    <a:pt x="57" y="122"/>
                    <a:pt x="59" y="124"/>
                    <a:pt x="62" y="124"/>
                  </a:cubicBezTo>
                  <a:cubicBezTo>
                    <a:pt x="63" y="124"/>
                    <a:pt x="63" y="124"/>
                    <a:pt x="63" y="124"/>
                  </a:cubicBezTo>
                  <a:cubicBezTo>
                    <a:pt x="64" y="124"/>
                    <a:pt x="64" y="124"/>
                    <a:pt x="64" y="124"/>
                  </a:cubicBezTo>
                  <a:cubicBezTo>
                    <a:pt x="66" y="124"/>
                    <a:pt x="70" y="124"/>
                    <a:pt x="71" y="117"/>
                  </a:cubicBezTo>
                  <a:cubicBezTo>
                    <a:pt x="71" y="114"/>
                    <a:pt x="72" y="112"/>
                    <a:pt x="73" y="110"/>
                  </a:cubicBezTo>
                  <a:cubicBezTo>
                    <a:pt x="74" y="111"/>
                    <a:pt x="76" y="113"/>
                    <a:pt x="78" y="115"/>
                  </a:cubicBezTo>
                  <a:cubicBezTo>
                    <a:pt x="78" y="116"/>
                    <a:pt x="80" y="120"/>
                    <a:pt x="84" y="120"/>
                  </a:cubicBezTo>
                  <a:cubicBezTo>
                    <a:pt x="85" y="120"/>
                    <a:pt x="86" y="119"/>
                    <a:pt x="87" y="119"/>
                  </a:cubicBezTo>
                  <a:cubicBezTo>
                    <a:pt x="87" y="118"/>
                    <a:pt x="87" y="118"/>
                    <a:pt x="87" y="118"/>
                  </a:cubicBezTo>
                  <a:cubicBezTo>
                    <a:pt x="89" y="118"/>
                    <a:pt x="93" y="116"/>
                    <a:pt x="91" y="109"/>
                  </a:cubicBezTo>
                  <a:cubicBezTo>
                    <a:pt x="90" y="107"/>
                    <a:pt x="90" y="104"/>
                    <a:pt x="90" y="102"/>
                  </a:cubicBezTo>
                  <a:cubicBezTo>
                    <a:pt x="92" y="103"/>
                    <a:pt x="95" y="104"/>
                    <a:pt x="97" y="105"/>
                  </a:cubicBezTo>
                  <a:cubicBezTo>
                    <a:pt x="99" y="106"/>
                    <a:pt x="101" y="107"/>
                    <a:pt x="102" y="107"/>
                  </a:cubicBezTo>
                  <a:cubicBezTo>
                    <a:pt x="105" y="107"/>
                    <a:pt x="106" y="105"/>
                    <a:pt x="107" y="104"/>
                  </a:cubicBezTo>
                  <a:cubicBezTo>
                    <a:pt x="107" y="104"/>
                    <a:pt x="107" y="104"/>
                    <a:pt x="107" y="104"/>
                  </a:cubicBezTo>
                  <a:cubicBezTo>
                    <a:pt x="109" y="103"/>
                    <a:pt x="112" y="100"/>
                    <a:pt x="107" y="94"/>
                  </a:cubicBezTo>
                  <a:cubicBezTo>
                    <a:pt x="105" y="92"/>
                    <a:pt x="104" y="90"/>
                    <a:pt x="104" y="88"/>
                  </a:cubicBezTo>
                  <a:cubicBezTo>
                    <a:pt x="104" y="88"/>
                    <a:pt x="106" y="88"/>
                    <a:pt x="107" y="88"/>
                  </a:cubicBezTo>
                  <a:cubicBezTo>
                    <a:pt x="108" y="88"/>
                    <a:pt x="110" y="88"/>
                    <a:pt x="111" y="88"/>
                  </a:cubicBezTo>
                  <a:cubicBezTo>
                    <a:pt x="112" y="88"/>
                    <a:pt x="113" y="89"/>
                    <a:pt x="114" y="89"/>
                  </a:cubicBezTo>
                  <a:cubicBezTo>
                    <a:pt x="118" y="89"/>
                    <a:pt x="119" y="85"/>
                    <a:pt x="120" y="84"/>
                  </a:cubicBezTo>
                  <a:cubicBezTo>
                    <a:pt x="120" y="83"/>
                    <a:pt x="120" y="83"/>
                    <a:pt x="120" y="83"/>
                  </a:cubicBezTo>
                  <a:cubicBezTo>
                    <a:pt x="121" y="82"/>
                    <a:pt x="122" y="77"/>
                    <a:pt x="116" y="74"/>
                  </a:cubicBezTo>
                  <a:cubicBezTo>
                    <a:pt x="114" y="73"/>
                    <a:pt x="113" y="72"/>
                    <a:pt x="112" y="71"/>
                  </a:cubicBezTo>
                  <a:cubicBezTo>
                    <a:pt x="113" y="70"/>
                    <a:pt x="115" y="70"/>
                    <a:pt x="117" y="70"/>
                  </a:cubicBezTo>
                  <a:cubicBezTo>
                    <a:pt x="124" y="69"/>
                    <a:pt x="124" y="65"/>
                    <a:pt x="124" y="63"/>
                  </a:cubicBezTo>
                  <a:cubicBezTo>
                    <a:pt x="124" y="62"/>
                    <a:pt x="124" y="62"/>
                    <a:pt x="124" y="62"/>
                  </a:cubicBezTo>
                  <a:cubicBezTo>
                    <a:pt x="124" y="59"/>
                    <a:pt x="123" y="56"/>
                    <a:pt x="117" y="55"/>
                  </a:cubicBezTo>
                  <a:cubicBezTo>
                    <a:pt x="114" y="54"/>
                    <a:pt x="111" y="53"/>
                    <a:pt x="110" y="52"/>
                  </a:cubicBezTo>
                  <a:cubicBezTo>
                    <a:pt x="111" y="51"/>
                    <a:pt x="113" y="49"/>
                    <a:pt x="115" y="48"/>
                  </a:cubicBezTo>
                  <a:cubicBezTo>
                    <a:pt x="122" y="45"/>
                    <a:pt x="120" y="40"/>
                    <a:pt x="119" y="39"/>
                  </a:cubicBezTo>
                  <a:cubicBezTo>
                    <a:pt x="119" y="38"/>
                    <a:pt x="119" y="38"/>
                    <a:pt x="119" y="38"/>
                  </a:cubicBezTo>
                  <a:cubicBezTo>
                    <a:pt x="118" y="37"/>
                    <a:pt x="117" y="34"/>
                    <a:pt x="113" y="34"/>
                  </a:cubicBezTo>
                  <a:cubicBezTo>
                    <a:pt x="112" y="34"/>
                    <a:pt x="111" y="34"/>
                    <a:pt x="110" y="34"/>
                  </a:cubicBezTo>
                  <a:cubicBezTo>
                    <a:pt x="109" y="35"/>
                    <a:pt x="107" y="35"/>
                    <a:pt x="105" y="35"/>
                  </a:cubicBezTo>
                  <a:cubicBezTo>
                    <a:pt x="104" y="35"/>
                    <a:pt x="103" y="35"/>
                    <a:pt x="103" y="34"/>
                  </a:cubicBezTo>
                  <a:cubicBezTo>
                    <a:pt x="103" y="33"/>
                    <a:pt x="104" y="31"/>
                    <a:pt x="106" y="28"/>
                  </a:cubicBezTo>
                  <a:cubicBezTo>
                    <a:pt x="110" y="23"/>
                    <a:pt x="107" y="20"/>
                    <a:pt x="106" y="18"/>
                  </a:cubicBezTo>
                  <a:cubicBezTo>
                    <a:pt x="105" y="18"/>
                    <a:pt x="105" y="18"/>
                    <a:pt x="105" y="18"/>
                  </a:cubicBezTo>
                  <a:cubicBezTo>
                    <a:pt x="105" y="17"/>
                    <a:pt x="103" y="16"/>
                    <a:pt x="101" y="16"/>
                  </a:cubicBezTo>
                  <a:cubicBezTo>
                    <a:pt x="99" y="16"/>
                    <a:pt x="97" y="16"/>
                    <a:pt x="96" y="18"/>
                  </a:cubicBezTo>
                  <a:cubicBezTo>
                    <a:pt x="93" y="19"/>
                    <a:pt x="91" y="21"/>
                    <a:pt x="89" y="21"/>
                  </a:cubicBezTo>
                  <a:cubicBezTo>
                    <a:pt x="89" y="19"/>
                    <a:pt x="89" y="17"/>
                    <a:pt x="89" y="14"/>
                  </a:cubicBezTo>
                  <a:cubicBezTo>
                    <a:pt x="91" y="7"/>
                    <a:pt x="87" y="6"/>
                    <a:pt x="85" y="5"/>
                  </a:cubicBezTo>
                  <a:cubicBezTo>
                    <a:pt x="85" y="5"/>
                    <a:pt x="85" y="5"/>
                    <a:pt x="85" y="5"/>
                  </a:cubicBezTo>
                  <a:cubicBezTo>
                    <a:pt x="84" y="4"/>
                    <a:pt x="83" y="4"/>
                    <a:pt x="82" y="4"/>
                  </a:cubicBezTo>
                  <a:cubicBezTo>
                    <a:pt x="78" y="4"/>
                    <a:pt x="76" y="7"/>
                    <a:pt x="76" y="8"/>
                  </a:cubicBezTo>
                  <a:cubicBezTo>
                    <a:pt x="74" y="11"/>
                    <a:pt x="72" y="13"/>
                    <a:pt x="71" y="14"/>
                  </a:cubicBezTo>
                  <a:cubicBezTo>
                    <a:pt x="70" y="12"/>
                    <a:pt x="69" y="10"/>
                    <a:pt x="69" y="7"/>
                  </a:cubicBezTo>
                  <a:cubicBezTo>
                    <a:pt x="68" y="2"/>
                    <a:pt x="66" y="0"/>
                    <a:pt x="62" y="0"/>
                  </a:cubicBezTo>
                  <a:cubicBezTo>
                    <a:pt x="61" y="0"/>
                    <a:pt x="61" y="0"/>
                    <a:pt x="61" y="0"/>
                  </a:cubicBezTo>
                  <a:cubicBezTo>
                    <a:pt x="61" y="0"/>
                    <a:pt x="61" y="0"/>
                    <a:pt x="6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1" name="Freeform 21280">
              <a:extLst>
                <a:ext uri="{FF2B5EF4-FFF2-40B4-BE49-F238E27FC236}">
                  <a16:creationId xmlns:a16="http://schemas.microsoft.com/office/drawing/2014/main" id="{5F5DEA43-BDF5-4BD2-9178-3FC9F7F44E1C}"/>
                </a:ext>
              </a:extLst>
            </p:cNvPr>
            <p:cNvSpPr>
              <a:spLocks noEditPoints="1"/>
            </p:cNvSpPr>
            <p:nvPr userDrawn="1"/>
          </p:nvSpPr>
          <p:spPr bwMode="auto">
            <a:xfrm>
              <a:off x="6773228" y="4545965"/>
              <a:ext cx="160338" cy="158750"/>
            </a:xfrm>
            <a:custGeom>
              <a:avLst/>
              <a:gdLst>
                <a:gd name="T0" fmla="*/ 43 w 79"/>
                <a:gd name="T1" fmla="*/ 13 h 79"/>
                <a:gd name="T2" fmla="*/ 53 w 79"/>
                <a:gd name="T3" fmla="*/ 8 h 79"/>
                <a:gd name="T4" fmla="*/ 53 w 79"/>
                <a:gd name="T5" fmla="*/ 17 h 79"/>
                <a:gd name="T6" fmla="*/ 64 w 79"/>
                <a:gd name="T7" fmla="*/ 15 h 79"/>
                <a:gd name="T8" fmla="*/ 64 w 79"/>
                <a:gd name="T9" fmla="*/ 16 h 79"/>
                <a:gd name="T10" fmla="*/ 71 w 79"/>
                <a:gd name="T11" fmla="*/ 26 h 79"/>
                <a:gd name="T12" fmla="*/ 72 w 79"/>
                <a:gd name="T13" fmla="*/ 27 h 79"/>
                <a:gd name="T14" fmla="*/ 74 w 79"/>
                <a:gd name="T15" fmla="*/ 39 h 79"/>
                <a:gd name="T16" fmla="*/ 74 w 79"/>
                <a:gd name="T17" fmla="*/ 40 h 79"/>
                <a:gd name="T18" fmla="*/ 72 w 79"/>
                <a:gd name="T19" fmla="*/ 51 h 79"/>
                <a:gd name="T20" fmla="*/ 72 w 79"/>
                <a:gd name="T21" fmla="*/ 52 h 79"/>
                <a:gd name="T22" fmla="*/ 62 w 79"/>
                <a:gd name="T23" fmla="*/ 55 h 79"/>
                <a:gd name="T24" fmla="*/ 65 w 79"/>
                <a:gd name="T25" fmla="*/ 64 h 79"/>
                <a:gd name="T26" fmla="*/ 55 w 79"/>
                <a:gd name="T27" fmla="*/ 61 h 79"/>
                <a:gd name="T28" fmla="*/ 54 w 79"/>
                <a:gd name="T29" fmla="*/ 71 h 79"/>
                <a:gd name="T30" fmla="*/ 46 w 79"/>
                <a:gd name="T31" fmla="*/ 65 h 79"/>
                <a:gd name="T32" fmla="*/ 41 w 79"/>
                <a:gd name="T33" fmla="*/ 74 h 79"/>
                <a:gd name="T34" fmla="*/ 40 w 79"/>
                <a:gd name="T35" fmla="*/ 73 h 79"/>
                <a:gd name="T36" fmla="*/ 28 w 79"/>
                <a:gd name="T37" fmla="*/ 71 h 79"/>
                <a:gd name="T38" fmla="*/ 27 w 79"/>
                <a:gd name="T39" fmla="*/ 72 h 79"/>
                <a:gd name="T40" fmla="*/ 17 w 79"/>
                <a:gd name="T41" fmla="*/ 64 h 79"/>
                <a:gd name="T42" fmla="*/ 16 w 79"/>
                <a:gd name="T43" fmla="*/ 64 h 79"/>
                <a:gd name="T44" fmla="*/ 14 w 79"/>
                <a:gd name="T45" fmla="*/ 53 h 79"/>
                <a:gd name="T46" fmla="*/ 8 w 79"/>
                <a:gd name="T47" fmla="*/ 53 h 79"/>
                <a:gd name="T48" fmla="*/ 14 w 79"/>
                <a:gd name="T49" fmla="*/ 44 h 79"/>
                <a:gd name="T50" fmla="*/ 6 w 79"/>
                <a:gd name="T51" fmla="*/ 40 h 79"/>
                <a:gd name="T52" fmla="*/ 14 w 79"/>
                <a:gd name="T53" fmla="*/ 34 h 79"/>
                <a:gd name="T54" fmla="*/ 8 w 79"/>
                <a:gd name="T55" fmla="*/ 27 h 79"/>
                <a:gd name="T56" fmla="*/ 17 w 79"/>
                <a:gd name="T57" fmla="*/ 27 h 79"/>
                <a:gd name="T58" fmla="*/ 15 w 79"/>
                <a:gd name="T59" fmla="*/ 16 h 79"/>
                <a:gd name="T60" fmla="*/ 23 w 79"/>
                <a:gd name="T61" fmla="*/ 19 h 79"/>
                <a:gd name="T62" fmla="*/ 26 w 79"/>
                <a:gd name="T63" fmla="*/ 8 h 79"/>
                <a:gd name="T64" fmla="*/ 27 w 79"/>
                <a:gd name="T65" fmla="*/ 9 h 79"/>
                <a:gd name="T66" fmla="*/ 39 w 79"/>
                <a:gd name="T67" fmla="*/ 6 h 79"/>
                <a:gd name="T68" fmla="*/ 40 w 79"/>
                <a:gd name="T69" fmla="*/ 0 h 79"/>
                <a:gd name="T70" fmla="*/ 39 w 79"/>
                <a:gd name="T71" fmla="*/ 0 h 79"/>
                <a:gd name="T72" fmla="*/ 27 w 79"/>
                <a:gd name="T73" fmla="*/ 3 h 79"/>
                <a:gd name="T74" fmla="*/ 21 w 79"/>
                <a:gd name="T75" fmla="*/ 10 h 79"/>
                <a:gd name="T76" fmla="*/ 12 w 79"/>
                <a:gd name="T77" fmla="*/ 12 h 79"/>
                <a:gd name="T78" fmla="*/ 13 w 79"/>
                <a:gd name="T79" fmla="*/ 23 h 79"/>
                <a:gd name="T80" fmla="*/ 3 w 79"/>
                <a:gd name="T81" fmla="*/ 25 h 79"/>
                <a:gd name="T82" fmla="*/ 8 w 79"/>
                <a:gd name="T83" fmla="*/ 34 h 79"/>
                <a:gd name="T84" fmla="*/ 6 w 79"/>
                <a:gd name="T85" fmla="*/ 45 h 79"/>
                <a:gd name="T86" fmla="*/ 4 w 79"/>
                <a:gd name="T87" fmla="*/ 55 h 79"/>
                <a:gd name="T88" fmla="*/ 12 w 79"/>
                <a:gd name="T89" fmla="*/ 61 h 79"/>
                <a:gd name="T90" fmla="*/ 20 w 79"/>
                <a:gd name="T91" fmla="*/ 68 h 79"/>
                <a:gd name="T92" fmla="*/ 26 w 79"/>
                <a:gd name="T93" fmla="*/ 77 h 79"/>
                <a:gd name="T94" fmla="*/ 35 w 79"/>
                <a:gd name="T95" fmla="*/ 74 h 79"/>
                <a:gd name="T96" fmla="*/ 46 w 79"/>
                <a:gd name="T97" fmla="*/ 74 h 79"/>
                <a:gd name="T98" fmla="*/ 56 w 79"/>
                <a:gd name="T99" fmla="*/ 76 h 79"/>
                <a:gd name="T100" fmla="*/ 61 w 79"/>
                <a:gd name="T101" fmla="*/ 67 h 79"/>
                <a:gd name="T102" fmla="*/ 69 w 79"/>
                <a:gd name="T103" fmla="*/ 59 h 79"/>
                <a:gd name="T104" fmla="*/ 72 w 79"/>
                <a:gd name="T105" fmla="*/ 57 h 79"/>
                <a:gd name="T106" fmla="*/ 73 w 79"/>
                <a:gd name="T107" fmla="*/ 46 h 79"/>
                <a:gd name="T108" fmla="*/ 79 w 79"/>
                <a:gd name="T109" fmla="*/ 40 h 79"/>
                <a:gd name="T110" fmla="*/ 76 w 79"/>
                <a:gd name="T111" fmla="*/ 25 h 79"/>
                <a:gd name="T112" fmla="*/ 67 w 79"/>
                <a:gd name="T113" fmla="*/ 22 h 79"/>
                <a:gd name="T114" fmla="*/ 66 w 79"/>
                <a:gd name="T115" fmla="*/ 14 h 79"/>
                <a:gd name="T116" fmla="*/ 58 w 79"/>
                <a:gd name="T117" fmla="*/ 13 h 79"/>
                <a:gd name="T118" fmla="*/ 52 w 79"/>
                <a:gd name="T119" fmla="*/ 3 h 79"/>
                <a:gd name="T120" fmla="*/ 40 w 79"/>
                <a:gd name="T1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 h="79">
                  <a:moveTo>
                    <a:pt x="39" y="5"/>
                  </a:moveTo>
                  <a:cubicBezTo>
                    <a:pt x="40" y="5"/>
                    <a:pt x="40" y="5"/>
                    <a:pt x="40" y="5"/>
                  </a:cubicBezTo>
                  <a:cubicBezTo>
                    <a:pt x="40" y="6"/>
                    <a:pt x="40" y="6"/>
                    <a:pt x="40" y="6"/>
                  </a:cubicBezTo>
                  <a:cubicBezTo>
                    <a:pt x="40" y="9"/>
                    <a:pt x="41" y="12"/>
                    <a:pt x="43" y="13"/>
                  </a:cubicBezTo>
                  <a:cubicBezTo>
                    <a:pt x="44" y="14"/>
                    <a:pt x="44" y="14"/>
                    <a:pt x="45" y="14"/>
                  </a:cubicBezTo>
                  <a:cubicBezTo>
                    <a:pt x="48" y="14"/>
                    <a:pt x="52" y="9"/>
                    <a:pt x="52" y="8"/>
                  </a:cubicBezTo>
                  <a:cubicBezTo>
                    <a:pt x="52" y="8"/>
                    <a:pt x="52" y="8"/>
                    <a:pt x="52" y="8"/>
                  </a:cubicBezTo>
                  <a:cubicBezTo>
                    <a:pt x="53" y="8"/>
                    <a:pt x="53" y="8"/>
                    <a:pt x="53" y="8"/>
                  </a:cubicBezTo>
                  <a:cubicBezTo>
                    <a:pt x="53" y="8"/>
                    <a:pt x="53" y="8"/>
                    <a:pt x="53" y="8"/>
                  </a:cubicBezTo>
                  <a:cubicBezTo>
                    <a:pt x="53" y="8"/>
                    <a:pt x="53" y="8"/>
                    <a:pt x="53" y="8"/>
                  </a:cubicBezTo>
                  <a:cubicBezTo>
                    <a:pt x="53" y="8"/>
                    <a:pt x="53" y="9"/>
                    <a:pt x="53" y="9"/>
                  </a:cubicBezTo>
                  <a:cubicBezTo>
                    <a:pt x="52" y="11"/>
                    <a:pt x="52" y="15"/>
                    <a:pt x="53" y="17"/>
                  </a:cubicBezTo>
                  <a:cubicBezTo>
                    <a:pt x="53" y="17"/>
                    <a:pt x="54" y="18"/>
                    <a:pt x="54" y="18"/>
                  </a:cubicBezTo>
                  <a:cubicBezTo>
                    <a:pt x="55" y="18"/>
                    <a:pt x="55" y="18"/>
                    <a:pt x="56" y="18"/>
                  </a:cubicBezTo>
                  <a:cubicBezTo>
                    <a:pt x="58" y="18"/>
                    <a:pt x="61" y="17"/>
                    <a:pt x="63" y="16"/>
                  </a:cubicBezTo>
                  <a:cubicBezTo>
                    <a:pt x="64" y="15"/>
                    <a:pt x="64" y="15"/>
                    <a:pt x="64" y="15"/>
                  </a:cubicBezTo>
                  <a:cubicBezTo>
                    <a:pt x="64" y="15"/>
                    <a:pt x="64" y="15"/>
                    <a:pt x="64" y="15"/>
                  </a:cubicBezTo>
                  <a:cubicBezTo>
                    <a:pt x="64" y="16"/>
                    <a:pt x="64" y="16"/>
                    <a:pt x="64" y="16"/>
                  </a:cubicBezTo>
                  <a:cubicBezTo>
                    <a:pt x="64" y="16"/>
                    <a:pt x="64" y="16"/>
                    <a:pt x="64" y="16"/>
                  </a:cubicBezTo>
                  <a:cubicBezTo>
                    <a:pt x="64" y="16"/>
                    <a:pt x="64" y="16"/>
                    <a:pt x="64" y="16"/>
                  </a:cubicBezTo>
                  <a:cubicBezTo>
                    <a:pt x="63" y="18"/>
                    <a:pt x="61" y="21"/>
                    <a:pt x="61" y="24"/>
                  </a:cubicBezTo>
                  <a:cubicBezTo>
                    <a:pt x="61" y="24"/>
                    <a:pt x="61" y="25"/>
                    <a:pt x="62" y="25"/>
                  </a:cubicBezTo>
                  <a:cubicBezTo>
                    <a:pt x="63" y="26"/>
                    <a:pt x="65" y="27"/>
                    <a:pt x="67" y="27"/>
                  </a:cubicBezTo>
                  <a:cubicBezTo>
                    <a:pt x="68" y="27"/>
                    <a:pt x="69" y="27"/>
                    <a:pt x="71" y="26"/>
                  </a:cubicBezTo>
                  <a:cubicBezTo>
                    <a:pt x="72" y="26"/>
                    <a:pt x="72" y="26"/>
                    <a:pt x="72" y="26"/>
                  </a:cubicBezTo>
                  <a:cubicBezTo>
                    <a:pt x="72" y="27"/>
                    <a:pt x="72" y="27"/>
                    <a:pt x="72" y="27"/>
                  </a:cubicBezTo>
                  <a:cubicBezTo>
                    <a:pt x="72" y="27"/>
                    <a:pt x="72" y="27"/>
                    <a:pt x="72" y="27"/>
                  </a:cubicBezTo>
                  <a:cubicBezTo>
                    <a:pt x="72" y="27"/>
                    <a:pt x="72" y="27"/>
                    <a:pt x="72" y="27"/>
                  </a:cubicBezTo>
                  <a:cubicBezTo>
                    <a:pt x="72" y="27"/>
                    <a:pt x="71" y="27"/>
                    <a:pt x="71" y="28"/>
                  </a:cubicBezTo>
                  <a:cubicBezTo>
                    <a:pt x="70" y="28"/>
                    <a:pt x="67" y="30"/>
                    <a:pt x="66" y="33"/>
                  </a:cubicBezTo>
                  <a:cubicBezTo>
                    <a:pt x="65" y="34"/>
                    <a:pt x="65" y="34"/>
                    <a:pt x="66" y="35"/>
                  </a:cubicBezTo>
                  <a:cubicBezTo>
                    <a:pt x="67" y="38"/>
                    <a:pt x="73" y="39"/>
                    <a:pt x="74" y="39"/>
                  </a:cubicBezTo>
                  <a:cubicBezTo>
                    <a:pt x="74" y="39"/>
                    <a:pt x="74" y="40"/>
                    <a:pt x="74" y="40"/>
                  </a:cubicBezTo>
                  <a:cubicBezTo>
                    <a:pt x="74" y="40"/>
                    <a:pt x="74" y="40"/>
                    <a:pt x="74" y="40"/>
                  </a:cubicBezTo>
                  <a:cubicBezTo>
                    <a:pt x="74" y="40"/>
                    <a:pt x="74" y="40"/>
                    <a:pt x="74" y="40"/>
                  </a:cubicBezTo>
                  <a:cubicBezTo>
                    <a:pt x="74" y="40"/>
                    <a:pt x="74" y="40"/>
                    <a:pt x="74" y="40"/>
                  </a:cubicBezTo>
                  <a:cubicBezTo>
                    <a:pt x="74" y="40"/>
                    <a:pt x="74" y="40"/>
                    <a:pt x="73" y="41"/>
                  </a:cubicBezTo>
                  <a:cubicBezTo>
                    <a:pt x="71" y="41"/>
                    <a:pt x="68" y="42"/>
                    <a:pt x="67" y="43"/>
                  </a:cubicBezTo>
                  <a:cubicBezTo>
                    <a:pt x="66" y="44"/>
                    <a:pt x="66" y="45"/>
                    <a:pt x="66" y="46"/>
                  </a:cubicBezTo>
                  <a:cubicBezTo>
                    <a:pt x="67" y="48"/>
                    <a:pt x="70" y="50"/>
                    <a:pt x="72" y="51"/>
                  </a:cubicBezTo>
                  <a:cubicBezTo>
                    <a:pt x="72" y="51"/>
                    <a:pt x="72" y="51"/>
                    <a:pt x="72" y="51"/>
                  </a:cubicBezTo>
                  <a:cubicBezTo>
                    <a:pt x="72" y="52"/>
                    <a:pt x="72" y="52"/>
                    <a:pt x="72" y="52"/>
                  </a:cubicBezTo>
                  <a:cubicBezTo>
                    <a:pt x="72" y="52"/>
                    <a:pt x="72" y="52"/>
                    <a:pt x="72" y="52"/>
                  </a:cubicBezTo>
                  <a:cubicBezTo>
                    <a:pt x="72" y="52"/>
                    <a:pt x="72" y="52"/>
                    <a:pt x="72" y="52"/>
                  </a:cubicBezTo>
                  <a:cubicBezTo>
                    <a:pt x="72" y="52"/>
                    <a:pt x="72" y="52"/>
                    <a:pt x="71" y="52"/>
                  </a:cubicBezTo>
                  <a:cubicBezTo>
                    <a:pt x="70" y="52"/>
                    <a:pt x="69" y="52"/>
                    <a:pt x="68" y="52"/>
                  </a:cubicBezTo>
                  <a:cubicBezTo>
                    <a:pt x="65" y="52"/>
                    <a:pt x="63" y="52"/>
                    <a:pt x="62" y="54"/>
                  </a:cubicBezTo>
                  <a:cubicBezTo>
                    <a:pt x="62" y="54"/>
                    <a:pt x="62" y="55"/>
                    <a:pt x="62" y="55"/>
                  </a:cubicBezTo>
                  <a:cubicBezTo>
                    <a:pt x="62" y="58"/>
                    <a:pt x="63" y="61"/>
                    <a:pt x="65" y="62"/>
                  </a:cubicBezTo>
                  <a:cubicBezTo>
                    <a:pt x="65" y="63"/>
                    <a:pt x="65" y="63"/>
                    <a:pt x="65" y="63"/>
                  </a:cubicBezTo>
                  <a:cubicBezTo>
                    <a:pt x="65" y="63"/>
                    <a:pt x="65" y="63"/>
                    <a:pt x="65" y="63"/>
                  </a:cubicBezTo>
                  <a:cubicBezTo>
                    <a:pt x="65" y="64"/>
                    <a:pt x="65" y="64"/>
                    <a:pt x="65" y="64"/>
                  </a:cubicBezTo>
                  <a:cubicBezTo>
                    <a:pt x="65" y="64"/>
                    <a:pt x="65" y="64"/>
                    <a:pt x="65" y="64"/>
                  </a:cubicBezTo>
                  <a:cubicBezTo>
                    <a:pt x="64" y="63"/>
                    <a:pt x="64" y="63"/>
                    <a:pt x="64" y="63"/>
                  </a:cubicBezTo>
                  <a:cubicBezTo>
                    <a:pt x="62" y="62"/>
                    <a:pt x="59" y="61"/>
                    <a:pt x="57" y="61"/>
                  </a:cubicBezTo>
                  <a:cubicBezTo>
                    <a:pt x="56" y="61"/>
                    <a:pt x="56" y="61"/>
                    <a:pt x="55" y="61"/>
                  </a:cubicBezTo>
                  <a:cubicBezTo>
                    <a:pt x="55" y="61"/>
                    <a:pt x="54" y="62"/>
                    <a:pt x="54" y="62"/>
                  </a:cubicBezTo>
                  <a:cubicBezTo>
                    <a:pt x="53" y="65"/>
                    <a:pt x="53" y="68"/>
                    <a:pt x="54" y="70"/>
                  </a:cubicBezTo>
                  <a:cubicBezTo>
                    <a:pt x="54" y="71"/>
                    <a:pt x="54" y="71"/>
                    <a:pt x="54" y="71"/>
                  </a:cubicBezTo>
                  <a:cubicBezTo>
                    <a:pt x="54" y="71"/>
                    <a:pt x="54" y="71"/>
                    <a:pt x="54" y="71"/>
                  </a:cubicBezTo>
                  <a:cubicBezTo>
                    <a:pt x="54" y="71"/>
                    <a:pt x="54" y="71"/>
                    <a:pt x="54" y="71"/>
                  </a:cubicBezTo>
                  <a:cubicBezTo>
                    <a:pt x="54" y="71"/>
                    <a:pt x="54" y="71"/>
                    <a:pt x="54" y="71"/>
                  </a:cubicBezTo>
                  <a:cubicBezTo>
                    <a:pt x="53" y="71"/>
                    <a:pt x="53" y="71"/>
                    <a:pt x="53" y="71"/>
                  </a:cubicBezTo>
                  <a:cubicBezTo>
                    <a:pt x="53" y="70"/>
                    <a:pt x="49" y="65"/>
                    <a:pt x="46" y="65"/>
                  </a:cubicBezTo>
                  <a:cubicBezTo>
                    <a:pt x="46" y="65"/>
                    <a:pt x="46" y="65"/>
                    <a:pt x="46" y="65"/>
                  </a:cubicBezTo>
                  <a:cubicBezTo>
                    <a:pt x="45" y="65"/>
                    <a:pt x="45" y="66"/>
                    <a:pt x="44" y="66"/>
                  </a:cubicBezTo>
                  <a:cubicBezTo>
                    <a:pt x="42" y="68"/>
                    <a:pt x="42" y="71"/>
                    <a:pt x="41" y="73"/>
                  </a:cubicBezTo>
                  <a:cubicBezTo>
                    <a:pt x="41" y="74"/>
                    <a:pt x="41" y="74"/>
                    <a:pt x="41" y="74"/>
                  </a:cubicBezTo>
                  <a:cubicBezTo>
                    <a:pt x="41" y="74"/>
                    <a:pt x="41" y="74"/>
                    <a:pt x="41" y="74"/>
                  </a:cubicBezTo>
                  <a:cubicBezTo>
                    <a:pt x="40" y="74"/>
                    <a:pt x="40" y="74"/>
                    <a:pt x="40" y="74"/>
                  </a:cubicBezTo>
                  <a:cubicBezTo>
                    <a:pt x="40" y="74"/>
                    <a:pt x="40" y="74"/>
                    <a:pt x="40" y="74"/>
                  </a:cubicBezTo>
                  <a:cubicBezTo>
                    <a:pt x="40" y="74"/>
                    <a:pt x="40" y="74"/>
                    <a:pt x="40" y="73"/>
                  </a:cubicBezTo>
                  <a:cubicBezTo>
                    <a:pt x="40" y="73"/>
                    <a:pt x="39" y="67"/>
                    <a:pt x="35" y="66"/>
                  </a:cubicBezTo>
                  <a:cubicBezTo>
                    <a:pt x="35" y="66"/>
                    <a:pt x="35" y="66"/>
                    <a:pt x="35" y="66"/>
                  </a:cubicBezTo>
                  <a:cubicBezTo>
                    <a:pt x="34" y="66"/>
                    <a:pt x="34" y="66"/>
                    <a:pt x="34" y="66"/>
                  </a:cubicBezTo>
                  <a:cubicBezTo>
                    <a:pt x="31" y="67"/>
                    <a:pt x="29" y="69"/>
                    <a:pt x="28" y="71"/>
                  </a:cubicBezTo>
                  <a:cubicBezTo>
                    <a:pt x="28" y="72"/>
                    <a:pt x="28" y="72"/>
                    <a:pt x="28" y="72"/>
                  </a:cubicBezTo>
                  <a:cubicBezTo>
                    <a:pt x="27" y="72"/>
                    <a:pt x="27" y="72"/>
                    <a:pt x="27" y="72"/>
                  </a:cubicBezTo>
                  <a:cubicBezTo>
                    <a:pt x="27" y="72"/>
                    <a:pt x="27" y="72"/>
                    <a:pt x="27" y="72"/>
                  </a:cubicBezTo>
                  <a:cubicBezTo>
                    <a:pt x="27" y="72"/>
                    <a:pt x="27" y="72"/>
                    <a:pt x="27" y="72"/>
                  </a:cubicBezTo>
                  <a:cubicBezTo>
                    <a:pt x="27" y="71"/>
                    <a:pt x="27" y="71"/>
                    <a:pt x="27" y="71"/>
                  </a:cubicBezTo>
                  <a:cubicBezTo>
                    <a:pt x="27" y="70"/>
                    <a:pt x="28" y="64"/>
                    <a:pt x="26" y="62"/>
                  </a:cubicBezTo>
                  <a:cubicBezTo>
                    <a:pt x="25" y="61"/>
                    <a:pt x="25" y="61"/>
                    <a:pt x="24" y="61"/>
                  </a:cubicBezTo>
                  <a:cubicBezTo>
                    <a:pt x="22" y="61"/>
                    <a:pt x="19" y="63"/>
                    <a:pt x="17" y="64"/>
                  </a:cubicBezTo>
                  <a:cubicBezTo>
                    <a:pt x="16" y="65"/>
                    <a:pt x="16" y="65"/>
                    <a:pt x="16" y="65"/>
                  </a:cubicBezTo>
                  <a:cubicBezTo>
                    <a:pt x="16" y="64"/>
                    <a:pt x="16" y="64"/>
                    <a:pt x="16" y="64"/>
                  </a:cubicBezTo>
                  <a:cubicBezTo>
                    <a:pt x="16" y="64"/>
                    <a:pt x="16" y="64"/>
                    <a:pt x="16" y="64"/>
                  </a:cubicBezTo>
                  <a:cubicBezTo>
                    <a:pt x="16" y="64"/>
                    <a:pt x="16" y="64"/>
                    <a:pt x="16" y="64"/>
                  </a:cubicBezTo>
                  <a:cubicBezTo>
                    <a:pt x="16" y="63"/>
                    <a:pt x="16" y="63"/>
                    <a:pt x="16" y="63"/>
                  </a:cubicBezTo>
                  <a:cubicBezTo>
                    <a:pt x="16" y="63"/>
                    <a:pt x="20" y="58"/>
                    <a:pt x="18" y="55"/>
                  </a:cubicBezTo>
                  <a:cubicBezTo>
                    <a:pt x="18" y="54"/>
                    <a:pt x="18" y="54"/>
                    <a:pt x="17" y="53"/>
                  </a:cubicBezTo>
                  <a:cubicBezTo>
                    <a:pt x="16" y="53"/>
                    <a:pt x="15" y="53"/>
                    <a:pt x="14" y="53"/>
                  </a:cubicBezTo>
                  <a:cubicBezTo>
                    <a:pt x="12" y="53"/>
                    <a:pt x="11" y="53"/>
                    <a:pt x="9" y="53"/>
                  </a:cubicBezTo>
                  <a:cubicBezTo>
                    <a:pt x="8" y="54"/>
                    <a:pt x="8" y="54"/>
                    <a:pt x="8" y="54"/>
                  </a:cubicBezTo>
                  <a:cubicBezTo>
                    <a:pt x="8" y="53"/>
                    <a:pt x="8" y="53"/>
                    <a:pt x="8" y="53"/>
                  </a:cubicBezTo>
                  <a:cubicBezTo>
                    <a:pt x="8" y="53"/>
                    <a:pt x="8" y="53"/>
                    <a:pt x="8" y="53"/>
                  </a:cubicBezTo>
                  <a:cubicBezTo>
                    <a:pt x="8" y="53"/>
                    <a:pt x="8" y="53"/>
                    <a:pt x="8" y="53"/>
                  </a:cubicBezTo>
                  <a:cubicBezTo>
                    <a:pt x="9" y="52"/>
                    <a:pt x="9" y="52"/>
                    <a:pt x="9" y="52"/>
                  </a:cubicBezTo>
                  <a:cubicBezTo>
                    <a:pt x="9" y="52"/>
                    <a:pt x="14" y="49"/>
                    <a:pt x="14" y="45"/>
                  </a:cubicBezTo>
                  <a:cubicBezTo>
                    <a:pt x="14" y="45"/>
                    <a:pt x="14" y="44"/>
                    <a:pt x="14" y="44"/>
                  </a:cubicBezTo>
                  <a:cubicBezTo>
                    <a:pt x="12" y="42"/>
                    <a:pt x="9" y="41"/>
                    <a:pt x="6" y="41"/>
                  </a:cubicBezTo>
                  <a:cubicBezTo>
                    <a:pt x="6" y="40"/>
                    <a:pt x="6" y="40"/>
                    <a:pt x="6" y="40"/>
                  </a:cubicBezTo>
                  <a:cubicBezTo>
                    <a:pt x="6" y="40"/>
                    <a:pt x="6" y="40"/>
                    <a:pt x="6" y="40"/>
                  </a:cubicBezTo>
                  <a:cubicBezTo>
                    <a:pt x="6" y="40"/>
                    <a:pt x="6" y="40"/>
                    <a:pt x="6" y="40"/>
                  </a:cubicBezTo>
                  <a:cubicBezTo>
                    <a:pt x="6" y="40"/>
                    <a:pt x="6" y="40"/>
                    <a:pt x="6" y="40"/>
                  </a:cubicBezTo>
                  <a:cubicBezTo>
                    <a:pt x="6" y="40"/>
                    <a:pt x="6" y="39"/>
                    <a:pt x="6" y="39"/>
                  </a:cubicBezTo>
                  <a:cubicBezTo>
                    <a:pt x="8" y="39"/>
                    <a:pt x="12" y="38"/>
                    <a:pt x="13" y="36"/>
                  </a:cubicBezTo>
                  <a:cubicBezTo>
                    <a:pt x="14" y="36"/>
                    <a:pt x="14" y="34"/>
                    <a:pt x="14" y="34"/>
                  </a:cubicBezTo>
                  <a:cubicBezTo>
                    <a:pt x="13" y="31"/>
                    <a:pt x="10" y="29"/>
                    <a:pt x="8" y="28"/>
                  </a:cubicBezTo>
                  <a:cubicBezTo>
                    <a:pt x="8" y="28"/>
                    <a:pt x="8" y="28"/>
                    <a:pt x="8" y="28"/>
                  </a:cubicBezTo>
                  <a:cubicBezTo>
                    <a:pt x="8" y="28"/>
                    <a:pt x="8" y="28"/>
                    <a:pt x="8" y="28"/>
                  </a:cubicBezTo>
                  <a:cubicBezTo>
                    <a:pt x="8" y="27"/>
                    <a:pt x="8" y="27"/>
                    <a:pt x="8" y="27"/>
                  </a:cubicBezTo>
                  <a:cubicBezTo>
                    <a:pt x="8" y="27"/>
                    <a:pt x="8" y="27"/>
                    <a:pt x="8" y="27"/>
                  </a:cubicBezTo>
                  <a:cubicBezTo>
                    <a:pt x="8" y="27"/>
                    <a:pt x="8" y="27"/>
                    <a:pt x="9" y="27"/>
                  </a:cubicBezTo>
                  <a:cubicBezTo>
                    <a:pt x="10" y="28"/>
                    <a:pt x="11" y="28"/>
                    <a:pt x="13" y="28"/>
                  </a:cubicBezTo>
                  <a:cubicBezTo>
                    <a:pt x="14" y="28"/>
                    <a:pt x="16" y="27"/>
                    <a:pt x="17" y="27"/>
                  </a:cubicBezTo>
                  <a:cubicBezTo>
                    <a:pt x="17" y="27"/>
                    <a:pt x="18" y="26"/>
                    <a:pt x="18" y="26"/>
                  </a:cubicBezTo>
                  <a:cubicBezTo>
                    <a:pt x="19" y="22"/>
                    <a:pt x="16" y="18"/>
                    <a:pt x="15" y="17"/>
                  </a:cubicBezTo>
                  <a:cubicBezTo>
                    <a:pt x="15" y="16"/>
                    <a:pt x="15" y="16"/>
                    <a:pt x="15" y="16"/>
                  </a:cubicBezTo>
                  <a:cubicBezTo>
                    <a:pt x="15" y="16"/>
                    <a:pt x="15" y="16"/>
                    <a:pt x="15" y="16"/>
                  </a:cubicBezTo>
                  <a:cubicBezTo>
                    <a:pt x="15" y="16"/>
                    <a:pt x="15" y="16"/>
                    <a:pt x="15" y="16"/>
                  </a:cubicBezTo>
                  <a:cubicBezTo>
                    <a:pt x="15" y="16"/>
                    <a:pt x="15" y="16"/>
                    <a:pt x="15" y="16"/>
                  </a:cubicBezTo>
                  <a:cubicBezTo>
                    <a:pt x="16" y="16"/>
                    <a:pt x="16" y="16"/>
                    <a:pt x="16" y="16"/>
                  </a:cubicBezTo>
                  <a:cubicBezTo>
                    <a:pt x="18" y="17"/>
                    <a:pt x="21" y="19"/>
                    <a:pt x="23" y="19"/>
                  </a:cubicBezTo>
                  <a:cubicBezTo>
                    <a:pt x="23" y="19"/>
                    <a:pt x="23" y="19"/>
                    <a:pt x="23" y="19"/>
                  </a:cubicBezTo>
                  <a:cubicBezTo>
                    <a:pt x="24" y="19"/>
                    <a:pt x="25" y="19"/>
                    <a:pt x="25" y="18"/>
                  </a:cubicBezTo>
                  <a:cubicBezTo>
                    <a:pt x="27" y="16"/>
                    <a:pt x="26" y="10"/>
                    <a:pt x="26" y="9"/>
                  </a:cubicBezTo>
                  <a:cubicBezTo>
                    <a:pt x="26" y="8"/>
                    <a:pt x="26" y="8"/>
                    <a:pt x="26" y="8"/>
                  </a:cubicBezTo>
                  <a:cubicBezTo>
                    <a:pt x="26" y="8"/>
                    <a:pt x="26" y="8"/>
                    <a:pt x="26" y="8"/>
                  </a:cubicBezTo>
                  <a:cubicBezTo>
                    <a:pt x="26" y="8"/>
                    <a:pt x="26" y="8"/>
                    <a:pt x="26" y="8"/>
                  </a:cubicBezTo>
                  <a:cubicBezTo>
                    <a:pt x="27" y="8"/>
                    <a:pt x="27" y="8"/>
                    <a:pt x="27" y="8"/>
                  </a:cubicBezTo>
                  <a:cubicBezTo>
                    <a:pt x="27" y="8"/>
                    <a:pt x="27" y="8"/>
                    <a:pt x="27" y="9"/>
                  </a:cubicBezTo>
                  <a:cubicBezTo>
                    <a:pt x="28" y="11"/>
                    <a:pt x="31" y="13"/>
                    <a:pt x="33" y="14"/>
                  </a:cubicBezTo>
                  <a:cubicBezTo>
                    <a:pt x="33" y="14"/>
                    <a:pt x="33" y="14"/>
                    <a:pt x="34" y="14"/>
                  </a:cubicBezTo>
                  <a:cubicBezTo>
                    <a:pt x="34" y="14"/>
                    <a:pt x="34" y="14"/>
                    <a:pt x="34" y="14"/>
                  </a:cubicBezTo>
                  <a:cubicBezTo>
                    <a:pt x="38" y="13"/>
                    <a:pt x="39" y="7"/>
                    <a:pt x="39" y="6"/>
                  </a:cubicBezTo>
                  <a:cubicBezTo>
                    <a:pt x="39" y="5"/>
                    <a:pt x="39" y="5"/>
                    <a:pt x="39" y="5"/>
                  </a:cubicBezTo>
                  <a:cubicBezTo>
                    <a:pt x="39" y="5"/>
                    <a:pt x="39" y="5"/>
                    <a:pt x="39" y="5"/>
                  </a:cubicBezTo>
                  <a:cubicBezTo>
                    <a:pt x="39" y="5"/>
                    <a:pt x="39" y="5"/>
                    <a:pt x="39" y="5"/>
                  </a:cubicBezTo>
                  <a:moveTo>
                    <a:pt x="40" y="0"/>
                  </a:moveTo>
                  <a:cubicBezTo>
                    <a:pt x="40" y="0"/>
                    <a:pt x="40" y="0"/>
                    <a:pt x="40" y="0"/>
                  </a:cubicBezTo>
                  <a:cubicBezTo>
                    <a:pt x="40" y="3"/>
                    <a:pt x="40" y="3"/>
                    <a:pt x="40" y="3"/>
                  </a:cubicBezTo>
                  <a:cubicBezTo>
                    <a:pt x="39" y="0"/>
                    <a:pt x="39" y="0"/>
                    <a:pt x="39" y="0"/>
                  </a:cubicBezTo>
                  <a:cubicBezTo>
                    <a:pt x="39" y="0"/>
                    <a:pt x="39" y="0"/>
                    <a:pt x="39" y="0"/>
                  </a:cubicBezTo>
                  <a:cubicBezTo>
                    <a:pt x="36" y="0"/>
                    <a:pt x="34" y="2"/>
                    <a:pt x="34" y="5"/>
                  </a:cubicBezTo>
                  <a:cubicBezTo>
                    <a:pt x="34" y="7"/>
                    <a:pt x="33" y="8"/>
                    <a:pt x="33" y="8"/>
                  </a:cubicBezTo>
                  <a:cubicBezTo>
                    <a:pt x="33" y="8"/>
                    <a:pt x="32" y="7"/>
                    <a:pt x="31" y="6"/>
                  </a:cubicBezTo>
                  <a:cubicBezTo>
                    <a:pt x="30" y="4"/>
                    <a:pt x="29" y="3"/>
                    <a:pt x="27" y="3"/>
                  </a:cubicBezTo>
                  <a:cubicBezTo>
                    <a:pt x="26" y="3"/>
                    <a:pt x="25" y="3"/>
                    <a:pt x="24" y="4"/>
                  </a:cubicBezTo>
                  <a:cubicBezTo>
                    <a:pt x="25" y="6"/>
                    <a:pt x="25" y="6"/>
                    <a:pt x="25" y="6"/>
                  </a:cubicBezTo>
                  <a:cubicBezTo>
                    <a:pt x="24" y="4"/>
                    <a:pt x="24" y="4"/>
                    <a:pt x="24" y="4"/>
                  </a:cubicBezTo>
                  <a:cubicBezTo>
                    <a:pt x="23" y="4"/>
                    <a:pt x="20" y="5"/>
                    <a:pt x="21" y="10"/>
                  </a:cubicBezTo>
                  <a:cubicBezTo>
                    <a:pt x="21" y="12"/>
                    <a:pt x="21" y="13"/>
                    <a:pt x="21" y="13"/>
                  </a:cubicBezTo>
                  <a:cubicBezTo>
                    <a:pt x="21" y="13"/>
                    <a:pt x="20" y="13"/>
                    <a:pt x="19" y="12"/>
                  </a:cubicBezTo>
                  <a:cubicBezTo>
                    <a:pt x="18" y="11"/>
                    <a:pt x="16" y="11"/>
                    <a:pt x="15" y="11"/>
                  </a:cubicBezTo>
                  <a:cubicBezTo>
                    <a:pt x="13" y="11"/>
                    <a:pt x="12" y="12"/>
                    <a:pt x="12" y="12"/>
                  </a:cubicBezTo>
                  <a:cubicBezTo>
                    <a:pt x="13" y="14"/>
                    <a:pt x="13" y="14"/>
                    <a:pt x="13" y="14"/>
                  </a:cubicBezTo>
                  <a:cubicBezTo>
                    <a:pt x="11" y="13"/>
                    <a:pt x="11" y="13"/>
                    <a:pt x="11" y="13"/>
                  </a:cubicBezTo>
                  <a:cubicBezTo>
                    <a:pt x="11" y="13"/>
                    <a:pt x="8" y="16"/>
                    <a:pt x="11" y="20"/>
                  </a:cubicBezTo>
                  <a:cubicBezTo>
                    <a:pt x="12" y="21"/>
                    <a:pt x="12" y="22"/>
                    <a:pt x="13" y="23"/>
                  </a:cubicBezTo>
                  <a:cubicBezTo>
                    <a:pt x="13" y="23"/>
                    <a:pt x="13" y="23"/>
                    <a:pt x="13" y="23"/>
                  </a:cubicBezTo>
                  <a:cubicBezTo>
                    <a:pt x="12" y="23"/>
                    <a:pt x="11" y="23"/>
                    <a:pt x="10" y="22"/>
                  </a:cubicBezTo>
                  <a:cubicBezTo>
                    <a:pt x="9" y="22"/>
                    <a:pt x="8" y="22"/>
                    <a:pt x="8" y="22"/>
                  </a:cubicBezTo>
                  <a:cubicBezTo>
                    <a:pt x="5" y="22"/>
                    <a:pt x="4" y="25"/>
                    <a:pt x="3" y="25"/>
                  </a:cubicBezTo>
                  <a:cubicBezTo>
                    <a:pt x="6" y="26"/>
                    <a:pt x="6" y="26"/>
                    <a:pt x="6" y="26"/>
                  </a:cubicBezTo>
                  <a:cubicBezTo>
                    <a:pt x="3" y="26"/>
                    <a:pt x="3" y="26"/>
                    <a:pt x="3" y="26"/>
                  </a:cubicBezTo>
                  <a:cubicBezTo>
                    <a:pt x="3" y="27"/>
                    <a:pt x="1" y="30"/>
                    <a:pt x="6" y="33"/>
                  </a:cubicBezTo>
                  <a:cubicBezTo>
                    <a:pt x="6" y="33"/>
                    <a:pt x="7" y="33"/>
                    <a:pt x="8" y="34"/>
                  </a:cubicBezTo>
                  <a:cubicBezTo>
                    <a:pt x="7" y="34"/>
                    <a:pt x="6" y="34"/>
                    <a:pt x="6" y="34"/>
                  </a:cubicBezTo>
                  <a:cubicBezTo>
                    <a:pt x="0" y="35"/>
                    <a:pt x="0" y="39"/>
                    <a:pt x="1" y="40"/>
                  </a:cubicBezTo>
                  <a:cubicBezTo>
                    <a:pt x="1" y="40"/>
                    <a:pt x="1" y="40"/>
                    <a:pt x="1" y="40"/>
                  </a:cubicBezTo>
                  <a:cubicBezTo>
                    <a:pt x="1" y="41"/>
                    <a:pt x="1" y="45"/>
                    <a:pt x="6" y="45"/>
                  </a:cubicBezTo>
                  <a:cubicBezTo>
                    <a:pt x="7" y="46"/>
                    <a:pt x="8" y="46"/>
                    <a:pt x="8" y="46"/>
                  </a:cubicBezTo>
                  <a:cubicBezTo>
                    <a:pt x="8" y="47"/>
                    <a:pt x="7" y="48"/>
                    <a:pt x="6" y="48"/>
                  </a:cubicBezTo>
                  <a:cubicBezTo>
                    <a:pt x="2" y="51"/>
                    <a:pt x="3" y="54"/>
                    <a:pt x="4" y="55"/>
                  </a:cubicBezTo>
                  <a:cubicBezTo>
                    <a:pt x="4" y="55"/>
                    <a:pt x="4" y="55"/>
                    <a:pt x="4" y="55"/>
                  </a:cubicBezTo>
                  <a:cubicBezTo>
                    <a:pt x="4" y="56"/>
                    <a:pt x="5" y="59"/>
                    <a:pt x="8" y="59"/>
                  </a:cubicBezTo>
                  <a:cubicBezTo>
                    <a:pt x="9" y="59"/>
                    <a:pt x="10" y="59"/>
                    <a:pt x="11" y="58"/>
                  </a:cubicBezTo>
                  <a:cubicBezTo>
                    <a:pt x="11" y="58"/>
                    <a:pt x="12" y="58"/>
                    <a:pt x="13" y="58"/>
                  </a:cubicBezTo>
                  <a:cubicBezTo>
                    <a:pt x="13" y="59"/>
                    <a:pt x="13" y="60"/>
                    <a:pt x="12" y="61"/>
                  </a:cubicBezTo>
                  <a:cubicBezTo>
                    <a:pt x="9" y="65"/>
                    <a:pt x="12" y="67"/>
                    <a:pt x="12" y="68"/>
                  </a:cubicBezTo>
                  <a:cubicBezTo>
                    <a:pt x="13" y="68"/>
                    <a:pt x="13" y="68"/>
                    <a:pt x="13" y="68"/>
                  </a:cubicBezTo>
                  <a:cubicBezTo>
                    <a:pt x="13" y="69"/>
                    <a:pt x="14" y="70"/>
                    <a:pt x="16" y="70"/>
                  </a:cubicBezTo>
                  <a:cubicBezTo>
                    <a:pt x="17" y="70"/>
                    <a:pt x="19" y="69"/>
                    <a:pt x="20" y="68"/>
                  </a:cubicBezTo>
                  <a:cubicBezTo>
                    <a:pt x="21" y="68"/>
                    <a:pt x="22" y="67"/>
                    <a:pt x="22" y="67"/>
                  </a:cubicBezTo>
                  <a:cubicBezTo>
                    <a:pt x="22" y="68"/>
                    <a:pt x="22" y="69"/>
                    <a:pt x="22" y="70"/>
                  </a:cubicBezTo>
                  <a:cubicBezTo>
                    <a:pt x="21" y="75"/>
                    <a:pt x="24" y="76"/>
                    <a:pt x="25" y="76"/>
                  </a:cubicBezTo>
                  <a:cubicBezTo>
                    <a:pt x="26" y="77"/>
                    <a:pt x="26" y="77"/>
                    <a:pt x="26" y="77"/>
                  </a:cubicBezTo>
                  <a:cubicBezTo>
                    <a:pt x="26" y="77"/>
                    <a:pt x="27" y="77"/>
                    <a:pt x="28" y="77"/>
                  </a:cubicBezTo>
                  <a:cubicBezTo>
                    <a:pt x="30" y="77"/>
                    <a:pt x="31" y="76"/>
                    <a:pt x="33" y="74"/>
                  </a:cubicBezTo>
                  <a:cubicBezTo>
                    <a:pt x="33" y="73"/>
                    <a:pt x="34" y="72"/>
                    <a:pt x="34" y="71"/>
                  </a:cubicBezTo>
                  <a:cubicBezTo>
                    <a:pt x="35" y="72"/>
                    <a:pt x="35" y="73"/>
                    <a:pt x="35" y="74"/>
                  </a:cubicBezTo>
                  <a:cubicBezTo>
                    <a:pt x="36" y="78"/>
                    <a:pt x="38" y="79"/>
                    <a:pt x="40" y="79"/>
                  </a:cubicBezTo>
                  <a:cubicBezTo>
                    <a:pt x="41" y="79"/>
                    <a:pt x="41" y="79"/>
                    <a:pt x="41" y="79"/>
                  </a:cubicBezTo>
                  <a:cubicBezTo>
                    <a:pt x="41" y="79"/>
                    <a:pt x="41" y="79"/>
                    <a:pt x="41" y="79"/>
                  </a:cubicBezTo>
                  <a:cubicBezTo>
                    <a:pt x="42" y="79"/>
                    <a:pt x="46" y="79"/>
                    <a:pt x="46" y="74"/>
                  </a:cubicBezTo>
                  <a:cubicBezTo>
                    <a:pt x="46" y="73"/>
                    <a:pt x="47" y="72"/>
                    <a:pt x="47" y="71"/>
                  </a:cubicBezTo>
                  <a:cubicBezTo>
                    <a:pt x="47" y="72"/>
                    <a:pt x="48" y="72"/>
                    <a:pt x="49" y="73"/>
                  </a:cubicBezTo>
                  <a:cubicBezTo>
                    <a:pt x="49" y="74"/>
                    <a:pt x="51" y="77"/>
                    <a:pt x="53" y="77"/>
                  </a:cubicBezTo>
                  <a:cubicBezTo>
                    <a:pt x="54" y="77"/>
                    <a:pt x="55" y="76"/>
                    <a:pt x="56" y="76"/>
                  </a:cubicBezTo>
                  <a:cubicBezTo>
                    <a:pt x="56" y="76"/>
                    <a:pt x="56" y="76"/>
                    <a:pt x="56" y="76"/>
                  </a:cubicBezTo>
                  <a:cubicBezTo>
                    <a:pt x="57" y="75"/>
                    <a:pt x="61" y="74"/>
                    <a:pt x="59" y="69"/>
                  </a:cubicBezTo>
                  <a:cubicBezTo>
                    <a:pt x="59" y="68"/>
                    <a:pt x="59" y="67"/>
                    <a:pt x="58" y="66"/>
                  </a:cubicBezTo>
                  <a:cubicBezTo>
                    <a:pt x="59" y="66"/>
                    <a:pt x="60" y="67"/>
                    <a:pt x="61" y="67"/>
                  </a:cubicBezTo>
                  <a:cubicBezTo>
                    <a:pt x="63" y="68"/>
                    <a:pt x="64" y="69"/>
                    <a:pt x="65" y="69"/>
                  </a:cubicBezTo>
                  <a:cubicBezTo>
                    <a:pt x="65" y="69"/>
                    <a:pt x="65" y="69"/>
                    <a:pt x="65" y="69"/>
                  </a:cubicBezTo>
                  <a:cubicBezTo>
                    <a:pt x="67" y="69"/>
                    <a:pt x="68" y="67"/>
                    <a:pt x="69" y="67"/>
                  </a:cubicBezTo>
                  <a:cubicBezTo>
                    <a:pt x="70" y="66"/>
                    <a:pt x="72" y="63"/>
                    <a:pt x="69" y="59"/>
                  </a:cubicBezTo>
                  <a:cubicBezTo>
                    <a:pt x="68" y="58"/>
                    <a:pt x="68" y="58"/>
                    <a:pt x="67" y="57"/>
                  </a:cubicBezTo>
                  <a:cubicBezTo>
                    <a:pt x="67" y="57"/>
                    <a:pt x="68" y="57"/>
                    <a:pt x="68" y="57"/>
                  </a:cubicBezTo>
                  <a:cubicBezTo>
                    <a:pt x="69" y="57"/>
                    <a:pt x="70" y="57"/>
                    <a:pt x="70" y="57"/>
                  </a:cubicBezTo>
                  <a:cubicBezTo>
                    <a:pt x="71" y="57"/>
                    <a:pt x="72" y="57"/>
                    <a:pt x="72" y="57"/>
                  </a:cubicBezTo>
                  <a:cubicBezTo>
                    <a:pt x="76" y="57"/>
                    <a:pt x="76" y="55"/>
                    <a:pt x="77" y="54"/>
                  </a:cubicBezTo>
                  <a:cubicBezTo>
                    <a:pt x="77" y="53"/>
                    <a:pt x="77" y="53"/>
                    <a:pt x="77" y="53"/>
                  </a:cubicBezTo>
                  <a:cubicBezTo>
                    <a:pt x="77" y="52"/>
                    <a:pt x="79" y="49"/>
                    <a:pt x="74" y="47"/>
                  </a:cubicBezTo>
                  <a:cubicBezTo>
                    <a:pt x="73" y="46"/>
                    <a:pt x="73" y="46"/>
                    <a:pt x="73" y="46"/>
                  </a:cubicBezTo>
                  <a:cubicBezTo>
                    <a:pt x="73" y="46"/>
                    <a:pt x="74" y="46"/>
                    <a:pt x="74" y="46"/>
                  </a:cubicBezTo>
                  <a:cubicBezTo>
                    <a:pt x="79" y="45"/>
                    <a:pt x="79" y="41"/>
                    <a:pt x="79" y="40"/>
                  </a:cubicBezTo>
                  <a:cubicBezTo>
                    <a:pt x="77" y="40"/>
                    <a:pt x="77" y="40"/>
                    <a:pt x="77" y="40"/>
                  </a:cubicBezTo>
                  <a:cubicBezTo>
                    <a:pt x="79" y="40"/>
                    <a:pt x="79" y="40"/>
                    <a:pt x="79" y="40"/>
                  </a:cubicBezTo>
                  <a:cubicBezTo>
                    <a:pt x="79" y="39"/>
                    <a:pt x="79" y="35"/>
                    <a:pt x="74" y="34"/>
                  </a:cubicBezTo>
                  <a:cubicBezTo>
                    <a:pt x="73" y="34"/>
                    <a:pt x="72" y="34"/>
                    <a:pt x="71" y="34"/>
                  </a:cubicBezTo>
                  <a:cubicBezTo>
                    <a:pt x="72" y="33"/>
                    <a:pt x="73" y="32"/>
                    <a:pt x="74" y="32"/>
                  </a:cubicBezTo>
                  <a:cubicBezTo>
                    <a:pt x="78" y="29"/>
                    <a:pt x="77" y="26"/>
                    <a:pt x="76" y="25"/>
                  </a:cubicBezTo>
                  <a:cubicBezTo>
                    <a:pt x="76" y="25"/>
                    <a:pt x="76" y="25"/>
                    <a:pt x="76" y="25"/>
                  </a:cubicBezTo>
                  <a:cubicBezTo>
                    <a:pt x="76" y="24"/>
                    <a:pt x="75" y="21"/>
                    <a:pt x="72" y="21"/>
                  </a:cubicBezTo>
                  <a:cubicBezTo>
                    <a:pt x="71" y="21"/>
                    <a:pt x="70" y="21"/>
                    <a:pt x="70" y="22"/>
                  </a:cubicBezTo>
                  <a:cubicBezTo>
                    <a:pt x="69" y="22"/>
                    <a:pt x="68" y="22"/>
                    <a:pt x="67" y="22"/>
                  </a:cubicBezTo>
                  <a:cubicBezTo>
                    <a:pt x="67" y="22"/>
                    <a:pt x="67" y="22"/>
                    <a:pt x="67" y="22"/>
                  </a:cubicBezTo>
                  <a:cubicBezTo>
                    <a:pt x="67" y="21"/>
                    <a:pt x="67" y="20"/>
                    <a:pt x="68" y="19"/>
                  </a:cubicBezTo>
                  <a:cubicBezTo>
                    <a:pt x="71" y="15"/>
                    <a:pt x="69" y="13"/>
                    <a:pt x="68" y="12"/>
                  </a:cubicBezTo>
                  <a:cubicBezTo>
                    <a:pt x="66" y="14"/>
                    <a:pt x="66" y="14"/>
                    <a:pt x="66" y="14"/>
                  </a:cubicBezTo>
                  <a:cubicBezTo>
                    <a:pt x="68" y="12"/>
                    <a:pt x="68" y="12"/>
                    <a:pt x="68" y="12"/>
                  </a:cubicBezTo>
                  <a:cubicBezTo>
                    <a:pt x="67" y="11"/>
                    <a:pt x="66" y="10"/>
                    <a:pt x="64" y="10"/>
                  </a:cubicBezTo>
                  <a:cubicBezTo>
                    <a:pt x="63" y="10"/>
                    <a:pt x="62" y="10"/>
                    <a:pt x="60" y="11"/>
                  </a:cubicBezTo>
                  <a:cubicBezTo>
                    <a:pt x="59" y="12"/>
                    <a:pt x="58" y="13"/>
                    <a:pt x="58" y="13"/>
                  </a:cubicBezTo>
                  <a:cubicBezTo>
                    <a:pt x="58" y="12"/>
                    <a:pt x="58" y="11"/>
                    <a:pt x="58" y="10"/>
                  </a:cubicBezTo>
                  <a:cubicBezTo>
                    <a:pt x="59" y="5"/>
                    <a:pt x="56" y="4"/>
                    <a:pt x="55" y="3"/>
                  </a:cubicBezTo>
                  <a:cubicBezTo>
                    <a:pt x="55" y="3"/>
                    <a:pt x="55" y="3"/>
                    <a:pt x="55" y="3"/>
                  </a:cubicBezTo>
                  <a:cubicBezTo>
                    <a:pt x="54" y="3"/>
                    <a:pt x="53" y="3"/>
                    <a:pt x="52" y="3"/>
                  </a:cubicBezTo>
                  <a:cubicBezTo>
                    <a:pt x="50" y="3"/>
                    <a:pt x="48" y="5"/>
                    <a:pt x="48" y="6"/>
                  </a:cubicBezTo>
                  <a:cubicBezTo>
                    <a:pt x="47" y="7"/>
                    <a:pt x="46" y="8"/>
                    <a:pt x="46" y="8"/>
                  </a:cubicBezTo>
                  <a:cubicBezTo>
                    <a:pt x="45" y="7"/>
                    <a:pt x="45" y="7"/>
                    <a:pt x="45" y="6"/>
                  </a:cubicBezTo>
                  <a:cubicBezTo>
                    <a:pt x="45" y="2"/>
                    <a:pt x="43" y="0"/>
                    <a:pt x="4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2" name="Freeform 21281">
              <a:extLst>
                <a:ext uri="{FF2B5EF4-FFF2-40B4-BE49-F238E27FC236}">
                  <a16:creationId xmlns:a16="http://schemas.microsoft.com/office/drawing/2014/main" id="{843F8174-12F7-4063-99EC-5EE6A203B629}"/>
                </a:ext>
              </a:extLst>
            </p:cNvPr>
            <p:cNvSpPr>
              <a:spLocks noEditPoints="1"/>
            </p:cNvSpPr>
            <p:nvPr userDrawn="1"/>
          </p:nvSpPr>
          <p:spPr bwMode="auto">
            <a:xfrm>
              <a:off x="10645140" y="5582603"/>
              <a:ext cx="69850" cy="71438"/>
            </a:xfrm>
            <a:custGeom>
              <a:avLst/>
              <a:gdLst>
                <a:gd name="T0" fmla="*/ 25 w 34"/>
                <a:gd name="T1" fmla="*/ 33 h 36"/>
                <a:gd name="T2" fmla="*/ 3 w 34"/>
                <a:gd name="T3" fmla="*/ 4 h 36"/>
                <a:gd name="T4" fmla="*/ 11 w 34"/>
                <a:gd name="T5" fmla="*/ 3 h 36"/>
                <a:gd name="T6" fmla="*/ 25 w 34"/>
                <a:gd name="T7" fmla="*/ 9 h 36"/>
                <a:gd name="T8" fmla="*/ 25 w 34"/>
                <a:gd name="T9" fmla="*/ 33 h 36"/>
                <a:gd name="T10" fmla="*/ 11 w 34"/>
                <a:gd name="T11" fmla="*/ 0 h 36"/>
                <a:gd name="T12" fmla="*/ 1 w 34"/>
                <a:gd name="T13" fmla="*/ 3 h 36"/>
                <a:gd name="T14" fmla="*/ 0 w 34"/>
                <a:gd name="T15" fmla="*/ 4 h 36"/>
                <a:gd name="T16" fmla="*/ 1 w 34"/>
                <a:gd name="T17" fmla="*/ 5 h 36"/>
                <a:gd name="T18" fmla="*/ 24 w 34"/>
                <a:gd name="T19" fmla="*/ 36 h 36"/>
                <a:gd name="T20" fmla="*/ 24 w 34"/>
                <a:gd name="T21" fmla="*/ 36 h 36"/>
                <a:gd name="T22" fmla="*/ 25 w 34"/>
                <a:gd name="T23" fmla="*/ 36 h 36"/>
                <a:gd name="T24" fmla="*/ 25 w 34"/>
                <a:gd name="T25" fmla="*/ 36 h 36"/>
                <a:gd name="T26" fmla="*/ 27 w 34"/>
                <a:gd name="T27" fmla="*/ 8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9" y="3"/>
                    <a:pt x="11" y="3"/>
                  </a:cubicBezTo>
                  <a:cubicBezTo>
                    <a:pt x="17" y="3"/>
                    <a:pt x="22" y="5"/>
                    <a:pt x="25" y="9"/>
                  </a:cubicBezTo>
                  <a:cubicBezTo>
                    <a:pt x="31" y="16"/>
                    <a:pt x="31" y="27"/>
                    <a:pt x="25" y="33"/>
                  </a:cubicBezTo>
                  <a:moveTo>
                    <a:pt x="11" y="0"/>
                  </a:moveTo>
                  <a:cubicBezTo>
                    <a:pt x="8" y="0"/>
                    <a:pt x="4" y="1"/>
                    <a:pt x="1" y="3"/>
                  </a:cubicBezTo>
                  <a:cubicBezTo>
                    <a:pt x="0" y="4"/>
                    <a:pt x="0" y="4"/>
                    <a:pt x="0" y="4"/>
                  </a:cubicBezTo>
                  <a:cubicBezTo>
                    <a:pt x="1" y="5"/>
                    <a:pt x="1" y="5"/>
                    <a:pt x="1" y="5"/>
                  </a:cubicBezTo>
                  <a:cubicBezTo>
                    <a:pt x="24" y="36"/>
                    <a:pt x="24" y="36"/>
                    <a:pt x="24" y="36"/>
                  </a:cubicBezTo>
                  <a:cubicBezTo>
                    <a:pt x="24" y="36"/>
                    <a:pt x="24" y="36"/>
                    <a:pt x="24" y="36"/>
                  </a:cubicBezTo>
                  <a:cubicBezTo>
                    <a:pt x="25" y="36"/>
                    <a:pt x="25" y="36"/>
                    <a:pt x="25" y="36"/>
                  </a:cubicBezTo>
                  <a:cubicBezTo>
                    <a:pt x="25" y="36"/>
                    <a:pt x="25" y="36"/>
                    <a:pt x="25" y="36"/>
                  </a:cubicBezTo>
                  <a:cubicBezTo>
                    <a:pt x="33" y="29"/>
                    <a:pt x="34" y="16"/>
                    <a:pt x="27" y="8"/>
                  </a:cubicBezTo>
                  <a:cubicBezTo>
                    <a:pt x="23" y="3"/>
                    <a:pt x="18"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3" name="Freeform 21282">
              <a:extLst>
                <a:ext uri="{FF2B5EF4-FFF2-40B4-BE49-F238E27FC236}">
                  <a16:creationId xmlns:a16="http://schemas.microsoft.com/office/drawing/2014/main" id="{CD881AEF-9681-42D6-9B2C-4EE10702C4AF}"/>
                </a:ext>
              </a:extLst>
            </p:cNvPr>
            <p:cNvSpPr>
              <a:spLocks noEditPoints="1"/>
            </p:cNvSpPr>
            <p:nvPr userDrawn="1"/>
          </p:nvSpPr>
          <p:spPr bwMode="auto">
            <a:xfrm>
              <a:off x="10621328" y="5592128"/>
              <a:ext cx="68263" cy="74613"/>
            </a:xfrm>
            <a:custGeom>
              <a:avLst/>
              <a:gdLst>
                <a:gd name="T0" fmla="*/ 23 w 34"/>
                <a:gd name="T1" fmla="*/ 34 h 37"/>
                <a:gd name="T2" fmla="*/ 9 w 34"/>
                <a:gd name="T3" fmla="*/ 27 h 37"/>
                <a:gd name="T4" fmla="*/ 10 w 34"/>
                <a:gd name="T5" fmla="*/ 4 h 37"/>
                <a:gd name="T6" fmla="*/ 31 w 34"/>
                <a:gd name="T7" fmla="*/ 32 h 37"/>
                <a:gd name="T8" fmla="*/ 23 w 34"/>
                <a:gd name="T9" fmla="*/ 34 h 37"/>
                <a:gd name="T10" fmla="*/ 10 w 34"/>
                <a:gd name="T11" fmla="*/ 0 h 37"/>
                <a:gd name="T12" fmla="*/ 9 w 34"/>
                <a:gd name="T13" fmla="*/ 1 h 37"/>
                <a:gd name="T14" fmla="*/ 7 w 34"/>
                <a:gd name="T15" fmla="*/ 29 h 37"/>
                <a:gd name="T16" fmla="*/ 23 w 34"/>
                <a:gd name="T17" fmla="*/ 37 h 37"/>
                <a:gd name="T18" fmla="*/ 34 w 34"/>
                <a:gd name="T19" fmla="*/ 34 h 37"/>
                <a:gd name="T20" fmla="*/ 34 w 34"/>
                <a:gd name="T21" fmla="*/ 33 h 37"/>
                <a:gd name="T22" fmla="*/ 34 w 34"/>
                <a:gd name="T23" fmla="*/ 32 h 37"/>
                <a:gd name="T24" fmla="*/ 11 w 34"/>
                <a:gd name="T25" fmla="*/ 1 h 37"/>
                <a:gd name="T26" fmla="*/ 10 w 34"/>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4"/>
                  </a:moveTo>
                  <a:cubicBezTo>
                    <a:pt x="18" y="34"/>
                    <a:pt x="13" y="32"/>
                    <a:pt x="9" y="27"/>
                  </a:cubicBezTo>
                  <a:cubicBezTo>
                    <a:pt x="3" y="20"/>
                    <a:pt x="4" y="10"/>
                    <a:pt x="10" y="4"/>
                  </a:cubicBezTo>
                  <a:cubicBezTo>
                    <a:pt x="31" y="32"/>
                    <a:pt x="31" y="32"/>
                    <a:pt x="31" y="32"/>
                  </a:cubicBezTo>
                  <a:cubicBezTo>
                    <a:pt x="29" y="34"/>
                    <a:pt x="26" y="34"/>
                    <a:pt x="23" y="34"/>
                  </a:cubicBezTo>
                  <a:moveTo>
                    <a:pt x="10" y="0"/>
                  </a:moveTo>
                  <a:cubicBezTo>
                    <a:pt x="9" y="1"/>
                    <a:pt x="9" y="1"/>
                    <a:pt x="9" y="1"/>
                  </a:cubicBezTo>
                  <a:cubicBezTo>
                    <a:pt x="1" y="8"/>
                    <a:pt x="0" y="21"/>
                    <a:pt x="7" y="29"/>
                  </a:cubicBezTo>
                  <a:cubicBezTo>
                    <a:pt x="11" y="34"/>
                    <a:pt x="17" y="37"/>
                    <a:pt x="23" y="37"/>
                  </a:cubicBezTo>
                  <a:cubicBezTo>
                    <a:pt x="27" y="37"/>
                    <a:pt x="30" y="36"/>
                    <a:pt x="34" y="34"/>
                  </a:cubicBezTo>
                  <a:cubicBezTo>
                    <a:pt x="34" y="33"/>
                    <a:pt x="34" y="33"/>
                    <a:pt x="34" y="33"/>
                  </a:cubicBezTo>
                  <a:cubicBezTo>
                    <a:pt x="34" y="32"/>
                    <a:pt x="34" y="32"/>
                    <a:pt x="34" y="32"/>
                  </a:cubicBezTo>
                  <a:cubicBezTo>
                    <a:pt x="11" y="1"/>
                    <a:pt x="11" y="1"/>
                    <a:pt x="11" y="1"/>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4" name="Freeform 21283">
              <a:extLst>
                <a:ext uri="{FF2B5EF4-FFF2-40B4-BE49-F238E27FC236}">
                  <a16:creationId xmlns:a16="http://schemas.microsoft.com/office/drawing/2014/main" id="{A45C6EF2-6F61-4092-9876-39ADFF790483}"/>
                </a:ext>
              </a:extLst>
            </p:cNvPr>
            <p:cNvSpPr>
              <a:spLocks noEditPoints="1"/>
            </p:cNvSpPr>
            <p:nvPr userDrawn="1"/>
          </p:nvSpPr>
          <p:spPr bwMode="auto">
            <a:xfrm>
              <a:off x="11308715" y="4233228"/>
              <a:ext cx="68263" cy="73025"/>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5" name="Freeform 21284">
              <a:extLst>
                <a:ext uri="{FF2B5EF4-FFF2-40B4-BE49-F238E27FC236}">
                  <a16:creationId xmlns:a16="http://schemas.microsoft.com/office/drawing/2014/main" id="{155AC668-1F3B-49C2-99B6-33CA2C3483D5}"/>
                </a:ext>
              </a:extLst>
            </p:cNvPr>
            <p:cNvSpPr>
              <a:spLocks noEditPoints="1"/>
            </p:cNvSpPr>
            <p:nvPr userDrawn="1"/>
          </p:nvSpPr>
          <p:spPr bwMode="auto">
            <a:xfrm>
              <a:off x="11284903" y="4242753"/>
              <a:ext cx="68263" cy="73025"/>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4"/>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6" name="Freeform 21285">
              <a:extLst>
                <a:ext uri="{FF2B5EF4-FFF2-40B4-BE49-F238E27FC236}">
                  <a16:creationId xmlns:a16="http://schemas.microsoft.com/office/drawing/2014/main" id="{8408498F-7076-4224-BAB5-A198269459B8}"/>
                </a:ext>
              </a:extLst>
            </p:cNvPr>
            <p:cNvSpPr>
              <a:spLocks noEditPoints="1"/>
            </p:cNvSpPr>
            <p:nvPr userDrawn="1"/>
          </p:nvSpPr>
          <p:spPr bwMode="auto">
            <a:xfrm>
              <a:off x="10878503" y="3569653"/>
              <a:ext cx="68263" cy="73025"/>
            </a:xfrm>
            <a:custGeom>
              <a:avLst/>
              <a:gdLst>
                <a:gd name="T0" fmla="*/ 24 w 34"/>
                <a:gd name="T1" fmla="*/ 33 h 36"/>
                <a:gd name="T2" fmla="*/ 3 w 34"/>
                <a:gd name="T3" fmla="*/ 4 h 36"/>
                <a:gd name="T4" fmla="*/ 11 w 34"/>
                <a:gd name="T5" fmla="*/ 2 h 36"/>
                <a:gd name="T6" fmla="*/ 25 w 34"/>
                <a:gd name="T7" fmla="*/ 9 h 36"/>
                <a:gd name="T8" fmla="*/ 24 w 34"/>
                <a:gd name="T9" fmla="*/ 33 h 36"/>
                <a:gd name="T10" fmla="*/ 11 w 34"/>
                <a:gd name="T11" fmla="*/ 0 h 36"/>
                <a:gd name="T12" fmla="*/ 0 w 34"/>
                <a:gd name="T13" fmla="*/ 3 h 36"/>
                <a:gd name="T14" fmla="*/ 0 w 34"/>
                <a:gd name="T15" fmla="*/ 4 h 36"/>
                <a:gd name="T16" fmla="*/ 0 w 34"/>
                <a:gd name="T17" fmla="*/ 5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3"/>
                  </a:moveTo>
                  <a:cubicBezTo>
                    <a:pt x="3" y="4"/>
                    <a:pt x="3" y="4"/>
                    <a:pt x="3" y="4"/>
                  </a:cubicBezTo>
                  <a:cubicBezTo>
                    <a:pt x="5" y="3"/>
                    <a:pt x="8" y="2"/>
                    <a:pt x="11" y="2"/>
                  </a:cubicBezTo>
                  <a:cubicBezTo>
                    <a:pt x="16" y="2"/>
                    <a:pt x="21" y="5"/>
                    <a:pt x="25" y="9"/>
                  </a:cubicBezTo>
                  <a:cubicBezTo>
                    <a:pt x="31" y="16"/>
                    <a:pt x="30" y="26"/>
                    <a:pt x="24" y="33"/>
                  </a:cubicBezTo>
                  <a:moveTo>
                    <a:pt x="11" y="0"/>
                  </a:moveTo>
                  <a:cubicBezTo>
                    <a:pt x="7" y="0"/>
                    <a:pt x="3" y="1"/>
                    <a:pt x="0" y="3"/>
                  </a:cubicBezTo>
                  <a:cubicBezTo>
                    <a:pt x="0" y="4"/>
                    <a:pt x="0" y="4"/>
                    <a:pt x="0" y="4"/>
                  </a:cubicBezTo>
                  <a:cubicBezTo>
                    <a:pt x="0" y="5"/>
                    <a:pt x="0" y="5"/>
                    <a:pt x="0" y="5"/>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3"/>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7" name="Freeform 21286">
              <a:extLst>
                <a:ext uri="{FF2B5EF4-FFF2-40B4-BE49-F238E27FC236}">
                  <a16:creationId xmlns:a16="http://schemas.microsoft.com/office/drawing/2014/main" id="{2081731E-EFC9-4772-B732-A67B25CA6211}"/>
                </a:ext>
              </a:extLst>
            </p:cNvPr>
            <p:cNvSpPr>
              <a:spLocks noEditPoints="1"/>
            </p:cNvSpPr>
            <p:nvPr userDrawn="1"/>
          </p:nvSpPr>
          <p:spPr bwMode="auto">
            <a:xfrm>
              <a:off x="10853103" y="3580765"/>
              <a:ext cx="69850" cy="71438"/>
            </a:xfrm>
            <a:custGeom>
              <a:avLst/>
              <a:gdLst>
                <a:gd name="T0" fmla="*/ 23 w 34"/>
                <a:gd name="T1" fmla="*/ 34 h 36"/>
                <a:gd name="T2" fmla="*/ 9 w 34"/>
                <a:gd name="T3" fmla="*/ 27 h 36"/>
                <a:gd name="T4" fmla="*/ 9 w 34"/>
                <a:gd name="T5" fmla="*/ 3 h 36"/>
                <a:gd name="T6" fmla="*/ 30 w 34"/>
                <a:gd name="T7" fmla="*/ 32 h 36"/>
                <a:gd name="T8" fmla="*/ 23 w 34"/>
                <a:gd name="T9" fmla="*/ 34 h 36"/>
                <a:gd name="T10" fmla="*/ 9 w 34"/>
                <a:gd name="T11" fmla="*/ 0 h 36"/>
                <a:gd name="T12" fmla="*/ 8 w 34"/>
                <a:gd name="T13" fmla="*/ 0 h 36"/>
                <a:gd name="T14" fmla="*/ 7 w 34"/>
                <a:gd name="T15" fmla="*/ 29 h 36"/>
                <a:gd name="T16" fmla="*/ 23 w 34"/>
                <a:gd name="T17" fmla="*/ 36 h 36"/>
                <a:gd name="T18" fmla="*/ 33 w 34"/>
                <a:gd name="T19" fmla="*/ 34 h 36"/>
                <a:gd name="T20" fmla="*/ 34 w 34"/>
                <a:gd name="T21" fmla="*/ 33 h 36"/>
                <a:gd name="T22" fmla="*/ 33 w 34"/>
                <a:gd name="T23" fmla="*/ 32 h 36"/>
                <a:gd name="T24" fmla="*/ 10 w 34"/>
                <a:gd name="T25" fmla="*/ 1 h 36"/>
                <a:gd name="T26" fmla="*/ 9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7" y="34"/>
                    <a:pt x="12" y="32"/>
                    <a:pt x="9" y="27"/>
                  </a:cubicBezTo>
                  <a:cubicBezTo>
                    <a:pt x="3" y="20"/>
                    <a:pt x="3" y="10"/>
                    <a:pt x="9" y="3"/>
                  </a:cubicBezTo>
                  <a:cubicBezTo>
                    <a:pt x="30" y="32"/>
                    <a:pt x="30" y="32"/>
                    <a:pt x="30" y="32"/>
                  </a:cubicBezTo>
                  <a:cubicBezTo>
                    <a:pt x="28" y="33"/>
                    <a:pt x="25" y="34"/>
                    <a:pt x="23" y="34"/>
                  </a:cubicBezTo>
                  <a:moveTo>
                    <a:pt x="9" y="0"/>
                  </a:moveTo>
                  <a:cubicBezTo>
                    <a:pt x="8" y="0"/>
                    <a:pt x="8" y="0"/>
                    <a:pt x="8" y="0"/>
                  </a:cubicBezTo>
                  <a:cubicBezTo>
                    <a:pt x="0" y="8"/>
                    <a:pt x="0" y="20"/>
                    <a:pt x="7" y="29"/>
                  </a:cubicBezTo>
                  <a:cubicBezTo>
                    <a:pt x="11" y="34"/>
                    <a:pt x="16" y="36"/>
                    <a:pt x="23" y="36"/>
                  </a:cubicBezTo>
                  <a:cubicBezTo>
                    <a:pt x="26" y="36"/>
                    <a:pt x="30" y="35"/>
                    <a:pt x="33" y="34"/>
                  </a:cubicBezTo>
                  <a:cubicBezTo>
                    <a:pt x="34" y="33"/>
                    <a:pt x="34" y="33"/>
                    <a:pt x="34" y="33"/>
                  </a:cubicBezTo>
                  <a:cubicBezTo>
                    <a:pt x="33" y="32"/>
                    <a:pt x="33" y="32"/>
                    <a:pt x="33" y="32"/>
                  </a:cubicBezTo>
                  <a:cubicBezTo>
                    <a:pt x="10" y="1"/>
                    <a:pt x="10" y="1"/>
                    <a:pt x="10" y="1"/>
                  </a:cubicBezTo>
                  <a:cubicBezTo>
                    <a:pt x="9" y="0"/>
                    <a:pt x="9" y="0"/>
                    <a:pt x="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8" name="Freeform 21287">
              <a:extLst>
                <a:ext uri="{FF2B5EF4-FFF2-40B4-BE49-F238E27FC236}">
                  <a16:creationId xmlns:a16="http://schemas.microsoft.com/office/drawing/2014/main" id="{690F4F19-525C-41B1-9365-AF43A2106FA1}"/>
                </a:ext>
              </a:extLst>
            </p:cNvPr>
            <p:cNvSpPr>
              <a:spLocks noEditPoints="1"/>
            </p:cNvSpPr>
            <p:nvPr userDrawn="1"/>
          </p:nvSpPr>
          <p:spPr bwMode="auto">
            <a:xfrm>
              <a:off x="7495540" y="4039553"/>
              <a:ext cx="68263" cy="74613"/>
            </a:xfrm>
            <a:custGeom>
              <a:avLst/>
              <a:gdLst>
                <a:gd name="T0" fmla="*/ 25 w 34"/>
                <a:gd name="T1" fmla="*/ 33 h 37"/>
                <a:gd name="T2" fmla="*/ 3 w 34"/>
                <a:gd name="T3" fmla="*/ 5 h 37"/>
                <a:gd name="T4" fmla="*/ 11 w 34"/>
                <a:gd name="T5" fmla="*/ 3 h 37"/>
                <a:gd name="T6" fmla="*/ 25 w 34"/>
                <a:gd name="T7" fmla="*/ 9 h 37"/>
                <a:gd name="T8" fmla="*/ 25 w 34"/>
                <a:gd name="T9" fmla="*/ 33 h 37"/>
                <a:gd name="T10" fmla="*/ 11 w 34"/>
                <a:gd name="T11" fmla="*/ 0 h 37"/>
                <a:gd name="T12" fmla="*/ 1 w 34"/>
                <a:gd name="T13" fmla="*/ 3 h 37"/>
                <a:gd name="T14" fmla="*/ 0 w 34"/>
                <a:gd name="T15" fmla="*/ 4 h 37"/>
                <a:gd name="T16" fmla="*/ 0 w 34"/>
                <a:gd name="T17" fmla="*/ 5 h 37"/>
                <a:gd name="T18" fmla="*/ 23 w 34"/>
                <a:gd name="T19" fmla="*/ 36 h 37"/>
                <a:gd name="T20" fmla="*/ 24 w 34"/>
                <a:gd name="T21" fmla="*/ 37 h 37"/>
                <a:gd name="T22" fmla="*/ 24 w 34"/>
                <a:gd name="T23" fmla="*/ 37 h 37"/>
                <a:gd name="T24" fmla="*/ 25 w 34"/>
                <a:gd name="T25" fmla="*/ 36 h 37"/>
                <a:gd name="T26" fmla="*/ 27 w 34"/>
                <a:gd name="T27" fmla="*/ 8 h 37"/>
                <a:gd name="T28" fmla="*/ 11 w 34"/>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7">
                  <a:moveTo>
                    <a:pt x="25" y="33"/>
                  </a:moveTo>
                  <a:cubicBezTo>
                    <a:pt x="3" y="5"/>
                    <a:pt x="3" y="5"/>
                    <a:pt x="3" y="5"/>
                  </a:cubicBezTo>
                  <a:cubicBezTo>
                    <a:pt x="6" y="3"/>
                    <a:pt x="8" y="3"/>
                    <a:pt x="11" y="3"/>
                  </a:cubicBezTo>
                  <a:cubicBezTo>
                    <a:pt x="17" y="3"/>
                    <a:pt x="22" y="5"/>
                    <a:pt x="25" y="9"/>
                  </a:cubicBezTo>
                  <a:cubicBezTo>
                    <a:pt x="31" y="17"/>
                    <a:pt x="31" y="27"/>
                    <a:pt x="25" y="33"/>
                  </a:cubicBezTo>
                  <a:moveTo>
                    <a:pt x="11" y="0"/>
                  </a:moveTo>
                  <a:cubicBezTo>
                    <a:pt x="7" y="0"/>
                    <a:pt x="4" y="1"/>
                    <a:pt x="1" y="3"/>
                  </a:cubicBezTo>
                  <a:cubicBezTo>
                    <a:pt x="0" y="4"/>
                    <a:pt x="0" y="4"/>
                    <a:pt x="0" y="4"/>
                  </a:cubicBezTo>
                  <a:cubicBezTo>
                    <a:pt x="0" y="5"/>
                    <a:pt x="0" y="5"/>
                    <a:pt x="0" y="5"/>
                  </a:cubicBezTo>
                  <a:cubicBezTo>
                    <a:pt x="23" y="36"/>
                    <a:pt x="23" y="36"/>
                    <a:pt x="23" y="36"/>
                  </a:cubicBezTo>
                  <a:cubicBezTo>
                    <a:pt x="24" y="37"/>
                    <a:pt x="24" y="37"/>
                    <a:pt x="24" y="37"/>
                  </a:cubicBezTo>
                  <a:cubicBezTo>
                    <a:pt x="24" y="37"/>
                    <a:pt x="24" y="37"/>
                    <a:pt x="24" y="37"/>
                  </a:cubicBezTo>
                  <a:cubicBezTo>
                    <a:pt x="25" y="36"/>
                    <a:pt x="25" y="36"/>
                    <a:pt x="25" y="36"/>
                  </a:cubicBezTo>
                  <a:cubicBezTo>
                    <a:pt x="33" y="29"/>
                    <a:pt x="34" y="16"/>
                    <a:pt x="27" y="8"/>
                  </a:cubicBezTo>
                  <a:cubicBezTo>
                    <a:pt x="23" y="3"/>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9" name="Freeform 21288">
              <a:extLst>
                <a:ext uri="{FF2B5EF4-FFF2-40B4-BE49-F238E27FC236}">
                  <a16:creationId xmlns:a16="http://schemas.microsoft.com/office/drawing/2014/main" id="{73236F03-2E9A-4526-8DE6-F3E54E89FAF3}"/>
                </a:ext>
              </a:extLst>
            </p:cNvPr>
            <p:cNvSpPr>
              <a:spLocks noEditPoints="1"/>
            </p:cNvSpPr>
            <p:nvPr userDrawn="1"/>
          </p:nvSpPr>
          <p:spPr bwMode="auto">
            <a:xfrm>
              <a:off x="7471728" y="4052253"/>
              <a:ext cx="68263" cy="73025"/>
            </a:xfrm>
            <a:custGeom>
              <a:avLst/>
              <a:gdLst>
                <a:gd name="T0" fmla="*/ 23 w 34"/>
                <a:gd name="T1" fmla="*/ 33 h 36"/>
                <a:gd name="T2" fmla="*/ 9 w 34"/>
                <a:gd name="T3" fmla="*/ 27 h 36"/>
                <a:gd name="T4" fmla="*/ 10 w 34"/>
                <a:gd name="T5" fmla="*/ 3 h 36"/>
                <a:gd name="T6" fmla="*/ 31 w 34"/>
                <a:gd name="T7" fmla="*/ 32 h 36"/>
                <a:gd name="T8" fmla="*/ 23 w 34"/>
                <a:gd name="T9" fmla="*/ 33 h 36"/>
                <a:gd name="T10" fmla="*/ 10 w 34"/>
                <a:gd name="T11" fmla="*/ 0 h 36"/>
                <a:gd name="T12" fmla="*/ 9 w 34"/>
                <a:gd name="T13" fmla="*/ 0 h 36"/>
                <a:gd name="T14" fmla="*/ 7 w 34"/>
                <a:gd name="T15" fmla="*/ 28 h 36"/>
                <a:gd name="T16" fmla="*/ 23 w 34"/>
                <a:gd name="T17" fmla="*/ 36 h 36"/>
                <a:gd name="T18" fmla="*/ 33 w 34"/>
                <a:gd name="T19" fmla="*/ 33 h 36"/>
                <a:gd name="T20" fmla="*/ 34 w 34"/>
                <a:gd name="T21" fmla="*/ 32 h 36"/>
                <a:gd name="T22" fmla="*/ 34 w 34"/>
                <a:gd name="T23" fmla="*/ 31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3"/>
                  </a:moveTo>
                  <a:cubicBezTo>
                    <a:pt x="18" y="33"/>
                    <a:pt x="12" y="31"/>
                    <a:pt x="9" y="27"/>
                  </a:cubicBezTo>
                  <a:cubicBezTo>
                    <a:pt x="3" y="20"/>
                    <a:pt x="4" y="9"/>
                    <a:pt x="10" y="3"/>
                  </a:cubicBezTo>
                  <a:cubicBezTo>
                    <a:pt x="31" y="32"/>
                    <a:pt x="31" y="32"/>
                    <a:pt x="31" y="32"/>
                  </a:cubicBezTo>
                  <a:cubicBezTo>
                    <a:pt x="28" y="33"/>
                    <a:pt x="26" y="33"/>
                    <a:pt x="23" y="33"/>
                  </a:cubicBezTo>
                  <a:moveTo>
                    <a:pt x="10" y="0"/>
                  </a:moveTo>
                  <a:cubicBezTo>
                    <a:pt x="9" y="0"/>
                    <a:pt x="9" y="0"/>
                    <a:pt x="9" y="0"/>
                  </a:cubicBezTo>
                  <a:cubicBezTo>
                    <a:pt x="1" y="7"/>
                    <a:pt x="0" y="20"/>
                    <a:pt x="7" y="28"/>
                  </a:cubicBezTo>
                  <a:cubicBezTo>
                    <a:pt x="11" y="33"/>
                    <a:pt x="17" y="36"/>
                    <a:pt x="23" y="36"/>
                  </a:cubicBezTo>
                  <a:cubicBezTo>
                    <a:pt x="27" y="36"/>
                    <a:pt x="30" y="35"/>
                    <a:pt x="33" y="33"/>
                  </a:cubicBezTo>
                  <a:cubicBezTo>
                    <a:pt x="34" y="32"/>
                    <a:pt x="34" y="32"/>
                    <a:pt x="34" y="32"/>
                  </a:cubicBezTo>
                  <a:cubicBezTo>
                    <a:pt x="34" y="31"/>
                    <a:pt x="34" y="31"/>
                    <a:pt x="34" y="31"/>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0" name="Freeform 21289">
              <a:extLst>
                <a:ext uri="{FF2B5EF4-FFF2-40B4-BE49-F238E27FC236}">
                  <a16:creationId xmlns:a16="http://schemas.microsoft.com/office/drawing/2014/main" id="{BB7A2B34-1187-444D-8F80-4E97AEC544CC}"/>
                </a:ext>
              </a:extLst>
            </p:cNvPr>
            <p:cNvSpPr>
              <a:spLocks noEditPoints="1"/>
            </p:cNvSpPr>
            <p:nvPr userDrawn="1"/>
          </p:nvSpPr>
          <p:spPr bwMode="auto">
            <a:xfrm>
              <a:off x="6790690" y="4330065"/>
              <a:ext cx="46038" cy="46038"/>
            </a:xfrm>
            <a:custGeom>
              <a:avLst/>
              <a:gdLst>
                <a:gd name="T0" fmla="*/ 12 w 23"/>
                <a:gd name="T1" fmla="*/ 18 h 23"/>
                <a:gd name="T2" fmla="*/ 5 w 23"/>
                <a:gd name="T3" fmla="*/ 11 h 23"/>
                <a:gd name="T4" fmla="*/ 12 w 23"/>
                <a:gd name="T5" fmla="*/ 4 h 23"/>
                <a:gd name="T6" fmla="*/ 18 w 23"/>
                <a:gd name="T7" fmla="*/ 11 h 23"/>
                <a:gd name="T8" fmla="*/ 12 w 23"/>
                <a:gd name="T9" fmla="*/ 18 h 23"/>
                <a:gd name="T10" fmla="*/ 12 w 23"/>
                <a:gd name="T11" fmla="*/ 0 h 23"/>
                <a:gd name="T12" fmla="*/ 0 w 23"/>
                <a:gd name="T13" fmla="*/ 11 h 23"/>
                <a:gd name="T14" fmla="*/ 12 w 23"/>
                <a:gd name="T15" fmla="*/ 23 h 23"/>
                <a:gd name="T16" fmla="*/ 23 w 23"/>
                <a:gd name="T17" fmla="*/ 11 h 23"/>
                <a:gd name="T18" fmla="*/ 12 w 23"/>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18"/>
                  </a:moveTo>
                  <a:cubicBezTo>
                    <a:pt x="8" y="18"/>
                    <a:pt x="5" y="15"/>
                    <a:pt x="5" y="11"/>
                  </a:cubicBezTo>
                  <a:cubicBezTo>
                    <a:pt x="5" y="8"/>
                    <a:pt x="8" y="4"/>
                    <a:pt x="12" y="4"/>
                  </a:cubicBezTo>
                  <a:cubicBezTo>
                    <a:pt x="15" y="4"/>
                    <a:pt x="18" y="8"/>
                    <a:pt x="18" y="11"/>
                  </a:cubicBezTo>
                  <a:cubicBezTo>
                    <a:pt x="18" y="15"/>
                    <a:pt x="15" y="18"/>
                    <a:pt x="12" y="18"/>
                  </a:cubicBezTo>
                  <a:moveTo>
                    <a:pt x="12" y="0"/>
                  </a:moveTo>
                  <a:cubicBezTo>
                    <a:pt x="5" y="0"/>
                    <a:pt x="0" y="5"/>
                    <a:pt x="0" y="11"/>
                  </a:cubicBezTo>
                  <a:cubicBezTo>
                    <a:pt x="0" y="18"/>
                    <a:pt x="5" y="23"/>
                    <a:pt x="12" y="23"/>
                  </a:cubicBezTo>
                  <a:cubicBezTo>
                    <a:pt x="18" y="23"/>
                    <a:pt x="23" y="18"/>
                    <a:pt x="23" y="11"/>
                  </a:cubicBezTo>
                  <a:cubicBezTo>
                    <a:pt x="23" y="5"/>
                    <a:pt x="18"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1" name="Freeform 21290">
              <a:extLst>
                <a:ext uri="{FF2B5EF4-FFF2-40B4-BE49-F238E27FC236}">
                  <a16:creationId xmlns:a16="http://schemas.microsoft.com/office/drawing/2014/main" id="{7181E576-064B-45FB-9F72-7A05964A81E0}"/>
                </a:ext>
              </a:extLst>
            </p:cNvPr>
            <p:cNvSpPr>
              <a:spLocks noEditPoints="1"/>
            </p:cNvSpPr>
            <p:nvPr userDrawn="1"/>
          </p:nvSpPr>
          <p:spPr bwMode="auto">
            <a:xfrm>
              <a:off x="10948353" y="4399915"/>
              <a:ext cx="33338" cy="33338"/>
            </a:xfrm>
            <a:custGeom>
              <a:avLst/>
              <a:gdLst>
                <a:gd name="T0" fmla="*/ 8 w 16"/>
                <a:gd name="T1" fmla="*/ 12 h 16"/>
                <a:gd name="T2" fmla="*/ 4 w 16"/>
                <a:gd name="T3" fmla="*/ 8 h 16"/>
                <a:gd name="T4" fmla="*/ 8 w 16"/>
                <a:gd name="T5" fmla="*/ 4 h 16"/>
                <a:gd name="T6" fmla="*/ 12 w 16"/>
                <a:gd name="T7" fmla="*/ 8 h 16"/>
                <a:gd name="T8" fmla="*/ 8 w 16"/>
                <a:gd name="T9" fmla="*/ 12 h 16"/>
                <a:gd name="T10" fmla="*/ 8 w 16"/>
                <a:gd name="T11" fmla="*/ 0 h 16"/>
                <a:gd name="T12" fmla="*/ 0 w 16"/>
                <a:gd name="T13" fmla="*/ 8 h 16"/>
                <a:gd name="T14" fmla="*/ 8 w 16"/>
                <a:gd name="T15" fmla="*/ 16 h 16"/>
                <a:gd name="T16" fmla="*/ 16 w 16"/>
                <a:gd name="T17" fmla="*/ 8 h 16"/>
                <a:gd name="T18" fmla="*/ 8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2"/>
                  </a:moveTo>
                  <a:cubicBezTo>
                    <a:pt x="6" y="12"/>
                    <a:pt x="4" y="10"/>
                    <a:pt x="4" y="8"/>
                  </a:cubicBezTo>
                  <a:cubicBezTo>
                    <a:pt x="4" y="6"/>
                    <a:pt x="6" y="4"/>
                    <a:pt x="8" y="4"/>
                  </a:cubicBezTo>
                  <a:cubicBezTo>
                    <a:pt x="10" y="4"/>
                    <a:pt x="12" y="6"/>
                    <a:pt x="12" y="8"/>
                  </a:cubicBezTo>
                  <a:cubicBezTo>
                    <a:pt x="12" y="10"/>
                    <a:pt x="10" y="12"/>
                    <a:pt x="8" y="12"/>
                  </a:cubicBezTo>
                  <a:moveTo>
                    <a:pt x="8" y="0"/>
                  </a:moveTo>
                  <a:cubicBezTo>
                    <a:pt x="4" y="0"/>
                    <a:pt x="0" y="3"/>
                    <a:pt x="0" y="8"/>
                  </a:cubicBezTo>
                  <a:cubicBezTo>
                    <a:pt x="0" y="12"/>
                    <a:pt x="4" y="16"/>
                    <a:pt x="8" y="16"/>
                  </a:cubicBezTo>
                  <a:cubicBezTo>
                    <a:pt x="13" y="16"/>
                    <a:pt x="16" y="12"/>
                    <a:pt x="16" y="8"/>
                  </a:cubicBezTo>
                  <a:cubicBezTo>
                    <a:pt x="16" y="3"/>
                    <a:pt x="13" y="0"/>
                    <a:pt x="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2" name="Freeform 21291">
              <a:extLst>
                <a:ext uri="{FF2B5EF4-FFF2-40B4-BE49-F238E27FC236}">
                  <a16:creationId xmlns:a16="http://schemas.microsoft.com/office/drawing/2014/main" id="{20217FD8-D46E-4ABD-B328-89BDD0D4EF44}"/>
                </a:ext>
              </a:extLst>
            </p:cNvPr>
            <p:cNvSpPr>
              <a:spLocks/>
            </p:cNvSpPr>
            <p:nvPr userDrawn="1"/>
          </p:nvSpPr>
          <p:spPr bwMode="auto">
            <a:xfrm>
              <a:off x="7500303" y="5495290"/>
              <a:ext cx="184150" cy="180975"/>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4" name="Freeform 21293">
              <a:extLst>
                <a:ext uri="{FF2B5EF4-FFF2-40B4-BE49-F238E27FC236}">
                  <a16:creationId xmlns:a16="http://schemas.microsoft.com/office/drawing/2014/main" id="{48579344-0F39-4510-BE79-CE36D584890D}"/>
                </a:ext>
              </a:extLst>
            </p:cNvPr>
            <p:cNvSpPr>
              <a:spLocks noEditPoints="1"/>
            </p:cNvSpPr>
            <p:nvPr userDrawn="1"/>
          </p:nvSpPr>
          <p:spPr bwMode="auto">
            <a:xfrm>
              <a:off x="7322503" y="2955290"/>
              <a:ext cx="314325" cy="312738"/>
            </a:xfrm>
            <a:custGeom>
              <a:avLst/>
              <a:gdLst>
                <a:gd name="T0" fmla="*/ 44 w 156"/>
                <a:gd name="T1" fmla="*/ 111 h 155"/>
                <a:gd name="T2" fmla="*/ 78 w 156"/>
                <a:gd name="T3" fmla="*/ 29 h 155"/>
                <a:gd name="T4" fmla="*/ 112 w 156"/>
                <a:gd name="T5" fmla="*/ 111 h 155"/>
                <a:gd name="T6" fmla="*/ 77 w 156"/>
                <a:gd name="T7" fmla="*/ 0 h 155"/>
                <a:gd name="T8" fmla="*/ 75 w 156"/>
                <a:gd name="T9" fmla="*/ 0 h 155"/>
                <a:gd name="T10" fmla="*/ 64 w 156"/>
                <a:gd name="T11" fmla="*/ 19 h 155"/>
                <a:gd name="T12" fmla="*/ 50 w 156"/>
                <a:gd name="T13" fmla="*/ 6 h 155"/>
                <a:gd name="T14" fmla="*/ 43 w 156"/>
                <a:gd name="T15" fmla="*/ 15 h 155"/>
                <a:gd name="T16" fmla="*/ 32 w 156"/>
                <a:gd name="T17" fmla="*/ 23 h 155"/>
                <a:gd name="T18" fmla="*/ 23 w 156"/>
                <a:gd name="T19" fmla="*/ 23 h 155"/>
                <a:gd name="T20" fmla="*/ 28 w 156"/>
                <a:gd name="T21" fmla="*/ 44 h 155"/>
                <a:gd name="T22" fmla="*/ 14 w 156"/>
                <a:gd name="T23" fmla="*/ 45 h 155"/>
                <a:gd name="T24" fmla="*/ 6 w 156"/>
                <a:gd name="T25" fmla="*/ 49 h 155"/>
                <a:gd name="T26" fmla="*/ 19 w 156"/>
                <a:gd name="T27" fmla="*/ 66 h 155"/>
                <a:gd name="T28" fmla="*/ 1 w 156"/>
                <a:gd name="T29" fmla="*/ 79 h 155"/>
                <a:gd name="T30" fmla="*/ 19 w 156"/>
                <a:gd name="T31" fmla="*/ 90 h 155"/>
                <a:gd name="T32" fmla="*/ 7 w 156"/>
                <a:gd name="T33" fmla="*/ 108 h 155"/>
                <a:gd name="T34" fmla="*/ 15 w 156"/>
                <a:gd name="T35" fmla="*/ 112 h 155"/>
                <a:gd name="T36" fmla="*/ 28 w 156"/>
                <a:gd name="T37" fmla="*/ 111 h 155"/>
                <a:gd name="T38" fmla="*/ 25 w 156"/>
                <a:gd name="T39" fmla="*/ 133 h 155"/>
                <a:gd name="T40" fmla="*/ 34 w 156"/>
                <a:gd name="T41" fmla="*/ 133 h 155"/>
                <a:gd name="T42" fmla="*/ 45 w 156"/>
                <a:gd name="T43" fmla="*/ 128 h 155"/>
                <a:gd name="T44" fmla="*/ 51 w 156"/>
                <a:gd name="T45" fmla="*/ 150 h 155"/>
                <a:gd name="T46" fmla="*/ 59 w 156"/>
                <a:gd name="T47" fmla="*/ 146 h 155"/>
                <a:gd name="T48" fmla="*/ 74 w 156"/>
                <a:gd name="T49" fmla="*/ 149 h 155"/>
                <a:gd name="T50" fmla="*/ 81 w 156"/>
                <a:gd name="T51" fmla="*/ 155 h 155"/>
                <a:gd name="T52" fmla="*/ 91 w 156"/>
                <a:gd name="T53" fmla="*/ 136 h 155"/>
                <a:gd name="T54" fmla="*/ 102 w 156"/>
                <a:gd name="T55" fmla="*/ 145 h 155"/>
                <a:gd name="T56" fmla="*/ 110 w 156"/>
                <a:gd name="T57" fmla="*/ 148 h 155"/>
                <a:gd name="T58" fmla="*/ 113 w 156"/>
                <a:gd name="T59" fmla="*/ 127 h 155"/>
                <a:gd name="T60" fmla="*/ 129 w 156"/>
                <a:gd name="T61" fmla="*/ 135 h 155"/>
                <a:gd name="T62" fmla="*/ 133 w 156"/>
                <a:gd name="T63" fmla="*/ 123 h 155"/>
                <a:gd name="T64" fmla="*/ 134 w 156"/>
                <a:gd name="T65" fmla="*/ 109 h 155"/>
                <a:gd name="T66" fmla="*/ 145 w 156"/>
                <a:gd name="T67" fmla="*/ 111 h 155"/>
                <a:gd name="T68" fmla="*/ 146 w 156"/>
                <a:gd name="T69" fmla="*/ 99 h 155"/>
                <a:gd name="T70" fmla="*/ 149 w 156"/>
                <a:gd name="T71" fmla="*/ 83 h 155"/>
                <a:gd name="T72" fmla="*/ 149 w 156"/>
                <a:gd name="T73" fmla="*/ 71 h 155"/>
                <a:gd name="T74" fmla="*/ 146 w 156"/>
                <a:gd name="T75" fmla="*/ 55 h 155"/>
                <a:gd name="T76" fmla="*/ 145 w 156"/>
                <a:gd name="T77" fmla="*/ 43 h 155"/>
                <a:gd name="T78" fmla="*/ 134 w 156"/>
                <a:gd name="T79" fmla="*/ 44 h 155"/>
                <a:gd name="T80" fmla="*/ 132 w 156"/>
                <a:gd name="T81" fmla="*/ 31 h 155"/>
                <a:gd name="T82" fmla="*/ 128 w 156"/>
                <a:gd name="T83" fmla="*/ 19 h 155"/>
                <a:gd name="T84" fmla="*/ 112 w 156"/>
                <a:gd name="T85" fmla="*/ 27 h 155"/>
                <a:gd name="T86" fmla="*/ 110 w 156"/>
                <a:gd name="T87" fmla="*/ 13 h 155"/>
                <a:gd name="T88" fmla="*/ 103 w 156"/>
                <a:gd name="T89" fmla="*/ 4 h 155"/>
                <a:gd name="T90" fmla="*/ 88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6" y="125"/>
                    <a:pt x="54" y="121"/>
                    <a:pt x="44" y="111"/>
                  </a:cubicBezTo>
                  <a:cubicBezTo>
                    <a:pt x="25" y="93"/>
                    <a:pt x="25" y="62"/>
                    <a:pt x="44" y="44"/>
                  </a:cubicBezTo>
                  <a:cubicBezTo>
                    <a:pt x="53" y="34"/>
                    <a:pt x="66" y="29"/>
                    <a:pt x="78" y="29"/>
                  </a:cubicBezTo>
                  <a:cubicBezTo>
                    <a:pt x="90" y="29"/>
                    <a:pt x="103" y="34"/>
                    <a:pt x="112" y="43"/>
                  </a:cubicBezTo>
                  <a:cubicBezTo>
                    <a:pt x="131" y="62"/>
                    <a:pt x="131" y="92"/>
                    <a:pt x="112" y="111"/>
                  </a:cubicBezTo>
                  <a:cubicBezTo>
                    <a:pt x="103" y="121"/>
                    <a:pt x="90" y="125"/>
                    <a:pt x="78" y="125"/>
                  </a:cubicBezTo>
                  <a:moveTo>
                    <a:pt x="77" y="0"/>
                  </a:moveTo>
                  <a:cubicBezTo>
                    <a:pt x="77" y="0"/>
                    <a:pt x="77" y="0"/>
                    <a:pt x="76" y="0"/>
                  </a:cubicBezTo>
                  <a:cubicBezTo>
                    <a:pt x="76" y="0"/>
                    <a:pt x="76" y="0"/>
                    <a:pt x="75" y="0"/>
                  </a:cubicBezTo>
                  <a:cubicBezTo>
                    <a:pt x="73" y="0"/>
                    <a:pt x="71" y="0"/>
                    <a:pt x="70" y="6"/>
                  </a:cubicBezTo>
                  <a:cubicBezTo>
                    <a:pt x="69" y="12"/>
                    <a:pt x="67" y="18"/>
                    <a:pt x="64" y="19"/>
                  </a:cubicBezTo>
                  <a:cubicBezTo>
                    <a:pt x="61" y="18"/>
                    <a:pt x="57" y="14"/>
                    <a:pt x="55" y="10"/>
                  </a:cubicBezTo>
                  <a:cubicBezTo>
                    <a:pt x="53" y="7"/>
                    <a:pt x="51" y="6"/>
                    <a:pt x="50" y="6"/>
                  </a:cubicBezTo>
                  <a:cubicBezTo>
                    <a:pt x="49" y="6"/>
                    <a:pt x="48" y="6"/>
                    <a:pt x="46" y="7"/>
                  </a:cubicBezTo>
                  <a:cubicBezTo>
                    <a:pt x="44" y="8"/>
                    <a:pt x="41" y="8"/>
                    <a:pt x="43" y="15"/>
                  </a:cubicBezTo>
                  <a:cubicBezTo>
                    <a:pt x="44" y="19"/>
                    <a:pt x="44" y="24"/>
                    <a:pt x="43" y="27"/>
                  </a:cubicBezTo>
                  <a:cubicBezTo>
                    <a:pt x="40" y="27"/>
                    <a:pt x="35" y="25"/>
                    <a:pt x="32" y="23"/>
                  </a:cubicBezTo>
                  <a:cubicBezTo>
                    <a:pt x="30" y="21"/>
                    <a:pt x="28" y="21"/>
                    <a:pt x="27" y="21"/>
                  </a:cubicBezTo>
                  <a:cubicBezTo>
                    <a:pt x="25" y="21"/>
                    <a:pt x="24" y="22"/>
                    <a:pt x="23" y="23"/>
                  </a:cubicBezTo>
                  <a:cubicBezTo>
                    <a:pt x="21" y="25"/>
                    <a:pt x="19" y="27"/>
                    <a:pt x="23" y="32"/>
                  </a:cubicBezTo>
                  <a:cubicBezTo>
                    <a:pt x="26" y="36"/>
                    <a:pt x="28" y="41"/>
                    <a:pt x="28" y="44"/>
                  </a:cubicBezTo>
                  <a:cubicBezTo>
                    <a:pt x="27" y="45"/>
                    <a:pt x="24" y="46"/>
                    <a:pt x="21" y="46"/>
                  </a:cubicBezTo>
                  <a:cubicBezTo>
                    <a:pt x="19" y="46"/>
                    <a:pt x="16" y="45"/>
                    <a:pt x="14" y="45"/>
                  </a:cubicBezTo>
                  <a:cubicBezTo>
                    <a:pt x="13" y="45"/>
                    <a:pt x="12" y="44"/>
                    <a:pt x="11" y="44"/>
                  </a:cubicBezTo>
                  <a:cubicBezTo>
                    <a:pt x="7" y="44"/>
                    <a:pt x="7" y="47"/>
                    <a:pt x="6" y="49"/>
                  </a:cubicBezTo>
                  <a:cubicBezTo>
                    <a:pt x="5" y="51"/>
                    <a:pt x="4" y="54"/>
                    <a:pt x="10" y="57"/>
                  </a:cubicBezTo>
                  <a:cubicBezTo>
                    <a:pt x="14" y="59"/>
                    <a:pt x="18" y="63"/>
                    <a:pt x="19" y="66"/>
                  </a:cubicBezTo>
                  <a:cubicBezTo>
                    <a:pt x="18" y="68"/>
                    <a:pt x="12" y="71"/>
                    <a:pt x="7" y="72"/>
                  </a:cubicBezTo>
                  <a:cubicBezTo>
                    <a:pt x="0" y="73"/>
                    <a:pt x="1" y="76"/>
                    <a:pt x="1" y="79"/>
                  </a:cubicBezTo>
                  <a:cubicBezTo>
                    <a:pt x="1" y="81"/>
                    <a:pt x="0" y="84"/>
                    <a:pt x="7" y="85"/>
                  </a:cubicBezTo>
                  <a:cubicBezTo>
                    <a:pt x="12" y="86"/>
                    <a:pt x="17" y="87"/>
                    <a:pt x="19" y="90"/>
                  </a:cubicBezTo>
                  <a:cubicBezTo>
                    <a:pt x="19" y="92"/>
                    <a:pt x="15" y="97"/>
                    <a:pt x="10" y="100"/>
                  </a:cubicBezTo>
                  <a:cubicBezTo>
                    <a:pt x="4" y="104"/>
                    <a:pt x="6" y="106"/>
                    <a:pt x="7" y="108"/>
                  </a:cubicBezTo>
                  <a:cubicBezTo>
                    <a:pt x="8" y="110"/>
                    <a:pt x="9" y="112"/>
                    <a:pt x="12" y="112"/>
                  </a:cubicBezTo>
                  <a:cubicBezTo>
                    <a:pt x="13" y="112"/>
                    <a:pt x="14" y="112"/>
                    <a:pt x="15" y="112"/>
                  </a:cubicBezTo>
                  <a:cubicBezTo>
                    <a:pt x="18" y="111"/>
                    <a:pt x="21" y="111"/>
                    <a:pt x="24" y="111"/>
                  </a:cubicBezTo>
                  <a:cubicBezTo>
                    <a:pt x="25" y="111"/>
                    <a:pt x="27" y="111"/>
                    <a:pt x="28" y="111"/>
                  </a:cubicBezTo>
                  <a:cubicBezTo>
                    <a:pt x="29" y="114"/>
                    <a:pt x="27" y="120"/>
                    <a:pt x="24" y="125"/>
                  </a:cubicBezTo>
                  <a:cubicBezTo>
                    <a:pt x="20" y="130"/>
                    <a:pt x="23" y="132"/>
                    <a:pt x="25" y="133"/>
                  </a:cubicBezTo>
                  <a:cubicBezTo>
                    <a:pt x="26" y="134"/>
                    <a:pt x="27" y="136"/>
                    <a:pt x="29" y="136"/>
                  </a:cubicBezTo>
                  <a:cubicBezTo>
                    <a:pt x="30" y="136"/>
                    <a:pt x="32" y="135"/>
                    <a:pt x="34" y="133"/>
                  </a:cubicBezTo>
                  <a:cubicBezTo>
                    <a:pt x="37" y="130"/>
                    <a:pt x="42" y="128"/>
                    <a:pt x="45" y="128"/>
                  </a:cubicBezTo>
                  <a:cubicBezTo>
                    <a:pt x="45" y="128"/>
                    <a:pt x="45" y="128"/>
                    <a:pt x="45" y="128"/>
                  </a:cubicBezTo>
                  <a:cubicBezTo>
                    <a:pt x="47" y="130"/>
                    <a:pt x="48" y="136"/>
                    <a:pt x="47" y="142"/>
                  </a:cubicBezTo>
                  <a:cubicBezTo>
                    <a:pt x="45" y="148"/>
                    <a:pt x="48" y="149"/>
                    <a:pt x="51" y="150"/>
                  </a:cubicBezTo>
                  <a:cubicBezTo>
                    <a:pt x="52" y="150"/>
                    <a:pt x="53" y="151"/>
                    <a:pt x="54" y="151"/>
                  </a:cubicBezTo>
                  <a:cubicBezTo>
                    <a:pt x="55" y="151"/>
                    <a:pt x="57" y="150"/>
                    <a:pt x="59" y="146"/>
                  </a:cubicBezTo>
                  <a:cubicBezTo>
                    <a:pt x="61" y="142"/>
                    <a:pt x="65" y="138"/>
                    <a:pt x="67" y="137"/>
                  </a:cubicBezTo>
                  <a:cubicBezTo>
                    <a:pt x="70" y="138"/>
                    <a:pt x="73" y="144"/>
                    <a:pt x="74" y="149"/>
                  </a:cubicBezTo>
                  <a:cubicBezTo>
                    <a:pt x="75" y="154"/>
                    <a:pt x="77" y="155"/>
                    <a:pt x="79" y="155"/>
                  </a:cubicBezTo>
                  <a:cubicBezTo>
                    <a:pt x="80" y="155"/>
                    <a:pt x="80" y="155"/>
                    <a:pt x="81" y="155"/>
                  </a:cubicBezTo>
                  <a:cubicBezTo>
                    <a:pt x="83" y="155"/>
                    <a:pt x="86" y="155"/>
                    <a:pt x="87" y="148"/>
                  </a:cubicBezTo>
                  <a:cubicBezTo>
                    <a:pt x="87" y="144"/>
                    <a:pt x="89" y="138"/>
                    <a:pt x="91" y="136"/>
                  </a:cubicBezTo>
                  <a:cubicBezTo>
                    <a:pt x="91" y="136"/>
                    <a:pt x="91" y="136"/>
                    <a:pt x="91" y="136"/>
                  </a:cubicBezTo>
                  <a:cubicBezTo>
                    <a:pt x="94" y="136"/>
                    <a:pt x="99" y="141"/>
                    <a:pt x="102" y="145"/>
                  </a:cubicBezTo>
                  <a:cubicBezTo>
                    <a:pt x="104" y="148"/>
                    <a:pt x="106" y="149"/>
                    <a:pt x="107" y="149"/>
                  </a:cubicBezTo>
                  <a:cubicBezTo>
                    <a:pt x="108" y="149"/>
                    <a:pt x="109" y="148"/>
                    <a:pt x="110" y="148"/>
                  </a:cubicBezTo>
                  <a:cubicBezTo>
                    <a:pt x="113" y="147"/>
                    <a:pt x="116" y="146"/>
                    <a:pt x="114" y="139"/>
                  </a:cubicBezTo>
                  <a:cubicBezTo>
                    <a:pt x="112" y="135"/>
                    <a:pt x="112" y="130"/>
                    <a:pt x="113" y="127"/>
                  </a:cubicBezTo>
                  <a:cubicBezTo>
                    <a:pt x="116" y="128"/>
                    <a:pt x="120" y="130"/>
                    <a:pt x="124" y="132"/>
                  </a:cubicBezTo>
                  <a:cubicBezTo>
                    <a:pt x="126" y="134"/>
                    <a:pt x="127" y="135"/>
                    <a:pt x="129" y="135"/>
                  </a:cubicBezTo>
                  <a:cubicBezTo>
                    <a:pt x="130" y="135"/>
                    <a:pt x="132" y="133"/>
                    <a:pt x="133" y="132"/>
                  </a:cubicBezTo>
                  <a:cubicBezTo>
                    <a:pt x="134" y="131"/>
                    <a:pt x="137" y="129"/>
                    <a:pt x="133" y="123"/>
                  </a:cubicBezTo>
                  <a:cubicBezTo>
                    <a:pt x="130" y="119"/>
                    <a:pt x="127" y="113"/>
                    <a:pt x="129" y="110"/>
                  </a:cubicBezTo>
                  <a:cubicBezTo>
                    <a:pt x="130" y="110"/>
                    <a:pt x="132" y="109"/>
                    <a:pt x="134" y="109"/>
                  </a:cubicBezTo>
                  <a:cubicBezTo>
                    <a:pt x="136" y="109"/>
                    <a:pt x="139" y="110"/>
                    <a:pt x="141" y="110"/>
                  </a:cubicBezTo>
                  <a:cubicBezTo>
                    <a:pt x="143" y="111"/>
                    <a:pt x="144" y="111"/>
                    <a:pt x="145" y="111"/>
                  </a:cubicBezTo>
                  <a:cubicBezTo>
                    <a:pt x="148" y="111"/>
                    <a:pt x="149" y="109"/>
                    <a:pt x="150" y="107"/>
                  </a:cubicBezTo>
                  <a:cubicBezTo>
                    <a:pt x="151" y="105"/>
                    <a:pt x="152" y="102"/>
                    <a:pt x="146" y="99"/>
                  </a:cubicBezTo>
                  <a:cubicBezTo>
                    <a:pt x="142" y="96"/>
                    <a:pt x="137" y="91"/>
                    <a:pt x="137" y="88"/>
                  </a:cubicBezTo>
                  <a:cubicBezTo>
                    <a:pt x="139" y="86"/>
                    <a:pt x="145" y="84"/>
                    <a:pt x="149" y="83"/>
                  </a:cubicBezTo>
                  <a:cubicBezTo>
                    <a:pt x="156" y="83"/>
                    <a:pt x="156" y="79"/>
                    <a:pt x="156" y="77"/>
                  </a:cubicBezTo>
                  <a:cubicBezTo>
                    <a:pt x="156" y="74"/>
                    <a:pt x="156" y="71"/>
                    <a:pt x="149" y="71"/>
                  </a:cubicBezTo>
                  <a:cubicBezTo>
                    <a:pt x="144" y="70"/>
                    <a:pt x="138" y="67"/>
                    <a:pt x="137" y="64"/>
                  </a:cubicBezTo>
                  <a:cubicBezTo>
                    <a:pt x="138" y="62"/>
                    <a:pt x="142" y="58"/>
                    <a:pt x="146" y="55"/>
                  </a:cubicBezTo>
                  <a:cubicBezTo>
                    <a:pt x="152" y="52"/>
                    <a:pt x="150" y="49"/>
                    <a:pt x="149" y="47"/>
                  </a:cubicBezTo>
                  <a:cubicBezTo>
                    <a:pt x="149" y="45"/>
                    <a:pt x="148" y="43"/>
                    <a:pt x="145" y="43"/>
                  </a:cubicBezTo>
                  <a:cubicBezTo>
                    <a:pt x="144" y="43"/>
                    <a:pt x="143" y="43"/>
                    <a:pt x="141" y="43"/>
                  </a:cubicBezTo>
                  <a:cubicBezTo>
                    <a:pt x="139" y="44"/>
                    <a:pt x="136" y="44"/>
                    <a:pt x="134" y="44"/>
                  </a:cubicBezTo>
                  <a:cubicBezTo>
                    <a:pt x="131" y="44"/>
                    <a:pt x="128" y="44"/>
                    <a:pt x="127" y="43"/>
                  </a:cubicBezTo>
                  <a:cubicBezTo>
                    <a:pt x="127" y="40"/>
                    <a:pt x="129" y="35"/>
                    <a:pt x="132" y="31"/>
                  </a:cubicBezTo>
                  <a:cubicBezTo>
                    <a:pt x="136" y="25"/>
                    <a:pt x="134" y="24"/>
                    <a:pt x="132" y="22"/>
                  </a:cubicBezTo>
                  <a:cubicBezTo>
                    <a:pt x="131" y="21"/>
                    <a:pt x="130" y="19"/>
                    <a:pt x="128" y="19"/>
                  </a:cubicBezTo>
                  <a:cubicBezTo>
                    <a:pt x="127" y="19"/>
                    <a:pt x="125" y="20"/>
                    <a:pt x="123" y="22"/>
                  </a:cubicBezTo>
                  <a:cubicBezTo>
                    <a:pt x="120" y="24"/>
                    <a:pt x="115" y="27"/>
                    <a:pt x="112" y="27"/>
                  </a:cubicBezTo>
                  <a:cubicBezTo>
                    <a:pt x="111" y="27"/>
                    <a:pt x="111" y="26"/>
                    <a:pt x="110" y="26"/>
                  </a:cubicBezTo>
                  <a:cubicBezTo>
                    <a:pt x="109" y="24"/>
                    <a:pt x="109" y="18"/>
                    <a:pt x="110" y="13"/>
                  </a:cubicBezTo>
                  <a:cubicBezTo>
                    <a:pt x="112" y="7"/>
                    <a:pt x="109" y="6"/>
                    <a:pt x="106" y="5"/>
                  </a:cubicBezTo>
                  <a:cubicBezTo>
                    <a:pt x="105" y="5"/>
                    <a:pt x="104" y="4"/>
                    <a:pt x="103" y="4"/>
                  </a:cubicBezTo>
                  <a:cubicBezTo>
                    <a:pt x="102" y="4"/>
                    <a:pt x="100" y="5"/>
                    <a:pt x="98" y="9"/>
                  </a:cubicBezTo>
                  <a:cubicBezTo>
                    <a:pt x="95" y="13"/>
                    <a:pt x="91" y="18"/>
                    <a:pt x="88" y="18"/>
                  </a:cubicBezTo>
                  <a:cubicBezTo>
                    <a:pt x="86" y="16"/>
                    <a:pt x="84" y="11"/>
                    <a:pt x="83" y="6"/>
                  </a:cubicBezTo>
                  <a:cubicBezTo>
                    <a:pt x="82" y="0"/>
                    <a:pt x="80" y="0"/>
                    <a:pt x="7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5" name="Freeform 21294">
              <a:extLst>
                <a:ext uri="{FF2B5EF4-FFF2-40B4-BE49-F238E27FC236}">
                  <a16:creationId xmlns:a16="http://schemas.microsoft.com/office/drawing/2014/main" id="{B0391C31-BF46-4408-A15B-6C47E09FA6AC}"/>
                </a:ext>
              </a:extLst>
            </p:cNvPr>
            <p:cNvSpPr>
              <a:spLocks noEditPoints="1"/>
            </p:cNvSpPr>
            <p:nvPr userDrawn="1"/>
          </p:nvSpPr>
          <p:spPr bwMode="auto">
            <a:xfrm>
              <a:off x="6501765" y="4693603"/>
              <a:ext cx="314325" cy="311150"/>
            </a:xfrm>
            <a:custGeom>
              <a:avLst/>
              <a:gdLst>
                <a:gd name="T0" fmla="*/ 44 w 156"/>
                <a:gd name="T1" fmla="*/ 111 h 155"/>
                <a:gd name="T2" fmla="*/ 78 w 156"/>
                <a:gd name="T3" fmla="*/ 30 h 155"/>
                <a:gd name="T4" fmla="*/ 112 w 156"/>
                <a:gd name="T5" fmla="*/ 111 h 155"/>
                <a:gd name="T6" fmla="*/ 77 w 156"/>
                <a:gd name="T7" fmla="*/ 0 h 155"/>
                <a:gd name="T8" fmla="*/ 75 w 156"/>
                <a:gd name="T9" fmla="*/ 0 h 155"/>
                <a:gd name="T10" fmla="*/ 64 w 156"/>
                <a:gd name="T11" fmla="*/ 19 h 155"/>
                <a:gd name="T12" fmla="*/ 49 w 156"/>
                <a:gd name="T13" fmla="*/ 6 h 155"/>
                <a:gd name="T14" fmla="*/ 43 w 156"/>
                <a:gd name="T15" fmla="*/ 15 h 155"/>
                <a:gd name="T16" fmla="*/ 31 w 156"/>
                <a:gd name="T17" fmla="*/ 23 h 155"/>
                <a:gd name="T18" fmla="*/ 22 w 156"/>
                <a:gd name="T19" fmla="*/ 23 h 155"/>
                <a:gd name="T20" fmla="*/ 28 w 156"/>
                <a:gd name="T21" fmla="*/ 44 h 155"/>
                <a:gd name="T22" fmla="*/ 14 w 156"/>
                <a:gd name="T23" fmla="*/ 45 h 155"/>
                <a:gd name="T24" fmla="*/ 6 w 156"/>
                <a:gd name="T25" fmla="*/ 49 h 155"/>
                <a:gd name="T26" fmla="*/ 18 w 156"/>
                <a:gd name="T27" fmla="*/ 66 h 155"/>
                <a:gd name="T28" fmla="*/ 0 w 156"/>
                <a:gd name="T29" fmla="*/ 79 h 155"/>
                <a:gd name="T30" fmla="*/ 19 w 156"/>
                <a:gd name="T31" fmla="*/ 90 h 155"/>
                <a:gd name="T32" fmla="*/ 7 w 156"/>
                <a:gd name="T33" fmla="*/ 109 h 155"/>
                <a:gd name="T34" fmla="*/ 15 w 156"/>
                <a:gd name="T35" fmla="*/ 112 h 155"/>
                <a:gd name="T36" fmla="*/ 28 w 156"/>
                <a:gd name="T37" fmla="*/ 112 h 155"/>
                <a:gd name="T38" fmla="*/ 24 w 156"/>
                <a:gd name="T39" fmla="*/ 134 h 155"/>
                <a:gd name="T40" fmla="*/ 33 w 156"/>
                <a:gd name="T41" fmla="*/ 133 h 155"/>
                <a:gd name="T42" fmla="*/ 45 w 156"/>
                <a:gd name="T43" fmla="*/ 128 h 155"/>
                <a:gd name="T44" fmla="*/ 50 w 156"/>
                <a:gd name="T45" fmla="*/ 150 h 155"/>
                <a:gd name="T46" fmla="*/ 58 w 156"/>
                <a:gd name="T47" fmla="*/ 146 h 155"/>
                <a:gd name="T48" fmla="*/ 74 w 156"/>
                <a:gd name="T49" fmla="*/ 149 h 155"/>
                <a:gd name="T50" fmla="*/ 80 w 156"/>
                <a:gd name="T51" fmla="*/ 155 h 155"/>
                <a:gd name="T52" fmla="*/ 91 w 156"/>
                <a:gd name="T53" fmla="*/ 136 h 155"/>
                <a:gd name="T54" fmla="*/ 102 w 156"/>
                <a:gd name="T55" fmla="*/ 145 h 155"/>
                <a:gd name="T56" fmla="*/ 110 w 156"/>
                <a:gd name="T57" fmla="*/ 148 h 155"/>
                <a:gd name="T58" fmla="*/ 112 w 156"/>
                <a:gd name="T59" fmla="*/ 127 h 155"/>
                <a:gd name="T60" fmla="*/ 128 w 156"/>
                <a:gd name="T61" fmla="*/ 135 h 155"/>
                <a:gd name="T62" fmla="*/ 133 w 156"/>
                <a:gd name="T63" fmla="*/ 124 h 155"/>
                <a:gd name="T64" fmla="*/ 133 w 156"/>
                <a:gd name="T65" fmla="*/ 110 h 155"/>
                <a:gd name="T66" fmla="*/ 144 w 156"/>
                <a:gd name="T67" fmla="*/ 111 h 155"/>
                <a:gd name="T68" fmla="*/ 146 w 156"/>
                <a:gd name="T69" fmla="*/ 99 h 155"/>
                <a:gd name="T70" fmla="*/ 149 w 156"/>
                <a:gd name="T71" fmla="*/ 83 h 155"/>
                <a:gd name="T72" fmla="*/ 149 w 156"/>
                <a:gd name="T73" fmla="*/ 71 h 155"/>
                <a:gd name="T74" fmla="*/ 146 w 156"/>
                <a:gd name="T75" fmla="*/ 55 h 155"/>
                <a:gd name="T76" fmla="*/ 144 w 156"/>
                <a:gd name="T77" fmla="*/ 43 h 155"/>
                <a:gd name="T78" fmla="*/ 134 w 156"/>
                <a:gd name="T79" fmla="*/ 44 h 155"/>
                <a:gd name="T80" fmla="*/ 132 w 156"/>
                <a:gd name="T81" fmla="*/ 31 h 155"/>
                <a:gd name="T82" fmla="*/ 128 w 156"/>
                <a:gd name="T83" fmla="*/ 20 h 155"/>
                <a:gd name="T84" fmla="*/ 111 w 156"/>
                <a:gd name="T85" fmla="*/ 27 h 155"/>
                <a:gd name="T86" fmla="*/ 110 w 156"/>
                <a:gd name="T87" fmla="*/ 14 h 155"/>
                <a:gd name="T88" fmla="*/ 103 w 156"/>
                <a:gd name="T89" fmla="*/ 4 h 155"/>
                <a:gd name="T90" fmla="*/ 87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5" y="125"/>
                    <a:pt x="53" y="121"/>
                    <a:pt x="44" y="111"/>
                  </a:cubicBezTo>
                  <a:cubicBezTo>
                    <a:pt x="25" y="93"/>
                    <a:pt x="25" y="62"/>
                    <a:pt x="44" y="44"/>
                  </a:cubicBezTo>
                  <a:cubicBezTo>
                    <a:pt x="53" y="34"/>
                    <a:pt x="65" y="30"/>
                    <a:pt x="78" y="30"/>
                  </a:cubicBezTo>
                  <a:cubicBezTo>
                    <a:pt x="90" y="30"/>
                    <a:pt x="102" y="34"/>
                    <a:pt x="111" y="44"/>
                  </a:cubicBezTo>
                  <a:cubicBezTo>
                    <a:pt x="130" y="62"/>
                    <a:pt x="130" y="93"/>
                    <a:pt x="112" y="111"/>
                  </a:cubicBezTo>
                  <a:cubicBezTo>
                    <a:pt x="102" y="121"/>
                    <a:pt x="90" y="125"/>
                    <a:pt x="78" y="125"/>
                  </a:cubicBezTo>
                  <a:moveTo>
                    <a:pt x="77" y="0"/>
                  </a:moveTo>
                  <a:cubicBezTo>
                    <a:pt x="77" y="0"/>
                    <a:pt x="76" y="0"/>
                    <a:pt x="76" y="0"/>
                  </a:cubicBezTo>
                  <a:cubicBezTo>
                    <a:pt x="76" y="0"/>
                    <a:pt x="75" y="0"/>
                    <a:pt x="75" y="0"/>
                  </a:cubicBezTo>
                  <a:cubicBezTo>
                    <a:pt x="73" y="0"/>
                    <a:pt x="70" y="0"/>
                    <a:pt x="70" y="6"/>
                  </a:cubicBezTo>
                  <a:cubicBezTo>
                    <a:pt x="69" y="12"/>
                    <a:pt x="66" y="18"/>
                    <a:pt x="64" y="19"/>
                  </a:cubicBezTo>
                  <a:cubicBezTo>
                    <a:pt x="61" y="18"/>
                    <a:pt x="57" y="14"/>
                    <a:pt x="54" y="10"/>
                  </a:cubicBezTo>
                  <a:cubicBezTo>
                    <a:pt x="53" y="7"/>
                    <a:pt x="51" y="6"/>
                    <a:pt x="49" y="6"/>
                  </a:cubicBezTo>
                  <a:cubicBezTo>
                    <a:pt x="48" y="6"/>
                    <a:pt x="47" y="6"/>
                    <a:pt x="46" y="7"/>
                  </a:cubicBezTo>
                  <a:cubicBezTo>
                    <a:pt x="44" y="8"/>
                    <a:pt x="41" y="9"/>
                    <a:pt x="43" y="15"/>
                  </a:cubicBezTo>
                  <a:cubicBezTo>
                    <a:pt x="44" y="19"/>
                    <a:pt x="44" y="25"/>
                    <a:pt x="43" y="27"/>
                  </a:cubicBezTo>
                  <a:cubicBezTo>
                    <a:pt x="40" y="27"/>
                    <a:pt x="35" y="25"/>
                    <a:pt x="31" y="23"/>
                  </a:cubicBezTo>
                  <a:cubicBezTo>
                    <a:pt x="29" y="21"/>
                    <a:pt x="28" y="21"/>
                    <a:pt x="26" y="21"/>
                  </a:cubicBezTo>
                  <a:cubicBezTo>
                    <a:pt x="25" y="21"/>
                    <a:pt x="24" y="22"/>
                    <a:pt x="22" y="23"/>
                  </a:cubicBezTo>
                  <a:cubicBezTo>
                    <a:pt x="21" y="25"/>
                    <a:pt x="18" y="27"/>
                    <a:pt x="23" y="32"/>
                  </a:cubicBezTo>
                  <a:cubicBezTo>
                    <a:pt x="25" y="36"/>
                    <a:pt x="28" y="41"/>
                    <a:pt x="28" y="44"/>
                  </a:cubicBezTo>
                  <a:cubicBezTo>
                    <a:pt x="26" y="45"/>
                    <a:pt x="24" y="46"/>
                    <a:pt x="20" y="46"/>
                  </a:cubicBezTo>
                  <a:cubicBezTo>
                    <a:pt x="18" y="46"/>
                    <a:pt x="16" y="45"/>
                    <a:pt x="14" y="45"/>
                  </a:cubicBezTo>
                  <a:cubicBezTo>
                    <a:pt x="13" y="45"/>
                    <a:pt x="11" y="45"/>
                    <a:pt x="11" y="45"/>
                  </a:cubicBezTo>
                  <a:cubicBezTo>
                    <a:pt x="7" y="45"/>
                    <a:pt x="6" y="47"/>
                    <a:pt x="6" y="49"/>
                  </a:cubicBezTo>
                  <a:cubicBezTo>
                    <a:pt x="5" y="51"/>
                    <a:pt x="3" y="54"/>
                    <a:pt x="9" y="57"/>
                  </a:cubicBezTo>
                  <a:cubicBezTo>
                    <a:pt x="13" y="59"/>
                    <a:pt x="17" y="63"/>
                    <a:pt x="18" y="66"/>
                  </a:cubicBezTo>
                  <a:cubicBezTo>
                    <a:pt x="18" y="68"/>
                    <a:pt x="12" y="71"/>
                    <a:pt x="6" y="72"/>
                  </a:cubicBezTo>
                  <a:cubicBezTo>
                    <a:pt x="0" y="73"/>
                    <a:pt x="0" y="76"/>
                    <a:pt x="0" y="79"/>
                  </a:cubicBezTo>
                  <a:cubicBezTo>
                    <a:pt x="0" y="81"/>
                    <a:pt x="0" y="84"/>
                    <a:pt x="7" y="85"/>
                  </a:cubicBezTo>
                  <a:cubicBezTo>
                    <a:pt x="11" y="86"/>
                    <a:pt x="17" y="87"/>
                    <a:pt x="19" y="90"/>
                  </a:cubicBezTo>
                  <a:cubicBezTo>
                    <a:pt x="19" y="92"/>
                    <a:pt x="14" y="97"/>
                    <a:pt x="10" y="100"/>
                  </a:cubicBezTo>
                  <a:cubicBezTo>
                    <a:pt x="4" y="104"/>
                    <a:pt x="6" y="106"/>
                    <a:pt x="7" y="109"/>
                  </a:cubicBezTo>
                  <a:cubicBezTo>
                    <a:pt x="8" y="110"/>
                    <a:pt x="8" y="113"/>
                    <a:pt x="11" y="113"/>
                  </a:cubicBezTo>
                  <a:cubicBezTo>
                    <a:pt x="12" y="113"/>
                    <a:pt x="14" y="112"/>
                    <a:pt x="15" y="112"/>
                  </a:cubicBezTo>
                  <a:cubicBezTo>
                    <a:pt x="18" y="111"/>
                    <a:pt x="21" y="111"/>
                    <a:pt x="23" y="111"/>
                  </a:cubicBezTo>
                  <a:cubicBezTo>
                    <a:pt x="25" y="111"/>
                    <a:pt x="27" y="111"/>
                    <a:pt x="28" y="112"/>
                  </a:cubicBezTo>
                  <a:cubicBezTo>
                    <a:pt x="29" y="114"/>
                    <a:pt x="27" y="120"/>
                    <a:pt x="24" y="125"/>
                  </a:cubicBezTo>
                  <a:cubicBezTo>
                    <a:pt x="20" y="130"/>
                    <a:pt x="22" y="132"/>
                    <a:pt x="24" y="134"/>
                  </a:cubicBezTo>
                  <a:cubicBezTo>
                    <a:pt x="25" y="135"/>
                    <a:pt x="26" y="136"/>
                    <a:pt x="28" y="136"/>
                  </a:cubicBezTo>
                  <a:cubicBezTo>
                    <a:pt x="30" y="136"/>
                    <a:pt x="31" y="135"/>
                    <a:pt x="33" y="133"/>
                  </a:cubicBezTo>
                  <a:cubicBezTo>
                    <a:pt x="37" y="131"/>
                    <a:pt x="42" y="128"/>
                    <a:pt x="45" y="128"/>
                  </a:cubicBezTo>
                  <a:cubicBezTo>
                    <a:pt x="45" y="128"/>
                    <a:pt x="45" y="128"/>
                    <a:pt x="45" y="128"/>
                  </a:cubicBezTo>
                  <a:cubicBezTo>
                    <a:pt x="47" y="130"/>
                    <a:pt x="47" y="137"/>
                    <a:pt x="46" y="142"/>
                  </a:cubicBezTo>
                  <a:cubicBezTo>
                    <a:pt x="45" y="148"/>
                    <a:pt x="48" y="149"/>
                    <a:pt x="50" y="150"/>
                  </a:cubicBezTo>
                  <a:cubicBezTo>
                    <a:pt x="51" y="150"/>
                    <a:pt x="52" y="151"/>
                    <a:pt x="53" y="151"/>
                  </a:cubicBezTo>
                  <a:cubicBezTo>
                    <a:pt x="55" y="151"/>
                    <a:pt x="57" y="150"/>
                    <a:pt x="58" y="146"/>
                  </a:cubicBezTo>
                  <a:cubicBezTo>
                    <a:pt x="61" y="142"/>
                    <a:pt x="64" y="138"/>
                    <a:pt x="67" y="137"/>
                  </a:cubicBezTo>
                  <a:cubicBezTo>
                    <a:pt x="70" y="138"/>
                    <a:pt x="72" y="144"/>
                    <a:pt x="74" y="149"/>
                  </a:cubicBezTo>
                  <a:cubicBezTo>
                    <a:pt x="75" y="154"/>
                    <a:pt x="77" y="155"/>
                    <a:pt x="79" y="155"/>
                  </a:cubicBezTo>
                  <a:cubicBezTo>
                    <a:pt x="79" y="155"/>
                    <a:pt x="80" y="155"/>
                    <a:pt x="80" y="155"/>
                  </a:cubicBezTo>
                  <a:cubicBezTo>
                    <a:pt x="83" y="155"/>
                    <a:pt x="86" y="155"/>
                    <a:pt x="86" y="148"/>
                  </a:cubicBezTo>
                  <a:cubicBezTo>
                    <a:pt x="87" y="144"/>
                    <a:pt x="89" y="138"/>
                    <a:pt x="91" y="136"/>
                  </a:cubicBezTo>
                  <a:cubicBezTo>
                    <a:pt x="91" y="136"/>
                    <a:pt x="91" y="136"/>
                    <a:pt x="91" y="136"/>
                  </a:cubicBezTo>
                  <a:cubicBezTo>
                    <a:pt x="94" y="136"/>
                    <a:pt x="99" y="141"/>
                    <a:pt x="102" y="145"/>
                  </a:cubicBezTo>
                  <a:cubicBezTo>
                    <a:pt x="104" y="148"/>
                    <a:pt x="105" y="149"/>
                    <a:pt x="107" y="149"/>
                  </a:cubicBezTo>
                  <a:cubicBezTo>
                    <a:pt x="108" y="149"/>
                    <a:pt x="109" y="148"/>
                    <a:pt x="110" y="148"/>
                  </a:cubicBezTo>
                  <a:cubicBezTo>
                    <a:pt x="112" y="147"/>
                    <a:pt x="115" y="146"/>
                    <a:pt x="113" y="139"/>
                  </a:cubicBezTo>
                  <a:cubicBezTo>
                    <a:pt x="112" y="135"/>
                    <a:pt x="111" y="130"/>
                    <a:pt x="112" y="127"/>
                  </a:cubicBezTo>
                  <a:cubicBezTo>
                    <a:pt x="115" y="128"/>
                    <a:pt x="120" y="130"/>
                    <a:pt x="123" y="132"/>
                  </a:cubicBezTo>
                  <a:cubicBezTo>
                    <a:pt x="125" y="134"/>
                    <a:pt x="127" y="135"/>
                    <a:pt x="128" y="135"/>
                  </a:cubicBezTo>
                  <a:cubicBezTo>
                    <a:pt x="130" y="135"/>
                    <a:pt x="131" y="133"/>
                    <a:pt x="132" y="132"/>
                  </a:cubicBezTo>
                  <a:cubicBezTo>
                    <a:pt x="134" y="131"/>
                    <a:pt x="137" y="129"/>
                    <a:pt x="133" y="124"/>
                  </a:cubicBezTo>
                  <a:cubicBezTo>
                    <a:pt x="129" y="119"/>
                    <a:pt x="127" y="113"/>
                    <a:pt x="128" y="110"/>
                  </a:cubicBezTo>
                  <a:cubicBezTo>
                    <a:pt x="129" y="110"/>
                    <a:pt x="131" y="110"/>
                    <a:pt x="133" y="110"/>
                  </a:cubicBezTo>
                  <a:cubicBezTo>
                    <a:pt x="136" y="110"/>
                    <a:pt x="139" y="110"/>
                    <a:pt x="141" y="111"/>
                  </a:cubicBezTo>
                  <a:cubicBezTo>
                    <a:pt x="142" y="111"/>
                    <a:pt x="144" y="111"/>
                    <a:pt x="144" y="111"/>
                  </a:cubicBezTo>
                  <a:cubicBezTo>
                    <a:pt x="148" y="111"/>
                    <a:pt x="148" y="109"/>
                    <a:pt x="149" y="107"/>
                  </a:cubicBezTo>
                  <a:cubicBezTo>
                    <a:pt x="150" y="105"/>
                    <a:pt x="152" y="102"/>
                    <a:pt x="146" y="99"/>
                  </a:cubicBezTo>
                  <a:cubicBezTo>
                    <a:pt x="142" y="96"/>
                    <a:pt x="137" y="91"/>
                    <a:pt x="137" y="88"/>
                  </a:cubicBezTo>
                  <a:cubicBezTo>
                    <a:pt x="139" y="86"/>
                    <a:pt x="144" y="84"/>
                    <a:pt x="149" y="83"/>
                  </a:cubicBezTo>
                  <a:cubicBezTo>
                    <a:pt x="155" y="83"/>
                    <a:pt x="155" y="80"/>
                    <a:pt x="155" y="77"/>
                  </a:cubicBezTo>
                  <a:cubicBezTo>
                    <a:pt x="155" y="75"/>
                    <a:pt x="156" y="72"/>
                    <a:pt x="149" y="71"/>
                  </a:cubicBezTo>
                  <a:cubicBezTo>
                    <a:pt x="144" y="70"/>
                    <a:pt x="138" y="67"/>
                    <a:pt x="137" y="64"/>
                  </a:cubicBezTo>
                  <a:cubicBezTo>
                    <a:pt x="138" y="62"/>
                    <a:pt x="142" y="58"/>
                    <a:pt x="146" y="55"/>
                  </a:cubicBezTo>
                  <a:cubicBezTo>
                    <a:pt x="151" y="52"/>
                    <a:pt x="150" y="49"/>
                    <a:pt x="149" y="47"/>
                  </a:cubicBezTo>
                  <a:cubicBezTo>
                    <a:pt x="148" y="45"/>
                    <a:pt x="148" y="43"/>
                    <a:pt x="144" y="43"/>
                  </a:cubicBezTo>
                  <a:cubicBezTo>
                    <a:pt x="143" y="43"/>
                    <a:pt x="142" y="43"/>
                    <a:pt x="141" y="44"/>
                  </a:cubicBezTo>
                  <a:cubicBezTo>
                    <a:pt x="139" y="44"/>
                    <a:pt x="136" y="44"/>
                    <a:pt x="134" y="44"/>
                  </a:cubicBezTo>
                  <a:cubicBezTo>
                    <a:pt x="131" y="44"/>
                    <a:pt x="128" y="44"/>
                    <a:pt x="127" y="43"/>
                  </a:cubicBezTo>
                  <a:cubicBezTo>
                    <a:pt x="127" y="40"/>
                    <a:pt x="129" y="35"/>
                    <a:pt x="132" y="31"/>
                  </a:cubicBezTo>
                  <a:cubicBezTo>
                    <a:pt x="136" y="26"/>
                    <a:pt x="133" y="24"/>
                    <a:pt x="132" y="22"/>
                  </a:cubicBezTo>
                  <a:cubicBezTo>
                    <a:pt x="131" y="21"/>
                    <a:pt x="130" y="20"/>
                    <a:pt x="128" y="20"/>
                  </a:cubicBezTo>
                  <a:cubicBezTo>
                    <a:pt x="126" y="20"/>
                    <a:pt x="125" y="20"/>
                    <a:pt x="123" y="22"/>
                  </a:cubicBezTo>
                  <a:cubicBezTo>
                    <a:pt x="119" y="24"/>
                    <a:pt x="114" y="27"/>
                    <a:pt x="111" y="27"/>
                  </a:cubicBezTo>
                  <a:cubicBezTo>
                    <a:pt x="111" y="27"/>
                    <a:pt x="110" y="27"/>
                    <a:pt x="110" y="26"/>
                  </a:cubicBezTo>
                  <a:cubicBezTo>
                    <a:pt x="108" y="24"/>
                    <a:pt x="109" y="18"/>
                    <a:pt x="110" y="14"/>
                  </a:cubicBezTo>
                  <a:cubicBezTo>
                    <a:pt x="111" y="7"/>
                    <a:pt x="108" y="6"/>
                    <a:pt x="106" y="5"/>
                  </a:cubicBezTo>
                  <a:cubicBezTo>
                    <a:pt x="105" y="5"/>
                    <a:pt x="104" y="4"/>
                    <a:pt x="103" y="4"/>
                  </a:cubicBezTo>
                  <a:cubicBezTo>
                    <a:pt x="101" y="4"/>
                    <a:pt x="100" y="5"/>
                    <a:pt x="98" y="9"/>
                  </a:cubicBezTo>
                  <a:cubicBezTo>
                    <a:pt x="95" y="13"/>
                    <a:pt x="90" y="18"/>
                    <a:pt x="87" y="18"/>
                  </a:cubicBezTo>
                  <a:cubicBezTo>
                    <a:pt x="85" y="16"/>
                    <a:pt x="83" y="11"/>
                    <a:pt x="82" y="6"/>
                  </a:cubicBezTo>
                  <a:cubicBezTo>
                    <a:pt x="82" y="1"/>
                    <a:pt x="79" y="0"/>
                    <a:pt x="7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6" name="Freeform 21295">
              <a:extLst>
                <a:ext uri="{FF2B5EF4-FFF2-40B4-BE49-F238E27FC236}">
                  <a16:creationId xmlns:a16="http://schemas.microsoft.com/office/drawing/2014/main" id="{48D81749-0F1B-4E64-B5A1-B87AA973FA19}"/>
                </a:ext>
              </a:extLst>
            </p:cNvPr>
            <p:cNvSpPr>
              <a:spLocks/>
            </p:cNvSpPr>
            <p:nvPr userDrawn="1"/>
          </p:nvSpPr>
          <p:spPr bwMode="auto">
            <a:xfrm>
              <a:off x="10141903" y="5436553"/>
              <a:ext cx="265113" cy="171450"/>
            </a:xfrm>
            <a:custGeom>
              <a:avLst/>
              <a:gdLst>
                <a:gd name="T0" fmla="*/ 52 w 131"/>
                <a:gd name="T1" fmla="*/ 0 h 85"/>
                <a:gd name="T2" fmla="*/ 51 w 131"/>
                <a:gd name="T3" fmla="*/ 1 h 85"/>
                <a:gd name="T4" fmla="*/ 50 w 131"/>
                <a:gd name="T5" fmla="*/ 1 h 85"/>
                <a:gd name="T6" fmla="*/ 45 w 131"/>
                <a:gd name="T7" fmla="*/ 7 h 85"/>
                <a:gd name="T8" fmla="*/ 39 w 131"/>
                <a:gd name="T9" fmla="*/ 19 h 85"/>
                <a:gd name="T10" fmla="*/ 29 w 131"/>
                <a:gd name="T11" fmla="*/ 10 h 85"/>
                <a:gd name="T12" fmla="*/ 24 w 131"/>
                <a:gd name="T13" fmla="*/ 6 h 85"/>
                <a:gd name="T14" fmla="*/ 21 w 131"/>
                <a:gd name="T15" fmla="*/ 7 h 85"/>
                <a:gd name="T16" fmla="*/ 18 w 131"/>
                <a:gd name="T17" fmla="*/ 15 h 85"/>
                <a:gd name="T18" fmla="*/ 18 w 131"/>
                <a:gd name="T19" fmla="*/ 28 h 85"/>
                <a:gd name="T20" fmla="*/ 6 w 131"/>
                <a:gd name="T21" fmla="*/ 23 h 85"/>
                <a:gd name="T22" fmla="*/ 1 w 131"/>
                <a:gd name="T23" fmla="*/ 21 h 85"/>
                <a:gd name="T24" fmla="*/ 0 w 131"/>
                <a:gd name="T25" fmla="*/ 22 h 85"/>
                <a:gd name="T26" fmla="*/ 17 w 131"/>
                <a:gd name="T27" fmla="*/ 45 h 85"/>
                <a:gd name="T28" fmla="*/ 19 w 131"/>
                <a:gd name="T29" fmla="*/ 44 h 85"/>
                <a:gd name="T30" fmla="*/ 53 w 131"/>
                <a:gd name="T31" fmla="*/ 30 h 85"/>
                <a:gd name="T32" fmla="*/ 86 w 131"/>
                <a:gd name="T33" fmla="*/ 44 h 85"/>
                <a:gd name="T34" fmla="*/ 101 w 131"/>
                <a:gd name="T35" fmla="*/ 79 h 85"/>
                <a:gd name="T36" fmla="*/ 119 w 131"/>
                <a:gd name="T37" fmla="*/ 85 h 85"/>
                <a:gd name="T38" fmla="*/ 124 w 131"/>
                <a:gd name="T39" fmla="*/ 84 h 85"/>
                <a:gd name="T40" fmla="*/ 130 w 131"/>
                <a:gd name="T41" fmla="*/ 78 h 85"/>
                <a:gd name="T42" fmla="*/ 124 w 131"/>
                <a:gd name="T43" fmla="*/ 71 h 85"/>
                <a:gd name="T44" fmla="*/ 112 w 131"/>
                <a:gd name="T45" fmla="*/ 65 h 85"/>
                <a:gd name="T46" fmla="*/ 121 w 131"/>
                <a:gd name="T47" fmla="*/ 56 h 85"/>
                <a:gd name="T48" fmla="*/ 124 w 131"/>
                <a:gd name="T49" fmla="*/ 48 h 85"/>
                <a:gd name="T50" fmla="*/ 119 w 131"/>
                <a:gd name="T51" fmla="*/ 44 h 85"/>
                <a:gd name="T52" fmla="*/ 116 w 131"/>
                <a:gd name="T53" fmla="*/ 44 h 85"/>
                <a:gd name="T54" fmla="*/ 109 w 131"/>
                <a:gd name="T55" fmla="*/ 45 h 85"/>
                <a:gd name="T56" fmla="*/ 102 w 131"/>
                <a:gd name="T57" fmla="*/ 43 h 85"/>
                <a:gd name="T58" fmla="*/ 107 w 131"/>
                <a:gd name="T59" fmla="*/ 31 h 85"/>
                <a:gd name="T60" fmla="*/ 107 w 131"/>
                <a:gd name="T61" fmla="*/ 22 h 85"/>
                <a:gd name="T62" fmla="*/ 103 w 131"/>
                <a:gd name="T63" fmla="*/ 20 h 85"/>
                <a:gd name="T64" fmla="*/ 98 w 131"/>
                <a:gd name="T65" fmla="*/ 22 h 85"/>
                <a:gd name="T66" fmla="*/ 86 w 131"/>
                <a:gd name="T67" fmla="*/ 27 h 85"/>
                <a:gd name="T68" fmla="*/ 85 w 131"/>
                <a:gd name="T69" fmla="*/ 27 h 85"/>
                <a:gd name="T70" fmla="*/ 85 w 131"/>
                <a:gd name="T71" fmla="*/ 14 h 85"/>
                <a:gd name="T72" fmla="*/ 81 w 131"/>
                <a:gd name="T73" fmla="*/ 6 h 85"/>
                <a:gd name="T74" fmla="*/ 78 w 131"/>
                <a:gd name="T75" fmla="*/ 5 h 85"/>
                <a:gd name="T76" fmla="*/ 73 w 131"/>
                <a:gd name="T77" fmla="*/ 9 h 85"/>
                <a:gd name="T78" fmla="*/ 63 w 131"/>
                <a:gd name="T79" fmla="*/ 18 h 85"/>
                <a:gd name="T80" fmla="*/ 57 w 131"/>
                <a:gd name="T81" fmla="*/ 7 h 85"/>
                <a:gd name="T82" fmla="*/ 52 w 131"/>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85">
                  <a:moveTo>
                    <a:pt x="52" y="0"/>
                  </a:moveTo>
                  <a:cubicBezTo>
                    <a:pt x="52" y="0"/>
                    <a:pt x="51" y="1"/>
                    <a:pt x="51" y="1"/>
                  </a:cubicBezTo>
                  <a:cubicBezTo>
                    <a:pt x="51" y="1"/>
                    <a:pt x="50" y="1"/>
                    <a:pt x="50" y="1"/>
                  </a:cubicBezTo>
                  <a:cubicBezTo>
                    <a:pt x="48" y="1"/>
                    <a:pt x="45" y="1"/>
                    <a:pt x="45" y="7"/>
                  </a:cubicBezTo>
                  <a:cubicBezTo>
                    <a:pt x="44" y="12"/>
                    <a:pt x="41" y="18"/>
                    <a:pt x="39" y="19"/>
                  </a:cubicBezTo>
                  <a:cubicBezTo>
                    <a:pt x="36" y="18"/>
                    <a:pt x="32" y="14"/>
                    <a:pt x="29" y="10"/>
                  </a:cubicBezTo>
                  <a:cubicBezTo>
                    <a:pt x="28" y="7"/>
                    <a:pt x="26" y="6"/>
                    <a:pt x="24" y="6"/>
                  </a:cubicBezTo>
                  <a:cubicBezTo>
                    <a:pt x="23" y="6"/>
                    <a:pt x="22" y="7"/>
                    <a:pt x="21" y="7"/>
                  </a:cubicBezTo>
                  <a:cubicBezTo>
                    <a:pt x="19" y="8"/>
                    <a:pt x="16" y="9"/>
                    <a:pt x="18" y="15"/>
                  </a:cubicBezTo>
                  <a:cubicBezTo>
                    <a:pt x="19" y="20"/>
                    <a:pt x="19" y="25"/>
                    <a:pt x="18" y="28"/>
                  </a:cubicBezTo>
                  <a:cubicBezTo>
                    <a:pt x="15" y="28"/>
                    <a:pt x="10" y="26"/>
                    <a:pt x="6" y="23"/>
                  </a:cubicBezTo>
                  <a:cubicBezTo>
                    <a:pt x="4" y="22"/>
                    <a:pt x="3" y="21"/>
                    <a:pt x="1" y="21"/>
                  </a:cubicBezTo>
                  <a:cubicBezTo>
                    <a:pt x="1" y="21"/>
                    <a:pt x="0" y="21"/>
                    <a:pt x="0" y="22"/>
                  </a:cubicBezTo>
                  <a:cubicBezTo>
                    <a:pt x="17" y="45"/>
                    <a:pt x="17" y="45"/>
                    <a:pt x="17" y="45"/>
                  </a:cubicBezTo>
                  <a:cubicBezTo>
                    <a:pt x="18" y="45"/>
                    <a:pt x="18" y="45"/>
                    <a:pt x="19" y="44"/>
                  </a:cubicBezTo>
                  <a:cubicBezTo>
                    <a:pt x="28" y="35"/>
                    <a:pt x="40" y="30"/>
                    <a:pt x="53" y="30"/>
                  </a:cubicBezTo>
                  <a:cubicBezTo>
                    <a:pt x="65" y="30"/>
                    <a:pt x="77" y="35"/>
                    <a:pt x="86" y="44"/>
                  </a:cubicBezTo>
                  <a:cubicBezTo>
                    <a:pt x="96" y="54"/>
                    <a:pt x="101" y="66"/>
                    <a:pt x="101" y="79"/>
                  </a:cubicBezTo>
                  <a:cubicBezTo>
                    <a:pt x="107" y="80"/>
                    <a:pt x="113" y="82"/>
                    <a:pt x="119" y="85"/>
                  </a:cubicBezTo>
                  <a:cubicBezTo>
                    <a:pt x="120" y="85"/>
                    <a:pt x="122" y="84"/>
                    <a:pt x="124" y="84"/>
                  </a:cubicBezTo>
                  <a:cubicBezTo>
                    <a:pt x="130" y="83"/>
                    <a:pt x="130" y="80"/>
                    <a:pt x="130" y="78"/>
                  </a:cubicBezTo>
                  <a:cubicBezTo>
                    <a:pt x="130" y="75"/>
                    <a:pt x="131" y="72"/>
                    <a:pt x="124" y="71"/>
                  </a:cubicBezTo>
                  <a:cubicBezTo>
                    <a:pt x="119" y="70"/>
                    <a:pt x="113" y="68"/>
                    <a:pt x="112" y="65"/>
                  </a:cubicBezTo>
                  <a:cubicBezTo>
                    <a:pt x="113" y="62"/>
                    <a:pt x="117" y="58"/>
                    <a:pt x="121" y="56"/>
                  </a:cubicBezTo>
                  <a:cubicBezTo>
                    <a:pt x="126" y="53"/>
                    <a:pt x="125" y="50"/>
                    <a:pt x="124" y="48"/>
                  </a:cubicBezTo>
                  <a:cubicBezTo>
                    <a:pt x="123" y="46"/>
                    <a:pt x="123" y="44"/>
                    <a:pt x="119" y="44"/>
                  </a:cubicBezTo>
                  <a:cubicBezTo>
                    <a:pt x="118" y="44"/>
                    <a:pt x="117" y="44"/>
                    <a:pt x="116" y="44"/>
                  </a:cubicBezTo>
                  <a:cubicBezTo>
                    <a:pt x="114" y="45"/>
                    <a:pt x="111" y="45"/>
                    <a:pt x="109" y="45"/>
                  </a:cubicBezTo>
                  <a:cubicBezTo>
                    <a:pt x="106" y="45"/>
                    <a:pt x="103" y="44"/>
                    <a:pt x="102" y="43"/>
                  </a:cubicBezTo>
                  <a:cubicBezTo>
                    <a:pt x="102" y="40"/>
                    <a:pt x="104" y="35"/>
                    <a:pt x="107" y="31"/>
                  </a:cubicBezTo>
                  <a:cubicBezTo>
                    <a:pt x="111" y="26"/>
                    <a:pt x="108" y="24"/>
                    <a:pt x="107" y="22"/>
                  </a:cubicBezTo>
                  <a:cubicBezTo>
                    <a:pt x="106" y="21"/>
                    <a:pt x="105" y="20"/>
                    <a:pt x="103" y="20"/>
                  </a:cubicBezTo>
                  <a:cubicBezTo>
                    <a:pt x="101" y="20"/>
                    <a:pt x="100" y="21"/>
                    <a:pt x="98" y="22"/>
                  </a:cubicBezTo>
                  <a:cubicBezTo>
                    <a:pt x="94" y="25"/>
                    <a:pt x="89" y="27"/>
                    <a:pt x="86" y="27"/>
                  </a:cubicBezTo>
                  <a:cubicBezTo>
                    <a:pt x="86" y="27"/>
                    <a:pt x="85" y="27"/>
                    <a:pt x="85" y="27"/>
                  </a:cubicBezTo>
                  <a:cubicBezTo>
                    <a:pt x="83" y="24"/>
                    <a:pt x="84" y="19"/>
                    <a:pt x="85" y="14"/>
                  </a:cubicBezTo>
                  <a:cubicBezTo>
                    <a:pt x="86" y="8"/>
                    <a:pt x="83" y="7"/>
                    <a:pt x="81" y="6"/>
                  </a:cubicBezTo>
                  <a:cubicBezTo>
                    <a:pt x="80" y="5"/>
                    <a:pt x="79" y="5"/>
                    <a:pt x="78" y="5"/>
                  </a:cubicBezTo>
                  <a:cubicBezTo>
                    <a:pt x="76" y="5"/>
                    <a:pt x="75" y="6"/>
                    <a:pt x="73" y="9"/>
                  </a:cubicBezTo>
                  <a:cubicBezTo>
                    <a:pt x="70" y="14"/>
                    <a:pt x="65" y="18"/>
                    <a:pt x="63" y="18"/>
                  </a:cubicBezTo>
                  <a:cubicBezTo>
                    <a:pt x="60" y="17"/>
                    <a:pt x="58" y="11"/>
                    <a:pt x="57" y="7"/>
                  </a:cubicBezTo>
                  <a:cubicBezTo>
                    <a:pt x="57" y="1"/>
                    <a:pt x="54" y="0"/>
                    <a:pt x="5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7" name="Freeform 21296">
              <a:extLst>
                <a:ext uri="{FF2B5EF4-FFF2-40B4-BE49-F238E27FC236}">
                  <a16:creationId xmlns:a16="http://schemas.microsoft.com/office/drawing/2014/main" id="{24488515-C495-41CF-B84F-2ED833E495E8}"/>
                </a:ext>
              </a:extLst>
            </p:cNvPr>
            <p:cNvSpPr>
              <a:spLocks noEditPoints="1"/>
            </p:cNvSpPr>
            <p:nvPr userDrawn="1"/>
          </p:nvSpPr>
          <p:spPr bwMode="auto">
            <a:xfrm>
              <a:off x="10400665" y="3888740"/>
              <a:ext cx="242888" cy="268288"/>
            </a:xfrm>
            <a:custGeom>
              <a:avLst/>
              <a:gdLst>
                <a:gd name="T0" fmla="*/ 24 w 120"/>
                <a:gd name="T1" fmla="*/ 96 h 133"/>
                <a:gd name="T2" fmla="*/ 53 w 120"/>
                <a:gd name="T3" fmla="*/ 25 h 133"/>
                <a:gd name="T4" fmla="*/ 82 w 120"/>
                <a:gd name="T5" fmla="*/ 96 h 133"/>
                <a:gd name="T6" fmla="*/ 52 w 120"/>
                <a:gd name="T7" fmla="*/ 0 h 133"/>
                <a:gd name="T8" fmla="*/ 51 w 120"/>
                <a:gd name="T9" fmla="*/ 0 h 133"/>
                <a:gd name="T10" fmla="*/ 41 w 120"/>
                <a:gd name="T11" fmla="*/ 16 h 133"/>
                <a:gd name="T12" fmla="*/ 28 w 120"/>
                <a:gd name="T13" fmla="*/ 5 h 133"/>
                <a:gd name="T14" fmla="*/ 23 w 120"/>
                <a:gd name="T15" fmla="*/ 13 h 133"/>
                <a:gd name="T16" fmla="*/ 13 w 120"/>
                <a:gd name="T17" fmla="*/ 19 h 133"/>
                <a:gd name="T18" fmla="*/ 5 w 120"/>
                <a:gd name="T19" fmla="*/ 20 h 133"/>
                <a:gd name="T20" fmla="*/ 10 w 120"/>
                <a:gd name="T21" fmla="*/ 38 h 133"/>
                <a:gd name="T22" fmla="*/ 0 w 120"/>
                <a:gd name="T23" fmla="*/ 39 h 133"/>
                <a:gd name="T24" fmla="*/ 24 w 120"/>
                <a:gd name="T25" fmla="*/ 110 h 133"/>
                <a:gd name="T26" fmla="*/ 26 w 120"/>
                <a:gd name="T27" fmla="*/ 122 h 133"/>
                <a:gd name="T28" fmla="*/ 32 w 120"/>
                <a:gd name="T29" fmla="*/ 130 h 133"/>
                <a:gd name="T30" fmla="*/ 44 w 120"/>
                <a:gd name="T31" fmla="*/ 118 h 133"/>
                <a:gd name="T32" fmla="*/ 54 w 120"/>
                <a:gd name="T33" fmla="*/ 133 h 133"/>
                <a:gd name="T34" fmla="*/ 60 w 120"/>
                <a:gd name="T35" fmla="*/ 128 h 133"/>
                <a:gd name="T36" fmla="*/ 64 w 120"/>
                <a:gd name="T37" fmla="*/ 117 h 133"/>
                <a:gd name="T38" fmla="*/ 78 w 120"/>
                <a:gd name="T39" fmla="*/ 128 h 133"/>
                <a:gd name="T40" fmla="*/ 83 w 120"/>
                <a:gd name="T41" fmla="*/ 120 h 133"/>
                <a:gd name="T42" fmla="*/ 92 w 120"/>
                <a:gd name="T43" fmla="*/ 114 h 133"/>
                <a:gd name="T44" fmla="*/ 100 w 120"/>
                <a:gd name="T45" fmla="*/ 114 h 133"/>
                <a:gd name="T46" fmla="*/ 96 w 120"/>
                <a:gd name="T47" fmla="*/ 95 h 133"/>
                <a:gd name="T48" fmla="*/ 107 w 120"/>
                <a:gd name="T49" fmla="*/ 95 h 133"/>
                <a:gd name="T50" fmla="*/ 114 w 120"/>
                <a:gd name="T51" fmla="*/ 92 h 133"/>
                <a:gd name="T52" fmla="*/ 104 w 120"/>
                <a:gd name="T53" fmla="*/ 76 h 133"/>
                <a:gd name="T54" fmla="*/ 120 w 120"/>
                <a:gd name="T55" fmla="*/ 66 h 133"/>
                <a:gd name="T56" fmla="*/ 104 w 120"/>
                <a:gd name="T57" fmla="*/ 55 h 133"/>
                <a:gd name="T58" fmla="*/ 114 w 120"/>
                <a:gd name="T59" fmla="*/ 40 h 133"/>
                <a:gd name="T60" fmla="*/ 107 w 120"/>
                <a:gd name="T61" fmla="*/ 37 h 133"/>
                <a:gd name="T62" fmla="*/ 95 w 120"/>
                <a:gd name="T63" fmla="*/ 37 h 133"/>
                <a:gd name="T64" fmla="*/ 99 w 120"/>
                <a:gd name="T65" fmla="*/ 19 h 133"/>
                <a:gd name="T66" fmla="*/ 92 w 120"/>
                <a:gd name="T67" fmla="*/ 19 h 133"/>
                <a:gd name="T68" fmla="*/ 80 w 120"/>
                <a:gd name="T69" fmla="*/ 23 h 133"/>
                <a:gd name="T70" fmla="*/ 77 w 120"/>
                <a:gd name="T71" fmla="*/ 4 h 133"/>
                <a:gd name="T72" fmla="*/ 70 w 120"/>
                <a:gd name="T73" fmla="*/ 7 h 133"/>
                <a:gd name="T74" fmla="*/ 57 w 120"/>
                <a:gd name="T75" fmla="*/ 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3">
                  <a:moveTo>
                    <a:pt x="53" y="108"/>
                  </a:moveTo>
                  <a:cubicBezTo>
                    <a:pt x="42" y="108"/>
                    <a:pt x="32" y="104"/>
                    <a:pt x="24" y="96"/>
                  </a:cubicBezTo>
                  <a:cubicBezTo>
                    <a:pt x="7" y="80"/>
                    <a:pt x="7" y="54"/>
                    <a:pt x="23" y="37"/>
                  </a:cubicBezTo>
                  <a:cubicBezTo>
                    <a:pt x="32" y="29"/>
                    <a:pt x="42" y="25"/>
                    <a:pt x="53" y="25"/>
                  </a:cubicBezTo>
                  <a:cubicBezTo>
                    <a:pt x="63" y="25"/>
                    <a:pt x="74" y="29"/>
                    <a:pt x="82" y="37"/>
                  </a:cubicBezTo>
                  <a:cubicBezTo>
                    <a:pt x="98" y="53"/>
                    <a:pt x="98" y="80"/>
                    <a:pt x="82" y="96"/>
                  </a:cubicBezTo>
                  <a:cubicBezTo>
                    <a:pt x="74" y="104"/>
                    <a:pt x="63" y="108"/>
                    <a:pt x="53" y="108"/>
                  </a:cubicBezTo>
                  <a:moveTo>
                    <a:pt x="52" y="0"/>
                  </a:moveTo>
                  <a:cubicBezTo>
                    <a:pt x="52" y="0"/>
                    <a:pt x="52" y="0"/>
                    <a:pt x="51" y="0"/>
                  </a:cubicBezTo>
                  <a:cubicBezTo>
                    <a:pt x="51" y="0"/>
                    <a:pt x="51" y="0"/>
                    <a:pt x="51" y="0"/>
                  </a:cubicBezTo>
                  <a:cubicBezTo>
                    <a:pt x="49" y="0"/>
                    <a:pt x="46" y="0"/>
                    <a:pt x="46" y="5"/>
                  </a:cubicBezTo>
                  <a:cubicBezTo>
                    <a:pt x="45" y="10"/>
                    <a:pt x="43" y="15"/>
                    <a:pt x="41" y="16"/>
                  </a:cubicBezTo>
                  <a:cubicBezTo>
                    <a:pt x="38" y="15"/>
                    <a:pt x="35" y="12"/>
                    <a:pt x="33" y="8"/>
                  </a:cubicBezTo>
                  <a:cubicBezTo>
                    <a:pt x="31" y="6"/>
                    <a:pt x="30" y="5"/>
                    <a:pt x="28" y="5"/>
                  </a:cubicBezTo>
                  <a:cubicBezTo>
                    <a:pt x="27" y="5"/>
                    <a:pt x="26" y="5"/>
                    <a:pt x="26" y="6"/>
                  </a:cubicBezTo>
                  <a:cubicBezTo>
                    <a:pt x="24" y="6"/>
                    <a:pt x="21" y="7"/>
                    <a:pt x="23" y="13"/>
                  </a:cubicBezTo>
                  <a:cubicBezTo>
                    <a:pt x="24" y="16"/>
                    <a:pt x="24" y="21"/>
                    <a:pt x="23" y="23"/>
                  </a:cubicBezTo>
                  <a:cubicBezTo>
                    <a:pt x="20" y="23"/>
                    <a:pt x="16" y="22"/>
                    <a:pt x="13" y="19"/>
                  </a:cubicBezTo>
                  <a:cubicBezTo>
                    <a:pt x="11" y="18"/>
                    <a:pt x="10" y="18"/>
                    <a:pt x="9" y="18"/>
                  </a:cubicBezTo>
                  <a:cubicBezTo>
                    <a:pt x="7" y="18"/>
                    <a:pt x="6" y="19"/>
                    <a:pt x="5" y="20"/>
                  </a:cubicBezTo>
                  <a:cubicBezTo>
                    <a:pt x="4" y="21"/>
                    <a:pt x="2" y="23"/>
                    <a:pt x="5" y="27"/>
                  </a:cubicBezTo>
                  <a:cubicBezTo>
                    <a:pt x="8" y="31"/>
                    <a:pt x="10" y="35"/>
                    <a:pt x="10" y="38"/>
                  </a:cubicBezTo>
                  <a:cubicBezTo>
                    <a:pt x="9" y="39"/>
                    <a:pt x="6" y="39"/>
                    <a:pt x="3" y="39"/>
                  </a:cubicBezTo>
                  <a:cubicBezTo>
                    <a:pt x="2" y="39"/>
                    <a:pt x="1" y="39"/>
                    <a:pt x="0" y="39"/>
                  </a:cubicBezTo>
                  <a:cubicBezTo>
                    <a:pt x="8" y="63"/>
                    <a:pt x="15" y="87"/>
                    <a:pt x="20" y="112"/>
                  </a:cubicBezTo>
                  <a:cubicBezTo>
                    <a:pt x="22" y="111"/>
                    <a:pt x="23" y="110"/>
                    <a:pt x="24" y="110"/>
                  </a:cubicBezTo>
                  <a:cubicBezTo>
                    <a:pt x="24" y="110"/>
                    <a:pt x="25" y="110"/>
                    <a:pt x="25" y="110"/>
                  </a:cubicBezTo>
                  <a:cubicBezTo>
                    <a:pt x="26" y="112"/>
                    <a:pt x="27" y="118"/>
                    <a:pt x="26" y="122"/>
                  </a:cubicBezTo>
                  <a:cubicBezTo>
                    <a:pt x="24" y="128"/>
                    <a:pt x="27" y="128"/>
                    <a:pt x="29" y="129"/>
                  </a:cubicBezTo>
                  <a:cubicBezTo>
                    <a:pt x="30" y="129"/>
                    <a:pt x="31" y="130"/>
                    <a:pt x="32" y="130"/>
                  </a:cubicBezTo>
                  <a:cubicBezTo>
                    <a:pt x="33" y="130"/>
                    <a:pt x="35" y="129"/>
                    <a:pt x="36" y="126"/>
                  </a:cubicBezTo>
                  <a:cubicBezTo>
                    <a:pt x="38" y="122"/>
                    <a:pt x="41" y="119"/>
                    <a:pt x="44" y="118"/>
                  </a:cubicBezTo>
                  <a:cubicBezTo>
                    <a:pt x="46" y="119"/>
                    <a:pt x="48" y="124"/>
                    <a:pt x="49" y="128"/>
                  </a:cubicBezTo>
                  <a:cubicBezTo>
                    <a:pt x="50" y="133"/>
                    <a:pt x="52" y="133"/>
                    <a:pt x="54" y="133"/>
                  </a:cubicBezTo>
                  <a:cubicBezTo>
                    <a:pt x="54" y="133"/>
                    <a:pt x="55" y="133"/>
                    <a:pt x="55" y="133"/>
                  </a:cubicBezTo>
                  <a:cubicBezTo>
                    <a:pt x="57" y="133"/>
                    <a:pt x="60" y="133"/>
                    <a:pt x="60" y="128"/>
                  </a:cubicBezTo>
                  <a:cubicBezTo>
                    <a:pt x="61" y="124"/>
                    <a:pt x="62" y="119"/>
                    <a:pt x="64" y="117"/>
                  </a:cubicBezTo>
                  <a:cubicBezTo>
                    <a:pt x="64" y="117"/>
                    <a:pt x="64" y="117"/>
                    <a:pt x="64" y="117"/>
                  </a:cubicBezTo>
                  <a:cubicBezTo>
                    <a:pt x="67" y="117"/>
                    <a:pt x="71" y="121"/>
                    <a:pt x="73" y="125"/>
                  </a:cubicBezTo>
                  <a:cubicBezTo>
                    <a:pt x="75" y="127"/>
                    <a:pt x="77" y="128"/>
                    <a:pt x="78" y="128"/>
                  </a:cubicBezTo>
                  <a:cubicBezTo>
                    <a:pt x="79" y="128"/>
                    <a:pt x="80" y="128"/>
                    <a:pt x="81" y="127"/>
                  </a:cubicBezTo>
                  <a:cubicBezTo>
                    <a:pt x="83" y="126"/>
                    <a:pt x="85" y="126"/>
                    <a:pt x="83" y="120"/>
                  </a:cubicBezTo>
                  <a:cubicBezTo>
                    <a:pt x="82" y="116"/>
                    <a:pt x="82" y="112"/>
                    <a:pt x="83" y="110"/>
                  </a:cubicBezTo>
                  <a:cubicBezTo>
                    <a:pt x="85" y="110"/>
                    <a:pt x="89" y="112"/>
                    <a:pt x="92" y="114"/>
                  </a:cubicBezTo>
                  <a:cubicBezTo>
                    <a:pt x="94" y="115"/>
                    <a:pt x="95" y="116"/>
                    <a:pt x="96" y="116"/>
                  </a:cubicBezTo>
                  <a:cubicBezTo>
                    <a:pt x="98" y="116"/>
                    <a:pt x="99" y="115"/>
                    <a:pt x="100" y="114"/>
                  </a:cubicBezTo>
                  <a:cubicBezTo>
                    <a:pt x="101" y="112"/>
                    <a:pt x="104" y="111"/>
                    <a:pt x="100" y="106"/>
                  </a:cubicBezTo>
                  <a:cubicBezTo>
                    <a:pt x="97" y="103"/>
                    <a:pt x="95" y="97"/>
                    <a:pt x="96" y="95"/>
                  </a:cubicBezTo>
                  <a:cubicBezTo>
                    <a:pt x="97" y="94"/>
                    <a:pt x="99" y="94"/>
                    <a:pt x="101" y="94"/>
                  </a:cubicBezTo>
                  <a:cubicBezTo>
                    <a:pt x="103" y="94"/>
                    <a:pt x="105" y="95"/>
                    <a:pt x="107" y="95"/>
                  </a:cubicBezTo>
                  <a:cubicBezTo>
                    <a:pt x="109" y="95"/>
                    <a:pt x="110" y="96"/>
                    <a:pt x="110" y="96"/>
                  </a:cubicBezTo>
                  <a:cubicBezTo>
                    <a:pt x="113" y="96"/>
                    <a:pt x="114" y="94"/>
                    <a:pt x="114" y="92"/>
                  </a:cubicBezTo>
                  <a:cubicBezTo>
                    <a:pt x="115" y="90"/>
                    <a:pt x="117" y="88"/>
                    <a:pt x="112" y="85"/>
                  </a:cubicBezTo>
                  <a:cubicBezTo>
                    <a:pt x="108" y="82"/>
                    <a:pt x="104" y="78"/>
                    <a:pt x="104" y="76"/>
                  </a:cubicBezTo>
                  <a:cubicBezTo>
                    <a:pt x="106" y="74"/>
                    <a:pt x="110" y="72"/>
                    <a:pt x="114" y="72"/>
                  </a:cubicBezTo>
                  <a:cubicBezTo>
                    <a:pt x="120" y="71"/>
                    <a:pt x="120" y="68"/>
                    <a:pt x="120" y="66"/>
                  </a:cubicBezTo>
                  <a:cubicBezTo>
                    <a:pt x="120" y="64"/>
                    <a:pt x="120" y="61"/>
                    <a:pt x="114" y="61"/>
                  </a:cubicBezTo>
                  <a:cubicBezTo>
                    <a:pt x="110" y="60"/>
                    <a:pt x="104" y="58"/>
                    <a:pt x="104" y="55"/>
                  </a:cubicBezTo>
                  <a:cubicBezTo>
                    <a:pt x="104" y="53"/>
                    <a:pt x="108" y="50"/>
                    <a:pt x="111" y="48"/>
                  </a:cubicBezTo>
                  <a:cubicBezTo>
                    <a:pt x="116" y="45"/>
                    <a:pt x="115" y="42"/>
                    <a:pt x="114" y="40"/>
                  </a:cubicBezTo>
                  <a:cubicBezTo>
                    <a:pt x="114" y="39"/>
                    <a:pt x="113" y="37"/>
                    <a:pt x="110" y="37"/>
                  </a:cubicBezTo>
                  <a:cubicBezTo>
                    <a:pt x="109" y="37"/>
                    <a:pt x="108" y="37"/>
                    <a:pt x="107" y="37"/>
                  </a:cubicBezTo>
                  <a:cubicBezTo>
                    <a:pt x="105" y="38"/>
                    <a:pt x="103" y="38"/>
                    <a:pt x="101" y="38"/>
                  </a:cubicBezTo>
                  <a:cubicBezTo>
                    <a:pt x="98" y="38"/>
                    <a:pt x="96" y="38"/>
                    <a:pt x="95" y="37"/>
                  </a:cubicBezTo>
                  <a:cubicBezTo>
                    <a:pt x="95" y="34"/>
                    <a:pt x="97" y="30"/>
                    <a:pt x="99" y="26"/>
                  </a:cubicBezTo>
                  <a:cubicBezTo>
                    <a:pt x="103" y="22"/>
                    <a:pt x="101" y="20"/>
                    <a:pt x="99" y="19"/>
                  </a:cubicBezTo>
                  <a:cubicBezTo>
                    <a:pt x="98" y="18"/>
                    <a:pt x="97" y="17"/>
                    <a:pt x="96" y="17"/>
                  </a:cubicBezTo>
                  <a:cubicBezTo>
                    <a:pt x="95" y="17"/>
                    <a:pt x="94" y="17"/>
                    <a:pt x="92" y="19"/>
                  </a:cubicBezTo>
                  <a:cubicBezTo>
                    <a:pt x="89" y="21"/>
                    <a:pt x="84" y="23"/>
                    <a:pt x="82" y="23"/>
                  </a:cubicBezTo>
                  <a:cubicBezTo>
                    <a:pt x="81" y="23"/>
                    <a:pt x="81" y="23"/>
                    <a:pt x="80" y="23"/>
                  </a:cubicBezTo>
                  <a:cubicBezTo>
                    <a:pt x="79" y="20"/>
                    <a:pt x="79" y="15"/>
                    <a:pt x="80" y="11"/>
                  </a:cubicBezTo>
                  <a:cubicBezTo>
                    <a:pt x="82" y="6"/>
                    <a:pt x="79" y="5"/>
                    <a:pt x="77" y="4"/>
                  </a:cubicBezTo>
                  <a:cubicBezTo>
                    <a:pt x="76" y="4"/>
                    <a:pt x="75" y="4"/>
                    <a:pt x="74" y="4"/>
                  </a:cubicBezTo>
                  <a:cubicBezTo>
                    <a:pt x="73" y="4"/>
                    <a:pt x="72" y="4"/>
                    <a:pt x="70" y="7"/>
                  </a:cubicBezTo>
                  <a:cubicBezTo>
                    <a:pt x="68" y="11"/>
                    <a:pt x="64" y="15"/>
                    <a:pt x="61" y="15"/>
                  </a:cubicBezTo>
                  <a:cubicBezTo>
                    <a:pt x="59" y="14"/>
                    <a:pt x="58" y="9"/>
                    <a:pt x="57" y="5"/>
                  </a:cubicBezTo>
                  <a:cubicBezTo>
                    <a:pt x="56" y="0"/>
                    <a:pt x="54" y="0"/>
                    <a:pt x="5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8" name="Freeform 21297">
              <a:extLst>
                <a:ext uri="{FF2B5EF4-FFF2-40B4-BE49-F238E27FC236}">
                  <a16:creationId xmlns:a16="http://schemas.microsoft.com/office/drawing/2014/main" id="{BF4BF5BB-036B-4031-903D-0E2CC5D9A01D}"/>
                </a:ext>
              </a:extLst>
            </p:cNvPr>
            <p:cNvSpPr>
              <a:spLocks noEditPoints="1"/>
            </p:cNvSpPr>
            <p:nvPr userDrawn="1"/>
          </p:nvSpPr>
          <p:spPr bwMode="auto">
            <a:xfrm>
              <a:off x="6233478" y="2250440"/>
              <a:ext cx="720725" cy="711200"/>
            </a:xfrm>
            <a:custGeom>
              <a:avLst/>
              <a:gdLst>
                <a:gd name="T0" fmla="*/ 79 w 356"/>
                <a:gd name="T1" fmla="*/ 104 h 353"/>
                <a:gd name="T2" fmla="*/ 276 w 356"/>
                <a:gd name="T3" fmla="*/ 249 h 353"/>
                <a:gd name="T4" fmla="*/ 187 w 356"/>
                <a:gd name="T5" fmla="*/ 9 h 353"/>
                <a:gd name="T6" fmla="*/ 155 w 356"/>
                <a:gd name="T7" fmla="*/ 1 h 353"/>
                <a:gd name="T8" fmla="*/ 135 w 356"/>
                <a:gd name="T9" fmla="*/ 34 h 353"/>
                <a:gd name="T10" fmla="*/ 107 w 356"/>
                <a:gd name="T11" fmla="*/ 14 h 353"/>
                <a:gd name="T12" fmla="*/ 82 w 356"/>
                <a:gd name="T13" fmla="*/ 39 h 353"/>
                <a:gd name="T14" fmla="*/ 65 w 356"/>
                <a:gd name="T15" fmla="*/ 52 h 353"/>
                <a:gd name="T16" fmla="*/ 48 w 356"/>
                <a:gd name="T17" fmla="*/ 69 h 353"/>
                <a:gd name="T18" fmla="*/ 37 w 356"/>
                <a:gd name="T19" fmla="*/ 86 h 353"/>
                <a:gd name="T20" fmla="*/ 25 w 356"/>
                <a:gd name="T21" fmla="*/ 106 h 353"/>
                <a:gd name="T22" fmla="*/ 18 w 356"/>
                <a:gd name="T23" fmla="*/ 126 h 353"/>
                <a:gd name="T24" fmla="*/ 1 w 356"/>
                <a:gd name="T25" fmla="*/ 158 h 353"/>
                <a:gd name="T26" fmla="*/ 10 w 356"/>
                <a:gd name="T27" fmla="*/ 192 h 353"/>
                <a:gd name="T28" fmla="*/ 14 w 356"/>
                <a:gd name="T29" fmla="*/ 212 h 353"/>
                <a:gd name="T30" fmla="*/ 20 w 356"/>
                <a:gd name="T31" fmla="*/ 235 h 353"/>
                <a:gd name="T32" fmla="*/ 29 w 356"/>
                <a:gd name="T33" fmla="*/ 254 h 353"/>
                <a:gd name="T34" fmla="*/ 41 w 356"/>
                <a:gd name="T35" fmla="*/ 274 h 353"/>
                <a:gd name="T36" fmla="*/ 54 w 356"/>
                <a:gd name="T37" fmla="*/ 290 h 353"/>
                <a:gd name="T38" fmla="*/ 70 w 356"/>
                <a:gd name="T39" fmla="*/ 306 h 353"/>
                <a:gd name="T40" fmla="*/ 87 w 356"/>
                <a:gd name="T41" fmla="*/ 318 h 353"/>
                <a:gd name="T42" fmla="*/ 114 w 356"/>
                <a:gd name="T43" fmla="*/ 342 h 353"/>
                <a:gd name="T44" fmla="*/ 141 w 356"/>
                <a:gd name="T45" fmla="*/ 321 h 353"/>
                <a:gd name="T46" fmla="*/ 162 w 356"/>
                <a:gd name="T47" fmla="*/ 353 h 353"/>
                <a:gd name="T48" fmla="*/ 193 w 356"/>
                <a:gd name="T49" fmla="*/ 344 h 353"/>
                <a:gd name="T50" fmla="*/ 213 w 356"/>
                <a:gd name="T51" fmla="*/ 340 h 353"/>
                <a:gd name="T52" fmla="*/ 236 w 356"/>
                <a:gd name="T53" fmla="*/ 334 h 353"/>
                <a:gd name="T54" fmla="*/ 255 w 356"/>
                <a:gd name="T55" fmla="*/ 326 h 353"/>
                <a:gd name="T56" fmla="*/ 275 w 356"/>
                <a:gd name="T57" fmla="*/ 314 h 353"/>
                <a:gd name="T58" fmla="*/ 291 w 356"/>
                <a:gd name="T59" fmla="*/ 301 h 353"/>
                <a:gd name="T60" fmla="*/ 306 w 356"/>
                <a:gd name="T61" fmla="*/ 285 h 353"/>
                <a:gd name="T62" fmla="*/ 319 w 356"/>
                <a:gd name="T63" fmla="*/ 268 h 353"/>
                <a:gd name="T64" fmla="*/ 330 w 356"/>
                <a:gd name="T65" fmla="*/ 248 h 353"/>
                <a:gd name="T66" fmla="*/ 337 w 356"/>
                <a:gd name="T67" fmla="*/ 229 h 353"/>
                <a:gd name="T68" fmla="*/ 343 w 356"/>
                <a:gd name="T69" fmla="*/ 206 h 353"/>
                <a:gd name="T70" fmla="*/ 327 w 356"/>
                <a:gd name="T71" fmla="*/ 173 h 353"/>
                <a:gd name="T72" fmla="*/ 342 w 356"/>
                <a:gd name="T73" fmla="*/ 142 h 353"/>
                <a:gd name="T74" fmla="*/ 335 w 356"/>
                <a:gd name="T75" fmla="*/ 120 h 353"/>
                <a:gd name="T76" fmla="*/ 327 w 356"/>
                <a:gd name="T77" fmla="*/ 101 h 353"/>
                <a:gd name="T78" fmla="*/ 315 w 356"/>
                <a:gd name="T79" fmla="*/ 81 h 353"/>
                <a:gd name="T80" fmla="*/ 303 w 356"/>
                <a:gd name="T81" fmla="*/ 64 h 353"/>
                <a:gd name="T82" fmla="*/ 286 w 356"/>
                <a:gd name="T83" fmla="*/ 48 h 353"/>
                <a:gd name="T84" fmla="*/ 269 w 356"/>
                <a:gd name="T85" fmla="*/ 36 h 353"/>
                <a:gd name="T86" fmla="*/ 249 w 356"/>
                <a:gd name="T87" fmla="*/ 25 h 353"/>
                <a:gd name="T88" fmla="*/ 230 w 356"/>
                <a:gd name="T89" fmla="*/ 17 h 353"/>
                <a:gd name="T90" fmla="*/ 207 w 356"/>
                <a:gd name="T91" fmla="*/ 1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 h="353">
                  <a:moveTo>
                    <a:pt x="178" y="299"/>
                  </a:moveTo>
                  <a:cubicBezTo>
                    <a:pt x="152" y="299"/>
                    <a:pt x="127" y="291"/>
                    <a:pt x="105" y="275"/>
                  </a:cubicBezTo>
                  <a:cubicBezTo>
                    <a:pt x="51" y="235"/>
                    <a:pt x="39" y="159"/>
                    <a:pt x="79" y="104"/>
                  </a:cubicBezTo>
                  <a:cubicBezTo>
                    <a:pt x="103" y="72"/>
                    <a:pt x="140" y="55"/>
                    <a:pt x="178" y="55"/>
                  </a:cubicBezTo>
                  <a:cubicBezTo>
                    <a:pt x="203" y="55"/>
                    <a:pt x="228" y="62"/>
                    <a:pt x="250" y="78"/>
                  </a:cubicBezTo>
                  <a:cubicBezTo>
                    <a:pt x="304" y="118"/>
                    <a:pt x="316" y="195"/>
                    <a:pt x="276" y="249"/>
                  </a:cubicBezTo>
                  <a:cubicBezTo>
                    <a:pt x="252" y="282"/>
                    <a:pt x="215" y="299"/>
                    <a:pt x="178" y="299"/>
                  </a:cubicBezTo>
                  <a:moveTo>
                    <a:pt x="195" y="0"/>
                  </a:moveTo>
                  <a:cubicBezTo>
                    <a:pt x="192" y="0"/>
                    <a:pt x="189" y="1"/>
                    <a:pt x="187" y="9"/>
                  </a:cubicBezTo>
                  <a:cubicBezTo>
                    <a:pt x="184" y="17"/>
                    <a:pt x="179" y="27"/>
                    <a:pt x="174" y="28"/>
                  </a:cubicBezTo>
                  <a:cubicBezTo>
                    <a:pt x="170" y="25"/>
                    <a:pt x="166" y="17"/>
                    <a:pt x="163" y="10"/>
                  </a:cubicBezTo>
                  <a:cubicBezTo>
                    <a:pt x="161" y="2"/>
                    <a:pt x="158" y="1"/>
                    <a:pt x="155" y="1"/>
                  </a:cubicBezTo>
                  <a:cubicBezTo>
                    <a:pt x="154" y="1"/>
                    <a:pt x="153" y="1"/>
                    <a:pt x="152" y="1"/>
                  </a:cubicBezTo>
                  <a:cubicBezTo>
                    <a:pt x="148" y="2"/>
                    <a:pt x="143" y="2"/>
                    <a:pt x="143" y="12"/>
                  </a:cubicBezTo>
                  <a:cubicBezTo>
                    <a:pt x="143" y="21"/>
                    <a:pt x="140" y="32"/>
                    <a:pt x="135" y="34"/>
                  </a:cubicBezTo>
                  <a:cubicBezTo>
                    <a:pt x="131" y="32"/>
                    <a:pt x="125" y="26"/>
                    <a:pt x="121" y="19"/>
                  </a:cubicBezTo>
                  <a:cubicBezTo>
                    <a:pt x="118" y="14"/>
                    <a:pt x="115" y="12"/>
                    <a:pt x="112" y="12"/>
                  </a:cubicBezTo>
                  <a:cubicBezTo>
                    <a:pt x="111" y="12"/>
                    <a:pt x="109" y="13"/>
                    <a:pt x="107" y="14"/>
                  </a:cubicBezTo>
                  <a:cubicBezTo>
                    <a:pt x="103" y="15"/>
                    <a:pt x="99" y="17"/>
                    <a:pt x="102" y="27"/>
                  </a:cubicBezTo>
                  <a:cubicBezTo>
                    <a:pt x="104" y="36"/>
                    <a:pt x="104" y="47"/>
                    <a:pt x="100" y="49"/>
                  </a:cubicBezTo>
                  <a:cubicBezTo>
                    <a:pt x="95" y="49"/>
                    <a:pt x="87" y="45"/>
                    <a:pt x="82" y="39"/>
                  </a:cubicBezTo>
                  <a:cubicBezTo>
                    <a:pt x="78" y="36"/>
                    <a:pt x="76" y="35"/>
                    <a:pt x="74" y="35"/>
                  </a:cubicBezTo>
                  <a:cubicBezTo>
                    <a:pt x="71" y="35"/>
                    <a:pt x="69" y="36"/>
                    <a:pt x="67" y="38"/>
                  </a:cubicBezTo>
                  <a:cubicBezTo>
                    <a:pt x="64" y="40"/>
                    <a:pt x="60" y="42"/>
                    <a:pt x="65" y="52"/>
                  </a:cubicBezTo>
                  <a:cubicBezTo>
                    <a:pt x="69" y="59"/>
                    <a:pt x="72" y="69"/>
                    <a:pt x="70" y="73"/>
                  </a:cubicBezTo>
                  <a:cubicBezTo>
                    <a:pt x="69" y="74"/>
                    <a:pt x="68" y="74"/>
                    <a:pt x="66" y="74"/>
                  </a:cubicBezTo>
                  <a:cubicBezTo>
                    <a:pt x="61" y="74"/>
                    <a:pt x="54" y="72"/>
                    <a:pt x="48" y="69"/>
                  </a:cubicBezTo>
                  <a:cubicBezTo>
                    <a:pt x="45" y="68"/>
                    <a:pt x="43" y="67"/>
                    <a:pt x="41" y="67"/>
                  </a:cubicBezTo>
                  <a:cubicBezTo>
                    <a:pt x="37" y="67"/>
                    <a:pt x="36" y="70"/>
                    <a:pt x="34" y="72"/>
                  </a:cubicBezTo>
                  <a:cubicBezTo>
                    <a:pt x="32" y="75"/>
                    <a:pt x="29" y="79"/>
                    <a:pt x="37" y="86"/>
                  </a:cubicBezTo>
                  <a:cubicBezTo>
                    <a:pt x="42" y="92"/>
                    <a:pt x="47" y="99"/>
                    <a:pt x="48" y="104"/>
                  </a:cubicBezTo>
                  <a:cubicBezTo>
                    <a:pt x="46" y="106"/>
                    <a:pt x="41" y="107"/>
                    <a:pt x="35" y="107"/>
                  </a:cubicBezTo>
                  <a:cubicBezTo>
                    <a:pt x="32" y="107"/>
                    <a:pt x="28" y="107"/>
                    <a:pt x="25" y="106"/>
                  </a:cubicBezTo>
                  <a:cubicBezTo>
                    <a:pt x="23" y="106"/>
                    <a:pt x="21" y="106"/>
                    <a:pt x="20" y="106"/>
                  </a:cubicBezTo>
                  <a:cubicBezTo>
                    <a:pt x="14" y="106"/>
                    <a:pt x="13" y="110"/>
                    <a:pt x="12" y="113"/>
                  </a:cubicBezTo>
                  <a:cubicBezTo>
                    <a:pt x="11" y="116"/>
                    <a:pt x="8" y="121"/>
                    <a:pt x="18" y="126"/>
                  </a:cubicBezTo>
                  <a:cubicBezTo>
                    <a:pt x="25" y="130"/>
                    <a:pt x="32" y="136"/>
                    <a:pt x="33" y="140"/>
                  </a:cubicBezTo>
                  <a:cubicBezTo>
                    <a:pt x="32" y="144"/>
                    <a:pt x="21" y="148"/>
                    <a:pt x="12" y="148"/>
                  </a:cubicBezTo>
                  <a:cubicBezTo>
                    <a:pt x="1" y="149"/>
                    <a:pt x="2" y="154"/>
                    <a:pt x="1" y="158"/>
                  </a:cubicBezTo>
                  <a:cubicBezTo>
                    <a:pt x="1" y="162"/>
                    <a:pt x="0" y="167"/>
                    <a:pt x="10" y="169"/>
                  </a:cubicBezTo>
                  <a:cubicBezTo>
                    <a:pt x="18" y="171"/>
                    <a:pt x="26" y="175"/>
                    <a:pt x="29" y="179"/>
                  </a:cubicBezTo>
                  <a:cubicBezTo>
                    <a:pt x="28" y="183"/>
                    <a:pt x="19" y="189"/>
                    <a:pt x="10" y="192"/>
                  </a:cubicBezTo>
                  <a:cubicBezTo>
                    <a:pt x="0" y="195"/>
                    <a:pt x="2" y="200"/>
                    <a:pt x="2" y="204"/>
                  </a:cubicBezTo>
                  <a:cubicBezTo>
                    <a:pt x="3" y="208"/>
                    <a:pt x="3" y="213"/>
                    <a:pt x="13" y="213"/>
                  </a:cubicBezTo>
                  <a:cubicBezTo>
                    <a:pt x="13" y="213"/>
                    <a:pt x="13" y="213"/>
                    <a:pt x="14" y="212"/>
                  </a:cubicBezTo>
                  <a:cubicBezTo>
                    <a:pt x="14" y="212"/>
                    <a:pt x="14" y="212"/>
                    <a:pt x="14" y="212"/>
                  </a:cubicBezTo>
                  <a:cubicBezTo>
                    <a:pt x="22" y="212"/>
                    <a:pt x="31" y="214"/>
                    <a:pt x="34" y="217"/>
                  </a:cubicBezTo>
                  <a:cubicBezTo>
                    <a:pt x="35" y="222"/>
                    <a:pt x="28" y="230"/>
                    <a:pt x="20" y="235"/>
                  </a:cubicBezTo>
                  <a:cubicBezTo>
                    <a:pt x="11" y="241"/>
                    <a:pt x="14" y="245"/>
                    <a:pt x="15" y="248"/>
                  </a:cubicBezTo>
                  <a:cubicBezTo>
                    <a:pt x="17" y="251"/>
                    <a:pt x="18" y="255"/>
                    <a:pt x="23" y="255"/>
                  </a:cubicBezTo>
                  <a:cubicBezTo>
                    <a:pt x="24" y="255"/>
                    <a:pt x="26" y="254"/>
                    <a:pt x="29" y="254"/>
                  </a:cubicBezTo>
                  <a:cubicBezTo>
                    <a:pt x="33" y="252"/>
                    <a:pt x="38" y="252"/>
                    <a:pt x="42" y="252"/>
                  </a:cubicBezTo>
                  <a:cubicBezTo>
                    <a:pt x="45" y="252"/>
                    <a:pt x="48" y="252"/>
                    <a:pt x="50" y="253"/>
                  </a:cubicBezTo>
                  <a:cubicBezTo>
                    <a:pt x="52" y="257"/>
                    <a:pt x="46" y="267"/>
                    <a:pt x="41" y="274"/>
                  </a:cubicBezTo>
                  <a:cubicBezTo>
                    <a:pt x="33" y="282"/>
                    <a:pt x="37" y="285"/>
                    <a:pt x="39" y="288"/>
                  </a:cubicBezTo>
                  <a:cubicBezTo>
                    <a:pt x="41" y="290"/>
                    <a:pt x="43" y="292"/>
                    <a:pt x="46" y="292"/>
                  </a:cubicBezTo>
                  <a:cubicBezTo>
                    <a:pt x="48" y="292"/>
                    <a:pt x="50" y="292"/>
                    <a:pt x="54" y="290"/>
                  </a:cubicBezTo>
                  <a:cubicBezTo>
                    <a:pt x="60" y="286"/>
                    <a:pt x="67" y="283"/>
                    <a:pt x="72" y="283"/>
                  </a:cubicBezTo>
                  <a:cubicBezTo>
                    <a:pt x="73" y="283"/>
                    <a:pt x="73" y="283"/>
                    <a:pt x="74" y="284"/>
                  </a:cubicBezTo>
                  <a:cubicBezTo>
                    <a:pt x="77" y="287"/>
                    <a:pt x="74" y="298"/>
                    <a:pt x="70" y="306"/>
                  </a:cubicBezTo>
                  <a:cubicBezTo>
                    <a:pt x="65" y="315"/>
                    <a:pt x="70" y="318"/>
                    <a:pt x="73" y="320"/>
                  </a:cubicBezTo>
                  <a:cubicBezTo>
                    <a:pt x="75" y="321"/>
                    <a:pt x="77" y="323"/>
                    <a:pt x="79" y="323"/>
                  </a:cubicBezTo>
                  <a:cubicBezTo>
                    <a:pt x="81" y="323"/>
                    <a:pt x="84" y="322"/>
                    <a:pt x="87" y="318"/>
                  </a:cubicBezTo>
                  <a:cubicBezTo>
                    <a:pt x="93" y="312"/>
                    <a:pt x="100" y="307"/>
                    <a:pt x="105" y="307"/>
                  </a:cubicBezTo>
                  <a:cubicBezTo>
                    <a:pt x="109" y="309"/>
                    <a:pt x="109" y="321"/>
                    <a:pt x="107" y="329"/>
                  </a:cubicBezTo>
                  <a:cubicBezTo>
                    <a:pt x="105" y="340"/>
                    <a:pt x="110" y="341"/>
                    <a:pt x="114" y="342"/>
                  </a:cubicBezTo>
                  <a:cubicBezTo>
                    <a:pt x="115" y="343"/>
                    <a:pt x="117" y="344"/>
                    <a:pt x="119" y="344"/>
                  </a:cubicBezTo>
                  <a:cubicBezTo>
                    <a:pt x="121" y="344"/>
                    <a:pt x="124" y="342"/>
                    <a:pt x="127" y="336"/>
                  </a:cubicBezTo>
                  <a:cubicBezTo>
                    <a:pt x="131" y="330"/>
                    <a:pt x="137" y="323"/>
                    <a:pt x="141" y="321"/>
                  </a:cubicBezTo>
                  <a:cubicBezTo>
                    <a:pt x="145" y="323"/>
                    <a:pt x="149" y="333"/>
                    <a:pt x="149" y="342"/>
                  </a:cubicBezTo>
                  <a:cubicBezTo>
                    <a:pt x="150" y="353"/>
                    <a:pt x="155" y="353"/>
                    <a:pt x="159" y="353"/>
                  </a:cubicBezTo>
                  <a:cubicBezTo>
                    <a:pt x="160" y="353"/>
                    <a:pt x="161" y="353"/>
                    <a:pt x="162" y="353"/>
                  </a:cubicBezTo>
                  <a:cubicBezTo>
                    <a:pt x="165" y="353"/>
                    <a:pt x="168" y="352"/>
                    <a:pt x="170" y="344"/>
                  </a:cubicBezTo>
                  <a:cubicBezTo>
                    <a:pt x="172" y="337"/>
                    <a:pt x="176" y="329"/>
                    <a:pt x="180" y="326"/>
                  </a:cubicBezTo>
                  <a:cubicBezTo>
                    <a:pt x="184" y="326"/>
                    <a:pt x="190" y="335"/>
                    <a:pt x="193" y="344"/>
                  </a:cubicBezTo>
                  <a:cubicBezTo>
                    <a:pt x="195" y="351"/>
                    <a:pt x="198" y="353"/>
                    <a:pt x="201" y="353"/>
                  </a:cubicBezTo>
                  <a:cubicBezTo>
                    <a:pt x="202" y="353"/>
                    <a:pt x="204" y="352"/>
                    <a:pt x="205" y="352"/>
                  </a:cubicBezTo>
                  <a:cubicBezTo>
                    <a:pt x="209" y="351"/>
                    <a:pt x="214" y="351"/>
                    <a:pt x="213" y="340"/>
                  </a:cubicBezTo>
                  <a:cubicBezTo>
                    <a:pt x="213" y="333"/>
                    <a:pt x="215" y="324"/>
                    <a:pt x="218" y="320"/>
                  </a:cubicBezTo>
                  <a:cubicBezTo>
                    <a:pt x="219" y="320"/>
                    <a:pt x="219" y="320"/>
                    <a:pt x="219" y="320"/>
                  </a:cubicBezTo>
                  <a:cubicBezTo>
                    <a:pt x="224" y="320"/>
                    <a:pt x="231" y="327"/>
                    <a:pt x="236" y="334"/>
                  </a:cubicBezTo>
                  <a:cubicBezTo>
                    <a:pt x="239" y="339"/>
                    <a:pt x="242" y="341"/>
                    <a:pt x="244" y="341"/>
                  </a:cubicBezTo>
                  <a:cubicBezTo>
                    <a:pt x="246" y="341"/>
                    <a:pt x="248" y="340"/>
                    <a:pt x="249" y="339"/>
                  </a:cubicBezTo>
                  <a:cubicBezTo>
                    <a:pt x="253" y="337"/>
                    <a:pt x="258" y="336"/>
                    <a:pt x="255" y="326"/>
                  </a:cubicBezTo>
                  <a:cubicBezTo>
                    <a:pt x="253" y="318"/>
                    <a:pt x="252" y="309"/>
                    <a:pt x="254" y="305"/>
                  </a:cubicBezTo>
                  <a:cubicBezTo>
                    <a:pt x="255" y="304"/>
                    <a:pt x="255" y="304"/>
                    <a:pt x="256" y="304"/>
                  </a:cubicBezTo>
                  <a:cubicBezTo>
                    <a:pt x="261" y="304"/>
                    <a:pt x="269" y="309"/>
                    <a:pt x="275" y="314"/>
                  </a:cubicBezTo>
                  <a:cubicBezTo>
                    <a:pt x="278" y="317"/>
                    <a:pt x="281" y="318"/>
                    <a:pt x="283" y="318"/>
                  </a:cubicBezTo>
                  <a:cubicBezTo>
                    <a:pt x="285" y="318"/>
                    <a:pt x="287" y="316"/>
                    <a:pt x="289" y="315"/>
                  </a:cubicBezTo>
                  <a:cubicBezTo>
                    <a:pt x="292" y="312"/>
                    <a:pt x="296" y="310"/>
                    <a:pt x="291" y="301"/>
                  </a:cubicBezTo>
                  <a:cubicBezTo>
                    <a:pt x="286" y="294"/>
                    <a:pt x="283" y="284"/>
                    <a:pt x="285" y="280"/>
                  </a:cubicBezTo>
                  <a:cubicBezTo>
                    <a:pt x="286" y="279"/>
                    <a:pt x="287" y="279"/>
                    <a:pt x="288" y="279"/>
                  </a:cubicBezTo>
                  <a:cubicBezTo>
                    <a:pt x="293" y="279"/>
                    <a:pt x="300" y="282"/>
                    <a:pt x="306" y="285"/>
                  </a:cubicBezTo>
                  <a:cubicBezTo>
                    <a:pt x="309" y="287"/>
                    <a:pt x="312" y="287"/>
                    <a:pt x="313" y="287"/>
                  </a:cubicBezTo>
                  <a:cubicBezTo>
                    <a:pt x="317" y="287"/>
                    <a:pt x="319" y="285"/>
                    <a:pt x="320" y="283"/>
                  </a:cubicBezTo>
                  <a:cubicBezTo>
                    <a:pt x="323" y="279"/>
                    <a:pt x="326" y="276"/>
                    <a:pt x="319" y="268"/>
                  </a:cubicBezTo>
                  <a:cubicBezTo>
                    <a:pt x="312" y="262"/>
                    <a:pt x="307" y="252"/>
                    <a:pt x="309" y="248"/>
                  </a:cubicBezTo>
                  <a:cubicBezTo>
                    <a:pt x="311" y="247"/>
                    <a:pt x="314" y="246"/>
                    <a:pt x="318" y="246"/>
                  </a:cubicBezTo>
                  <a:cubicBezTo>
                    <a:pt x="322" y="246"/>
                    <a:pt x="326" y="247"/>
                    <a:pt x="330" y="248"/>
                  </a:cubicBezTo>
                  <a:cubicBezTo>
                    <a:pt x="332" y="248"/>
                    <a:pt x="333" y="249"/>
                    <a:pt x="335" y="249"/>
                  </a:cubicBezTo>
                  <a:cubicBezTo>
                    <a:pt x="340" y="249"/>
                    <a:pt x="342" y="245"/>
                    <a:pt x="343" y="242"/>
                  </a:cubicBezTo>
                  <a:cubicBezTo>
                    <a:pt x="344" y="238"/>
                    <a:pt x="347" y="234"/>
                    <a:pt x="337" y="229"/>
                  </a:cubicBezTo>
                  <a:cubicBezTo>
                    <a:pt x="330" y="224"/>
                    <a:pt x="322" y="216"/>
                    <a:pt x="323" y="212"/>
                  </a:cubicBezTo>
                  <a:cubicBezTo>
                    <a:pt x="326" y="208"/>
                    <a:pt x="335" y="206"/>
                    <a:pt x="343" y="206"/>
                  </a:cubicBezTo>
                  <a:cubicBezTo>
                    <a:pt x="343" y="206"/>
                    <a:pt x="343" y="206"/>
                    <a:pt x="343" y="206"/>
                  </a:cubicBezTo>
                  <a:cubicBezTo>
                    <a:pt x="353" y="206"/>
                    <a:pt x="353" y="201"/>
                    <a:pt x="354" y="197"/>
                  </a:cubicBezTo>
                  <a:cubicBezTo>
                    <a:pt x="355" y="193"/>
                    <a:pt x="356" y="188"/>
                    <a:pt x="345" y="186"/>
                  </a:cubicBezTo>
                  <a:cubicBezTo>
                    <a:pt x="337" y="183"/>
                    <a:pt x="327" y="178"/>
                    <a:pt x="327" y="173"/>
                  </a:cubicBezTo>
                  <a:cubicBezTo>
                    <a:pt x="329" y="169"/>
                    <a:pt x="337" y="165"/>
                    <a:pt x="345" y="162"/>
                  </a:cubicBezTo>
                  <a:cubicBezTo>
                    <a:pt x="355" y="160"/>
                    <a:pt x="354" y="155"/>
                    <a:pt x="353" y="151"/>
                  </a:cubicBezTo>
                  <a:cubicBezTo>
                    <a:pt x="353" y="147"/>
                    <a:pt x="353" y="142"/>
                    <a:pt x="342" y="142"/>
                  </a:cubicBezTo>
                  <a:cubicBezTo>
                    <a:pt x="342" y="142"/>
                    <a:pt x="342" y="142"/>
                    <a:pt x="342" y="142"/>
                  </a:cubicBezTo>
                  <a:cubicBezTo>
                    <a:pt x="333" y="142"/>
                    <a:pt x="322" y="139"/>
                    <a:pt x="321" y="134"/>
                  </a:cubicBezTo>
                  <a:cubicBezTo>
                    <a:pt x="322" y="130"/>
                    <a:pt x="329" y="124"/>
                    <a:pt x="335" y="120"/>
                  </a:cubicBezTo>
                  <a:cubicBezTo>
                    <a:pt x="345" y="114"/>
                    <a:pt x="342" y="110"/>
                    <a:pt x="341" y="106"/>
                  </a:cubicBezTo>
                  <a:cubicBezTo>
                    <a:pt x="339" y="103"/>
                    <a:pt x="338" y="100"/>
                    <a:pt x="333" y="100"/>
                  </a:cubicBezTo>
                  <a:cubicBezTo>
                    <a:pt x="331" y="100"/>
                    <a:pt x="330" y="100"/>
                    <a:pt x="327" y="101"/>
                  </a:cubicBezTo>
                  <a:cubicBezTo>
                    <a:pt x="324" y="101"/>
                    <a:pt x="320" y="102"/>
                    <a:pt x="316" y="102"/>
                  </a:cubicBezTo>
                  <a:cubicBezTo>
                    <a:pt x="311" y="102"/>
                    <a:pt x="306" y="101"/>
                    <a:pt x="305" y="99"/>
                  </a:cubicBezTo>
                  <a:cubicBezTo>
                    <a:pt x="305" y="94"/>
                    <a:pt x="310" y="86"/>
                    <a:pt x="315" y="81"/>
                  </a:cubicBezTo>
                  <a:cubicBezTo>
                    <a:pt x="323" y="73"/>
                    <a:pt x="319" y="70"/>
                    <a:pt x="317" y="66"/>
                  </a:cubicBezTo>
                  <a:cubicBezTo>
                    <a:pt x="315" y="64"/>
                    <a:pt x="314" y="62"/>
                    <a:pt x="310" y="62"/>
                  </a:cubicBezTo>
                  <a:cubicBezTo>
                    <a:pt x="308" y="62"/>
                    <a:pt x="306" y="63"/>
                    <a:pt x="303" y="64"/>
                  </a:cubicBezTo>
                  <a:cubicBezTo>
                    <a:pt x="297" y="67"/>
                    <a:pt x="290" y="70"/>
                    <a:pt x="285" y="70"/>
                  </a:cubicBezTo>
                  <a:cubicBezTo>
                    <a:pt x="283" y="70"/>
                    <a:pt x="281" y="69"/>
                    <a:pt x="280" y="69"/>
                  </a:cubicBezTo>
                  <a:cubicBezTo>
                    <a:pt x="279" y="64"/>
                    <a:pt x="282" y="55"/>
                    <a:pt x="286" y="48"/>
                  </a:cubicBezTo>
                  <a:cubicBezTo>
                    <a:pt x="291" y="39"/>
                    <a:pt x="287" y="37"/>
                    <a:pt x="283" y="34"/>
                  </a:cubicBezTo>
                  <a:cubicBezTo>
                    <a:pt x="282" y="33"/>
                    <a:pt x="280" y="31"/>
                    <a:pt x="277" y="31"/>
                  </a:cubicBezTo>
                  <a:cubicBezTo>
                    <a:pt x="275" y="31"/>
                    <a:pt x="273" y="32"/>
                    <a:pt x="269" y="36"/>
                  </a:cubicBezTo>
                  <a:cubicBezTo>
                    <a:pt x="264" y="41"/>
                    <a:pt x="256" y="46"/>
                    <a:pt x="251" y="46"/>
                  </a:cubicBezTo>
                  <a:cubicBezTo>
                    <a:pt x="250" y="46"/>
                    <a:pt x="250" y="46"/>
                    <a:pt x="249" y="46"/>
                  </a:cubicBezTo>
                  <a:cubicBezTo>
                    <a:pt x="247" y="42"/>
                    <a:pt x="247" y="32"/>
                    <a:pt x="249" y="25"/>
                  </a:cubicBezTo>
                  <a:cubicBezTo>
                    <a:pt x="252" y="15"/>
                    <a:pt x="247" y="13"/>
                    <a:pt x="243" y="12"/>
                  </a:cubicBezTo>
                  <a:cubicBezTo>
                    <a:pt x="241" y="11"/>
                    <a:pt x="240" y="10"/>
                    <a:pt x="238" y="10"/>
                  </a:cubicBezTo>
                  <a:cubicBezTo>
                    <a:pt x="235" y="10"/>
                    <a:pt x="233" y="12"/>
                    <a:pt x="230" y="17"/>
                  </a:cubicBezTo>
                  <a:cubicBezTo>
                    <a:pt x="225" y="24"/>
                    <a:pt x="218" y="32"/>
                    <a:pt x="213" y="32"/>
                  </a:cubicBezTo>
                  <a:cubicBezTo>
                    <a:pt x="213" y="32"/>
                    <a:pt x="213" y="32"/>
                    <a:pt x="213" y="32"/>
                  </a:cubicBezTo>
                  <a:cubicBezTo>
                    <a:pt x="209" y="28"/>
                    <a:pt x="207" y="19"/>
                    <a:pt x="207" y="12"/>
                  </a:cubicBezTo>
                  <a:cubicBezTo>
                    <a:pt x="207" y="1"/>
                    <a:pt x="202" y="1"/>
                    <a:pt x="198" y="0"/>
                  </a:cubicBezTo>
                  <a:cubicBezTo>
                    <a:pt x="197" y="0"/>
                    <a:pt x="196" y="0"/>
                    <a:pt x="19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9" name="Freeform 21298">
              <a:extLst>
                <a:ext uri="{FF2B5EF4-FFF2-40B4-BE49-F238E27FC236}">
                  <a16:creationId xmlns:a16="http://schemas.microsoft.com/office/drawing/2014/main" id="{CA5DCE92-7C6B-4CA2-875C-C06E4EAE6EAE}"/>
                </a:ext>
              </a:extLst>
            </p:cNvPr>
            <p:cNvSpPr>
              <a:spLocks noEditPoints="1"/>
            </p:cNvSpPr>
            <p:nvPr userDrawn="1"/>
          </p:nvSpPr>
          <p:spPr bwMode="auto">
            <a:xfrm>
              <a:off x="5942965" y="1945640"/>
              <a:ext cx="1281113" cy="1273175"/>
            </a:xfrm>
            <a:custGeom>
              <a:avLst/>
              <a:gdLst>
                <a:gd name="T0" fmla="*/ 317 w 634"/>
                <a:gd name="T1" fmla="*/ 576 h 632"/>
                <a:gd name="T2" fmla="*/ 334 w 634"/>
                <a:gd name="T3" fmla="*/ 5 h 632"/>
                <a:gd name="T4" fmla="*/ 392 w 634"/>
                <a:gd name="T5" fmla="*/ 41 h 632"/>
                <a:gd name="T6" fmla="*/ 442 w 634"/>
                <a:gd name="T7" fmla="*/ 61 h 632"/>
                <a:gd name="T8" fmla="*/ 483 w 634"/>
                <a:gd name="T9" fmla="*/ 85 h 632"/>
                <a:gd name="T10" fmla="*/ 537 w 634"/>
                <a:gd name="T11" fmla="*/ 106 h 632"/>
                <a:gd name="T12" fmla="*/ 573 w 634"/>
                <a:gd name="T13" fmla="*/ 142 h 632"/>
                <a:gd name="T14" fmla="*/ 602 w 634"/>
                <a:gd name="T15" fmla="*/ 190 h 632"/>
                <a:gd name="T16" fmla="*/ 595 w 634"/>
                <a:gd name="T17" fmla="*/ 258 h 632"/>
                <a:gd name="T18" fmla="*/ 601 w 634"/>
                <a:gd name="T19" fmla="*/ 313 h 632"/>
                <a:gd name="T20" fmla="*/ 621 w 634"/>
                <a:gd name="T21" fmla="*/ 381 h 632"/>
                <a:gd name="T22" fmla="*/ 597 w 634"/>
                <a:gd name="T23" fmla="*/ 433 h 632"/>
                <a:gd name="T24" fmla="*/ 555 w 634"/>
                <a:gd name="T25" fmla="*/ 472 h 632"/>
                <a:gd name="T26" fmla="*/ 519 w 634"/>
                <a:gd name="T27" fmla="*/ 516 h 632"/>
                <a:gd name="T28" fmla="*/ 489 w 634"/>
                <a:gd name="T29" fmla="*/ 566 h 632"/>
                <a:gd name="T30" fmla="*/ 443 w 634"/>
                <a:gd name="T31" fmla="*/ 601 h 632"/>
                <a:gd name="T32" fmla="*/ 387 w 634"/>
                <a:gd name="T33" fmla="*/ 611 h 632"/>
                <a:gd name="T34" fmla="*/ 331 w 634"/>
                <a:gd name="T35" fmla="*/ 600 h 632"/>
                <a:gd name="T36" fmla="*/ 284 w 634"/>
                <a:gd name="T37" fmla="*/ 597 h 632"/>
                <a:gd name="T38" fmla="*/ 231 w 634"/>
                <a:gd name="T39" fmla="*/ 586 h 632"/>
                <a:gd name="T40" fmla="*/ 189 w 634"/>
                <a:gd name="T41" fmla="*/ 569 h 632"/>
                <a:gd name="T42" fmla="*/ 126 w 634"/>
                <a:gd name="T43" fmla="*/ 561 h 632"/>
                <a:gd name="T44" fmla="*/ 85 w 634"/>
                <a:gd name="T45" fmla="*/ 523 h 632"/>
                <a:gd name="T46" fmla="*/ 58 w 634"/>
                <a:gd name="T47" fmla="*/ 473 h 632"/>
                <a:gd name="T48" fmla="*/ 51 w 634"/>
                <a:gd name="T49" fmla="*/ 414 h 632"/>
                <a:gd name="T50" fmla="*/ 37 w 634"/>
                <a:gd name="T51" fmla="*/ 363 h 632"/>
                <a:gd name="T52" fmla="*/ 6 w 634"/>
                <a:gd name="T53" fmla="*/ 300 h 632"/>
                <a:gd name="T54" fmla="*/ 26 w 634"/>
                <a:gd name="T55" fmla="*/ 244 h 632"/>
                <a:gd name="T56" fmla="*/ 59 w 634"/>
                <a:gd name="T57" fmla="*/ 198 h 632"/>
                <a:gd name="T58" fmla="*/ 86 w 634"/>
                <a:gd name="T59" fmla="*/ 151 h 632"/>
                <a:gd name="T60" fmla="*/ 108 w 634"/>
                <a:gd name="T61" fmla="*/ 96 h 632"/>
                <a:gd name="T62" fmla="*/ 147 w 634"/>
                <a:gd name="T63" fmla="*/ 55 h 632"/>
                <a:gd name="T64" fmla="*/ 196 w 634"/>
                <a:gd name="T65" fmla="*/ 30 h 632"/>
                <a:gd name="T66" fmla="*/ 259 w 634"/>
                <a:gd name="T67" fmla="*/ 37 h 632"/>
                <a:gd name="T68" fmla="*/ 305 w 634"/>
                <a:gd name="T69" fmla="*/ 32 h 632"/>
                <a:gd name="T70" fmla="*/ 261 w 634"/>
                <a:gd name="T71" fmla="*/ 33 h 632"/>
                <a:gd name="T72" fmla="*/ 181 w 634"/>
                <a:gd name="T73" fmla="*/ 43 h 632"/>
                <a:gd name="T74" fmla="*/ 114 w 634"/>
                <a:gd name="T75" fmla="*/ 76 h 632"/>
                <a:gd name="T76" fmla="*/ 77 w 634"/>
                <a:gd name="T77" fmla="*/ 155 h 632"/>
                <a:gd name="T78" fmla="*/ 22 w 634"/>
                <a:gd name="T79" fmla="*/ 202 h 632"/>
                <a:gd name="T80" fmla="*/ 31 w 634"/>
                <a:gd name="T81" fmla="*/ 281 h 632"/>
                <a:gd name="T82" fmla="*/ 34 w 634"/>
                <a:gd name="T83" fmla="*/ 372 h 632"/>
                <a:gd name="T84" fmla="*/ 39 w 634"/>
                <a:gd name="T85" fmla="*/ 453 h 632"/>
                <a:gd name="T86" fmla="*/ 90 w 634"/>
                <a:gd name="T87" fmla="*/ 494 h 632"/>
                <a:gd name="T88" fmla="*/ 136 w 634"/>
                <a:gd name="T89" fmla="*/ 561 h 632"/>
                <a:gd name="T90" fmla="*/ 203 w 634"/>
                <a:gd name="T91" fmla="*/ 611 h 632"/>
                <a:gd name="T92" fmla="*/ 283 w 634"/>
                <a:gd name="T93" fmla="*/ 602 h 632"/>
                <a:gd name="T94" fmla="*/ 362 w 634"/>
                <a:gd name="T95" fmla="*/ 617 h 632"/>
                <a:gd name="T96" fmla="*/ 439 w 634"/>
                <a:gd name="T97" fmla="*/ 607 h 632"/>
                <a:gd name="T98" fmla="*/ 495 w 634"/>
                <a:gd name="T99" fmla="*/ 543 h 632"/>
                <a:gd name="T100" fmla="*/ 562 w 634"/>
                <a:gd name="T101" fmla="*/ 497 h 632"/>
                <a:gd name="T102" fmla="*/ 596 w 634"/>
                <a:gd name="T103" fmla="*/ 438 h 632"/>
                <a:gd name="T104" fmla="*/ 617 w 634"/>
                <a:gd name="T105" fmla="*/ 366 h 632"/>
                <a:gd name="T106" fmla="*/ 618 w 634"/>
                <a:gd name="T107" fmla="*/ 270 h 632"/>
                <a:gd name="T108" fmla="*/ 606 w 634"/>
                <a:gd name="T109" fmla="*/ 188 h 632"/>
                <a:gd name="T110" fmla="*/ 548 w 634"/>
                <a:gd name="T111" fmla="*/ 143 h 632"/>
                <a:gd name="T112" fmla="*/ 516 w 634"/>
                <a:gd name="T113" fmla="*/ 70 h 632"/>
                <a:gd name="T114" fmla="*/ 438 w 634"/>
                <a:gd name="T115" fmla="*/ 54 h 632"/>
                <a:gd name="T116" fmla="*/ 367 w 634"/>
                <a:gd name="T117" fmla="*/ 1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4" h="632">
                  <a:moveTo>
                    <a:pt x="317" y="571"/>
                  </a:moveTo>
                  <a:cubicBezTo>
                    <a:pt x="259" y="571"/>
                    <a:pt x="202" y="550"/>
                    <a:pt x="156" y="514"/>
                  </a:cubicBezTo>
                  <a:cubicBezTo>
                    <a:pt x="47" y="425"/>
                    <a:pt x="30" y="264"/>
                    <a:pt x="119" y="155"/>
                  </a:cubicBezTo>
                  <a:cubicBezTo>
                    <a:pt x="168" y="95"/>
                    <a:pt x="240" y="61"/>
                    <a:pt x="317" y="61"/>
                  </a:cubicBezTo>
                  <a:cubicBezTo>
                    <a:pt x="375" y="61"/>
                    <a:pt x="432" y="81"/>
                    <a:pt x="478" y="118"/>
                  </a:cubicBezTo>
                  <a:cubicBezTo>
                    <a:pt x="531" y="161"/>
                    <a:pt x="564" y="222"/>
                    <a:pt x="571" y="289"/>
                  </a:cubicBezTo>
                  <a:cubicBezTo>
                    <a:pt x="578" y="357"/>
                    <a:pt x="558" y="423"/>
                    <a:pt x="515" y="476"/>
                  </a:cubicBezTo>
                  <a:cubicBezTo>
                    <a:pt x="466" y="536"/>
                    <a:pt x="394" y="571"/>
                    <a:pt x="317" y="571"/>
                  </a:cubicBezTo>
                  <a:moveTo>
                    <a:pt x="317" y="56"/>
                  </a:moveTo>
                  <a:cubicBezTo>
                    <a:pt x="238" y="56"/>
                    <a:pt x="165" y="91"/>
                    <a:pt x="115" y="152"/>
                  </a:cubicBezTo>
                  <a:cubicBezTo>
                    <a:pt x="25" y="263"/>
                    <a:pt x="42" y="427"/>
                    <a:pt x="153" y="518"/>
                  </a:cubicBezTo>
                  <a:cubicBezTo>
                    <a:pt x="199" y="555"/>
                    <a:pt x="258" y="576"/>
                    <a:pt x="317" y="576"/>
                  </a:cubicBezTo>
                  <a:cubicBezTo>
                    <a:pt x="396" y="576"/>
                    <a:pt x="469" y="541"/>
                    <a:pt x="519" y="479"/>
                  </a:cubicBezTo>
                  <a:cubicBezTo>
                    <a:pt x="563" y="426"/>
                    <a:pt x="583" y="358"/>
                    <a:pt x="576" y="289"/>
                  </a:cubicBezTo>
                  <a:cubicBezTo>
                    <a:pt x="568" y="220"/>
                    <a:pt x="535" y="158"/>
                    <a:pt x="481" y="114"/>
                  </a:cubicBezTo>
                  <a:cubicBezTo>
                    <a:pt x="435" y="76"/>
                    <a:pt x="377" y="56"/>
                    <a:pt x="317" y="56"/>
                  </a:cubicBezTo>
                  <a:moveTo>
                    <a:pt x="305" y="32"/>
                  </a:moveTo>
                  <a:cubicBezTo>
                    <a:pt x="305" y="32"/>
                    <a:pt x="305" y="32"/>
                    <a:pt x="305" y="32"/>
                  </a:cubicBezTo>
                  <a:cubicBezTo>
                    <a:pt x="308" y="32"/>
                    <a:pt x="311" y="32"/>
                    <a:pt x="314" y="32"/>
                  </a:cubicBezTo>
                  <a:cubicBezTo>
                    <a:pt x="315" y="32"/>
                    <a:pt x="316" y="32"/>
                    <a:pt x="316" y="31"/>
                  </a:cubicBezTo>
                  <a:cubicBezTo>
                    <a:pt x="320" y="27"/>
                    <a:pt x="323" y="19"/>
                    <a:pt x="324" y="12"/>
                  </a:cubicBezTo>
                  <a:cubicBezTo>
                    <a:pt x="326" y="5"/>
                    <a:pt x="329" y="5"/>
                    <a:pt x="331" y="5"/>
                  </a:cubicBezTo>
                  <a:cubicBezTo>
                    <a:pt x="332" y="5"/>
                    <a:pt x="332" y="5"/>
                    <a:pt x="333" y="5"/>
                  </a:cubicBezTo>
                  <a:cubicBezTo>
                    <a:pt x="334" y="5"/>
                    <a:pt x="334" y="5"/>
                    <a:pt x="334" y="5"/>
                  </a:cubicBezTo>
                  <a:cubicBezTo>
                    <a:pt x="338" y="5"/>
                    <a:pt x="341" y="5"/>
                    <a:pt x="342" y="13"/>
                  </a:cubicBezTo>
                  <a:cubicBezTo>
                    <a:pt x="343" y="20"/>
                    <a:pt x="345" y="28"/>
                    <a:pt x="348" y="33"/>
                  </a:cubicBezTo>
                  <a:cubicBezTo>
                    <a:pt x="348" y="34"/>
                    <a:pt x="349" y="34"/>
                    <a:pt x="350" y="34"/>
                  </a:cubicBezTo>
                  <a:cubicBezTo>
                    <a:pt x="353" y="34"/>
                    <a:pt x="356" y="35"/>
                    <a:pt x="359" y="35"/>
                  </a:cubicBezTo>
                  <a:cubicBezTo>
                    <a:pt x="359" y="35"/>
                    <a:pt x="359" y="35"/>
                    <a:pt x="359" y="35"/>
                  </a:cubicBezTo>
                  <a:cubicBezTo>
                    <a:pt x="360" y="35"/>
                    <a:pt x="360" y="35"/>
                    <a:pt x="361" y="35"/>
                  </a:cubicBezTo>
                  <a:cubicBezTo>
                    <a:pt x="365" y="31"/>
                    <a:pt x="369" y="23"/>
                    <a:pt x="372" y="17"/>
                  </a:cubicBezTo>
                  <a:cubicBezTo>
                    <a:pt x="374" y="10"/>
                    <a:pt x="377" y="10"/>
                    <a:pt x="378" y="10"/>
                  </a:cubicBezTo>
                  <a:cubicBezTo>
                    <a:pt x="379" y="10"/>
                    <a:pt x="380" y="11"/>
                    <a:pt x="381" y="11"/>
                  </a:cubicBezTo>
                  <a:cubicBezTo>
                    <a:pt x="383" y="11"/>
                    <a:pt x="383" y="11"/>
                    <a:pt x="383" y="11"/>
                  </a:cubicBezTo>
                  <a:cubicBezTo>
                    <a:pt x="387" y="12"/>
                    <a:pt x="390" y="13"/>
                    <a:pt x="389" y="21"/>
                  </a:cubicBezTo>
                  <a:cubicBezTo>
                    <a:pt x="389" y="27"/>
                    <a:pt x="389" y="36"/>
                    <a:pt x="392" y="41"/>
                  </a:cubicBezTo>
                  <a:cubicBezTo>
                    <a:pt x="392" y="42"/>
                    <a:pt x="393" y="42"/>
                    <a:pt x="393" y="43"/>
                  </a:cubicBezTo>
                  <a:cubicBezTo>
                    <a:pt x="396" y="43"/>
                    <a:pt x="399" y="44"/>
                    <a:pt x="402" y="45"/>
                  </a:cubicBezTo>
                  <a:cubicBezTo>
                    <a:pt x="402" y="45"/>
                    <a:pt x="403" y="45"/>
                    <a:pt x="403" y="45"/>
                  </a:cubicBezTo>
                  <a:cubicBezTo>
                    <a:pt x="403" y="45"/>
                    <a:pt x="404" y="45"/>
                    <a:pt x="404" y="45"/>
                  </a:cubicBezTo>
                  <a:cubicBezTo>
                    <a:pt x="409" y="42"/>
                    <a:pt x="414" y="35"/>
                    <a:pt x="418" y="29"/>
                  </a:cubicBezTo>
                  <a:cubicBezTo>
                    <a:pt x="421" y="24"/>
                    <a:pt x="423" y="24"/>
                    <a:pt x="424" y="24"/>
                  </a:cubicBezTo>
                  <a:cubicBezTo>
                    <a:pt x="425" y="24"/>
                    <a:pt x="427" y="24"/>
                    <a:pt x="428" y="25"/>
                  </a:cubicBezTo>
                  <a:cubicBezTo>
                    <a:pt x="429" y="25"/>
                    <a:pt x="429" y="25"/>
                    <a:pt x="429" y="25"/>
                  </a:cubicBezTo>
                  <a:cubicBezTo>
                    <a:pt x="433" y="27"/>
                    <a:pt x="436" y="28"/>
                    <a:pt x="434" y="36"/>
                  </a:cubicBezTo>
                  <a:cubicBezTo>
                    <a:pt x="433" y="42"/>
                    <a:pt x="432" y="51"/>
                    <a:pt x="434" y="56"/>
                  </a:cubicBezTo>
                  <a:cubicBezTo>
                    <a:pt x="434" y="57"/>
                    <a:pt x="434" y="58"/>
                    <a:pt x="435" y="58"/>
                  </a:cubicBezTo>
                  <a:cubicBezTo>
                    <a:pt x="437" y="59"/>
                    <a:pt x="439" y="60"/>
                    <a:pt x="442" y="61"/>
                  </a:cubicBezTo>
                  <a:cubicBezTo>
                    <a:pt x="443" y="62"/>
                    <a:pt x="443" y="62"/>
                    <a:pt x="443" y="62"/>
                  </a:cubicBezTo>
                  <a:cubicBezTo>
                    <a:pt x="444" y="62"/>
                    <a:pt x="444" y="62"/>
                    <a:pt x="445" y="62"/>
                  </a:cubicBezTo>
                  <a:cubicBezTo>
                    <a:pt x="445" y="62"/>
                    <a:pt x="445" y="62"/>
                    <a:pt x="445" y="62"/>
                  </a:cubicBezTo>
                  <a:cubicBezTo>
                    <a:pt x="451" y="60"/>
                    <a:pt x="457" y="54"/>
                    <a:pt x="461" y="49"/>
                  </a:cubicBezTo>
                  <a:cubicBezTo>
                    <a:pt x="464" y="46"/>
                    <a:pt x="466" y="44"/>
                    <a:pt x="468" y="44"/>
                  </a:cubicBezTo>
                  <a:cubicBezTo>
                    <a:pt x="469" y="44"/>
                    <a:pt x="471" y="45"/>
                    <a:pt x="472" y="46"/>
                  </a:cubicBezTo>
                  <a:cubicBezTo>
                    <a:pt x="474" y="46"/>
                    <a:pt x="474" y="46"/>
                    <a:pt x="474" y="46"/>
                  </a:cubicBezTo>
                  <a:cubicBezTo>
                    <a:pt x="477" y="48"/>
                    <a:pt x="480" y="50"/>
                    <a:pt x="477" y="58"/>
                  </a:cubicBezTo>
                  <a:cubicBezTo>
                    <a:pt x="474" y="64"/>
                    <a:pt x="472" y="72"/>
                    <a:pt x="473" y="78"/>
                  </a:cubicBezTo>
                  <a:cubicBezTo>
                    <a:pt x="473" y="79"/>
                    <a:pt x="473" y="79"/>
                    <a:pt x="474" y="80"/>
                  </a:cubicBezTo>
                  <a:cubicBezTo>
                    <a:pt x="477" y="81"/>
                    <a:pt x="479" y="83"/>
                    <a:pt x="482" y="85"/>
                  </a:cubicBezTo>
                  <a:cubicBezTo>
                    <a:pt x="482" y="85"/>
                    <a:pt x="482" y="85"/>
                    <a:pt x="483" y="85"/>
                  </a:cubicBezTo>
                  <a:cubicBezTo>
                    <a:pt x="483" y="85"/>
                    <a:pt x="483" y="85"/>
                    <a:pt x="484" y="85"/>
                  </a:cubicBezTo>
                  <a:cubicBezTo>
                    <a:pt x="489" y="84"/>
                    <a:pt x="496" y="79"/>
                    <a:pt x="501" y="74"/>
                  </a:cubicBezTo>
                  <a:cubicBezTo>
                    <a:pt x="504" y="72"/>
                    <a:pt x="506" y="71"/>
                    <a:pt x="508" y="71"/>
                  </a:cubicBezTo>
                  <a:cubicBezTo>
                    <a:pt x="510" y="71"/>
                    <a:pt x="511" y="72"/>
                    <a:pt x="513" y="73"/>
                  </a:cubicBezTo>
                  <a:cubicBezTo>
                    <a:pt x="514" y="74"/>
                    <a:pt x="514" y="74"/>
                    <a:pt x="514" y="74"/>
                  </a:cubicBezTo>
                  <a:cubicBezTo>
                    <a:pt x="517" y="77"/>
                    <a:pt x="519" y="79"/>
                    <a:pt x="515" y="86"/>
                  </a:cubicBezTo>
                  <a:cubicBezTo>
                    <a:pt x="512" y="91"/>
                    <a:pt x="508" y="100"/>
                    <a:pt x="508" y="105"/>
                  </a:cubicBezTo>
                  <a:cubicBezTo>
                    <a:pt x="508" y="106"/>
                    <a:pt x="508" y="107"/>
                    <a:pt x="509" y="107"/>
                  </a:cubicBezTo>
                  <a:cubicBezTo>
                    <a:pt x="511" y="109"/>
                    <a:pt x="513" y="111"/>
                    <a:pt x="516" y="113"/>
                  </a:cubicBezTo>
                  <a:cubicBezTo>
                    <a:pt x="516" y="114"/>
                    <a:pt x="517" y="114"/>
                    <a:pt x="517" y="114"/>
                  </a:cubicBezTo>
                  <a:cubicBezTo>
                    <a:pt x="517" y="114"/>
                    <a:pt x="518" y="114"/>
                    <a:pt x="518" y="114"/>
                  </a:cubicBezTo>
                  <a:cubicBezTo>
                    <a:pt x="523" y="114"/>
                    <a:pt x="531" y="110"/>
                    <a:pt x="537" y="106"/>
                  </a:cubicBezTo>
                  <a:cubicBezTo>
                    <a:pt x="539" y="105"/>
                    <a:pt x="541" y="104"/>
                    <a:pt x="543" y="104"/>
                  </a:cubicBezTo>
                  <a:cubicBezTo>
                    <a:pt x="545" y="104"/>
                    <a:pt x="546" y="105"/>
                    <a:pt x="548" y="107"/>
                  </a:cubicBezTo>
                  <a:cubicBezTo>
                    <a:pt x="549" y="108"/>
                    <a:pt x="549" y="108"/>
                    <a:pt x="549" y="108"/>
                  </a:cubicBezTo>
                  <a:cubicBezTo>
                    <a:pt x="552" y="111"/>
                    <a:pt x="554" y="113"/>
                    <a:pt x="549" y="119"/>
                  </a:cubicBezTo>
                  <a:cubicBezTo>
                    <a:pt x="544" y="125"/>
                    <a:pt x="540" y="132"/>
                    <a:pt x="539" y="138"/>
                  </a:cubicBezTo>
                  <a:cubicBezTo>
                    <a:pt x="539" y="138"/>
                    <a:pt x="539" y="139"/>
                    <a:pt x="539" y="140"/>
                  </a:cubicBezTo>
                  <a:cubicBezTo>
                    <a:pt x="540" y="141"/>
                    <a:pt x="540" y="141"/>
                    <a:pt x="540" y="141"/>
                  </a:cubicBezTo>
                  <a:cubicBezTo>
                    <a:pt x="542" y="143"/>
                    <a:pt x="543" y="145"/>
                    <a:pt x="545" y="147"/>
                  </a:cubicBezTo>
                  <a:cubicBezTo>
                    <a:pt x="545" y="148"/>
                    <a:pt x="546" y="148"/>
                    <a:pt x="547" y="148"/>
                  </a:cubicBezTo>
                  <a:cubicBezTo>
                    <a:pt x="547" y="148"/>
                    <a:pt x="548" y="148"/>
                    <a:pt x="548" y="148"/>
                  </a:cubicBezTo>
                  <a:cubicBezTo>
                    <a:pt x="553" y="148"/>
                    <a:pt x="560" y="146"/>
                    <a:pt x="567" y="143"/>
                  </a:cubicBezTo>
                  <a:cubicBezTo>
                    <a:pt x="569" y="142"/>
                    <a:pt x="571" y="142"/>
                    <a:pt x="573" y="142"/>
                  </a:cubicBezTo>
                  <a:cubicBezTo>
                    <a:pt x="575" y="142"/>
                    <a:pt x="576" y="143"/>
                    <a:pt x="578" y="146"/>
                  </a:cubicBezTo>
                  <a:cubicBezTo>
                    <a:pt x="579" y="147"/>
                    <a:pt x="579" y="147"/>
                    <a:pt x="579" y="147"/>
                  </a:cubicBezTo>
                  <a:cubicBezTo>
                    <a:pt x="581" y="150"/>
                    <a:pt x="583" y="153"/>
                    <a:pt x="576" y="158"/>
                  </a:cubicBezTo>
                  <a:cubicBezTo>
                    <a:pt x="572" y="163"/>
                    <a:pt x="566" y="169"/>
                    <a:pt x="564" y="175"/>
                  </a:cubicBezTo>
                  <a:cubicBezTo>
                    <a:pt x="564" y="175"/>
                    <a:pt x="564" y="176"/>
                    <a:pt x="564" y="177"/>
                  </a:cubicBezTo>
                  <a:cubicBezTo>
                    <a:pt x="566" y="179"/>
                    <a:pt x="567" y="182"/>
                    <a:pt x="569" y="185"/>
                  </a:cubicBezTo>
                  <a:cubicBezTo>
                    <a:pt x="569" y="185"/>
                    <a:pt x="569" y="186"/>
                    <a:pt x="570" y="186"/>
                  </a:cubicBezTo>
                  <a:cubicBezTo>
                    <a:pt x="572" y="186"/>
                    <a:pt x="574" y="187"/>
                    <a:pt x="576" y="187"/>
                  </a:cubicBezTo>
                  <a:cubicBezTo>
                    <a:pt x="580" y="187"/>
                    <a:pt x="586" y="186"/>
                    <a:pt x="591" y="184"/>
                  </a:cubicBezTo>
                  <a:cubicBezTo>
                    <a:pt x="593" y="184"/>
                    <a:pt x="594" y="184"/>
                    <a:pt x="595" y="184"/>
                  </a:cubicBezTo>
                  <a:cubicBezTo>
                    <a:pt x="599" y="184"/>
                    <a:pt x="600" y="186"/>
                    <a:pt x="601" y="189"/>
                  </a:cubicBezTo>
                  <a:cubicBezTo>
                    <a:pt x="602" y="190"/>
                    <a:pt x="602" y="190"/>
                    <a:pt x="602" y="190"/>
                  </a:cubicBezTo>
                  <a:cubicBezTo>
                    <a:pt x="604" y="193"/>
                    <a:pt x="605" y="196"/>
                    <a:pt x="598" y="201"/>
                  </a:cubicBezTo>
                  <a:cubicBezTo>
                    <a:pt x="592" y="204"/>
                    <a:pt x="585" y="210"/>
                    <a:pt x="583" y="215"/>
                  </a:cubicBezTo>
                  <a:cubicBezTo>
                    <a:pt x="583" y="216"/>
                    <a:pt x="583" y="216"/>
                    <a:pt x="583" y="217"/>
                  </a:cubicBezTo>
                  <a:cubicBezTo>
                    <a:pt x="584" y="220"/>
                    <a:pt x="585" y="223"/>
                    <a:pt x="586" y="226"/>
                  </a:cubicBezTo>
                  <a:cubicBezTo>
                    <a:pt x="586" y="226"/>
                    <a:pt x="587" y="227"/>
                    <a:pt x="587" y="227"/>
                  </a:cubicBezTo>
                  <a:cubicBezTo>
                    <a:pt x="591" y="229"/>
                    <a:pt x="597" y="229"/>
                    <a:pt x="601" y="229"/>
                  </a:cubicBezTo>
                  <a:cubicBezTo>
                    <a:pt x="603" y="229"/>
                    <a:pt x="606" y="229"/>
                    <a:pt x="608" y="229"/>
                  </a:cubicBezTo>
                  <a:cubicBezTo>
                    <a:pt x="609" y="229"/>
                    <a:pt x="610" y="229"/>
                    <a:pt x="611" y="229"/>
                  </a:cubicBezTo>
                  <a:cubicBezTo>
                    <a:pt x="616" y="229"/>
                    <a:pt x="617" y="231"/>
                    <a:pt x="618" y="235"/>
                  </a:cubicBezTo>
                  <a:cubicBezTo>
                    <a:pt x="618" y="236"/>
                    <a:pt x="618" y="236"/>
                    <a:pt x="618" y="236"/>
                  </a:cubicBezTo>
                  <a:cubicBezTo>
                    <a:pt x="619" y="240"/>
                    <a:pt x="620" y="243"/>
                    <a:pt x="612" y="246"/>
                  </a:cubicBezTo>
                  <a:cubicBezTo>
                    <a:pt x="606" y="249"/>
                    <a:pt x="599" y="253"/>
                    <a:pt x="595" y="258"/>
                  </a:cubicBezTo>
                  <a:cubicBezTo>
                    <a:pt x="595" y="258"/>
                    <a:pt x="595" y="259"/>
                    <a:pt x="595" y="260"/>
                  </a:cubicBezTo>
                  <a:cubicBezTo>
                    <a:pt x="596" y="262"/>
                    <a:pt x="596" y="265"/>
                    <a:pt x="596" y="268"/>
                  </a:cubicBezTo>
                  <a:cubicBezTo>
                    <a:pt x="597" y="269"/>
                    <a:pt x="597" y="269"/>
                    <a:pt x="597" y="269"/>
                  </a:cubicBezTo>
                  <a:cubicBezTo>
                    <a:pt x="597" y="269"/>
                    <a:pt x="597" y="270"/>
                    <a:pt x="598" y="270"/>
                  </a:cubicBezTo>
                  <a:cubicBezTo>
                    <a:pt x="602" y="274"/>
                    <a:pt x="611" y="275"/>
                    <a:pt x="618" y="275"/>
                  </a:cubicBezTo>
                  <a:cubicBezTo>
                    <a:pt x="626" y="276"/>
                    <a:pt x="626" y="279"/>
                    <a:pt x="627" y="283"/>
                  </a:cubicBezTo>
                  <a:cubicBezTo>
                    <a:pt x="627" y="284"/>
                    <a:pt x="627" y="284"/>
                    <a:pt x="627" y="284"/>
                  </a:cubicBezTo>
                  <a:cubicBezTo>
                    <a:pt x="627" y="288"/>
                    <a:pt x="628" y="291"/>
                    <a:pt x="620" y="293"/>
                  </a:cubicBezTo>
                  <a:cubicBezTo>
                    <a:pt x="613" y="295"/>
                    <a:pt x="605" y="298"/>
                    <a:pt x="601" y="302"/>
                  </a:cubicBezTo>
                  <a:cubicBezTo>
                    <a:pt x="600" y="303"/>
                    <a:pt x="600" y="303"/>
                    <a:pt x="600" y="304"/>
                  </a:cubicBezTo>
                  <a:cubicBezTo>
                    <a:pt x="600" y="305"/>
                    <a:pt x="600" y="305"/>
                    <a:pt x="600" y="305"/>
                  </a:cubicBezTo>
                  <a:cubicBezTo>
                    <a:pt x="600" y="308"/>
                    <a:pt x="601" y="310"/>
                    <a:pt x="601" y="313"/>
                  </a:cubicBezTo>
                  <a:cubicBezTo>
                    <a:pt x="601" y="314"/>
                    <a:pt x="601" y="314"/>
                    <a:pt x="601" y="315"/>
                  </a:cubicBezTo>
                  <a:cubicBezTo>
                    <a:pt x="606" y="319"/>
                    <a:pt x="614" y="322"/>
                    <a:pt x="621" y="323"/>
                  </a:cubicBezTo>
                  <a:cubicBezTo>
                    <a:pt x="629" y="324"/>
                    <a:pt x="628" y="328"/>
                    <a:pt x="628" y="332"/>
                  </a:cubicBezTo>
                  <a:cubicBezTo>
                    <a:pt x="628" y="333"/>
                    <a:pt x="628" y="333"/>
                    <a:pt x="628" y="333"/>
                  </a:cubicBezTo>
                  <a:cubicBezTo>
                    <a:pt x="628" y="337"/>
                    <a:pt x="628" y="340"/>
                    <a:pt x="619" y="341"/>
                  </a:cubicBezTo>
                  <a:cubicBezTo>
                    <a:pt x="613" y="341"/>
                    <a:pt x="604" y="343"/>
                    <a:pt x="600" y="347"/>
                  </a:cubicBezTo>
                  <a:cubicBezTo>
                    <a:pt x="599" y="347"/>
                    <a:pt x="599" y="348"/>
                    <a:pt x="599" y="348"/>
                  </a:cubicBezTo>
                  <a:cubicBezTo>
                    <a:pt x="598" y="351"/>
                    <a:pt x="598" y="354"/>
                    <a:pt x="597" y="358"/>
                  </a:cubicBezTo>
                  <a:cubicBezTo>
                    <a:pt x="597" y="358"/>
                    <a:pt x="598" y="359"/>
                    <a:pt x="598" y="359"/>
                  </a:cubicBezTo>
                  <a:cubicBezTo>
                    <a:pt x="602" y="364"/>
                    <a:pt x="609" y="368"/>
                    <a:pt x="616" y="370"/>
                  </a:cubicBezTo>
                  <a:cubicBezTo>
                    <a:pt x="623" y="373"/>
                    <a:pt x="623" y="376"/>
                    <a:pt x="622" y="380"/>
                  </a:cubicBezTo>
                  <a:cubicBezTo>
                    <a:pt x="621" y="381"/>
                    <a:pt x="621" y="381"/>
                    <a:pt x="621" y="381"/>
                  </a:cubicBezTo>
                  <a:cubicBezTo>
                    <a:pt x="621" y="385"/>
                    <a:pt x="620" y="388"/>
                    <a:pt x="614" y="388"/>
                  </a:cubicBezTo>
                  <a:cubicBezTo>
                    <a:pt x="613" y="388"/>
                    <a:pt x="613" y="388"/>
                    <a:pt x="612" y="388"/>
                  </a:cubicBezTo>
                  <a:cubicBezTo>
                    <a:pt x="611" y="388"/>
                    <a:pt x="610" y="388"/>
                    <a:pt x="608" y="388"/>
                  </a:cubicBezTo>
                  <a:cubicBezTo>
                    <a:pt x="605" y="388"/>
                    <a:pt x="597" y="388"/>
                    <a:pt x="591" y="390"/>
                  </a:cubicBezTo>
                  <a:cubicBezTo>
                    <a:pt x="591" y="391"/>
                    <a:pt x="590" y="391"/>
                    <a:pt x="590" y="392"/>
                  </a:cubicBezTo>
                  <a:cubicBezTo>
                    <a:pt x="589" y="395"/>
                    <a:pt x="588" y="398"/>
                    <a:pt x="587" y="401"/>
                  </a:cubicBezTo>
                  <a:cubicBezTo>
                    <a:pt x="587" y="402"/>
                    <a:pt x="587" y="402"/>
                    <a:pt x="588" y="403"/>
                  </a:cubicBezTo>
                  <a:cubicBezTo>
                    <a:pt x="591" y="408"/>
                    <a:pt x="598" y="413"/>
                    <a:pt x="603" y="416"/>
                  </a:cubicBezTo>
                  <a:cubicBezTo>
                    <a:pt x="611" y="420"/>
                    <a:pt x="609" y="423"/>
                    <a:pt x="608" y="427"/>
                  </a:cubicBezTo>
                  <a:cubicBezTo>
                    <a:pt x="607" y="428"/>
                    <a:pt x="607" y="428"/>
                    <a:pt x="607" y="428"/>
                  </a:cubicBezTo>
                  <a:cubicBezTo>
                    <a:pt x="606" y="431"/>
                    <a:pt x="605" y="434"/>
                    <a:pt x="601" y="434"/>
                  </a:cubicBezTo>
                  <a:cubicBezTo>
                    <a:pt x="600" y="434"/>
                    <a:pt x="599" y="433"/>
                    <a:pt x="597" y="433"/>
                  </a:cubicBezTo>
                  <a:cubicBezTo>
                    <a:pt x="593" y="432"/>
                    <a:pt x="588" y="431"/>
                    <a:pt x="584" y="431"/>
                  </a:cubicBezTo>
                  <a:cubicBezTo>
                    <a:pt x="581" y="431"/>
                    <a:pt x="578" y="432"/>
                    <a:pt x="576" y="432"/>
                  </a:cubicBezTo>
                  <a:cubicBezTo>
                    <a:pt x="576" y="433"/>
                    <a:pt x="575" y="433"/>
                    <a:pt x="575" y="434"/>
                  </a:cubicBezTo>
                  <a:cubicBezTo>
                    <a:pt x="574" y="437"/>
                    <a:pt x="572" y="440"/>
                    <a:pt x="571" y="442"/>
                  </a:cubicBezTo>
                  <a:cubicBezTo>
                    <a:pt x="570" y="443"/>
                    <a:pt x="570" y="443"/>
                    <a:pt x="571" y="444"/>
                  </a:cubicBezTo>
                  <a:cubicBezTo>
                    <a:pt x="573" y="449"/>
                    <a:pt x="579" y="456"/>
                    <a:pt x="584" y="460"/>
                  </a:cubicBezTo>
                  <a:cubicBezTo>
                    <a:pt x="591" y="465"/>
                    <a:pt x="589" y="468"/>
                    <a:pt x="587" y="471"/>
                  </a:cubicBezTo>
                  <a:cubicBezTo>
                    <a:pt x="586" y="472"/>
                    <a:pt x="586" y="472"/>
                    <a:pt x="586" y="472"/>
                  </a:cubicBezTo>
                  <a:cubicBezTo>
                    <a:pt x="585" y="475"/>
                    <a:pt x="584" y="477"/>
                    <a:pt x="581" y="477"/>
                  </a:cubicBezTo>
                  <a:cubicBezTo>
                    <a:pt x="579" y="477"/>
                    <a:pt x="577" y="476"/>
                    <a:pt x="575" y="475"/>
                  </a:cubicBezTo>
                  <a:cubicBezTo>
                    <a:pt x="569" y="473"/>
                    <a:pt x="562" y="471"/>
                    <a:pt x="557" y="471"/>
                  </a:cubicBezTo>
                  <a:cubicBezTo>
                    <a:pt x="557" y="471"/>
                    <a:pt x="556" y="471"/>
                    <a:pt x="555" y="472"/>
                  </a:cubicBezTo>
                  <a:cubicBezTo>
                    <a:pt x="554" y="472"/>
                    <a:pt x="554" y="472"/>
                    <a:pt x="553" y="473"/>
                  </a:cubicBezTo>
                  <a:cubicBezTo>
                    <a:pt x="551" y="475"/>
                    <a:pt x="550" y="478"/>
                    <a:pt x="548" y="480"/>
                  </a:cubicBezTo>
                  <a:cubicBezTo>
                    <a:pt x="547" y="481"/>
                    <a:pt x="547" y="482"/>
                    <a:pt x="547" y="482"/>
                  </a:cubicBezTo>
                  <a:cubicBezTo>
                    <a:pt x="549" y="488"/>
                    <a:pt x="554" y="495"/>
                    <a:pt x="558" y="500"/>
                  </a:cubicBezTo>
                  <a:cubicBezTo>
                    <a:pt x="564" y="506"/>
                    <a:pt x="562" y="508"/>
                    <a:pt x="559" y="511"/>
                  </a:cubicBezTo>
                  <a:cubicBezTo>
                    <a:pt x="558" y="512"/>
                    <a:pt x="558" y="512"/>
                    <a:pt x="558" y="512"/>
                  </a:cubicBezTo>
                  <a:cubicBezTo>
                    <a:pt x="557" y="515"/>
                    <a:pt x="555" y="516"/>
                    <a:pt x="553" y="516"/>
                  </a:cubicBezTo>
                  <a:cubicBezTo>
                    <a:pt x="552" y="516"/>
                    <a:pt x="550" y="515"/>
                    <a:pt x="547" y="514"/>
                  </a:cubicBezTo>
                  <a:cubicBezTo>
                    <a:pt x="541" y="510"/>
                    <a:pt x="533" y="507"/>
                    <a:pt x="527" y="507"/>
                  </a:cubicBezTo>
                  <a:cubicBezTo>
                    <a:pt x="527" y="507"/>
                    <a:pt x="526" y="507"/>
                    <a:pt x="526" y="508"/>
                  </a:cubicBezTo>
                  <a:cubicBezTo>
                    <a:pt x="524" y="510"/>
                    <a:pt x="521" y="512"/>
                    <a:pt x="519" y="514"/>
                  </a:cubicBezTo>
                  <a:cubicBezTo>
                    <a:pt x="519" y="515"/>
                    <a:pt x="519" y="516"/>
                    <a:pt x="519" y="516"/>
                  </a:cubicBezTo>
                  <a:cubicBezTo>
                    <a:pt x="519" y="522"/>
                    <a:pt x="523" y="530"/>
                    <a:pt x="526" y="535"/>
                  </a:cubicBezTo>
                  <a:cubicBezTo>
                    <a:pt x="531" y="542"/>
                    <a:pt x="529" y="544"/>
                    <a:pt x="526" y="547"/>
                  </a:cubicBezTo>
                  <a:cubicBezTo>
                    <a:pt x="525" y="548"/>
                    <a:pt x="525" y="548"/>
                    <a:pt x="525" y="548"/>
                  </a:cubicBezTo>
                  <a:cubicBezTo>
                    <a:pt x="523" y="549"/>
                    <a:pt x="522" y="551"/>
                    <a:pt x="520" y="551"/>
                  </a:cubicBezTo>
                  <a:cubicBezTo>
                    <a:pt x="518" y="551"/>
                    <a:pt x="516" y="549"/>
                    <a:pt x="513" y="547"/>
                  </a:cubicBezTo>
                  <a:cubicBezTo>
                    <a:pt x="508" y="543"/>
                    <a:pt x="501" y="538"/>
                    <a:pt x="495" y="537"/>
                  </a:cubicBezTo>
                  <a:cubicBezTo>
                    <a:pt x="495" y="537"/>
                    <a:pt x="495" y="537"/>
                    <a:pt x="495" y="537"/>
                  </a:cubicBezTo>
                  <a:cubicBezTo>
                    <a:pt x="494" y="537"/>
                    <a:pt x="494" y="538"/>
                    <a:pt x="493" y="538"/>
                  </a:cubicBezTo>
                  <a:cubicBezTo>
                    <a:pt x="493" y="538"/>
                    <a:pt x="493" y="538"/>
                    <a:pt x="493" y="538"/>
                  </a:cubicBezTo>
                  <a:cubicBezTo>
                    <a:pt x="490" y="540"/>
                    <a:pt x="488" y="542"/>
                    <a:pt x="486" y="544"/>
                  </a:cubicBezTo>
                  <a:cubicBezTo>
                    <a:pt x="485" y="544"/>
                    <a:pt x="485" y="545"/>
                    <a:pt x="485" y="545"/>
                  </a:cubicBezTo>
                  <a:cubicBezTo>
                    <a:pt x="484" y="551"/>
                    <a:pt x="487" y="559"/>
                    <a:pt x="489" y="566"/>
                  </a:cubicBezTo>
                  <a:cubicBezTo>
                    <a:pt x="493" y="573"/>
                    <a:pt x="490" y="575"/>
                    <a:pt x="487" y="577"/>
                  </a:cubicBezTo>
                  <a:cubicBezTo>
                    <a:pt x="486" y="577"/>
                    <a:pt x="486" y="577"/>
                    <a:pt x="486" y="577"/>
                  </a:cubicBezTo>
                  <a:cubicBezTo>
                    <a:pt x="484" y="578"/>
                    <a:pt x="483" y="579"/>
                    <a:pt x="481" y="579"/>
                  </a:cubicBezTo>
                  <a:cubicBezTo>
                    <a:pt x="479" y="579"/>
                    <a:pt x="477" y="578"/>
                    <a:pt x="475" y="575"/>
                  </a:cubicBezTo>
                  <a:cubicBezTo>
                    <a:pt x="470" y="570"/>
                    <a:pt x="464" y="564"/>
                    <a:pt x="458" y="563"/>
                  </a:cubicBezTo>
                  <a:cubicBezTo>
                    <a:pt x="458" y="562"/>
                    <a:pt x="458" y="562"/>
                    <a:pt x="457" y="562"/>
                  </a:cubicBezTo>
                  <a:cubicBezTo>
                    <a:pt x="457" y="562"/>
                    <a:pt x="456" y="563"/>
                    <a:pt x="456" y="563"/>
                  </a:cubicBezTo>
                  <a:cubicBezTo>
                    <a:pt x="453" y="564"/>
                    <a:pt x="451" y="566"/>
                    <a:pt x="448" y="567"/>
                  </a:cubicBezTo>
                  <a:cubicBezTo>
                    <a:pt x="447" y="568"/>
                    <a:pt x="447" y="568"/>
                    <a:pt x="447" y="569"/>
                  </a:cubicBezTo>
                  <a:cubicBezTo>
                    <a:pt x="445" y="574"/>
                    <a:pt x="447" y="583"/>
                    <a:pt x="448" y="589"/>
                  </a:cubicBezTo>
                  <a:cubicBezTo>
                    <a:pt x="451" y="597"/>
                    <a:pt x="448" y="598"/>
                    <a:pt x="444" y="600"/>
                  </a:cubicBezTo>
                  <a:cubicBezTo>
                    <a:pt x="443" y="601"/>
                    <a:pt x="443" y="601"/>
                    <a:pt x="443" y="601"/>
                  </a:cubicBezTo>
                  <a:cubicBezTo>
                    <a:pt x="441" y="601"/>
                    <a:pt x="440" y="602"/>
                    <a:pt x="439" y="602"/>
                  </a:cubicBezTo>
                  <a:cubicBezTo>
                    <a:pt x="438" y="602"/>
                    <a:pt x="435" y="602"/>
                    <a:pt x="432" y="597"/>
                  </a:cubicBezTo>
                  <a:cubicBezTo>
                    <a:pt x="429" y="591"/>
                    <a:pt x="423" y="584"/>
                    <a:pt x="418" y="582"/>
                  </a:cubicBezTo>
                  <a:cubicBezTo>
                    <a:pt x="417" y="581"/>
                    <a:pt x="417" y="581"/>
                    <a:pt x="417" y="581"/>
                  </a:cubicBezTo>
                  <a:cubicBezTo>
                    <a:pt x="416" y="581"/>
                    <a:pt x="416" y="581"/>
                    <a:pt x="416" y="581"/>
                  </a:cubicBezTo>
                  <a:cubicBezTo>
                    <a:pt x="413" y="583"/>
                    <a:pt x="410" y="584"/>
                    <a:pt x="407" y="585"/>
                  </a:cubicBezTo>
                  <a:cubicBezTo>
                    <a:pt x="406" y="585"/>
                    <a:pt x="406" y="585"/>
                    <a:pt x="406" y="586"/>
                  </a:cubicBezTo>
                  <a:cubicBezTo>
                    <a:pt x="403" y="591"/>
                    <a:pt x="403" y="600"/>
                    <a:pt x="404" y="607"/>
                  </a:cubicBezTo>
                  <a:cubicBezTo>
                    <a:pt x="405" y="615"/>
                    <a:pt x="402" y="615"/>
                    <a:pt x="398" y="616"/>
                  </a:cubicBezTo>
                  <a:cubicBezTo>
                    <a:pt x="397" y="617"/>
                    <a:pt x="397" y="617"/>
                    <a:pt x="397" y="617"/>
                  </a:cubicBezTo>
                  <a:cubicBezTo>
                    <a:pt x="395" y="617"/>
                    <a:pt x="394" y="617"/>
                    <a:pt x="393" y="617"/>
                  </a:cubicBezTo>
                  <a:cubicBezTo>
                    <a:pt x="392" y="617"/>
                    <a:pt x="389" y="617"/>
                    <a:pt x="387" y="611"/>
                  </a:cubicBezTo>
                  <a:cubicBezTo>
                    <a:pt x="384" y="605"/>
                    <a:pt x="380" y="597"/>
                    <a:pt x="375" y="594"/>
                  </a:cubicBezTo>
                  <a:cubicBezTo>
                    <a:pt x="375" y="594"/>
                    <a:pt x="374" y="594"/>
                    <a:pt x="374" y="594"/>
                  </a:cubicBezTo>
                  <a:cubicBezTo>
                    <a:pt x="373" y="594"/>
                    <a:pt x="373" y="594"/>
                    <a:pt x="373" y="594"/>
                  </a:cubicBezTo>
                  <a:cubicBezTo>
                    <a:pt x="370" y="594"/>
                    <a:pt x="368" y="595"/>
                    <a:pt x="365" y="595"/>
                  </a:cubicBezTo>
                  <a:cubicBezTo>
                    <a:pt x="364" y="595"/>
                    <a:pt x="364" y="595"/>
                    <a:pt x="364" y="595"/>
                  </a:cubicBezTo>
                  <a:cubicBezTo>
                    <a:pt x="363" y="595"/>
                    <a:pt x="363" y="596"/>
                    <a:pt x="362" y="596"/>
                  </a:cubicBezTo>
                  <a:cubicBezTo>
                    <a:pt x="359" y="601"/>
                    <a:pt x="358" y="610"/>
                    <a:pt x="357" y="617"/>
                  </a:cubicBezTo>
                  <a:cubicBezTo>
                    <a:pt x="357" y="625"/>
                    <a:pt x="354" y="625"/>
                    <a:pt x="350" y="625"/>
                  </a:cubicBezTo>
                  <a:cubicBezTo>
                    <a:pt x="349" y="625"/>
                    <a:pt x="349" y="625"/>
                    <a:pt x="349" y="625"/>
                  </a:cubicBezTo>
                  <a:cubicBezTo>
                    <a:pt x="348" y="626"/>
                    <a:pt x="347" y="626"/>
                    <a:pt x="346" y="626"/>
                  </a:cubicBezTo>
                  <a:cubicBezTo>
                    <a:pt x="344" y="626"/>
                    <a:pt x="341" y="626"/>
                    <a:pt x="340" y="618"/>
                  </a:cubicBezTo>
                  <a:cubicBezTo>
                    <a:pt x="338" y="612"/>
                    <a:pt x="335" y="604"/>
                    <a:pt x="331" y="600"/>
                  </a:cubicBezTo>
                  <a:cubicBezTo>
                    <a:pt x="330" y="599"/>
                    <a:pt x="330" y="599"/>
                    <a:pt x="329" y="599"/>
                  </a:cubicBezTo>
                  <a:cubicBezTo>
                    <a:pt x="329" y="599"/>
                    <a:pt x="329" y="599"/>
                    <a:pt x="329" y="599"/>
                  </a:cubicBezTo>
                  <a:cubicBezTo>
                    <a:pt x="328" y="599"/>
                    <a:pt x="328" y="599"/>
                    <a:pt x="328" y="599"/>
                  </a:cubicBezTo>
                  <a:cubicBezTo>
                    <a:pt x="325" y="599"/>
                    <a:pt x="322" y="599"/>
                    <a:pt x="320" y="599"/>
                  </a:cubicBezTo>
                  <a:cubicBezTo>
                    <a:pt x="319" y="599"/>
                    <a:pt x="318" y="600"/>
                    <a:pt x="318" y="600"/>
                  </a:cubicBezTo>
                  <a:cubicBezTo>
                    <a:pt x="314" y="604"/>
                    <a:pt x="311" y="613"/>
                    <a:pt x="310" y="619"/>
                  </a:cubicBezTo>
                  <a:cubicBezTo>
                    <a:pt x="308" y="627"/>
                    <a:pt x="305" y="627"/>
                    <a:pt x="303" y="627"/>
                  </a:cubicBezTo>
                  <a:cubicBezTo>
                    <a:pt x="302" y="627"/>
                    <a:pt x="302" y="627"/>
                    <a:pt x="301" y="627"/>
                  </a:cubicBezTo>
                  <a:cubicBezTo>
                    <a:pt x="300" y="627"/>
                    <a:pt x="300" y="627"/>
                    <a:pt x="300" y="627"/>
                  </a:cubicBezTo>
                  <a:cubicBezTo>
                    <a:pt x="296" y="626"/>
                    <a:pt x="293" y="626"/>
                    <a:pt x="292" y="618"/>
                  </a:cubicBezTo>
                  <a:cubicBezTo>
                    <a:pt x="291" y="612"/>
                    <a:pt x="289" y="603"/>
                    <a:pt x="286" y="598"/>
                  </a:cubicBezTo>
                  <a:cubicBezTo>
                    <a:pt x="286" y="598"/>
                    <a:pt x="285" y="597"/>
                    <a:pt x="284" y="597"/>
                  </a:cubicBezTo>
                  <a:cubicBezTo>
                    <a:pt x="281" y="597"/>
                    <a:pt x="278" y="597"/>
                    <a:pt x="275" y="596"/>
                  </a:cubicBezTo>
                  <a:cubicBezTo>
                    <a:pt x="275" y="596"/>
                    <a:pt x="275" y="596"/>
                    <a:pt x="275" y="596"/>
                  </a:cubicBezTo>
                  <a:cubicBezTo>
                    <a:pt x="274" y="596"/>
                    <a:pt x="274" y="596"/>
                    <a:pt x="273" y="597"/>
                  </a:cubicBezTo>
                  <a:cubicBezTo>
                    <a:pt x="269" y="600"/>
                    <a:pt x="265" y="608"/>
                    <a:pt x="262" y="614"/>
                  </a:cubicBezTo>
                  <a:cubicBezTo>
                    <a:pt x="260" y="621"/>
                    <a:pt x="257" y="621"/>
                    <a:pt x="256" y="621"/>
                  </a:cubicBezTo>
                  <a:cubicBezTo>
                    <a:pt x="255" y="621"/>
                    <a:pt x="254" y="621"/>
                    <a:pt x="253" y="620"/>
                  </a:cubicBezTo>
                  <a:cubicBezTo>
                    <a:pt x="251" y="620"/>
                    <a:pt x="251" y="620"/>
                    <a:pt x="251" y="620"/>
                  </a:cubicBezTo>
                  <a:cubicBezTo>
                    <a:pt x="247" y="619"/>
                    <a:pt x="244" y="619"/>
                    <a:pt x="245" y="611"/>
                  </a:cubicBezTo>
                  <a:cubicBezTo>
                    <a:pt x="245" y="604"/>
                    <a:pt x="245" y="595"/>
                    <a:pt x="242" y="590"/>
                  </a:cubicBezTo>
                  <a:cubicBezTo>
                    <a:pt x="242" y="589"/>
                    <a:pt x="241" y="589"/>
                    <a:pt x="241" y="589"/>
                  </a:cubicBezTo>
                  <a:cubicBezTo>
                    <a:pt x="238" y="588"/>
                    <a:pt x="235" y="587"/>
                    <a:pt x="232" y="586"/>
                  </a:cubicBezTo>
                  <a:cubicBezTo>
                    <a:pt x="232" y="586"/>
                    <a:pt x="231" y="586"/>
                    <a:pt x="231" y="586"/>
                  </a:cubicBezTo>
                  <a:cubicBezTo>
                    <a:pt x="231" y="586"/>
                    <a:pt x="230" y="586"/>
                    <a:pt x="230" y="586"/>
                  </a:cubicBezTo>
                  <a:cubicBezTo>
                    <a:pt x="225" y="589"/>
                    <a:pt x="220" y="596"/>
                    <a:pt x="216" y="602"/>
                  </a:cubicBezTo>
                  <a:cubicBezTo>
                    <a:pt x="213" y="608"/>
                    <a:pt x="211" y="608"/>
                    <a:pt x="210" y="608"/>
                  </a:cubicBezTo>
                  <a:cubicBezTo>
                    <a:pt x="209" y="608"/>
                    <a:pt x="207" y="607"/>
                    <a:pt x="206" y="607"/>
                  </a:cubicBezTo>
                  <a:cubicBezTo>
                    <a:pt x="205" y="606"/>
                    <a:pt x="205" y="606"/>
                    <a:pt x="205" y="606"/>
                  </a:cubicBezTo>
                  <a:cubicBezTo>
                    <a:pt x="201" y="605"/>
                    <a:pt x="198" y="604"/>
                    <a:pt x="200" y="596"/>
                  </a:cubicBezTo>
                  <a:cubicBezTo>
                    <a:pt x="201" y="589"/>
                    <a:pt x="202" y="581"/>
                    <a:pt x="200" y="575"/>
                  </a:cubicBezTo>
                  <a:cubicBezTo>
                    <a:pt x="200" y="574"/>
                    <a:pt x="200" y="574"/>
                    <a:pt x="199" y="574"/>
                  </a:cubicBezTo>
                  <a:cubicBezTo>
                    <a:pt x="197" y="572"/>
                    <a:pt x="194" y="571"/>
                    <a:pt x="192" y="570"/>
                  </a:cubicBezTo>
                  <a:cubicBezTo>
                    <a:pt x="191" y="569"/>
                    <a:pt x="191" y="569"/>
                    <a:pt x="191" y="569"/>
                  </a:cubicBezTo>
                  <a:cubicBezTo>
                    <a:pt x="190" y="569"/>
                    <a:pt x="190" y="569"/>
                    <a:pt x="189" y="569"/>
                  </a:cubicBezTo>
                  <a:cubicBezTo>
                    <a:pt x="189" y="569"/>
                    <a:pt x="189" y="569"/>
                    <a:pt x="189" y="569"/>
                  </a:cubicBezTo>
                  <a:cubicBezTo>
                    <a:pt x="183" y="571"/>
                    <a:pt x="177" y="578"/>
                    <a:pt x="173" y="583"/>
                  </a:cubicBezTo>
                  <a:cubicBezTo>
                    <a:pt x="170" y="586"/>
                    <a:pt x="168" y="587"/>
                    <a:pt x="166" y="587"/>
                  </a:cubicBezTo>
                  <a:cubicBezTo>
                    <a:pt x="165" y="587"/>
                    <a:pt x="163" y="586"/>
                    <a:pt x="162" y="586"/>
                  </a:cubicBezTo>
                  <a:cubicBezTo>
                    <a:pt x="161" y="585"/>
                    <a:pt x="161" y="585"/>
                    <a:pt x="161" y="585"/>
                  </a:cubicBezTo>
                  <a:cubicBezTo>
                    <a:pt x="157" y="583"/>
                    <a:pt x="154" y="581"/>
                    <a:pt x="157" y="574"/>
                  </a:cubicBezTo>
                  <a:cubicBezTo>
                    <a:pt x="160" y="568"/>
                    <a:pt x="162" y="559"/>
                    <a:pt x="161" y="554"/>
                  </a:cubicBezTo>
                  <a:cubicBezTo>
                    <a:pt x="161" y="553"/>
                    <a:pt x="161" y="552"/>
                    <a:pt x="160" y="552"/>
                  </a:cubicBezTo>
                  <a:cubicBezTo>
                    <a:pt x="158" y="550"/>
                    <a:pt x="155" y="548"/>
                    <a:pt x="153" y="547"/>
                  </a:cubicBezTo>
                  <a:cubicBezTo>
                    <a:pt x="152" y="546"/>
                    <a:pt x="152" y="546"/>
                    <a:pt x="151" y="546"/>
                  </a:cubicBezTo>
                  <a:cubicBezTo>
                    <a:pt x="151" y="546"/>
                    <a:pt x="151" y="546"/>
                    <a:pt x="151" y="546"/>
                  </a:cubicBezTo>
                  <a:cubicBezTo>
                    <a:pt x="145" y="547"/>
                    <a:pt x="138" y="552"/>
                    <a:pt x="133" y="557"/>
                  </a:cubicBezTo>
                  <a:cubicBezTo>
                    <a:pt x="130" y="559"/>
                    <a:pt x="128" y="561"/>
                    <a:pt x="126" y="561"/>
                  </a:cubicBezTo>
                  <a:cubicBezTo>
                    <a:pt x="124" y="561"/>
                    <a:pt x="123" y="559"/>
                    <a:pt x="121" y="558"/>
                  </a:cubicBezTo>
                  <a:cubicBezTo>
                    <a:pt x="120" y="557"/>
                    <a:pt x="120" y="557"/>
                    <a:pt x="120" y="557"/>
                  </a:cubicBezTo>
                  <a:cubicBezTo>
                    <a:pt x="117" y="555"/>
                    <a:pt x="115" y="553"/>
                    <a:pt x="119" y="546"/>
                  </a:cubicBezTo>
                  <a:cubicBezTo>
                    <a:pt x="122" y="540"/>
                    <a:pt x="126" y="532"/>
                    <a:pt x="126" y="526"/>
                  </a:cubicBezTo>
                  <a:cubicBezTo>
                    <a:pt x="126" y="525"/>
                    <a:pt x="126" y="525"/>
                    <a:pt x="125" y="524"/>
                  </a:cubicBezTo>
                  <a:cubicBezTo>
                    <a:pt x="123" y="522"/>
                    <a:pt x="121" y="520"/>
                    <a:pt x="118" y="518"/>
                  </a:cubicBezTo>
                  <a:cubicBezTo>
                    <a:pt x="118" y="518"/>
                    <a:pt x="117" y="517"/>
                    <a:pt x="117" y="517"/>
                  </a:cubicBezTo>
                  <a:cubicBezTo>
                    <a:pt x="117" y="517"/>
                    <a:pt x="117" y="517"/>
                    <a:pt x="116" y="517"/>
                  </a:cubicBezTo>
                  <a:cubicBezTo>
                    <a:pt x="111" y="518"/>
                    <a:pt x="103" y="522"/>
                    <a:pt x="97" y="525"/>
                  </a:cubicBezTo>
                  <a:cubicBezTo>
                    <a:pt x="95" y="527"/>
                    <a:pt x="93" y="528"/>
                    <a:pt x="91" y="528"/>
                  </a:cubicBezTo>
                  <a:cubicBezTo>
                    <a:pt x="89" y="528"/>
                    <a:pt x="88" y="526"/>
                    <a:pt x="86" y="524"/>
                  </a:cubicBezTo>
                  <a:cubicBezTo>
                    <a:pt x="85" y="523"/>
                    <a:pt x="85" y="523"/>
                    <a:pt x="85" y="523"/>
                  </a:cubicBezTo>
                  <a:cubicBezTo>
                    <a:pt x="82" y="520"/>
                    <a:pt x="80" y="518"/>
                    <a:pt x="86" y="512"/>
                  </a:cubicBezTo>
                  <a:cubicBezTo>
                    <a:pt x="90" y="507"/>
                    <a:pt x="94" y="499"/>
                    <a:pt x="95" y="494"/>
                  </a:cubicBezTo>
                  <a:cubicBezTo>
                    <a:pt x="95" y="493"/>
                    <a:pt x="95" y="492"/>
                    <a:pt x="95" y="492"/>
                  </a:cubicBezTo>
                  <a:cubicBezTo>
                    <a:pt x="94" y="490"/>
                    <a:pt x="94" y="490"/>
                    <a:pt x="94" y="490"/>
                  </a:cubicBezTo>
                  <a:cubicBezTo>
                    <a:pt x="92" y="488"/>
                    <a:pt x="91" y="486"/>
                    <a:pt x="89" y="484"/>
                  </a:cubicBezTo>
                  <a:cubicBezTo>
                    <a:pt x="89" y="484"/>
                    <a:pt x="88" y="483"/>
                    <a:pt x="87" y="483"/>
                  </a:cubicBezTo>
                  <a:cubicBezTo>
                    <a:pt x="87" y="483"/>
                    <a:pt x="86" y="483"/>
                    <a:pt x="86" y="483"/>
                  </a:cubicBezTo>
                  <a:cubicBezTo>
                    <a:pt x="81" y="483"/>
                    <a:pt x="74" y="485"/>
                    <a:pt x="67" y="488"/>
                  </a:cubicBezTo>
                  <a:cubicBezTo>
                    <a:pt x="65" y="489"/>
                    <a:pt x="63" y="490"/>
                    <a:pt x="61" y="490"/>
                  </a:cubicBezTo>
                  <a:cubicBezTo>
                    <a:pt x="59" y="490"/>
                    <a:pt x="58" y="488"/>
                    <a:pt x="56" y="486"/>
                  </a:cubicBezTo>
                  <a:cubicBezTo>
                    <a:pt x="55" y="485"/>
                    <a:pt x="55" y="485"/>
                    <a:pt x="55" y="485"/>
                  </a:cubicBezTo>
                  <a:cubicBezTo>
                    <a:pt x="53" y="481"/>
                    <a:pt x="51" y="479"/>
                    <a:pt x="58" y="473"/>
                  </a:cubicBezTo>
                  <a:cubicBezTo>
                    <a:pt x="63" y="469"/>
                    <a:pt x="68" y="462"/>
                    <a:pt x="70" y="457"/>
                  </a:cubicBezTo>
                  <a:cubicBezTo>
                    <a:pt x="70" y="456"/>
                    <a:pt x="70" y="455"/>
                    <a:pt x="70" y="455"/>
                  </a:cubicBezTo>
                  <a:cubicBezTo>
                    <a:pt x="68" y="452"/>
                    <a:pt x="67" y="449"/>
                    <a:pt x="66" y="447"/>
                  </a:cubicBezTo>
                  <a:cubicBezTo>
                    <a:pt x="65" y="446"/>
                    <a:pt x="65" y="446"/>
                    <a:pt x="64" y="445"/>
                  </a:cubicBezTo>
                  <a:cubicBezTo>
                    <a:pt x="62" y="445"/>
                    <a:pt x="60" y="445"/>
                    <a:pt x="58" y="445"/>
                  </a:cubicBezTo>
                  <a:cubicBezTo>
                    <a:pt x="54" y="445"/>
                    <a:pt x="49" y="446"/>
                    <a:pt x="43" y="447"/>
                  </a:cubicBezTo>
                  <a:cubicBezTo>
                    <a:pt x="41" y="448"/>
                    <a:pt x="40" y="448"/>
                    <a:pt x="39" y="448"/>
                  </a:cubicBezTo>
                  <a:cubicBezTo>
                    <a:pt x="35" y="448"/>
                    <a:pt x="34" y="446"/>
                    <a:pt x="33" y="443"/>
                  </a:cubicBezTo>
                  <a:cubicBezTo>
                    <a:pt x="32" y="442"/>
                    <a:pt x="32" y="442"/>
                    <a:pt x="32" y="442"/>
                  </a:cubicBezTo>
                  <a:cubicBezTo>
                    <a:pt x="30" y="438"/>
                    <a:pt x="29" y="435"/>
                    <a:pt x="36" y="431"/>
                  </a:cubicBezTo>
                  <a:cubicBezTo>
                    <a:pt x="42" y="427"/>
                    <a:pt x="49" y="422"/>
                    <a:pt x="51" y="417"/>
                  </a:cubicBezTo>
                  <a:cubicBezTo>
                    <a:pt x="51" y="416"/>
                    <a:pt x="52" y="415"/>
                    <a:pt x="51" y="414"/>
                  </a:cubicBezTo>
                  <a:cubicBezTo>
                    <a:pt x="50" y="412"/>
                    <a:pt x="49" y="409"/>
                    <a:pt x="48" y="406"/>
                  </a:cubicBezTo>
                  <a:cubicBezTo>
                    <a:pt x="48" y="405"/>
                    <a:pt x="48" y="405"/>
                    <a:pt x="47" y="404"/>
                  </a:cubicBezTo>
                  <a:cubicBezTo>
                    <a:pt x="43" y="403"/>
                    <a:pt x="37" y="402"/>
                    <a:pt x="33" y="402"/>
                  </a:cubicBezTo>
                  <a:cubicBezTo>
                    <a:pt x="31" y="402"/>
                    <a:pt x="29" y="402"/>
                    <a:pt x="26" y="403"/>
                  </a:cubicBezTo>
                  <a:cubicBezTo>
                    <a:pt x="25" y="403"/>
                    <a:pt x="24" y="403"/>
                    <a:pt x="23" y="403"/>
                  </a:cubicBezTo>
                  <a:cubicBezTo>
                    <a:pt x="18" y="403"/>
                    <a:pt x="17" y="400"/>
                    <a:pt x="16" y="397"/>
                  </a:cubicBezTo>
                  <a:cubicBezTo>
                    <a:pt x="16" y="395"/>
                    <a:pt x="16" y="395"/>
                    <a:pt x="16" y="395"/>
                  </a:cubicBezTo>
                  <a:cubicBezTo>
                    <a:pt x="15" y="392"/>
                    <a:pt x="14" y="389"/>
                    <a:pt x="22" y="385"/>
                  </a:cubicBezTo>
                  <a:cubicBezTo>
                    <a:pt x="28" y="383"/>
                    <a:pt x="35" y="378"/>
                    <a:pt x="39" y="374"/>
                  </a:cubicBezTo>
                  <a:cubicBezTo>
                    <a:pt x="39" y="373"/>
                    <a:pt x="39" y="372"/>
                    <a:pt x="39" y="372"/>
                  </a:cubicBezTo>
                  <a:cubicBezTo>
                    <a:pt x="39" y="369"/>
                    <a:pt x="38" y="366"/>
                    <a:pt x="38" y="363"/>
                  </a:cubicBezTo>
                  <a:cubicBezTo>
                    <a:pt x="37" y="363"/>
                    <a:pt x="37" y="363"/>
                    <a:pt x="37" y="363"/>
                  </a:cubicBezTo>
                  <a:cubicBezTo>
                    <a:pt x="37" y="362"/>
                    <a:pt x="37" y="361"/>
                    <a:pt x="36" y="361"/>
                  </a:cubicBezTo>
                  <a:cubicBezTo>
                    <a:pt x="32" y="358"/>
                    <a:pt x="23" y="356"/>
                    <a:pt x="16" y="356"/>
                  </a:cubicBezTo>
                  <a:cubicBezTo>
                    <a:pt x="8" y="356"/>
                    <a:pt x="8" y="353"/>
                    <a:pt x="7" y="349"/>
                  </a:cubicBezTo>
                  <a:cubicBezTo>
                    <a:pt x="7" y="347"/>
                    <a:pt x="7" y="347"/>
                    <a:pt x="7" y="347"/>
                  </a:cubicBezTo>
                  <a:cubicBezTo>
                    <a:pt x="7" y="343"/>
                    <a:pt x="6" y="340"/>
                    <a:pt x="14" y="338"/>
                  </a:cubicBezTo>
                  <a:cubicBezTo>
                    <a:pt x="21" y="337"/>
                    <a:pt x="29" y="333"/>
                    <a:pt x="33" y="329"/>
                  </a:cubicBezTo>
                  <a:cubicBezTo>
                    <a:pt x="34" y="329"/>
                    <a:pt x="34" y="328"/>
                    <a:pt x="34" y="327"/>
                  </a:cubicBezTo>
                  <a:cubicBezTo>
                    <a:pt x="34" y="327"/>
                    <a:pt x="34" y="327"/>
                    <a:pt x="34" y="327"/>
                  </a:cubicBezTo>
                  <a:cubicBezTo>
                    <a:pt x="34" y="324"/>
                    <a:pt x="34" y="321"/>
                    <a:pt x="34" y="318"/>
                  </a:cubicBezTo>
                  <a:cubicBezTo>
                    <a:pt x="33" y="318"/>
                    <a:pt x="33" y="317"/>
                    <a:pt x="33" y="316"/>
                  </a:cubicBezTo>
                  <a:cubicBezTo>
                    <a:pt x="28" y="313"/>
                    <a:pt x="20" y="310"/>
                    <a:pt x="14" y="308"/>
                  </a:cubicBezTo>
                  <a:cubicBezTo>
                    <a:pt x="6" y="307"/>
                    <a:pt x="6" y="304"/>
                    <a:pt x="6" y="300"/>
                  </a:cubicBezTo>
                  <a:cubicBezTo>
                    <a:pt x="6" y="298"/>
                    <a:pt x="6" y="298"/>
                    <a:pt x="6" y="298"/>
                  </a:cubicBezTo>
                  <a:cubicBezTo>
                    <a:pt x="6" y="294"/>
                    <a:pt x="6" y="291"/>
                    <a:pt x="15" y="291"/>
                  </a:cubicBezTo>
                  <a:cubicBezTo>
                    <a:pt x="21" y="290"/>
                    <a:pt x="30" y="288"/>
                    <a:pt x="34" y="285"/>
                  </a:cubicBezTo>
                  <a:cubicBezTo>
                    <a:pt x="35" y="284"/>
                    <a:pt x="35" y="284"/>
                    <a:pt x="35" y="283"/>
                  </a:cubicBezTo>
                  <a:cubicBezTo>
                    <a:pt x="36" y="280"/>
                    <a:pt x="36" y="277"/>
                    <a:pt x="37" y="274"/>
                  </a:cubicBezTo>
                  <a:cubicBezTo>
                    <a:pt x="37" y="273"/>
                    <a:pt x="37" y="272"/>
                    <a:pt x="36" y="272"/>
                  </a:cubicBezTo>
                  <a:cubicBezTo>
                    <a:pt x="33" y="268"/>
                    <a:pt x="25" y="263"/>
                    <a:pt x="18" y="261"/>
                  </a:cubicBezTo>
                  <a:cubicBezTo>
                    <a:pt x="11" y="258"/>
                    <a:pt x="11" y="255"/>
                    <a:pt x="12" y="251"/>
                  </a:cubicBezTo>
                  <a:cubicBezTo>
                    <a:pt x="13" y="250"/>
                    <a:pt x="13" y="250"/>
                    <a:pt x="13" y="250"/>
                  </a:cubicBezTo>
                  <a:cubicBezTo>
                    <a:pt x="13" y="246"/>
                    <a:pt x="14" y="244"/>
                    <a:pt x="20" y="244"/>
                  </a:cubicBezTo>
                  <a:cubicBezTo>
                    <a:pt x="21" y="244"/>
                    <a:pt x="21" y="244"/>
                    <a:pt x="22" y="244"/>
                  </a:cubicBezTo>
                  <a:cubicBezTo>
                    <a:pt x="23" y="244"/>
                    <a:pt x="25" y="244"/>
                    <a:pt x="26" y="244"/>
                  </a:cubicBezTo>
                  <a:cubicBezTo>
                    <a:pt x="29" y="244"/>
                    <a:pt x="37" y="244"/>
                    <a:pt x="43" y="241"/>
                  </a:cubicBezTo>
                  <a:cubicBezTo>
                    <a:pt x="43" y="241"/>
                    <a:pt x="44" y="240"/>
                    <a:pt x="44" y="239"/>
                  </a:cubicBezTo>
                  <a:cubicBezTo>
                    <a:pt x="45" y="236"/>
                    <a:pt x="46" y="233"/>
                    <a:pt x="47" y="231"/>
                  </a:cubicBezTo>
                  <a:cubicBezTo>
                    <a:pt x="47" y="230"/>
                    <a:pt x="47" y="229"/>
                    <a:pt x="46" y="229"/>
                  </a:cubicBezTo>
                  <a:cubicBezTo>
                    <a:pt x="44" y="224"/>
                    <a:pt x="36" y="218"/>
                    <a:pt x="31" y="215"/>
                  </a:cubicBezTo>
                  <a:cubicBezTo>
                    <a:pt x="23" y="211"/>
                    <a:pt x="25" y="208"/>
                    <a:pt x="26" y="204"/>
                  </a:cubicBezTo>
                  <a:cubicBezTo>
                    <a:pt x="27" y="203"/>
                    <a:pt x="27" y="203"/>
                    <a:pt x="27" y="203"/>
                  </a:cubicBezTo>
                  <a:cubicBezTo>
                    <a:pt x="28" y="200"/>
                    <a:pt x="29" y="198"/>
                    <a:pt x="33" y="198"/>
                  </a:cubicBezTo>
                  <a:cubicBezTo>
                    <a:pt x="34" y="198"/>
                    <a:pt x="35" y="198"/>
                    <a:pt x="37" y="199"/>
                  </a:cubicBezTo>
                  <a:cubicBezTo>
                    <a:pt x="42" y="199"/>
                    <a:pt x="46" y="200"/>
                    <a:pt x="50" y="200"/>
                  </a:cubicBezTo>
                  <a:cubicBezTo>
                    <a:pt x="53" y="200"/>
                    <a:pt x="56" y="200"/>
                    <a:pt x="58" y="199"/>
                  </a:cubicBezTo>
                  <a:cubicBezTo>
                    <a:pt x="58" y="199"/>
                    <a:pt x="59" y="198"/>
                    <a:pt x="59" y="198"/>
                  </a:cubicBezTo>
                  <a:cubicBezTo>
                    <a:pt x="60" y="195"/>
                    <a:pt x="62" y="192"/>
                    <a:pt x="63" y="190"/>
                  </a:cubicBezTo>
                  <a:cubicBezTo>
                    <a:pt x="63" y="189"/>
                    <a:pt x="63" y="189"/>
                    <a:pt x="63" y="189"/>
                  </a:cubicBezTo>
                  <a:cubicBezTo>
                    <a:pt x="64" y="189"/>
                    <a:pt x="64" y="188"/>
                    <a:pt x="63" y="187"/>
                  </a:cubicBezTo>
                  <a:cubicBezTo>
                    <a:pt x="61" y="182"/>
                    <a:pt x="55" y="176"/>
                    <a:pt x="50" y="171"/>
                  </a:cubicBezTo>
                  <a:cubicBezTo>
                    <a:pt x="43" y="166"/>
                    <a:pt x="45" y="164"/>
                    <a:pt x="47" y="160"/>
                  </a:cubicBezTo>
                  <a:cubicBezTo>
                    <a:pt x="48" y="159"/>
                    <a:pt x="48" y="159"/>
                    <a:pt x="48" y="159"/>
                  </a:cubicBezTo>
                  <a:cubicBezTo>
                    <a:pt x="49" y="156"/>
                    <a:pt x="50" y="155"/>
                    <a:pt x="53" y="155"/>
                  </a:cubicBezTo>
                  <a:cubicBezTo>
                    <a:pt x="55" y="155"/>
                    <a:pt x="57" y="155"/>
                    <a:pt x="59" y="156"/>
                  </a:cubicBezTo>
                  <a:cubicBezTo>
                    <a:pt x="65" y="159"/>
                    <a:pt x="72" y="160"/>
                    <a:pt x="77" y="160"/>
                  </a:cubicBezTo>
                  <a:cubicBezTo>
                    <a:pt x="78" y="160"/>
                    <a:pt x="78" y="160"/>
                    <a:pt x="79" y="160"/>
                  </a:cubicBezTo>
                  <a:cubicBezTo>
                    <a:pt x="80" y="160"/>
                    <a:pt x="81" y="159"/>
                    <a:pt x="81" y="159"/>
                  </a:cubicBezTo>
                  <a:cubicBezTo>
                    <a:pt x="83" y="156"/>
                    <a:pt x="84" y="154"/>
                    <a:pt x="86" y="151"/>
                  </a:cubicBezTo>
                  <a:cubicBezTo>
                    <a:pt x="87" y="151"/>
                    <a:pt x="87" y="150"/>
                    <a:pt x="87" y="149"/>
                  </a:cubicBezTo>
                  <a:cubicBezTo>
                    <a:pt x="85" y="144"/>
                    <a:pt x="80" y="136"/>
                    <a:pt x="76" y="131"/>
                  </a:cubicBezTo>
                  <a:cubicBezTo>
                    <a:pt x="70" y="126"/>
                    <a:pt x="72" y="123"/>
                    <a:pt x="75" y="120"/>
                  </a:cubicBezTo>
                  <a:cubicBezTo>
                    <a:pt x="76" y="119"/>
                    <a:pt x="76" y="119"/>
                    <a:pt x="76" y="119"/>
                  </a:cubicBezTo>
                  <a:cubicBezTo>
                    <a:pt x="77" y="117"/>
                    <a:pt x="79" y="115"/>
                    <a:pt x="81" y="115"/>
                  </a:cubicBezTo>
                  <a:cubicBezTo>
                    <a:pt x="82" y="115"/>
                    <a:pt x="84" y="116"/>
                    <a:pt x="87" y="118"/>
                  </a:cubicBezTo>
                  <a:cubicBezTo>
                    <a:pt x="93" y="121"/>
                    <a:pt x="101" y="125"/>
                    <a:pt x="107" y="125"/>
                  </a:cubicBezTo>
                  <a:cubicBezTo>
                    <a:pt x="107" y="125"/>
                    <a:pt x="107" y="125"/>
                    <a:pt x="107" y="125"/>
                  </a:cubicBezTo>
                  <a:cubicBezTo>
                    <a:pt x="107" y="125"/>
                    <a:pt x="108" y="124"/>
                    <a:pt x="108" y="124"/>
                  </a:cubicBezTo>
                  <a:cubicBezTo>
                    <a:pt x="110" y="121"/>
                    <a:pt x="113" y="119"/>
                    <a:pt x="115" y="117"/>
                  </a:cubicBezTo>
                  <a:cubicBezTo>
                    <a:pt x="115" y="117"/>
                    <a:pt x="115" y="116"/>
                    <a:pt x="115" y="115"/>
                  </a:cubicBezTo>
                  <a:cubicBezTo>
                    <a:pt x="115" y="110"/>
                    <a:pt x="111" y="102"/>
                    <a:pt x="108" y="96"/>
                  </a:cubicBezTo>
                  <a:cubicBezTo>
                    <a:pt x="103" y="89"/>
                    <a:pt x="105" y="87"/>
                    <a:pt x="108" y="85"/>
                  </a:cubicBezTo>
                  <a:cubicBezTo>
                    <a:pt x="109" y="84"/>
                    <a:pt x="109" y="84"/>
                    <a:pt x="109" y="84"/>
                  </a:cubicBezTo>
                  <a:cubicBezTo>
                    <a:pt x="111" y="82"/>
                    <a:pt x="112" y="81"/>
                    <a:pt x="114" y="81"/>
                  </a:cubicBezTo>
                  <a:cubicBezTo>
                    <a:pt x="116" y="81"/>
                    <a:pt x="118" y="82"/>
                    <a:pt x="121" y="84"/>
                  </a:cubicBezTo>
                  <a:cubicBezTo>
                    <a:pt x="126" y="88"/>
                    <a:pt x="133" y="93"/>
                    <a:pt x="139" y="94"/>
                  </a:cubicBezTo>
                  <a:cubicBezTo>
                    <a:pt x="139" y="94"/>
                    <a:pt x="139" y="94"/>
                    <a:pt x="139" y="94"/>
                  </a:cubicBezTo>
                  <a:cubicBezTo>
                    <a:pt x="140" y="94"/>
                    <a:pt x="141" y="94"/>
                    <a:pt x="141" y="93"/>
                  </a:cubicBezTo>
                  <a:cubicBezTo>
                    <a:pt x="142" y="92"/>
                    <a:pt x="142" y="92"/>
                    <a:pt x="142" y="92"/>
                  </a:cubicBezTo>
                  <a:cubicBezTo>
                    <a:pt x="144" y="91"/>
                    <a:pt x="146" y="89"/>
                    <a:pt x="148" y="88"/>
                  </a:cubicBezTo>
                  <a:cubicBezTo>
                    <a:pt x="149" y="87"/>
                    <a:pt x="149" y="87"/>
                    <a:pt x="149" y="86"/>
                  </a:cubicBezTo>
                  <a:cubicBezTo>
                    <a:pt x="150" y="80"/>
                    <a:pt x="147" y="72"/>
                    <a:pt x="145" y="66"/>
                  </a:cubicBezTo>
                  <a:cubicBezTo>
                    <a:pt x="141" y="59"/>
                    <a:pt x="144" y="57"/>
                    <a:pt x="147" y="55"/>
                  </a:cubicBezTo>
                  <a:cubicBezTo>
                    <a:pt x="148" y="54"/>
                    <a:pt x="148" y="54"/>
                    <a:pt x="148" y="54"/>
                  </a:cubicBezTo>
                  <a:cubicBezTo>
                    <a:pt x="150" y="53"/>
                    <a:pt x="151" y="52"/>
                    <a:pt x="153" y="52"/>
                  </a:cubicBezTo>
                  <a:cubicBezTo>
                    <a:pt x="155" y="52"/>
                    <a:pt x="157" y="53"/>
                    <a:pt x="159" y="56"/>
                  </a:cubicBezTo>
                  <a:cubicBezTo>
                    <a:pt x="164" y="61"/>
                    <a:pt x="170" y="67"/>
                    <a:pt x="176" y="69"/>
                  </a:cubicBezTo>
                  <a:cubicBezTo>
                    <a:pt x="176" y="69"/>
                    <a:pt x="176" y="69"/>
                    <a:pt x="177" y="69"/>
                  </a:cubicBezTo>
                  <a:cubicBezTo>
                    <a:pt x="177" y="69"/>
                    <a:pt x="177" y="69"/>
                    <a:pt x="178" y="69"/>
                  </a:cubicBezTo>
                  <a:cubicBezTo>
                    <a:pt x="181" y="67"/>
                    <a:pt x="183" y="66"/>
                    <a:pt x="186" y="64"/>
                  </a:cubicBezTo>
                  <a:cubicBezTo>
                    <a:pt x="187" y="64"/>
                    <a:pt x="187" y="63"/>
                    <a:pt x="187" y="63"/>
                  </a:cubicBezTo>
                  <a:cubicBezTo>
                    <a:pt x="189" y="57"/>
                    <a:pt x="187" y="48"/>
                    <a:pt x="186" y="42"/>
                  </a:cubicBezTo>
                  <a:cubicBezTo>
                    <a:pt x="183" y="34"/>
                    <a:pt x="186" y="33"/>
                    <a:pt x="190" y="31"/>
                  </a:cubicBezTo>
                  <a:cubicBezTo>
                    <a:pt x="191" y="31"/>
                    <a:pt x="191" y="31"/>
                    <a:pt x="191" y="31"/>
                  </a:cubicBezTo>
                  <a:cubicBezTo>
                    <a:pt x="193" y="30"/>
                    <a:pt x="194" y="30"/>
                    <a:pt x="196" y="30"/>
                  </a:cubicBezTo>
                  <a:cubicBezTo>
                    <a:pt x="196" y="30"/>
                    <a:pt x="199" y="30"/>
                    <a:pt x="202" y="35"/>
                  </a:cubicBezTo>
                  <a:cubicBezTo>
                    <a:pt x="206" y="40"/>
                    <a:pt x="211" y="47"/>
                    <a:pt x="216" y="50"/>
                  </a:cubicBezTo>
                  <a:cubicBezTo>
                    <a:pt x="217" y="50"/>
                    <a:pt x="217" y="50"/>
                    <a:pt x="217" y="50"/>
                  </a:cubicBezTo>
                  <a:cubicBezTo>
                    <a:pt x="218" y="50"/>
                    <a:pt x="218" y="50"/>
                    <a:pt x="218" y="50"/>
                  </a:cubicBezTo>
                  <a:cubicBezTo>
                    <a:pt x="221" y="49"/>
                    <a:pt x="224" y="48"/>
                    <a:pt x="227" y="47"/>
                  </a:cubicBezTo>
                  <a:cubicBezTo>
                    <a:pt x="228" y="47"/>
                    <a:pt x="228" y="46"/>
                    <a:pt x="228" y="46"/>
                  </a:cubicBezTo>
                  <a:cubicBezTo>
                    <a:pt x="231" y="40"/>
                    <a:pt x="231" y="31"/>
                    <a:pt x="230" y="25"/>
                  </a:cubicBezTo>
                  <a:cubicBezTo>
                    <a:pt x="229" y="17"/>
                    <a:pt x="232" y="16"/>
                    <a:pt x="236" y="15"/>
                  </a:cubicBezTo>
                  <a:cubicBezTo>
                    <a:pt x="237" y="15"/>
                    <a:pt x="237" y="15"/>
                    <a:pt x="237" y="15"/>
                  </a:cubicBezTo>
                  <a:cubicBezTo>
                    <a:pt x="239" y="14"/>
                    <a:pt x="240" y="14"/>
                    <a:pt x="241" y="14"/>
                  </a:cubicBezTo>
                  <a:cubicBezTo>
                    <a:pt x="242" y="14"/>
                    <a:pt x="245" y="14"/>
                    <a:pt x="247" y="20"/>
                  </a:cubicBezTo>
                  <a:cubicBezTo>
                    <a:pt x="250" y="26"/>
                    <a:pt x="255" y="34"/>
                    <a:pt x="259" y="37"/>
                  </a:cubicBezTo>
                  <a:cubicBezTo>
                    <a:pt x="259" y="38"/>
                    <a:pt x="260" y="38"/>
                    <a:pt x="261" y="38"/>
                  </a:cubicBezTo>
                  <a:cubicBezTo>
                    <a:pt x="261" y="38"/>
                    <a:pt x="261" y="38"/>
                    <a:pt x="261" y="38"/>
                  </a:cubicBezTo>
                  <a:cubicBezTo>
                    <a:pt x="263" y="37"/>
                    <a:pt x="266" y="37"/>
                    <a:pt x="268" y="36"/>
                  </a:cubicBezTo>
                  <a:cubicBezTo>
                    <a:pt x="270" y="36"/>
                    <a:pt x="270" y="36"/>
                    <a:pt x="270" y="36"/>
                  </a:cubicBezTo>
                  <a:cubicBezTo>
                    <a:pt x="271" y="36"/>
                    <a:pt x="271" y="36"/>
                    <a:pt x="272" y="35"/>
                  </a:cubicBezTo>
                  <a:cubicBezTo>
                    <a:pt x="275" y="30"/>
                    <a:pt x="276" y="22"/>
                    <a:pt x="277" y="15"/>
                  </a:cubicBezTo>
                  <a:cubicBezTo>
                    <a:pt x="277" y="7"/>
                    <a:pt x="280" y="6"/>
                    <a:pt x="284" y="6"/>
                  </a:cubicBezTo>
                  <a:cubicBezTo>
                    <a:pt x="285" y="6"/>
                    <a:pt x="285" y="6"/>
                    <a:pt x="285" y="6"/>
                  </a:cubicBezTo>
                  <a:cubicBezTo>
                    <a:pt x="286" y="6"/>
                    <a:pt x="287" y="6"/>
                    <a:pt x="288" y="6"/>
                  </a:cubicBezTo>
                  <a:cubicBezTo>
                    <a:pt x="290" y="6"/>
                    <a:pt x="293" y="6"/>
                    <a:pt x="294" y="13"/>
                  </a:cubicBezTo>
                  <a:cubicBezTo>
                    <a:pt x="296" y="19"/>
                    <a:pt x="299" y="28"/>
                    <a:pt x="303" y="32"/>
                  </a:cubicBezTo>
                  <a:cubicBezTo>
                    <a:pt x="304" y="32"/>
                    <a:pt x="305" y="32"/>
                    <a:pt x="305" y="32"/>
                  </a:cubicBezTo>
                  <a:moveTo>
                    <a:pt x="331" y="0"/>
                  </a:moveTo>
                  <a:cubicBezTo>
                    <a:pt x="325" y="0"/>
                    <a:pt x="321" y="3"/>
                    <a:pt x="319" y="11"/>
                  </a:cubicBezTo>
                  <a:cubicBezTo>
                    <a:pt x="318" y="18"/>
                    <a:pt x="316" y="24"/>
                    <a:pt x="313" y="27"/>
                  </a:cubicBezTo>
                  <a:cubicBezTo>
                    <a:pt x="311" y="27"/>
                    <a:pt x="309" y="27"/>
                    <a:pt x="306" y="27"/>
                  </a:cubicBezTo>
                  <a:cubicBezTo>
                    <a:pt x="304" y="24"/>
                    <a:pt x="301" y="18"/>
                    <a:pt x="299" y="12"/>
                  </a:cubicBezTo>
                  <a:cubicBezTo>
                    <a:pt x="297" y="4"/>
                    <a:pt x="294" y="1"/>
                    <a:pt x="288" y="1"/>
                  </a:cubicBezTo>
                  <a:cubicBezTo>
                    <a:pt x="287" y="1"/>
                    <a:pt x="286" y="1"/>
                    <a:pt x="285" y="1"/>
                  </a:cubicBezTo>
                  <a:cubicBezTo>
                    <a:pt x="284" y="1"/>
                    <a:pt x="284" y="1"/>
                    <a:pt x="284" y="1"/>
                  </a:cubicBezTo>
                  <a:cubicBezTo>
                    <a:pt x="280" y="1"/>
                    <a:pt x="272" y="2"/>
                    <a:pt x="272" y="15"/>
                  </a:cubicBezTo>
                  <a:cubicBezTo>
                    <a:pt x="271" y="21"/>
                    <a:pt x="270" y="28"/>
                    <a:pt x="268" y="31"/>
                  </a:cubicBezTo>
                  <a:cubicBezTo>
                    <a:pt x="268" y="31"/>
                    <a:pt x="268" y="31"/>
                    <a:pt x="268" y="31"/>
                  </a:cubicBezTo>
                  <a:cubicBezTo>
                    <a:pt x="265" y="32"/>
                    <a:pt x="263" y="32"/>
                    <a:pt x="261" y="33"/>
                  </a:cubicBezTo>
                  <a:cubicBezTo>
                    <a:pt x="258" y="30"/>
                    <a:pt x="255" y="25"/>
                    <a:pt x="252" y="18"/>
                  </a:cubicBezTo>
                  <a:cubicBezTo>
                    <a:pt x="249" y="12"/>
                    <a:pt x="246" y="9"/>
                    <a:pt x="241" y="9"/>
                  </a:cubicBezTo>
                  <a:cubicBezTo>
                    <a:pt x="239" y="9"/>
                    <a:pt x="237" y="9"/>
                    <a:pt x="236" y="10"/>
                  </a:cubicBezTo>
                  <a:cubicBezTo>
                    <a:pt x="235" y="10"/>
                    <a:pt x="235" y="10"/>
                    <a:pt x="235" y="10"/>
                  </a:cubicBezTo>
                  <a:cubicBezTo>
                    <a:pt x="231" y="11"/>
                    <a:pt x="224" y="13"/>
                    <a:pt x="225" y="25"/>
                  </a:cubicBezTo>
                  <a:cubicBezTo>
                    <a:pt x="226" y="32"/>
                    <a:pt x="226" y="39"/>
                    <a:pt x="224" y="43"/>
                  </a:cubicBezTo>
                  <a:cubicBezTo>
                    <a:pt x="222" y="43"/>
                    <a:pt x="220" y="44"/>
                    <a:pt x="218" y="45"/>
                  </a:cubicBezTo>
                  <a:cubicBezTo>
                    <a:pt x="214" y="43"/>
                    <a:pt x="210" y="38"/>
                    <a:pt x="206" y="32"/>
                  </a:cubicBezTo>
                  <a:cubicBezTo>
                    <a:pt x="203" y="27"/>
                    <a:pt x="200" y="25"/>
                    <a:pt x="196" y="25"/>
                  </a:cubicBezTo>
                  <a:cubicBezTo>
                    <a:pt x="193" y="25"/>
                    <a:pt x="191" y="26"/>
                    <a:pt x="189" y="26"/>
                  </a:cubicBezTo>
                  <a:cubicBezTo>
                    <a:pt x="188" y="27"/>
                    <a:pt x="188" y="27"/>
                    <a:pt x="188" y="27"/>
                  </a:cubicBezTo>
                  <a:cubicBezTo>
                    <a:pt x="184" y="28"/>
                    <a:pt x="177" y="31"/>
                    <a:pt x="181" y="43"/>
                  </a:cubicBezTo>
                  <a:cubicBezTo>
                    <a:pt x="183" y="50"/>
                    <a:pt x="183" y="56"/>
                    <a:pt x="183" y="60"/>
                  </a:cubicBezTo>
                  <a:cubicBezTo>
                    <a:pt x="181" y="61"/>
                    <a:pt x="179" y="63"/>
                    <a:pt x="176" y="64"/>
                  </a:cubicBezTo>
                  <a:cubicBezTo>
                    <a:pt x="173" y="62"/>
                    <a:pt x="168" y="58"/>
                    <a:pt x="163" y="53"/>
                  </a:cubicBezTo>
                  <a:cubicBezTo>
                    <a:pt x="160" y="49"/>
                    <a:pt x="156" y="47"/>
                    <a:pt x="153" y="47"/>
                  </a:cubicBezTo>
                  <a:cubicBezTo>
                    <a:pt x="150" y="47"/>
                    <a:pt x="147" y="49"/>
                    <a:pt x="145" y="50"/>
                  </a:cubicBezTo>
                  <a:cubicBezTo>
                    <a:pt x="144" y="51"/>
                    <a:pt x="144" y="51"/>
                    <a:pt x="144" y="51"/>
                  </a:cubicBezTo>
                  <a:cubicBezTo>
                    <a:pt x="141" y="53"/>
                    <a:pt x="135" y="57"/>
                    <a:pt x="140" y="68"/>
                  </a:cubicBezTo>
                  <a:cubicBezTo>
                    <a:pt x="143" y="74"/>
                    <a:pt x="144" y="80"/>
                    <a:pt x="144" y="84"/>
                  </a:cubicBezTo>
                  <a:cubicBezTo>
                    <a:pt x="143" y="86"/>
                    <a:pt x="141" y="87"/>
                    <a:pt x="139" y="89"/>
                  </a:cubicBezTo>
                  <a:cubicBezTo>
                    <a:pt x="139" y="89"/>
                    <a:pt x="139" y="89"/>
                    <a:pt x="139" y="89"/>
                  </a:cubicBezTo>
                  <a:cubicBezTo>
                    <a:pt x="135" y="88"/>
                    <a:pt x="129" y="84"/>
                    <a:pt x="124" y="80"/>
                  </a:cubicBezTo>
                  <a:cubicBezTo>
                    <a:pt x="120" y="77"/>
                    <a:pt x="117" y="76"/>
                    <a:pt x="114" y="76"/>
                  </a:cubicBezTo>
                  <a:cubicBezTo>
                    <a:pt x="110" y="76"/>
                    <a:pt x="108" y="78"/>
                    <a:pt x="106" y="80"/>
                  </a:cubicBezTo>
                  <a:cubicBezTo>
                    <a:pt x="105" y="81"/>
                    <a:pt x="105" y="81"/>
                    <a:pt x="105" y="81"/>
                  </a:cubicBezTo>
                  <a:cubicBezTo>
                    <a:pt x="102" y="83"/>
                    <a:pt x="96" y="88"/>
                    <a:pt x="103" y="99"/>
                  </a:cubicBezTo>
                  <a:cubicBezTo>
                    <a:pt x="107" y="104"/>
                    <a:pt x="110" y="111"/>
                    <a:pt x="110" y="114"/>
                  </a:cubicBezTo>
                  <a:cubicBezTo>
                    <a:pt x="109" y="116"/>
                    <a:pt x="107" y="118"/>
                    <a:pt x="106" y="120"/>
                  </a:cubicBezTo>
                  <a:cubicBezTo>
                    <a:pt x="102" y="119"/>
                    <a:pt x="95" y="117"/>
                    <a:pt x="90" y="113"/>
                  </a:cubicBezTo>
                  <a:cubicBezTo>
                    <a:pt x="86" y="111"/>
                    <a:pt x="83" y="110"/>
                    <a:pt x="81" y="110"/>
                  </a:cubicBezTo>
                  <a:cubicBezTo>
                    <a:pt x="76" y="110"/>
                    <a:pt x="73" y="114"/>
                    <a:pt x="72" y="116"/>
                  </a:cubicBezTo>
                  <a:cubicBezTo>
                    <a:pt x="71" y="117"/>
                    <a:pt x="71" y="117"/>
                    <a:pt x="71" y="117"/>
                  </a:cubicBezTo>
                  <a:cubicBezTo>
                    <a:pt x="68" y="120"/>
                    <a:pt x="63" y="126"/>
                    <a:pt x="72" y="135"/>
                  </a:cubicBezTo>
                  <a:cubicBezTo>
                    <a:pt x="77" y="140"/>
                    <a:pt x="80" y="145"/>
                    <a:pt x="81" y="149"/>
                  </a:cubicBezTo>
                  <a:cubicBezTo>
                    <a:pt x="80" y="151"/>
                    <a:pt x="79" y="153"/>
                    <a:pt x="77" y="155"/>
                  </a:cubicBezTo>
                  <a:cubicBezTo>
                    <a:pt x="77" y="155"/>
                    <a:pt x="77" y="155"/>
                    <a:pt x="76" y="155"/>
                  </a:cubicBezTo>
                  <a:cubicBezTo>
                    <a:pt x="73" y="155"/>
                    <a:pt x="66" y="154"/>
                    <a:pt x="61" y="151"/>
                  </a:cubicBezTo>
                  <a:cubicBezTo>
                    <a:pt x="58" y="150"/>
                    <a:pt x="55" y="150"/>
                    <a:pt x="53" y="150"/>
                  </a:cubicBezTo>
                  <a:cubicBezTo>
                    <a:pt x="47" y="150"/>
                    <a:pt x="45" y="154"/>
                    <a:pt x="43" y="157"/>
                  </a:cubicBezTo>
                  <a:cubicBezTo>
                    <a:pt x="43" y="158"/>
                    <a:pt x="43" y="158"/>
                    <a:pt x="43" y="158"/>
                  </a:cubicBezTo>
                  <a:cubicBezTo>
                    <a:pt x="41" y="161"/>
                    <a:pt x="37" y="168"/>
                    <a:pt x="47" y="175"/>
                  </a:cubicBezTo>
                  <a:cubicBezTo>
                    <a:pt x="52" y="180"/>
                    <a:pt x="56" y="185"/>
                    <a:pt x="58" y="188"/>
                  </a:cubicBezTo>
                  <a:cubicBezTo>
                    <a:pt x="57" y="190"/>
                    <a:pt x="56" y="192"/>
                    <a:pt x="55" y="194"/>
                  </a:cubicBezTo>
                  <a:cubicBezTo>
                    <a:pt x="54" y="195"/>
                    <a:pt x="52" y="195"/>
                    <a:pt x="50" y="195"/>
                  </a:cubicBezTo>
                  <a:cubicBezTo>
                    <a:pt x="46" y="195"/>
                    <a:pt x="42" y="194"/>
                    <a:pt x="38" y="194"/>
                  </a:cubicBezTo>
                  <a:cubicBezTo>
                    <a:pt x="36" y="193"/>
                    <a:pt x="34" y="193"/>
                    <a:pt x="33" y="193"/>
                  </a:cubicBezTo>
                  <a:cubicBezTo>
                    <a:pt x="25" y="193"/>
                    <a:pt x="23" y="198"/>
                    <a:pt x="22" y="202"/>
                  </a:cubicBezTo>
                  <a:cubicBezTo>
                    <a:pt x="22" y="203"/>
                    <a:pt x="22" y="203"/>
                    <a:pt x="22" y="203"/>
                  </a:cubicBezTo>
                  <a:cubicBezTo>
                    <a:pt x="20" y="206"/>
                    <a:pt x="17" y="213"/>
                    <a:pt x="28" y="219"/>
                  </a:cubicBezTo>
                  <a:cubicBezTo>
                    <a:pt x="34" y="223"/>
                    <a:pt x="39" y="227"/>
                    <a:pt x="41" y="230"/>
                  </a:cubicBezTo>
                  <a:cubicBezTo>
                    <a:pt x="41" y="232"/>
                    <a:pt x="40" y="235"/>
                    <a:pt x="39" y="237"/>
                  </a:cubicBezTo>
                  <a:cubicBezTo>
                    <a:pt x="36" y="238"/>
                    <a:pt x="31" y="239"/>
                    <a:pt x="26" y="239"/>
                  </a:cubicBezTo>
                  <a:cubicBezTo>
                    <a:pt x="25" y="239"/>
                    <a:pt x="23" y="239"/>
                    <a:pt x="22" y="239"/>
                  </a:cubicBezTo>
                  <a:cubicBezTo>
                    <a:pt x="22" y="239"/>
                    <a:pt x="21" y="239"/>
                    <a:pt x="20" y="239"/>
                  </a:cubicBezTo>
                  <a:cubicBezTo>
                    <a:pt x="10" y="239"/>
                    <a:pt x="8" y="245"/>
                    <a:pt x="8" y="249"/>
                  </a:cubicBezTo>
                  <a:cubicBezTo>
                    <a:pt x="7" y="250"/>
                    <a:pt x="7" y="250"/>
                    <a:pt x="7" y="250"/>
                  </a:cubicBezTo>
                  <a:cubicBezTo>
                    <a:pt x="7" y="254"/>
                    <a:pt x="5" y="262"/>
                    <a:pt x="17" y="266"/>
                  </a:cubicBezTo>
                  <a:cubicBezTo>
                    <a:pt x="23" y="268"/>
                    <a:pt x="29" y="272"/>
                    <a:pt x="31" y="274"/>
                  </a:cubicBezTo>
                  <a:cubicBezTo>
                    <a:pt x="31" y="277"/>
                    <a:pt x="31" y="279"/>
                    <a:pt x="31" y="281"/>
                  </a:cubicBezTo>
                  <a:cubicBezTo>
                    <a:pt x="27" y="283"/>
                    <a:pt x="21" y="285"/>
                    <a:pt x="14" y="286"/>
                  </a:cubicBezTo>
                  <a:cubicBezTo>
                    <a:pt x="2" y="287"/>
                    <a:pt x="1" y="294"/>
                    <a:pt x="1" y="298"/>
                  </a:cubicBezTo>
                  <a:cubicBezTo>
                    <a:pt x="1" y="299"/>
                    <a:pt x="1" y="299"/>
                    <a:pt x="1" y="299"/>
                  </a:cubicBezTo>
                  <a:cubicBezTo>
                    <a:pt x="1" y="304"/>
                    <a:pt x="0" y="311"/>
                    <a:pt x="13" y="313"/>
                  </a:cubicBezTo>
                  <a:cubicBezTo>
                    <a:pt x="19" y="315"/>
                    <a:pt x="25" y="317"/>
                    <a:pt x="29" y="320"/>
                  </a:cubicBezTo>
                  <a:cubicBezTo>
                    <a:pt x="29" y="322"/>
                    <a:pt x="29" y="324"/>
                    <a:pt x="29" y="326"/>
                  </a:cubicBezTo>
                  <a:cubicBezTo>
                    <a:pt x="26" y="329"/>
                    <a:pt x="20" y="332"/>
                    <a:pt x="13" y="334"/>
                  </a:cubicBezTo>
                  <a:cubicBezTo>
                    <a:pt x="1" y="336"/>
                    <a:pt x="2" y="344"/>
                    <a:pt x="2" y="348"/>
                  </a:cubicBezTo>
                  <a:cubicBezTo>
                    <a:pt x="2" y="349"/>
                    <a:pt x="2" y="349"/>
                    <a:pt x="2" y="349"/>
                  </a:cubicBezTo>
                  <a:cubicBezTo>
                    <a:pt x="3" y="353"/>
                    <a:pt x="3" y="361"/>
                    <a:pt x="16" y="361"/>
                  </a:cubicBezTo>
                  <a:cubicBezTo>
                    <a:pt x="23" y="361"/>
                    <a:pt x="29" y="363"/>
                    <a:pt x="33" y="365"/>
                  </a:cubicBezTo>
                  <a:cubicBezTo>
                    <a:pt x="33" y="367"/>
                    <a:pt x="33" y="369"/>
                    <a:pt x="34" y="372"/>
                  </a:cubicBezTo>
                  <a:cubicBezTo>
                    <a:pt x="31" y="374"/>
                    <a:pt x="26" y="378"/>
                    <a:pt x="20" y="381"/>
                  </a:cubicBezTo>
                  <a:cubicBezTo>
                    <a:pt x="8" y="386"/>
                    <a:pt x="10" y="393"/>
                    <a:pt x="11" y="397"/>
                  </a:cubicBezTo>
                  <a:cubicBezTo>
                    <a:pt x="11" y="398"/>
                    <a:pt x="11" y="398"/>
                    <a:pt x="11" y="398"/>
                  </a:cubicBezTo>
                  <a:cubicBezTo>
                    <a:pt x="12" y="401"/>
                    <a:pt x="14" y="408"/>
                    <a:pt x="23" y="408"/>
                  </a:cubicBezTo>
                  <a:cubicBezTo>
                    <a:pt x="24" y="408"/>
                    <a:pt x="26" y="408"/>
                    <a:pt x="27" y="408"/>
                  </a:cubicBezTo>
                  <a:cubicBezTo>
                    <a:pt x="29" y="407"/>
                    <a:pt x="31" y="407"/>
                    <a:pt x="33" y="407"/>
                  </a:cubicBezTo>
                  <a:cubicBezTo>
                    <a:pt x="38" y="407"/>
                    <a:pt x="41" y="408"/>
                    <a:pt x="44" y="408"/>
                  </a:cubicBezTo>
                  <a:cubicBezTo>
                    <a:pt x="45" y="411"/>
                    <a:pt x="45" y="413"/>
                    <a:pt x="46" y="415"/>
                  </a:cubicBezTo>
                  <a:cubicBezTo>
                    <a:pt x="44" y="418"/>
                    <a:pt x="39" y="423"/>
                    <a:pt x="34" y="427"/>
                  </a:cubicBezTo>
                  <a:cubicBezTo>
                    <a:pt x="23" y="433"/>
                    <a:pt x="26" y="440"/>
                    <a:pt x="28" y="444"/>
                  </a:cubicBezTo>
                  <a:cubicBezTo>
                    <a:pt x="28" y="445"/>
                    <a:pt x="28" y="445"/>
                    <a:pt x="28" y="445"/>
                  </a:cubicBezTo>
                  <a:cubicBezTo>
                    <a:pt x="29" y="448"/>
                    <a:pt x="32" y="453"/>
                    <a:pt x="39" y="453"/>
                  </a:cubicBezTo>
                  <a:cubicBezTo>
                    <a:pt x="40" y="453"/>
                    <a:pt x="42" y="452"/>
                    <a:pt x="45" y="452"/>
                  </a:cubicBezTo>
                  <a:cubicBezTo>
                    <a:pt x="49" y="451"/>
                    <a:pt x="55" y="450"/>
                    <a:pt x="58" y="450"/>
                  </a:cubicBezTo>
                  <a:cubicBezTo>
                    <a:pt x="60" y="450"/>
                    <a:pt x="61" y="450"/>
                    <a:pt x="62" y="450"/>
                  </a:cubicBezTo>
                  <a:cubicBezTo>
                    <a:pt x="63" y="452"/>
                    <a:pt x="64" y="454"/>
                    <a:pt x="65" y="456"/>
                  </a:cubicBezTo>
                  <a:cubicBezTo>
                    <a:pt x="63" y="460"/>
                    <a:pt x="59" y="465"/>
                    <a:pt x="54" y="470"/>
                  </a:cubicBezTo>
                  <a:cubicBezTo>
                    <a:pt x="45" y="478"/>
                    <a:pt x="49" y="484"/>
                    <a:pt x="51" y="487"/>
                  </a:cubicBezTo>
                  <a:cubicBezTo>
                    <a:pt x="52" y="488"/>
                    <a:pt x="52" y="488"/>
                    <a:pt x="52" y="488"/>
                  </a:cubicBezTo>
                  <a:cubicBezTo>
                    <a:pt x="53" y="491"/>
                    <a:pt x="56" y="495"/>
                    <a:pt x="61" y="495"/>
                  </a:cubicBezTo>
                  <a:cubicBezTo>
                    <a:pt x="64" y="495"/>
                    <a:pt x="66" y="494"/>
                    <a:pt x="69" y="493"/>
                  </a:cubicBezTo>
                  <a:cubicBezTo>
                    <a:pt x="75" y="490"/>
                    <a:pt x="82" y="488"/>
                    <a:pt x="86" y="488"/>
                  </a:cubicBezTo>
                  <a:cubicBezTo>
                    <a:pt x="87" y="490"/>
                    <a:pt x="88" y="492"/>
                    <a:pt x="90" y="493"/>
                  </a:cubicBezTo>
                  <a:cubicBezTo>
                    <a:pt x="90" y="494"/>
                    <a:pt x="90" y="494"/>
                    <a:pt x="90" y="494"/>
                  </a:cubicBezTo>
                  <a:cubicBezTo>
                    <a:pt x="89" y="498"/>
                    <a:pt x="86" y="503"/>
                    <a:pt x="82" y="509"/>
                  </a:cubicBezTo>
                  <a:cubicBezTo>
                    <a:pt x="73" y="518"/>
                    <a:pt x="79" y="524"/>
                    <a:pt x="81" y="527"/>
                  </a:cubicBezTo>
                  <a:cubicBezTo>
                    <a:pt x="82" y="528"/>
                    <a:pt x="82" y="528"/>
                    <a:pt x="82" y="528"/>
                  </a:cubicBezTo>
                  <a:cubicBezTo>
                    <a:pt x="84" y="530"/>
                    <a:pt x="86" y="533"/>
                    <a:pt x="91" y="533"/>
                  </a:cubicBezTo>
                  <a:cubicBezTo>
                    <a:pt x="94" y="533"/>
                    <a:pt x="97" y="532"/>
                    <a:pt x="100" y="529"/>
                  </a:cubicBezTo>
                  <a:cubicBezTo>
                    <a:pt x="106" y="526"/>
                    <a:pt x="112" y="523"/>
                    <a:pt x="116" y="522"/>
                  </a:cubicBezTo>
                  <a:cubicBezTo>
                    <a:pt x="117" y="524"/>
                    <a:pt x="119" y="526"/>
                    <a:pt x="121" y="527"/>
                  </a:cubicBezTo>
                  <a:cubicBezTo>
                    <a:pt x="120" y="531"/>
                    <a:pt x="118" y="537"/>
                    <a:pt x="115" y="543"/>
                  </a:cubicBezTo>
                  <a:cubicBezTo>
                    <a:pt x="108" y="554"/>
                    <a:pt x="114" y="559"/>
                    <a:pt x="117" y="561"/>
                  </a:cubicBezTo>
                  <a:cubicBezTo>
                    <a:pt x="118" y="562"/>
                    <a:pt x="118" y="562"/>
                    <a:pt x="118" y="562"/>
                  </a:cubicBezTo>
                  <a:cubicBezTo>
                    <a:pt x="120" y="563"/>
                    <a:pt x="123" y="566"/>
                    <a:pt x="126" y="566"/>
                  </a:cubicBezTo>
                  <a:cubicBezTo>
                    <a:pt x="129" y="566"/>
                    <a:pt x="133" y="564"/>
                    <a:pt x="136" y="561"/>
                  </a:cubicBezTo>
                  <a:cubicBezTo>
                    <a:pt x="141" y="556"/>
                    <a:pt x="147" y="552"/>
                    <a:pt x="151" y="551"/>
                  </a:cubicBezTo>
                  <a:cubicBezTo>
                    <a:pt x="152" y="553"/>
                    <a:pt x="154" y="554"/>
                    <a:pt x="156" y="555"/>
                  </a:cubicBezTo>
                  <a:cubicBezTo>
                    <a:pt x="157" y="559"/>
                    <a:pt x="155" y="566"/>
                    <a:pt x="153" y="572"/>
                  </a:cubicBezTo>
                  <a:cubicBezTo>
                    <a:pt x="148" y="584"/>
                    <a:pt x="155" y="587"/>
                    <a:pt x="158" y="589"/>
                  </a:cubicBezTo>
                  <a:cubicBezTo>
                    <a:pt x="159" y="590"/>
                    <a:pt x="159" y="590"/>
                    <a:pt x="159" y="590"/>
                  </a:cubicBezTo>
                  <a:cubicBezTo>
                    <a:pt x="161" y="591"/>
                    <a:pt x="163" y="592"/>
                    <a:pt x="166" y="592"/>
                  </a:cubicBezTo>
                  <a:cubicBezTo>
                    <a:pt x="170" y="592"/>
                    <a:pt x="173" y="590"/>
                    <a:pt x="177" y="586"/>
                  </a:cubicBezTo>
                  <a:cubicBezTo>
                    <a:pt x="181" y="581"/>
                    <a:pt x="186" y="576"/>
                    <a:pt x="189" y="574"/>
                  </a:cubicBezTo>
                  <a:cubicBezTo>
                    <a:pt x="190" y="575"/>
                    <a:pt x="190" y="575"/>
                    <a:pt x="190" y="575"/>
                  </a:cubicBezTo>
                  <a:cubicBezTo>
                    <a:pt x="192" y="576"/>
                    <a:pt x="194" y="577"/>
                    <a:pt x="196" y="578"/>
                  </a:cubicBezTo>
                  <a:cubicBezTo>
                    <a:pt x="197" y="582"/>
                    <a:pt x="196" y="588"/>
                    <a:pt x="195" y="595"/>
                  </a:cubicBezTo>
                  <a:cubicBezTo>
                    <a:pt x="192" y="607"/>
                    <a:pt x="199" y="609"/>
                    <a:pt x="203" y="611"/>
                  </a:cubicBezTo>
                  <a:cubicBezTo>
                    <a:pt x="204" y="611"/>
                    <a:pt x="204" y="611"/>
                    <a:pt x="204" y="611"/>
                  </a:cubicBezTo>
                  <a:cubicBezTo>
                    <a:pt x="206" y="612"/>
                    <a:pt x="208" y="613"/>
                    <a:pt x="210" y="613"/>
                  </a:cubicBezTo>
                  <a:cubicBezTo>
                    <a:pt x="214" y="613"/>
                    <a:pt x="218" y="610"/>
                    <a:pt x="221" y="605"/>
                  </a:cubicBezTo>
                  <a:cubicBezTo>
                    <a:pt x="224" y="599"/>
                    <a:pt x="228" y="594"/>
                    <a:pt x="231" y="591"/>
                  </a:cubicBezTo>
                  <a:cubicBezTo>
                    <a:pt x="234" y="592"/>
                    <a:pt x="236" y="593"/>
                    <a:pt x="238" y="593"/>
                  </a:cubicBezTo>
                  <a:cubicBezTo>
                    <a:pt x="240" y="597"/>
                    <a:pt x="240" y="603"/>
                    <a:pt x="240" y="610"/>
                  </a:cubicBezTo>
                  <a:cubicBezTo>
                    <a:pt x="239" y="623"/>
                    <a:pt x="246" y="624"/>
                    <a:pt x="250" y="625"/>
                  </a:cubicBezTo>
                  <a:cubicBezTo>
                    <a:pt x="252" y="625"/>
                    <a:pt x="252" y="625"/>
                    <a:pt x="252" y="625"/>
                  </a:cubicBezTo>
                  <a:cubicBezTo>
                    <a:pt x="253" y="626"/>
                    <a:pt x="254" y="626"/>
                    <a:pt x="256" y="626"/>
                  </a:cubicBezTo>
                  <a:cubicBezTo>
                    <a:pt x="261" y="626"/>
                    <a:pt x="265" y="623"/>
                    <a:pt x="267" y="616"/>
                  </a:cubicBezTo>
                  <a:cubicBezTo>
                    <a:pt x="270" y="610"/>
                    <a:pt x="273" y="604"/>
                    <a:pt x="276" y="601"/>
                  </a:cubicBezTo>
                  <a:cubicBezTo>
                    <a:pt x="278" y="602"/>
                    <a:pt x="280" y="602"/>
                    <a:pt x="283" y="602"/>
                  </a:cubicBezTo>
                  <a:cubicBezTo>
                    <a:pt x="285" y="606"/>
                    <a:pt x="286" y="612"/>
                    <a:pt x="287" y="619"/>
                  </a:cubicBezTo>
                  <a:cubicBezTo>
                    <a:pt x="288" y="631"/>
                    <a:pt x="296" y="631"/>
                    <a:pt x="300" y="632"/>
                  </a:cubicBezTo>
                  <a:cubicBezTo>
                    <a:pt x="301" y="632"/>
                    <a:pt x="301" y="632"/>
                    <a:pt x="301" y="632"/>
                  </a:cubicBezTo>
                  <a:cubicBezTo>
                    <a:pt x="302" y="632"/>
                    <a:pt x="302" y="632"/>
                    <a:pt x="303" y="632"/>
                  </a:cubicBezTo>
                  <a:cubicBezTo>
                    <a:pt x="310" y="632"/>
                    <a:pt x="313" y="628"/>
                    <a:pt x="315" y="620"/>
                  </a:cubicBezTo>
                  <a:cubicBezTo>
                    <a:pt x="316" y="614"/>
                    <a:pt x="318" y="607"/>
                    <a:pt x="321" y="604"/>
                  </a:cubicBezTo>
                  <a:cubicBezTo>
                    <a:pt x="323" y="604"/>
                    <a:pt x="325" y="604"/>
                    <a:pt x="328" y="604"/>
                  </a:cubicBezTo>
                  <a:cubicBezTo>
                    <a:pt x="330" y="607"/>
                    <a:pt x="333" y="613"/>
                    <a:pt x="335" y="620"/>
                  </a:cubicBezTo>
                  <a:cubicBezTo>
                    <a:pt x="337" y="627"/>
                    <a:pt x="340" y="631"/>
                    <a:pt x="346" y="631"/>
                  </a:cubicBezTo>
                  <a:cubicBezTo>
                    <a:pt x="347" y="631"/>
                    <a:pt x="348" y="631"/>
                    <a:pt x="349" y="630"/>
                  </a:cubicBezTo>
                  <a:cubicBezTo>
                    <a:pt x="350" y="630"/>
                    <a:pt x="350" y="630"/>
                    <a:pt x="350" y="630"/>
                  </a:cubicBezTo>
                  <a:cubicBezTo>
                    <a:pt x="354" y="630"/>
                    <a:pt x="362" y="629"/>
                    <a:pt x="362" y="617"/>
                  </a:cubicBezTo>
                  <a:cubicBezTo>
                    <a:pt x="363" y="610"/>
                    <a:pt x="364" y="604"/>
                    <a:pt x="366" y="600"/>
                  </a:cubicBezTo>
                  <a:cubicBezTo>
                    <a:pt x="366" y="600"/>
                    <a:pt x="366" y="600"/>
                    <a:pt x="366" y="600"/>
                  </a:cubicBezTo>
                  <a:cubicBezTo>
                    <a:pt x="368" y="600"/>
                    <a:pt x="371" y="599"/>
                    <a:pt x="373" y="599"/>
                  </a:cubicBezTo>
                  <a:cubicBezTo>
                    <a:pt x="376" y="601"/>
                    <a:pt x="379" y="607"/>
                    <a:pt x="382" y="613"/>
                  </a:cubicBezTo>
                  <a:cubicBezTo>
                    <a:pt x="385" y="619"/>
                    <a:pt x="388" y="622"/>
                    <a:pt x="393" y="622"/>
                  </a:cubicBezTo>
                  <a:cubicBezTo>
                    <a:pt x="395" y="622"/>
                    <a:pt x="397" y="622"/>
                    <a:pt x="398" y="622"/>
                  </a:cubicBezTo>
                  <a:cubicBezTo>
                    <a:pt x="399" y="621"/>
                    <a:pt x="399" y="621"/>
                    <a:pt x="399" y="621"/>
                  </a:cubicBezTo>
                  <a:cubicBezTo>
                    <a:pt x="403" y="620"/>
                    <a:pt x="411" y="618"/>
                    <a:pt x="409" y="606"/>
                  </a:cubicBezTo>
                  <a:cubicBezTo>
                    <a:pt x="408" y="599"/>
                    <a:pt x="409" y="593"/>
                    <a:pt x="410" y="589"/>
                  </a:cubicBezTo>
                  <a:cubicBezTo>
                    <a:pt x="412" y="588"/>
                    <a:pt x="414" y="587"/>
                    <a:pt x="416" y="587"/>
                  </a:cubicBezTo>
                  <a:cubicBezTo>
                    <a:pt x="420" y="589"/>
                    <a:pt x="424" y="594"/>
                    <a:pt x="428" y="599"/>
                  </a:cubicBezTo>
                  <a:cubicBezTo>
                    <a:pt x="431" y="604"/>
                    <a:pt x="435" y="607"/>
                    <a:pt x="439" y="607"/>
                  </a:cubicBezTo>
                  <a:cubicBezTo>
                    <a:pt x="441" y="607"/>
                    <a:pt x="443" y="606"/>
                    <a:pt x="445" y="605"/>
                  </a:cubicBezTo>
                  <a:cubicBezTo>
                    <a:pt x="446" y="605"/>
                    <a:pt x="446" y="605"/>
                    <a:pt x="446" y="605"/>
                  </a:cubicBezTo>
                  <a:cubicBezTo>
                    <a:pt x="450" y="603"/>
                    <a:pt x="457" y="600"/>
                    <a:pt x="453" y="588"/>
                  </a:cubicBezTo>
                  <a:cubicBezTo>
                    <a:pt x="451" y="582"/>
                    <a:pt x="451" y="575"/>
                    <a:pt x="451" y="571"/>
                  </a:cubicBezTo>
                  <a:cubicBezTo>
                    <a:pt x="453" y="570"/>
                    <a:pt x="455" y="569"/>
                    <a:pt x="458" y="568"/>
                  </a:cubicBezTo>
                  <a:cubicBezTo>
                    <a:pt x="461" y="569"/>
                    <a:pt x="466" y="573"/>
                    <a:pt x="471" y="578"/>
                  </a:cubicBezTo>
                  <a:cubicBezTo>
                    <a:pt x="474" y="582"/>
                    <a:pt x="478" y="584"/>
                    <a:pt x="481" y="584"/>
                  </a:cubicBezTo>
                  <a:cubicBezTo>
                    <a:pt x="484" y="584"/>
                    <a:pt x="487" y="583"/>
                    <a:pt x="489" y="581"/>
                  </a:cubicBezTo>
                  <a:cubicBezTo>
                    <a:pt x="490" y="581"/>
                    <a:pt x="490" y="581"/>
                    <a:pt x="490" y="581"/>
                  </a:cubicBezTo>
                  <a:cubicBezTo>
                    <a:pt x="493" y="579"/>
                    <a:pt x="499" y="575"/>
                    <a:pt x="494" y="563"/>
                  </a:cubicBezTo>
                  <a:cubicBezTo>
                    <a:pt x="491" y="557"/>
                    <a:pt x="490" y="551"/>
                    <a:pt x="490" y="547"/>
                  </a:cubicBezTo>
                  <a:cubicBezTo>
                    <a:pt x="492" y="546"/>
                    <a:pt x="493" y="544"/>
                    <a:pt x="495" y="543"/>
                  </a:cubicBezTo>
                  <a:cubicBezTo>
                    <a:pt x="499" y="544"/>
                    <a:pt x="505" y="547"/>
                    <a:pt x="510" y="551"/>
                  </a:cubicBezTo>
                  <a:cubicBezTo>
                    <a:pt x="514" y="554"/>
                    <a:pt x="517" y="556"/>
                    <a:pt x="520" y="556"/>
                  </a:cubicBezTo>
                  <a:cubicBezTo>
                    <a:pt x="524" y="556"/>
                    <a:pt x="526" y="553"/>
                    <a:pt x="528" y="551"/>
                  </a:cubicBezTo>
                  <a:cubicBezTo>
                    <a:pt x="529" y="551"/>
                    <a:pt x="529" y="551"/>
                    <a:pt x="529" y="551"/>
                  </a:cubicBezTo>
                  <a:cubicBezTo>
                    <a:pt x="532" y="548"/>
                    <a:pt x="538" y="543"/>
                    <a:pt x="531" y="533"/>
                  </a:cubicBezTo>
                  <a:cubicBezTo>
                    <a:pt x="527" y="527"/>
                    <a:pt x="524" y="521"/>
                    <a:pt x="524" y="517"/>
                  </a:cubicBezTo>
                  <a:cubicBezTo>
                    <a:pt x="525" y="515"/>
                    <a:pt x="527" y="514"/>
                    <a:pt x="529" y="512"/>
                  </a:cubicBezTo>
                  <a:cubicBezTo>
                    <a:pt x="532" y="512"/>
                    <a:pt x="539" y="515"/>
                    <a:pt x="545" y="518"/>
                  </a:cubicBezTo>
                  <a:cubicBezTo>
                    <a:pt x="548" y="520"/>
                    <a:pt x="551" y="521"/>
                    <a:pt x="553" y="521"/>
                  </a:cubicBezTo>
                  <a:cubicBezTo>
                    <a:pt x="558" y="521"/>
                    <a:pt x="561" y="518"/>
                    <a:pt x="562" y="515"/>
                  </a:cubicBezTo>
                  <a:cubicBezTo>
                    <a:pt x="563" y="515"/>
                    <a:pt x="563" y="515"/>
                    <a:pt x="563" y="515"/>
                  </a:cubicBezTo>
                  <a:cubicBezTo>
                    <a:pt x="566" y="511"/>
                    <a:pt x="571" y="506"/>
                    <a:pt x="562" y="497"/>
                  </a:cubicBezTo>
                  <a:cubicBezTo>
                    <a:pt x="557" y="492"/>
                    <a:pt x="554" y="486"/>
                    <a:pt x="553" y="482"/>
                  </a:cubicBezTo>
                  <a:cubicBezTo>
                    <a:pt x="554" y="480"/>
                    <a:pt x="555" y="478"/>
                    <a:pt x="557" y="476"/>
                  </a:cubicBezTo>
                  <a:cubicBezTo>
                    <a:pt x="557" y="476"/>
                    <a:pt x="557" y="476"/>
                    <a:pt x="558" y="476"/>
                  </a:cubicBezTo>
                  <a:cubicBezTo>
                    <a:pt x="562" y="476"/>
                    <a:pt x="568" y="478"/>
                    <a:pt x="573" y="480"/>
                  </a:cubicBezTo>
                  <a:cubicBezTo>
                    <a:pt x="576" y="481"/>
                    <a:pt x="579" y="482"/>
                    <a:pt x="581" y="482"/>
                  </a:cubicBezTo>
                  <a:cubicBezTo>
                    <a:pt x="587" y="482"/>
                    <a:pt x="589" y="477"/>
                    <a:pt x="591" y="475"/>
                  </a:cubicBezTo>
                  <a:cubicBezTo>
                    <a:pt x="591" y="474"/>
                    <a:pt x="591" y="474"/>
                    <a:pt x="591" y="474"/>
                  </a:cubicBezTo>
                  <a:cubicBezTo>
                    <a:pt x="593" y="470"/>
                    <a:pt x="597" y="464"/>
                    <a:pt x="587" y="456"/>
                  </a:cubicBezTo>
                  <a:cubicBezTo>
                    <a:pt x="582" y="452"/>
                    <a:pt x="578" y="447"/>
                    <a:pt x="576" y="443"/>
                  </a:cubicBezTo>
                  <a:cubicBezTo>
                    <a:pt x="577" y="441"/>
                    <a:pt x="578" y="439"/>
                    <a:pt x="579" y="437"/>
                  </a:cubicBezTo>
                  <a:cubicBezTo>
                    <a:pt x="580" y="437"/>
                    <a:pt x="582" y="436"/>
                    <a:pt x="584" y="436"/>
                  </a:cubicBezTo>
                  <a:cubicBezTo>
                    <a:pt x="588" y="436"/>
                    <a:pt x="592" y="437"/>
                    <a:pt x="596" y="438"/>
                  </a:cubicBezTo>
                  <a:cubicBezTo>
                    <a:pt x="598" y="438"/>
                    <a:pt x="600" y="439"/>
                    <a:pt x="601" y="439"/>
                  </a:cubicBezTo>
                  <a:cubicBezTo>
                    <a:pt x="609" y="439"/>
                    <a:pt x="611" y="433"/>
                    <a:pt x="612" y="430"/>
                  </a:cubicBezTo>
                  <a:cubicBezTo>
                    <a:pt x="613" y="429"/>
                    <a:pt x="613" y="429"/>
                    <a:pt x="613" y="429"/>
                  </a:cubicBezTo>
                  <a:cubicBezTo>
                    <a:pt x="614" y="425"/>
                    <a:pt x="617" y="418"/>
                    <a:pt x="606" y="412"/>
                  </a:cubicBezTo>
                  <a:cubicBezTo>
                    <a:pt x="600" y="409"/>
                    <a:pt x="595" y="404"/>
                    <a:pt x="593" y="401"/>
                  </a:cubicBezTo>
                  <a:cubicBezTo>
                    <a:pt x="593" y="399"/>
                    <a:pt x="594" y="397"/>
                    <a:pt x="595" y="394"/>
                  </a:cubicBezTo>
                  <a:cubicBezTo>
                    <a:pt x="598" y="393"/>
                    <a:pt x="603" y="393"/>
                    <a:pt x="608" y="393"/>
                  </a:cubicBezTo>
                  <a:cubicBezTo>
                    <a:pt x="609" y="393"/>
                    <a:pt x="611" y="393"/>
                    <a:pt x="612" y="393"/>
                  </a:cubicBezTo>
                  <a:cubicBezTo>
                    <a:pt x="612" y="393"/>
                    <a:pt x="613" y="393"/>
                    <a:pt x="614" y="393"/>
                  </a:cubicBezTo>
                  <a:cubicBezTo>
                    <a:pt x="624" y="393"/>
                    <a:pt x="626" y="386"/>
                    <a:pt x="626" y="382"/>
                  </a:cubicBezTo>
                  <a:cubicBezTo>
                    <a:pt x="627" y="381"/>
                    <a:pt x="627" y="381"/>
                    <a:pt x="627" y="381"/>
                  </a:cubicBezTo>
                  <a:cubicBezTo>
                    <a:pt x="627" y="377"/>
                    <a:pt x="629" y="370"/>
                    <a:pt x="617" y="366"/>
                  </a:cubicBezTo>
                  <a:cubicBezTo>
                    <a:pt x="611" y="363"/>
                    <a:pt x="605" y="360"/>
                    <a:pt x="603" y="357"/>
                  </a:cubicBezTo>
                  <a:cubicBezTo>
                    <a:pt x="603" y="355"/>
                    <a:pt x="603" y="352"/>
                    <a:pt x="603" y="350"/>
                  </a:cubicBezTo>
                  <a:cubicBezTo>
                    <a:pt x="607" y="348"/>
                    <a:pt x="613" y="346"/>
                    <a:pt x="620" y="346"/>
                  </a:cubicBezTo>
                  <a:cubicBezTo>
                    <a:pt x="633" y="345"/>
                    <a:pt x="633" y="337"/>
                    <a:pt x="633" y="333"/>
                  </a:cubicBezTo>
                  <a:cubicBezTo>
                    <a:pt x="633" y="332"/>
                    <a:pt x="633" y="332"/>
                    <a:pt x="633" y="332"/>
                  </a:cubicBezTo>
                  <a:cubicBezTo>
                    <a:pt x="633" y="328"/>
                    <a:pt x="634" y="320"/>
                    <a:pt x="622" y="318"/>
                  </a:cubicBezTo>
                  <a:cubicBezTo>
                    <a:pt x="615" y="317"/>
                    <a:pt x="609" y="314"/>
                    <a:pt x="606" y="312"/>
                  </a:cubicBezTo>
                  <a:cubicBezTo>
                    <a:pt x="605" y="310"/>
                    <a:pt x="605" y="307"/>
                    <a:pt x="605" y="305"/>
                  </a:cubicBezTo>
                  <a:cubicBezTo>
                    <a:pt x="608" y="302"/>
                    <a:pt x="614" y="300"/>
                    <a:pt x="621" y="298"/>
                  </a:cubicBezTo>
                  <a:cubicBezTo>
                    <a:pt x="633" y="295"/>
                    <a:pt x="632" y="287"/>
                    <a:pt x="632" y="283"/>
                  </a:cubicBezTo>
                  <a:cubicBezTo>
                    <a:pt x="632" y="282"/>
                    <a:pt x="632" y="282"/>
                    <a:pt x="632" y="282"/>
                  </a:cubicBezTo>
                  <a:cubicBezTo>
                    <a:pt x="631" y="278"/>
                    <a:pt x="631" y="271"/>
                    <a:pt x="618" y="270"/>
                  </a:cubicBezTo>
                  <a:cubicBezTo>
                    <a:pt x="611" y="270"/>
                    <a:pt x="605" y="269"/>
                    <a:pt x="601" y="267"/>
                  </a:cubicBezTo>
                  <a:cubicBezTo>
                    <a:pt x="601" y="264"/>
                    <a:pt x="601" y="262"/>
                    <a:pt x="600" y="260"/>
                  </a:cubicBezTo>
                  <a:cubicBezTo>
                    <a:pt x="603" y="257"/>
                    <a:pt x="608" y="253"/>
                    <a:pt x="614" y="251"/>
                  </a:cubicBezTo>
                  <a:cubicBezTo>
                    <a:pt x="626" y="246"/>
                    <a:pt x="624" y="239"/>
                    <a:pt x="623" y="235"/>
                  </a:cubicBezTo>
                  <a:cubicBezTo>
                    <a:pt x="623" y="233"/>
                    <a:pt x="623" y="233"/>
                    <a:pt x="623" y="233"/>
                  </a:cubicBezTo>
                  <a:cubicBezTo>
                    <a:pt x="622" y="230"/>
                    <a:pt x="620" y="224"/>
                    <a:pt x="611" y="224"/>
                  </a:cubicBezTo>
                  <a:cubicBezTo>
                    <a:pt x="610" y="224"/>
                    <a:pt x="609" y="224"/>
                    <a:pt x="607" y="224"/>
                  </a:cubicBezTo>
                  <a:cubicBezTo>
                    <a:pt x="605" y="224"/>
                    <a:pt x="603" y="224"/>
                    <a:pt x="601" y="224"/>
                  </a:cubicBezTo>
                  <a:cubicBezTo>
                    <a:pt x="597" y="224"/>
                    <a:pt x="593" y="224"/>
                    <a:pt x="590" y="223"/>
                  </a:cubicBezTo>
                  <a:cubicBezTo>
                    <a:pt x="589" y="221"/>
                    <a:pt x="589" y="218"/>
                    <a:pt x="588" y="216"/>
                  </a:cubicBezTo>
                  <a:cubicBezTo>
                    <a:pt x="590" y="213"/>
                    <a:pt x="595" y="209"/>
                    <a:pt x="601" y="205"/>
                  </a:cubicBezTo>
                  <a:cubicBezTo>
                    <a:pt x="611" y="198"/>
                    <a:pt x="608" y="191"/>
                    <a:pt x="606" y="188"/>
                  </a:cubicBezTo>
                  <a:cubicBezTo>
                    <a:pt x="606" y="187"/>
                    <a:pt x="606" y="187"/>
                    <a:pt x="606" y="187"/>
                  </a:cubicBezTo>
                  <a:cubicBezTo>
                    <a:pt x="605" y="184"/>
                    <a:pt x="602" y="179"/>
                    <a:pt x="595" y="179"/>
                  </a:cubicBezTo>
                  <a:cubicBezTo>
                    <a:pt x="594" y="179"/>
                    <a:pt x="592" y="179"/>
                    <a:pt x="589" y="180"/>
                  </a:cubicBezTo>
                  <a:cubicBezTo>
                    <a:pt x="585" y="181"/>
                    <a:pt x="580" y="182"/>
                    <a:pt x="576" y="182"/>
                  </a:cubicBezTo>
                  <a:cubicBezTo>
                    <a:pt x="574" y="182"/>
                    <a:pt x="573" y="182"/>
                    <a:pt x="572" y="181"/>
                  </a:cubicBezTo>
                  <a:cubicBezTo>
                    <a:pt x="571" y="179"/>
                    <a:pt x="570" y="177"/>
                    <a:pt x="569" y="175"/>
                  </a:cubicBezTo>
                  <a:cubicBezTo>
                    <a:pt x="571" y="172"/>
                    <a:pt x="575" y="166"/>
                    <a:pt x="580" y="162"/>
                  </a:cubicBezTo>
                  <a:cubicBezTo>
                    <a:pt x="589" y="154"/>
                    <a:pt x="585" y="147"/>
                    <a:pt x="583" y="144"/>
                  </a:cubicBezTo>
                  <a:cubicBezTo>
                    <a:pt x="582" y="143"/>
                    <a:pt x="582" y="143"/>
                    <a:pt x="582" y="143"/>
                  </a:cubicBezTo>
                  <a:cubicBezTo>
                    <a:pt x="581" y="141"/>
                    <a:pt x="578" y="137"/>
                    <a:pt x="573" y="137"/>
                  </a:cubicBezTo>
                  <a:cubicBezTo>
                    <a:pt x="570" y="137"/>
                    <a:pt x="568" y="137"/>
                    <a:pt x="565" y="139"/>
                  </a:cubicBezTo>
                  <a:cubicBezTo>
                    <a:pt x="559" y="141"/>
                    <a:pt x="552" y="143"/>
                    <a:pt x="548" y="143"/>
                  </a:cubicBezTo>
                  <a:cubicBezTo>
                    <a:pt x="547" y="141"/>
                    <a:pt x="545" y="139"/>
                    <a:pt x="544" y="138"/>
                  </a:cubicBezTo>
                  <a:cubicBezTo>
                    <a:pt x="544" y="137"/>
                    <a:pt x="544" y="137"/>
                    <a:pt x="544" y="137"/>
                  </a:cubicBezTo>
                  <a:cubicBezTo>
                    <a:pt x="545" y="134"/>
                    <a:pt x="548" y="128"/>
                    <a:pt x="552" y="123"/>
                  </a:cubicBezTo>
                  <a:cubicBezTo>
                    <a:pt x="561" y="113"/>
                    <a:pt x="555" y="108"/>
                    <a:pt x="553" y="105"/>
                  </a:cubicBezTo>
                  <a:cubicBezTo>
                    <a:pt x="552" y="104"/>
                    <a:pt x="552" y="104"/>
                    <a:pt x="552" y="104"/>
                  </a:cubicBezTo>
                  <a:cubicBezTo>
                    <a:pt x="550" y="102"/>
                    <a:pt x="548" y="99"/>
                    <a:pt x="543" y="99"/>
                  </a:cubicBezTo>
                  <a:cubicBezTo>
                    <a:pt x="540" y="99"/>
                    <a:pt x="537" y="100"/>
                    <a:pt x="534" y="102"/>
                  </a:cubicBezTo>
                  <a:cubicBezTo>
                    <a:pt x="528" y="106"/>
                    <a:pt x="522" y="108"/>
                    <a:pt x="518" y="109"/>
                  </a:cubicBezTo>
                  <a:cubicBezTo>
                    <a:pt x="517" y="107"/>
                    <a:pt x="515" y="106"/>
                    <a:pt x="513" y="104"/>
                  </a:cubicBezTo>
                  <a:cubicBezTo>
                    <a:pt x="514" y="100"/>
                    <a:pt x="516" y="94"/>
                    <a:pt x="519" y="88"/>
                  </a:cubicBezTo>
                  <a:cubicBezTo>
                    <a:pt x="526" y="77"/>
                    <a:pt x="520" y="73"/>
                    <a:pt x="517" y="70"/>
                  </a:cubicBezTo>
                  <a:cubicBezTo>
                    <a:pt x="516" y="70"/>
                    <a:pt x="516" y="70"/>
                    <a:pt x="516" y="70"/>
                  </a:cubicBezTo>
                  <a:cubicBezTo>
                    <a:pt x="514" y="68"/>
                    <a:pt x="511" y="66"/>
                    <a:pt x="508" y="66"/>
                  </a:cubicBezTo>
                  <a:cubicBezTo>
                    <a:pt x="505" y="66"/>
                    <a:pt x="501" y="67"/>
                    <a:pt x="498" y="71"/>
                  </a:cubicBezTo>
                  <a:cubicBezTo>
                    <a:pt x="493" y="75"/>
                    <a:pt x="487" y="79"/>
                    <a:pt x="483" y="80"/>
                  </a:cubicBezTo>
                  <a:cubicBezTo>
                    <a:pt x="482" y="79"/>
                    <a:pt x="480" y="77"/>
                    <a:pt x="478" y="76"/>
                  </a:cubicBezTo>
                  <a:cubicBezTo>
                    <a:pt x="477" y="72"/>
                    <a:pt x="479" y="66"/>
                    <a:pt x="481" y="59"/>
                  </a:cubicBezTo>
                  <a:cubicBezTo>
                    <a:pt x="486" y="48"/>
                    <a:pt x="480" y="44"/>
                    <a:pt x="476" y="42"/>
                  </a:cubicBezTo>
                  <a:cubicBezTo>
                    <a:pt x="475" y="42"/>
                    <a:pt x="475" y="42"/>
                    <a:pt x="475" y="42"/>
                  </a:cubicBezTo>
                  <a:cubicBezTo>
                    <a:pt x="473" y="40"/>
                    <a:pt x="471" y="39"/>
                    <a:pt x="468" y="39"/>
                  </a:cubicBezTo>
                  <a:cubicBezTo>
                    <a:pt x="464" y="39"/>
                    <a:pt x="461" y="41"/>
                    <a:pt x="457" y="45"/>
                  </a:cubicBezTo>
                  <a:cubicBezTo>
                    <a:pt x="453" y="51"/>
                    <a:pt x="448" y="55"/>
                    <a:pt x="445" y="57"/>
                  </a:cubicBezTo>
                  <a:cubicBezTo>
                    <a:pt x="444" y="57"/>
                    <a:pt x="444" y="57"/>
                    <a:pt x="444" y="57"/>
                  </a:cubicBezTo>
                  <a:cubicBezTo>
                    <a:pt x="442" y="56"/>
                    <a:pt x="440" y="55"/>
                    <a:pt x="438" y="54"/>
                  </a:cubicBezTo>
                  <a:cubicBezTo>
                    <a:pt x="437" y="50"/>
                    <a:pt x="438" y="43"/>
                    <a:pt x="439" y="37"/>
                  </a:cubicBezTo>
                  <a:cubicBezTo>
                    <a:pt x="442" y="25"/>
                    <a:pt x="435" y="22"/>
                    <a:pt x="431" y="21"/>
                  </a:cubicBezTo>
                  <a:cubicBezTo>
                    <a:pt x="430" y="20"/>
                    <a:pt x="430" y="20"/>
                    <a:pt x="430" y="20"/>
                  </a:cubicBezTo>
                  <a:cubicBezTo>
                    <a:pt x="428" y="20"/>
                    <a:pt x="426" y="19"/>
                    <a:pt x="424" y="19"/>
                  </a:cubicBezTo>
                  <a:cubicBezTo>
                    <a:pt x="420" y="19"/>
                    <a:pt x="416" y="21"/>
                    <a:pt x="413" y="27"/>
                  </a:cubicBezTo>
                  <a:cubicBezTo>
                    <a:pt x="410" y="33"/>
                    <a:pt x="406" y="38"/>
                    <a:pt x="403" y="40"/>
                  </a:cubicBezTo>
                  <a:cubicBezTo>
                    <a:pt x="400" y="39"/>
                    <a:pt x="398" y="39"/>
                    <a:pt x="396" y="38"/>
                  </a:cubicBezTo>
                  <a:cubicBezTo>
                    <a:pt x="394" y="34"/>
                    <a:pt x="394" y="28"/>
                    <a:pt x="394" y="21"/>
                  </a:cubicBezTo>
                  <a:cubicBezTo>
                    <a:pt x="395" y="9"/>
                    <a:pt x="388" y="7"/>
                    <a:pt x="384" y="6"/>
                  </a:cubicBezTo>
                  <a:cubicBezTo>
                    <a:pt x="383" y="6"/>
                    <a:pt x="383" y="6"/>
                    <a:pt x="383" y="6"/>
                  </a:cubicBezTo>
                  <a:cubicBezTo>
                    <a:pt x="381" y="6"/>
                    <a:pt x="380" y="5"/>
                    <a:pt x="378" y="5"/>
                  </a:cubicBezTo>
                  <a:cubicBezTo>
                    <a:pt x="373" y="5"/>
                    <a:pt x="369" y="9"/>
                    <a:pt x="367" y="15"/>
                  </a:cubicBezTo>
                  <a:cubicBezTo>
                    <a:pt x="365" y="22"/>
                    <a:pt x="361" y="27"/>
                    <a:pt x="358" y="30"/>
                  </a:cubicBezTo>
                  <a:cubicBezTo>
                    <a:pt x="356" y="30"/>
                    <a:pt x="354" y="30"/>
                    <a:pt x="351" y="29"/>
                  </a:cubicBezTo>
                  <a:cubicBezTo>
                    <a:pt x="349" y="26"/>
                    <a:pt x="348" y="19"/>
                    <a:pt x="347" y="13"/>
                  </a:cubicBezTo>
                  <a:cubicBezTo>
                    <a:pt x="346" y="0"/>
                    <a:pt x="338" y="0"/>
                    <a:pt x="334" y="0"/>
                  </a:cubicBezTo>
                  <a:cubicBezTo>
                    <a:pt x="333" y="0"/>
                    <a:pt x="333" y="0"/>
                    <a:pt x="333" y="0"/>
                  </a:cubicBezTo>
                  <a:cubicBezTo>
                    <a:pt x="332" y="0"/>
                    <a:pt x="332" y="0"/>
                    <a:pt x="3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1" name="Freeform 21300">
              <a:extLst>
                <a:ext uri="{FF2B5EF4-FFF2-40B4-BE49-F238E27FC236}">
                  <a16:creationId xmlns:a16="http://schemas.microsoft.com/office/drawing/2014/main" id="{49561A3B-6184-49FB-869F-0A9EE378C089}"/>
                </a:ext>
              </a:extLst>
            </p:cNvPr>
            <p:cNvSpPr>
              <a:spLocks noEditPoints="1"/>
            </p:cNvSpPr>
            <p:nvPr userDrawn="1"/>
          </p:nvSpPr>
          <p:spPr bwMode="auto">
            <a:xfrm>
              <a:off x="7441565" y="3275965"/>
              <a:ext cx="192088" cy="196850"/>
            </a:xfrm>
            <a:custGeom>
              <a:avLst/>
              <a:gdLst>
                <a:gd name="T0" fmla="*/ 45 w 95"/>
                <a:gd name="T1" fmla="*/ 77 h 98"/>
                <a:gd name="T2" fmla="*/ 42 w 95"/>
                <a:gd name="T3" fmla="*/ 77 h 98"/>
                <a:gd name="T4" fmla="*/ 39 w 95"/>
                <a:gd name="T5" fmla="*/ 76 h 98"/>
                <a:gd name="T6" fmla="*/ 33 w 95"/>
                <a:gd name="T7" fmla="*/ 74 h 98"/>
                <a:gd name="T8" fmla="*/ 30 w 95"/>
                <a:gd name="T9" fmla="*/ 71 h 98"/>
                <a:gd name="T10" fmla="*/ 26 w 95"/>
                <a:gd name="T11" fmla="*/ 67 h 98"/>
                <a:gd name="T12" fmla="*/ 23 w 95"/>
                <a:gd name="T13" fmla="*/ 64 h 98"/>
                <a:gd name="T14" fmla="*/ 20 w 95"/>
                <a:gd name="T15" fmla="*/ 57 h 98"/>
                <a:gd name="T16" fmla="*/ 20 w 95"/>
                <a:gd name="T17" fmla="*/ 54 h 98"/>
                <a:gd name="T18" fmla="*/ 19 w 95"/>
                <a:gd name="T19" fmla="*/ 51 h 98"/>
                <a:gd name="T20" fmla="*/ 19 w 95"/>
                <a:gd name="T21" fmla="*/ 47 h 98"/>
                <a:gd name="T22" fmla="*/ 20 w 95"/>
                <a:gd name="T23" fmla="*/ 44 h 98"/>
                <a:gd name="T24" fmla="*/ 20 w 95"/>
                <a:gd name="T25" fmla="*/ 42 h 98"/>
                <a:gd name="T26" fmla="*/ 23 w 95"/>
                <a:gd name="T27" fmla="*/ 34 h 98"/>
                <a:gd name="T28" fmla="*/ 25 w 95"/>
                <a:gd name="T29" fmla="*/ 31 h 98"/>
                <a:gd name="T30" fmla="*/ 29 w 95"/>
                <a:gd name="T31" fmla="*/ 27 h 98"/>
                <a:gd name="T32" fmla="*/ 32 w 95"/>
                <a:gd name="T33" fmla="*/ 24 h 98"/>
                <a:gd name="T34" fmla="*/ 34 w 95"/>
                <a:gd name="T35" fmla="*/ 23 h 98"/>
                <a:gd name="T36" fmla="*/ 40 w 95"/>
                <a:gd name="T37" fmla="*/ 21 h 98"/>
                <a:gd name="T38" fmla="*/ 43 w 95"/>
                <a:gd name="T39" fmla="*/ 20 h 98"/>
                <a:gd name="T40" fmla="*/ 45 w 95"/>
                <a:gd name="T41" fmla="*/ 20 h 98"/>
                <a:gd name="T42" fmla="*/ 49 w 95"/>
                <a:gd name="T43" fmla="*/ 20 h 98"/>
                <a:gd name="T44" fmla="*/ 52 w 95"/>
                <a:gd name="T45" fmla="*/ 20 h 98"/>
                <a:gd name="T46" fmla="*/ 54 w 95"/>
                <a:gd name="T47" fmla="*/ 21 h 98"/>
                <a:gd name="T48" fmla="*/ 62 w 95"/>
                <a:gd name="T49" fmla="*/ 24 h 98"/>
                <a:gd name="T50" fmla="*/ 65 w 95"/>
                <a:gd name="T51" fmla="*/ 27 h 98"/>
                <a:gd name="T52" fmla="*/ 69 w 95"/>
                <a:gd name="T53" fmla="*/ 31 h 98"/>
                <a:gd name="T54" fmla="*/ 71 w 95"/>
                <a:gd name="T55" fmla="*/ 34 h 98"/>
                <a:gd name="T56" fmla="*/ 74 w 95"/>
                <a:gd name="T57" fmla="*/ 41 h 98"/>
                <a:gd name="T58" fmla="*/ 75 w 95"/>
                <a:gd name="T59" fmla="*/ 44 h 98"/>
                <a:gd name="T60" fmla="*/ 75 w 95"/>
                <a:gd name="T61" fmla="*/ 47 h 98"/>
                <a:gd name="T62" fmla="*/ 75 w 95"/>
                <a:gd name="T63" fmla="*/ 50 h 98"/>
                <a:gd name="T64" fmla="*/ 75 w 95"/>
                <a:gd name="T65" fmla="*/ 53 h 98"/>
                <a:gd name="T66" fmla="*/ 74 w 95"/>
                <a:gd name="T67" fmla="*/ 56 h 98"/>
                <a:gd name="T68" fmla="*/ 71 w 95"/>
                <a:gd name="T69" fmla="*/ 63 h 98"/>
                <a:gd name="T70" fmla="*/ 69 w 95"/>
                <a:gd name="T71" fmla="*/ 67 h 98"/>
                <a:gd name="T72" fmla="*/ 65 w 95"/>
                <a:gd name="T73" fmla="*/ 71 h 98"/>
                <a:gd name="T74" fmla="*/ 62 w 95"/>
                <a:gd name="T75" fmla="*/ 73 h 98"/>
                <a:gd name="T76" fmla="*/ 54 w 95"/>
                <a:gd name="T77" fmla="*/ 77 h 98"/>
                <a:gd name="T78" fmla="*/ 52 w 95"/>
                <a:gd name="T79" fmla="*/ 77 h 98"/>
                <a:gd name="T80" fmla="*/ 49 w 95"/>
                <a:gd name="T81" fmla="*/ 77 h 98"/>
                <a:gd name="T82" fmla="*/ 39 w 95"/>
                <a:gd name="T83" fmla="*/ 0 h 98"/>
                <a:gd name="T84" fmla="*/ 8 w 95"/>
                <a:gd name="T85" fmla="*/ 20 h 98"/>
                <a:gd name="T86" fmla="*/ 0 w 95"/>
                <a:gd name="T87" fmla="*/ 57 h 98"/>
                <a:gd name="T88" fmla="*/ 19 w 95"/>
                <a:gd name="T89" fmla="*/ 89 h 98"/>
                <a:gd name="T90" fmla="*/ 55 w 95"/>
                <a:gd name="T91" fmla="*/ 98 h 98"/>
                <a:gd name="T92" fmla="*/ 87 w 95"/>
                <a:gd name="T93" fmla="*/ 77 h 98"/>
                <a:gd name="T94" fmla="*/ 95 w 95"/>
                <a:gd name="T95" fmla="*/ 40 h 98"/>
                <a:gd name="T96" fmla="*/ 75 w 95"/>
                <a:gd name="T97" fmla="*/ 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47" y="78"/>
                  </a:moveTo>
                  <a:cubicBezTo>
                    <a:pt x="47" y="78"/>
                    <a:pt x="46" y="77"/>
                    <a:pt x="46" y="77"/>
                  </a:cubicBezTo>
                  <a:cubicBezTo>
                    <a:pt x="45" y="77"/>
                    <a:pt x="45" y="77"/>
                    <a:pt x="45" y="77"/>
                  </a:cubicBezTo>
                  <a:cubicBezTo>
                    <a:pt x="45" y="77"/>
                    <a:pt x="45" y="77"/>
                    <a:pt x="45" y="77"/>
                  </a:cubicBezTo>
                  <a:cubicBezTo>
                    <a:pt x="44" y="77"/>
                    <a:pt x="44" y="77"/>
                    <a:pt x="44" y="77"/>
                  </a:cubicBezTo>
                  <a:cubicBezTo>
                    <a:pt x="44" y="77"/>
                    <a:pt x="43" y="77"/>
                    <a:pt x="43" y="77"/>
                  </a:cubicBezTo>
                  <a:cubicBezTo>
                    <a:pt x="43" y="77"/>
                    <a:pt x="43" y="77"/>
                    <a:pt x="43" y="77"/>
                  </a:cubicBezTo>
                  <a:cubicBezTo>
                    <a:pt x="42" y="77"/>
                    <a:pt x="42" y="77"/>
                    <a:pt x="42" y="77"/>
                  </a:cubicBezTo>
                  <a:cubicBezTo>
                    <a:pt x="41" y="77"/>
                    <a:pt x="41" y="77"/>
                    <a:pt x="41" y="77"/>
                  </a:cubicBezTo>
                  <a:cubicBezTo>
                    <a:pt x="40" y="77"/>
                    <a:pt x="40" y="77"/>
                    <a:pt x="40" y="77"/>
                  </a:cubicBezTo>
                  <a:cubicBezTo>
                    <a:pt x="40" y="77"/>
                    <a:pt x="40" y="77"/>
                    <a:pt x="40" y="77"/>
                  </a:cubicBezTo>
                  <a:cubicBezTo>
                    <a:pt x="40" y="76"/>
                    <a:pt x="39" y="76"/>
                    <a:pt x="39" y="76"/>
                  </a:cubicBezTo>
                  <a:cubicBezTo>
                    <a:pt x="39" y="76"/>
                    <a:pt x="39" y="76"/>
                    <a:pt x="39" y="76"/>
                  </a:cubicBezTo>
                  <a:cubicBezTo>
                    <a:pt x="37" y="76"/>
                    <a:pt x="36" y="75"/>
                    <a:pt x="34" y="74"/>
                  </a:cubicBezTo>
                  <a:cubicBezTo>
                    <a:pt x="33" y="74"/>
                    <a:pt x="33" y="74"/>
                    <a:pt x="33" y="74"/>
                  </a:cubicBezTo>
                  <a:cubicBezTo>
                    <a:pt x="33" y="74"/>
                    <a:pt x="33" y="74"/>
                    <a:pt x="33" y="74"/>
                  </a:cubicBezTo>
                  <a:cubicBezTo>
                    <a:pt x="32" y="73"/>
                    <a:pt x="32" y="73"/>
                    <a:pt x="32" y="73"/>
                  </a:cubicBezTo>
                  <a:cubicBezTo>
                    <a:pt x="32" y="73"/>
                    <a:pt x="32" y="73"/>
                    <a:pt x="32" y="73"/>
                  </a:cubicBezTo>
                  <a:cubicBezTo>
                    <a:pt x="31" y="73"/>
                    <a:pt x="31" y="72"/>
                    <a:pt x="30" y="71"/>
                  </a:cubicBezTo>
                  <a:cubicBezTo>
                    <a:pt x="30" y="71"/>
                    <a:pt x="30" y="71"/>
                    <a:pt x="30" y="71"/>
                  </a:cubicBezTo>
                  <a:cubicBezTo>
                    <a:pt x="29" y="71"/>
                    <a:pt x="29" y="71"/>
                    <a:pt x="29" y="71"/>
                  </a:cubicBezTo>
                  <a:cubicBezTo>
                    <a:pt x="29" y="70"/>
                    <a:pt x="29" y="70"/>
                    <a:pt x="29" y="70"/>
                  </a:cubicBezTo>
                  <a:cubicBezTo>
                    <a:pt x="28" y="70"/>
                    <a:pt x="27" y="69"/>
                    <a:pt x="26" y="68"/>
                  </a:cubicBezTo>
                  <a:cubicBezTo>
                    <a:pt x="26" y="67"/>
                    <a:pt x="26" y="67"/>
                    <a:pt x="26" y="67"/>
                  </a:cubicBezTo>
                  <a:cubicBezTo>
                    <a:pt x="25" y="67"/>
                    <a:pt x="25" y="67"/>
                    <a:pt x="25" y="67"/>
                  </a:cubicBezTo>
                  <a:cubicBezTo>
                    <a:pt x="25" y="67"/>
                    <a:pt x="25" y="67"/>
                    <a:pt x="25" y="67"/>
                  </a:cubicBezTo>
                  <a:cubicBezTo>
                    <a:pt x="25" y="66"/>
                    <a:pt x="24" y="65"/>
                    <a:pt x="24" y="64"/>
                  </a:cubicBezTo>
                  <a:cubicBezTo>
                    <a:pt x="23" y="64"/>
                    <a:pt x="23" y="64"/>
                    <a:pt x="23" y="64"/>
                  </a:cubicBezTo>
                  <a:cubicBezTo>
                    <a:pt x="23" y="63"/>
                    <a:pt x="23" y="63"/>
                    <a:pt x="23" y="63"/>
                  </a:cubicBezTo>
                  <a:cubicBezTo>
                    <a:pt x="23" y="63"/>
                    <a:pt x="23" y="63"/>
                    <a:pt x="23" y="63"/>
                  </a:cubicBezTo>
                  <a:cubicBezTo>
                    <a:pt x="22" y="62"/>
                    <a:pt x="22" y="62"/>
                    <a:pt x="22" y="62"/>
                  </a:cubicBezTo>
                  <a:cubicBezTo>
                    <a:pt x="22" y="61"/>
                    <a:pt x="21" y="59"/>
                    <a:pt x="20" y="57"/>
                  </a:cubicBezTo>
                  <a:cubicBezTo>
                    <a:pt x="20" y="57"/>
                    <a:pt x="20" y="56"/>
                    <a:pt x="20" y="56"/>
                  </a:cubicBezTo>
                  <a:cubicBezTo>
                    <a:pt x="20" y="56"/>
                    <a:pt x="20" y="56"/>
                    <a:pt x="20" y="56"/>
                  </a:cubicBezTo>
                  <a:cubicBezTo>
                    <a:pt x="20" y="55"/>
                    <a:pt x="20" y="55"/>
                    <a:pt x="20" y="55"/>
                  </a:cubicBezTo>
                  <a:cubicBezTo>
                    <a:pt x="20" y="54"/>
                    <a:pt x="20" y="54"/>
                    <a:pt x="20" y="54"/>
                  </a:cubicBezTo>
                  <a:cubicBezTo>
                    <a:pt x="20" y="54"/>
                    <a:pt x="20" y="54"/>
                    <a:pt x="20" y="53"/>
                  </a:cubicBezTo>
                  <a:cubicBezTo>
                    <a:pt x="20" y="53"/>
                    <a:pt x="20" y="53"/>
                    <a:pt x="20" y="53"/>
                  </a:cubicBezTo>
                  <a:cubicBezTo>
                    <a:pt x="19" y="53"/>
                    <a:pt x="19" y="52"/>
                    <a:pt x="19" y="52"/>
                  </a:cubicBezTo>
                  <a:cubicBezTo>
                    <a:pt x="19" y="51"/>
                    <a:pt x="19" y="51"/>
                    <a:pt x="19" y="51"/>
                  </a:cubicBezTo>
                  <a:cubicBezTo>
                    <a:pt x="19" y="50"/>
                    <a:pt x="19" y="50"/>
                    <a:pt x="19" y="50"/>
                  </a:cubicBezTo>
                  <a:cubicBezTo>
                    <a:pt x="19" y="50"/>
                    <a:pt x="19" y="50"/>
                    <a:pt x="19" y="50"/>
                  </a:cubicBezTo>
                  <a:cubicBezTo>
                    <a:pt x="19" y="50"/>
                    <a:pt x="19" y="49"/>
                    <a:pt x="19" y="49"/>
                  </a:cubicBezTo>
                  <a:cubicBezTo>
                    <a:pt x="19" y="48"/>
                    <a:pt x="19" y="48"/>
                    <a:pt x="19" y="47"/>
                  </a:cubicBezTo>
                  <a:cubicBezTo>
                    <a:pt x="19" y="47"/>
                    <a:pt x="19" y="47"/>
                    <a:pt x="19" y="47"/>
                  </a:cubicBezTo>
                  <a:cubicBezTo>
                    <a:pt x="19" y="46"/>
                    <a:pt x="19" y="46"/>
                    <a:pt x="19" y="46"/>
                  </a:cubicBezTo>
                  <a:cubicBezTo>
                    <a:pt x="19" y="46"/>
                    <a:pt x="19" y="46"/>
                    <a:pt x="19" y="46"/>
                  </a:cubicBezTo>
                  <a:cubicBezTo>
                    <a:pt x="19" y="45"/>
                    <a:pt x="19" y="45"/>
                    <a:pt x="20" y="44"/>
                  </a:cubicBezTo>
                  <a:cubicBezTo>
                    <a:pt x="20" y="44"/>
                    <a:pt x="20" y="44"/>
                    <a:pt x="20" y="44"/>
                  </a:cubicBezTo>
                  <a:cubicBezTo>
                    <a:pt x="20" y="44"/>
                    <a:pt x="20" y="43"/>
                    <a:pt x="20" y="43"/>
                  </a:cubicBezTo>
                  <a:cubicBezTo>
                    <a:pt x="20" y="43"/>
                    <a:pt x="20" y="43"/>
                    <a:pt x="20" y="43"/>
                  </a:cubicBezTo>
                  <a:cubicBezTo>
                    <a:pt x="20" y="42"/>
                    <a:pt x="20" y="42"/>
                    <a:pt x="20" y="42"/>
                  </a:cubicBezTo>
                  <a:cubicBezTo>
                    <a:pt x="20" y="41"/>
                    <a:pt x="20" y="41"/>
                    <a:pt x="20" y="41"/>
                  </a:cubicBezTo>
                  <a:cubicBezTo>
                    <a:pt x="20" y="41"/>
                    <a:pt x="20" y="41"/>
                    <a:pt x="20" y="40"/>
                  </a:cubicBezTo>
                  <a:cubicBezTo>
                    <a:pt x="21" y="39"/>
                    <a:pt x="22" y="37"/>
                    <a:pt x="22" y="35"/>
                  </a:cubicBezTo>
                  <a:cubicBezTo>
                    <a:pt x="23" y="34"/>
                    <a:pt x="23" y="34"/>
                    <a:pt x="23" y="34"/>
                  </a:cubicBezTo>
                  <a:cubicBezTo>
                    <a:pt x="23" y="34"/>
                    <a:pt x="23" y="34"/>
                    <a:pt x="23" y="34"/>
                  </a:cubicBezTo>
                  <a:cubicBezTo>
                    <a:pt x="23" y="33"/>
                    <a:pt x="23" y="33"/>
                    <a:pt x="23" y="33"/>
                  </a:cubicBezTo>
                  <a:cubicBezTo>
                    <a:pt x="24" y="33"/>
                    <a:pt x="24" y="33"/>
                    <a:pt x="24" y="33"/>
                  </a:cubicBezTo>
                  <a:cubicBezTo>
                    <a:pt x="24" y="33"/>
                    <a:pt x="25" y="32"/>
                    <a:pt x="25" y="31"/>
                  </a:cubicBezTo>
                  <a:cubicBezTo>
                    <a:pt x="25" y="31"/>
                    <a:pt x="25" y="31"/>
                    <a:pt x="25" y="31"/>
                  </a:cubicBezTo>
                  <a:cubicBezTo>
                    <a:pt x="26" y="30"/>
                    <a:pt x="26" y="30"/>
                    <a:pt x="26" y="30"/>
                  </a:cubicBezTo>
                  <a:cubicBezTo>
                    <a:pt x="26" y="30"/>
                    <a:pt x="26" y="30"/>
                    <a:pt x="26" y="30"/>
                  </a:cubicBezTo>
                  <a:cubicBezTo>
                    <a:pt x="27" y="29"/>
                    <a:pt x="28" y="28"/>
                    <a:pt x="29" y="27"/>
                  </a:cubicBezTo>
                  <a:cubicBezTo>
                    <a:pt x="29" y="27"/>
                    <a:pt x="29" y="27"/>
                    <a:pt x="29" y="27"/>
                  </a:cubicBezTo>
                  <a:cubicBezTo>
                    <a:pt x="30" y="26"/>
                    <a:pt x="30" y="26"/>
                    <a:pt x="30" y="26"/>
                  </a:cubicBezTo>
                  <a:cubicBezTo>
                    <a:pt x="30" y="26"/>
                    <a:pt x="30" y="26"/>
                    <a:pt x="30" y="26"/>
                  </a:cubicBezTo>
                  <a:cubicBezTo>
                    <a:pt x="31" y="26"/>
                    <a:pt x="31" y="25"/>
                    <a:pt x="32" y="24"/>
                  </a:cubicBezTo>
                  <a:cubicBezTo>
                    <a:pt x="32" y="24"/>
                    <a:pt x="32" y="24"/>
                    <a:pt x="32" y="24"/>
                  </a:cubicBezTo>
                  <a:cubicBezTo>
                    <a:pt x="33" y="24"/>
                    <a:pt x="33" y="24"/>
                    <a:pt x="33" y="24"/>
                  </a:cubicBezTo>
                  <a:cubicBezTo>
                    <a:pt x="33" y="24"/>
                    <a:pt x="33" y="24"/>
                    <a:pt x="33" y="24"/>
                  </a:cubicBezTo>
                  <a:cubicBezTo>
                    <a:pt x="34" y="23"/>
                    <a:pt x="34" y="23"/>
                    <a:pt x="34" y="23"/>
                  </a:cubicBezTo>
                  <a:cubicBezTo>
                    <a:pt x="36" y="22"/>
                    <a:pt x="37" y="22"/>
                    <a:pt x="39" y="21"/>
                  </a:cubicBezTo>
                  <a:cubicBezTo>
                    <a:pt x="39" y="21"/>
                    <a:pt x="39" y="21"/>
                    <a:pt x="39" y="21"/>
                  </a:cubicBezTo>
                  <a:cubicBezTo>
                    <a:pt x="39" y="21"/>
                    <a:pt x="39" y="21"/>
                    <a:pt x="39" y="21"/>
                  </a:cubicBezTo>
                  <a:cubicBezTo>
                    <a:pt x="39" y="21"/>
                    <a:pt x="40" y="21"/>
                    <a:pt x="40" y="21"/>
                  </a:cubicBezTo>
                  <a:cubicBezTo>
                    <a:pt x="40" y="21"/>
                    <a:pt x="40" y="21"/>
                    <a:pt x="40" y="21"/>
                  </a:cubicBezTo>
                  <a:cubicBezTo>
                    <a:pt x="41" y="21"/>
                    <a:pt x="41" y="21"/>
                    <a:pt x="41" y="21"/>
                  </a:cubicBezTo>
                  <a:cubicBezTo>
                    <a:pt x="42" y="21"/>
                    <a:pt x="42" y="21"/>
                    <a:pt x="42" y="21"/>
                  </a:cubicBezTo>
                  <a:cubicBezTo>
                    <a:pt x="42" y="20"/>
                    <a:pt x="42" y="20"/>
                    <a:pt x="43" y="20"/>
                  </a:cubicBezTo>
                  <a:cubicBezTo>
                    <a:pt x="43" y="20"/>
                    <a:pt x="43" y="20"/>
                    <a:pt x="43" y="20"/>
                  </a:cubicBezTo>
                  <a:cubicBezTo>
                    <a:pt x="43" y="20"/>
                    <a:pt x="44" y="20"/>
                    <a:pt x="44" y="20"/>
                  </a:cubicBezTo>
                  <a:cubicBezTo>
                    <a:pt x="45" y="20"/>
                    <a:pt x="45" y="20"/>
                    <a:pt x="45" y="20"/>
                  </a:cubicBezTo>
                  <a:cubicBezTo>
                    <a:pt x="45" y="20"/>
                    <a:pt x="45" y="20"/>
                    <a:pt x="45" y="20"/>
                  </a:cubicBezTo>
                  <a:cubicBezTo>
                    <a:pt x="46" y="20"/>
                    <a:pt x="46" y="20"/>
                    <a:pt x="46" y="20"/>
                  </a:cubicBezTo>
                  <a:cubicBezTo>
                    <a:pt x="46" y="20"/>
                    <a:pt x="47" y="20"/>
                    <a:pt x="47" y="20"/>
                  </a:cubicBezTo>
                  <a:cubicBezTo>
                    <a:pt x="48" y="20"/>
                    <a:pt x="48" y="20"/>
                    <a:pt x="48" y="20"/>
                  </a:cubicBezTo>
                  <a:cubicBezTo>
                    <a:pt x="49" y="20"/>
                    <a:pt x="49" y="20"/>
                    <a:pt x="49" y="20"/>
                  </a:cubicBezTo>
                  <a:cubicBezTo>
                    <a:pt x="50" y="20"/>
                    <a:pt x="50" y="20"/>
                    <a:pt x="50" y="20"/>
                  </a:cubicBezTo>
                  <a:cubicBezTo>
                    <a:pt x="50" y="20"/>
                    <a:pt x="50" y="20"/>
                    <a:pt x="50" y="20"/>
                  </a:cubicBezTo>
                  <a:cubicBezTo>
                    <a:pt x="51" y="20"/>
                    <a:pt x="51" y="20"/>
                    <a:pt x="51" y="20"/>
                  </a:cubicBezTo>
                  <a:cubicBezTo>
                    <a:pt x="52" y="20"/>
                    <a:pt x="52" y="20"/>
                    <a:pt x="52" y="20"/>
                  </a:cubicBezTo>
                  <a:cubicBezTo>
                    <a:pt x="52" y="20"/>
                    <a:pt x="52" y="20"/>
                    <a:pt x="53" y="21"/>
                  </a:cubicBezTo>
                  <a:cubicBezTo>
                    <a:pt x="53" y="21"/>
                    <a:pt x="53" y="21"/>
                    <a:pt x="53" y="21"/>
                  </a:cubicBezTo>
                  <a:cubicBezTo>
                    <a:pt x="54" y="21"/>
                    <a:pt x="54" y="21"/>
                    <a:pt x="54" y="21"/>
                  </a:cubicBezTo>
                  <a:cubicBezTo>
                    <a:pt x="54" y="21"/>
                    <a:pt x="54" y="21"/>
                    <a:pt x="54" y="21"/>
                  </a:cubicBezTo>
                  <a:cubicBezTo>
                    <a:pt x="56" y="21"/>
                    <a:pt x="58" y="22"/>
                    <a:pt x="60" y="23"/>
                  </a:cubicBezTo>
                  <a:cubicBezTo>
                    <a:pt x="61" y="24"/>
                    <a:pt x="61" y="24"/>
                    <a:pt x="61" y="24"/>
                  </a:cubicBezTo>
                  <a:cubicBezTo>
                    <a:pt x="61" y="24"/>
                    <a:pt x="61" y="24"/>
                    <a:pt x="61" y="24"/>
                  </a:cubicBezTo>
                  <a:cubicBezTo>
                    <a:pt x="62" y="24"/>
                    <a:pt x="62" y="24"/>
                    <a:pt x="62" y="24"/>
                  </a:cubicBezTo>
                  <a:cubicBezTo>
                    <a:pt x="62" y="24"/>
                    <a:pt x="62" y="24"/>
                    <a:pt x="62" y="24"/>
                  </a:cubicBezTo>
                  <a:cubicBezTo>
                    <a:pt x="63" y="25"/>
                    <a:pt x="64" y="26"/>
                    <a:pt x="64" y="26"/>
                  </a:cubicBezTo>
                  <a:cubicBezTo>
                    <a:pt x="65" y="26"/>
                    <a:pt x="65" y="26"/>
                    <a:pt x="65" y="26"/>
                  </a:cubicBezTo>
                  <a:cubicBezTo>
                    <a:pt x="65" y="27"/>
                    <a:pt x="65" y="27"/>
                    <a:pt x="65" y="27"/>
                  </a:cubicBezTo>
                  <a:cubicBezTo>
                    <a:pt x="65" y="27"/>
                    <a:pt x="65" y="27"/>
                    <a:pt x="65" y="27"/>
                  </a:cubicBezTo>
                  <a:cubicBezTo>
                    <a:pt x="66" y="28"/>
                    <a:pt x="67" y="29"/>
                    <a:pt x="68" y="30"/>
                  </a:cubicBezTo>
                  <a:cubicBezTo>
                    <a:pt x="68" y="30"/>
                    <a:pt x="68" y="30"/>
                    <a:pt x="68" y="30"/>
                  </a:cubicBezTo>
                  <a:cubicBezTo>
                    <a:pt x="69" y="31"/>
                    <a:pt x="69" y="31"/>
                    <a:pt x="69" y="31"/>
                  </a:cubicBezTo>
                  <a:cubicBezTo>
                    <a:pt x="69" y="31"/>
                    <a:pt x="69" y="31"/>
                    <a:pt x="69" y="31"/>
                  </a:cubicBezTo>
                  <a:cubicBezTo>
                    <a:pt x="70" y="32"/>
                    <a:pt x="70" y="33"/>
                    <a:pt x="71" y="33"/>
                  </a:cubicBezTo>
                  <a:cubicBezTo>
                    <a:pt x="71" y="33"/>
                    <a:pt x="71" y="33"/>
                    <a:pt x="71" y="33"/>
                  </a:cubicBezTo>
                  <a:cubicBezTo>
                    <a:pt x="71" y="34"/>
                    <a:pt x="71" y="34"/>
                    <a:pt x="71" y="34"/>
                  </a:cubicBezTo>
                  <a:cubicBezTo>
                    <a:pt x="71" y="34"/>
                    <a:pt x="71" y="34"/>
                    <a:pt x="71" y="34"/>
                  </a:cubicBezTo>
                  <a:cubicBezTo>
                    <a:pt x="72" y="35"/>
                    <a:pt x="72" y="35"/>
                    <a:pt x="72" y="35"/>
                  </a:cubicBezTo>
                  <a:cubicBezTo>
                    <a:pt x="73" y="37"/>
                    <a:pt x="73" y="39"/>
                    <a:pt x="74" y="40"/>
                  </a:cubicBezTo>
                  <a:cubicBezTo>
                    <a:pt x="74" y="41"/>
                    <a:pt x="74" y="41"/>
                    <a:pt x="74" y="41"/>
                  </a:cubicBezTo>
                  <a:cubicBezTo>
                    <a:pt x="74" y="42"/>
                    <a:pt x="74" y="42"/>
                    <a:pt x="74" y="42"/>
                  </a:cubicBezTo>
                  <a:cubicBezTo>
                    <a:pt x="74" y="43"/>
                    <a:pt x="74" y="43"/>
                    <a:pt x="74" y="43"/>
                  </a:cubicBezTo>
                  <a:cubicBezTo>
                    <a:pt x="75" y="43"/>
                    <a:pt x="75" y="43"/>
                    <a:pt x="75" y="43"/>
                  </a:cubicBezTo>
                  <a:cubicBezTo>
                    <a:pt x="75" y="43"/>
                    <a:pt x="75" y="44"/>
                    <a:pt x="75" y="44"/>
                  </a:cubicBezTo>
                  <a:cubicBezTo>
                    <a:pt x="75" y="44"/>
                    <a:pt x="75" y="44"/>
                    <a:pt x="75" y="44"/>
                  </a:cubicBezTo>
                  <a:cubicBezTo>
                    <a:pt x="75" y="45"/>
                    <a:pt x="75" y="45"/>
                    <a:pt x="75" y="46"/>
                  </a:cubicBezTo>
                  <a:cubicBezTo>
                    <a:pt x="75" y="46"/>
                    <a:pt x="75" y="46"/>
                    <a:pt x="75" y="46"/>
                  </a:cubicBezTo>
                  <a:cubicBezTo>
                    <a:pt x="75" y="47"/>
                    <a:pt x="75" y="47"/>
                    <a:pt x="75" y="47"/>
                  </a:cubicBezTo>
                  <a:cubicBezTo>
                    <a:pt x="75" y="47"/>
                    <a:pt x="75" y="47"/>
                    <a:pt x="75" y="47"/>
                  </a:cubicBezTo>
                  <a:cubicBezTo>
                    <a:pt x="75" y="48"/>
                    <a:pt x="75" y="48"/>
                    <a:pt x="75" y="49"/>
                  </a:cubicBezTo>
                  <a:cubicBezTo>
                    <a:pt x="75" y="49"/>
                    <a:pt x="75" y="50"/>
                    <a:pt x="75" y="50"/>
                  </a:cubicBezTo>
                  <a:cubicBezTo>
                    <a:pt x="75" y="50"/>
                    <a:pt x="75" y="50"/>
                    <a:pt x="75" y="50"/>
                  </a:cubicBezTo>
                  <a:cubicBezTo>
                    <a:pt x="75" y="51"/>
                    <a:pt x="75" y="51"/>
                    <a:pt x="75" y="51"/>
                  </a:cubicBezTo>
                  <a:cubicBezTo>
                    <a:pt x="75" y="52"/>
                    <a:pt x="75" y="52"/>
                    <a:pt x="75" y="52"/>
                  </a:cubicBezTo>
                  <a:cubicBezTo>
                    <a:pt x="75" y="52"/>
                    <a:pt x="75" y="53"/>
                    <a:pt x="75" y="53"/>
                  </a:cubicBezTo>
                  <a:cubicBezTo>
                    <a:pt x="75" y="53"/>
                    <a:pt x="75" y="53"/>
                    <a:pt x="75" y="53"/>
                  </a:cubicBezTo>
                  <a:cubicBezTo>
                    <a:pt x="75" y="54"/>
                    <a:pt x="75" y="54"/>
                    <a:pt x="75" y="54"/>
                  </a:cubicBezTo>
                  <a:cubicBezTo>
                    <a:pt x="74" y="55"/>
                    <a:pt x="74" y="55"/>
                    <a:pt x="74" y="55"/>
                  </a:cubicBezTo>
                  <a:cubicBezTo>
                    <a:pt x="74" y="56"/>
                    <a:pt x="74" y="56"/>
                    <a:pt x="74" y="56"/>
                  </a:cubicBezTo>
                  <a:cubicBezTo>
                    <a:pt x="74" y="56"/>
                    <a:pt x="74" y="56"/>
                    <a:pt x="74" y="56"/>
                  </a:cubicBezTo>
                  <a:cubicBezTo>
                    <a:pt x="74" y="56"/>
                    <a:pt x="74" y="57"/>
                    <a:pt x="74" y="57"/>
                  </a:cubicBezTo>
                  <a:cubicBezTo>
                    <a:pt x="73" y="59"/>
                    <a:pt x="73" y="61"/>
                    <a:pt x="72" y="62"/>
                  </a:cubicBezTo>
                  <a:cubicBezTo>
                    <a:pt x="71" y="63"/>
                    <a:pt x="71" y="63"/>
                    <a:pt x="71" y="63"/>
                  </a:cubicBezTo>
                  <a:cubicBezTo>
                    <a:pt x="71" y="63"/>
                    <a:pt x="71" y="63"/>
                    <a:pt x="71" y="63"/>
                  </a:cubicBezTo>
                  <a:cubicBezTo>
                    <a:pt x="71" y="64"/>
                    <a:pt x="71" y="64"/>
                    <a:pt x="71" y="64"/>
                  </a:cubicBezTo>
                  <a:cubicBezTo>
                    <a:pt x="71" y="64"/>
                    <a:pt x="71" y="64"/>
                    <a:pt x="71" y="64"/>
                  </a:cubicBezTo>
                  <a:cubicBezTo>
                    <a:pt x="70" y="65"/>
                    <a:pt x="70" y="66"/>
                    <a:pt x="69" y="67"/>
                  </a:cubicBezTo>
                  <a:cubicBezTo>
                    <a:pt x="69" y="67"/>
                    <a:pt x="69" y="67"/>
                    <a:pt x="69" y="67"/>
                  </a:cubicBezTo>
                  <a:cubicBezTo>
                    <a:pt x="68" y="67"/>
                    <a:pt x="68" y="67"/>
                    <a:pt x="68" y="67"/>
                  </a:cubicBezTo>
                  <a:cubicBezTo>
                    <a:pt x="68" y="68"/>
                    <a:pt x="68" y="68"/>
                    <a:pt x="68" y="68"/>
                  </a:cubicBezTo>
                  <a:cubicBezTo>
                    <a:pt x="67" y="69"/>
                    <a:pt x="66" y="70"/>
                    <a:pt x="65" y="70"/>
                  </a:cubicBezTo>
                  <a:cubicBezTo>
                    <a:pt x="65" y="71"/>
                    <a:pt x="65" y="71"/>
                    <a:pt x="65" y="71"/>
                  </a:cubicBezTo>
                  <a:cubicBezTo>
                    <a:pt x="65" y="71"/>
                    <a:pt x="65" y="71"/>
                    <a:pt x="65" y="71"/>
                  </a:cubicBezTo>
                  <a:cubicBezTo>
                    <a:pt x="64" y="71"/>
                    <a:pt x="64" y="71"/>
                    <a:pt x="64" y="71"/>
                  </a:cubicBezTo>
                  <a:cubicBezTo>
                    <a:pt x="64" y="72"/>
                    <a:pt x="63" y="73"/>
                    <a:pt x="62" y="73"/>
                  </a:cubicBezTo>
                  <a:cubicBezTo>
                    <a:pt x="62" y="73"/>
                    <a:pt x="62" y="73"/>
                    <a:pt x="62" y="73"/>
                  </a:cubicBezTo>
                  <a:cubicBezTo>
                    <a:pt x="61" y="74"/>
                    <a:pt x="61" y="74"/>
                    <a:pt x="61" y="74"/>
                  </a:cubicBezTo>
                  <a:cubicBezTo>
                    <a:pt x="61" y="74"/>
                    <a:pt x="61" y="74"/>
                    <a:pt x="61" y="74"/>
                  </a:cubicBezTo>
                  <a:cubicBezTo>
                    <a:pt x="60" y="74"/>
                    <a:pt x="60" y="74"/>
                    <a:pt x="60" y="74"/>
                  </a:cubicBezTo>
                  <a:cubicBezTo>
                    <a:pt x="58" y="75"/>
                    <a:pt x="56" y="76"/>
                    <a:pt x="54" y="77"/>
                  </a:cubicBezTo>
                  <a:cubicBezTo>
                    <a:pt x="54" y="77"/>
                    <a:pt x="54" y="77"/>
                    <a:pt x="54" y="77"/>
                  </a:cubicBezTo>
                  <a:cubicBezTo>
                    <a:pt x="53" y="77"/>
                    <a:pt x="53" y="77"/>
                    <a:pt x="53" y="77"/>
                  </a:cubicBezTo>
                  <a:cubicBezTo>
                    <a:pt x="53" y="77"/>
                    <a:pt x="53" y="77"/>
                    <a:pt x="53" y="77"/>
                  </a:cubicBezTo>
                  <a:cubicBezTo>
                    <a:pt x="52" y="77"/>
                    <a:pt x="52" y="77"/>
                    <a:pt x="52" y="77"/>
                  </a:cubicBezTo>
                  <a:cubicBezTo>
                    <a:pt x="51" y="77"/>
                    <a:pt x="51" y="77"/>
                    <a:pt x="51" y="77"/>
                  </a:cubicBezTo>
                  <a:cubicBezTo>
                    <a:pt x="51" y="77"/>
                    <a:pt x="51" y="77"/>
                    <a:pt x="50" y="77"/>
                  </a:cubicBezTo>
                  <a:cubicBezTo>
                    <a:pt x="50" y="77"/>
                    <a:pt x="50" y="77"/>
                    <a:pt x="50" y="77"/>
                  </a:cubicBezTo>
                  <a:cubicBezTo>
                    <a:pt x="49" y="77"/>
                    <a:pt x="49" y="77"/>
                    <a:pt x="49" y="77"/>
                  </a:cubicBezTo>
                  <a:cubicBezTo>
                    <a:pt x="48" y="77"/>
                    <a:pt x="48" y="77"/>
                    <a:pt x="48" y="77"/>
                  </a:cubicBezTo>
                  <a:cubicBezTo>
                    <a:pt x="48" y="77"/>
                    <a:pt x="48" y="78"/>
                    <a:pt x="47" y="78"/>
                  </a:cubicBezTo>
                  <a:moveTo>
                    <a:pt x="55" y="0"/>
                  </a:moveTo>
                  <a:cubicBezTo>
                    <a:pt x="39" y="0"/>
                    <a:pt x="39" y="0"/>
                    <a:pt x="39" y="0"/>
                  </a:cubicBezTo>
                  <a:cubicBezTo>
                    <a:pt x="39" y="10"/>
                    <a:pt x="39" y="10"/>
                    <a:pt x="39" y="10"/>
                  </a:cubicBezTo>
                  <a:cubicBezTo>
                    <a:pt x="34" y="11"/>
                    <a:pt x="30" y="12"/>
                    <a:pt x="26" y="15"/>
                  </a:cubicBezTo>
                  <a:cubicBezTo>
                    <a:pt x="19" y="8"/>
                    <a:pt x="19" y="8"/>
                    <a:pt x="19" y="8"/>
                  </a:cubicBezTo>
                  <a:cubicBezTo>
                    <a:pt x="8" y="20"/>
                    <a:pt x="8" y="20"/>
                    <a:pt x="8" y="20"/>
                  </a:cubicBezTo>
                  <a:cubicBezTo>
                    <a:pt x="14" y="27"/>
                    <a:pt x="14" y="27"/>
                    <a:pt x="14" y="27"/>
                  </a:cubicBezTo>
                  <a:cubicBezTo>
                    <a:pt x="12" y="31"/>
                    <a:pt x="10" y="35"/>
                    <a:pt x="9" y="40"/>
                  </a:cubicBezTo>
                  <a:cubicBezTo>
                    <a:pt x="0" y="40"/>
                    <a:pt x="0" y="40"/>
                    <a:pt x="0" y="40"/>
                  </a:cubicBezTo>
                  <a:cubicBezTo>
                    <a:pt x="0" y="57"/>
                    <a:pt x="0" y="57"/>
                    <a:pt x="0" y="57"/>
                  </a:cubicBezTo>
                  <a:cubicBezTo>
                    <a:pt x="9" y="57"/>
                    <a:pt x="9" y="57"/>
                    <a:pt x="9" y="57"/>
                  </a:cubicBezTo>
                  <a:cubicBezTo>
                    <a:pt x="10" y="62"/>
                    <a:pt x="12" y="66"/>
                    <a:pt x="14" y="70"/>
                  </a:cubicBezTo>
                  <a:cubicBezTo>
                    <a:pt x="8" y="77"/>
                    <a:pt x="8" y="77"/>
                    <a:pt x="8" y="77"/>
                  </a:cubicBezTo>
                  <a:cubicBezTo>
                    <a:pt x="19" y="89"/>
                    <a:pt x="19" y="89"/>
                    <a:pt x="19" y="89"/>
                  </a:cubicBezTo>
                  <a:cubicBezTo>
                    <a:pt x="26" y="82"/>
                    <a:pt x="26" y="82"/>
                    <a:pt x="26" y="82"/>
                  </a:cubicBezTo>
                  <a:cubicBezTo>
                    <a:pt x="30" y="85"/>
                    <a:pt x="34" y="87"/>
                    <a:pt x="39" y="88"/>
                  </a:cubicBezTo>
                  <a:cubicBezTo>
                    <a:pt x="39" y="98"/>
                    <a:pt x="39" y="98"/>
                    <a:pt x="39" y="98"/>
                  </a:cubicBezTo>
                  <a:cubicBezTo>
                    <a:pt x="55" y="98"/>
                    <a:pt x="55" y="98"/>
                    <a:pt x="55" y="98"/>
                  </a:cubicBezTo>
                  <a:cubicBezTo>
                    <a:pt x="55" y="88"/>
                    <a:pt x="55" y="88"/>
                    <a:pt x="55" y="88"/>
                  </a:cubicBezTo>
                  <a:cubicBezTo>
                    <a:pt x="60" y="87"/>
                    <a:pt x="64" y="85"/>
                    <a:pt x="68" y="82"/>
                  </a:cubicBezTo>
                  <a:cubicBezTo>
                    <a:pt x="75" y="89"/>
                    <a:pt x="75" y="89"/>
                    <a:pt x="75" y="89"/>
                  </a:cubicBezTo>
                  <a:cubicBezTo>
                    <a:pt x="87" y="77"/>
                    <a:pt x="87" y="77"/>
                    <a:pt x="87" y="77"/>
                  </a:cubicBezTo>
                  <a:cubicBezTo>
                    <a:pt x="80" y="70"/>
                    <a:pt x="80" y="70"/>
                    <a:pt x="80" y="70"/>
                  </a:cubicBezTo>
                  <a:cubicBezTo>
                    <a:pt x="82" y="66"/>
                    <a:pt x="84" y="62"/>
                    <a:pt x="85" y="57"/>
                  </a:cubicBezTo>
                  <a:cubicBezTo>
                    <a:pt x="95" y="57"/>
                    <a:pt x="95" y="57"/>
                    <a:pt x="95" y="57"/>
                  </a:cubicBezTo>
                  <a:cubicBezTo>
                    <a:pt x="95" y="40"/>
                    <a:pt x="95" y="40"/>
                    <a:pt x="95" y="40"/>
                  </a:cubicBezTo>
                  <a:cubicBezTo>
                    <a:pt x="85" y="40"/>
                    <a:pt x="85" y="40"/>
                    <a:pt x="85" y="40"/>
                  </a:cubicBezTo>
                  <a:cubicBezTo>
                    <a:pt x="84" y="35"/>
                    <a:pt x="82" y="31"/>
                    <a:pt x="80" y="27"/>
                  </a:cubicBezTo>
                  <a:cubicBezTo>
                    <a:pt x="87" y="20"/>
                    <a:pt x="87" y="20"/>
                    <a:pt x="87" y="20"/>
                  </a:cubicBezTo>
                  <a:cubicBezTo>
                    <a:pt x="75" y="8"/>
                    <a:pt x="75" y="8"/>
                    <a:pt x="75" y="8"/>
                  </a:cubicBezTo>
                  <a:cubicBezTo>
                    <a:pt x="68" y="15"/>
                    <a:pt x="68" y="15"/>
                    <a:pt x="68" y="15"/>
                  </a:cubicBezTo>
                  <a:cubicBezTo>
                    <a:pt x="64" y="12"/>
                    <a:pt x="60" y="11"/>
                    <a:pt x="55" y="10"/>
                  </a:cubicBezTo>
                  <a:cubicBezTo>
                    <a:pt x="55" y="0"/>
                    <a:pt x="55" y="0"/>
                    <a:pt x="5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2" name="Freeform 21301">
              <a:extLst>
                <a:ext uri="{FF2B5EF4-FFF2-40B4-BE49-F238E27FC236}">
                  <a16:creationId xmlns:a16="http://schemas.microsoft.com/office/drawing/2014/main" id="{66606BC2-6563-4BD1-9EDC-383BD39B5AA2}"/>
                </a:ext>
              </a:extLst>
            </p:cNvPr>
            <p:cNvSpPr>
              <a:spLocks noEditPoints="1"/>
            </p:cNvSpPr>
            <p:nvPr userDrawn="1"/>
          </p:nvSpPr>
          <p:spPr bwMode="auto">
            <a:xfrm>
              <a:off x="8479790" y="2815590"/>
              <a:ext cx="69850" cy="342900"/>
            </a:xfrm>
            <a:custGeom>
              <a:avLst/>
              <a:gdLst>
                <a:gd name="T0" fmla="*/ 15 w 34"/>
                <a:gd name="T1" fmla="*/ 164 h 170"/>
                <a:gd name="T2" fmla="*/ 16 w 34"/>
                <a:gd name="T3" fmla="*/ 170 h 170"/>
                <a:gd name="T4" fmla="*/ 19 w 34"/>
                <a:gd name="T5" fmla="*/ 164 h 170"/>
                <a:gd name="T6" fmla="*/ 15 w 34"/>
                <a:gd name="T7" fmla="*/ 152 h 170"/>
                <a:gd name="T8" fmla="*/ 19 w 34"/>
                <a:gd name="T9" fmla="*/ 158 h 170"/>
                <a:gd name="T10" fmla="*/ 19 w 34"/>
                <a:gd name="T11" fmla="*/ 141 h 170"/>
                <a:gd name="T12" fmla="*/ 15 w 34"/>
                <a:gd name="T13" fmla="*/ 146 h 170"/>
                <a:gd name="T14" fmla="*/ 19 w 34"/>
                <a:gd name="T15" fmla="*/ 141 h 170"/>
                <a:gd name="T16" fmla="*/ 15 w 34"/>
                <a:gd name="T17" fmla="*/ 129 h 170"/>
                <a:gd name="T18" fmla="*/ 19 w 34"/>
                <a:gd name="T19" fmla="*/ 135 h 170"/>
                <a:gd name="T20" fmla="*/ 19 w 34"/>
                <a:gd name="T21" fmla="*/ 117 h 170"/>
                <a:gd name="T22" fmla="*/ 15 w 34"/>
                <a:gd name="T23" fmla="*/ 123 h 170"/>
                <a:gd name="T24" fmla="*/ 19 w 34"/>
                <a:gd name="T25" fmla="*/ 117 h 170"/>
                <a:gd name="T26" fmla="*/ 15 w 34"/>
                <a:gd name="T27" fmla="*/ 106 h 170"/>
                <a:gd name="T28" fmla="*/ 19 w 34"/>
                <a:gd name="T29" fmla="*/ 112 h 170"/>
                <a:gd name="T30" fmla="*/ 19 w 34"/>
                <a:gd name="T31" fmla="*/ 94 h 170"/>
                <a:gd name="T32" fmla="*/ 15 w 34"/>
                <a:gd name="T33" fmla="*/ 100 h 170"/>
                <a:gd name="T34" fmla="*/ 19 w 34"/>
                <a:gd name="T35" fmla="*/ 94 h 170"/>
                <a:gd name="T36" fmla="*/ 15 w 34"/>
                <a:gd name="T37" fmla="*/ 82 h 170"/>
                <a:gd name="T38" fmla="*/ 19 w 34"/>
                <a:gd name="T39" fmla="*/ 88 h 170"/>
                <a:gd name="T40" fmla="*/ 19 w 34"/>
                <a:gd name="T41" fmla="*/ 71 h 170"/>
                <a:gd name="T42" fmla="*/ 15 w 34"/>
                <a:gd name="T43" fmla="*/ 77 h 170"/>
                <a:gd name="T44" fmla="*/ 19 w 34"/>
                <a:gd name="T45" fmla="*/ 71 h 170"/>
                <a:gd name="T46" fmla="*/ 15 w 34"/>
                <a:gd name="T47" fmla="*/ 59 h 170"/>
                <a:gd name="T48" fmla="*/ 19 w 34"/>
                <a:gd name="T49" fmla="*/ 65 h 170"/>
                <a:gd name="T50" fmla="*/ 19 w 34"/>
                <a:gd name="T51" fmla="*/ 48 h 170"/>
                <a:gd name="T52" fmla="*/ 15 w 34"/>
                <a:gd name="T53" fmla="*/ 53 h 170"/>
                <a:gd name="T54" fmla="*/ 19 w 34"/>
                <a:gd name="T55" fmla="*/ 48 h 170"/>
                <a:gd name="T56" fmla="*/ 15 w 34"/>
                <a:gd name="T57" fmla="*/ 36 h 170"/>
                <a:gd name="T58" fmla="*/ 19 w 34"/>
                <a:gd name="T59" fmla="*/ 42 h 170"/>
                <a:gd name="T60" fmla="*/ 17 w 34"/>
                <a:gd name="T61" fmla="*/ 0 h 170"/>
                <a:gd name="T62" fmla="*/ 15 w 34"/>
                <a:gd name="T63" fmla="*/ 29 h 170"/>
                <a:gd name="T64" fmla="*/ 19 w 34"/>
                <a:gd name="T65" fmla="*/ 30 h 170"/>
                <a:gd name="T66" fmla="*/ 34 w 34"/>
                <a:gd name="T67" fmla="*/ 2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170">
                  <a:moveTo>
                    <a:pt x="19" y="164"/>
                  </a:moveTo>
                  <a:cubicBezTo>
                    <a:pt x="15" y="164"/>
                    <a:pt x="15" y="164"/>
                    <a:pt x="15" y="164"/>
                  </a:cubicBezTo>
                  <a:cubicBezTo>
                    <a:pt x="15" y="170"/>
                    <a:pt x="15" y="170"/>
                    <a:pt x="15" y="170"/>
                  </a:cubicBezTo>
                  <a:cubicBezTo>
                    <a:pt x="16" y="170"/>
                    <a:pt x="16" y="170"/>
                    <a:pt x="16" y="170"/>
                  </a:cubicBezTo>
                  <a:cubicBezTo>
                    <a:pt x="17" y="169"/>
                    <a:pt x="18" y="169"/>
                    <a:pt x="19" y="168"/>
                  </a:cubicBezTo>
                  <a:cubicBezTo>
                    <a:pt x="19" y="164"/>
                    <a:pt x="19" y="164"/>
                    <a:pt x="19" y="164"/>
                  </a:cubicBezTo>
                  <a:moveTo>
                    <a:pt x="19" y="152"/>
                  </a:moveTo>
                  <a:cubicBezTo>
                    <a:pt x="15" y="152"/>
                    <a:pt x="15" y="152"/>
                    <a:pt x="15" y="152"/>
                  </a:cubicBezTo>
                  <a:cubicBezTo>
                    <a:pt x="15" y="158"/>
                    <a:pt x="15" y="158"/>
                    <a:pt x="15" y="158"/>
                  </a:cubicBezTo>
                  <a:cubicBezTo>
                    <a:pt x="19" y="158"/>
                    <a:pt x="19" y="158"/>
                    <a:pt x="19" y="158"/>
                  </a:cubicBezTo>
                  <a:cubicBezTo>
                    <a:pt x="19" y="152"/>
                    <a:pt x="19" y="152"/>
                    <a:pt x="19" y="152"/>
                  </a:cubicBezTo>
                  <a:moveTo>
                    <a:pt x="19" y="141"/>
                  </a:moveTo>
                  <a:cubicBezTo>
                    <a:pt x="15" y="141"/>
                    <a:pt x="15" y="141"/>
                    <a:pt x="15" y="141"/>
                  </a:cubicBezTo>
                  <a:cubicBezTo>
                    <a:pt x="15" y="146"/>
                    <a:pt x="15" y="146"/>
                    <a:pt x="15" y="146"/>
                  </a:cubicBezTo>
                  <a:cubicBezTo>
                    <a:pt x="19" y="146"/>
                    <a:pt x="19" y="146"/>
                    <a:pt x="19" y="146"/>
                  </a:cubicBezTo>
                  <a:cubicBezTo>
                    <a:pt x="19" y="141"/>
                    <a:pt x="19" y="141"/>
                    <a:pt x="19" y="141"/>
                  </a:cubicBezTo>
                  <a:moveTo>
                    <a:pt x="19" y="129"/>
                  </a:moveTo>
                  <a:cubicBezTo>
                    <a:pt x="15" y="129"/>
                    <a:pt x="15" y="129"/>
                    <a:pt x="15" y="129"/>
                  </a:cubicBezTo>
                  <a:cubicBezTo>
                    <a:pt x="15" y="135"/>
                    <a:pt x="15" y="135"/>
                    <a:pt x="15" y="135"/>
                  </a:cubicBezTo>
                  <a:cubicBezTo>
                    <a:pt x="19" y="135"/>
                    <a:pt x="19" y="135"/>
                    <a:pt x="19" y="135"/>
                  </a:cubicBezTo>
                  <a:cubicBezTo>
                    <a:pt x="19" y="129"/>
                    <a:pt x="19" y="129"/>
                    <a:pt x="19" y="129"/>
                  </a:cubicBezTo>
                  <a:moveTo>
                    <a:pt x="19" y="117"/>
                  </a:moveTo>
                  <a:cubicBezTo>
                    <a:pt x="15" y="117"/>
                    <a:pt x="15" y="117"/>
                    <a:pt x="15" y="117"/>
                  </a:cubicBezTo>
                  <a:cubicBezTo>
                    <a:pt x="15" y="123"/>
                    <a:pt x="15" y="123"/>
                    <a:pt x="15" y="123"/>
                  </a:cubicBezTo>
                  <a:cubicBezTo>
                    <a:pt x="19" y="123"/>
                    <a:pt x="19" y="123"/>
                    <a:pt x="19" y="123"/>
                  </a:cubicBezTo>
                  <a:cubicBezTo>
                    <a:pt x="19" y="117"/>
                    <a:pt x="19" y="117"/>
                    <a:pt x="19" y="117"/>
                  </a:cubicBezTo>
                  <a:moveTo>
                    <a:pt x="19" y="106"/>
                  </a:moveTo>
                  <a:cubicBezTo>
                    <a:pt x="15" y="106"/>
                    <a:pt x="15" y="106"/>
                    <a:pt x="15" y="106"/>
                  </a:cubicBezTo>
                  <a:cubicBezTo>
                    <a:pt x="15" y="112"/>
                    <a:pt x="15" y="112"/>
                    <a:pt x="15" y="112"/>
                  </a:cubicBezTo>
                  <a:cubicBezTo>
                    <a:pt x="19" y="112"/>
                    <a:pt x="19" y="112"/>
                    <a:pt x="19" y="112"/>
                  </a:cubicBezTo>
                  <a:cubicBezTo>
                    <a:pt x="19" y="106"/>
                    <a:pt x="19" y="106"/>
                    <a:pt x="19" y="106"/>
                  </a:cubicBezTo>
                  <a:moveTo>
                    <a:pt x="19" y="94"/>
                  </a:moveTo>
                  <a:cubicBezTo>
                    <a:pt x="15" y="94"/>
                    <a:pt x="15" y="94"/>
                    <a:pt x="15" y="94"/>
                  </a:cubicBezTo>
                  <a:cubicBezTo>
                    <a:pt x="15" y="100"/>
                    <a:pt x="15" y="100"/>
                    <a:pt x="15" y="100"/>
                  </a:cubicBezTo>
                  <a:cubicBezTo>
                    <a:pt x="19" y="100"/>
                    <a:pt x="19" y="100"/>
                    <a:pt x="19" y="100"/>
                  </a:cubicBezTo>
                  <a:cubicBezTo>
                    <a:pt x="19" y="94"/>
                    <a:pt x="19" y="94"/>
                    <a:pt x="19" y="94"/>
                  </a:cubicBezTo>
                  <a:moveTo>
                    <a:pt x="19" y="82"/>
                  </a:moveTo>
                  <a:cubicBezTo>
                    <a:pt x="15" y="82"/>
                    <a:pt x="15" y="82"/>
                    <a:pt x="15" y="82"/>
                  </a:cubicBezTo>
                  <a:cubicBezTo>
                    <a:pt x="15" y="88"/>
                    <a:pt x="15" y="88"/>
                    <a:pt x="15" y="88"/>
                  </a:cubicBezTo>
                  <a:cubicBezTo>
                    <a:pt x="19" y="88"/>
                    <a:pt x="19" y="88"/>
                    <a:pt x="19" y="88"/>
                  </a:cubicBezTo>
                  <a:cubicBezTo>
                    <a:pt x="19" y="82"/>
                    <a:pt x="19" y="82"/>
                    <a:pt x="19" y="82"/>
                  </a:cubicBezTo>
                  <a:moveTo>
                    <a:pt x="19" y="71"/>
                  </a:moveTo>
                  <a:cubicBezTo>
                    <a:pt x="15" y="71"/>
                    <a:pt x="15" y="71"/>
                    <a:pt x="15" y="71"/>
                  </a:cubicBezTo>
                  <a:cubicBezTo>
                    <a:pt x="15" y="77"/>
                    <a:pt x="15" y="77"/>
                    <a:pt x="15" y="77"/>
                  </a:cubicBezTo>
                  <a:cubicBezTo>
                    <a:pt x="19" y="77"/>
                    <a:pt x="19" y="77"/>
                    <a:pt x="19" y="77"/>
                  </a:cubicBezTo>
                  <a:cubicBezTo>
                    <a:pt x="19" y="71"/>
                    <a:pt x="19" y="71"/>
                    <a:pt x="19" y="71"/>
                  </a:cubicBezTo>
                  <a:moveTo>
                    <a:pt x="19" y="59"/>
                  </a:moveTo>
                  <a:cubicBezTo>
                    <a:pt x="15" y="59"/>
                    <a:pt x="15" y="59"/>
                    <a:pt x="15" y="59"/>
                  </a:cubicBezTo>
                  <a:cubicBezTo>
                    <a:pt x="15" y="65"/>
                    <a:pt x="15" y="65"/>
                    <a:pt x="15" y="65"/>
                  </a:cubicBezTo>
                  <a:cubicBezTo>
                    <a:pt x="19" y="65"/>
                    <a:pt x="19" y="65"/>
                    <a:pt x="19" y="65"/>
                  </a:cubicBezTo>
                  <a:cubicBezTo>
                    <a:pt x="19" y="59"/>
                    <a:pt x="19" y="59"/>
                    <a:pt x="19" y="59"/>
                  </a:cubicBezTo>
                  <a:moveTo>
                    <a:pt x="19" y="48"/>
                  </a:moveTo>
                  <a:cubicBezTo>
                    <a:pt x="15" y="48"/>
                    <a:pt x="15" y="48"/>
                    <a:pt x="15" y="48"/>
                  </a:cubicBezTo>
                  <a:cubicBezTo>
                    <a:pt x="15" y="53"/>
                    <a:pt x="15" y="53"/>
                    <a:pt x="15" y="53"/>
                  </a:cubicBezTo>
                  <a:cubicBezTo>
                    <a:pt x="19" y="53"/>
                    <a:pt x="19" y="53"/>
                    <a:pt x="19" y="53"/>
                  </a:cubicBezTo>
                  <a:cubicBezTo>
                    <a:pt x="19" y="48"/>
                    <a:pt x="19" y="48"/>
                    <a:pt x="19" y="48"/>
                  </a:cubicBezTo>
                  <a:moveTo>
                    <a:pt x="19" y="36"/>
                  </a:moveTo>
                  <a:cubicBezTo>
                    <a:pt x="15" y="36"/>
                    <a:pt x="15" y="36"/>
                    <a:pt x="15" y="36"/>
                  </a:cubicBezTo>
                  <a:cubicBezTo>
                    <a:pt x="15" y="42"/>
                    <a:pt x="15" y="42"/>
                    <a:pt x="15" y="42"/>
                  </a:cubicBezTo>
                  <a:cubicBezTo>
                    <a:pt x="19" y="42"/>
                    <a:pt x="19" y="42"/>
                    <a:pt x="19" y="42"/>
                  </a:cubicBezTo>
                  <a:cubicBezTo>
                    <a:pt x="19" y="36"/>
                    <a:pt x="19" y="36"/>
                    <a:pt x="19" y="36"/>
                  </a:cubicBezTo>
                  <a:moveTo>
                    <a:pt x="17" y="0"/>
                  </a:moveTo>
                  <a:cubicBezTo>
                    <a:pt x="0" y="29"/>
                    <a:pt x="0" y="29"/>
                    <a:pt x="0" y="29"/>
                  </a:cubicBezTo>
                  <a:cubicBezTo>
                    <a:pt x="15" y="29"/>
                    <a:pt x="15" y="29"/>
                    <a:pt x="15" y="29"/>
                  </a:cubicBezTo>
                  <a:cubicBezTo>
                    <a:pt x="15" y="30"/>
                    <a:pt x="15" y="30"/>
                    <a:pt x="15" y="30"/>
                  </a:cubicBezTo>
                  <a:cubicBezTo>
                    <a:pt x="19" y="30"/>
                    <a:pt x="19" y="30"/>
                    <a:pt x="19" y="30"/>
                  </a:cubicBezTo>
                  <a:cubicBezTo>
                    <a:pt x="19" y="29"/>
                    <a:pt x="19" y="29"/>
                    <a:pt x="19" y="29"/>
                  </a:cubicBezTo>
                  <a:cubicBezTo>
                    <a:pt x="34" y="29"/>
                    <a:pt x="34" y="29"/>
                    <a:pt x="34" y="29"/>
                  </a:cubicBezTo>
                  <a:cubicBezTo>
                    <a:pt x="17" y="0"/>
                    <a:pt x="17" y="0"/>
                    <a:pt x="1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3" name="Freeform 21302">
              <a:extLst>
                <a:ext uri="{FF2B5EF4-FFF2-40B4-BE49-F238E27FC236}">
                  <a16:creationId xmlns:a16="http://schemas.microsoft.com/office/drawing/2014/main" id="{0164ACE0-7C77-4FE9-A9C1-20BEE83B559E}"/>
                </a:ext>
              </a:extLst>
            </p:cNvPr>
            <p:cNvSpPr>
              <a:spLocks noEditPoints="1"/>
            </p:cNvSpPr>
            <p:nvPr userDrawn="1"/>
          </p:nvSpPr>
          <p:spPr bwMode="auto">
            <a:xfrm>
              <a:off x="9948228" y="3020378"/>
              <a:ext cx="68263" cy="338138"/>
            </a:xfrm>
            <a:custGeom>
              <a:avLst/>
              <a:gdLst>
                <a:gd name="T0" fmla="*/ 15 w 34"/>
                <a:gd name="T1" fmla="*/ 164 h 168"/>
                <a:gd name="T2" fmla="*/ 19 w 34"/>
                <a:gd name="T3" fmla="*/ 164 h 168"/>
                <a:gd name="T4" fmla="*/ 15 w 34"/>
                <a:gd name="T5" fmla="*/ 152 h 168"/>
                <a:gd name="T6" fmla="*/ 19 w 34"/>
                <a:gd name="T7" fmla="*/ 158 h 168"/>
                <a:gd name="T8" fmla="*/ 19 w 34"/>
                <a:gd name="T9" fmla="*/ 141 h 168"/>
                <a:gd name="T10" fmla="*/ 15 w 34"/>
                <a:gd name="T11" fmla="*/ 146 h 168"/>
                <a:gd name="T12" fmla="*/ 19 w 34"/>
                <a:gd name="T13" fmla="*/ 141 h 168"/>
                <a:gd name="T14" fmla="*/ 15 w 34"/>
                <a:gd name="T15" fmla="*/ 129 h 168"/>
                <a:gd name="T16" fmla="*/ 19 w 34"/>
                <a:gd name="T17" fmla="*/ 135 h 168"/>
                <a:gd name="T18" fmla="*/ 19 w 34"/>
                <a:gd name="T19" fmla="*/ 117 h 168"/>
                <a:gd name="T20" fmla="*/ 15 w 34"/>
                <a:gd name="T21" fmla="*/ 123 h 168"/>
                <a:gd name="T22" fmla="*/ 19 w 34"/>
                <a:gd name="T23" fmla="*/ 117 h 168"/>
                <a:gd name="T24" fmla="*/ 15 w 34"/>
                <a:gd name="T25" fmla="*/ 106 h 168"/>
                <a:gd name="T26" fmla="*/ 19 w 34"/>
                <a:gd name="T27" fmla="*/ 112 h 168"/>
                <a:gd name="T28" fmla="*/ 19 w 34"/>
                <a:gd name="T29" fmla="*/ 94 h 168"/>
                <a:gd name="T30" fmla="*/ 15 w 34"/>
                <a:gd name="T31" fmla="*/ 100 h 168"/>
                <a:gd name="T32" fmla="*/ 19 w 34"/>
                <a:gd name="T33" fmla="*/ 94 h 168"/>
                <a:gd name="T34" fmla="*/ 15 w 34"/>
                <a:gd name="T35" fmla="*/ 82 h 168"/>
                <a:gd name="T36" fmla="*/ 19 w 34"/>
                <a:gd name="T37" fmla="*/ 88 h 168"/>
                <a:gd name="T38" fmla="*/ 19 w 34"/>
                <a:gd name="T39" fmla="*/ 71 h 168"/>
                <a:gd name="T40" fmla="*/ 15 w 34"/>
                <a:gd name="T41" fmla="*/ 77 h 168"/>
                <a:gd name="T42" fmla="*/ 19 w 34"/>
                <a:gd name="T43" fmla="*/ 71 h 168"/>
                <a:gd name="T44" fmla="*/ 15 w 34"/>
                <a:gd name="T45" fmla="*/ 59 h 168"/>
                <a:gd name="T46" fmla="*/ 19 w 34"/>
                <a:gd name="T47" fmla="*/ 65 h 168"/>
                <a:gd name="T48" fmla="*/ 19 w 34"/>
                <a:gd name="T49" fmla="*/ 48 h 168"/>
                <a:gd name="T50" fmla="*/ 15 w 34"/>
                <a:gd name="T51" fmla="*/ 53 h 168"/>
                <a:gd name="T52" fmla="*/ 19 w 34"/>
                <a:gd name="T53" fmla="*/ 48 h 168"/>
                <a:gd name="T54" fmla="*/ 15 w 34"/>
                <a:gd name="T55" fmla="*/ 36 h 168"/>
                <a:gd name="T56" fmla="*/ 19 w 34"/>
                <a:gd name="T57" fmla="*/ 42 h 168"/>
                <a:gd name="T58" fmla="*/ 17 w 34"/>
                <a:gd name="T59" fmla="*/ 0 h 168"/>
                <a:gd name="T60" fmla="*/ 15 w 34"/>
                <a:gd name="T61" fmla="*/ 29 h 168"/>
                <a:gd name="T62" fmla="*/ 19 w 34"/>
                <a:gd name="T63" fmla="*/ 30 h 168"/>
                <a:gd name="T64" fmla="*/ 34 w 34"/>
                <a:gd name="T65" fmla="*/ 2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168">
                  <a:moveTo>
                    <a:pt x="19" y="164"/>
                  </a:moveTo>
                  <a:cubicBezTo>
                    <a:pt x="15" y="164"/>
                    <a:pt x="15" y="164"/>
                    <a:pt x="15" y="164"/>
                  </a:cubicBezTo>
                  <a:cubicBezTo>
                    <a:pt x="16" y="165"/>
                    <a:pt x="18" y="166"/>
                    <a:pt x="19" y="168"/>
                  </a:cubicBezTo>
                  <a:cubicBezTo>
                    <a:pt x="19" y="164"/>
                    <a:pt x="19" y="164"/>
                    <a:pt x="19" y="164"/>
                  </a:cubicBezTo>
                  <a:moveTo>
                    <a:pt x="19" y="152"/>
                  </a:moveTo>
                  <a:cubicBezTo>
                    <a:pt x="15" y="152"/>
                    <a:pt x="15" y="152"/>
                    <a:pt x="15" y="152"/>
                  </a:cubicBezTo>
                  <a:cubicBezTo>
                    <a:pt x="15" y="158"/>
                    <a:pt x="15" y="158"/>
                    <a:pt x="15" y="158"/>
                  </a:cubicBezTo>
                  <a:cubicBezTo>
                    <a:pt x="19" y="158"/>
                    <a:pt x="19" y="158"/>
                    <a:pt x="19" y="158"/>
                  </a:cubicBezTo>
                  <a:cubicBezTo>
                    <a:pt x="19" y="152"/>
                    <a:pt x="19" y="152"/>
                    <a:pt x="19" y="152"/>
                  </a:cubicBezTo>
                  <a:moveTo>
                    <a:pt x="19" y="141"/>
                  </a:moveTo>
                  <a:cubicBezTo>
                    <a:pt x="15" y="141"/>
                    <a:pt x="15" y="141"/>
                    <a:pt x="15" y="141"/>
                  </a:cubicBezTo>
                  <a:cubicBezTo>
                    <a:pt x="15" y="146"/>
                    <a:pt x="15" y="146"/>
                    <a:pt x="15" y="146"/>
                  </a:cubicBezTo>
                  <a:cubicBezTo>
                    <a:pt x="19" y="146"/>
                    <a:pt x="19" y="146"/>
                    <a:pt x="19" y="146"/>
                  </a:cubicBezTo>
                  <a:cubicBezTo>
                    <a:pt x="19" y="141"/>
                    <a:pt x="19" y="141"/>
                    <a:pt x="19" y="141"/>
                  </a:cubicBezTo>
                  <a:moveTo>
                    <a:pt x="19" y="129"/>
                  </a:moveTo>
                  <a:cubicBezTo>
                    <a:pt x="15" y="129"/>
                    <a:pt x="15" y="129"/>
                    <a:pt x="15" y="129"/>
                  </a:cubicBezTo>
                  <a:cubicBezTo>
                    <a:pt x="15" y="135"/>
                    <a:pt x="15" y="135"/>
                    <a:pt x="15" y="135"/>
                  </a:cubicBezTo>
                  <a:cubicBezTo>
                    <a:pt x="19" y="135"/>
                    <a:pt x="19" y="135"/>
                    <a:pt x="19" y="135"/>
                  </a:cubicBezTo>
                  <a:cubicBezTo>
                    <a:pt x="19" y="129"/>
                    <a:pt x="19" y="129"/>
                    <a:pt x="19" y="129"/>
                  </a:cubicBezTo>
                  <a:moveTo>
                    <a:pt x="19" y="117"/>
                  </a:moveTo>
                  <a:cubicBezTo>
                    <a:pt x="15" y="117"/>
                    <a:pt x="15" y="117"/>
                    <a:pt x="15" y="117"/>
                  </a:cubicBezTo>
                  <a:cubicBezTo>
                    <a:pt x="15" y="123"/>
                    <a:pt x="15" y="123"/>
                    <a:pt x="15" y="123"/>
                  </a:cubicBezTo>
                  <a:cubicBezTo>
                    <a:pt x="19" y="123"/>
                    <a:pt x="19" y="123"/>
                    <a:pt x="19" y="123"/>
                  </a:cubicBezTo>
                  <a:cubicBezTo>
                    <a:pt x="19" y="117"/>
                    <a:pt x="19" y="117"/>
                    <a:pt x="19" y="117"/>
                  </a:cubicBezTo>
                  <a:moveTo>
                    <a:pt x="19" y="106"/>
                  </a:moveTo>
                  <a:cubicBezTo>
                    <a:pt x="15" y="106"/>
                    <a:pt x="15" y="106"/>
                    <a:pt x="15" y="106"/>
                  </a:cubicBezTo>
                  <a:cubicBezTo>
                    <a:pt x="15" y="112"/>
                    <a:pt x="15" y="112"/>
                    <a:pt x="15" y="112"/>
                  </a:cubicBezTo>
                  <a:cubicBezTo>
                    <a:pt x="19" y="112"/>
                    <a:pt x="19" y="112"/>
                    <a:pt x="19" y="112"/>
                  </a:cubicBezTo>
                  <a:cubicBezTo>
                    <a:pt x="19" y="106"/>
                    <a:pt x="19" y="106"/>
                    <a:pt x="19" y="106"/>
                  </a:cubicBezTo>
                  <a:moveTo>
                    <a:pt x="19" y="94"/>
                  </a:moveTo>
                  <a:cubicBezTo>
                    <a:pt x="15" y="94"/>
                    <a:pt x="15" y="94"/>
                    <a:pt x="15" y="94"/>
                  </a:cubicBezTo>
                  <a:cubicBezTo>
                    <a:pt x="15" y="100"/>
                    <a:pt x="15" y="100"/>
                    <a:pt x="15" y="100"/>
                  </a:cubicBezTo>
                  <a:cubicBezTo>
                    <a:pt x="19" y="100"/>
                    <a:pt x="19" y="100"/>
                    <a:pt x="19" y="100"/>
                  </a:cubicBezTo>
                  <a:cubicBezTo>
                    <a:pt x="19" y="94"/>
                    <a:pt x="19" y="94"/>
                    <a:pt x="19" y="94"/>
                  </a:cubicBezTo>
                  <a:moveTo>
                    <a:pt x="19" y="82"/>
                  </a:moveTo>
                  <a:cubicBezTo>
                    <a:pt x="15" y="82"/>
                    <a:pt x="15" y="82"/>
                    <a:pt x="15" y="82"/>
                  </a:cubicBezTo>
                  <a:cubicBezTo>
                    <a:pt x="15" y="88"/>
                    <a:pt x="15" y="88"/>
                    <a:pt x="15" y="88"/>
                  </a:cubicBezTo>
                  <a:cubicBezTo>
                    <a:pt x="19" y="88"/>
                    <a:pt x="19" y="88"/>
                    <a:pt x="19" y="88"/>
                  </a:cubicBezTo>
                  <a:cubicBezTo>
                    <a:pt x="19" y="82"/>
                    <a:pt x="19" y="82"/>
                    <a:pt x="19" y="82"/>
                  </a:cubicBezTo>
                  <a:moveTo>
                    <a:pt x="19" y="71"/>
                  </a:moveTo>
                  <a:cubicBezTo>
                    <a:pt x="15" y="71"/>
                    <a:pt x="15" y="71"/>
                    <a:pt x="15" y="71"/>
                  </a:cubicBezTo>
                  <a:cubicBezTo>
                    <a:pt x="15" y="77"/>
                    <a:pt x="15" y="77"/>
                    <a:pt x="15" y="77"/>
                  </a:cubicBezTo>
                  <a:cubicBezTo>
                    <a:pt x="19" y="77"/>
                    <a:pt x="19" y="77"/>
                    <a:pt x="19" y="77"/>
                  </a:cubicBezTo>
                  <a:cubicBezTo>
                    <a:pt x="19" y="71"/>
                    <a:pt x="19" y="71"/>
                    <a:pt x="19" y="71"/>
                  </a:cubicBezTo>
                  <a:moveTo>
                    <a:pt x="19" y="59"/>
                  </a:moveTo>
                  <a:cubicBezTo>
                    <a:pt x="15" y="59"/>
                    <a:pt x="15" y="59"/>
                    <a:pt x="15" y="59"/>
                  </a:cubicBezTo>
                  <a:cubicBezTo>
                    <a:pt x="15" y="65"/>
                    <a:pt x="15" y="65"/>
                    <a:pt x="15" y="65"/>
                  </a:cubicBezTo>
                  <a:cubicBezTo>
                    <a:pt x="19" y="65"/>
                    <a:pt x="19" y="65"/>
                    <a:pt x="19" y="65"/>
                  </a:cubicBezTo>
                  <a:cubicBezTo>
                    <a:pt x="19" y="59"/>
                    <a:pt x="19" y="59"/>
                    <a:pt x="19" y="59"/>
                  </a:cubicBezTo>
                  <a:moveTo>
                    <a:pt x="19" y="48"/>
                  </a:moveTo>
                  <a:cubicBezTo>
                    <a:pt x="15" y="48"/>
                    <a:pt x="15" y="48"/>
                    <a:pt x="15" y="48"/>
                  </a:cubicBezTo>
                  <a:cubicBezTo>
                    <a:pt x="15" y="53"/>
                    <a:pt x="15" y="53"/>
                    <a:pt x="15" y="53"/>
                  </a:cubicBezTo>
                  <a:cubicBezTo>
                    <a:pt x="19" y="53"/>
                    <a:pt x="19" y="53"/>
                    <a:pt x="19" y="53"/>
                  </a:cubicBezTo>
                  <a:cubicBezTo>
                    <a:pt x="19" y="48"/>
                    <a:pt x="19" y="48"/>
                    <a:pt x="19" y="48"/>
                  </a:cubicBezTo>
                  <a:moveTo>
                    <a:pt x="19" y="36"/>
                  </a:moveTo>
                  <a:cubicBezTo>
                    <a:pt x="15" y="36"/>
                    <a:pt x="15" y="36"/>
                    <a:pt x="15" y="36"/>
                  </a:cubicBezTo>
                  <a:cubicBezTo>
                    <a:pt x="15" y="42"/>
                    <a:pt x="15" y="42"/>
                    <a:pt x="15" y="42"/>
                  </a:cubicBezTo>
                  <a:cubicBezTo>
                    <a:pt x="19" y="42"/>
                    <a:pt x="19" y="42"/>
                    <a:pt x="19" y="42"/>
                  </a:cubicBezTo>
                  <a:cubicBezTo>
                    <a:pt x="19" y="36"/>
                    <a:pt x="19" y="36"/>
                    <a:pt x="19" y="36"/>
                  </a:cubicBezTo>
                  <a:moveTo>
                    <a:pt x="17" y="0"/>
                  </a:moveTo>
                  <a:cubicBezTo>
                    <a:pt x="0" y="29"/>
                    <a:pt x="0" y="29"/>
                    <a:pt x="0" y="29"/>
                  </a:cubicBezTo>
                  <a:cubicBezTo>
                    <a:pt x="15" y="29"/>
                    <a:pt x="15" y="29"/>
                    <a:pt x="15" y="29"/>
                  </a:cubicBezTo>
                  <a:cubicBezTo>
                    <a:pt x="15" y="30"/>
                    <a:pt x="15" y="30"/>
                    <a:pt x="15" y="30"/>
                  </a:cubicBezTo>
                  <a:cubicBezTo>
                    <a:pt x="19" y="30"/>
                    <a:pt x="19" y="30"/>
                    <a:pt x="19" y="30"/>
                  </a:cubicBezTo>
                  <a:cubicBezTo>
                    <a:pt x="19" y="29"/>
                    <a:pt x="19" y="29"/>
                    <a:pt x="19" y="29"/>
                  </a:cubicBezTo>
                  <a:cubicBezTo>
                    <a:pt x="34" y="29"/>
                    <a:pt x="34" y="29"/>
                    <a:pt x="34" y="29"/>
                  </a:cubicBezTo>
                  <a:cubicBezTo>
                    <a:pt x="17" y="0"/>
                    <a:pt x="17" y="0"/>
                    <a:pt x="1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4" name="Freeform 21303">
              <a:extLst>
                <a:ext uri="{FF2B5EF4-FFF2-40B4-BE49-F238E27FC236}">
                  <a16:creationId xmlns:a16="http://schemas.microsoft.com/office/drawing/2014/main" id="{278D236A-3EAA-4E82-AB2D-6FADC325A397}"/>
                </a:ext>
              </a:extLst>
            </p:cNvPr>
            <p:cNvSpPr>
              <a:spLocks noEditPoints="1"/>
            </p:cNvSpPr>
            <p:nvPr userDrawn="1"/>
          </p:nvSpPr>
          <p:spPr bwMode="auto">
            <a:xfrm>
              <a:off x="10486390" y="5490528"/>
              <a:ext cx="69850" cy="296863"/>
            </a:xfrm>
            <a:custGeom>
              <a:avLst/>
              <a:gdLst>
                <a:gd name="T0" fmla="*/ 25 w 44"/>
                <a:gd name="T1" fmla="*/ 180 h 187"/>
                <a:gd name="T2" fmla="*/ 19 w 44"/>
                <a:gd name="T3" fmla="*/ 180 h 187"/>
                <a:gd name="T4" fmla="*/ 19 w 44"/>
                <a:gd name="T5" fmla="*/ 182 h 187"/>
                <a:gd name="T6" fmla="*/ 23 w 44"/>
                <a:gd name="T7" fmla="*/ 187 h 187"/>
                <a:gd name="T8" fmla="*/ 25 w 44"/>
                <a:gd name="T9" fmla="*/ 187 h 187"/>
                <a:gd name="T10" fmla="*/ 25 w 44"/>
                <a:gd name="T11" fmla="*/ 180 h 187"/>
                <a:gd name="T12" fmla="*/ 21 w 44"/>
                <a:gd name="T13" fmla="*/ 164 h 187"/>
                <a:gd name="T14" fmla="*/ 19 w 44"/>
                <a:gd name="T15" fmla="*/ 164 h 187"/>
                <a:gd name="T16" fmla="*/ 19 w 44"/>
                <a:gd name="T17" fmla="*/ 172 h 187"/>
                <a:gd name="T18" fmla="*/ 25 w 44"/>
                <a:gd name="T19" fmla="*/ 172 h 187"/>
                <a:gd name="T20" fmla="*/ 25 w 44"/>
                <a:gd name="T21" fmla="*/ 169 h 187"/>
                <a:gd name="T22" fmla="*/ 21 w 44"/>
                <a:gd name="T23" fmla="*/ 169 h 187"/>
                <a:gd name="T24" fmla="*/ 21 w 44"/>
                <a:gd name="T25" fmla="*/ 164 h 187"/>
                <a:gd name="T26" fmla="*/ 25 w 44"/>
                <a:gd name="T27" fmla="*/ 150 h 187"/>
                <a:gd name="T28" fmla="*/ 19 w 44"/>
                <a:gd name="T29" fmla="*/ 150 h 187"/>
                <a:gd name="T30" fmla="*/ 19 w 44"/>
                <a:gd name="T31" fmla="*/ 158 h 187"/>
                <a:gd name="T32" fmla="*/ 25 w 44"/>
                <a:gd name="T33" fmla="*/ 158 h 187"/>
                <a:gd name="T34" fmla="*/ 25 w 44"/>
                <a:gd name="T35" fmla="*/ 150 h 187"/>
                <a:gd name="T36" fmla="*/ 25 w 44"/>
                <a:gd name="T37" fmla="*/ 135 h 187"/>
                <a:gd name="T38" fmla="*/ 19 w 44"/>
                <a:gd name="T39" fmla="*/ 135 h 187"/>
                <a:gd name="T40" fmla="*/ 19 w 44"/>
                <a:gd name="T41" fmla="*/ 143 h 187"/>
                <a:gd name="T42" fmla="*/ 25 w 44"/>
                <a:gd name="T43" fmla="*/ 143 h 187"/>
                <a:gd name="T44" fmla="*/ 25 w 44"/>
                <a:gd name="T45" fmla="*/ 135 h 187"/>
                <a:gd name="T46" fmla="*/ 25 w 44"/>
                <a:gd name="T47" fmla="*/ 121 h 187"/>
                <a:gd name="T48" fmla="*/ 19 w 44"/>
                <a:gd name="T49" fmla="*/ 121 h 187"/>
                <a:gd name="T50" fmla="*/ 19 w 44"/>
                <a:gd name="T51" fmla="*/ 127 h 187"/>
                <a:gd name="T52" fmla="*/ 25 w 44"/>
                <a:gd name="T53" fmla="*/ 127 h 187"/>
                <a:gd name="T54" fmla="*/ 25 w 44"/>
                <a:gd name="T55" fmla="*/ 121 h 187"/>
                <a:gd name="T56" fmla="*/ 25 w 44"/>
                <a:gd name="T57" fmla="*/ 106 h 187"/>
                <a:gd name="T58" fmla="*/ 19 w 44"/>
                <a:gd name="T59" fmla="*/ 106 h 187"/>
                <a:gd name="T60" fmla="*/ 19 w 44"/>
                <a:gd name="T61" fmla="*/ 114 h 187"/>
                <a:gd name="T62" fmla="*/ 25 w 44"/>
                <a:gd name="T63" fmla="*/ 114 h 187"/>
                <a:gd name="T64" fmla="*/ 25 w 44"/>
                <a:gd name="T65" fmla="*/ 106 h 187"/>
                <a:gd name="T66" fmla="*/ 25 w 44"/>
                <a:gd name="T67" fmla="*/ 91 h 187"/>
                <a:gd name="T68" fmla="*/ 19 w 44"/>
                <a:gd name="T69" fmla="*/ 91 h 187"/>
                <a:gd name="T70" fmla="*/ 19 w 44"/>
                <a:gd name="T71" fmla="*/ 98 h 187"/>
                <a:gd name="T72" fmla="*/ 25 w 44"/>
                <a:gd name="T73" fmla="*/ 98 h 187"/>
                <a:gd name="T74" fmla="*/ 25 w 44"/>
                <a:gd name="T75" fmla="*/ 91 h 187"/>
                <a:gd name="T76" fmla="*/ 25 w 44"/>
                <a:gd name="T77" fmla="*/ 77 h 187"/>
                <a:gd name="T78" fmla="*/ 19 w 44"/>
                <a:gd name="T79" fmla="*/ 77 h 187"/>
                <a:gd name="T80" fmla="*/ 19 w 44"/>
                <a:gd name="T81" fmla="*/ 84 h 187"/>
                <a:gd name="T82" fmla="*/ 25 w 44"/>
                <a:gd name="T83" fmla="*/ 84 h 187"/>
                <a:gd name="T84" fmla="*/ 25 w 44"/>
                <a:gd name="T85" fmla="*/ 77 h 187"/>
                <a:gd name="T86" fmla="*/ 25 w 44"/>
                <a:gd name="T87" fmla="*/ 61 h 187"/>
                <a:gd name="T88" fmla="*/ 19 w 44"/>
                <a:gd name="T89" fmla="*/ 61 h 187"/>
                <a:gd name="T90" fmla="*/ 19 w 44"/>
                <a:gd name="T91" fmla="*/ 69 h 187"/>
                <a:gd name="T92" fmla="*/ 25 w 44"/>
                <a:gd name="T93" fmla="*/ 69 h 187"/>
                <a:gd name="T94" fmla="*/ 25 w 44"/>
                <a:gd name="T95" fmla="*/ 61 h 187"/>
                <a:gd name="T96" fmla="*/ 25 w 44"/>
                <a:gd name="T97" fmla="*/ 47 h 187"/>
                <a:gd name="T98" fmla="*/ 19 w 44"/>
                <a:gd name="T99" fmla="*/ 47 h 187"/>
                <a:gd name="T100" fmla="*/ 19 w 44"/>
                <a:gd name="T101" fmla="*/ 54 h 187"/>
                <a:gd name="T102" fmla="*/ 25 w 44"/>
                <a:gd name="T103" fmla="*/ 54 h 187"/>
                <a:gd name="T104" fmla="*/ 25 w 44"/>
                <a:gd name="T105" fmla="*/ 47 h 187"/>
                <a:gd name="T106" fmla="*/ 21 w 44"/>
                <a:gd name="T107" fmla="*/ 0 h 187"/>
                <a:gd name="T108" fmla="*/ 0 w 44"/>
                <a:gd name="T109" fmla="*/ 39 h 187"/>
                <a:gd name="T110" fmla="*/ 19 w 44"/>
                <a:gd name="T111" fmla="*/ 39 h 187"/>
                <a:gd name="T112" fmla="*/ 19 w 44"/>
                <a:gd name="T113" fmla="*/ 40 h 187"/>
                <a:gd name="T114" fmla="*/ 25 w 44"/>
                <a:gd name="T115" fmla="*/ 40 h 187"/>
                <a:gd name="T116" fmla="*/ 25 w 44"/>
                <a:gd name="T117" fmla="*/ 39 h 187"/>
                <a:gd name="T118" fmla="*/ 44 w 44"/>
                <a:gd name="T119" fmla="*/ 39 h 187"/>
                <a:gd name="T120" fmla="*/ 21 w 44"/>
                <a:gd name="T1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7">
                  <a:moveTo>
                    <a:pt x="25" y="180"/>
                  </a:moveTo>
                  <a:lnTo>
                    <a:pt x="19" y="180"/>
                  </a:lnTo>
                  <a:lnTo>
                    <a:pt x="19" y="182"/>
                  </a:lnTo>
                  <a:lnTo>
                    <a:pt x="23" y="187"/>
                  </a:lnTo>
                  <a:lnTo>
                    <a:pt x="25" y="187"/>
                  </a:lnTo>
                  <a:lnTo>
                    <a:pt x="25" y="180"/>
                  </a:lnTo>
                  <a:close/>
                  <a:moveTo>
                    <a:pt x="21" y="164"/>
                  </a:moveTo>
                  <a:lnTo>
                    <a:pt x="19" y="164"/>
                  </a:lnTo>
                  <a:lnTo>
                    <a:pt x="19" y="172"/>
                  </a:lnTo>
                  <a:lnTo>
                    <a:pt x="25" y="172"/>
                  </a:lnTo>
                  <a:lnTo>
                    <a:pt x="25" y="169"/>
                  </a:lnTo>
                  <a:lnTo>
                    <a:pt x="21" y="169"/>
                  </a:lnTo>
                  <a:lnTo>
                    <a:pt x="21" y="164"/>
                  </a:lnTo>
                  <a:close/>
                  <a:moveTo>
                    <a:pt x="25" y="150"/>
                  </a:moveTo>
                  <a:lnTo>
                    <a:pt x="19" y="150"/>
                  </a:lnTo>
                  <a:lnTo>
                    <a:pt x="19" y="158"/>
                  </a:lnTo>
                  <a:lnTo>
                    <a:pt x="25" y="158"/>
                  </a:lnTo>
                  <a:lnTo>
                    <a:pt x="25" y="150"/>
                  </a:lnTo>
                  <a:close/>
                  <a:moveTo>
                    <a:pt x="25" y="135"/>
                  </a:moveTo>
                  <a:lnTo>
                    <a:pt x="19" y="135"/>
                  </a:lnTo>
                  <a:lnTo>
                    <a:pt x="19" y="143"/>
                  </a:lnTo>
                  <a:lnTo>
                    <a:pt x="25" y="143"/>
                  </a:lnTo>
                  <a:lnTo>
                    <a:pt x="25" y="135"/>
                  </a:lnTo>
                  <a:close/>
                  <a:moveTo>
                    <a:pt x="25" y="121"/>
                  </a:moveTo>
                  <a:lnTo>
                    <a:pt x="19" y="121"/>
                  </a:lnTo>
                  <a:lnTo>
                    <a:pt x="19" y="127"/>
                  </a:lnTo>
                  <a:lnTo>
                    <a:pt x="25" y="127"/>
                  </a:lnTo>
                  <a:lnTo>
                    <a:pt x="25" y="121"/>
                  </a:lnTo>
                  <a:close/>
                  <a:moveTo>
                    <a:pt x="25" y="106"/>
                  </a:moveTo>
                  <a:lnTo>
                    <a:pt x="19" y="106"/>
                  </a:lnTo>
                  <a:lnTo>
                    <a:pt x="19" y="114"/>
                  </a:lnTo>
                  <a:lnTo>
                    <a:pt x="25" y="114"/>
                  </a:lnTo>
                  <a:lnTo>
                    <a:pt x="25" y="106"/>
                  </a:lnTo>
                  <a:close/>
                  <a:moveTo>
                    <a:pt x="25" y="91"/>
                  </a:moveTo>
                  <a:lnTo>
                    <a:pt x="19" y="91"/>
                  </a:lnTo>
                  <a:lnTo>
                    <a:pt x="19" y="98"/>
                  </a:lnTo>
                  <a:lnTo>
                    <a:pt x="25" y="98"/>
                  </a:lnTo>
                  <a:lnTo>
                    <a:pt x="25" y="91"/>
                  </a:lnTo>
                  <a:close/>
                  <a:moveTo>
                    <a:pt x="25" y="77"/>
                  </a:moveTo>
                  <a:lnTo>
                    <a:pt x="19" y="77"/>
                  </a:lnTo>
                  <a:lnTo>
                    <a:pt x="19" y="84"/>
                  </a:lnTo>
                  <a:lnTo>
                    <a:pt x="25" y="84"/>
                  </a:lnTo>
                  <a:lnTo>
                    <a:pt x="25" y="77"/>
                  </a:lnTo>
                  <a:close/>
                  <a:moveTo>
                    <a:pt x="25" y="61"/>
                  </a:moveTo>
                  <a:lnTo>
                    <a:pt x="19" y="61"/>
                  </a:lnTo>
                  <a:lnTo>
                    <a:pt x="19" y="69"/>
                  </a:lnTo>
                  <a:lnTo>
                    <a:pt x="25" y="69"/>
                  </a:lnTo>
                  <a:lnTo>
                    <a:pt x="25" y="61"/>
                  </a:lnTo>
                  <a:close/>
                  <a:moveTo>
                    <a:pt x="25" y="47"/>
                  </a:moveTo>
                  <a:lnTo>
                    <a:pt x="19" y="47"/>
                  </a:lnTo>
                  <a:lnTo>
                    <a:pt x="19" y="54"/>
                  </a:lnTo>
                  <a:lnTo>
                    <a:pt x="25" y="54"/>
                  </a:lnTo>
                  <a:lnTo>
                    <a:pt x="25" y="47"/>
                  </a:lnTo>
                  <a:close/>
                  <a:moveTo>
                    <a:pt x="21" y="0"/>
                  </a:moveTo>
                  <a:lnTo>
                    <a:pt x="0" y="39"/>
                  </a:lnTo>
                  <a:lnTo>
                    <a:pt x="19" y="39"/>
                  </a:lnTo>
                  <a:lnTo>
                    <a:pt x="19" y="40"/>
                  </a:lnTo>
                  <a:lnTo>
                    <a:pt x="25" y="40"/>
                  </a:lnTo>
                  <a:lnTo>
                    <a:pt x="25" y="39"/>
                  </a:lnTo>
                  <a:lnTo>
                    <a:pt x="44" y="39"/>
                  </a:lnTo>
                  <a:lnTo>
                    <a:pt x="21"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5" name="Freeform 21304">
              <a:extLst>
                <a:ext uri="{FF2B5EF4-FFF2-40B4-BE49-F238E27FC236}">
                  <a16:creationId xmlns:a16="http://schemas.microsoft.com/office/drawing/2014/main" id="{B33A2993-7022-41EC-B43F-28869D4A0076}"/>
                </a:ext>
              </a:extLst>
            </p:cNvPr>
            <p:cNvSpPr>
              <a:spLocks noEditPoints="1"/>
            </p:cNvSpPr>
            <p:nvPr userDrawn="1"/>
          </p:nvSpPr>
          <p:spPr bwMode="auto">
            <a:xfrm>
              <a:off x="10486390" y="5490528"/>
              <a:ext cx="69850" cy="296863"/>
            </a:xfrm>
            <a:custGeom>
              <a:avLst/>
              <a:gdLst>
                <a:gd name="T0" fmla="*/ 25 w 44"/>
                <a:gd name="T1" fmla="*/ 180 h 187"/>
                <a:gd name="T2" fmla="*/ 19 w 44"/>
                <a:gd name="T3" fmla="*/ 180 h 187"/>
                <a:gd name="T4" fmla="*/ 19 w 44"/>
                <a:gd name="T5" fmla="*/ 182 h 187"/>
                <a:gd name="T6" fmla="*/ 23 w 44"/>
                <a:gd name="T7" fmla="*/ 187 h 187"/>
                <a:gd name="T8" fmla="*/ 25 w 44"/>
                <a:gd name="T9" fmla="*/ 187 h 187"/>
                <a:gd name="T10" fmla="*/ 25 w 44"/>
                <a:gd name="T11" fmla="*/ 180 h 187"/>
                <a:gd name="T12" fmla="*/ 21 w 44"/>
                <a:gd name="T13" fmla="*/ 164 h 187"/>
                <a:gd name="T14" fmla="*/ 19 w 44"/>
                <a:gd name="T15" fmla="*/ 164 h 187"/>
                <a:gd name="T16" fmla="*/ 19 w 44"/>
                <a:gd name="T17" fmla="*/ 172 h 187"/>
                <a:gd name="T18" fmla="*/ 25 w 44"/>
                <a:gd name="T19" fmla="*/ 172 h 187"/>
                <a:gd name="T20" fmla="*/ 25 w 44"/>
                <a:gd name="T21" fmla="*/ 169 h 187"/>
                <a:gd name="T22" fmla="*/ 21 w 44"/>
                <a:gd name="T23" fmla="*/ 169 h 187"/>
                <a:gd name="T24" fmla="*/ 21 w 44"/>
                <a:gd name="T25" fmla="*/ 164 h 187"/>
                <a:gd name="T26" fmla="*/ 25 w 44"/>
                <a:gd name="T27" fmla="*/ 150 h 187"/>
                <a:gd name="T28" fmla="*/ 19 w 44"/>
                <a:gd name="T29" fmla="*/ 150 h 187"/>
                <a:gd name="T30" fmla="*/ 19 w 44"/>
                <a:gd name="T31" fmla="*/ 158 h 187"/>
                <a:gd name="T32" fmla="*/ 25 w 44"/>
                <a:gd name="T33" fmla="*/ 158 h 187"/>
                <a:gd name="T34" fmla="*/ 25 w 44"/>
                <a:gd name="T35" fmla="*/ 150 h 187"/>
                <a:gd name="T36" fmla="*/ 25 w 44"/>
                <a:gd name="T37" fmla="*/ 135 h 187"/>
                <a:gd name="T38" fmla="*/ 19 w 44"/>
                <a:gd name="T39" fmla="*/ 135 h 187"/>
                <a:gd name="T40" fmla="*/ 19 w 44"/>
                <a:gd name="T41" fmla="*/ 143 h 187"/>
                <a:gd name="T42" fmla="*/ 25 w 44"/>
                <a:gd name="T43" fmla="*/ 143 h 187"/>
                <a:gd name="T44" fmla="*/ 25 w 44"/>
                <a:gd name="T45" fmla="*/ 135 h 187"/>
                <a:gd name="T46" fmla="*/ 25 w 44"/>
                <a:gd name="T47" fmla="*/ 121 h 187"/>
                <a:gd name="T48" fmla="*/ 19 w 44"/>
                <a:gd name="T49" fmla="*/ 121 h 187"/>
                <a:gd name="T50" fmla="*/ 19 w 44"/>
                <a:gd name="T51" fmla="*/ 127 h 187"/>
                <a:gd name="T52" fmla="*/ 25 w 44"/>
                <a:gd name="T53" fmla="*/ 127 h 187"/>
                <a:gd name="T54" fmla="*/ 25 w 44"/>
                <a:gd name="T55" fmla="*/ 121 h 187"/>
                <a:gd name="T56" fmla="*/ 25 w 44"/>
                <a:gd name="T57" fmla="*/ 106 h 187"/>
                <a:gd name="T58" fmla="*/ 19 w 44"/>
                <a:gd name="T59" fmla="*/ 106 h 187"/>
                <a:gd name="T60" fmla="*/ 19 w 44"/>
                <a:gd name="T61" fmla="*/ 114 h 187"/>
                <a:gd name="T62" fmla="*/ 25 w 44"/>
                <a:gd name="T63" fmla="*/ 114 h 187"/>
                <a:gd name="T64" fmla="*/ 25 w 44"/>
                <a:gd name="T65" fmla="*/ 106 h 187"/>
                <a:gd name="T66" fmla="*/ 25 w 44"/>
                <a:gd name="T67" fmla="*/ 91 h 187"/>
                <a:gd name="T68" fmla="*/ 19 w 44"/>
                <a:gd name="T69" fmla="*/ 91 h 187"/>
                <a:gd name="T70" fmla="*/ 19 w 44"/>
                <a:gd name="T71" fmla="*/ 98 h 187"/>
                <a:gd name="T72" fmla="*/ 25 w 44"/>
                <a:gd name="T73" fmla="*/ 98 h 187"/>
                <a:gd name="T74" fmla="*/ 25 w 44"/>
                <a:gd name="T75" fmla="*/ 91 h 187"/>
                <a:gd name="T76" fmla="*/ 25 w 44"/>
                <a:gd name="T77" fmla="*/ 77 h 187"/>
                <a:gd name="T78" fmla="*/ 19 w 44"/>
                <a:gd name="T79" fmla="*/ 77 h 187"/>
                <a:gd name="T80" fmla="*/ 19 w 44"/>
                <a:gd name="T81" fmla="*/ 84 h 187"/>
                <a:gd name="T82" fmla="*/ 25 w 44"/>
                <a:gd name="T83" fmla="*/ 84 h 187"/>
                <a:gd name="T84" fmla="*/ 25 w 44"/>
                <a:gd name="T85" fmla="*/ 77 h 187"/>
                <a:gd name="T86" fmla="*/ 25 w 44"/>
                <a:gd name="T87" fmla="*/ 61 h 187"/>
                <a:gd name="T88" fmla="*/ 19 w 44"/>
                <a:gd name="T89" fmla="*/ 61 h 187"/>
                <a:gd name="T90" fmla="*/ 19 w 44"/>
                <a:gd name="T91" fmla="*/ 69 h 187"/>
                <a:gd name="T92" fmla="*/ 25 w 44"/>
                <a:gd name="T93" fmla="*/ 69 h 187"/>
                <a:gd name="T94" fmla="*/ 25 w 44"/>
                <a:gd name="T95" fmla="*/ 61 h 187"/>
                <a:gd name="T96" fmla="*/ 25 w 44"/>
                <a:gd name="T97" fmla="*/ 47 h 187"/>
                <a:gd name="T98" fmla="*/ 19 w 44"/>
                <a:gd name="T99" fmla="*/ 47 h 187"/>
                <a:gd name="T100" fmla="*/ 19 w 44"/>
                <a:gd name="T101" fmla="*/ 54 h 187"/>
                <a:gd name="T102" fmla="*/ 25 w 44"/>
                <a:gd name="T103" fmla="*/ 54 h 187"/>
                <a:gd name="T104" fmla="*/ 25 w 44"/>
                <a:gd name="T105" fmla="*/ 47 h 187"/>
                <a:gd name="T106" fmla="*/ 21 w 44"/>
                <a:gd name="T107" fmla="*/ 0 h 187"/>
                <a:gd name="T108" fmla="*/ 0 w 44"/>
                <a:gd name="T109" fmla="*/ 39 h 187"/>
                <a:gd name="T110" fmla="*/ 19 w 44"/>
                <a:gd name="T111" fmla="*/ 39 h 187"/>
                <a:gd name="T112" fmla="*/ 19 w 44"/>
                <a:gd name="T113" fmla="*/ 40 h 187"/>
                <a:gd name="T114" fmla="*/ 25 w 44"/>
                <a:gd name="T115" fmla="*/ 40 h 187"/>
                <a:gd name="T116" fmla="*/ 25 w 44"/>
                <a:gd name="T117" fmla="*/ 39 h 187"/>
                <a:gd name="T118" fmla="*/ 44 w 44"/>
                <a:gd name="T119" fmla="*/ 39 h 187"/>
                <a:gd name="T120" fmla="*/ 21 w 44"/>
                <a:gd name="T1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7">
                  <a:moveTo>
                    <a:pt x="25" y="180"/>
                  </a:moveTo>
                  <a:lnTo>
                    <a:pt x="19" y="180"/>
                  </a:lnTo>
                  <a:lnTo>
                    <a:pt x="19" y="182"/>
                  </a:lnTo>
                  <a:lnTo>
                    <a:pt x="23" y="187"/>
                  </a:lnTo>
                  <a:lnTo>
                    <a:pt x="25" y="187"/>
                  </a:lnTo>
                  <a:lnTo>
                    <a:pt x="25" y="180"/>
                  </a:lnTo>
                  <a:moveTo>
                    <a:pt x="21" y="164"/>
                  </a:moveTo>
                  <a:lnTo>
                    <a:pt x="19" y="164"/>
                  </a:lnTo>
                  <a:lnTo>
                    <a:pt x="19" y="172"/>
                  </a:lnTo>
                  <a:lnTo>
                    <a:pt x="25" y="172"/>
                  </a:lnTo>
                  <a:lnTo>
                    <a:pt x="25" y="169"/>
                  </a:lnTo>
                  <a:lnTo>
                    <a:pt x="21" y="169"/>
                  </a:lnTo>
                  <a:lnTo>
                    <a:pt x="21" y="164"/>
                  </a:lnTo>
                  <a:moveTo>
                    <a:pt x="25" y="150"/>
                  </a:moveTo>
                  <a:lnTo>
                    <a:pt x="19" y="150"/>
                  </a:lnTo>
                  <a:lnTo>
                    <a:pt x="19" y="158"/>
                  </a:lnTo>
                  <a:lnTo>
                    <a:pt x="25" y="158"/>
                  </a:lnTo>
                  <a:lnTo>
                    <a:pt x="25" y="150"/>
                  </a:lnTo>
                  <a:moveTo>
                    <a:pt x="25" y="135"/>
                  </a:moveTo>
                  <a:lnTo>
                    <a:pt x="19" y="135"/>
                  </a:lnTo>
                  <a:lnTo>
                    <a:pt x="19" y="143"/>
                  </a:lnTo>
                  <a:lnTo>
                    <a:pt x="25" y="143"/>
                  </a:lnTo>
                  <a:lnTo>
                    <a:pt x="25" y="135"/>
                  </a:lnTo>
                  <a:moveTo>
                    <a:pt x="25" y="121"/>
                  </a:moveTo>
                  <a:lnTo>
                    <a:pt x="19" y="121"/>
                  </a:lnTo>
                  <a:lnTo>
                    <a:pt x="19" y="127"/>
                  </a:lnTo>
                  <a:lnTo>
                    <a:pt x="25" y="127"/>
                  </a:lnTo>
                  <a:lnTo>
                    <a:pt x="25" y="121"/>
                  </a:lnTo>
                  <a:moveTo>
                    <a:pt x="25" y="106"/>
                  </a:moveTo>
                  <a:lnTo>
                    <a:pt x="19" y="106"/>
                  </a:lnTo>
                  <a:lnTo>
                    <a:pt x="19" y="114"/>
                  </a:lnTo>
                  <a:lnTo>
                    <a:pt x="25" y="114"/>
                  </a:lnTo>
                  <a:lnTo>
                    <a:pt x="25" y="106"/>
                  </a:lnTo>
                  <a:moveTo>
                    <a:pt x="25" y="91"/>
                  </a:moveTo>
                  <a:lnTo>
                    <a:pt x="19" y="91"/>
                  </a:lnTo>
                  <a:lnTo>
                    <a:pt x="19" y="98"/>
                  </a:lnTo>
                  <a:lnTo>
                    <a:pt x="25" y="98"/>
                  </a:lnTo>
                  <a:lnTo>
                    <a:pt x="25" y="91"/>
                  </a:lnTo>
                  <a:moveTo>
                    <a:pt x="25" y="77"/>
                  </a:moveTo>
                  <a:lnTo>
                    <a:pt x="19" y="77"/>
                  </a:lnTo>
                  <a:lnTo>
                    <a:pt x="19" y="84"/>
                  </a:lnTo>
                  <a:lnTo>
                    <a:pt x="25" y="84"/>
                  </a:lnTo>
                  <a:lnTo>
                    <a:pt x="25" y="77"/>
                  </a:lnTo>
                  <a:moveTo>
                    <a:pt x="25" y="61"/>
                  </a:moveTo>
                  <a:lnTo>
                    <a:pt x="19" y="61"/>
                  </a:lnTo>
                  <a:lnTo>
                    <a:pt x="19" y="69"/>
                  </a:lnTo>
                  <a:lnTo>
                    <a:pt x="25" y="69"/>
                  </a:lnTo>
                  <a:lnTo>
                    <a:pt x="25" y="61"/>
                  </a:lnTo>
                  <a:moveTo>
                    <a:pt x="25" y="47"/>
                  </a:moveTo>
                  <a:lnTo>
                    <a:pt x="19" y="47"/>
                  </a:lnTo>
                  <a:lnTo>
                    <a:pt x="19" y="54"/>
                  </a:lnTo>
                  <a:lnTo>
                    <a:pt x="25" y="54"/>
                  </a:lnTo>
                  <a:lnTo>
                    <a:pt x="25" y="47"/>
                  </a:lnTo>
                  <a:moveTo>
                    <a:pt x="21" y="0"/>
                  </a:moveTo>
                  <a:lnTo>
                    <a:pt x="0" y="39"/>
                  </a:lnTo>
                  <a:lnTo>
                    <a:pt x="19" y="39"/>
                  </a:lnTo>
                  <a:lnTo>
                    <a:pt x="19" y="40"/>
                  </a:lnTo>
                  <a:lnTo>
                    <a:pt x="25" y="40"/>
                  </a:lnTo>
                  <a:lnTo>
                    <a:pt x="25" y="39"/>
                  </a:lnTo>
                  <a:lnTo>
                    <a:pt x="44" y="39"/>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6" name="Freeform 21305">
              <a:extLst>
                <a:ext uri="{FF2B5EF4-FFF2-40B4-BE49-F238E27FC236}">
                  <a16:creationId xmlns:a16="http://schemas.microsoft.com/office/drawing/2014/main" id="{38A13059-12C6-4BA9-BEB2-A77013802AED}"/>
                </a:ext>
              </a:extLst>
            </p:cNvPr>
            <p:cNvSpPr>
              <a:spLocks noEditPoints="1"/>
            </p:cNvSpPr>
            <p:nvPr userDrawn="1"/>
          </p:nvSpPr>
          <p:spPr bwMode="auto">
            <a:xfrm>
              <a:off x="7058978" y="2961640"/>
              <a:ext cx="244475" cy="241300"/>
            </a:xfrm>
            <a:custGeom>
              <a:avLst/>
              <a:gdLst>
                <a:gd name="T0" fmla="*/ 52 w 121"/>
                <a:gd name="T1" fmla="*/ 112 h 120"/>
                <a:gd name="T2" fmla="*/ 7 w 121"/>
                <a:gd name="T3" fmla="*/ 60 h 120"/>
                <a:gd name="T4" fmla="*/ 60 w 121"/>
                <a:gd name="T5" fmla="*/ 7 h 120"/>
                <a:gd name="T6" fmla="*/ 114 w 121"/>
                <a:gd name="T7" fmla="*/ 60 h 120"/>
                <a:gd name="T8" fmla="*/ 68 w 121"/>
                <a:gd name="T9" fmla="*/ 113 h 120"/>
                <a:gd name="T10" fmla="*/ 68 w 121"/>
                <a:gd name="T11" fmla="*/ 62 h 120"/>
                <a:gd name="T12" fmla="*/ 68 w 121"/>
                <a:gd name="T13" fmla="*/ 43 h 120"/>
                <a:gd name="T14" fmla="*/ 76 w 121"/>
                <a:gd name="T15" fmla="*/ 51 h 120"/>
                <a:gd name="T16" fmla="*/ 76 w 121"/>
                <a:gd name="T17" fmla="*/ 51 h 120"/>
                <a:gd name="T18" fmla="*/ 78 w 121"/>
                <a:gd name="T19" fmla="*/ 53 h 120"/>
                <a:gd name="T20" fmla="*/ 84 w 121"/>
                <a:gd name="T21" fmla="*/ 56 h 120"/>
                <a:gd name="T22" fmla="*/ 89 w 121"/>
                <a:gd name="T23" fmla="*/ 54 h 120"/>
                <a:gd name="T24" fmla="*/ 89 w 121"/>
                <a:gd name="T25" fmla="*/ 42 h 120"/>
                <a:gd name="T26" fmla="*/ 79 w 121"/>
                <a:gd name="T27" fmla="*/ 32 h 120"/>
                <a:gd name="T28" fmla="*/ 60 w 121"/>
                <a:gd name="T29" fmla="*/ 12 h 120"/>
                <a:gd name="T30" fmla="*/ 31 w 121"/>
                <a:gd name="T31" fmla="*/ 42 h 120"/>
                <a:gd name="T32" fmla="*/ 31 w 121"/>
                <a:gd name="T33" fmla="*/ 54 h 120"/>
                <a:gd name="T34" fmla="*/ 36 w 121"/>
                <a:gd name="T35" fmla="*/ 56 h 120"/>
                <a:gd name="T36" fmla="*/ 42 w 121"/>
                <a:gd name="T37" fmla="*/ 53 h 120"/>
                <a:gd name="T38" fmla="*/ 52 w 121"/>
                <a:gd name="T39" fmla="*/ 43 h 120"/>
                <a:gd name="T40" fmla="*/ 52 w 121"/>
                <a:gd name="T41" fmla="*/ 71 h 120"/>
                <a:gd name="T42" fmla="*/ 52 w 121"/>
                <a:gd name="T43" fmla="*/ 112 h 120"/>
                <a:gd name="T44" fmla="*/ 60 w 121"/>
                <a:gd name="T45" fmla="*/ 0 h 120"/>
                <a:gd name="T46" fmla="*/ 0 w 121"/>
                <a:gd name="T47" fmla="*/ 60 h 120"/>
                <a:gd name="T48" fmla="*/ 60 w 121"/>
                <a:gd name="T49" fmla="*/ 120 h 120"/>
                <a:gd name="T50" fmla="*/ 121 w 121"/>
                <a:gd name="T51" fmla="*/ 60 h 120"/>
                <a:gd name="T52" fmla="*/ 60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2"/>
                  </a:moveTo>
                  <a:cubicBezTo>
                    <a:pt x="27" y="108"/>
                    <a:pt x="7" y="86"/>
                    <a:pt x="7" y="60"/>
                  </a:cubicBezTo>
                  <a:cubicBezTo>
                    <a:pt x="7" y="31"/>
                    <a:pt x="31" y="7"/>
                    <a:pt x="60" y="7"/>
                  </a:cubicBez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3"/>
                    <a:pt x="78" y="53"/>
                    <a:pt x="78" y="53"/>
                  </a:cubicBezTo>
                  <a:cubicBezTo>
                    <a:pt x="79" y="55"/>
                    <a:pt x="81" y="56"/>
                    <a:pt x="84" y="56"/>
                  </a:cubicBezTo>
                  <a:cubicBezTo>
                    <a:pt x="86" y="56"/>
                    <a:pt x="87" y="55"/>
                    <a:pt x="89" y="54"/>
                  </a:cubicBezTo>
                  <a:cubicBezTo>
                    <a:pt x="92" y="51"/>
                    <a:pt x="92" y="45"/>
                    <a:pt x="89" y="42"/>
                  </a:cubicBezTo>
                  <a:cubicBezTo>
                    <a:pt x="79" y="32"/>
                    <a:pt x="79" y="32"/>
                    <a:pt x="79" y="32"/>
                  </a:cubicBezTo>
                  <a:cubicBezTo>
                    <a:pt x="60" y="12"/>
                    <a:pt x="60" y="12"/>
                    <a:pt x="60" y="12"/>
                  </a:cubicBezTo>
                  <a:cubicBezTo>
                    <a:pt x="31" y="42"/>
                    <a:pt x="31" y="42"/>
                    <a:pt x="31" y="42"/>
                  </a:cubicBezTo>
                  <a:cubicBezTo>
                    <a:pt x="28" y="45"/>
                    <a:pt x="28" y="51"/>
                    <a:pt x="31" y="54"/>
                  </a:cubicBezTo>
                  <a:cubicBezTo>
                    <a:pt x="32" y="55"/>
                    <a:pt x="34" y="56"/>
                    <a:pt x="36" y="56"/>
                  </a:cubicBezTo>
                  <a:cubicBezTo>
                    <a:pt x="39" y="56"/>
                    <a:pt x="41" y="55"/>
                    <a:pt x="42" y="53"/>
                  </a:cubicBezTo>
                  <a:cubicBezTo>
                    <a:pt x="52" y="43"/>
                    <a:pt x="52" y="43"/>
                    <a:pt x="52" y="43"/>
                  </a:cubicBezTo>
                  <a:cubicBezTo>
                    <a:pt x="52" y="71"/>
                    <a:pt x="52" y="71"/>
                    <a:pt x="52" y="71"/>
                  </a:cubicBezTo>
                  <a:cubicBezTo>
                    <a:pt x="52" y="112"/>
                    <a:pt x="52" y="112"/>
                    <a:pt x="52" y="112"/>
                  </a:cubicBezTo>
                  <a:moveTo>
                    <a:pt x="60" y="0"/>
                  </a:moveTo>
                  <a:cubicBezTo>
                    <a:pt x="27" y="0"/>
                    <a:pt x="0" y="27"/>
                    <a:pt x="0" y="60"/>
                  </a:cubicBezTo>
                  <a:cubicBezTo>
                    <a:pt x="0" y="93"/>
                    <a:pt x="27" y="120"/>
                    <a:pt x="60" y="120"/>
                  </a:cubicBezTo>
                  <a:cubicBezTo>
                    <a:pt x="94" y="120"/>
                    <a:pt x="121" y="93"/>
                    <a:pt x="121" y="60"/>
                  </a:cubicBezTo>
                  <a:cubicBezTo>
                    <a:pt x="121" y="27"/>
                    <a:pt x="94" y="0"/>
                    <a:pt x="6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7" name="Freeform 21306">
              <a:extLst>
                <a:ext uri="{FF2B5EF4-FFF2-40B4-BE49-F238E27FC236}">
                  <a16:creationId xmlns:a16="http://schemas.microsoft.com/office/drawing/2014/main" id="{9FE907D4-6CDA-4F48-A4D8-6B9F95165CA1}"/>
                </a:ext>
              </a:extLst>
            </p:cNvPr>
            <p:cNvSpPr>
              <a:spLocks noEditPoints="1"/>
            </p:cNvSpPr>
            <p:nvPr userDrawn="1"/>
          </p:nvSpPr>
          <p:spPr bwMode="auto">
            <a:xfrm>
              <a:off x="7009765" y="4465003"/>
              <a:ext cx="180975" cy="179388"/>
            </a:xfrm>
            <a:custGeom>
              <a:avLst/>
              <a:gdLst>
                <a:gd name="T0" fmla="*/ 39 w 89"/>
                <a:gd name="T1" fmla="*/ 83 h 89"/>
                <a:gd name="T2" fmla="*/ 5 w 89"/>
                <a:gd name="T3" fmla="*/ 44 h 89"/>
                <a:gd name="T4" fmla="*/ 45 w 89"/>
                <a:gd name="T5" fmla="*/ 5 h 89"/>
                <a:gd name="T6" fmla="*/ 84 w 89"/>
                <a:gd name="T7" fmla="*/ 44 h 89"/>
                <a:gd name="T8" fmla="*/ 51 w 89"/>
                <a:gd name="T9" fmla="*/ 83 h 89"/>
                <a:gd name="T10" fmla="*/ 51 w 89"/>
                <a:gd name="T11" fmla="*/ 53 h 89"/>
                <a:gd name="T12" fmla="*/ 51 w 89"/>
                <a:gd name="T13" fmla="*/ 32 h 89"/>
                <a:gd name="T14" fmla="*/ 58 w 89"/>
                <a:gd name="T15" fmla="*/ 39 h 89"/>
                <a:gd name="T16" fmla="*/ 63 w 89"/>
                <a:gd name="T17" fmla="*/ 41 h 89"/>
                <a:gd name="T18" fmla="*/ 67 w 89"/>
                <a:gd name="T19" fmla="*/ 40 h 89"/>
                <a:gd name="T20" fmla="*/ 67 w 89"/>
                <a:gd name="T21" fmla="*/ 31 h 89"/>
                <a:gd name="T22" fmla="*/ 45 w 89"/>
                <a:gd name="T23" fmla="*/ 9 h 89"/>
                <a:gd name="T24" fmla="*/ 31 w 89"/>
                <a:gd name="T25" fmla="*/ 24 h 89"/>
                <a:gd name="T26" fmla="*/ 23 w 89"/>
                <a:gd name="T27" fmla="*/ 31 h 89"/>
                <a:gd name="T28" fmla="*/ 24 w 89"/>
                <a:gd name="T29" fmla="*/ 40 h 89"/>
                <a:gd name="T30" fmla="*/ 28 w 89"/>
                <a:gd name="T31" fmla="*/ 41 h 89"/>
                <a:gd name="T32" fmla="*/ 32 w 89"/>
                <a:gd name="T33" fmla="*/ 39 h 89"/>
                <a:gd name="T34" fmla="*/ 33 w 89"/>
                <a:gd name="T35" fmla="*/ 38 h 89"/>
                <a:gd name="T36" fmla="*/ 39 w 89"/>
                <a:gd name="T37" fmla="*/ 32 h 89"/>
                <a:gd name="T38" fmla="*/ 39 w 89"/>
                <a:gd name="T39" fmla="*/ 46 h 89"/>
                <a:gd name="T40" fmla="*/ 39 w 89"/>
                <a:gd name="T41" fmla="*/ 83 h 89"/>
                <a:gd name="T42" fmla="*/ 45 w 89"/>
                <a:gd name="T43" fmla="*/ 0 h 89"/>
                <a:gd name="T44" fmla="*/ 0 w 89"/>
                <a:gd name="T45" fmla="*/ 44 h 89"/>
                <a:gd name="T46" fmla="*/ 45 w 89"/>
                <a:gd name="T47" fmla="*/ 89 h 89"/>
                <a:gd name="T48" fmla="*/ 89 w 89"/>
                <a:gd name="T49" fmla="*/ 44 h 89"/>
                <a:gd name="T50" fmla="*/ 45 w 89"/>
                <a:gd name="T5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 h="89">
                  <a:moveTo>
                    <a:pt x="39" y="83"/>
                  </a:moveTo>
                  <a:cubicBezTo>
                    <a:pt x="20" y="81"/>
                    <a:pt x="5" y="64"/>
                    <a:pt x="5" y="44"/>
                  </a:cubicBezTo>
                  <a:cubicBezTo>
                    <a:pt x="5" y="23"/>
                    <a:pt x="23" y="5"/>
                    <a:pt x="45" y="5"/>
                  </a:cubicBezTo>
                  <a:cubicBezTo>
                    <a:pt x="67" y="5"/>
                    <a:pt x="84" y="23"/>
                    <a:pt x="84" y="44"/>
                  </a:cubicBezTo>
                  <a:cubicBezTo>
                    <a:pt x="84" y="64"/>
                    <a:pt x="70" y="80"/>
                    <a:pt x="51" y="83"/>
                  </a:cubicBezTo>
                  <a:cubicBezTo>
                    <a:pt x="51" y="53"/>
                    <a:pt x="51" y="53"/>
                    <a:pt x="51" y="53"/>
                  </a:cubicBezTo>
                  <a:cubicBezTo>
                    <a:pt x="51" y="32"/>
                    <a:pt x="51" y="32"/>
                    <a:pt x="51" y="32"/>
                  </a:cubicBezTo>
                  <a:cubicBezTo>
                    <a:pt x="58" y="39"/>
                    <a:pt x="58" y="39"/>
                    <a:pt x="58" y="39"/>
                  </a:cubicBezTo>
                  <a:cubicBezTo>
                    <a:pt x="59" y="41"/>
                    <a:pt x="61" y="41"/>
                    <a:pt x="63" y="41"/>
                  </a:cubicBezTo>
                  <a:cubicBezTo>
                    <a:pt x="64" y="41"/>
                    <a:pt x="65" y="41"/>
                    <a:pt x="67" y="40"/>
                  </a:cubicBezTo>
                  <a:cubicBezTo>
                    <a:pt x="69" y="37"/>
                    <a:pt x="69" y="34"/>
                    <a:pt x="67" y="31"/>
                  </a:cubicBezTo>
                  <a:cubicBezTo>
                    <a:pt x="45" y="9"/>
                    <a:pt x="45" y="9"/>
                    <a:pt x="45" y="9"/>
                  </a:cubicBezTo>
                  <a:cubicBezTo>
                    <a:pt x="31" y="24"/>
                    <a:pt x="31" y="24"/>
                    <a:pt x="31" y="24"/>
                  </a:cubicBezTo>
                  <a:cubicBezTo>
                    <a:pt x="23" y="31"/>
                    <a:pt x="23" y="31"/>
                    <a:pt x="23" y="31"/>
                  </a:cubicBezTo>
                  <a:cubicBezTo>
                    <a:pt x="21" y="34"/>
                    <a:pt x="21" y="37"/>
                    <a:pt x="24" y="40"/>
                  </a:cubicBezTo>
                  <a:cubicBezTo>
                    <a:pt x="25" y="41"/>
                    <a:pt x="26" y="41"/>
                    <a:pt x="28" y="41"/>
                  </a:cubicBezTo>
                  <a:cubicBezTo>
                    <a:pt x="29" y="41"/>
                    <a:pt x="31" y="41"/>
                    <a:pt x="32" y="39"/>
                  </a:cubicBezTo>
                  <a:cubicBezTo>
                    <a:pt x="33" y="38"/>
                    <a:pt x="33" y="38"/>
                    <a:pt x="33" y="38"/>
                  </a:cubicBezTo>
                  <a:cubicBezTo>
                    <a:pt x="39" y="32"/>
                    <a:pt x="39" y="32"/>
                    <a:pt x="39" y="32"/>
                  </a:cubicBezTo>
                  <a:cubicBezTo>
                    <a:pt x="39" y="46"/>
                    <a:pt x="39" y="46"/>
                    <a:pt x="39" y="46"/>
                  </a:cubicBezTo>
                  <a:cubicBezTo>
                    <a:pt x="39" y="83"/>
                    <a:pt x="39" y="83"/>
                    <a:pt x="39" y="83"/>
                  </a:cubicBezTo>
                  <a:moveTo>
                    <a:pt x="45" y="0"/>
                  </a:moveTo>
                  <a:cubicBezTo>
                    <a:pt x="20" y="0"/>
                    <a:pt x="0" y="20"/>
                    <a:pt x="0" y="44"/>
                  </a:cubicBezTo>
                  <a:cubicBezTo>
                    <a:pt x="0" y="69"/>
                    <a:pt x="20" y="89"/>
                    <a:pt x="45" y="89"/>
                  </a:cubicBezTo>
                  <a:cubicBezTo>
                    <a:pt x="69" y="89"/>
                    <a:pt x="89" y="69"/>
                    <a:pt x="89" y="44"/>
                  </a:cubicBezTo>
                  <a:cubicBezTo>
                    <a:pt x="89" y="20"/>
                    <a:pt x="69" y="0"/>
                    <a:pt x="4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8" name="Freeform 21307">
              <a:extLst>
                <a:ext uri="{FF2B5EF4-FFF2-40B4-BE49-F238E27FC236}">
                  <a16:creationId xmlns:a16="http://schemas.microsoft.com/office/drawing/2014/main" id="{9FBD0C79-743F-4CB2-A27D-6190ED20ADC3}"/>
                </a:ext>
              </a:extLst>
            </p:cNvPr>
            <p:cNvSpPr>
              <a:spLocks noEditPoints="1"/>
            </p:cNvSpPr>
            <p:nvPr userDrawn="1"/>
          </p:nvSpPr>
          <p:spPr bwMode="auto">
            <a:xfrm>
              <a:off x="6827203" y="4360228"/>
              <a:ext cx="144463" cy="146050"/>
            </a:xfrm>
            <a:custGeom>
              <a:avLst/>
              <a:gdLst>
                <a:gd name="T0" fmla="*/ 31 w 72"/>
                <a:gd name="T1" fmla="*/ 67 h 72"/>
                <a:gd name="T2" fmla="*/ 4 w 72"/>
                <a:gd name="T3" fmla="*/ 36 h 72"/>
                <a:gd name="T4" fmla="*/ 36 w 72"/>
                <a:gd name="T5" fmla="*/ 4 h 72"/>
                <a:gd name="T6" fmla="*/ 68 w 72"/>
                <a:gd name="T7" fmla="*/ 36 h 72"/>
                <a:gd name="T8" fmla="*/ 41 w 72"/>
                <a:gd name="T9" fmla="*/ 67 h 72"/>
                <a:gd name="T10" fmla="*/ 41 w 72"/>
                <a:gd name="T11" fmla="*/ 43 h 72"/>
                <a:gd name="T12" fmla="*/ 41 w 72"/>
                <a:gd name="T13" fmla="*/ 26 h 72"/>
                <a:gd name="T14" fmla="*/ 47 w 72"/>
                <a:gd name="T15" fmla="*/ 32 h 72"/>
                <a:gd name="T16" fmla="*/ 50 w 72"/>
                <a:gd name="T17" fmla="*/ 33 h 72"/>
                <a:gd name="T18" fmla="*/ 53 w 72"/>
                <a:gd name="T19" fmla="*/ 32 h 72"/>
                <a:gd name="T20" fmla="*/ 53 w 72"/>
                <a:gd name="T21" fmla="*/ 25 h 72"/>
                <a:gd name="T22" fmla="*/ 36 w 72"/>
                <a:gd name="T23" fmla="*/ 7 h 72"/>
                <a:gd name="T24" fmla="*/ 24 w 72"/>
                <a:gd name="T25" fmla="*/ 19 h 72"/>
                <a:gd name="T26" fmla="*/ 18 w 72"/>
                <a:gd name="T27" fmla="*/ 25 h 72"/>
                <a:gd name="T28" fmla="*/ 19 w 72"/>
                <a:gd name="T29" fmla="*/ 32 h 72"/>
                <a:gd name="T30" fmla="*/ 22 w 72"/>
                <a:gd name="T31" fmla="*/ 33 h 72"/>
                <a:gd name="T32" fmla="*/ 25 w 72"/>
                <a:gd name="T33" fmla="*/ 32 h 72"/>
                <a:gd name="T34" fmla="*/ 27 w 72"/>
                <a:gd name="T35" fmla="*/ 31 h 72"/>
                <a:gd name="T36" fmla="*/ 31 w 72"/>
                <a:gd name="T37" fmla="*/ 26 h 72"/>
                <a:gd name="T38" fmla="*/ 31 w 72"/>
                <a:gd name="T39" fmla="*/ 37 h 72"/>
                <a:gd name="T40" fmla="*/ 31 w 72"/>
                <a:gd name="T41" fmla="*/ 67 h 72"/>
                <a:gd name="T42" fmla="*/ 36 w 72"/>
                <a:gd name="T43" fmla="*/ 0 h 72"/>
                <a:gd name="T44" fmla="*/ 0 w 72"/>
                <a:gd name="T45" fmla="*/ 36 h 72"/>
                <a:gd name="T46" fmla="*/ 36 w 72"/>
                <a:gd name="T47" fmla="*/ 72 h 72"/>
                <a:gd name="T48" fmla="*/ 72 w 72"/>
                <a:gd name="T49" fmla="*/ 36 h 72"/>
                <a:gd name="T50" fmla="*/ 36 w 72"/>
                <a:gd name="T5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31" y="67"/>
                  </a:moveTo>
                  <a:cubicBezTo>
                    <a:pt x="16" y="65"/>
                    <a:pt x="4" y="52"/>
                    <a:pt x="4" y="36"/>
                  </a:cubicBezTo>
                  <a:cubicBezTo>
                    <a:pt x="4" y="18"/>
                    <a:pt x="18" y="4"/>
                    <a:pt x="36" y="4"/>
                  </a:cubicBezTo>
                  <a:cubicBezTo>
                    <a:pt x="53" y="4"/>
                    <a:pt x="68" y="18"/>
                    <a:pt x="68" y="36"/>
                  </a:cubicBezTo>
                  <a:cubicBezTo>
                    <a:pt x="68" y="52"/>
                    <a:pt x="56" y="65"/>
                    <a:pt x="41" y="67"/>
                  </a:cubicBezTo>
                  <a:cubicBezTo>
                    <a:pt x="41" y="43"/>
                    <a:pt x="41" y="43"/>
                    <a:pt x="41" y="43"/>
                  </a:cubicBezTo>
                  <a:cubicBezTo>
                    <a:pt x="41" y="26"/>
                    <a:pt x="41" y="26"/>
                    <a:pt x="41" y="26"/>
                  </a:cubicBezTo>
                  <a:cubicBezTo>
                    <a:pt x="47" y="32"/>
                    <a:pt x="47" y="32"/>
                    <a:pt x="47" y="32"/>
                  </a:cubicBezTo>
                  <a:cubicBezTo>
                    <a:pt x="48" y="33"/>
                    <a:pt x="49" y="33"/>
                    <a:pt x="50" y="33"/>
                  </a:cubicBezTo>
                  <a:cubicBezTo>
                    <a:pt x="51" y="33"/>
                    <a:pt x="52" y="33"/>
                    <a:pt x="53" y="32"/>
                  </a:cubicBezTo>
                  <a:cubicBezTo>
                    <a:pt x="55" y="30"/>
                    <a:pt x="55" y="27"/>
                    <a:pt x="53" y="25"/>
                  </a:cubicBezTo>
                  <a:cubicBezTo>
                    <a:pt x="36" y="7"/>
                    <a:pt x="36" y="7"/>
                    <a:pt x="36" y="7"/>
                  </a:cubicBezTo>
                  <a:cubicBezTo>
                    <a:pt x="24" y="19"/>
                    <a:pt x="24" y="19"/>
                    <a:pt x="24" y="19"/>
                  </a:cubicBezTo>
                  <a:cubicBezTo>
                    <a:pt x="18" y="25"/>
                    <a:pt x="18" y="25"/>
                    <a:pt x="18" y="25"/>
                  </a:cubicBezTo>
                  <a:cubicBezTo>
                    <a:pt x="17" y="27"/>
                    <a:pt x="17" y="30"/>
                    <a:pt x="19" y="32"/>
                  </a:cubicBezTo>
                  <a:cubicBezTo>
                    <a:pt x="19" y="33"/>
                    <a:pt x="21" y="33"/>
                    <a:pt x="22" y="33"/>
                  </a:cubicBezTo>
                  <a:cubicBezTo>
                    <a:pt x="23" y="33"/>
                    <a:pt x="24" y="33"/>
                    <a:pt x="25" y="32"/>
                  </a:cubicBezTo>
                  <a:cubicBezTo>
                    <a:pt x="27" y="31"/>
                    <a:pt x="27" y="31"/>
                    <a:pt x="27" y="31"/>
                  </a:cubicBezTo>
                  <a:cubicBezTo>
                    <a:pt x="31" y="26"/>
                    <a:pt x="31" y="26"/>
                    <a:pt x="31" y="26"/>
                  </a:cubicBezTo>
                  <a:cubicBezTo>
                    <a:pt x="31" y="37"/>
                    <a:pt x="31" y="37"/>
                    <a:pt x="31" y="37"/>
                  </a:cubicBezTo>
                  <a:cubicBezTo>
                    <a:pt x="31" y="67"/>
                    <a:pt x="31" y="67"/>
                    <a:pt x="31" y="67"/>
                  </a:cubicBezTo>
                  <a:moveTo>
                    <a:pt x="36" y="0"/>
                  </a:moveTo>
                  <a:cubicBezTo>
                    <a:pt x="16" y="0"/>
                    <a:pt x="0" y="16"/>
                    <a:pt x="0" y="36"/>
                  </a:cubicBezTo>
                  <a:cubicBezTo>
                    <a:pt x="0" y="56"/>
                    <a:pt x="16" y="72"/>
                    <a:pt x="36" y="72"/>
                  </a:cubicBezTo>
                  <a:cubicBezTo>
                    <a:pt x="56" y="72"/>
                    <a:pt x="72" y="56"/>
                    <a:pt x="72" y="36"/>
                  </a:cubicBezTo>
                  <a:cubicBezTo>
                    <a:pt x="72" y="16"/>
                    <a:pt x="56" y="0"/>
                    <a:pt x="3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9" name="Freeform 21308">
              <a:extLst>
                <a:ext uri="{FF2B5EF4-FFF2-40B4-BE49-F238E27FC236}">
                  <a16:creationId xmlns:a16="http://schemas.microsoft.com/office/drawing/2014/main" id="{6C2534C8-83A0-4A84-99A6-32D36CC26A6F}"/>
                </a:ext>
              </a:extLst>
            </p:cNvPr>
            <p:cNvSpPr>
              <a:spLocks noEditPoints="1"/>
            </p:cNvSpPr>
            <p:nvPr userDrawn="1"/>
          </p:nvSpPr>
          <p:spPr bwMode="auto">
            <a:xfrm>
              <a:off x="10637203" y="5406390"/>
              <a:ext cx="100013" cy="101600"/>
            </a:xfrm>
            <a:custGeom>
              <a:avLst/>
              <a:gdLst>
                <a:gd name="T0" fmla="*/ 22 w 49"/>
                <a:gd name="T1" fmla="*/ 46 h 50"/>
                <a:gd name="T2" fmla="*/ 3 w 49"/>
                <a:gd name="T3" fmla="*/ 25 h 50"/>
                <a:gd name="T4" fmla="*/ 25 w 49"/>
                <a:gd name="T5" fmla="*/ 3 h 50"/>
                <a:gd name="T6" fmla="*/ 46 w 49"/>
                <a:gd name="T7" fmla="*/ 25 h 50"/>
                <a:gd name="T8" fmla="*/ 28 w 49"/>
                <a:gd name="T9" fmla="*/ 46 h 50"/>
                <a:gd name="T10" fmla="*/ 28 w 49"/>
                <a:gd name="T11" fmla="*/ 30 h 50"/>
                <a:gd name="T12" fmla="*/ 28 w 49"/>
                <a:gd name="T13" fmla="*/ 18 h 50"/>
                <a:gd name="T14" fmla="*/ 32 w 49"/>
                <a:gd name="T15" fmla="*/ 22 h 50"/>
                <a:gd name="T16" fmla="*/ 35 w 49"/>
                <a:gd name="T17" fmla="*/ 23 h 50"/>
                <a:gd name="T18" fmla="*/ 37 w 49"/>
                <a:gd name="T19" fmla="*/ 22 h 50"/>
                <a:gd name="T20" fmla="*/ 37 w 49"/>
                <a:gd name="T21" fmla="*/ 18 h 50"/>
                <a:gd name="T22" fmla="*/ 25 w 49"/>
                <a:gd name="T23" fmla="*/ 5 h 50"/>
                <a:gd name="T24" fmla="*/ 17 w 49"/>
                <a:gd name="T25" fmla="*/ 14 h 50"/>
                <a:gd name="T26" fmla="*/ 13 w 49"/>
                <a:gd name="T27" fmla="*/ 18 h 50"/>
                <a:gd name="T28" fmla="*/ 13 w 49"/>
                <a:gd name="T29" fmla="*/ 22 h 50"/>
                <a:gd name="T30" fmla="*/ 15 w 49"/>
                <a:gd name="T31" fmla="*/ 23 h 50"/>
                <a:gd name="T32" fmla="*/ 18 w 49"/>
                <a:gd name="T33" fmla="*/ 22 h 50"/>
                <a:gd name="T34" fmla="*/ 18 w 49"/>
                <a:gd name="T35" fmla="*/ 21 h 50"/>
                <a:gd name="T36" fmla="*/ 22 w 49"/>
                <a:gd name="T37" fmla="*/ 18 h 50"/>
                <a:gd name="T38" fmla="*/ 22 w 49"/>
                <a:gd name="T39" fmla="*/ 26 h 50"/>
                <a:gd name="T40" fmla="*/ 22 w 49"/>
                <a:gd name="T41" fmla="*/ 46 h 50"/>
                <a:gd name="T42" fmla="*/ 25 w 49"/>
                <a:gd name="T43" fmla="*/ 0 h 50"/>
                <a:gd name="T44" fmla="*/ 0 w 49"/>
                <a:gd name="T45" fmla="*/ 25 h 50"/>
                <a:gd name="T46" fmla="*/ 25 w 49"/>
                <a:gd name="T47" fmla="*/ 50 h 50"/>
                <a:gd name="T48" fmla="*/ 49 w 49"/>
                <a:gd name="T49" fmla="*/ 25 h 50"/>
                <a:gd name="T50" fmla="*/ 25 w 4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22" y="46"/>
                  </a:moveTo>
                  <a:cubicBezTo>
                    <a:pt x="11" y="45"/>
                    <a:pt x="3" y="36"/>
                    <a:pt x="3" y="25"/>
                  </a:cubicBezTo>
                  <a:cubicBezTo>
                    <a:pt x="3" y="13"/>
                    <a:pt x="13" y="3"/>
                    <a:pt x="25" y="3"/>
                  </a:cubicBezTo>
                  <a:cubicBezTo>
                    <a:pt x="37" y="3"/>
                    <a:pt x="46" y="13"/>
                    <a:pt x="46" y="25"/>
                  </a:cubicBezTo>
                  <a:cubicBezTo>
                    <a:pt x="46" y="36"/>
                    <a:pt x="39" y="45"/>
                    <a:pt x="28" y="46"/>
                  </a:cubicBezTo>
                  <a:cubicBezTo>
                    <a:pt x="28" y="30"/>
                    <a:pt x="28" y="30"/>
                    <a:pt x="28" y="30"/>
                  </a:cubicBezTo>
                  <a:cubicBezTo>
                    <a:pt x="28" y="18"/>
                    <a:pt x="28" y="18"/>
                    <a:pt x="28" y="18"/>
                  </a:cubicBezTo>
                  <a:cubicBezTo>
                    <a:pt x="32" y="22"/>
                    <a:pt x="32" y="22"/>
                    <a:pt x="32" y="22"/>
                  </a:cubicBezTo>
                  <a:cubicBezTo>
                    <a:pt x="33" y="23"/>
                    <a:pt x="34" y="23"/>
                    <a:pt x="35" y="23"/>
                  </a:cubicBezTo>
                  <a:cubicBezTo>
                    <a:pt x="35" y="23"/>
                    <a:pt x="36" y="23"/>
                    <a:pt x="37" y="22"/>
                  </a:cubicBezTo>
                  <a:cubicBezTo>
                    <a:pt x="38" y="21"/>
                    <a:pt x="38" y="19"/>
                    <a:pt x="37" y="18"/>
                  </a:cubicBezTo>
                  <a:cubicBezTo>
                    <a:pt x="25" y="5"/>
                    <a:pt x="25" y="5"/>
                    <a:pt x="25" y="5"/>
                  </a:cubicBezTo>
                  <a:cubicBezTo>
                    <a:pt x="17" y="14"/>
                    <a:pt x="17" y="14"/>
                    <a:pt x="17" y="14"/>
                  </a:cubicBezTo>
                  <a:cubicBezTo>
                    <a:pt x="13" y="18"/>
                    <a:pt x="13" y="18"/>
                    <a:pt x="13" y="18"/>
                  </a:cubicBezTo>
                  <a:cubicBezTo>
                    <a:pt x="12" y="19"/>
                    <a:pt x="12" y="21"/>
                    <a:pt x="13" y="22"/>
                  </a:cubicBezTo>
                  <a:cubicBezTo>
                    <a:pt x="14" y="23"/>
                    <a:pt x="14" y="23"/>
                    <a:pt x="15" y="23"/>
                  </a:cubicBezTo>
                  <a:cubicBezTo>
                    <a:pt x="16" y="23"/>
                    <a:pt x="17" y="23"/>
                    <a:pt x="18" y="22"/>
                  </a:cubicBezTo>
                  <a:cubicBezTo>
                    <a:pt x="18" y="21"/>
                    <a:pt x="18" y="21"/>
                    <a:pt x="18" y="21"/>
                  </a:cubicBezTo>
                  <a:cubicBezTo>
                    <a:pt x="22" y="18"/>
                    <a:pt x="22" y="18"/>
                    <a:pt x="22" y="18"/>
                  </a:cubicBezTo>
                  <a:cubicBezTo>
                    <a:pt x="22" y="26"/>
                    <a:pt x="22" y="26"/>
                    <a:pt x="22" y="26"/>
                  </a:cubicBezTo>
                  <a:cubicBezTo>
                    <a:pt x="22" y="46"/>
                    <a:pt x="22" y="46"/>
                    <a:pt x="22" y="46"/>
                  </a:cubicBezTo>
                  <a:moveTo>
                    <a:pt x="25" y="0"/>
                  </a:moveTo>
                  <a:cubicBezTo>
                    <a:pt x="11" y="0"/>
                    <a:pt x="0" y="11"/>
                    <a:pt x="0" y="25"/>
                  </a:cubicBezTo>
                  <a:cubicBezTo>
                    <a:pt x="0" y="38"/>
                    <a:pt x="11" y="50"/>
                    <a:pt x="25" y="50"/>
                  </a:cubicBezTo>
                  <a:cubicBezTo>
                    <a:pt x="38" y="50"/>
                    <a:pt x="49" y="38"/>
                    <a:pt x="49" y="25"/>
                  </a:cubicBezTo>
                  <a:cubicBezTo>
                    <a:pt x="49" y="11"/>
                    <a:pt x="38" y="0"/>
                    <a:pt x="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0" name="Freeform 21309">
              <a:extLst>
                <a:ext uri="{FF2B5EF4-FFF2-40B4-BE49-F238E27FC236}">
                  <a16:creationId xmlns:a16="http://schemas.microsoft.com/office/drawing/2014/main" id="{FD781213-536F-474D-AA6A-3019822A8154}"/>
                </a:ext>
              </a:extLst>
            </p:cNvPr>
            <p:cNvSpPr>
              <a:spLocks noEditPoints="1"/>
            </p:cNvSpPr>
            <p:nvPr userDrawn="1"/>
          </p:nvSpPr>
          <p:spPr bwMode="auto">
            <a:xfrm>
              <a:off x="7182803" y="4645978"/>
              <a:ext cx="117475" cy="117475"/>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1" name="Freeform 21310">
              <a:extLst>
                <a:ext uri="{FF2B5EF4-FFF2-40B4-BE49-F238E27FC236}">
                  <a16:creationId xmlns:a16="http://schemas.microsoft.com/office/drawing/2014/main" id="{7A2A10C6-3A91-4AD7-BF92-5E738922A32E}"/>
                </a:ext>
              </a:extLst>
            </p:cNvPr>
            <p:cNvSpPr>
              <a:spLocks noEditPoints="1"/>
            </p:cNvSpPr>
            <p:nvPr userDrawn="1"/>
          </p:nvSpPr>
          <p:spPr bwMode="auto">
            <a:xfrm>
              <a:off x="10495915" y="5720715"/>
              <a:ext cx="296863" cy="71438"/>
            </a:xfrm>
            <a:custGeom>
              <a:avLst/>
              <a:gdLst>
                <a:gd name="T0" fmla="*/ 8 w 187"/>
                <a:gd name="T1" fmla="*/ 19 h 45"/>
                <a:gd name="T2" fmla="*/ 0 w 187"/>
                <a:gd name="T3" fmla="*/ 19 h 45"/>
                <a:gd name="T4" fmla="*/ 0 w 187"/>
                <a:gd name="T5" fmla="*/ 19 h 45"/>
                <a:gd name="T6" fmla="*/ 4 w 187"/>
                <a:gd name="T7" fmla="*/ 24 h 45"/>
                <a:gd name="T8" fmla="*/ 8 w 187"/>
                <a:gd name="T9" fmla="*/ 24 h 45"/>
                <a:gd name="T10" fmla="*/ 8 w 187"/>
                <a:gd name="T11" fmla="*/ 19 h 45"/>
                <a:gd name="T12" fmla="*/ 23 w 187"/>
                <a:gd name="T13" fmla="*/ 19 h 45"/>
                <a:gd name="T14" fmla="*/ 15 w 187"/>
                <a:gd name="T15" fmla="*/ 19 h 45"/>
                <a:gd name="T16" fmla="*/ 15 w 187"/>
                <a:gd name="T17" fmla="*/ 19 h 45"/>
                <a:gd name="T18" fmla="*/ 15 w 187"/>
                <a:gd name="T19" fmla="*/ 24 h 45"/>
                <a:gd name="T20" fmla="*/ 19 w 187"/>
                <a:gd name="T21" fmla="*/ 24 h 45"/>
                <a:gd name="T22" fmla="*/ 23 w 187"/>
                <a:gd name="T23" fmla="*/ 24 h 45"/>
                <a:gd name="T24" fmla="*/ 23 w 187"/>
                <a:gd name="T25" fmla="*/ 19 h 45"/>
                <a:gd name="T26" fmla="*/ 37 w 187"/>
                <a:gd name="T27" fmla="*/ 19 h 45"/>
                <a:gd name="T28" fmla="*/ 29 w 187"/>
                <a:gd name="T29" fmla="*/ 19 h 45"/>
                <a:gd name="T30" fmla="*/ 29 w 187"/>
                <a:gd name="T31" fmla="*/ 24 h 45"/>
                <a:gd name="T32" fmla="*/ 37 w 187"/>
                <a:gd name="T33" fmla="*/ 24 h 45"/>
                <a:gd name="T34" fmla="*/ 37 w 187"/>
                <a:gd name="T35" fmla="*/ 19 h 45"/>
                <a:gd name="T36" fmla="*/ 52 w 187"/>
                <a:gd name="T37" fmla="*/ 19 h 45"/>
                <a:gd name="T38" fmla="*/ 45 w 187"/>
                <a:gd name="T39" fmla="*/ 19 h 45"/>
                <a:gd name="T40" fmla="*/ 45 w 187"/>
                <a:gd name="T41" fmla="*/ 24 h 45"/>
                <a:gd name="T42" fmla="*/ 52 w 187"/>
                <a:gd name="T43" fmla="*/ 24 h 45"/>
                <a:gd name="T44" fmla="*/ 52 w 187"/>
                <a:gd name="T45" fmla="*/ 19 h 45"/>
                <a:gd name="T46" fmla="*/ 66 w 187"/>
                <a:gd name="T47" fmla="*/ 19 h 45"/>
                <a:gd name="T48" fmla="*/ 60 w 187"/>
                <a:gd name="T49" fmla="*/ 19 h 45"/>
                <a:gd name="T50" fmla="*/ 60 w 187"/>
                <a:gd name="T51" fmla="*/ 24 h 45"/>
                <a:gd name="T52" fmla="*/ 66 w 187"/>
                <a:gd name="T53" fmla="*/ 24 h 45"/>
                <a:gd name="T54" fmla="*/ 66 w 187"/>
                <a:gd name="T55" fmla="*/ 19 h 45"/>
                <a:gd name="T56" fmla="*/ 82 w 187"/>
                <a:gd name="T57" fmla="*/ 19 h 45"/>
                <a:gd name="T58" fmla="*/ 74 w 187"/>
                <a:gd name="T59" fmla="*/ 19 h 45"/>
                <a:gd name="T60" fmla="*/ 74 w 187"/>
                <a:gd name="T61" fmla="*/ 24 h 45"/>
                <a:gd name="T62" fmla="*/ 82 w 187"/>
                <a:gd name="T63" fmla="*/ 24 h 45"/>
                <a:gd name="T64" fmla="*/ 82 w 187"/>
                <a:gd name="T65" fmla="*/ 19 h 45"/>
                <a:gd name="T66" fmla="*/ 97 w 187"/>
                <a:gd name="T67" fmla="*/ 19 h 45"/>
                <a:gd name="T68" fmla="*/ 89 w 187"/>
                <a:gd name="T69" fmla="*/ 19 h 45"/>
                <a:gd name="T70" fmla="*/ 89 w 187"/>
                <a:gd name="T71" fmla="*/ 24 h 45"/>
                <a:gd name="T72" fmla="*/ 97 w 187"/>
                <a:gd name="T73" fmla="*/ 24 h 45"/>
                <a:gd name="T74" fmla="*/ 97 w 187"/>
                <a:gd name="T75" fmla="*/ 19 h 45"/>
                <a:gd name="T76" fmla="*/ 111 w 187"/>
                <a:gd name="T77" fmla="*/ 19 h 45"/>
                <a:gd name="T78" fmla="*/ 104 w 187"/>
                <a:gd name="T79" fmla="*/ 19 h 45"/>
                <a:gd name="T80" fmla="*/ 104 w 187"/>
                <a:gd name="T81" fmla="*/ 24 h 45"/>
                <a:gd name="T82" fmla="*/ 111 w 187"/>
                <a:gd name="T83" fmla="*/ 24 h 45"/>
                <a:gd name="T84" fmla="*/ 111 w 187"/>
                <a:gd name="T85" fmla="*/ 19 h 45"/>
                <a:gd name="T86" fmla="*/ 126 w 187"/>
                <a:gd name="T87" fmla="*/ 19 h 45"/>
                <a:gd name="T88" fmla="*/ 118 w 187"/>
                <a:gd name="T89" fmla="*/ 19 h 45"/>
                <a:gd name="T90" fmla="*/ 118 w 187"/>
                <a:gd name="T91" fmla="*/ 24 h 45"/>
                <a:gd name="T92" fmla="*/ 126 w 187"/>
                <a:gd name="T93" fmla="*/ 24 h 45"/>
                <a:gd name="T94" fmla="*/ 126 w 187"/>
                <a:gd name="T95" fmla="*/ 19 h 45"/>
                <a:gd name="T96" fmla="*/ 141 w 187"/>
                <a:gd name="T97" fmla="*/ 19 h 45"/>
                <a:gd name="T98" fmla="*/ 134 w 187"/>
                <a:gd name="T99" fmla="*/ 19 h 45"/>
                <a:gd name="T100" fmla="*/ 134 w 187"/>
                <a:gd name="T101" fmla="*/ 24 h 45"/>
                <a:gd name="T102" fmla="*/ 141 w 187"/>
                <a:gd name="T103" fmla="*/ 24 h 45"/>
                <a:gd name="T104" fmla="*/ 141 w 187"/>
                <a:gd name="T105" fmla="*/ 19 h 45"/>
                <a:gd name="T106" fmla="*/ 149 w 187"/>
                <a:gd name="T107" fmla="*/ 0 h 45"/>
                <a:gd name="T108" fmla="*/ 149 w 187"/>
                <a:gd name="T109" fmla="*/ 19 h 45"/>
                <a:gd name="T110" fmla="*/ 148 w 187"/>
                <a:gd name="T111" fmla="*/ 19 h 45"/>
                <a:gd name="T112" fmla="*/ 148 w 187"/>
                <a:gd name="T113" fmla="*/ 24 h 45"/>
                <a:gd name="T114" fmla="*/ 149 w 187"/>
                <a:gd name="T115" fmla="*/ 24 h 45"/>
                <a:gd name="T116" fmla="*/ 149 w 187"/>
                <a:gd name="T117" fmla="*/ 45 h 45"/>
                <a:gd name="T118" fmla="*/ 187 w 187"/>
                <a:gd name="T119" fmla="*/ 22 h 45"/>
                <a:gd name="T120" fmla="*/ 149 w 187"/>
                <a:gd name="T1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45">
                  <a:moveTo>
                    <a:pt x="8" y="19"/>
                  </a:moveTo>
                  <a:lnTo>
                    <a:pt x="0" y="19"/>
                  </a:lnTo>
                  <a:lnTo>
                    <a:pt x="0" y="19"/>
                  </a:lnTo>
                  <a:lnTo>
                    <a:pt x="4" y="24"/>
                  </a:lnTo>
                  <a:lnTo>
                    <a:pt x="8" y="24"/>
                  </a:lnTo>
                  <a:lnTo>
                    <a:pt x="8" y="19"/>
                  </a:lnTo>
                  <a:close/>
                  <a:moveTo>
                    <a:pt x="23" y="19"/>
                  </a:moveTo>
                  <a:lnTo>
                    <a:pt x="15" y="19"/>
                  </a:lnTo>
                  <a:lnTo>
                    <a:pt x="15" y="19"/>
                  </a:lnTo>
                  <a:lnTo>
                    <a:pt x="15" y="24"/>
                  </a:lnTo>
                  <a:lnTo>
                    <a:pt x="19" y="24"/>
                  </a:lnTo>
                  <a:lnTo>
                    <a:pt x="23" y="24"/>
                  </a:lnTo>
                  <a:lnTo>
                    <a:pt x="23" y="19"/>
                  </a:lnTo>
                  <a:close/>
                  <a:moveTo>
                    <a:pt x="37" y="19"/>
                  </a:moveTo>
                  <a:lnTo>
                    <a:pt x="29" y="19"/>
                  </a:lnTo>
                  <a:lnTo>
                    <a:pt x="29" y="24"/>
                  </a:lnTo>
                  <a:lnTo>
                    <a:pt x="37" y="24"/>
                  </a:lnTo>
                  <a:lnTo>
                    <a:pt x="37" y="19"/>
                  </a:lnTo>
                  <a:close/>
                  <a:moveTo>
                    <a:pt x="52" y="19"/>
                  </a:moveTo>
                  <a:lnTo>
                    <a:pt x="45" y="19"/>
                  </a:lnTo>
                  <a:lnTo>
                    <a:pt x="45" y="24"/>
                  </a:lnTo>
                  <a:lnTo>
                    <a:pt x="52" y="24"/>
                  </a:lnTo>
                  <a:lnTo>
                    <a:pt x="52" y="19"/>
                  </a:lnTo>
                  <a:close/>
                  <a:moveTo>
                    <a:pt x="66" y="19"/>
                  </a:moveTo>
                  <a:lnTo>
                    <a:pt x="60" y="19"/>
                  </a:lnTo>
                  <a:lnTo>
                    <a:pt x="60" y="24"/>
                  </a:lnTo>
                  <a:lnTo>
                    <a:pt x="66" y="24"/>
                  </a:lnTo>
                  <a:lnTo>
                    <a:pt x="66" y="19"/>
                  </a:lnTo>
                  <a:close/>
                  <a:moveTo>
                    <a:pt x="82" y="19"/>
                  </a:moveTo>
                  <a:lnTo>
                    <a:pt x="74" y="19"/>
                  </a:lnTo>
                  <a:lnTo>
                    <a:pt x="74" y="24"/>
                  </a:lnTo>
                  <a:lnTo>
                    <a:pt x="82" y="24"/>
                  </a:lnTo>
                  <a:lnTo>
                    <a:pt x="82" y="19"/>
                  </a:lnTo>
                  <a:close/>
                  <a:moveTo>
                    <a:pt x="97" y="19"/>
                  </a:moveTo>
                  <a:lnTo>
                    <a:pt x="89" y="19"/>
                  </a:lnTo>
                  <a:lnTo>
                    <a:pt x="89" y="24"/>
                  </a:lnTo>
                  <a:lnTo>
                    <a:pt x="97" y="24"/>
                  </a:lnTo>
                  <a:lnTo>
                    <a:pt x="97" y="19"/>
                  </a:lnTo>
                  <a:close/>
                  <a:moveTo>
                    <a:pt x="111" y="19"/>
                  </a:moveTo>
                  <a:lnTo>
                    <a:pt x="104" y="19"/>
                  </a:lnTo>
                  <a:lnTo>
                    <a:pt x="104" y="24"/>
                  </a:lnTo>
                  <a:lnTo>
                    <a:pt x="111" y="24"/>
                  </a:lnTo>
                  <a:lnTo>
                    <a:pt x="111" y="19"/>
                  </a:lnTo>
                  <a:close/>
                  <a:moveTo>
                    <a:pt x="126" y="19"/>
                  </a:moveTo>
                  <a:lnTo>
                    <a:pt x="118" y="19"/>
                  </a:lnTo>
                  <a:lnTo>
                    <a:pt x="118" y="24"/>
                  </a:lnTo>
                  <a:lnTo>
                    <a:pt x="126" y="24"/>
                  </a:lnTo>
                  <a:lnTo>
                    <a:pt x="126" y="19"/>
                  </a:lnTo>
                  <a:close/>
                  <a:moveTo>
                    <a:pt x="141" y="19"/>
                  </a:moveTo>
                  <a:lnTo>
                    <a:pt x="134" y="19"/>
                  </a:lnTo>
                  <a:lnTo>
                    <a:pt x="134" y="24"/>
                  </a:lnTo>
                  <a:lnTo>
                    <a:pt x="141" y="24"/>
                  </a:lnTo>
                  <a:lnTo>
                    <a:pt x="141" y="19"/>
                  </a:lnTo>
                  <a:close/>
                  <a:moveTo>
                    <a:pt x="149" y="0"/>
                  </a:moveTo>
                  <a:lnTo>
                    <a:pt x="149" y="19"/>
                  </a:lnTo>
                  <a:lnTo>
                    <a:pt x="148" y="19"/>
                  </a:lnTo>
                  <a:lnTo>
                    <a:pt x="148" y="24"/>
                  </a:lnTo>
                  <a:lnTo>
                    <a:pt x="149" y="24"/>
                  </a:lnTo>
                  <a:lnTo>
                    <a:pt x="149" y="45"/>
                  </a:lnTo>
                  <a:lnTo>
                    <a:pt x="187" y="22"/>
                  </a:lnTo>
                  <a:lnTo>
                    <a:pt x="149"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2" name="Freeform 21311">
              <a:extLst>
                <a:ext uri="{FF2B5EF4-FFF2-40B4-BE49-F238E27FC236}">
                  <a16:creationId xmlns:a16="http://schemas.microsoft.com/office/drawing/2014/main" id="{278331AF-EC37-4D51-B547-25DE535AB3CE}"/>
                </a:ext>
              </a:extLst>
            </p:cNvPr>
            <p:cNvSpPr>
              <a:spLocks noEditPoints="1"/>
            </p:cNvSpPr>
            <p:nvPr userDrawn="1"/>
          </p:nvSpPr>
          <p:spPr bwMode="auto">
            <a:xfrm>
              <a:off x="10495915" y="5720715"/>
              <a:ext cx="296863" cy="71438"/>
            </a:xfrm>
            <a:custGeom>
              <a:avLst/>
              <a:gdLst>
                <a:gd name="T0" fmla="*/ 8 w 187"/>
                <a:gd name="T1" fmla="*/ 19 h 45"/>
                <a:gd name="T2" fmla="*/ 0 w 187"/>
                <a:gd name="T3" fmla="*/ 19 h 45"/>
                <a:gd name="T4" fmla="*/ 0 w 187"/>
                <a:gd name="T5" fmla="*/ 19 h 45"/>
                <a:gd name="T6" fmla="*/ 4 w 187"/>
                <a:gd name="T7" fmla="*/ 24 h 45"/>
                <a:gd name="T8" fmla="*/ 8 w 187"/>
                <a:gd name="T9" fmla="*/ 24 h 45"/>
                <a:gd name="T10" fmla="*/ 8 w 187"/>
                <a:gd name="T11" fmla="*/ 19 h 45"/>
                <a:gd name="T12" fmla="*/ 23 w 187"/>
                <a:gd name="T13" fmla="*/ 19 h 45"/>
                <a:gd name="T14" fmla="*/ 15 w 187"/>
                <a:gd name="T15" fmla="*/ 19 h 45"/>
                <a:gd name="T16" fmla="*/ 15 w 187"/>
                <a:gd name="T17" fmla="*/ 19 h 45"/>
                <a:gd name="T18" fmla="*/ 15 w 187"/>
                <a:gd name="T19" fmla="*/ 24 h 45"/>
                <a:gd name="T20" fmla="*/ 19 w 187"/>
                <a:gd name="T21" fmla="*/ 24 h 45"/>
                <a:gd name="T22" fmla="*/ 23 w 187"/>
                <a:gd name="T23" fmla="*/ 24 h 45"/>
                <a:gd name="T24" fmla="*/ 23 w 187"/>
                <a:gd name="T25" fmla="*/ 19 h 45"/>
                <a:gd name="T26" fmla="*/ 37 w 187"/>
                <a:gd name="T27" fmla="*/ 19 h 45"/>
                <a:gd name="T28" fmla="*/ 29 w 187"/>
                <a:gd name="T29" fmla="*/ 19 h 45"/>
                <a:gd name="T30" fmla="*/ 29 w 187"/>
                <a:gd name="T31" fmla="*/ 24 h 45"/>
                <a:gd name="T32" fmla="*/ 37 w 187"/>
                <a:gd name="T33" fmla="*/ 24 h 45"/>
                <a:gd name="T34" fmla="*/ 37 w 187"/>
                <a:gd name="T35" fmla="*/ 19 h 45"/>
                <a:gd name="T36" fmla="*/ 52 w 187"/>
                <a:gd name="T37" fmla="*/ 19 h 45"/>
                <a:gd name="T38" fmla="*/ 45 w 187"/>
                <a:gd name="T39" fmla="*/ 19 h 45"/>
                <a:gd name="T40" fmla="*/ 45 w 187"/>
                <a:gd name="T41" fmla="*/ 24 h 45"/>
                <a:gd name="T42" fmla="*/ 52 w 187"/>
                <a:gd name="T43" fmla="*/ 24 h 45"/>
                <a:gd name="T44" fmla="*/ 52 w 187"/>
                <a:gd name="T45" fmla="*/ 19 h 45"/>
                <a:gd name="T46" fmla="*/ 66 w 187"/>
                <a:gd name="T47" fmla="*/ 19 h 45"/>
                <a:gd name="T48" fmla="*/ 60 w 187"/>
                <a:gd name="T49" fmla="*/ 19 h 45"/>
                <a:gd name="T50" fmla="*/ 60 w 187"/>
                <a:gd name="T51" fmla="*/ 24 h 45"/>
                <a:gd name="T52" fmla="*/ 66 w 187"/>
                <a:gd name="T53" fmla="*/ 24 h 45"/>
                <a:gd name="T54" fmla="*/ 66 w 187"/>
                <a:gd name="T55" fmla="*/ 19 h 45"/>
                <a:gd name="T56" fmla="*/ 82 w 187"/>
                <a:gd name="T57" fmla="*/ 19 h 45"/>
                <a:gd name="T58" fmla="*/ 74 w 187"/>
                <a:gd name="T59" fmla="*/ 19 h 45"/>
                <a:gd name="T60" fmla="*/ 74 w 187"/>
                <a:gd name="T61" fmla="*/ 24 h 45"/>
                <a:gd name="T62" fmla="*/ 82 w 187"/>
                <a:gd name="T63" fmla="*/ 24 h 45"/>
                <a:gd name="T64" fmla="*/ 82 w 187"/>
                <a:gd name="T65" fmla="*/ 19 h 45"/>
                <a:gd name="T66" fmla="*/ 97 w 187"/>
                <a:gd name="T67" fmla="*/ 19 h 45"/>
                <a:gd name="T68" fmla="*/ 89 w 187"/>
                <a:gd name="T69" fmla="*/ 19 h 45"/>
                <a:gd name="T70" fmla="*/ 89 w 187"/>
                <a:gd name="T71" fmla="*/ 24 h 45"/>
                <a:gd name="T72" fmla="*/ 97 w 187"/>
                <a:gd name="T73" fmla="*/ 24 h 45"/>
                <a:gd name="T74" fmla="*/ 97 w 187"/>
                <a:gd name="T75" fmla="*/ 19 h 45"/>
                <a:gd name="T76" fmla="*/ 111 w 187"/>
                <a:gd name="T77" fmla="*/ 19 h 45"/>
                <a:gd name="T78" fmla="*/ 104 w 187"/>
                <a:gd name="T79" fmla="*/ 19 h 45"/>
                <a:gd name="T80" fmla="*/ 104 w 187"/>
                <a:gd name="T81" fmla="*/ 24 h 45"/>
                <a:gd name="T82" fmla="*/ 111 w 187"/>
                <a:gd name="T83" fmla="*/ 24 h 45"/>
                <a:gd name="T84" fmla="*/ 111 w 187"/>
                <a:gd name="T85" fmla="*/ 19 h 45"/>
                <a:gd name="T86" fmla="*/ 126 w 187"/>
                <a:gd name="T87" fmla="*/ 19 h 45"/>
                <a:gd name="T88" fmla="*/ 118 w 187"/>
                <a:gd name="T89" fmla="*/ 19 h 45"/>
                <a:gd name="T90" fmla="*/ 118 w 187"/>
                <a:gd name="T91" fmla="*/ 24 h 45"/>
                <a:gd name="T92" fmla="*/ 126 w 187"/>
                <a:gd name="T93" fmla="*/ 24 h 45"/>
                <a:gd name="T94" fmla="*/ 126 w 187"/>
                <a:gd name="T95" fmla="*/ 19 h 45"/>
                <a:gd name="T96" fmla="*/ 141 w 187"/>
                <a:gd name="T97" fmla="*/ 19 h 45"/>
                <a:gd name="T98" fmla="*/ 134 w 187"/>
                <a:gd name="T99" fmla="*/ 19 h 45"/>
                <a:gd name="T100" fmla="*/ 134 w 187"/>
                <a:gd name="T101" fmla="*/ 24 h 45"/>
                <a:gd name="T102" fmla="*/ 141 w 187"/>
                <a:gd name="T103" fmla="*/ 24 h 45"/>
                <a:gd name="T104" fmla="*/ 141 w 187"/>
                <a:gd name="T105" fmla="*/ 19 h 45"/>
                <a:gd name="T106" fmla="*/ 149 w 187"/>
                <a:gd name="T107" fmla="*/ 0 h 45"/>
                <a:gd name="T108" fmla="*/ 149 w 187"/>
                <a:gd name="T109" fmla="*/ 19 h 45"/>
                <a:gd name="T110" fmla="*/ 148 w 187"/>
                <a:gd name="T111" fmla="*/ 19 h 45"/>
                <a:gd name="T112" fmla="*/ 148 w 187"/>
                <a:gd name="T113" fmla="*/ 24 h 45"/>
                <a:gd name="T114" fmla="*/ 149 w 187"/>
                <a:gd name="T115" fmla="*/ 24 h 45"/>
                <a:gd name="T116" fmla="*/ 149 w 187"/>
                <a:gd name="T117" fmla="*/ 45 h 45"/>
                <a:gd name="T118" fmla="*/ 187 w 187"/>
                <a:gd name="T119" fmla="*/ 22 h 45"/>
                <a:gd name="T120" fmla="*/ 149 w 187"/>
                <a:gd name="T1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45">
                  <a:moveTo>
                    <a:pt x="8" y="19"/>
                  </a:moveTo>
                  <a:lnTo>
                    <a:pt x="0" y="19"/>
                  </a:lnTo>
                  <a:lnTo>
                    <a:pt x="0" y="19"/>
                  </a:lnTo>
                  <a:lnTo>
                    <a:pt x="4" y="24"/>
                  </a:lnTo>
                  <a:lnTo>
                    <a:pt x="8" y="24"/>
                  </a:lnTo>
                  <a:lnTo>
                    <a:pt x="8" y="19"/>
                  </a:lnTo>
                  <a:moveTo>
                    <a:pt x="23" y="19"/>
                  </a:moveTo>
                  <a:lnTo>
                    <a:pt x="15" y="19"/>
                  </a:lnTo>
                  <a:lnTo>
                    <a:pt x="15" y="19"/>
                  </a:lnTo>
                  <a:lnTo>
                    <a:pt x="15" y="24"/>
                  </a:lnTo>
                  <a:lnTo>
                    <a:pt x="19" y="24"/>
                  </a:lnTo>
                  <a:lnTo>
                    <a:pt x="23" y="24"/>
                  </a:lnTo>
                  <a:lnTo>
                    <a:pt x="23" y="19"/>
                  </a:lnTo>
                  <a:moveTo>
                    <a:pt x="37" y="19"/>
                  </a:moveTo>
                  <a:lnTo>
                    <a:pt x="29" y="19"/>
                  </a:lnTo>
                  <a:lnTo>
                    <a:pt x="29" y="24"/>
                  </a:lnTo>
                  <a:lnTo>
                    <a:pt x="37" y="24"/>
                  </a:lnTo>
                  <a:lnTo>
                    <a:pt x="37" y="19"/>
                  </a:lnTo>
                  <a:moveTo>
                    <a:pt x="52" y="19"/>
                  </a:moveTo>
                  <a:lnTo>
                    <a:pt x="45" y="19"/>
                  </a:lnTo>
                  <a:lnTo>
                    <a:pt x="45" y="24"/>
                  </a:lnTo>
                  <a:lnTo>
                    <a:pt x="52" y="24"/>
                  </a:lnTo>
                  <a:lnTo>
                    <a:pt x="52" y="19"/>
                  </a:lnTo>
                  <a:moveTo>
                    <a:pt x="66" y="19"/>
                  </a:moveTo>
                  <a:lnTo>
                    <a:pt x="60" y="19"/>
                  </a:lnTo>
                  <a:lnTo>
                    <a:pt x="60" y="24"/>
                  </a:lnTo>
                  <a:lnTo>
                    <a:pt x="66" y="24"/>
                  </a:lnTo>
                  <a:lnTo>
                    <a:pt x="66" y="19"/>
                  </a:lnTo>
                  <a:moveTo>
                    <a:pt x="82" y="19"/>
                  </a:moveTo>
                  <a:lnTo>
                    <a:pt x="74" y="19"/>
                  </a:lnTo>
                  <a:lnTo>
                    <a:pt x="74" y="24"/>
                  </a:lnTo>
                  <a:lnTo>
                    <a:pt x="82" y="24"/>
                  </a:lnTo>
                  <a:lnTo>
                    <a:pt x="82" y="19"/>
                  </a:lnTo>
                  <a:moveTo>
                    <a:pt x="97" y="19"/>
                  </a:moveTo>
                  <a:lnTo>
                    <a:pt x="89" y="19"/>
                  </a:lnTo>
                  <a:lnTo>
                    <a:pt x="89" y="24"/>
                  </a:lnTo>
                  <a:lnTo>
                    <a:pt x="97" y="24"/>
                  </a:lnTo>
                  <a:lnTo>
                    <a:pt x="97" y="19"/>
                  </a:lnTo>
                  <a:moveTo>
                    <a:pt x="111" y="19"/>
                  </a:moveTo>
                  <a:lnTo>
                    <a:pt x="104" y="19"/>
                  </a:lnTo>
                  <a:lnTo>
                    <a:pt x="104" y="24"/>
                  </a:lnTo>
                  <a:lnTo>
                    <a:pt x="111" y="24"/>
                  </a:lnTo>
                  <a:lnTo>
                    <a:pt x="111" y="19"/>
                  </a:lnTo>
                  <a:moveTo>
                    <a:pt x="126" y="19"/>
                  </a:moveTo>
                  <a:lnTo>
                    <a:pt x="118" y="19"/>
                  </a:lnTo>
                  <a:lnTo>
                    <a:pt x="118" y="24"/>
                  </a:lnTo>
                  <a:lnTo>
                    <a:pt x="126" y="24"/>
                  </a:lnTo>
                  <a:lnTo>
                    <a:pt x="126" y="19"/>
                  </a:lnTo>
                  <a:moveTo>
                    <a:pt x="141" y="19"/>
                  </a:moveTo>
                  <a:lnTo>
                    <a:pt x="134" y="19"/>
                  </a:lnTo>
                  <a:lnTo>
                    <a:pt x="134" y="24"/>
                  </a:lnTo>
                  <a:lnTo>
                    <a:pt x="141" y="24"/>
                  </a:lnTo>
                  <a:lnTo>
                    <a:pt x="141" y="19"/>
                  </a:lnTo>
                  <a:moveTo>
                    <a:pt x="149" y="0"/>
                  </a:moveTo>
                  <a:lnTo>
                    <a:pt x="149" y="19"/>
                  </a:lnTo>
                  <a:lnTo>
                    <a:pt x="148" y="19"/>
                  </a:lnTo>
                  <a:lnTo>
                    <a:pt x="148" y="24"/>
                  </a:lnTo>
                  <a:lnTo>
                    <a:pt x="149" y="24"/>
                  </a:lnTo>
                  <a:lnTo>
                    <a:pt x="149" y="45"/>
                  </a:lnTo>
                  <a:lnTo>
                    <a:pt x="187" y="22"/>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81" name="Group 1380">
              <a:extLst>
                <a:ext uri="{FF2B5EF4-FFF2-40B4-BE49-F238E27FC236}">
                  <a16:creationId xmlns:a16="http://schemas.microsoft.com/office/drawing/2014/main" id="{997C11CF-0B50-4C56-BCDE-B644F2882E2C}"/>
                </a:ext>
              </a:extLst>
            </p:cNvPr>
            <p:cNvGrpSpPr/>
            <p:nvPr userDrawn="1"/>
          </p:nvGrpSpPr>
          <p:grpSpPr>
            <a:xfrm>
              <a:off x="6168830" y="5639485"/>
              <a:ext cx="1063159" cy="997002"/>
              <a:chOff x="16763366" y="3245009"/>
              <a:chExt cx="1454150" cy="1363663"/>
            </a:xfrm>
          </p:grpSpPr>
          <p:sp>
            <p:nvSpPr>
              <p:cNvPr id="47" name="Freeform 1654">
                <a:extLst>
                  <a:ext uri="{FF2B5EF4-FFF2-40B4-BE49-F238E27FC236}">
                    <a16:creationId xmlns:a16="http://schemas.microsoft.com/office/drawing/2014/main" id="{FC11F362-0197-40E0-8032-D9A54804F10B}"/>
                  </a:ext>
                </a:extLst>
              </p:cNvPr>
              <p:cNvSpPr>
                <a:spLocks noEditPoints="1"/>
              </p:cNvSpPr>
              <p:nvPr/>
            </p:nvSpPr>
            <p:spPr bwMode="auto">
              <a:xfrm>
                <a:off x="17277716" y="4362609"/>
                <a:ext cx="66675" cy="69850"/>
              </a:xfrm>
              <a:custGeom>
                <a:avLst/>
                <a:gdLst>
                  <a:gd name="T0" fmla="*/ 24 w 34"/>
                  <a:gd name="T1" fmla="*/ 33 h 36"/>
                  <a:gd name="T2" fmla="*/ 3 w 34"/>
                  <a:gd name="T3" fmla="*/ 4 h 36"/>
                  <a:gd name="T4" fmla="*/ 11 w 34"/>
                  <a:gd name="T5" fmla="*/ 2 h 36"/>
                  <a:gd name="T6" fmla="*/ 25 w 34"/>
                  <a:gd name="T7" fmla="*/ 9 h 36"/>
                  <a:gd name="T8" fmla="*/ 24 w 34"/>
                  <a:gd name="T9" fmla="*/ 33 h 36"/>
                  <a:gd name="T10" fmla="*/ 11 w 34"/>
                  <a:gd name="T11" fmla="*/ 0 h 36"/>
                  <a:gd name="T12" fmla="*/ 0 w 34"/>
                  <a:gd name="T13" fmla="*/ 3 h 36"/>
                  <a:gd name="T14" fmla="*/ 0 w 34"/>
                  <a:gd name="T15" fmla="*/ 4 h 36"/>
                  <a:gd name="T16" fmla="*/ 0 w 34"/>
                  <a:gd name="T17" fmla="*/ 5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3"/>
                    </a:moveTo>
                    <a:cubicBezTo>
                      <a:pt x="3" y="4"/>
                      <a:pt x="3" y="4"/>
                      <a:pt x="3" y="4"/>
                    </a:cubicBezTo>
                    <a:cubicBezTo>
                      <a:pt x="5" y="3"/>
                      <a:pt x="8" y="2"/>
                      <a:pt x="11" y="2"/>
                    </a:cubicBezTo>
                    <a:cubicBezTo>
                      <a:pt x="16" y="2"/>
                      <a:pt x="21" y="5"/>
                      <a:pt x="25" y="9"/>
                    </a:cubicBezTo>
                    <a:cubicBezTo>
                      <a:pt x="31" y="16"/>
                      <a:pt x="30" y="26"/>
                      <a:pt x="24" y="33"/>
                    </a:cubicBezTo>
                    <a:moveTo>
                      <a:pt x="11" y="0"/>
                    </a:moveTo>
                    <a:cubicBezTo>
                      <a:pt x="7" y="0"/>
                      <a:pt x="3" y="1"/>
                      <a:pt x="0" y="3"/>
                    </a:cubicBezTo>
                    <a:cubicBezTo>
                      <a:pt x="0" y="4"/>
                      <a:pt x="0" y="4"/>
                      <a:pt x="0" y="4"/>
                    </a:cubicBezTo>
                    <a:cubicBezTo>
                      <a:pt x="0" y="5"/>
                      <a:pt x="0" y="5"/>
                      <a:pt x="0" y="5"/>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3"/>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655">
                <a:extLst>
                  <a:ext uri="{FF2B5EF4-FFF2-40B4-BE49-F238E27FC236}">
                    <a16:creationId xmlns:a16="http://schemas.microsoft.com/office/drawing/2014/main" id="{83470F07-70FE-4408-AA9B-02CD4E7C293A}"/>
                  </a:ext>
                </a:extLst>
              </p:cNvPr>
              <p:cNvSpPr>
                <a:spLocks noEditPoints="1"/>
              </p:cNvSpPr>
              <p:nvPr/>
            </p:nvSpPr>
            <p:spPr bwMode="auto">
              <a:xfrm>
                <a:off x="17253903" y="4372134"/>
                <a:ext cx="66675" cy="69850"/>
              </a:xfrm>
              <a:custGeom>
                <a:avLst/>
                <a:gdLst>
                  <a:gd name="T0" fmla="*/ 23 w 34"/>
                  <a:gd name="T1" fmla="*/ 34 h 36"/>
                  <a:gd name="T2" fmla="*/ 9 w 34"/>
                  <a:gd name="T3" fmla="*/ 27 h 36"/>
                  <a:gd name="T4" fmla="*/ 9 w 34"/>
                  <a:gd name="T5" fmla="*/ 3 h 36"/>
                  <a:gd name="T6" fmla="*/ 30 w 34"/>
                  <a:gd name="T7" fmla="*/ 32 h 36"/>
                  <a:gd name="T8" fmla="*/ 23 w 34"/>
                  <a:gd name="T9" fmla="*/ 34 h 36"/>
                  <a:gd name="T10" fmla="*/ 9 w 34"/>
                  <a:gd name="T11" fmla="*/ 0 h 36"/>
                  <a:gd name="T12" fmla="*/ 8 w 34"/>
                  <a:gd name="T13" fmla="*/ 0 h 36"/>
                  <a:gd name="T14" fmla="*/ 7 w 34"/>
                  <a:gd name="T15" fmla="*/ 29 h 36"/>
                  <a:gd name="T16" fmla="*/ 23 w 34"/>
                  <a:gd name="T17" fmla="*/ 36 h 36"/>
                  <a:gd name="T18" fmla="*/ 33 w 34"/>
                  <a:gd name="T19" fmla="*/ 34 h 36"/>
                  <a:gd name="T20" fmla="*/ 34 w 34"/>
                  <a:gd name="T21" fmla="*/ 33 h 36"/>
                  <a:gd name="T22" fmla="*/ 33 w 34"/>
                  <a:gd name="T23" fmla="*/ 32 h 36"/>
                  <a:gd name="T24" fmla="*/ 10 w 34"/>
                  <a:gd name="T25" fmla="*/ 1 h 36"/>
                  <a:gd name="T26" fmla="*/ 9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7" y="34"/>
                      <a:pt x="12" y="32"/>
                      <a:pt x="9" y="27"/>
                    </a:cubicBezTo>
                    <a:cubicBezTo>
                      <a:pt x="3" y="20"/>
                      <a:pt x="3" y="10"/>
                      <a:pt x="9" y="3"/>
                    </a:cubicBezTo>
                    <a:cubicBezTo>
                      <a:pt x="30" y="32"/>
                      <a:pt x="30" y="32"/>
                      <a:pt x="30" y="32"/>
                    </a:cubicBezTo>
                    <a:cubicBezTo>
                      <a:pt x="28" y="33"/>
                      <a:pt x="25" y="34"/>
                      <a:pt x="23" y="34"/>
                    </a:cubicBezTo>
                    <a:moveTo>
                      <a:pt x="9" y="0"/>
                    </a:moveTo>
                    <a:cubicBezTo>
                      <a:pt x="8" y="0"/>
                      <a:pt x="8" y="0"/>
                      <a:pt x="8" y="0"/>
                    </a:cubicBezTo>
                    <a:cubicBezTo>
                      <a:pt x="0" y="8"/>
                      <a:pt x="0" y="20"/>
                      <a:pt x="7" y="29"/>
                    </a:cubicBezTo>
                    <a:cubicBezTo>
                      <a:pt x="11" y="34"/>
                      <a:pt x="16" y="36"/>
                      <a:pt x="23" y="36"/>
                    </a:cubicBezTo>
                    <a:cubicBezTo>
                      <a:pt x="26" y="36"/>
                      <a:pt x="30" y="35"/>
                      <a:pt x="33" y="34"/>
                    </a:cubicBezTo>
                    <a:cubicBezTo>
                      <a:pt x="34" y="33"/>
                      <a:pt x="34" y="33"/>
                      <a:pt x="34" y="33"/>
                    </a:cubicBezTo>
                    <a:cubicBezTo>
                      <a:pt x="33" y="32"/>
                      <a:pt x="33" y="32"/>
                      <a:pt x="33" y="32"/>
                    </a:cubicBezTo>
                    <a:cubicBezTo>
                      <a:pt x="10" y="1"/>
                      <a:pt x="10" y="1"/>
                      <a:pt x="10" y="1"/>
                    </a:cubicBezTo>
                    <a:cubicBezTo>
                      <a:pt x="9" y="0"/>
                      <a:pt x="9" y="0"/>
                      <a:pt x="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682">
                <a:extLst>
                  <a:ext uri="{FF2B5EF4-FFF2-40B4-BE49-F238E27FC236}">
                    <a16:creationId xmlns:a16="http://schemas.microsoft.com/office/drawing/2014/main" id="{CC8FAB87-D003-4EC5-A250-9427C9CCA789}"/>
                  </a:ext>
                </a:extLst>
              </p:cNvPr>
              <p:cNvSpPr>
                <a:spLocks noEditPoints="1"/>
              </p:cNvSpPr>
              <p:nvPr/>
            </p:nvSpPr>
            <p:spPr bwMode="auto">
              <a:xfrm>
                <a:off x="17430116" y="3605372"/>
                <a:ext cx="565150" cy="539750"/>
              </a:xfrm>
              <a:custGeom>
                <a:avLst/>
                <a:gdLst>
                  <a:gd name="T0" fmla="*/ 137 w 288"/>
                  <a:gd name="T1" fmla="*/ 184 h 275"/>
                  <a:gd name="T2" fmla="*/ 105 w 288"/>
                  <a:gd name="T3" fmla="*/ 170 h 275"/>
                  <a:gd name="T4" fmla="*/ 105 w 288"/>
                  <a:gd name="T5" fmla="*/ 105 h 275"/>
                  <a:gd name="T6" fmla="*/ 137 w 288"/>
                  <a:gd name="T7" fmla="*/ 91 h 275"/>
                  <a:gd name="T8" fmla="*/ 170 w 288"/>
                  <a:gd name="T9" fmla="*/ 105 h 275"/>
                  <a:gd name="T10" fmla="*/ 183 w 288"/>
                  <a:gd name="T11" fmla="*/ 138 h 275"/>
                  <a:gd name="T12" fmla="*/ 170 w 288"/>
                  <a:gd name="T13" fmla="*/ 170 h 275"/>
                  <a:gd name="T14" fmla="*/ 137 w 288"/>
                  <a:gd name="T15" fmla="*/ 184 h 275"/>
                  <a:gd name="T16" fmla="*/ 137 w 288"/>
                  <a:gd name="T17" fmla="*/ 86 h 275"/>
                  <a:gd name="T18" fmla="*/ 101 w 288"/>
                  <a:gd name="T19" fmla="*/ 101 h 275"/>
                  <a:gd name="T20" fmla="*/ 101 w 288"/>
                  <a:gd name="T21" fmla="*/ 174 h 275"/>
                  <a:gd name="T22" fmla="*/ 137 w 288"/>
                  <a:gd name="T23" fmla="*/ 189 h 275"/>
                  <a:gd name="T24" fmla="*/ 173 w 288"/>
                  <a:gd name="T25" fmla="*/ 174 h 275"/>
                  <a:gd name="T26" fmla="*/ 188 w 288"/>
                  <a:gd name="T27" fmla="*/ 138 h 275"/>
                  <a:gd name="T28" fmla="*/ 173 w 288"/>
                  <a:gd name="T29" fmla="*/ 101 h 275"/>
                  <a:gd name="T30" fmla="*/ 137 w 288"/>
                  <a:gd name="T31" fmla="*/ 86 h 275"/>
                  <a:gd name="T32" fmla="*/ 137 w 288"/>
                  <a:gd name="T33" fmla="*/ 270 h 275"/>
                  <a:gd name="T34" fmla="*/ 44 w 288"/>
                  <a:gd name="T35" fmla="*/ 231 h 275"/>
                  <a:gd name="T36" fmla="*/ 5 w 288"/>
                  <a:gd name="T37" fmla="*/ 137 h 275"/>
                  <a:gd name="T38" fmla="*/ 44 w 288"/>
                  <a:gd name="T39" fmla="*/ 44 h 275"/>
                  <a:gd name="T40" fmla="*/ 137 w 288"/>
                  <a:gd name="T41" fmla="*/ 5 h 275"/>
                  <a:gd name="T42" fmla="*/ 231 w 288"/>
                  <a:gd name="T43" fmla="*/ 44 h 275"/>
                  <a:gd name="T44" fmla="*/ 231 w 288"/>
                  <a:gd name="T45" fmla="*/ 231 h 275"/>
                  <a:gd name="T46" fmla="*/ 137 w 288"/>
                  <a:gd name="T47" fmla="*/ 270 h 275"/>
                  <a:gd name="T48" fmla="*/ 137 w 288"/>
                  <a:gd name="T49" fmla="*/ 270 h 275"/>
                  <a:gd name="T50" fmla="*/ 137 w 288"/>
                  <a:gd name="T51" fmla="*/ 0 h 275"/>
                  <a:gd name="T52" fmla="*/ 40 w 288"/>
                  <a:gd name="T53" fmla="*/ 40 h 275"/>
                  <a:gd name="T54" fmla="*/ 0 w 288"/>
                  <a:gd name="T55" fmla="*/ 137 h 275"/>
                  <a:gd name="T56" fmla="*/ 40 w 288"/>
                  <a:gd name="T57" fmla="*/ 235 h 275"/>
                  <a:gd name="T58" fmla="*/ 137 w 288"/>
                  <a:gd name="T59" fmla="*/ 275 h 275"/>
                  <a:gd name="T60" fmla="*/ 137 w 288"/>
                  <a:gd name="T61" fmla="*/ 275 h 275"/>
                  <a:gd name="T62" fmla="*/ 234 w 288"/>
                  <a:gd name="T63" fmla="*/ 235 h 275"/>
                  <a:gd name="T64" fmla="*/ 234 w 288"/>
                  <a:gd name="T65" fmla="*/ 40 h 275"/>
                  <a:gd name="T66" fmla="*/ 137 w 288"/>
                  <a:gd name="T6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75">
                    <a:moveTo>
                      <a:pt x="137" y="184"/>
                    </a:moveTo>
                    <a:cubicBezTo>
                      <a:pt x="125" y="184"/>
                      <a:pt x="113" y="179"/>
                      <a:pt x="105" y="170"/>
                    </a:cubicBezTo>
                    <a:cubicBezTo>
                      <a:pt x="87" y="152"/>
                      <a:pt x="87" y="123"/>
                      <a:pt x="105" y="105"/>
                    </a:cubicBezTo>
                    <a:cubicBezTo>
                      <a:pt x="113" y="96"/>
                      <a:pt x="125" y="91"/>
                      <a:pt x="137" y="91"/>
                    </a:cubicBezTo>
                    <a:cubicBezTo>
                      <a:pt x="150" y="91"/>
                      <a:pt x="161" y="96"/>
                      <a:pt x="170" y="105"/>
                    </a:cubicBezTo>
                    <a:cubicBezTo>
                      <a:pt x="179" y="114"/>
                      <a:pt x="183" y="125"/>
                      <a:pt x="183" y="138"/>
                    </a:cubicBezTo>
                    <a:cubicBezTo>
                      <a:pt x="183" y="150"/>
                      <a:pt x="179" y="161"/>
                      <a:pt x="170" y="170"/>
                    </a:cubicBezTo>
                    <a:cubicBezTo>
                      <a:pt x="161" y="179"/>
                      <a:pt x="150" y="184"/>
                      <a:pt x="137" y="184"/>
                    </a:cubicBezTo>
                    <a:moveTo>
                      <a:pt x="137" y="86"/>
                    </a:moveTo>
                    <a:cubicBezTo>
                      <a:pt x="124" y="86"/>
                      <a:pt x="111" y="92"/>
                      <a:pt x="101" y="101"/>
                    </a:cubicBezTo>
                    <a:cubicBezTo>
                      <a:pt x="81" y="121"/>
                      <a:pt x="81" y="154"/>
                      <a:pt x="101" y="174"/>
                    </a:cubicBezTo>
                    <a:cubicBezTo>
                      <a:pt x="111" y="183"/>
                      <a:pt x="124" y="189"/>
                      <a:pt x="137" y="189"/>
                    </a:cubicBezTo>
                    <a:cubicBezTo>
                      <a:pt x="151" y="189"/>
                      <a:pt x="164" y="183"/>
                      <a:pt x="173" y="174"/>
                    </a:cubicBezTo>
                    <a:cubicBezTo>
                      <a:pt x="183" y="164"/>
                      <a:pt x="188" y="151"/>
                      <a:pt x="188" y="138"/>
                    </a:cubicBezTo>
                    <a:cubicBezTo>
                      <a:pt x="188" y="124"/>
                      <a:pt x="183" y="111"/>
                      <a:pt x="173" y="101"/>
                    </a:cubicBezTo>
                    <a:cubicBezTo>
                      <a:pt x="164" y="92"/>
                      <a:pt x="151" y="86"/>
                      <a:pt x="137" y="86"/>
                    </a:cubicBezTo>
                    <a:moveTo>
                      <a:pt x="137" y="270"/>
                    </a:moveTo>
                    <a:cubicBezTo>
                      <a:pt x="102" y="270"/>
                      <a:pt x="69" y="256"/>
                      <a:pt x="44" y="231"/>
                    </a:cubicBezTo>
                    <a:cubicBezTo>
                      <a:pt x="19" y="206"/>
                      <a:pt x="5" y="173"/>
                      <a:pt x="5" y="137"/>
                    </a:cubicBezTo>
                    <a:cubicBezTo>
                      <a:pt x="5" y="102"/>
                      <a:pt x="19" y="69"/>
                      <a:pt x="44" y="44"/>
                    </a:cubicBezTo>
                    <a:cubicBezTo>
                      <a:pt x="69" y="19"/>
                      <a:pt x="102" y="5"/>
                      <a:pt x="137" y="5"/>
                    </a:cubicBezTo>
                    <a:cubicBezTo>
                      <a:pt x="173" y="5"/>
                      <a:pt x="206" y="19"/>
                      <a:pt x="231" y="44"/>
                    </a:cubicBezTo>
                    <a:cubicBezTo>
                      <a:pt x="282" y="96"/>
                      <a:pt x="282" y="180"/>
                      <a:pt x="231" y="231"/>
                    </a:cubicBezTo>
                    <a:cubicBezTo>
                      <a:pt x="206" y="256"/>
                      <a:pt x="173" y="270"/>
                      <a:pt x="137" y="270"/>
                    </a:cubicBezTo>
                    <a:cubicBezTo>
                      <a:pt x="137" y="270"/>
                      <a:pt x="137" y="270"/>
                      <a:pt x="137" y="270"/>
                    </a:cubicBezTo>
                    <a:moveTo>
                      <a:pt x="137" y="0"/>
                    </a:moveTo>
                    <a:cubicBezTo>
                      <a:pt x="101" y="0"/>
                      <a:pt x="66" y="14"/>
                      <a:pt x="40" y="40"/>
                    </a:cubicBezTo>
                    <a:cubicBezTo>
                      <a:pt x="14" y="66"/>
                      <a:pt x="0" y="101"/>
                      <a:pt x="0" y="137"/>
                    </a:cubicBezTo>
                    <a:cubicBezTo>
                      <a:pt x="0" y="174"/>
                      <a:pt x="14" y="209"/>
                      <a:pt x="40" y="235"/>
                    </a:cubicBezTo>
                    <a:cubicBezTo>
                      <a:pt x="66" y="261"/>
                      <a:pt x="100" y="275"/>
                      <a:pt x="137" y="275"/>
                    </a:cubicBezTo>
                    <a:cubicBezTo>
                      <a:pt x="137" y="275"/>
                      <a:pt x="137" y="275"/>
                      <a:pt x="137" y="275"/>
                    </a:cubicBezTo>
                    <a:cubicBezTo>
                      <a:pt x="174" y="275"/>
                      <a:pt x="208" y="261"/>
                      <a:pt x="234" y="235"/>
                    </a:cubicBezTo>
                    <a:cubicBezTo>
                      <a:pt x="288" y="181"/>
                      <a:pt x="288" y="94"/>
                      <a:pt x="234" y="40"/>
                    </a:cubicBezTo>
                    <a:cubicBezTo>
                      <a:pt x="208" y="15"/>
                      <a:pt x="174" y="0"/>
                      <a:pt x="13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683">
                <a:extLst>
                  <a:ext uri="{FF2B5EF4-FFF2-40B4-BE49-F238E27FC236}">
                    <a16:creationId xmlns:a16="http://schemas.microsoft.com/office/drawing/2014/main" id="{94A111F6-60B7-4D63-A59D-FE8BB42EA932}"/>
                  </a:ext>
                </a:extLst>
              </p:cNvPr>
              <p:cNvSpPr>
                <a:spLocks noEditPoints="1"/>
              </p:cNvSpPr>
              <p:nvPr/>
            </p:nvSpPr>
            <p:spPr bwMode="auto">
              <a:xfrm>
                <a:off x="17342803" y="3519647"/>
                <a:ext cx="712788" cy="711200"/>
              </a:xfrm>
              <a:custGeom>
                <a:avLst/>
                <a:gdLst>
                  <a:gd name="T0" fmla="*/ 182 w 364"/>
                  <a:gd name="T1" fmla="*/ 67 h 363"/>
                  <a:gd name="T2" fmla="*/ 182 w 364"/>
                  <a:gd name="T3" fmla="*/ 62 h 363"/>
                  <a:gd name="T4" fmla="*/ 267 w 364"/>
                  <a:gd name="T5" fmla="*/ 266 h 363"/>
                  <a:gd name="T6" fmla="*/ 142 w 364"/>
                  <a:gd name="T7" fmla="*/ 43 h 363"/>
                  <a:gd name="T8" fmla="*/ 171 w 364"/>
                  <a:gd name="T9" fmla="*/ 14 h 363"/>
                  <a:gd name="T10" fmla="*/ 210 w 364"/>
                  <a:gd name="T11" fmla="*/ 6 h 363"/>
                  <a:gd name="T12" fmla="*/ 230 w 364"/>
                  <a:gd name="T13" fmla="*/ 45 h 363"/>
                  <a:gd name="T14" fmla="*/ 271 w 364"/>
                  <a:gd name="T15" fmla="*/ 39 h 363"/>
                  <a:gd name="T16" fmla="*/ 305 w 364"/>
                  <a:gd name="T17" fmla="*/ 55 h 363"/>
                  <a:gd name="T18" fmla="*/ 300 w 364"/>
                  <a:gd name="T19" fmla="*/ 99 h 363"/>
                  <a:gd name="T20" fmla="*/ 342 w 364"/>
                  <a:gd name="T21" fmla="*/ 104 h 363"/>
                  <a:gd name="T22" fmla="*/ 358 w 364"/>
                  <a:gd name="T23" fmla="*/ 155 h 363"/>
                  <a:gd name="T24" fmla="*/ 350 w 364"/>
                  <a:gd name="T25" fmla="*/ 200 h 363"/>
                  <a:gd name="T26" fmla="*/ 344 w 364"/>
                  <a:gd name="T27" fmla="*/ 219 h 363"/>
                  <a:gd name="T28" fmla="*/ 339 w 364"/>
                  <a:gd name="T29" fmla="*/ 264 h 363"/>
                  <a:gd name="T30" fmla="*/ 299 w 364"/>
                  <a:gd name="T31" fmla="*/ 267 h 363"/>
                  <a:gd name="T32" fmla="*/ 293 w 364"/>
                  <a:gd name="T33" fmla="*/ 308 h 363"/>
                  <a:gd name="T34" fmla="*/ 258 w 364"/>
                  <a:gd name="T35" fmla="*/ 342 h 363"/>
                  <a:gd name="T36" fmla="*/ 221 w 364"/>
                  <a:gd name="T37" fmla="*/ 321 h 363"/>
                  <a:gd name="T38" fmla="*/ 195 w 364"/>
                  <a:gd name="T39" fmla="*/ 349 h 363"/>
                  <a:gd name="T40" fmla="*/ 155 w 364"/>
                  <a:gd name="T41" fmla="*/ 357 h 363"/>
                  <a:gd name="T42" fmla="*/ 133 w 364"/>
                  <a:gd name="T43" fmla="*/ 317 h 363"/>
                  <a:gd name="T44" fmla="*/ 98 w 364"/>
                  <a:gd name="T45" fmla="*/ 338 h 363"/>
                  <a:gd name="T46" fmla="*/ 69 w 364"/>
                  <a:gd name="T47" fmla="*/ 306 h 363"/>
                  <a:gd name="T48" fmla="*/ 64 w 364"/>
                  <a:gd name="T49" fmla="*/ 265 h 363"/>
                  <a:gd name="T50" fmla="*/ 23 w 364"/>
                  <a:gd name="T51" fmla="*/ 261 h 363"/>
                  <a:gd name="T52" fmla="*/ 18 w 364"/>
                  <a:gd name="T53" fmla="*/ 217 h 363"/>
                  <a:gd name="T54" fmla="*/ 15 w 364"/>
                  <a:gd name="T55" fmla="*/ 197 h 363"/>
                  <a:gd name="T56" fmla="*/ 7 w 364"/>
                  <a:gd name="T57" fmla="*/ 152 h 363"/>
                  <a:gd name="T58" fmla="*/ 28 w 364"/>
                  <a:gd name="T59" fmla="*/ 114 h 363"/>
                  <a:gd name="T60" fmla="*/ 54 w 364"/>
                  <a:gd name="T61" fmla="*/ 99 h 363"/>
                  <a:gd name="T62" fmla="*/ 57 w 364"/>
                  <a:gd name="T63" fmla="*/ 56 h 363"/>
                  <a:gd name="T64" fmla="*/ 99 w 364"/>
                  <a:gd name="T65" fmla="*/ 64 h 363"/>
                  <a:gd name="T66" fmla="*/ 108 w 364"/>
                  <a:gd name="T67" fmla="*/ 20 h 363"/>
                  <a:gd name="T68" fmla="*/ 163 w 364"/>
                  <a:gd name="T69" fmla="*/ 0 h 363"/>
                  <a:gd name="T70" fmla="*/ 124 w 364"/>
                  <a:gd name="T71" fmla="*/ 23 h 363"/>
                  <a:gd name="T72" fmla="*/ 97 w 364"/>
                  <a:gd name="T73" fmla="*/ 60 h 363"/>
                  <a:gd name="T74" fmla="*/ 96 w 364"/>
                  <a:gd name="T75" fmla="*/ 60 h 363"/>
                  <a:gd name="T76" fmla="*/ 52 w 364"/>
                  <a:gd name="T77" fmla="*/ 53 h 363"/>
                  <a:gd name="T78" fmla="*/ 30 w 364"/>
                  <a:gd name="T79" fmla="*/ 90 h 363"/>
                  <a:gd name="T80" fmla="*/ 18 w 364"/>
                  <a:gd name="T81" fmla="*/ 140 h 363"/>
                  <a:gd name="T82" fmla="*/ 33 w 364"/>
                  <a:gd name="T83" fmla="*/ 180 h 363"/>
                  <a:gd name="T84" fmla="*/ 18 w 364"/>
                  <a:gd name="T85" fmla="*/ 222 h 363"/>
                  <a:gd name="T86" fmla="*/ 19 w 364"/>
                  <a:gd name="T87" fmla="*/ 264 h 363"/>
                  <a:gd name="T88" fmla="*/ 51 w 364"/>
                  <a:gd name="T89" fmla="*/ 289 h 363"/>
                  <a:gd name="T90" fmla="*/ 92 w 364"/>
                  <a:gd name="T91" fmla="*/ 301 h 363"/>
                  <a:gd name="T92" fmla="*/ 116 w 364"/>
                  <a:gd name="T93" fmla="*/ 337 h 363"/>
                  <a:gd name="T94" fmla="*/ 155 w 364"/>
                  <a:gd name="T95" fmla="*/ 362 h 363"/>
                  <a:gd name="T96" fmla="*/ 206 w 364"/>
                  <a:gd name="T97" fmla="*/ 363 h 363"/>
                  <a:gd name="T98" fmla="*/ 253 w 364"/>
                  <a:gd name="T99" fmla="*/ 349 h 363"/>
                  <a:gd name="T100" fmla="*/ 269 w 364"/>
                  <a:gd name="T101" fmla="*/ 302 h 363"/>
                  <a:gd name="T102" fmla="*/ 312 w 364"/>
                  <a:gd name="T103" fmla="*/ 291 h 363"/>
                  <a:gd name="T104" fmla="*/ 344 w 364"/>
                  <a:gd name="T105" fmla="*/ 267 h 363"/>
                  <a:gd name="T106" fmla="*/ 346 w 364"/>
                  <a:gd name="T107" fmla="*/ 224 h 363"/>
                  <a:gd name="T108" fmla="*/ 332 w 364"/>
                  <a:gd name="T109" fmla="*/ 183 h 363"/>
                  <a:gd name="T110" fmla="*/ 347 w 364"/>
                  <a:gd name="T111" fmla="*/ 143 h 363"/>
                  <a:gd name="T112" fmla="*/ 335 w 364"/>
                  <a:gd name="T113" fmla="*/ 93 h 363"/>
                  <a:gd name="T114" fmla="*/ 315 w 364"/>
                  <a:gd name="T115" fmla="*/ 56 h 363"/>
                  <a:gd name="T116" fmla="*/ 272 w 364"/>
                  <a:gd name="T117" fmla="*/ 62 h 363"/>
                  <a:gd name="T118" fmla="*/ 249 w 364"/>
                  <a:gd name="T119" fmla="*/ 26 h 363"/>
                  <a:gd name="T120" fmla="*/ 210 w 364"/>
                  <a:gd name="T121" fmla="*/ 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4" h="363">
                    <a:moveTo>
                      <a:pt x="182" y="296"/>
                    </a:moveTo>
                    <a:cubicBezTo>
                      <a:pt x="152" y="296"/>
                      <a:pt x="123" y="284"/>
                      <a:pt x="101" y="263"/>
                    </a:cubicBezTo>
                    <a:cubicBezTo>
                      <a:pt x="79" y="241"/>
                      <a:pt x="67" y="212"/>
                      <a:pt x="67" y="181"/>
                    </a:cubicBezTo>
                    <a:cubicBezTo>
                      <a:pt x="67" y="151"/>
                      <a:pt x="79" y="122"/>
                      <a:pt x="101" y="100"/>
                    </a:cubicBezTo>
                    <a:cubicBezTo>
                      <a:pt x="123" y="79"/>
                      <a:pt x="152" y="67"/>
                      <a:pt x="182" y="67"/>
                    </a:cubicBezTo>
                    <a:cubicBezTo>
                      <a:pt x="213" y="67"/>
                      <a:pt x="242" y="79"/>
                      <a:pt x="263" y="100"/>
                    </a:cubicBezTo>
                    <a:cubicBezTo>
                      <a:pt x="285" y="122"/>
                      <a:pt x="297" y="151"/>
                      <a:pt x="297" y="182"/>
                    </a:cubicBezTo>
                    <a:cubicBezTo>
                      <a:pt x="297" y="212"/>
                      <a:pt x="285" y="241"/>
                      <a:pt x="263" y="263"/>
                    </a:cubicBezTo>
                    <a:cubicBezTo>
                      <a:pt x="242" y="284"/>
                      <a:pt x="213" y="296"/>
                      <a:pt x="182" y="296"/>
                    </a:cubicBezTo>
                    <a:moveTo>
                      <a:pt x="182" y="62"/>
                    </a:moveTo>
                    <a:cubicBezTo>
                      <a:pt x="150" y="62"/>
                      <a:pt x="120" y="74"/>
                      <a:pt x="98" y="97"/>
                    </a:cubicBezTo>
                    <a:cubicBezTo>
                      <a:pt x="75" y="119"/>
                      <a:pt x="62" y="150"/>
                      <a:pt x="62" y="181"/>
                    </a:cubicBezTo>
                    <a:cubicBezTo>
                      <a:pt x="62" y="213"/>
                      <a:pt x="75" y="244"/>
                      <a:pt x="97" y="266"/>
                    </a:cubicBezTo>
                    <a:cubicBezTo>
                      <a:pt x="120" y="289"/>
                      <a:pt x="150" y="301"/>
                      <a:pt x="182" y="301"/>
                    </a:cubicBezTo>
                    <a:cubicBezTo>
                      <a:pt x="214" y="301"/>
                      <a:pt x="244" y="289"/>
                      <a:pt x="267" y="266"/>
                    </a:cubicBezTo>
                    <a:cubicBezTo>
                      <a:pt x="289" y="244"/>
                      <a:pt x="302" y="214"/>
                      <a:pt x="302" y="182"/>
                    </a:cubicBezTo>
                    <a:cubicBezTo>
                      <a:pt x="302" y="150"/>
                      <a:pt x="290" y="120"/>
                      <a:pt x="267" y="97"/>
                    </a:cubicBezTo>
                    <a:cubicBezTo>
                      <a:pt x="244" y="74"/>
                      <a:pt x="214" y="62"/>
                      <a:pt x="182" y="62"/>
                    </a:cubicBezTo>
                    <a:moveTo>
                      <a:pt x="140" y="44"/>
                    </a:moveTo>
                    <a:cubicBezTo>
                      <a:pt x="141" y="44"/>
                      <a:pt x="141" y="43"/>
                      <a:pt x="142" y="43"/>
                    </a:cubicBezTo>
                    <a:cubicBezTo>
                      <a:pt x="147" y="39"/>
                      <a:pt x="151" y="27"/>
                      <a:pt x="151" y="16"/>
                    </a:cubicBezTo>
                    <a:cubicBezTo>
                      <a:pt x="151" y="6"/>
                      <a:pt x="154" y="6"/>
                      <a:pt x="159" y="5"/>
                    </a:cubicBezTo>
                    <a:cubicBezTo>
                      <a:pt x="161" y="5"/>
                      <a:pt x="161" y="5"/>
                      <a:pt x="161" y="5"/>
                    </a:cubicBezTo>
                    <a:cubicBezTo>
                      <a:pt x="162" y="5"/>
                      <a:pt x="163" y="5"/>
                      <a:pt x="163" y="5"/>
                    </a:cubicBezTo>
                    <a:cubicBezTo>
                      <a:pt x="165" y="5"/>
                      <a:pt x="169" y="5"/>
                      <a:pt x="171" y="14"/>
                    </a:cubicBezTo>
                    <a:cubicBezTo>
                      <a:pt x="173" y="22"/>
                      <a:pt x="178" y="33"/>
                      <a:pt x="184" y="37"/>
                    </a:cubicBezTo>
                    <a:cubicBezTo>
                      <a:pt x="184" y="37"/>
                      <a:pt x="185" y="37"/>
                      <a:pt x="185" y="37"/>
                    </a:cubicBezTo>
                    <a:cubicBezTo>
                      <a:pt x="186" y="37"/>
                      <a:pt x="186" y="37"/>
                      <a:pt x="186" y="37"/>
                    </a:cubicBezTo>
                    <a:cubicBezTo>
                      <a:pt x="192" y="35"/>
                      <a:pt x="199" y="24"/>
                      <a:pt x="203" y="15"/>
                    </a:cubicBezTo>
                    <a:cubicBezTo>
                      <a:pt x="206" y="6"/>
                      <a:pt x="209" y="6"/>
                      <a:pt x="210" y="6"/>
                    </a:cubicBezTo>
                    <a:cubicBezTo>
                      <a:pt x="212" y="6"/>
                      <a:pt x="213" y="6"/>
                      <a:pt x="214" y="7"/>
                    </a:cubicBezTo>
                    <a:cubicBezTo>
                      <a:pt x="216" y="7"/>
                      <a:pt x="216" y="7"/>
                      <a:pt x="216" y="7"/>
                    </a:cubicBezTo>
                    <a:cubicBezTo>
                      <a:pt x="220" y="8"/>
                      <a:pt x="223" y="9"/>
                      <a:pt x="223" y="19"/>
                    </a:cubicBezTo>
                    <a:cubicBezTo>
                      <a:pt x="222" y="27"/>
                      <a:pt x="224" y="39"/>
                      <a:pt x="228" y="44"/>
                    </a:cubicBezTo>
                    <a:cubicBezTo>
                      <a:pt x="228" y="45"/>
                      <a:pt x="229" y="45"/>
                      <a:pt x="230" y="45"/>
                    </a:cubicBezTo>
                    <a:cubicBezTo>
                      <a:pt x="237" y="45"/>
                      <a:pt x="247" y="37"/>
                      <a:pt x="253" y="29"/>
                    </a:cubicBezTo>
                    <a:cubicBezTo>
                      <a:pt x="256" y="25"/>
                      <a:pt x="259" y="23"/>
                      <a:pt x="261" y="23"/>
                    </a:cubicBezTo>
                    <a:cubicBezTo>
                      <a:pt x="263" y="23"/>
                      <a:pt x="264" y="24"/>
                      <a:pt x="266" y="25"/>
                    </a:cubicBezTo>
                    <a:cubicBezTo>
                      <a:pt x="267" y="26"/>
                      <a:pt x="267" y="26"/>
                      <a:pt x="267" y="26"/>
                    </a:cubicBezTo>
                    <a:cubicBezTo>
                      <a:pt x="271" y="28"/>
                      <a:pt x="274" y="29"/>
                      <a:pt x="271" y="39"/>
                    </a:cubicBezTo>
                    <a:cubicBezTo>
                      <a:pt x="268" y="47"/>
                      <a:pt x="265" y="58"/>
                      <a:pt x="268" y="65"/>
                    </a:cubicBezTo>
                    <a:cubicBezTo>
                      <a:pt x="268" y="66"/>
                      <a:pt x="268" y="66"/>
                      <a:pt x="269" y="67"/>
                    </a:cubicBezTo>
                    <a:cubicBezTo>
                      <a:pt x="270" y="67"/>
                      <a:pt x="271" y="67"/>
                      <a:pt x="273" y="67"/>
                    </a:cubicBezTo>
                    <a:cubicBezTo>
                      <a:pt x="280" y="67"/>
                      <a:pt x="290" y="63"/>
                      <a:pt x="297" y="58"/>
                    </a:cubicBezTo>
                    <a:cubicBezTo>
                      <a:pt x="300" y="56"/>
                      <a:pt x="302" y="55"/>
                      <a:pt x="305" y="55"/>
                    </a:cubicBezTo>
                    <a:cubicBezTo>
                      <a:pt x="307" y="55"/>
                      <a:pt x="308" y="56"/>
                      <a:pt x="310" y="58"/>
                    </a:cubicBezTo>
                    <a:cubicBezTo>
                      <a:pt x="311" y="59"/>
                      <a:pt x="311" y="59"/>
                      <a:pt x="311" y="59"/>
                    </a:cubicBezTo>
                    <a:cubicBezTo>
                      <a:pt x="314" y="62"/>
                      <a:pt x="316" y="65"/>
                      <a:pt x="310" y="73"/>
                    </a:cubicBezTo>
                    <a:cubicBezTo>
                      <a:pt x="305" y="79"/>
                      <a:pt x="299" y="90"/>
                      <a:pt x="299" y="97"/>
                    </a:cubicBezTo>
                    <a:cubicBezTo>
                      <a:pt x="299" y="98"/>
                      <a:pt x="300" y="98"/>
                      <a:pt x="300" y="99"/>
                    </a:cubicBezTo>
                    <a:cubicBezTo>
                      <a:pt x="303" y="101"/>
                      <a:pt x="307" y="101"/>
                      <a:pt x="312" y="101"/>
                    </a:cubicBezTo>
                    <a:cubicBezTo>
                      <a:pt x="317" y="101"/>
                      <a:pt x="323" y="101"/>
                      <a:pt x="329" y="99"/>
                    </a:cubicBezTo>
                    <a:cubicBezTo>
                      <a:pt x="331" y="98"/>
                      <a:pt x="334" y="98"/>
                      <a:pt x="335" y="98"/>
                    </a:cubicBezTo>
                    <a:cubicBezTo>
                      <a:pt x="339" y="98"/>
                      <a:pt x="340" y="100"/>
                      <a:pt x="342" y="103"/>
                    </a:cubicBezTo>
                    <a:cubicBezTo>
                      <a:pt x="342" y="104"/>
                      <a:pt x="342" y="104"/>
                      <a:pt x="342" y="104"/>
                    </a:cubicBezTo>
                    <a:cubicBezTo>
                      <a:pt x="344" y="108"/>
                      <a:pt x="346" y="112"/>
                      <a:pt x="337" y="117"/>
                    </a:cubicBezTo>
                    <a:cubicBezTo>
                      <a:pt x="330" y="122"/>
                      <a:pt x="322" y="130"/>
                      <a:pt x="320" y="137"/>
                    </a:cubicBezTo>
                    <a:cubicBezTo>
                      <a:pt x="319" y="137"/>
                      <a:pt x="319" y="138"/>
                      <a:pt x="320" y="139"/>
                    </a:cubicBezTo>
                    <a:cubicBezTo>
                      <a:pt x="324" y="144"/>
                      <a:pt x="336" y="147"/>
                      <a:pt x="347" y="148"/>
                    </a:cubicBezTo>
                    <a:cubicBezTo>
                      <a:pt x="357" y="148"/>
                      <a:pt x="357" y="151"/>
                      <a:pt x="358" y="155"/>
                    </a:cubicBezTo>
                    <a:cubicBezTo>
                      <a:pt x="358" y="157"/>
                      <a:pt x="358" y="157"/>
                      <a:pt x="358" y="157"/>
                    </a:cubicBezTo>
                    <a:cubicBezTo>
                      <a:pt x="359" y="161"/>
                      <a:pt x="359" y="165"/>
                      <a:pt x="349" y="168"/>
                    </a:cubicBezTo>
                    <a:cubicBezTo>
                      <a:pt x="341" y="170"/>
                      <a:pt x="331" y="175"/>
                      <a:pt x="327" y="181"/>
                    </a:cubicBezTo>
                    <a:cubicBezTo>
                      <a:pt x="326" y="182"/>
                      <a:pt x="326" y="182"/>
                      <a:pt x="326" y="183"/>
                    </a:cubicBezTo>
                    <a:cubicBezTo>
                      <a:pt x="329" y="189"/>
                      <a:pt x="340" y="196"/>
                      <a:pt x="350" y="200"/>
                    </a:cubicBezTo>
                    <a:cubicBezTo>
                      <a:pt x="359" y="203"/>
                      <a:pt x="358" y="206"/>
                      <a:pt x="357" y="211"/>
                    </a:cubicBezTo>
                    <a:cubicBezTo>
                      <a:pt x="357" y="212"/>
                      <a:pt x="357" y="212"/>
                      <a:pt x="357" y="212"/>
                    </a:cubicBezTo>
                    <a:cubicBezTo>
                      <a:pt x="356" y="216"/>
                      <a:pt x="356" y="219"/>
                      <a:pt x="348" y="219"/>
                    </a:cubicBezTo>
                    <a:cubicBezTo>
                      <a:pt x="347" y="219"/>
                      <a:pt x="347" y="219"/>
                      <a:pt x="346" y="219"/>
                    </a:cubicBezTo>
                    <a:cubicBezTo>
                      <a:pt x="345" y="219"/>
                      <a:pt x="345" y="219"/>
                      <a:pt x="344" y="219"/>
                    </a:cubicBezTo>
                    <a:cubicBezTo>
                      <a:pt x="336" y="219"/>
                      <a:pt x="325" y="221"/>
                      <a:pt x="320" y="225"/>
                    </a:cubicBezTo>
                    <a:cubicBezTo>
                      <a:pt x="319" y="226"/>
                      <a:pt x="319" y="226"/>
                      <a:pt x="319" y="227"/>
                    </a:cubicBezTo>
                    <a:cubicBezTo>
                      <a:pt x="319" y="234"/>
                      <a:pt x="327" y="244"/>
                      <a:pt x="336" y="250"/>
                    </a:cubicBezTo>
                    <a:cubicBezTo>
                      <a:pt x="344" y="256"/>
                      <a:pt x="342" y="259"/>
                      <a:pt x="340" y="263"/>
                    </a:cubicBezTo>
                    <a:cubicBezTo>
                      <a:pt x="339" y="264"/>
                      <a:pt x="339" y="264"/>
                      <a:pt x="339" y="264"/>
                    </a:cubicBezTo>
                    <a:cubicBezTo>
                      <a:pt x="338" y="267"/>
                      <a:pt x="337" y="269"/>
                      <a:pt x="333" y="269"/>
                    </a:cubicBezTo>
                    <a:cubicBezTo>
                      <a:pt x="331" y="269"/>
                      <a:pt x="329" y="269"/>
                      <a:pt x="326" y="268"/>
                    </a:cubicBezTo>
                    <a:cubicBezTo>
                      <a:pt x="320" y="265"/>
                      <a:pt x="313" y="264"/>
                      <a:pt x="307" y="264"/>
                    </a:cubicBezTo>
                    <a:cubicBezTo>
                      <a:pt x="304" y="264"/>
                      <a:pt x="302" y="264"/>
                      <a:pt x="300" y="265"/>
                    </a:cubicBezTo>
                    <a:cubicBezTo>
                      <a:pt x="299" y="265"/>
                      <a:pt x="299" y="266"/>
                      <a:pt x="299" y="267"/>
                    </a:cubicBezTo>
                    <a:cubicBezTo>
                      <a:pt x="297" y="273"/>
                      <a:pt x="301" y="285"/>
                      <a:pt x="308" y="294"/>
                    </a:cubicBezTo>
                    <a:cubicBezTo>
                      <a:pt x="313" y="302"/>
                      <a:pt x="311" y="304"/>
                      <a:pt x="308" y="307"/>
                    </a:cubicBezTo>
                    <a:cubicBezTo>
                      <a:pt x="307" y="308"/>
                      <a:pt x="307" y="308"/>
                      <a:pt x="307" y="308"/>
                    </a:cubicBezTo>
                    <a:cubicBezTo>
                      <a:pt x="305" y="310"/>
                      <a:pt x="303" y="312"/>
                      <a:pt x="301" y="312"/>
                    </a:cubicBezTo>
                    <a:cubicBezTo>
                      <a:pt x="299" y="312"/>
                      <a:pt x="296" y="310"/>
                      <a:pt x="293" y="308"/>
                    </a:cubicBezTo>
                    <a:cubicBezTo>
                      <a:pt x="286" y="303"/>
                      <a:pt x="276" y="297"/>
                      <a:pt x="269" y="297"/>
                    </a:cubicBezTo>
                    <a:cubicBezTo>
                      <a:pt x="268" y="297"/>
                      <a:pt x="266" y="297"/>
                      <a:pt x="265" y="298"/>
                    </a:cubicBezTo>
                    <a:cubicBezTo>
                      <a:pt x="258" y="302"/>
                      <a:pt x="260" y="319"/>
                      <a:pt x="263" y="329"/>
                    </a:cubicBezTo>
                    <a:cubicBezTo>
                      <a:pt x="267" y="338"/>
                      <a:pt x="264" y="340"/>
                      <a:pt x="260" y="342"/>
                    </a:cubicBezTo>
                    <a:cubicBezTo>
                      <a:pt x="258" y="342"/>
                      <a:pt x="258" y="342"/>
                      <a:pt x="258" y="342"/>
                    </a:cubicBezTo>
                    <a:cubicBezTo>
                      <a:pt x="256" y="343"/>
                      <a:pt x="255" y="344"/>
                      <a:pt x="253" y="344"/>
                    </a:cubicBezTo>
                    <a:cubicBezTo>
                      <a:pt x="251" y="344"/>
                      <a:pt x="248" y="342"/>
                      <a:pt x="246" y="337"/>
                    </a:cubicBezTo>
                    <a:cubicBezTo>
                      <a:pt x="240" y="329"/>
                      <a:pt x="230" y="320"/>
                      <a:pt x="223" y="320"/>
                    </a:cubicBezTo>
                    <a:cubicBezTo>
                      <a:pt x="223" y="320"/>
                      <a:pt x="223" y="320"/>
                      <a:pt x="223" y="320"/>
                    </a:cubicBezTo>
                    <a:cubicBezTo>
                      <a:pt x="222" y="320"/>
                      <a:pt x="222" y="320"/>
                      <a:pt x="221" y="321"/>
                    </a:cubicBezTo>
                    <a:cubicBezTo>
                      <a:pt x="217" y="326"/>
                      <a:pt x="215" y="338"/>
                      <a:pt x="214" y="346"/>
                    </a:cubicBezTo>
                    <a:cubicBezTo>
                      <a:pt x="215" y="356"/>
                      <a:pt x="211" y="357"/>
                      <a:pt x="207" y="358"/>
                    </a:cubicBezTo>
                    <a:cubicBezTo>
                      <a:pt x="205" y="358"/>
                      <a:pt x="205" y="358"/>
                      <a:pt x="205" y="358"/>
                    </a:cubicBezTo>
                    <a:cubicBezTo>
                      <a:pt x="204" y="358"/>
                      <a:pt x="203" y="358"/>
                      <a:pt x="202" y="358"/>
                    </a:cubicBezTo>
                    <a:cubicBezTo>
                      <a:pt x="201" y="358"/>
                      <a:pt x="197" y="358"/>
                      <a:pt x="195" y="349"/>
                    </a:cubicBezTo>
                    <a:cubicBezTo>
                      <a:pt x="192" y="339"/>
                      <a:pt x="185" y="328"/>
                      <a:pt x="179" y="326"/>
                    </a:cubicBezTo>
                    <a:cubicBezTo>
                      <a:pt x="178" y="326"/>
                      <a:pt x="178" y="326"/>
                      <a:pt x="178" y="326"/>
                    </a:cubicBezTo>
                    <a:cubicBezTo>
                      <a:pt x="177" y="326"/>
                      <a:pt x="177" y="326"/>
                      <a:pt x="177" y="326"/>
                    </a:cubicBezTo>
                    <a:cubicBezTo>
                      <a:pt x="171" y="330"/>
                      <a:pt x="165" y="340"/>
                      <a:pt x="163" y="348"/>
                    </a:cubicBezTo>
                    <a:cubicBezTo>
                      <a:pt x="160" y="357"/>
                      <a:pt x="157" y="357"/>
                      <a:pt x="155" y="357"/>
                    </a:cubicBezTo>
                    <a:cubicBezTo>
                      <a:pt x="154" y="357"/>
                      <a:pt x="153" y="357"/>
                      <a:pt x="152" y="357"/>
                    </a:cubicBezTo>
                    <a:cubicBezTo>
                      <a:pt x="150" y="356"/>
                      <a:pt x="150" y="356"/>
                      <a:pt x="150" y="356"/>
                    </a:cubicBezTo>
                    <a:cubicBezTo>
                      <a:pt x="146" y="356"/>
                      <a:pt x="143" y="355"/>
                      <a:pt x="143" y="345"/>
                    </a:cubicBezTo>
                    <a:cubicBezTo>
                      <a:pt x="143" y="335"/>
                      <a:pt x="140" y="322"/>
                      <a:pt x="135" y="318"/>
                    </a:cubicBezTo>
                    <a:cubicBezTo>
                      <a:pt x="134" y="317"/>
                      <a:pt x="134" y="317"/>
                      <a:pt x="133" y="317"/>
                    </a:cubicBezTo>
                    <a:cubicBezTo>
                      <a:pt x="133" y="317"/>
                      <a:pt x="133" y="317"/>
                      <a:pt x="133" y="317"/>
                    </a:cubicBezTo>
                    <a:cubicBezTo>
                      <a:pt x="126" y="319"/>
                      <a:pt x="118" y="327"/>
                      <a:pt x="112" y="334"/>
                    </a:cubicBezTo>
                    <a:cubicBezTo>
                      <a:pt x="110" y="339"/>
                      <a:pt x="107" y="341"/>
                      <a:pt x="105" y="341"/>
                    </a:cubicBezTo>
                    <a:cubicBezTo>
                      <a:pt x="103" y="341"/>
                      <a:pt x="101" y="340"/>
                      <a:pt x="100" y="339"/>
                    </a:cubicBezTo>
                    <a:cubicBezTo>
                      <a:pt x="98" y="338"/>
                      <a:pt x="98" y="338"/>
                      <a:pt x="98" y="338"/>
                    </a:cubicBezTo>
                    <a:cubicBezTo>
                      <a:pt x="94" y="336"/>
                      <a:pt x="91" y="335"/>
                      <a:pt x="95" y="325"/>
                    </a:cubicBezTo>
                    <a:cubicBezTo>
                      <a:pt x="98" y="315"/>
                      <a:pt x="99" y="302"/>
                      <a:pt x="95" y="297"/>
                    </a:cubicBezTo>
                    <a:cubicBezTo>
                      <a:pt x="95" y="296"/>
                      <a:pt x="94" y="296"/>
                      <a:pt x="93" y="296"/>
                    </a:cubicBezTo>
                    <a:cubicBezTo>
                      <a:pt x="93" y="296"/>
                      <a:pt x="93" y="296"/>
                      <a:pt x="93" y="296"/>
                    </a:cubicBezTo>
                    <a:cubicBezTo>
                      <a:pt x="86" y="296"/>
                      <a:pt x="76" y="301"/>
                      <a:pt x="69" y="306"/>
                    </a:cubicBezTo>
                    <a:cubicBezTo>
                      <a:pt x="66" y="308"/>
                      <a:pt x="63" y="310"/>
                      <a:pt x="61" y="310"/>
                    </a:cubicBezTo>
                    <a:cubicBezTo>
                      <a:pt x="59" y="310"/>
                      <a:pt x="58" y="308"/>
                      <a:pt x="56" y="306"/>
                    </a:cubicBezTo>
                    <a:cubicBezTo>
                      <a:pt x="54" y="305"/>
                      <a:pt x="54" y="305"/>
                      <a:pt x="54" y="305"/>
                    </a:cubicBezTo>
                    <a:cubicBezTo>
                      <a:pt x="51" y="302"/>
                      <a:pt x="49" y="300"/>
                      <a:pt x="55" y="292"/>
                    </a:cubicBezTo>
                    <a:cubicBezTo>
                      <a:pt x="61" y="283"/>
                      <a:pt x="66" y="271"/>
                      <a:pt x="64" y="265"/>
                    </a:cubicBezTo>
                    <a:cubicBezTo>
                      <a:pt x="64" y="264"/>
                      <a:pt x="64" y="263"/>
                      <a:pt x="63" y="263"/>
                    </a:cubicBezTo>
                    <a:cubicBezTo>
                      <a:pt x="61" y="262"/>
                      <a:pt x="58" y="262"/>
                      <a:pt x="55" y="262"/>
                    </a:cubicBezTo>
                    <a:cubicBezTo>
                      <a:pt x="49" y="262"/>
                      <a:pt x="43" y="263"/>
                      <a:pt x="36" y="265"/>
                    </a:cubicBezTo>
                    <a:cubicBezTo>
                      <a:pt x="34" y="266"/>
                      <a:pt x="32" y="267"/>
                      <a:pt x="30" y="267"/>
                    </a:cubicBezTo>
                    <a:cubicBezTo>
                      <a:pt x="26" y="267"/>
                      <a:pt x="25" y="265"/>
                      <a:pt x="23" y="261"/>
                    </a:cubicBezTo>
                    <a:cubicBezTo>
                      <a:pt x="23" y="260"/>
                      <a:pt x="23" y="260"/>
                      <a:pt x="23" y="260"/>
                    </a:cubicBezTo>
                    <a:cubicBezTo>
                      <a:pt x="21" y="256"/>
                      <a:pt x="19" y="253"/>
                      <a:pt x="27" y="247"/>
                    </a:cubicBezTo>
                    <a:cubicBezTo>
                      <a:pt x="36" y="241"/>
                      <a:pt x="44" y="231"/>
                      <a:pt x="45" y="225"/>
                    </a:cubicBezTo>
                    <a:cubicBezTo>
                      <a:pt x="45" y="224"/>
                      <a:pt x="44" y="223"/>
                      <a:pt x="44" y="223"/>
                    </a:cubicBezTo>
                    <a:cubicBezTo>
                      <a:pt x="38" y="218"/>
                      <a:pt x="27" y="217"/>
                      <a:pt x="18" y="217"/>
                    </a:cubicBezTo>
                    <a:cubicBezTo>
                      <a:pt x="18" y="217"/>
                      <a:pt x="18" y="217"/>
                      <a:pt x="18" y="217"/>
                    </a:cubicBezTo>
                    <a:cubicBezTo>
                      <a:pt x="17" y="217"/>
                      <a:pt x="17" y="217"/>
                      <a:pt x="16" y="217"/>
                    </a:cubicBezTo>
                    <a:cubicBezTo>
                      <a:pt x="8" y="217"/>
                      <a:pt x="7" y="213"/>
                      <a:pt x="7" y="209"/>
                    </a:cubicBezTo>
                    <a:cubicBezTo>
                      <a:pt x="6" y="208"/>
                      <a:pt x="6" y="208"/>
                      <a:pt x="6" y="208"/>
                    </a:cubicBezTo>
                    <a:cubicBezTo>
                      <a:pt x="6" y="203"/>
                      <a:pt x="5" y="200"/>
                      <a:pt x="15" y="197"/>
                    </a:cubicBezTo>
                    <a:cubicBezTo>
                      <a:pt x="25" y="194"/>
                      <a:pt x="36" y="187"/>
                      <a:pt x="38" y="181"/>
                    </a:cubicBezTo>
                    <a:cubicBezTo>
                      <a:pt x="38" y="180"/>
                      <a:pt x="38" y="179"/>
                      <a:pt x="38" y="178"/>
                    </a:cubicBezTo>
                    <a:cubicBezTo>
                      <a:pt x="34" y="173"/>
                      <a:pt x="23" y="167"/>
                      <a:pt x="15" y="165"/>
                    </a:cubicBezTo>
                    <a:cubicBezTo>
                      <a:pt x="5" y="162"/>
                      <a:pt x="6" y="158"/>
                      <a:pt x="7" y="154"/>
                    </a:cubicBezTo>
                    <a:cubicBezTo>
                      <a:pt x="7" y="152"/>
                      <a:pt x="7" y="152"/>
                      <a:pt x="7" y="152"/>
                    </a:cubicBezTo>
                    <a:cubicBezTo>
                      <a:pt x="7" y="148"/>
                      <a:pt x="8" y="145"/>
                      <a:pt x="17" y="145"/>
                    </a:cubicBezTo>
                    <a:cubicBezTo>
                      <a:pt x="18" y="145"/>
                      <a:pt x="18" y="145"/>
                      <a:pt x="18" y="145"/>
                    </a:cubicBezTo>
                    <a:cubicBezTo>
                      <a:pt x="28" y="145"/>
                      <a:pt x="41" y="142"/>
                      <a:pt x="45" y="136"/>
                    </a:cubicBezTo>
                    <a:cubicBezTo>
                      <a:pt x="46" y="136"/>
                      <a:pt x="46" y="135"/>
                      <a:pt x="46" y="134"/>
                    </a:cubicBezTo>
                    <a:cubicBezTo>
                      <a:pt x="44" y="128"/>
                      <a:pt x="35" y="119"/>
                      <a:pt x="28" y="114"/>
                    </a:cubicBezTo>
                    <a:cubicBezTo>
                      <a:pt x="20" y="109"/>
                      <a:pt x="21" y="106"/>
                      <a:pt x="23" y="102"/>
                    </a:cubicBezTo>
                    <a:cubicBezTo>
                      <a:pt x="24" y="100"/>
                      <a:pt x="24" y="100"/>
                      <a:pt x="24" y="100"/>
                    </a:cubicBezTo>
                    <a:cubicBezTo>
                      <a:pt x="26" y="97"/>
                      <a:pt x="27" y="95"/>
                      <a:pt x="30" y="95"/>
                    </a:cubicBezTo>
                    <a:cubicBezTo>
                      <a:pt x="32" y="95"/>
                      <a:pt x="34" y="96"/>
                      <a:pt x="37" y="96"/>
                    </a:cubicBezTo>
                    <a:cubicBezTo>
                      <a:pt x="43" y="98"/>
                      <a:pt x="49" y="99"/>
                      <a:pt x="54" y="99"/>
                    </a:cubicBezTo>
                    <a:cubicBezTo>
                      <a:pt x="59" y="99"/>
                      <a:pt x="63" y="98"/>
                      <a:pt x="66" y="97"/>
                    </a:cubicBezTo>
                    <a:cubicBezTo>
                      <a:pt x="66" y="96"/>
                      <a:pt x="67" y="96"/>
                      <a:pt x="67" y="95"/>
                    </a:cubicBezTo>
                    <a:cubicBezTo>
                      <a:pt x="67" y="88"/>
                      <a:pt x="61" y="77"/>
                      <a:pt x="56" y="70"/>
                    </a:cubicBezTo>
                    <a:cubicBezTo>
                      <a:pt x="50" y="63"/>
                      <a:pt x="52" y="60"/>
                      <a:pt x="56" y="57"/>
                    </a:cubicBezTo>
                    <a:cubicBezTo>
                      <a:pt x="57" y="56"/>
                      <a:pt x="57" y="56"/>
                      <a:pt x="57" y="56"/>
                    </a:cubicBezTo>
                    <a:cubicBezTo>
                      <a:pt x="59" y="54"/>
                      <a:pt x="60" y="52"/>
                      <a:pt x="62" y="52"/>
                    </a:cubicBezTo>
                    <a:cubicBezTo>
                      <a:pt x="64" y="52"/>
                      <a:pt x="67" y="54"/>
                      <a:pt x="70" y="56"/>
                    </a:cubicBezTo>
                    <a:cubicBezTo>
                      <a:pt x="77" y="61"/>
                      <a:pt x="87" y="66"/>
                      <a:pt x="94" y="66"/>
                    </a:cubicBezTo>
                    <a:cubicBezTo>
                      <a:pt x="96" y="66"/>
                      <a:pt x="98" y="65"/>
                      <a:pt x="99" y="64"/>
                    </a:cubicBezTo>
                    <a:cubicBezTo>
                      <a:pt x="99" y="64"/>
                      <a:pt x="99" y="64"/>
                      <a:pt x="99" y="64"/>
                    </a:cubicBezTo>
                    <a:cubicBezTo>
                      <a:pt x="99" y="64"/>
                      <a:pt x="99" y="64"/>
                      <a:pt x="99" y="64"/>
                    </a:cubicBezTo>
                    <a:cubicBezTo>
                      <a:pt x="100" y="64"/>
                      <a:pt x="100" y="64"/>
                      <a:pt x="100" y="64"/>
                    </a:cubicBezTo>
                    <a:cubicBezTo>
                      <a:pt x="106" y="59"/>
                      <a:pt x="104" y="43"/>
                      <a:pt x="102" y="34"/>
                    </a:cubicBezTo>
                    <a:cubicBezTo>
                      <a:pt x="99" y="24"/>
                      <a:pt x="102" y="23"/>
                      <a:pt x="106" y="21"/>
                    </a:cubicBezTo>
                    <a:cubicBezTo>
                      <a:pt x="108" y="20"/>
                      <a:pt x="108" y="20"/>
                      <a:pt x="108" y="20"/>
                    </a:cubicBezTo>
                    <a:cubicBezTo>
                      <a:pt x="109" y="20"/>
                      <a:pt x="111" y="19"/>
                      <a:pt x="112" y="19"/>
                    </a:cubicBezTo>
                    <a:cubicBezTo>
                      <a:pt x="113" y="19"/>
                      <a:pt x="116" y="19"/>
                      <a:pt x="120" y="26"/>
                    </a:cubicBezTo>
                    <a:cubicBezTo>
                      <a:pt x="125" y="33"/>
                      <a:pt x="133" y="41"/>
                      <a:pt x="139" y="43"/>
                    </a:cubicBezTo>
                    <a:cubicBezTo>
                      <a:pt x="140" y="44"/>
                      <a:pt x="140" y="44"/>
                      <a:pt x="140" y="44"/>
                    </a:cubicBezTo>
                    <a:moveTo>
                      <a:pt x="163" y="0"/>
                    </a:moveTo>
                    <a:cubicBezTo>
                      <a:pt x="162" y="0"/>
                      <a:pt x="161" y="0"/>
                      <a:pt x="160" y="0"/>
                    </a:cubicBezTo>
                    <a:cubicBezTo>
                      <a:pt x="158" y="0"/>
                      <a:pt x="158" y="0"/>
                      <a:pt x="158" y="0"/>
                    </a:cubicBezTo>
                    <a:cubicBezTo>
                      <a:pt x="152" y="1"/>
                      <a:pt x="146" y="3"/>
                      <a:pt x="146" y="16"/>
                    </a:cubicBezTo>
                    <a:cubicBezTo>
                      <a:pt x="146" y="25"/>
                      <a:pt x="143" y="35"/>
                      <a:pt x="140" y="38"/>
                    </a:cubicBezTo>
                    <a:cubicBezTo>
                      <a:pt x="135" y="36"/>
                      <a:pt x="129" y="30"/>
                      <a:pt x="124" y="23"/>
                    </a:cubicBezTo>
                    <a:cubicBezTo>
                      <a:pt x="121" y="17"/>
                      <a:pt x="117" y="14"/>
                      <a:pt x="112" y="14"/>
                    </a:cubicBezTo>
                    <a:cubicBezTo>
                      <a:pt x="110" y="14"/>
                      <a:pt x="107" y="15"/>
                      <a:pt x="106" y="16"/>
                    </a:cubicBezTo>
                    <a:cubicBezTo>
                      <a:pt x="104" y="16"/>
                      <a:pt x="104" y="16"/>
                      <a:pt x="104" y="16"/>
                    </a:cubicBezTo>
                    <a:cubicBezTo>
                      <a:pt x="99" y="19"/>
                      <a:pt x="93" y="22"/>
                      <a:pt x="97" y="35"/>
                    </a:cubicBezTo>
                    <a:cubicBezTo>
                      <a:pt x="100" y="46"/>
                      <a:pt x="99" y="57"/>
                      <a:pt x="97" y="60"/>
                    </a:cubicBezTo>
                    <a:cubicBezTo>
                      <a:pt x="97" y="60"/>
                      <a:pt x="97" y="60"/>
                      <a:pt x="97" y="60"/>
                    </a:cubicBezTo>
                    <a:cubicBezTo>
                      <a:pt x="97" y="60"/>
                      <a:pt x="97" y="60"/>
                      <a:pt x="97" y="60"/>
                    </a:cubicBezTo>
                    <a:cubicBezTo>
                      <a:pt x="97" y="60"/>
                      <a:pt x="97" y="60"/>
                      <a:pt x="97" y="60"/>
                    </a:cubicBezTo>
                    <a:cubicBezTo>
                      <a:pt x="96" y="60"/>
                      <a:pt x="96" y="60"/>
                      <a:pt x="96" y="60"/>
                    </a:cubicBezTo>
                    <a:cubicBezTo>
                      <a:pt x="96" y="60"/>
                      <a:pt x="96" y="60"/>
                      <a:pt x="96" y="60"/>
                    </a:cubicBezTo>
                    <a:cubicBezTo>
                      <a:pt x="96" y="60"/>
                      <a:pt x="95" y="61"/>
                      <a:pt x="94" y="61"/>
                    </a:cubicBezTo>
                    <a:cubicBezTo>
                      <a:pt x="89" y="61"/>
                      <a:pt x="80" y="57"/>
                      <a:pt x="73" y="52"/>
                    </a:cubicBezTo>
                    <a:cubicBezTo>
                      <a:pt x="69" y="49"/>
                      <a:pt x="65" y="47"/>
                      <a:pt x="62" y="47"/>
                    </a:cubicBezTo>
                    <a:cubicBezTo>
                      <a:pt x="58" y="47"/>
                      <a:pt x="55" y="50"/>
                      <a:pt x="53" y="52"/>
                    </a:cubicBezTo>
                    <a:cubicBezTo>
                      <a:pt x="52" y="53"/>
                      <a:pt x="52" y="53"/>
                      <a:pt x="52" y="53"/>
                    </a:cubicBezTo>
                    <a:cubicBezTo>
                      <a:pt x="48" y="58"/>
                      <a:pt x="44" y="63"/>
                      <a:pt x="52" y="74"/>
                    </a:cubicBezTo>
                    <a:cubicBezTo>
                      <a:pt x="57" y="80"/>
                      <a:pt x="61" y="88"/>
                      <a:pt x="62" y="93"/>
                    </a:cubicBezTo>
                    <a:cubicBezTo>
                      <a:pt x="60" y="94"/>
                      <a:pt x="58" y="94"/>
                      <a:pt x="55" y="94"/>
                    </a:cubicBezTo>
                    <a:cubicBezTo>
                      <a:pt x="50" y="94"/>
                      <a:pt x="44" y="93"/>
                      <a:pt x="39" y="92"/>
                    </a:cubicBezTo>
                    <a:cubicBezTo>
                      <a:pt x="35" y="91"/>
                      <a:pt x="33" y="90"/>
                      <a:pt x="30" y="90"/>
                    </a:cubicBezTo>
                    <a:cubicBezTo>
                      <a:pt x="23" y="90"/>
                      <a:pt x="21" y="95"/>
                      <a:pt x="20" y="98"/>
                    </a:cubicBezTo>
                    <a:cubicBezTo>
                      <a:pt x="19" y="99"/>
                      <a:pt x="19" y="99"/>
                      <a:pt x="19" y="99"/>
                    </a:cubicBezTo>
                    <a:cubicBezTo>
                      <a:pt x="16" y="105"/>
                      <a:pt x="14" y="111"/>
                      <a:pt x="25" y="118"/>
                    </a:cubicBezTo>
                    <a:cubicBezTo>
                      <a:pt x="32" y="123"/>
                      <a:pt x="38" y="130"/>
                      <a:pt x="40" y="134"/>
                    </a:cubicBezTo>
                    <a:cubicBezTo>
                      <a:pt x="37" y="137"/>
                      <a:pt x="27" y="140"/>
                      <a:pt x="18" y="140"/>
                    </a:cubicBezTo>
                    <a:cubicBezTo>
                      <a:pt x="17" y="140"/>
                      <a:pt x="17" y="140"/>
                      <a:pt x="17" y="140"/>
                    </a:cubicBezTo>
                    <a:cubicBezTo>
                      <a:pt x="3" y="140"/>
                      <a:pt x="3" y="147"/>
                      <a:pt x="2" y="152"/>
                    </a:cubicBezTo>
                    <a:cubicBezTo>
                      <a:pt x="2" y="153"/>
                      <a:pt x="2" y="153"/>
                      <a:pt x="2" y="153"/>
                    </a:cubicBezTo>
                    <a:cubicBezTo>
                      <a:pt x="1" y="159"/>
                      <a:pt x="1" y="166"/>
                      <a:pt x="14" y="169"/>
                    </a:cubicBezTo>
                    <a:cubicBezTo>
                      <a:pt x="22" y="172"/>
                      <a:pt x="29" y="176"/>
                      <a:pt x="33" y="180"/>
                    </a:cubicBezTo>
                    <a:cubicBezTo>
                      <a:pt x="30" y="184"/>
                      <a:pt x="22" y="189"/>
                      <a:pt x="13" y="192"/>
                    </a:cubicBezTo>
                    <a:cubicBezTo>
                      <a:pt x="0" y="196"/>
                      <a:pt x="0" y="202"/>
                      <a:pt x="1" y="208"/>
                    </a:cubicBezTo>
                    <a:cubicBezTo>
                      <a:pt x="2" y="210"/>
                      <a:pt x="2" y="210"/>
                      <a:pt x="2" y="210"/>
                    </a:cubicBezTo>
                    <a:cubicBezTo>
                      <a:pt x="2" y="215"/>
                      <a:pt x="3" y="222"/>
                      <a:pt x="17" y="222"/>
                    </a:cubicBezTo>
                    <a:cubicBezTo>
                      <a:pt x="17" y="222"/>
                      <a:pt x="18" y="222"/>
                      <a:pt x="18" y="222"/>
                    </a:cubicBezTo>
                    <a:cubicBezTo>
                      <a:pt x="18" y="222"/>
                      <a:pt x="18" y="222"/>
                      <a:pt x="18" y="222"/>
                    </a:cubicBezTo>
                    <a:cubicBezTo>
                      <a:pt x="26" y="222"/>
                      <a:pt x="35" y="223"/>
                      <a:pt x="39" y="226"/>
                    </a:cubicBezTo>
                    <a:cubicBezTo>
                      <a:pt x="38" y="230"/>
                      <a:pt x="32" y="238"/>
                      <a:pt x="24" y="243"/>
                    </a:cubicBezTo>
                    <a:cubicBezTo>
                      <a:pt x="13" y="251"/>
                      <a:pt x="15" y="257"/>
                      <a:pt x="18" y="262"/>
                    </a:cubicBezTo>
                    <a:cubicBezTo>
                      <a:pt x="19" y="264"/>
                      <a:pt x="19" y="264"/>
                      <a:pt x="19" y="264"/>
                    </a:cubicBezTo>
                    <a:cubicBezTo>
                      <a:pt x="21" y="267"/>
                      <a:pt x="23" y="272"/>
                      <a:pt x="30" y="272"/>
                    </a:cubicBezTo>
                    <a:cubicBezTo>
                      <a:pt x="32" y="272"/>
                      <a:pt x="35" y="271"/>
                      <a:pt x="38" y="270"/>
                    </a:cubicBezTo>
                    <a:cubicBezTo>
                      <a:pt x="44" y="268"/>
                      <a:pt x="50" y="267"/>
                      <a:pt x="55" y="267"/>
                    </a:cubicBezTo>
                    <a:cubicBezTo>
                      <a:pt x="57" y="267"/>
                      <a:pt x="58" y="267"/>
                      <a:pt x="60" y="267"/>
                    </a:cubicBezTo>
                    <a:cubicBezTo>
                      <a:pt x="60" y="272"/>
                      <a:pt x="56" y="281"/>
                      <a:pt x="51" y="289"/>
                    </a:cubicBezTo>
                    <a:cubicBezTo>
                      <a:pt x="43" y="299"/>
                      <a:pt x="46" y="304"/>
                      <a:pt x="51" y="309"/>
                    </a:cubicBezTo>
                    <a:cubicBezTo>
                      <a:pt x="52" y="310"/>
                      <a:pt x="52" y="310"/>
                      <a:pt x="52" y="310"/>
                    </a:cubicBezTo>
                    <a:cubicBezTo>
                      <a:pt x="54" y="312"/>
                      <a:pt x="57" y="315"/>
                      <a:pt x="61" y="315"/>
                    </a:cubicBezTo>
                    <a:cubicBezTo>
                      <a:pt x="64" y="315"/>
                      <a:pt x="68" y="313"/>
                      <a:pt x="72" y="310"/>
                    </a:cubicBezTo>
                    <a:cubicBezTo>
                      <a:pt x="79" y="305"/>
                      <a:pt x="87" y="301"/>
                      <a:pt x="92" y="301"/>
                    </a:cubicBezTo>
                    <a:cubicBezTo>
                      <a:pt x="94" y="305"/>
                      <a:pt x="93" y="315"/>
                      <a:pt x="90" y="324"/>
                    </a:cubicBezTo>
                    <a:cubicBezTo>
                      <a:pt x="85" y="336"/>
                      <a:pt x="91" y="340"/>
                      <a:pt x="96" y="343"/>
                    </a:cubicBezTo>
                    <a:cubicBezTo>
                      <a:pt x="97" y="343"/>
                      <a:pt x="97" y="343"/>
                      <a:pt x="97" y="343"/>
                    </a:cubicBezTo>
                    <a:cubicBezTo>
                      <a:pt x="99" y="344"/>
                      <a:pt x="102" y="346"/>
                      <a:pt x="105" y="346"/>
                    </a:cubicBezTo>
                    <a:cubicBezTo>
                      <a:pt x="109" y="346"/>
                      <a:pt x="113" y="343"/>
                      <a:pt x="116" y="337"/>
                    </a:cubicBezTo>
                    <a:cubicBezTo>
                      <a:pt x="121" y="331"/>
                      <a:pt x="128" y="325"/>
                      <a:pt x="133" y="323"/>
                    </a:cubicBezTo>
                    <a:cubicBezTo>
                      <a:pt x="136" y="326"/>
                      <a:pt x="138" y="336"/>
                      <a:pt x="138" y="345"/>
                    </a:cubicBezTo>
                    <a:cubicBezTo>
                      <a:pt x="137" y="358"/>
                      <a:pt x="143" y="360"/>
                      <a:pt x="150" y="361"/>
                    </a:cubicBezTo>
                    <a:cubicBezTo>
                      <a:pt x="151" y="362"/>
                      <a:pt x="151" y="362"/>
                      <a:pt x="151" y="362"/>
                    </a:cubicBezTo>
                    <a:cubicBezTo>
                      <a:pt x="152" y="362"/>
                      <a:pt x="154" y="362"/>
                      <a:pt x="155" y="362"/>
                    </a:cubicBezTo>
                    <a:cubicBezTo>
                      <a:pt x="161" y="362"/>
                      <a:pt x="165" y="358"/>
                      <a:pt x="167" y="350"/>
                    </a:cubicBezTo>
                    <a:cubicBezTo>
                      <a:pt x="170" y="342"/>
                      <a:pt x="174" y="334"/>
                      <a:pt x="178" y="331"/>
                    </a:cubicBezTo>
                    <a:cubicBezTo>
                      <a:pt x="182" y="334"/>
                      <a:pt x="187" y="342"/>
                      <a:pt x="190" y="351"/>
                    </a:cubicBezTo>
                    <a:cubicBezTo>
                      <a:pt x="192" y="359"/>
                      <a:pt x="196" y="363"/>
                      <a:pt x="202" y="363"/>
                    </a:cubicBezTo>
                    <a:cubicBezTo>
                      <a:pt x="203" y="363"/>
                      <a:pt x="205" y="363"/>
                      <a:pt x="206" y="363"/>
                    </a:cubicBezTo>
                    <a:cubicBezTo>
                      <a:pt x="208" y="362"/>
                      <a:pt x="208" y="362"/>
                      <a:pt x="208" y="362"/>
                    </a:cubicBezTo>
                    <a:cubicBezTo>
                      <a:pt x="214" y="362"/>
                      <a:pt x="220" y="360"/>
                      <a:pt x="219" y="346"/>
                    </a:cubicBezTo>
                    <a:cubicBezTo>
                      <a:pt x="220" y="338"/>
                      <a:pt x="222" y="329"/>
                      <a:pt x="224" y="325"/>
                    </a:cubicBezTo>
                    <a:cubicBezTo>
                      <a:pt x="229" y="326"/>
                      <a:pt x="236" y="333"/>
                      <a:pt x="241" y="340"/>
                    </a:cubicBezTo>
                    <a:cubicBezTo>
                      <a:pt x="245" y="346"/>
                      <a:pt x="249" y="349"/>
                      <a:pt x="253" y="349"/>
                    </a:cubicBezTo>
                    <a:cubicBezTo>
                      <a:pt x="256" y="349"/>
                      <a:pt x="258" y="348"/>
                      <a:pt x="260" y="347"/>
                    </a:cubicBezTo>
                    <a:cubicBezTo>
                      <a:pt x="262" y="346"/>
                      <a:pt x="262" y="346"/>
                      <a:pt x="262" y="346"/>
                    </a:cubicBezTo>
                    <a:cubicBezTo>
                      <a:pt x="267" y="343"/>
                      <a:pt x="272" y="340"/>
                      <a:pt x="268" y="327"/>
                    </a:cubicBezTo>
                    <a:cubicBezTo>
                      <a:pt x="265" y="315"/>
                      <a:pt x="265" y="304"/>
                      <a:pt x="267" y="303"/>
                    </a:cubicBezTo>
                    <a:cubicBezTo>
                      <a:pt x="268" y="302"/>
                      <a:pt x="268" y="302"/>
                      <a:pt x="269" y="302"/>
                    </a:cubicBezTo>
                    <a:cubicBezTo>
                      <a:pt x="274" y="302"/>
                      <a:pt x="283" y="306"/>
                      <a:pt x="290" y="312"/>
                    </a:cubicBezTo>
                    <a:cubicBezTo>
                      <a:pt x="294" y="315"/>
                      <a:pt x="298" y="317"/>
                      <a:pt x="301" y="317"/>
                    </a:cubicBezTo>
                    <a:cubicBezTo>
                      <a:pt x="305" y="317"/>
                      <a:pt x="308" y="314"/>
                      <a:pt x="310" y="312"/>
                    </a:cubicBezTo>
                    <a:cubicBezTo>
                      <a:pt x="311" y="311"/>
                      <a:pt x="311" y="311"/>
                      <a:pt x="311" y="311"/>
                    </a:cubicBezTo>
                    <a:cubicBezTo>
                      <a:pt x="316" y="307"/>
                      <a:pt x="320" y="302"/>
                      <a:pt x="312" y="291"/>
                    </a:cubicBezTo>
                    <a:cubicBezTo>
                      <a:pt x="306" y="283"/>
                      <a:pt x="303" y="274"/>
                      <a:pt x="303" y="270"/>
                    </a:cubicBezTo>
                    <a:cubicBezTo>
                      <a:pt x="304" y="269"/>
                      <a:pt x="306" y="269"/>
                      <a:pt x="307" y="269"/>
                    </a:cubicBezTo>
                    <a:cubicBezTo>
                      <a:pt x="312" y="269"/>
                      <a:pt x="319" y="270"/>
                      <a:pt x="325" y="272"/>
                    </a:cubicBezTo>
                    <a:cubicBezTo>
                      <a:pt x="328" y="274"/>
                      <a:pt x="331" y="274"/>
                      <a:pt x="333" y="274"/>
                    </a:cubicBezTo>
                    <a:cubicBezTo>
                      <a:pt x="340" y="274"/>
                      <a:pt x="342" y="270"/>
                      <a:pt x="344" y="267"/>
                    </a:cubicBezTo>
                    <a:cubicBezTo>
                      <a:pt x="345" y="265"/>
                      <a:pt x="345" y="265"/>
                      <a:pt x="345" y="265"/>
                    </a:cubicBezTo>
                    <a:cubicBezTo>
                      <a:pt x="348" y="260"/>
                      <a:pt x="350" y="254"/>
                      <a:pt x="339" y="246"/>
                    </a:cubicBezTo>
                    <a:cubicBezTo>
                      <a:pt x="332" y="241"/>
                      <a:pt x="325" y="233"/>
                      <a:pt x="324" y="228"/>
                    </a:cubicBezTo>
                    <a:cubicBezTo>
                      <a:pt x="328" y="226"/>
                      <a:pt x="336" y="224"/>
                      <a:pt x="344" y="224"/>
                    </a:cubicBezTo>
                    <a:cubicBezTo>
                      <a:pt x="346" y="224"/>
                      <a:pt x="346" y="224"/>
                      <a:pt x="346" y="224"/>
                    </a:cubicBezTo>
                    <a:cubicBezTo>
                      <a:pt x="346" y="224"/>
                      <a:pt x="347" y="224"/>
                      <a:pt x="348" y="224"/>
                    </a:cubicBezTo>
                    <a:cubicBezTo>
                      <a:pt x="360" y="224"/>
                      <a:pt x="361" y="218"/>
                      <a:pt x="362" y="213"/>
                    </a:cubicBezTo>
                    <a:cubicBezTo>
                      <a:pt x="362" y="212"/>
                      <a:pt x="362" y="212"/>
                      <a:pt x="362" y="212"/>
                    </a:cubicBezTo>
                    <a:cubicBezTo>
                      <a:pt x="364" y="205"/>
                      <a:pt x="364" y="199"/>
                      <a:pt x="351" y="195"/>
                    </a:cubicBezTo>
                    <a:cubicBezTo>
                      <a:pt x="343" y="192"/>
                      <a:pt x="334" y="187"/>
                      <a:pt x="332" y="183"/>
                    </a:cubicBezTo>
                    <a:cubicBezTo>
                      <a:pt x="335" y="179"/>
                      <a:pt x="343" y="175"/>
                      <a:pt x="351" y="172"/>
                    </a:cubicBezTo>
                    <a:cubicBezTo>
                      <a:pt x="364" y="169"/>
                      <a:pt x="364" y="163"/>
                      <a:pt x="363" y="156"/>
                    </a:cubicBezTo>
                    <a:cubicBezTo>
                      <a:pt x="363" y="155"/>
                      <a:pt x="363" y="155"/>
                      <a:pt x="363" y="155"/>
                    </a:cubicBezTo>
                    <a:cubicBezTo>
                      <a:pt x="362" y="149"/>
                      <a:pt x="360" y="143"/>
                      <a:pt x="347" y="143"/>
                    </a:cubicBezTo>
                    <a:cubicBezTo>
                      <a:pt x="347" y="143"/>
                      <a:pt x="347" y="143"/>
                      <a:pt x="347" y="143"/>
                    </a:cubicBezTo>
                    <a:cubicBezTo>
                      <a:pt x="338" y="142"/>
                      <a:pt x="328" y="140"/>
                      <a:pt x="325" y="137"/>
                    </a:cubicBezTo>
                    <a:cubicBezTo>
                      <a:pt x="327" y="132"/>
                      <a:pt x="333" y="126"/>
                      <a:pt x="340" y="121"/>
                    </a:cubicBezTo>
                    <a:cubicBezTo>
                      <a:pt x="351" y="114"/>
                      <a:pt x="349" y="108"/>
                      <a:pt x="347" y="102"/>
                    </a:cubicBezTo>
                    <a:cubicBezTo>
                      <a:pt x="346" y="101"/>
                      <a:pt x="346" y="101"/>
                      <a:pt x="346" y="101"/>
                    </a:cubicBezTo>
                    <a:cubicBezTo>
                      <a:pt x="345" y="98"/>
                      <a:pt x="342" y="93"/>
                      <a:pt x="335" y="93"/>
                    </a:cubicBezTo>
                    <a:cubicBezTo>
                      <a:pt x="333" y="93"/>
                      <a:pt x="330" y="93"/>
                      <a:pt x="327" y="94"/>
                    </a:cubicBezTo>
                    <a:cubicBezTo>
                      <a:pt x="322" y="96"/>
                      <a:pt x="317" y="96"/>
                      <a:pt x="312" y="96"/>
                    </a:cubicBezTo>
                    <a:cubicBezTo>
                      <a:pt x="309" y="96"/>
                      <a:pt x="306" y="96"/>
                      <a:pt x="304" y="95"/>
                    </a:cubicBezTo>
                    <a:cubicBezTo>
                      <a:pt x="305" y="90"/>
                      <a:pt x="309" y="82"/>
                      <a:pt x="314" y="76"/>
                    </a:cubicBezTo>
                    <a:cubicBezTo>
                      <a:pt x="322" y="66"/>
                      <a:pt x="319" y="60"/>
                      <a:pt x="315" y="56"/>
                    </a:cubicBezTo>
                    <a:cubicBezTo>
                      <a:pt x="314" y="55"/>
                      <a:pt x="314" y="55"/>
                      <a:pt x="314" y="55"/>
                    </a:cubicBezTo>
                    <a:cubicBezTo>
                      <a:pt x="312" y="52"/>
                      <a:pt x="309" y="50"/>
                      <a:pt x="305" y="50"/>
                    </a:cubicBezTo>
                    <a:cubicBezTo>
                      <a:pt x="301" y="50"/>
                      <a:pt x="298" y="51"/>
                      <a:pt x="294" y="54"/>
                    </a:cubicBezTo>
                    <a:cubicBezTo>
                      <a:pt x="287" y="59"/>
                      <a:pt x="278" y="62"/>
                      <a:pt x="273" y="62"/>
                    </a:cubicBezTo>
                    <a:cubicBezTo>
                      <a:pt x="273" y="62"/>
                      <a:pt x="272" y="62"/>
                      <a:pt x="272" y="62"/>
                    </a:cubicBezTo>
                    <a:cubicBezTo>
                      <a:pt x="271" y="57"/>
                      <a:pt x="272" y="48"/>
                      <a:pt x="275" y="41"/>
                    </a:cubicBezTo>
                    <a:cubicBezTo>
                      <a:pt x="280" y="28"/>
                      <a:pt x="275" y="24"/>
                      <a:pt x="270" y="21"/>
                    </a:cubicBezTo>
                    <a:cubicBezTo>
                      <a:pt x="268" y="21"/>
                      <a:pt x="268" y="21"/>
                      <a:pt x="268" y="21"/>
                    </a:cubicBezTo>
                    <a:cubicBezTo>
                      <a:pt x="266" y="19"/>
                      <a:pt x="264" y="18"/>
                      <a:pt x="261" y="18"/>
                    </a:cubicBezTo>
                    <a:cubicBezTo>
                      <a:pt x="257" y="18"/>
                      <a:pt x="253" y="21"/>
                      <a:pt x="249" y="26"/>
                    </a:cubicBezTo>
                    <a:cubicBezTo>
                      <a:pt x="244" y="33"/>
                      <a:pt x="236" y="39"/>
                      <a:pt x="231" y="40"/>
                    </a:cubicBezTo>
                    <a:cubicBezTo>
                      <a:pt x="229" y="36"/>
                      <a:pt x="227" y="27"/>
                      <a:pt x="228" y="19"/>
                    </a:cubicBezTo>
                    <a:cubicBezTo>
                      <a:pt x="229" y="6"/>
                      <a:pt x="223" y="3"/>
                      <a:pt x="216" y="2"/>
                    </a:cubicBezTo>
                    <a:cubicBezTo>
                      <a:pt x="215" y="2"/>
                      <a:pt x="215" y="2"/>
                      <a:pt x="215" y="2"/>
                    </a:cubicBezTo>
                    <a:cubicBezTo>
                      <a:pt x="214" y="2"/>
                      <a:pt x="212" y="1"/>
                      <a:pt x="210" y="1"/>
                    </a:cubicBezTo>
                    <a:cubicBezTo>
                      <a:pt x="205" y="1"/>
                      <a:pt x="201" y="5"/>
                      <a:pt x="198" y="13"/>
                    </a:cubicBezTo>
                    <a:cubicBezTo>
                      <a:pt x="195" y="21"/>
                      <a:pt x="190" y="30"/>
                      <a:pt x="186" y="32"/>
                    </a:cubicBezTo>
                    <a:cubicBezTo>
                      <a:pt x="182" y="29"/>
                      <a:pt x="178" y="21"/>
                      <a:pt x="176" y="13"/>
                    </a:cubicBezTo>
                    <a:cubicBezTo>
                      <a:pt x="174" y="4"/>
                      <a:pt x="170" y="0"/>
                      <a:pt x="163"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1685">
                <a:extLst>
                  <a:ext uri="{FF2B5EF4-FFF2-40B4-BE49-F238E27FC236}">
                    <a16:creationId xmlns:a16="http://schemas.microsoft.com/office/drawing/2014/main" id="{8FA30E00-1D43-4C9B-AF50-55366084304C}"/>
                  </a:ext>
                </a:extLst>
              </p:cNvPr>
              <p:cNvSpPr>
                <a:spLocks noEditPoints="1"/>
              </p:cNvSpPr>
              <p:nvPr/>
            </p:nvSpPr>
            <p:spPr bwMode="auto">
              <a:xfrm>
                <a:off x="17041178" y="4065747"/>
                <a:ext cx="66675" cy="71438"/>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5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5"/>
                      <a:pt x="23" y="35"/>
                      <a:pt x="23" y="35"/>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86">
                <a:extLst>
                  <a:ext uri="{FF2B5EF4-FFF2-40B4-BE49-F238E27FC236}">
                    <a16:creationId xmlns:a16="http://schemas.microsoft.com/office/drawing/2014/main" id="{5D0AC94F-C344-4ECF-A864-A9E5725024A9}"/>
                  </a:ext>
                </a:extLst>
              </p:cNvPr>
              <p:cNvSpPr>
                <a:spLocks noEditPoints="1"/>
              </p:cNvSpPr>
              <p:nvPr/>
            </p:nvSpPr>
            <p:spPr bwMode="auto">
              <a:xfrm>
                <a:off x="17017366" y="4076859"/>
                <a:ext cx="66675" cy="69850"/>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3"/>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1690">
                <a:extLst>
                  <a:ext uri="{FF2B5EF4-FFF2-40B4-BE49-F238E27FC236}">
                    <a16:creationId xmlns:a16="http://schemas.microsoft.com/office/drawing/2014/main" id="{D036EBBB-9F33-4AA1-9F9E-682861257195}"/>
                  </a:ext>
                </a:extLst>
              </p:cNvPr>
              <p:cNvSpPr>
                <a:spLocks noEditPoints="1"/>
              </p:cNvSpPr>
              <p:nvPr/>
            </p:nvSpPr>
            <p:spPr bwMode="auto">
              <a:xfrm>
                <a:off x="16830041" y="4205447"/>
                <a:ext cx="361950" cy="360363"/>
              </a:xfrm>
              <a:custGeom>
                <a:avLst/>
                <a:gdLst>
                  <a:gd name="T0" fmla="*/ 72 w 184"/>
                  <a:gd name="T1" fmla="*/ 115 h 184"/>
                  <a:gd name="T2" fmla="*/ 69 w 184"/>
                  <a:gd name="T3" fmla="*/ 72 h 184"/>
                  <a:gd name="T4" fmla="*/ 111 w 184"/>
                  <a:gd name="T5" fmla="*/ 69 h 184"/>
                  <a:gd name="T6" fmla="*/ 115 w 184"/>
                  <a:gd name="T7" fmla="*/ 111 h 184"/>
                  <a:gd name="T8" fmla="*/ 92 w 184"/>
                  <a:gd name="T9" fmla="*/ 57 h 184"/>
                  <a:gd name="T10" fmla="*/ 57 w 184"/>
                  <a:gd name="T11" fmla="*/ 95 h 184"/>
                  <a:gd name="T12" fmla="*/ 92 w 184"/>
                  <a:gd name="T13" fmla="*/ 127 h 184"/>
                  <a:gd name="T14" fmla="*/ 127 w 184"/>
                  <a:gd name="T15" fmla="*/ 89 h 184"/>
                  <a:gd name="T16" fmla="*/ 92 w 184"/>
                  <a:gd name="T17" fmla="*/ 57 h 184"/>
                  <a:gd name="T18" fmla="*/ 36 w 184"/>
                  <a:gd name="T19" fmla="*/ 158 h 184"/>
                  <a:gd name="T20" fmla="*/ 26 w 184"/>
                  <a:gd name="T21" fmla="*/ 35 h 184"/>
                  <a:gd name="T22" fmla="*/ 148 w 184"/>
                  <a:gd name="T23" fmla="*/ 25 h 184"/>
                  <a:gd name="T24" fmla="*/ 158 w 184"/>
                  <a:gd name="T25" fmla="*/ 148 h 184"/>
                  <a:gd name="T26" fmla="*/ 92 w 184"/>
                  <a:gd name="T27" fmla="*/ 179 h 184"/>
                  <a:gd name="T28" fmla="*/ 73 w 184"/>
                  <a:gd name="T29" fmla="*/ 2 h 184"/>
                  <a:gd name="T30" fmla="*/ 71 w 184"/>
                  <a:gd name="T31" fmla="*/ 2 h 184"/>
                  <a:gd name="T32" fmla="*/ 51 w 184"/>
                  <a:gd name="T33" fmla="*/ 9 h 184"/>
                  <a:gd name="T34" fmla="*/ 48 w 184"/>
                  <a:gd name="T35" fmla="*/ 11 h 184"/>
                  <a:gd name="T36" fmla="*/ 31 w 184"/>
                  <a:gd name="T37" fmla="*/ 23 h 184"/>
                  <a:gd name="T38" fmla="*/ 30 w 184"/>
                  <a:gd name="T39" fmla="*/ 24 h 184"/>
                  <a:gd name="T40" fmla="*/ 22 w 184"/>
                  <a:gd name="T41" fmla="*/ 32 h 184"/>
                  <a:gd name="T42" fmla="*/ 15 w 184"/>
                  <a:gd name="T43" fmla="*/ 42 h 184"/>
                  <a:gd name="T44" fmla="*/ 5 w 184"/>
                  <a:gd name="T45" fmla="*/ 62 h 184"/>
                  <a:gd name="T46" fmla="*/ 4 w 184"/>
                  <a:gd name="T47" fmla="*/ 65 h 184"/>
                  <a:gd name="T48" fmla="*/ 0 w 184"/>
                  <a:gd name="T49" fmla="*/ 87 h 184"/>
                  <a:gd name="T50" fmla="*/ 0 w 184"/>
                  <a:gd name="T51" fmla="*/ 99 h 184"/>
                  <a:gd name="T52" fmla="*/ 2 w 184"/>
                  <a:gd name="T53" fmla="*/ 111 h 184"/>
                  <a:gd name="T54" fmla="*/ 9 w 184"/>
                  <a:gd name="T55" fmla="*/ 132 h 184"/>
                  <a:gd name="T56" fmla="*/ 10 w 184"/>
                  <a:gd name="T57" fmla="*/ 135 h 184"/>
                  <a:gd name="T58" fmla="*/ 24 w 184"/>
                  <a:gd name="T59" fmla="*/ 153 h 184"/>
                  <a:gd name="T60" fmla="*/ 32 w 184"/>
                  <a:gd name="T61" fmla="*/ 162 h 184"/>
                  <a:gd name="T62" fmla="*/ 42 w 184"/>
                  <a:gd name="T63" fmla="*/ 169 h 184"/>
                  <a:gd name="T64" fmla="*/ 62 w 184"/>
                  <a:gd name="T65" fmla="*/ 179 h 184"/>
                  <a:gd name="T66" fmla="*/ 64 w 184"/>
                  <a:gd name="T67" fmla="*/ 179 h 184"/>
                  <a:gd name="T68" fmla="*/ 86 w 184"/>
                  <a:gd name="T69" fmla="*/ 184 h 184"/>
                  <a:gd name="T70" fmla="*/ 87 w 184"/>
                  <a:gd name="T71" fmla="*/ 183 h 184"/>
                  <a:gd name="T72" fmla="*/ 92 w 184"/>
                  <a:gd name="T73" fmla="*/ 184 h 184"/>
                  <a:gd name="T74" fmla="*/ 111 w 184"/>
                  <a:gd name="T75" fmla="*/ 181 h 184"/>
                  <a:gd name="T76" fmla="*/ 112 w 184"/>
                  <a:gd name="T77" fmla="*/ 182 h 184"/>
                  <a:gd name="T78" fmla="*/ 134 w 184"/>
                  <a:gd name="T79" fmla="*/ 174 h 184"/>
                  <a:gd name="T80" fmla="*/ 153 w 184"/>
                  <a:gd name="T81" fmla="*/ 161 h 184"/>
                  <a:gd name="T82" fmla="*/ 154 w 184"/>
                  <a:gd name="T83" fmla="*/ 159 h 184"/>
                  <a:gd name="T84" fmla="*/ 162 w 184"/>
                  <a:gd name="T85" fmla="*/ 151 h 184"/>
                  <a:gd name="T86" fmla="*/ 169 w 184"/>
                  <a:gd name="T87" fmla="*/ 141 h 184"/>
                  <a:gd name="T88" fmla="*/ 179 w 184"/>
                  <a:gd name="T89" fmla="*/ 121 h 184"/>
                  <a:gd name="T90" fmla="*/ 180 w 184"/>
                  <a:gd name="T91" fmla="*/ 118 h 184"/>
                  <a:gd name="T92" fmla="*/ 184 w 184"/>
                  <a:gd name="T93" fmla="*/ 96 h 184"/>
                  <a:gd name="T94" fmla="*/ 184 w 184"/>
                  <a:gd name="T95" fmla="*/ 84 h 184"/>
                  <a:gd name="T96" fmla="*/ 182 w 184"/>
                  <a:gd name="T97" fmla="*/ 72 h 184"/>
                  <a:gd name="T98" fmla="*/ 174 w 184"/>
                  <a:gd name="T99" fmla="*/ 51 h 184"/>
                  <a:gd name="T100" fmla="*/ 173 w 184"/>
                  <a:gd name="T101" fmla="*/ 48 h 184"/>
                  <a:gd name="T102" fmla="*/ 160 w 184"/>
                  <a:gd name="T103" fmla="*/ 30 h 184"/>
                  <a:gd name="T104" fmla="*/ 151 w 184"/>
                  <a:gd name="T105" fmla="*/ 21 h 184"/>
                  <a:gd name="T106" fmla="*/ 141 w 184"/>
                  <a:gd name="T107" fmla="*/ 14 h 184"/>
                  <a:gd name="T108" fmla="*/ 121 w 184"/>
                  <a:gd name="T109" fmla="*/ 4 h 184"/>
                  <a:gd name="T110" fmla="*/ 120 w 184"/>
                  <a:gd name="T111" fmla="*/ 4 h 184"/>
                  <a:gd name="T112" fmla="*/ 97 w 184"/>
                  <a:gd name="T113" fmla="*/ 0 h 184"/>
                  <a:gd name="T114" fmla="*/ 96 w 184"/>
                  <a:gd name="T115" fmla="*/ 0 h 184"/>
                  <a:gd name="T116" fmla="*/ 92 w 184"/>
                  <a:gd name="T11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84">
                    <a:moveTo>
                      <a:pt x="92" y="122"/>
                    </a:moveTo>
                    <a:cubicBezTo>
                      <a:pt x="85" y="122"/>
                      <a:pt x="78" y="119"/>
                      <a:pt x="72" y="115"/>
                    </a:cubicBezTo>
                    <a:cubicBezTo>
                      <a:pt x="66" y="109"/>
                      <a:pt x="63" y="102"/>
                      <a:pt x="62" y="94"/>
                    </a:cubicBezTo>
                    <a:cubicBezTo>
                      <a:pt x="61" y="86"/>
                      <a:pt x="64" y="78"/>
                      <a:pt x="69" y="72"/>
                    </a:cubicBezTo>
                    <a:cubicBezTo>
                      <a:pt x="75" y="65"/>
                      <a:pt x="83" y="62"/>
                      <a:pt x="92" y="62"/>
                    </a:cubicBezTo>
                    <a:cubicBezTo>
                      <a:pt x="99" y="62"/>
                      <a:pt x="106" y="64"/>
                      <a:pt x="111" y="69"/>
                    </a:cubicBezTo>
                    <a:cubicBezTo>
                      <a:pt x="118" y="74"/>
                      <a:pt x="121" y="81"/>
                      <a:pt x="122" y="89"/>
                    </a:cubicBezTo>
                    <a:cubicBezTo>
                      <a:pt x="123" y="97"/>
                      <a:pt x="120" y="105"/>
                      <a:pt x="115" y="111"/>
                    </a:cubicBezTo>
                    <a:cubicBezTo>
                      <a:pt x="109" y="118"/>
                      <a:pt x="101" y="122"/>
                      <a:pt x="92" y="122"/>
                    </a:cubicBezTo>
                    <a:moveTo>
                      <a:pt x="92" y="57"/>
                    </a:moveTo>
                    <a:cubicBezTo>
                      <a:pt x="82" y="57"/>
                      <a:pt x="72" y="61"/>
                      <a:pt x="65" y="69"/>
                    </a:cubicBezTo>
                    <a:cubicBezTo>
                      <a:pt x="59" y="76"/>
                      <a:pt x="56" y="85"/>
                      <a:pt x="57" y="95"/>
                    </a:cubicBezTo>
                    <a:cubicBezTo>
                      <a:pt x="58" y="104"/>
                      <a:pt x="62" y="112"/>
                      <a:pt x="69" y="119"/>
                    </a:cubicBezTo>
                    <a:cubicBezTo>
                      <a:pt x="76" y="124"/>
                      <a:pt x="84" y="127"/>
                      <a:pt x="92" y="127"/>
                    </a:cubicBezTo>
                    <a:cubicBezTo>
                      <a:pt x="102" y="127"/>
                      <a:pt x="112" y="122"/>
                      <a:pt x="119" y="114"/>
                    </a:cubicBezTo>
                    <a:cubicBezTo>
                      <a:pt x="125" y="107"/>
                      <a:pt x="128" y="98"/>
                      <a:pt x="127" y="89"/>
                    </a:cubicBezTo>
                    <a:cubicBezTo>
                      <a:pt x="126" y="79"/>
                      <a:pt x="122" y="71"/>
                      <a:pt x="115" y="65"/>
                    </a:cubicBezTo>
                    <a:cubicBezTo>
                      <a:pt x="108" y="60"/>
                      <a:pt x="100" y="57"/>
                      <a:pt x="92" y="57"/>
                    </a:cubicBezTo>
                    <a:moveTo>
                      <a:pt x="92" y="179"/>
                    </a:moveTo>
                    <a:cubicBezTo>
                      <a:pt x="71" y="179"/>
                      <a:pt x="51" y="171"/>
                      <a:pt x="36" y="158"/>
                    </a:cubicBezTo>
                    <a:cubicBezTo>
                      <a:pt x="18" y="143"/>
                      <a:pt x="7" y="122"/>
                      <a:pt x="5" y="99"/>
                    </a:cubicBezTo>
                    <a:cubicBezTo>
                      <a:pt x="3" y="76"/>
                      <a:pt x="10" y="53"/>
                      <a:pt x="26" y="35"/>
                    </a:cubicBezTo>
                    <a:cubicBezTo>
                      <a:pt x="42" y="16"/>
                      <a:pt x="66" y="5"/>
                      <a:pt x="92" y="5"/>
                    </a:cubicBezTo>
                    <a:cubicBezTo>
                      <a:pt x="113" y="5"/>
                      <a:pt x="133" y="12"/>
                      <a:pt x="148" y="25"/>
                    </a:cubicBezTo>
                    <a:cubicBezTo>
                      <a:pt x="166" y="40"/>
                      <a:pt x="177" y="61"/>
                      <a:pt x="179" y="85"/>
                    </a:cubicBezTo>
                    <a:cubicBezTo>
                      <a:pt x="181" y="108"/>
                      <a:pt x="173" y="130"/>
                      <a:pt x="158" y="148"/>
                    </a:cubicBezTo>
                    <a:cubicBezTo>
                      <a:pt x="142" y="168"/>
                      <a:pt x="118" y="179"/>
                      <a:pt x="92" y="179"/>
                    </a:cubicBezTo>
                    <a:cubicBezTo>
                      <a:pt x="92" y="179"/>
                      <a:pt x="92" y="179"/>
                      <a:pt x="92" y="179"/>
                    </a:cubicBezTo>
                    <a:moveTo>
                      <a:pt x="92" y="0"/>
                    </a:moveTo>
                    <a:cubicBezTo>
                      <a:pt x="86" y="0"/>
                      <a:pt x="79" y="0"/>
                      <a:pt x="73" y="2"/>
                    </a:cubicBezTo>
                    <a:cubicBezTo>
                      <a:pt x="73" y="2"/>
                      <a:pt x="72" y="2"/>
                      <a:pt x="72" y="2"/>
                    </a:cubicBezTo>
                    <a:cubicBezTo>
                      <a:pt x="72" y="2"/>
                      <a:pt x="72" y="2"/>
                      <a:pt x="71" y="2"/>
                    </a:cubicBezTo>
                    <a:cubicBezTo>
                      <a:pt x="71" y="2"/>
                      <a:pt x="71" y="2"/>
                      <a:pt x="71" y="2"/>
                    </a:cubicBezTo>
                    <a:cubicBezTo>
                      <a:pt x="64" y="4"/>
                      <a:pt x="57" y="6"/>
                      <a:pt x="51" y="9"/>
                    </a:cubicBezTo>
                    <a:cubicBezTo>
                      <a:pt x="50" y="10"/>
                      <a:pt x="50" y="10"/>
                      <a:pt x="50" y="10"/>
                    </a:cubicBezTo>
                    <a:cubicBezTo>
                      <a:pt x="49" y="10"/>
                      <a:pt x="49" y="11"/>
                      <a:pt x="48" y="11"/>
                    </a:cubicBezTo>
                    <a:cubicBezTo>
                      <a:pt x="48" y="11"/>
                      <a:pt x="48" y="11"/>
                      <a:pt x="48" y="11"/>
                    </a:cubicBezTo>
                    <a:cubicBezTo>
                      <a:pt x="42" y="14"/>
                      <a:pt x="36" y="18"/>
                      <a:pt x="31" y="23"/>
                    </a:cubicBezTo>
                    <a:cubicBezTo>
                      <a:pt x="31" y="23"/>
                      <a:pt x="31" y="23"/>
                      <a:pt x="31" y="23"/>
                    </a:cubicBezTo>
                    <a:cubicBezTo>
                      <a:pt x="30" y="23"/>
                      <a:pt x="30" y="24"/>
                      <a:pt x="30" y="24"/>
                    </a:cubicBezTo>
                    <a:cubicBezTo>
                      <a:pt x="29" y="24"/>
                      <a:pt x="29" y="24"/>
                      <a:pt x="29" y="24"/>
                    </a:cubicBezTo>
                    <a:cubicBezTo>
                      <a:pt x="27" y="27"/>
                      <a:pt x="24" y="29"/>
                      <a:pt x="22" y="32"/>
                    </a:cubicBezTo>
                    <a:cubicBezTo>
                      <a:pt x="19" y="35"/>
                      <a:pt x="17" y="38"/>
                      <a:pt x="15" y="40"/>
                    </a:cubicBezTo>
                    <a:cubicBezTo>
                      <a:pt x="15" y="41"/>
                      <a:pt x="15" y="41"/>
                      <a:pt x="15" y="42"/>
                    </a:cubicBezTo>
                    <a:cubicBezTo>
                      <a:pt x="15" y="42"/>
                      <a:pt x="14" y="42"/>
                      <a:pt x="14" y="43"/>
                    </a:cubicBezTo>
                    <a:cubicBezTo>
                      <a:pt x="10" y="49"/>
                      <a:pt x="7" y="55"/>
                      <a:pt x="5" y="62"/>
                    </a:cubicBezTo>
                    <a:cubicBezTo>
                      <a:pt x="5" y="62"/>
                      <a:pt x="5" y="63"/>
                      <a:pt x="5" y="63"/>
                    </a:cubicBezTo>
                    <a:cubicBezTo>
                      <a:pt x="4" y="64"/>
                      <a:pt x="4" y="64"/>
                      <a:pt x="4" y="65"/>
                    </a:cubicBezTo>
                    <a:cubicBezTo>
                      <a:pt x="2" y="71"/>
                      <a:pt x="0" y="78"/>
                      <a:pt x="0" y="86"/>
                    </a:cubicBezTo>
                    <a:cubicBezTo>
                      <a:pt x="0" y="86"/>
                      <a:pt x="0" y="86"/>
                      <a:pt x="0" y="87"/>
                    </a:cubicBezTo>
                    <a:cubicBezTo>
                      <a:pt x="0" y="87"/>
                      <a:pt x="0" y="88"/>
                      <a:pt x="0" y="88"/>
                    </a:cubicBezTo>
                    <a:cubicBezTo>
                      <a:pt x="0" y="92"/>
                      <a:pt x="0" y="96"/>
                      <a:pt x="0" y="99"/>
                    </a:cubicBezTo>
                    <a:cubicBezTo>
                      <a:pt x="0" y="103"/>
                      <a:pt x="1" y="106"/>
                      <a:pt x="2" y="110"/>
                    </a:cubicBezTo>
                    <a:cubicBezTo>
                      <a:pt x="2" y="110"/>
                      <a:pt x="2" y="111"/>
                      <a:pt x="2" y="111"/>
                    </a:cubicBezTo>
                    <a:cubicBezTo>
                      <a:pt x="2" y="111"/>
                      <a:pt x="2" y="112"/>
                      <a:pt x="2" y="112"/>
                    </a:cubicBezTo>
                    <a:cubicBezTo>
                      <a:pt x="4" y="119"/>
                      <a:pt x="6" y="126"/>
                      <a:pt x="9" y="132"/>
                    </a:cubicBezTo>
                    <a:cubicBezTo>
                      <a:pt x="10" y="133"/>
                      <a:pt x="10" y="133"/>
                      <a:pt x="10" y="133"/>
                    </a:cubicBezTo>
                    <a:cubicBezTo>
                      <a:pt x="10" y="134"/>
                      <a:pt x="10" y="134"/>
                      <a:pt x="10" y="135"/>
                    </a:cubicBezTo>
                    <a:cubicBezTo>
                      <a:pt x="14" y="141"/>
                      <a:pt x="18" y="147"/>
                      <a:pt x="23" y="152"/>
                    </a:cubicBezTo>
                    <a:cubicBezTo>
                      <a:pt x="23" y="153"/>
                      <a:pt x="23" y="153"/>
                      <a:pt x="24" y="153"/>
                    </a:cubicBezTo>
                    <a:cubicBezTo>
                      <a:pt x="24" y="154"/>
                      <a:pt x="24" y="154"/>
                      <a:pt x="24" y="154"/>
                    </a:cubicBezTo>
                    <a:cubicBezTo>
                      <a:pt x="27" y="157"/>
                      <a:pt x="30" y="160"/>
                      <a:pt x="32" y="162"/>
                    </a:cubicBezTo>
                    <a:cubicBezTo>
                      <a:pt x="35" y="164"/>
                      <a:pt x="38" y="166"/>
                      <a:pt x="41" y="168"/>
                    </a:cubicBezTo>
                    <a:cubicBezTo>
                      <a:pt x="41" y="168"/>
                      <a:pt x="42" y="168"/>
                      <a:pt x="42" y="169"/>
                    </a:cubicBezTo>
                    <a:cubicBezTo>
                      <a:pt x="42" y="169"/>
                      <a:pt x="43" y="169"/>
                      <a:pt x="43" y="170"/>
                    </a:cubicBezTo>
                    <a:cubicBezTo>
                      <a:pt x="49" y="173"/>
                      <a:pt x="55" y="177"/>
                      <a:pt x="62" y="179"/>
                    </a:cubicBezTo>
                    <a:cubicBezTo>
                      <a:pt x="62" y="179"/>
                      <a:pt x="62" y="179"/>
                      <a:pt x="63" y="179"/>
                    </a:cubicBezTo>
                    <a:cubicBezTo>
                      <a:pt x="63" y="179"/>
                      <a:pt x="63" y="179"/>
                      <a:pt x="64" y="179"/>
                    </a:cubicBezTo>
                    <a:cubicBezTo>
                      <a:pt x="64" y="179"/>
                      <a:pt x="64" y="179"/>
                      <a:pt x="65" y="180"/>
                    </a:cubicBezTo>
                    <a:cubicBezTo>
                      <a:pt x="72" y="182"/>
                      <a:pt x="79" y="183"/>
                      <a:pt x="86" y="184"/>
                    </a:cubicBezTo>
                    <a:cubicBezTo>
                      <a:pt x="86" y="183"/>
                      <a:pt x="86" y="183"/>
                      <a:pt x="87" y="183"/>
                    </a:cubicBezTo>
                    <a:cubicBezTo>
                      <a:pt x="87" y="183"/>
                      <a:pt x="87" y="183"/>
                      <a:pt x="87" y="183"/>
                    </a:cubicBezTo>
                    <a:cubicBezTo>
                      <a:pt x="87" y="183"/>
                      <a:pt x="88" y="184"/>
                      <a:pt x="88" y="184"/>
                    </a:cubicBezTo>
                    <a:cubicBezTo>
                      <a:pt x="89" y="184"/>
                      <a:pt x="91" y="184"/>
                      <a:pt x="92" y="184"/>
                    </a:cubicBezTo>
                    <a:cubicBezTo>
                      <a:pt x="98" y="184"/>
                      <a:pt x="104" y="183"/>
                      <a:pt x="110" y="182"/>
                    </a:cubicBezTo>
                    <a:cubicBezTo>
                      <a:pt x="110" y="182"/>
                      <a:pt x="111" y="182"/>
                      <a:pt x="111" y="181"/>
                    </a:cubicBezTo>
                    <a:cubicBezTo>
                      <a:pt x="112" y="181"/>
                      <a:pt x="112" y="181"/>
                      <a:pt x="112" y="181"/>
                    </a:cubicBezTo>
                    <a:cubicBezTo>
                      <a:pt x="112" y="181"/>
                      <a:pt x="112" y="181"/>
                      <a:pt x="112" y="182"/>
                    </a:cubicBezTo>
                    <a:cubicBezTo>
                      <a:pt x="119" y="180"/>
                      <a:pt x="126" y="178"/>
                      <a:pt x="133" y="174"/>
                    </a:cubicBezTo>
                    <a:cubicBezTo>
                      <a:pt x="133" y="174"/>
                      <a:pt x="133" y="174"/>
                      <a:pt x="134" y="174"/>
                    </a:cubicBezTo>
                    <a:cubicBezTo>
                      <a:pt x="134" y="173"/>
                      <a:pt x="134" y="173"/>
                      <a:pt x="135" y="173"/>
                    </a:cubicBezTo>
                    <a:cubicBezTo>
                      <a:pt x="141" y="170"/>
                      <a:pt x="147" y="166"/>
                      <a:pt x="153" y="161"/>
                    </a:cubicBezTo>
                    <a:cubicBezTo>
                      <a:pt x="153" y="161"/>
                      <a:pt x="153" y="161"/>
                      <a:pt x="153" y="160"/>
                    </a:cubicBezTo>
                    <a:cubicBezTo>
                      <a:pt x="153" y="160"/>
                      <a:pt x="154" y="159"/>
                      <a:pt x="154" y="159"/>
                    </a:cubicBezTo>
                    <a:cubicBezTo>
                      <a:pt x="155" y="159"/>
                      <a:pt x="155" y="159"/>
                      <a:pt x="155" y="159"/>
                    </a:cubicBezTo>
                    <a:cubicBezTo>
                      <a:pt x="158" y="156"/>
                      <a:pt x="160" y="154"/>
                      <a:pt x="162" y="151"/>
                    </a:cubicBezTo>
                    <a:cubicBezTo>
                      <a:pt x="165" y="148"/>
                      <a:pt x="167" y="145"/>
                      <a:pt x="169" y="142"/>
                    </a:cubicBezTo>
                    <a:cubicBezTo>
                      <a:pt x="169" y="142"/>
                      <a:pt x="169" y="142"/>
                      <a:pt x="169" y="141"/>
                    </a:cubicBezTo>
                    <a:cubicBezTo>
                      <a:pt x="170" y="141"/>
                      <a:pt x="170" y="140"/>
                      <a:pt x="170" y="140"/>
                    </a:cubicBezTo>
                    <a:cubicBezTo>
                      <a:pt x="174" y="134"/>
                      <a:pt x="177" y="128"/>
                      <a:pt x="179" y="121"/>
                    </a:cubicBezTo>
                    <a:cubicBezTo>
                      <a:pt x="179" y="120"/>
                      <a:pt x="179" y="120"/>
                      <a:pt x="179" y="119"/>
                    </a:cubicBezTo>
                    <a:cubicBezTo>
                      <a:pt x="180" y="119"/>
                      <a:pt x="180" y="119"/>
                      <a:pt x="180" y="118"/>
                    </a:cubicBezTo>
                    <a:cubicBezTo>
                      <a:pt x="182" y="111"/>
                      <a:pt x="183" y="104"/>
                      <a:pt x="184" y="97"/>
                    </a:cubicBezTo>
                    <a:cubicBezTo>
                      <a:pt x="184" y="97"/>
                      <a:pt x="184" y="96"/>
                      <a:pt x="184" y="96"/>
                    </a:cubicBezTo>
                    <a:cubicBezTo>
                      <a:pt x="184" y="96"/>
                      <a:pt x="184" y="95"/>
                      <a:pt x="184" y="95"/>
                    </a:cubicBezTo>
                    <a:cubicBezTo>
                      <a:pt x="184" y="91"/>
                      <a:pt x="184" y="88"/>
                      <a:pt x="184" y="84"/>
                    </a:cubicBezTo>
                    <a:cubicBezTo>
                      <a:pt x="183" y="80"/>
                      <a:pt x="183" y="77"/>
                      <a:pt x="182" y="73"/>
                    </a:cubicBezTo>
                    <a:cubicBezTo>
                      <a:pt x="182" y="73"/>
                      <a:pt x="182" y="72"/>
                      <a:pt x="182" y="72"/>
                    </a:cubicBezTo>
                    <a:cubicBezTo>
                      <a:pt x="181" y="71"/>
                      <a:pt x="181" y="71"/>
                      <a:pt x="182" y="71"/>
                    </a:cubicBezTo>
                    <a:cubicBezTo>
                      <a:pt x="180" y="64"/>
                      <a:pt x="178" y="57"/>
                      <a:pt x="174" y="51"/>
                    </a:cubicBezTo>
                    <a:cubicBezTo>
                      <a:pt x="174" y="50"/>
                      <a:pt x="174" y="50"/>
                      <a:pt x="173" y="49"/>
                    </a:cubicBezTo>
                    <a:cubicBezTo>
                      <a:pt x="173" y="49"/>
                      <a:pt x="173" y="49"/>
                      <a:pt x="173" y="48"/>
                    </a:cubicBezTo>
                    <a:cubicBezTo>
                      <a:pt x="170" y="42"/>
                      <a:pt x="166" y="36"/>
                      <a:pt x="161" y="31"/>
                    </a:cubicBezTo>
                    <a:cubicBezTo>
                      <a:pt x="160" y="30"/>
                      <a:pt x="160" y="30"/>
                      <a:pt x="160" y="30"/>
                    </a:cubicBezTo>
                    <a:cubicBezTo>
                      <a:pt x="159" y="29"/>
                      <a:pt x="159" y="29"/>
                      <a:pt x="159" y="29"/>
                    </a:cubicBezTo>
                    <a:cubicBezTo>
                      <a:pt x="157" y="26"/>
                      <a:pt x="154" y="24"/>
                      <a:pt x="151" y="21"/>
                    </a:cubicBezTo>
                    <a:cubicBezTo>
                      <a:pt x="149" y="19"/>
                      <a:pt x="146" y="17"/>
                      <a:pt x="143" y="15"/>
                    </a:cubicBezTo>
                    <a:cubicBezTo>
                      <a:pt x="142" y="15"/>
                      <a:pt x="142" y="15"/>
                      <a:pt x="141" y="14"/>
                    </a:cubicBezTo>
                    <a:cubicBezTo>
                      <a:pt x="141" y="14"/>
                      <a:pt x="141" y="14"/>
                      <a:pt x="140" y="13"/>
                    </a:cubicBezTo>
                    <a:cubicBezTo>
                      <a:pt x="134" y="10"/>
                      <a:pt x="128" y="7"/>
                      <a:pt x="121" y="4"/>
                    </a:cubicBezTo>
                    <a:cubicBezTo>
                      <a:pt x="121" y="4"/>
                      <a:pt x="121" y="4"/>
                      <a:pt x="121" y="4"/>
                    </a:cubicBezTo>
                    <a:cubicBezTo>
                      <a:pt x="120" y="4"/>
                      <a:pt x="120" y="4"/>
                      <a:pt x="120" y="4"/>
                    </a:cubicBezTo>
                    <a:cubicBezTo>
                      <a:pt x="119" y="4"/>
                      <a:pt x="119" y="4"/>
                      <a:pt x="118" y="4"/>
                    </a:cubicBezTo>
                    <a:cubicBezTo>
                      <a:pt x="112" y="1"/>
                      <a:pt x="105" y="0"/>
                      <a:pt x="97" y="0"/>
                    </a:cubicBezTo>
                    <a:cubicBezTo>
                      <a:pt x="97" y="0"/>
                      <a:pt x="97" y="0"/>
                      <a:pt x="96" y="0"/>
                    </a:cubicBezTo>
                    <a:cubicBezTo>
                      <a:pt x="96" y="0"/>
                      <a:pt x="96" y="0"/>
                      <a:pt x="96" y="0"/>
                    </a:cubicBezTo>
                    <a:cubicBezTo>
                      <a:pt x="96" y="0"/>
                      <a:pt x="95" y="0"/>
                      <a:pt x="95" y="0"/>
                    </a:cubicBezTo>
                    <a:cubicBezTo>
                      <a:pt x="94" y="0"/>
                      <a:pt x="93" y="0"/>
                      <a:pt x="9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691">
                <a:extLst>
                  <a:ext uri="{FF2B5EF4-FFF2-40B4-BE49-F238E27FC236}">
                    <a16:creationId xmlns:a16="http://schemas.microsoft.com/office/drawing/2014/main" id="{A136D1A8-3D42-4FEB-9695-71FB9713E6E3}"/>
                  </a:ext>
                </a:extLst>
              </p:cNvPr>
              <p:cNvSpPr>
                <a:spLocks noEditPoints="1"/>
              </p:cNvSpPr>
              <p:nvPr/>
            </p:nvSpPr>
            <p:spPr bwMode="auto">
              <a:xfrm>
                <a:off x="16785591" y="4160997"/>
                <a:ext cx="450850" cy="447675"/>
              </a:xfrm>
              <a:custGeom>
                <a:avLst/>
                <a:gdLst>
                  <a:gd name="T0" fmla="*/ 172 w 230"/>
                  <a:gd name="T1" fmla="*/ 163 h 229"/>
                  <a:gd name="T2" fmla="*/ 194 w 230"/>
                  <a:gd name="T3" fmla="*/ 108 h 229"/>
                  <a:gd name="T4" fmla="*/ 108 w 230"/>
                  <a:gd name="T5" fmla="*/ 5 h 229"/>
                  <a:gd name="T6" fmla="*/ 130 w 230"/>
                  <a:gd name="T7" fmla="*/ 10 h 229"/>
                  <a:gd name="T8" fmla="*/ 143 w 230"/>
                  <a:gd name="T9" fmla="*/ 27 h 229"/>
                  <a:gd name="T10" fmla="*/ 164 w 230"/>
                  <a:gd name="T11" fmla="*/ 21 h 229"/>
                  <a:gd name="T12" fmla="*/ 184 w 230"/>
                  <a:gd name="T13" fmla="*/ 30 h 229"/>
                  <a:gd name="T14" fmla="*/ 184 w 230"/>
                  <a:gd name="T15" fmla="*/ 54 h 229"/>
                  <a:gd name="T16" fmla="*/ 196 w 230"/>
                  <a:gd name="T17" fmla="*/ 71 h 229"/>
                  <a:gd name="T18" fmla="*/ 218 w 230"/>
                  <a:gd name="T19" fmla="*/ 78 h 229"/>
                  <a:gd name="T20" fmla="*/ 220 w 230"/>
                  <a:gd name="T21" fmla="*/ 102 h 229"/>
                  <a:gd name="T22" fmla="*/ 207 w 230"/>
                  <a:gd name="T23" fmla="*/ 120 h 229"/>
                  <a:gd name="T24" fmla="*/ 203 w 230"/>
                  <a:gd name="T25" fmla="*/ 141 h 229"/>
                  <a:gd name="T26" fmla="*/ 212 w 230"/>
                  <a:gd name="T27" fmla="*/ 164 h 229"/>
                  <a:gd name="T28" fmla="*/ 198 w 230"/>
                  <a:gd name="T29" fmla="*/ 180 h 229"/>
                  <a:gd name="T30" fmla="*/ 177 w 230"/>
                  <a:gd name="T31" fmla="*/ 182 h 229"/>
                  <a:gd name="T32" fmla="*/ 172 w 230"/>
                  <a:gd name="T33" fmla="*/ 204 h 229"/>
                  <a:gd name="T34" fmla="*/ 153 w 230"/>
                  <a:gd name="T35" fmla="*/ 218 h 229"/>
                  <a:gd name="T36" fmla="*/ 133 w 230"/>
                  <a:gd name="T37" fmla="*/ 205 h 229"/>
                  <a:gd name="T38" fmla="*/ 111 w 230"/>
                  <a:gd name="T39" fmla="*/ 207 h 229"/>
                  <a:gd name="T40" fmla="*/ 96 w 230"/>
                  <a:gd name="T41" fmla="*/ 223 h 229"/>
                  <a:gd name="T42" fmla="*/ 85 w 230"/>
                  <a:gd name="T43" fmla="*/ 202 h 229"/>
                  <a:gd name="T44" fmla="*/ 65 w 230"/>
                  <a:gd name="T45" fmla="*/ 192 h 229"/>
                  <a:gd name="T46" fmla="*/ 44 w 230"/>
                  <a:gd name="T47" fmla="*/ 198 h 229"/>
                  <a:gd name="T48" fmla="*/ 31 w 230"/>
                  <a:gd name="T49" fmla="*/ 178 h 229"/>
                  <a:gd name="T50" fmla="*/ 32 w 230"/>
                  <a:gd name="T51" fmla="*/ 155 h 229"/>
                  <a:gd name="T52" fmla="*/ 14 w 230"/>
                  <a:gd name="T53" fmla="*/ 147 h 229"/>
                  <a:gd name="T54" fmla="*/ 6 w 230"/>
                  <a:gd name="T55" fmla="*/ 124 h 229"/>
                  <a:gd name="T56" fmla="*/ 7 w 230"/>
                  <a:gd name="T57" fmla="*/ 96 h 229"/>
                  <a:gd name="T58" fmla="*/ 28 w 230"/>
                  <a:gd name="T59" fmla="*/ 85 h 229"/>
                  <a:gd name="T60" fmla="*/ 37 w 230"/>
                  <a:gd name="T61" fmla="*/ 66 h 229"/>
                  <a:gd name="T62" fmla="*/ 33 w 230"/>
                  <a:gd name="T63" fmla="*/ 42 h 229"/>
                  <a:gd name="T64" fmla="*/ 52 w 230"/>
                  <a:gd name="T65" fmla="*/ 30 h 229"/>
                  <a:gd name="T66" fmla="*/ 71 w 230"/>
                  <a:gd name="T67" fmla="*/ 34 h 229"/>
                  <a:gd name="T68" fmla="*/ 83 w 230"/>
                  <a:gd name="T69" fmla="*/ 14 h 229"/>
                  <a:gd name="T70" fmla="*/ 106 w 230"/>
                  <a:gd name="T71" fmla="*/ 0 h 229"/>
                  <a:gd name="T72" fmla="*/ 76 w 230"/>
                  <a:gd name="T73" fmla="*/ 7 h 229"/>
                  <a:gd name="T74" fmla="*/ 47 w 230"/>
                  <a:gd name="T75" fmla="*/ 32 h 229"/>
                  <a:gd name="T76" fmla="*/ 28 w 230"/>
                  <a:gd name="T77" fmla="*/ 53 h 229"/>
                  <a:gd name="T78" fmla="*/ 15 w 230"/>
                  <a:gd name="T79" fmla="*/ 78 h 229"/>
                  <a:gd name="T80" fmla="*/ 18 w 230"/>
                  <a:gd name="T81" fmla="*/ 110 h 229"/>
                  <a:gd name="T82" fmla="*/ 7 w 230"/>
                  <a:gd name="T83" fmla="*/ 154 h 229"/>
                  <a:gd name="T84" fmla="*/ 21 w 230"/>
                  <a:gd name="T85" fmla="*/ 180 h 229"/>
                  <a:gd name="T86" fmla="*/ 41 w 230"/>
                  <a:gd name="T87" fmla="*/ 203 h 229"/>
                  <a:gd name="T88" fmla="*/ 71 w 230"/>
                  <a:gd name="T89" fmla="*/ 220 h 229"/>
                  <a:gd name="T90" fmla="*/ 105 w 230"/>
                  <a:gd name="T91" fmla="*/ 221 h 229"/>
                  <a:gd name="T92" fmla="*/ 135 w 230"/>
                  <a:gd name="T93" fmla="*/ 210 h 229"/>
                  <a:gd name="T94" fmla="*/ 168 w 230"/>
                  <a:gd name="T95" fmla="*/ 207 h 229"/>
                  <a:gd name="T96" fmla="*/ 196 w 230"/>
                  <a:gd name="T97" fmla="*/ 193 h 229"/>
                  <a:gd name="T98" fmla="*/ 212 w 230"/>
                  <a:gd name="T99" fmla="*/ 169 h 229"/>
                  <a:gd name="T100" fmla="*/ 219 w 230"/>
                  <a:gd name="T101" fmla="*/ 143 h 229"/>
                  <a:gd name="T102" fmla="*/ 229 w 230"/>
                  <a:gd name="T103" fmla="*/ 105 h 229"/>
                  <a:gd name="T104" fmla="*/ 212 w 230"/>
                  <a:gd name="T105" fmla="*/ 71 h 229"/>
                  <a:gd name="T106" fmla="*/ 198 w 230"/>
                  <a:gd name="T107" fmla="*/ 47 h 229"/>
                  <a:gd name="T108" fmla="*/ 177 w 230"/>
                  <a:gd name="T109" fmla="*/ 28 h 229"/>
                  <a:gd name="T110" fmla="*/ 145 w 230"/>
                  <a:gd name="T111" fmla="*/ 22 h 229"/>
                  <a:gd name="T112" fmla="*/ 116 w 230"/>
                  <a:gd name="T113"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15" y="189"/>
                    </a:moveTo>
                    <a:cubicBezTo>
                      <a:pt x="97" y="189"/>
                      <a:pt x="80" y="183"/>
                      <a:pt x="67" y="172"/>
                    </a:cubicBezTo>
                    <a:cubicBezTo>
                      <a:pt x="35" y="145"/>
                      <a:pt x="31" y="98"/>
                      <a:pt x="58" y="66"/>
                    </a:cubicBezTo>
                    <a:cubicBezTo>
                      <a:pt x="72" y="50"/>
                      <a:pt x="93" y="40"/>
                      <a:pt x="115" y="40"/>
                    </a:cubicBezTo>
                    <a:cubicBezTo>
                      <a:pt x="133" y="40"/>
                      <a:pt x="150" y="46"/>
                      <a:pt x="163" y="58"/>
                    </a:cubicBezTo>
                    <a:cubicBezTo>
                      <a:pt x="178" y="71"/>
                      <a:pt x="188" y="89"/>
                      <a:pt x="189" y="109"/>
                    </a:cubicBezTo>
                    <a:cubicBezTo>
                      <a:pt x="191" y="128"/>
                      <a:pt x="185" y="148"/>
                      <a:pt x="172" y="163"/>
                    </a:cubicBezTo>
                    <a:cubicBezTo>
                      <a:pt x="158" y="180"/>
                      <a:pt x="137" y="189"/>
                      <a:pt x="115" y="189"/>
                    </a:cubicBezTo>
                    <a:moveTo>
                      <a:pt x="115" y="35"/>
                    </a:moveTo>
                    <a:cubicBezTo>
                      <a:pt x="91" y="35"/>
                      <a:pt x="69" y="45"/>
                      <a:pt x="54" y="63"/>
                    </a:cubicBezTo>
                    <a:cubicBezTo>
                      <a:pt x="26" y="97"/>
                      <a:pt x="30" y="147"/>
                      <a:pt x="63" y="176"/>
                    </a:cubicBezTo>
                    <a:cubicBezTo>
                      <a:pt x="78" y="188"/>
                      <a:pt x="96" y="194"/>
                      <a:pt x="115" y="194"/>
                    </a:cubicBezTo>
                    <a:cubicBezTo>
                      <a:pt x="138" y="194"/>
                      <a:pt x="161" y="184"/>
                      <a:pt x="176" y="166"/>
                    </a:cubicBezTo>
                    <a:cubicBezTo>
                      <a:pt x="190" y="150"/>
                      <a:pt x="196" y="129"/>
                      <a:pt x="194" y="108"/>
                    </a:cubicBezTo>
                    <a:cubicBezTo>
                      <a:pt x="193" y="87"/>
                      <a:pt x="183" y="68"/>
                      <a:pt x="166" y="54"/>
                    </a:cubicBezTo>
                    <a:cubicBezTo>
                      <a:pt x="152" y="42"/>
                      <a:pt x="134" y="35"/>
                      <a:pt x="115" y="35"/>
                    </a:cubicBezTo>
                    <a:moveTo>
                      <a:pt x="96" y="25"/>
                    </a:moveTo>
                    <a:cubicBezTo>
                      <a:pt x="100" y="22"/>
                      <a:pt x="102" y="14"/>
                      <a:pt x="103" y="10"/>
                    </a:cubicBezTo>
                    <a:cubicBezTo>
                      <a:pt x="103" y="5"/>
                      <a:pt x="104" y="5"/>
                      <a:pt x="106" y="5"/>
                    </a:cubicBezTo>
                    <a:cubicBezTo>
                      <a:pt x="107" y="5"/>
                      <a:pt x="107" y="5"/>
                      <a:pt x="107" y="5"/>
                    </a:cubicBezTo>
                    <a:cubicBezTo>
                      <a:pt x="107" y="5"/>
                      <a:pt x="107" y="5"/>
                      <a:pt x="108" y="5"/>
                    </a:cubicBezTo>
                    <a:cubicBezTo>
                      <a:pt x="109" y="5"/>
                      <a:pt x="110" y="5"/>
                      <a:pt x="111" y="9"/>
                    </a:cubicBezTo>
                    <a:cubicBezTo>
                      <a:pt x="112" y="14"/>
                      <a:pt x="114" y="20"/>
                      <a:pt x="118" y="23"/>
                    </a:cubicBezTo>
                    <a:cubicBezTo>
                      <a:pt x="118" y="23"/>
                      <a:pt x="118" y="23"/>
                      <a:pt x="118" y="23"/>
                    </a:cubicBezTo>
                    <a:cubicBezTo>
                      <a:pt x="118" y="23"/>
                      <a:pt x="119" y="23"/>
                      <a:pt x="119" y="23"/>
                    </a:cubicBezTo>
                    <a:cubicBezTo>
                      <a:pt x="119" y="23"/>
                      <a:pt x="119" y="23"/>
                      <a:pt x="119" y="23"/>
                    </a:cubicBezTo>
                    <a:cubicBezTo>
                      <a:pt x="120" y="23"/>
                      <a:pt x="120" y="23"/>
                      <a:pt x="120" y="23"/>
                    </a:cubicBezTo>
                    <a:cubicBezTo>
                      <a:pt x="125" y="21"/>
                      <a:pt x="129" y="14"/>
                      <a:pt x="130" y="10"/>
                    </a:cubicBezTo>
                    <a:cubicBezTo>
                      <a:pt x="131" y="6"/>
                      <a:pt x="132" y="6"/>
                      <a:pt x="133" y="6"/>
                    </a:cubicBezTo>
                    <a:cubicBezTo>
                      <a:pt x="133" y="6"/>
                      <a:pt x="134" y="7"/>
                      <a:pt x="134" y="7"/>
                    </a:cubicBezTo>
                    <a:cubicBezTo>
                      <a:pt x="135" y="7"/>
                      <a:pt x="135" y="7"/>
                      <a:pt x="135" y="7"/>
                    </a:cubicBezTo>
                    <a:cubicBezTo>
                      <a:pt x="137" y="7"/>
                      <a:pt x="138" y="7"/>
                      <a:pt x="138" y="12"/>
                    </a:cubicBezTo>
                    <a:cubicBezTo>
                      <a:pt x="138" y="17"/>
                      <a:pt x="139" y="23"/>
                      <a:pt x="141" y="26"/>
                    </a:cubicBezTo>
                    <a:cubicBezTo>
                      <a:pt x="141" y="26"/>
                      <a:pt x="141" y="26"/>
                      <a:pt x="141" y="27"/>
                    </a:cubicBezTo>
                    <a:cubicBezTo>
                      <a:pt x="142" y="27"/>
                      <a:pt x="142" y="27"/>
                      <a:pt x="143" y="27"/>
                    </a:cubicBezTo>
                    <a:cubicBezTo>
                      <a:pt x="143" y="27"/>
                      <a:pt x="143" y="27"/>
                      <a:pt x="144" y="27"/>
                    </a:cubicBezTo>
                    <a:cubicBezTo>
                      <a:pt x="144" y="27"/>
                      <a:pt x="144" y="27"/>
                      <a:pt x="144" y="27"/>
                    </a:cubicBezTo>
                    <a:cubicBezTo>
                      <a:pt x="149" y="27"/>
                      <a:pt x="154" y="21"/>
                      <a:pt x="157" y="18"/>
                    </a:cubicBezTo>
                    <a:cubicBezTo>
                      <a:pt x="158" y="16"/>
                      <a:pt x="159" y="15"/>
                      <a:pt x="160" y="15"/>
                    </a:cubicBezTo>
                    <a:cubicBezTo>
                      <a:pt x="160" y="15"/>
                      <a:pt x="161" y="15"/>
                      <a:pt x="162" y="15"/>
                    </a:cubicBezTo>
                    <a:cubicBezTo>
                      <a:pt x="163" y="16"/>
                      <a:pt x="163" y="16"/>
                      <a:pt x="163" y="16"/>
                    </a:cubicBezTo>
                    <a:cubicBezTo>
                      <a:pt x="165" y="17"/>
                      <a:pt x="165" y="17"/>
                      <a:pt x="164" y="21"/>
                    </a:cubicBezTo>
                    <a:cubicBezTo>
                      <a:pt x="162" y="26"/>
                      <a:pt x="162" y="33"/>
                      <a:pt x="163" y="36"/>
                    </a:cubicBezTo>
                    <a:cubicBezTo>
                      <a:pt x="163" y="36"/>
                      <a:pt x="163" y="36"/>
                      <a:pt x="163" y="36"/>
                    </a:cubicBezTo>
                    <a:cubicBezTo>
                      <a:pt x="164" y="37"/>
                      <a:pt x="164" y="37"/>
                      <a:pt x="164" y="37"/>
                    </a:cubicBezTo>
                    <a:cubicBezTo>
                      <a:pt x="165" y="38"/>
                      <a:pt x="165" y="38"/>
                      <a:pt x="166" y="38"/>
                    </a:cubicBezTo>
                    <a:cubicBezTo>
                      <a:pt x="166" y="38"/>
                      <a:pt x="167" y="38"/>
                      <a:pt x="167" y="38"/>
                    </a:cubicBezTo>
                    <a:cubicBezTo>
                      <a:pt x="171" y="38"/>
                      <a:pt x="177" y="35"/>
                      <a:pt x="180" y="32"/>
                    </a:cubicBezTo>
                    <a:cubicBezTo>
                      <a:pt x="182" y="30"/>
                      <a:pt x="183" y="30"/>
                      <a:pt x="184" y="30"/>
                    </a:cubicBezTo>
                    <a:cubicBezTo>
                      <a:pt x="184" y="30"/>
                      <a:pt x="185" y="30"/>
                      <a:pt x="186" y="31"/>
                    </a:cubicBezTo>
                    <a:cubicBezTo>
                      <a:pt x="186" y="32"/>
                      <a:pt x="186" y="32"/>
                      <a:pt x="186" y="32"/>
                    </a:cubicBezTo>
                    <a:cubicBezTo>
                      <a:pt x="188" y="33"/>
                      <a:pt x="189" y="34"/>
                      <a:pt x="186" y="37"/>
                    </a:cubicBezTo>
                    <a:cubicBezTo>
                      <a:pt x="184" y="41"/>
                      <a:pt x="181" y="47"/>
                      <a:pt x="182" y="51"/>
                    </a:cubicBezTo>
                    <a:cubicBezTo>
                      <a:pt x="182" y="51"/>
                      <a:pt x="182" y="52"/>
                      <a:pt x="182" y="52"/>
                    </a:cubicBezTo>
                    <a:cubicBezTo>
                      <a:pt x="182" y="52"/>
                      <a:pt x="182" y="52"/>
                      <a:pt x="183" y="53"/>
                    </a:cubicBezTo>
                    <a:cubicBezTo>
                      <a:pt x="183" y="53"/>
                      <a:pt x="183" y="53"/>
                      <a:pt x="184" y="54"/>
                    </a:cubicBezTo>
                    <a:cubicBezTo>
                      <a:pt x="185" y="54"/>
                      <a:pt x="186" y="54"/>
                      <a:pt x="188" y="54"/>
                    </a:cubicBezTo>
                    <a:cubicBezTo>
                      <a:pt x="191" y="54"/>
                      <a:pt x="196" y="53"/>
                      <a:pt x="200" y="51"/>
                    </a:cubicBezTo>
                    <a:cubicBezTo>
                      <a:pt x="201" y="51"/>
                      <a:pt x="203" y="50"/>
                      <a:pt x="203" y="50"/>
                    </a:cubicBezTo>
                    <a:cubicBezTo>
                      <a:pt x="204" y="50"/>
                      <a:pt x="204" y="51"/>
                      <a:pt x="205" y="52"/>
                    </a:cubicBezTo>
                    <a:cubicBezTo>
                      <a:pt x="206" y="53"/>
                      <a:pt x="206" y="53"/>
                      <a:pt x="206" y="53"/>
                    </a:cubicBezTo>
                    <a:cubicBezTo>
                      <a:pt x="207" y="55"/>
                      <a:pt x="207" y="55"/>
                      <a:pt x="204" y="58"/>
                    </a:cubicBezTo>
                    <a:cubicBezTo>
                      <a:pt x="200" y="62"/>
                      <a:pt x="196" y="67"/>
                      <a:pt x="196" y="71"/>
                    </a:cubicBezTo>
                    <a:cubicBezTo>
                      <a:pt x="196" y="71"/>
                      <a:pt x="196" y="71"/>
                      <a:pt x="196" y="71"/>
                    </a:cubicBezTo>
                    <a:cubicBezTo>
                      <a:pt x="196" y="72"/>
                      <a:pt x="196" y="72"/>
                      <a:pt x="196" y="72"/>
                    </a:cubicBezTo>
                    <a:cubicBezTo>
                      <a:pt x="197" y="73"/>
                      <a:pt x="197" y="73"/>
                      <a:pt x="197" y="74"/>
                    </a:cubicBezTo>
                    <a:cubicBezTo>
                      <a:pt x="200" y="76"/>
                      <a:pt x="204" y="76"/>
                      <a:pt x="207" y="76"/>
                    </a:cubicBezTo>
                    <a:cubicBezTo>
                      <a:pt x="209" y="76"/>
                      <a:pt x="211" y="76"/>
                      <a:pt x="213" y="76"/>
                    </a:cubicBezTo>
                    <a:cubicBezTo>
                      <a:pt x="214" y="75"/>
                      <a:pt x="215" y="75"/>
                      <a:pt x="216" y="75"/>
                    </a:cubicBezTo>
                    <a:cubicBezTo>
                      <a:pt x="217" y="75"/>
                      <a:pt x="218" y="76"/>
                      <a:pt x="218" y="78"/>
                    </a:cubicBezTo>
                    <a:cubicBezTo>
                      <a:pt x="219" y="78"/>
                      <a:pt x="219" y="78"/>
                      <a:pt x="219" y="78"/>
                    </a:cubicBezTo>
                    <a:cubicBezTo>
                      <a:pt x="219" y="81"/>
                      <a:pt x="220" y="81"/>
                      <a:pt x="216" y="83"/>
                    </a:cubicBezTo>
                    <a:cubicBezTo>
                      <a:pt x="211" y="86"/>
                      <a:pt x="206" y="90"/>
                      <a:pt x="205" y="93"/>
                    </a:cubicBezTo>
                    <a:cubicBezTo>
                      <a:pt x="205" y="93"/>
                      <a:pt x="205" y="93"/>
                      <a:pt x="205" y="94"/>
                    </a:cubicBezTo>
                    <a:cubicBezTo>
                      <a:pt x="204" y="94"/>
                      <a:pt x="204" y="94"/>
                      <a:pt x="205" y="95"/>
                    </a:cubicBezTo>
                    <a:cubicBezTo>
                      <a:pt x="205" y="95"/>
                      <a:pt x="205" y="96"/>
                      <a:pt x="205" y="96"/>
                    </a:cubicBezTo>
                    <a:cubicBezTo>
                      <a:pt x="207" y="100"/>
                      <a:pt x="216" y="102"/>
                      <a:pt x="220" y="102"/>
                    </a:cubicBezTo>
                    <a:cubicBezTo>
                      <a:pt x="224" y="103"/>
                      <a:pt x="224" y="103"/>
                      <a:pt x="224" y="106"/>
                    </a:cubicBezTo>
                    <a:cubicBezTo>
                      <a:pt x="224" y="106"/>
                      <a:pt x="224" y="106"/>
                      <a:pt x="224" y="106"/>
                    </a:cubicBezTo>
                    <a:cubicBezTo>
                      <a:pt x="225" y="109"/>
                      <a:pt x="225" y="110"/>
                      <a:pt x="220" y="110"/>
                    </a:cubicBezTo>
                    <a:cubicBezTo>
                      <a:pt x="215" y="112"/>
                      <a:pt x="209" y="114"/>
                      <a:pt x="207" y="117"/>
                    </a:cubicBezTo>
                    <a:cubicBezTo>
                      <a:pt x="207" y="117"/>
                      <a:pt x="207" y="118"/>
                      <a:pt x="207" y="118"/>
                    </a:cubicBezTo>
                    <a:cubicBezTo>
                      <a:pt x="207" y="118"/>
                      <a:pt x="207" y="119"/>
                      <a:pt x="207" y="119"/>
                    </a:cubicBezTo>
                    <a:cubicBezTo>
                      <a:pt x="207" y="119"/>
                      <a:pt x="207" y="120"/>
                      <a:pt x="207" y="120"/>
                    </a:cubicBezTo>
                    <a:cubicBezTo>
                      <a:pt x="208" y="125"/>
                      <a:pt x="216" y="128"/>
                      <a:pt x="220" y="130"/>
                    </a:cubicBezTo>
                    <a:cubicBezTo>
                      <a:pt x="224" y="131"/>
                      <a:pt x="223" y="132"/>
                      <a:pt x="223" y="134"/>
                    </a:cubicBezTo>
                    <a:cubicBezTo>
                      <a:pt x="223" y="135"/>
                      <a:pt x="223" y="135"/>
                      <a:pt x="223" y="135"/>
                    </a:cubicBezTo>
                    <a:cubicBezTo>
                      <a:pt x="222" y="137"/>
                      <a:pt x="222" y="138"/>
                      <a:pt x="219" y="138"/>
                    </a:cubicBezTo>
                    <a:cubicBezTo>
                      <a:pt x="219" y="138"/>
                      <a:pt x="218" y="138"/>
                      <a:pt x="218" y="138"/>
                    </a:cubicBezTo>
                    <a:cubicBezTo>
                      <a:pt x="217" y="138"/>
                      <a:pt x="217" y="138"/>
                      <a:pt x="217" y="138"/>
                    </a:cubicBezTo>
                    <a:cubicBezTo>
                      <a:pt x="212" y="138"/>
                      <a:pt x="206" y="139"/>
                      <a:pt x="203" y="141"/>
                    </a:cubicBezTo>
                    <a:cubicBezTo>
                      <a:pt x="203" y="141"/>
                      <a:pt x="203" y="141"/>
                      <a:pt x="203" y="141"/>
                    </a:cubicBezTo>
                    <a:cubicBezTo>
                      <a:pt x="203" y="142"/>
                      <a:pt x="203" y="142"/>
                      <a:pt x="202" y="142"/>
                    </a:cubicBezTo>
                    <a:cubicBezTo>
                      <a:pt x="202" y="143"/>
                      <a:pt x="202" y="143"/>
                      <a:pt x="202" y="144"/>
                    </a:cubicBezTo>
                    <a:cubicBezTo>
                      <a:pt x="203" y="148"/>
                      <a:pt x="208" y="154"/>
                      <a:pt x="212" y="157"/>
                    </a:cubicBezTo>
                    <a:cubicBezTo>
                      <a:pt x="216" y="159"/>
                      <a:pt x="215" y="160"/>
                      <a:pt x="214" y="162"/>
                    </a:cubicBezTo>
                    <a:cubicBezTo>
                      <a:pt x="214" y="162"/>
                      <a:pt x="214" y="162"/>
                      <a:pt x="214" y="162"/>
                    </a:cubicBezTo>
                    <a:cubicBezTo>
                      <a:pt x="213" y="164"/>
                      <a:pt x="213" y="164"/>
                      <a:pt x="212" y="164"/>
                    </a:cubicBezTo>
                    <a:cubicBezTo>
                      <a:pt x="211" y="164"/>
                      <a:pt x="210" y="164"/>
                      <a:pt x="208" y="164"/>
                    </a:cubicBezTo>
                    <a:cubicBezTo>
                      <a:pt x="205" y="163"/>
                      <a:pt x="202" y="162"/>
                      <a:pt x="199" y="162"/>
                    </a:cubicBezTo>
                    <a:cubicBezTo>
                      <a:pt x="197" y="162"/>
                      <a:pt x="195" y="162"/>
                      <a:pt x="193" y="163"/>
                    </a:cubicBezTo>
                    <a:cubicBezTo>
                      <a:pt x="193" y="163"/>
                      <a:pt x="193" y="163"/>
                      <a:pt x="193" y="163"/>
                    </a:cubicBezTo>
                    <a:cubicBezTo>
                      <a:pt x="193" y="163"/>
                      <a:pt x="193" y="164"/>
                      <a:pt x="192" y="164"/>
                    </a:cubicBezTo>
                    <a:cubicBezTo>
                      <a:pt x="192" y="165"/>
                      <a:pt x="192" y="165"/>
                      <a:pt x="192" y="165"/>
                    </a:cubicBezTo>
                    <a:cubicBezTo>
                      <a:pt x="191" y="170"/>
                      <a:pt x="195" y="177"/>
                      <a:pt x="198" y="180"/>
                    </a:cubicBezTo>
                    <a:cubicBezTo>
                      <a:pt x="201" y="183"/>
                      <a:pt x="200" y="184"/>
                      <a:pt x="199" y="186"/>
                    </a:cubicBezTo>
                    <a:cubicBezTo>
                      <a:pt x="198" y="186"/>
                      <a:pt x="198" y="186"/>
                      <a:pt x="198" y="186"/>
                    </a:cubicBezTo>
                    <a:cubicBezTo>
                      <a:pt x="197" y="187"/>
                      <a:pt x="197" y="188"/>
                      <a:pt x="196" y="188"/>
                    </a:cubicBezTo>
                    <a:cubicBezTo>
                      <a:pt x="196" y="188"/>
                      <a:pt x="195" y="188"/>
                      <a:pt x="193" y="186"/>
                    </a:cubicBezTo>
                    <a:cubicBezTo>
                      <a:pt x="189" y="184"/>
                      <a:pt x="184" y="182"/>
                      <a:pt x="180" y="182"/>
                    </a:cubicBezTo>
                    <a:cubicBezTo>
                      <a:pt x="179" y="182"/>
                      <a:pt x="179" y="182"/>
                      <a:pt x="178" y="182"/>
                    </a:cubicBezTo>
                    <a:cubicBezTo>
                      <a:pt x="178" y="182"/>
                      <a:pt x="178" y="182"/>
                      <a:pt x="177" y="182"/>
                    </a:cubicBezTo>
                    <a:cubicBezTo>
                      <a:pt x="177" y="182"/>
                      <a:pt x="176" y="183"/>
                      <a:pt x="176" y="183"/>
                    </a:cubicBezTo>
                    <a:cubicBezTo>
                      <a:pt x="176" y="184"/>
                      <a:pt x="176" y="184"/>
                      <a:pt x="176" y="184"/>
                    </a:cubicBezTo>
                    <a:cubicBezTo>
                      <a:pt x="174" y="188"/>
                      <a:pt x="177" y="196"/>
                      <a:pt x="179" y="199"/>
                    </a:cubicBezTo>
                    <a:cubicBezTo>
                      <a:pt x="181" y="203"/>
                      <a:pt x="180" y="203"/>
                      <a:pt x="178" y="204"/>
                    </a:cubicBezTo>
                    <a:cubicBezTo>
                      <a:pt x="177" y="205"/>
                      <a:pt x="177" y="205"/>
                      <a:pt x="177" y="205"/>
                    </a:cubicBezTo>
                    <a:cubicBezTo>
                      <a:pt x="177" y="206"/>
                      <a:pt x="176" y="206"/>
                      <a:pt x="175" y="206"/>
                    </a:cubicBezTo>
                    <a:cubicBezTo>
                      <a:pt x="175" y="206"/>
                      <a:pt x="174" y="206"/>
                      <a:pt x="172" y="204"/>
                    </a:cubicBezTo>
                    <a:cubicBezTo>
                      <a:pt x="168" y="200"/>
                      <a:pt x="163" y="196"/>
                      <a:pt x="159" y="196"/>
                    </a:cubicBezTo>
                    <a:cubicBezTo>
                      <a:pt x="158" y="196"/>
                      <a:pt x="158" y="196"/>
                      <a:pt x="158" y="196"/>
                    </a:cubicBezTo>
                    <a:cubicBezTo>
                      <a:pt x="157" y="196"/>
                      <a:pt x="157" y="196"/>
                      <a:pt x="157" y="197"/>
                    </a:cubicBezTo>
                    <a:cubicBezTo>
                      <a:pt x="156" y="197"/>
                      <a:pt x="156" y="197"/>
                      <a:pt x="156" y="197"/>
                    </a:cubicBezTo>
                    <a:cubicBezTo>
                      <a:pt x="156" y="197"/>
                      <a:pt x="155" y="197"/>
                      <a:pt x="155" y="198"/>
                    </a:cubicBezTo>
                    <a:cubicBezTo>
                      <a:pt x="153" y="201"/>
                      <a:pt x="154" y="208"/>
                      <a:pt x="155" y="213"/>
                    </a:cubicBezTo>
                    <a:cubicBezTo>
                      <a:pt x="156" y="217"/>
                      <a:pt x="155" y="217"/>
                      <a:pt x="153" y="218"/>
                    </a:cubicBezTo>
                    <a:cubicBezTo>
                      <a:pt x="152" y="218"/>
                      <a:pt x="152" y="218"/>
                      <a:pt x="152" y="218"/>
                    </a:cubicBezTo>
                    <a:cubicBezTo>
                      <a:pt x="151" y="218"/>
                      <a:pt x="151" y="219"/>
                      <a:pt x="150" y="219"/>
                    </a:cubicBezTo>
                    <a:cubicBezTo>
                      <a:pt x="149" y="219"/>
                      <a:pt x="148" y="217"/>
                      <a:pt x="147" y="215"/>
                    </a:cubicBezTo>
                    <a:cubicBezTo>
                      <a:pt x="145" y="212"/>
                      <a:pt x="140" y="205"/>
                      <a:pt x="135" y="205"/>
                    </a:cubicBezTo>
                    <a:cubicBezTo>
                      <a:pt x="135" y="204"/>
                      <a:pt x="135" y="204"/>
                      <a:pt x="135" y="204"/>
                    </a:cubicBezTo>
                    <a:cubicBezTo>
                      <a:pt x="134" y="204"/>
                      <a:pt x="134" y="204"/>
                      <a:pt x="134" y="204"/>
                    </a:cubicBezTo>
                    <a:cubicBezTo>
                      <a:pt x="134" y="205"/>
                      <a:pt x="133" y="205"/>
                      <a:pt x="133" y="205"/>
                    </a:cubicBezTo>
                    <a:cubicBezTo>
                      <a:pt x="133" y="205"/>
                      <a:pt x="133" y="205"/>
                      <a:pt x="133" y="205"/>
                    </a:cubicBezTo>
                    <a:cubicBezTo>
                      <a:pt x="130" y="208"/>
                      <a:pt x="128" y="214"/>
                      <a:pt x="128" y="220"/>
                    </a:cubicBezTo>
                    <a:cubicBezTo>
                      <a:pt x="128" y="224"/>
                      <a:pt x="127" y="224"/>
                      <a:pt x="125" y="224"/>
                    </a:cubicBezTo>
                    <a:cubicBezTo>
                      <a:pt x="124" y="224"/>
                      <a:pt x="124" y="224"/>
                      <a:pt x="124" y="224"/>
                    </a:cubicBezTo>
                    <a:cubicBezTo>
                      <a:pt x="123" y="224"/>
                      <a:pt x="123" y="224"/>
                      <a:pt x="123" y="224"/>
                    </a:cubicBezTo>
                    <a:cubicBezTo>
                      <a:pt x="122" y="224"/>
                      <a:pt x="121" y="224"/>
                      <a:pt x="120" y="220"/>
                    </a:cubicBezTo>
                    <a:cubicBezTo>
                      <a:pt x="119" y="216"/>
                      <a:pt x="116" y="208"/>
                      <a:pt x="111" y="207"/>
                    </a:cubicBezTo>
                    <a:cubicBezTo>
                      <a:pt x="111" y="207"/>
                      <a:pt x="110" y="206"/>
                      <a:pt x="110" y="206"/>
                    </a:cubicBezTo>
                    <a:cubicBezTo>
                      <a:pt x="110" y="206"/>
                      <a:pt x="110" y="206"/>
                      <a:pt x="110" y="206"/>
                    </a:cubicBezTo>
                    <a:cubicBezTo>
                      <a:pt x="109" y="206"/>
                      <a:pt x="109" y="206"/>
                      <a:pt x="109" y="207"/>
                    </a:cubicBezTo>
                    <a:cubicBezTo>
                      <a:pt x="109" y="207"/>
                      <a:pt x="109" y="207"/>
                      <a:pt x="108" y="207"/>
                    </a:cubicBezTo>
                    <a:cubicBezTo>
                      <a:pt x="105" y="209"/>
                      <a:pt x="102" y="215"/>
                      <a:pt x="100" y="219"/>
                    </a:cubicBezTo>
                    <a:cubicBezTo>
                      <a:pt x="99" y="223"/>
                      <a:pt x="98" y="223"/>
                      <a:pt x="98" y="223"/>
                    </a:cubicBezTo>
                    <a:cubicBezTo>
                      <a:pt x="97" y="223"/>
                      <a:pt x="97" y="223"/>
                      <a:pt x="96" y="223"/>
                    </a:cubicBezTo>
                    <a:cubicBezTo>
                      <a:pt x="95" y="223"/>
                      <a:pt x="95" y="223"/>
                      <a:pt x="95" y="223"/>
                    </a:cubicBezTo>
                    <a:cubicBezTo>
                      <a:pt x="93" y="222"/>
                      <a:pt x="92" y="222"/>
                      <a:pt x="92" y="218"/>
                    </a:cubicBezTo>
                    <a:cubicBezTo>
                      <a:pt x="92" y="214"/>
                      <a:pt x="91" y="206"/>
                      <a:pt x="88" y="203"/>
                    </a:cubicBezTo>
                    <a:cubicBezTo>
                      <a:pt x="87" y="202"/>
                      <a:pt x="87" y="202"/>
                      <a:pt x="87" y="202"/>
                    </a:cubicBezTo>
                    <a:cubicBezTo>
                      <a:pt x="86" y="202"/>
                      <a:pt x="86" y="202"/>
                      <a:pt x="86" y="202"/>
                    </a:cubicBezTo>
                    <a:cubicBezTo>
                      <a:pt x="85" y="202"/>
                      <a:pt x="85" y="202"/>
                      <a:pt x="85" y="202"/>
                    </a:cubicBezTo>
                    <a:cubicBezTo>
                      <a:pt x="85" y="202"/>
                      <a:pt x="85" y="202"/>
                      <a:pt x="85" y="202"/>
                    </a:cubicBezTo>
                    <a:cubicBezTo>
                      <a:pt x="81" y="203"/>
                      <a:pt x="77" y="208"/>
                      <a:pt x="74" y="212"/>
                    </a:cubicBezTo>
                    <a:cubicBezTo>
                      <a:pt x="73" y="213"/>
                      <a:pt x="72" y="215"/>
                      <a:pt x="71" y="215"/>
                    </a:cubicBezTo>
                    <a:cubicBezTo>
                      <a:pt x="70" y="215"/>
                      <a:pt x="70" y="215"/>
                      <a:pt x="69" y="214"/>
                    </a:cubicBezTo>
                    <a:cubicBezTo>
                      <a:pt x="68" y="214"/>
                      <a:pt x="68" y="214"/>
                      <a:pt x="68" y="214"/>
                    </a:cubicBezTo>
                    <a:cubicBezTo>
                      <a:pt x="66" y="213"/>
                      <a:pt x="65" y="213"/>
                      <a:pt x="66" y="209"/>
                    </a:cubicBezTo>
                    <a:cubicBezTo>
                      <a:pt x="68" y="204"/>
                      <a:pt x="69" y="196"/>
                      <a:pt x="66" y="193"/>
                    </a:cubicBezTo>
                    <a:cubicBezTo>
                      <a:pt x="66" y="192"/>
                      <a:pt x="65" y="192"/>
                      <a:pt x="65" y="192"/>
                    </a:cubicBezTo>
                    <a:cubicBezTo>
                      <a:pt x="65" y="191"/>
                      <a:pt x="64" y="191"/>
                      <a:pt x="64" y="191"/>
                    </a:cubicBezTo>
                    <a:cubicBezTo>
                      <a:pt x="64" y="191"/>
                      <a:pt x="64" y="191"/>
                      <a:pt x="63" y="191"/>
                    </a:cubicBezTo>
                    <a:cubicBezTo>
                      <a:pt x="63" y="191"/>
                      <a:pt x="63" y="191"/>
                      <a:pt x="63" y="191"/>
                    </a:cubicBezTo>
                    <a:cubicBezTo>
                      <a:pt x="59" y="191"/>
                      <a:pt x="54" y="195"/>
                      <a:pt x="50" y="198"/>
                    </a:cubicBezTo>
                    <a:cubicBezTo>
                      <a:pt x="48" y="200"/>
                      <a:pt x="47" y="200"/>
                      <a:pt x="47" y="200"/>
                    </a:cubicBezTo>
                    <a:cubicBezTo>
                      <a:pt x="46" y="200"/>
                      <a:pt x="45" y="200"/>
                      <a:pt x="45" y="199"/>
                    </a:cubicBezTo>
                    <a:cubicBezTo>
                      <a:pt x="44" y="198"/>
                      <a:pt x="44" y="198"/>
                      <a:pt x="44" y="198"/>
                    </a:cubicBezTo>
                    <a:cubicBezTo>
                      <a:pt x="42" y="197"/>
                      <a:pt x="42" y="197"/>
                      <a:pt x="44" y="193"/>
                    </a:cubicBezTo>
                    <a:cubicBezTo>
                      <a:pt x="46" y="189"/>
                      <a:pt x="49" y="182"/>
                      <a:pt x="47" y="177"/>
                    </a:cubicBezTo>
                    <a:cubicBezTo>
                      <a:pt x="47" y="177"/>
                      <a:pt x="47" y="177"/>
                      <a:pt x="47" y="176"/>
                    </a:cubicBezTo>
                    <a:cubicBezTo>
                      <a:pt x="46" y="176"/>
                      <a:pt x="46" y="176"/>
                      <a:pt x="46" y="175"/>
                    </a:cubicBezTo>
                    <a:cubicBezTo>
                      <a:pt x="46" y="175"/>
                      <a:pt x="45" y="175"/>
                      <a:pt x="45" y="175"/>
                    </a:cubicBezTo>
                    <a:cubicBezTo>
                      <a:pt x="45" y="175"/>
                      <a:pt x="44" y="175"/>
                      <a:pt x="43" y="175"/>
                    </a:cubicBezTo>
                    <a:cubicBezTo>
                      <a:pt x="40" y="175"/>
                      <a:pt x="35" y="176"/>
                      <a:pt x="31" y="178"/>
                    </a:cubicBezTo>
                    <a:cubicBezTo>
                      <a:pt x="29" y="179"/>
                      <a:pt x="28" y="180"/>
                      <a:pt x="27" y="180"/>
                    </a:cubicBezTo>
                    <a:cubicBezTo>
                      <a:pt x="26" y="180"/>
                      <a:pt x="26" y="179"/>
                      <a:pt x="25" y="178"/>
                    </a:cubicBezTo>
                    <a:cubicBezTo>
                      <a:pt x="25" y="177"/>
                      <a:pt x="25" y="177"/>
                      <a:pt x="25" y="177"/>
                    </a:cubicBezTo>
                    <a:cubicBezTo>
                      <a:pt x="23" y="175"/>
                      <a:pt x="23" y="175"/>
                      <a:pt x="26" y="172"/>
                    </a:cubicBezTo>
                    <a:cubicBezTo>
                      <a:pt x="29" y="169"/>
                      <a:pt x="34" y="162"/>
                      <a:pt x="33" y="158"/>
                    </a:cubicBezTo>
                    <a:cubicBezTo>
                      <a:pt x="33" y="157"/>
                      <a:pt x="33" y="157"/>
                      <a:pt x="33" y="156"/>
                    </a:cubicBezTo>
                    <a:cubicBezTo>
                      <a:pt x="33" y="156"/>
                      <a:pt x="33" y="156"/>
                      <a:pt x="32" y="155"/>
                    </a:cubicBezTo>
                    <a:cubicBezTo>
                      <a:pt x="32" y="155"/>
                      <a:pt x="32" y="155"/>
                      <a:pt x="32" y="155"/>
                    </a:cubicBezTo>
                    <a:cubicBezTo>
                      <a:pt x="30" y="154"/>
                      <a:pt x="27" y="154"/>
                      <a:pt x="24" y="154"/>
                    </a:cubicBezTo>
                    <a:cubicBezTo>
                      <a:pt x="22" y="154"/>
                      <a:pt x="19" y="154"/>
                      <a:pt x="17" y="154"/>
                    </a:cubicBezTo>
                    <a:cubicBezTo>
                      <a:pt x="16" y="155"/>
                      <a:pt x="15" y="155"/>
                      <a:pt x="14" y="155"/>
                    </a:cubicBezTo>
                    <a:cubicBezTo>
                      <a:pt x="13" y="155"/>
                      <a:pt x="13" y="154"/>
                      <a:pt x="12" y="152"/>
                    </a:cubicBezTo>
                    <a:cubicBezTo>
                      <a:pt x="12" y="152"/>
                      <a:pt x="12" y="152"/>
                      <a:pt x="12" y="152"/>
                    </a:cubicBezTo>
                    <a:cubicBezTo>
                      <a:pt x="11" y="150"/>
                      <a:pt x="10" y="149"/>
                      <a:pt x="14" y="147"/>
                    </a:cubicBezTo>
                    <a:cubicBezTo>
                      <a:pt x="18" y="145"/>
                      <a:pt x="24" y="140"/>
                      <a:pt x="25" y="135"/>
                    </a:cubicBezTo>
                    <a:cubicBezTo>
                      <a:pt x="25" y="135"/>
                      <a:pt x="25" y="134"/>
                      <a:pt x="25" y="134"/>
                    </a:cubicBezTo>
                    <a:cubicBezTo>
                      <a:pt x="25" y="134"/>
                      <a:pt x="25" y="133"/>
                      <a:pt x="25" y="133"/>
                    </a:cubicBezTo>
                    <a:cubicBezTo>
                      <a:pt x="25" y="133"/>
                      <a:pt x="25" y="133"/>
                      <a:pt x="24" y="133"/>
                    </a:cubicBezTo>
                    <a:cubicBezTo>
                      <a:pt x="22" y="130"/>
                      <a:pt x="15" y="128"/>
                      <a:pt x="10" y="128"/>
                    </a:cubicBezTo>
                    <a:cubicBezTo>
                      <a:pt x="6" y="128"/>
                      <a:pt x="6" y="127"/>
                      <a:pt x="6" y="125"/>
                    </a:cubicBezTo>
                    <a:cubicBezTo>
                      <a:pt x="6" y="124"/>
                      <a:pt x="6" y="124"/>
                      <a:pt x="6" y="124"/>
                    </a:cubicBezTo>
                    <a:cubicBezTo>
                      <a:pt x="5" y="122"/>
                      <a:pt x="5" y="121"/>
                      <a:pt x="9" y="120"/>
                    </a:cubicBezTo>
                    <a:cubicBezTo>
                      <a:pt x="14" y="119"/>
                      <a:pt x="21" y="115"/>
                      <a:pt x="23" y="111"/>
                    </a:cubicBezTo>
                    <a:cubicBezTo>
                      <a:pt x="23" y="111"/>
                      <a:pt x="23" y="110"/>
                      <a:pt x="23" y="110"/>
                    </a:cubicBezTo>
                    <a:cubicBezTo>
                      <a:pt x="23" y="109"/>
                      <a:pt x="23" y="109"/>
                      <a:pt x="23" y="109"/>
                    </a:cubicBezTo>
                    <a:cubicBezTo>
                      <a:pt x="23" y="108"/>
                      <a:pt x="23" y="108"/>
                      <a:pt x="23" y="108"/>
                    </a:cubicBezTo>
                    <a:cubicBezTo>
                      <a:pt x="21" y="105"/>
                      <a:pt x="15" y="102"/>
                      <a:pt x="10" y="100"/>
                    </a:cubicBezTo>
                    <a:cubicBezTo>
                      <a:pt x="6" y="99"/>
                      <a:pt x="6" y="98"/>
                      <a:pt x="7" y="96"/>
                    </a:cubicBezTo>
                    <a:cubicBezTo>
                      <a:pt x="7" y="95"/>
                      <a:pt x="7" y="95"/>
                      <a:pt x="7" y="95"/>
                    </a:cubicBezTo>
                    <a:cubicBezTo>
                      <a:pt x="7" y="93"/>
                      <a:pt x="7" y="92"/>
                      <a:pt x="11" y="92"/>
                    </a:cubicBezTo>
                    <a:cubicBezTo>
                      <a:pt x="12" y="92"/>
                      <a:pt x="12" y="92"/>
                      <a:pt x="12" y="92"/>
                    </a:cubicBezTo>
                    <a:cubicBezTo>
                      <a:pt x="16" y="92"/>
                      <a:pt x="24" y="91"/>
                      <a:pt x="27" y="88"/>
                    </a:cubicBezTo>
                    <a:cubicBezTo>
                      <a:pt x="27" y="87"/>
                      <a:pt x="27" y="87"/>
                      <a:pt x="28" y="86"/>
                    </a:cubicBezTo>
                    <a:cubicBezTo>
                      <a:pt x="28" y="86"/>
                      <a:pt x="28" y="85"/>
                      <a:pt x="28" y="85"/>
                    </a:cubicBezTo>
                    <a:cubicBezTo>
                      <a:pt x="28" y="85"/>
                      <a:pt x="28" y="85"/>
                      <a:pt x="28" y="85"/>
                    </a:cubicBezTo>
                    <a:cubicBezTo>
                      <a:pt x="27" y="81"/>
                      <a:pt x="22" y="76"/>
                      <a:pt x="18" y="74"/>
                    </a:cubicBezTo>
                    <a:cubicBezTo>
                      <a:pt x="14" y="71"/>
                      <a:pt x="14" y="71"/>
                      <a:pt x="15" y="69"/>
                    </a:cubicBezTo>
                    <a:cubicBezTo>
                      <a:pt x="16" y="68"/>
                      <a:pt x="16" y="68"/>
                      <a:pt x="16" y="68"/>
                    </a:cubicBezTo>
                    <a:cubicBezTo>
                      <a:pt x="16" y="66"/>
                      <a:pt x="17" y="66"/>
                      <a:pt x="18" y="66"/>
                    </a:cubicBezTo>
                    <a:cubicBezTo>
                      <a:pt x="19" y="66"/>
                      <a:pt x="20" y="66"/>
                      <a:pt x="21" y="66"/>
                    </a:cubicBezTo>
                    <a:cubicBezTo>
                      <a:pt x="24" y="67"/>
                      <a:pt x="27" y="67"/>
                      <a:pt x="30" y="67"/>
                    </a:cubicBezTo>
                    <a:cubicBezTo>
                      <a:pt x="33" y="67"/>
                      <a:pt x="35" y="67"/>
                      <a:pt x="37" y="66"/>
                    </a:cubicBezTo>
                    <a:cubicBezTo>
                      <a:pt x="37" y="65"/>
                      <a:pt x="38" y="65"/>
                      <a:pt x="38" y="65"/>
                    </a:cubicBezTo>
                    <a:cubicBezTo>
                      <a:pt x="38" y="64"/>
                      <a:pt x="38" y="64"/>
                      <a:pt x="38" y="63"/>
                    </a:cubicBezTo>
                    <a:cubicBezTo>
                      <a:pt x="38" y="63"/>
                      <a:pt x="38" y="63"/>
                      <a:pt x="38" y="63"/>
                    </a:cubicBezTo>
                    <a:cubicBezTo>
                      <a:pt x="38" y="59"/>
                      <a:pt x="35" y="54"/>
                      <a:pt x="32" y="50"/>
                    </a:cubicBezTo>
                    <a:cubicBezTo>
                      <a:pt x="29" y="47"/>
                      <a:pt x="29" y="46"/>
                      <a:pt x="31" y="44"/>
                    </a:cubicBezTo>
                    <a:cubicBezTo>
                      <a:pt x="31" y="44"/>
                      <a:pt x="31" y="44"/>
                      <a:pt x="31" y="44"/>
                    </a:cubicBezTo>
                    <a:cubicBezTo>
                      <a:pt x="32" y="42"/>
                      <a:pt x="33" y="42"/>
                      <a:pt x="33" y="42"/>
                    </a:cubicBezTo>
                    <a:cubicBezTo>
                      <a:pt x="34" y="42"/>
                      <a:pt x="35" y="42"/>
                      <a:pt x="37" y="44"/>
                    </a:cubicBezTo>
                    <a:cubicBezTo>
                      <a:pt x="41" y="46"/>
                      <a:pt x="46" y="48"/>
                      <a:pt x="49" y="48"/>
                    </a:cubicBezTo>
                    <a:cubicBezTo>
                      <a:pt x="51" y="48"/>
                      <a:pt x="52" y="47"/>
                      <a:pt x="52" y="47"/>
                    </a:cubicBezTo>
                    <a:cubicBezTo>
                      <a:pt x="52" y="47"/>
                      <a:pt x="52" y="47"/>
                      <a:pt x="53" y="47"/>
                    </a:cubicBezTo>
                    <a:cubicBezTo>
                      <a:pt x="53" y="47"/>
                      <a:pt x="53" y="46"/>
                      <a:pt x="54" y="46"/>
                    </a:cubicBezTo>
                    <a:cubicBezTo>
                      <a:pt x="54" y="46"/>
                      <a:pt x="54" y="46"/>
                      <a:pt x="54" y="46"/>
                    </a:cubicBezTo>
                    <a:cubicBezTo>
                      <a:pt x="56" y="42"/>
                      <a:pt x="53" y="34"/>
                      <a:pt x="52" y="30"/>
                    </a:cubicBezTo>
                    <a:cubicBezTo>
                      <a:pt x="50" y="26"/>
                      <a:pt x="51" y="26"/>
                      <a:pt x="52" y="25"/>
                    </a:cubicBezTo>
                    <a:cubicBezTo>
                      <a:pt x="53" y="24"/>
                      <a:pt x="53" y="24"/>
                      <a:pt x="53" y="24"/>
                    </a:cubicBezTo>
                    <a:cubicBezTo>
                      <a:pt x="54" y="24"/>
                      <a:pt x="55" y="23"/>
                      <a:pt x="55" y="23"/>
                    </a:cubicBezTo>
                    <a:cubicBezTo>
                      <a:pt x="56" y="23"/>
                      <a:pt x="57" y="24"/>
                      <a:pt x="58" y="26"/>
                    </a:cubicBezTo>
                    <a:cubicBezTo>
                      <a:pt x="62" y="29"/>
                      <a:pt x="67" y="33"/>
                      <a:pt x="71" y="34"/>
                    </a:cubicBezTo>
                    <a:cubicBezTo>
                      <a:pt x="71" y="34"/>
                      <a:pt x="71" y="34"/>
                      <a:pt x="71" y="34"/>
                    </a:cubicBezTo>
                    <a:cubicBezTo>
                      <a:pt x="71" y="34"/>
                      <a:pt x="71" y="34"/>
                      <a:pt x="71" y="34"/>
                    </a:cubicBezTo>
                    <a:cubicBezTo>
                      <a:pt x="72" y="34"/>
                      <a:pt x="72" y="33"/>
                      <a:pt x="73" y="33"/>
                    </a:cubicBezTo>
                    <a:cubicBezTo>
                      <a:pt x="73" y="33"/>
                      <a:pt x="73" y="33"/>
                      <a:pt x="74" y="32"/>
                    </a:cubicBezTo>
                    <a:cubicBezTo>
                      <a:pt x="77" y="29"/>
                      <a:pt x="77" y="21"/>
                      <a:pt x="76" y="16"/>
                    </a:cubicBezTo>
                    <a:cubicBezTo>
                      <a:pt x="75" y="12"/>
                      <a:pt x="76" y="12"/>
                      <a:pt x="78" y="11"/>
                    </a:cubicBezTo>
                    <a:cubicBezTo>
                      <a:pt x="79" y="11"/>
                      <a:pt x="79" y="11"/>
                      <a:pt x="79" y="11"/>
                    </a:cubicBezTo>
                    <a:cubicBezTo>
                      <a:pt x="79" y="11"/>
                      <a:pt x="80" y="11"/>
                      <a:pt x="81" y="11"/>
                    </a:cubicBezTo>
                    <a:cubicBezTo>
                      <a:pt x="82" y="11"/>
                      <a:pt x="83" y="12"/>
                      <a:pt x="83" y="14"/>
                    </a:cubicBezTo>
                    <a:cubicBezTo>
                      <a:pt x="86" y="18"/>
                      <a:pt x="90" y="24"/>
                      <a:pt x="93" y="25"/>
                    </a:cubicBezTo>
                    <a:cubicBezTo>
                      <a:pt x="94" y="25"/>
                      <a:pt x="94" y="25"/>
                      <a:pt x="94" y="25"/>
                    </a:cubicBezTo>
                    <a:cubicBezTo>
                      <a:pt x="94" y="25"/>
                      <a:pt x="94" y="25"/>
                      <a:pt x="94" y="25"/>
                    </a:cubicBezTo>
                    <a:cubicBezTo>
                      <a:pt x="95" y="25"/>
                      <a:pt x="95" y="25"/>
                      <a:pt x="95" y="25"/>
                    </a:cubicBezTo>
                    <a:cubicBezTo>
                      <a:pt x="95" y="25"/>
                      <a:pt x="96" y="25"/>
                      <a:pt x="96" y="25"/>
                    </a:cubicBezTo>
                    <a:moveTo>
                      <a:pt x="108" y="0"/>
                    </a:moveTo>
                    <a:cubicBezTo>
                      <a:pt x="107" y="0"/>
                      <a:pt x="107" y="0"/>
                      <a:pt x="106" y="0"/>
                    </a:cubicBezTo>
                    <a:cubicBezTo>
                      <a:pt x="106" y="0"/>
                      <a:pt x="106" y="0"/>
                      <a:pt x="106" y="0"/>
                    </a:cubicBezTo>
                    <a:cubicBezTo>
                      <a:pt x="102" y="1"/>
                      <a:pt x="98" y="2"/>
                      <a:pt x="98" y="9"/>
                    </a:cubicBezTo>
                    <a:cubicBezTo>
                      <a:pt x="97" y="14"/>
                      <a:pt x="95" y="18"/>
                      <a:pt x="94" y="20"/>
                    </a:cubicBezTo>
                    <a:cubicBezTo>
                      <a:pt x="92" y="18"/>
                      <a:pt x="90" y="15"/>
                      <a:pt x="88" y="12"/>
                    </a:cubicBezTo>
                    <a:cubicBezTo>
                      <a:pt x="86" y="8"/>
                      <a:pt x="84" y="6"/>
                      <a:pt x="81" y="6"/>
                    </a:cubicBezTo>
                    <a:cubicBezTo>
                      <a:pt x="79" y="6"/>
                      <a:pt x="78" y="6"/>
                      <a:pt x="77" y="6"/>
                    </a:cubicBezTo>
                    <a:cubicBezTo>
                      <a:pt x="76" y="7"/>
                      <a:pt x="76" y="7"/>
                      <a:pt x="76" y="7"/>
                    </a:cubicBezTo>
                    <a:cubicBezTo>
                      <a:pt x="73" y="8"/>
                      <a:pt x="69" y="10"/>
                      <a:pt x="71" y="17"/>
                    </a:cubicBezTo>
                    <a:cubicBezTo>
                      <a:pt x="72" y="22"/>
                      <a:pt x="71" y="27"/>
                      <a:pt x="70" y="28"/>
                    </a:cubicBezTo>
                    <a:cubicBezTo>
                      <a:pt x="68" y="27"/>
                      <a:pt x="65" y="25"/>
                      <a:pt x="62" y="22"/>
                    </a:cubicBezTo>
                    <a:cubicBezTo>
                      <a:pt x="60" y="19"/>
                      <a:pt x="57" y="18"/>
                      <a:pt x="55" y="18"/>
                    </a:cubicBezTo>
                    <a:cubicBezTo>
                      <a:pt x="53" y="18"/>
                      <a:pt x="51" y="19"/>
                      <a:pt x="50" y="20"/>
                    </a:cubicBezTo>
                    <a:cubicBezTo>
                      <a:pt x="50" y="20"/>
                      <a:pt x="50" y="20"/>
                      <a:pt x="50" y="20"/>
                    </a:cubicBezTo>
                    <a:cubicBezTo>
                      <a:pt x="46" y="22"/>
                      <a:pt x="44" y="25"/>
                      <a:pt x="47" y="32"/>
                    </a:cubicBezTo>
                    <a:cubicBezTo>
                      <a:pt x="49" y="36"/>
                      <a:pt x="50" y="41"/>
                      <a:pt x="50" y="43"/>
                    </a:cubicBezTo>
                    <a:cubicBezTo>
                      <a:pt x="49" y="43"/>
                      <a:pt x="49" y="43"/>
                      <a:pt x="49" y="43"/>
                    </a:cubicBezTo>
                    <a:cubicBezTo>
                      <a:pt x="47" y="43"/>
                      <a:pt x="43" y="41"/>
                      <a:pt x="39" y="39"/>
                    </a:cubicBezTo>
                    <a:cubicBezTo>
                      <a:pt x="37" y="38"/>
                      <a:pt x="35" y="37"/>
                      <a:pt x="33" y="37"/>
                    </a:cubicBezTo>
                    <a:cubicBezTo>
                      <a:pt x="30" y="37"/>
                      <a:pt x="28" y="39"/>
                      <a:pt x="27" y="41"/>
                    </a:cubicBezTo>
                    <a:cubicBezTo>
                      <a:pt x="27" y="41"/>
                      <a:pt x="27" y="41"/>
                      <a:pt x="27" y="41"/>
                    </a:cubicBezTo>
                    <a:cubicBezTo>
                      <a:pt x="25" y="43"/>
                      <a:pt x="22" y="47"/>
                      <a:pt x="28" y="53"/>
                    </a:cubicBezTo>
                    <a:cubicBezTo>
                      <a:pt x="31" y="56"/>
                      <a:pt x="33" y="60"/>
                      <a:pt x="33" y="62"/>
                    </a:cubicBezTo>
                    <a:cubicBezTo>
                      <a:pt x="33" y="62"/>
                      <a:pt x="31" y="62"/>
                      <a:pt x="30" y="62"/>
                    </a:cubicBezTo>
                    <a:cubicBezTo>
                      <a:pt x="27" y="62"/>
                      <a:pt x="25" y="62"/>
                      <a:pt x="22" y="61"/>
                    </a:cubicBezTo>
                    <a:cubicBezTo>
                      <a:pt x="21" y="61"/>
                      <a:pt x="19" y="61"/>
                      <a:pt x="18" y="61"/>
                    </a:cubicBezTo>
                    <a:cubicBezTo>
                      <a:pt x="13" y="61"/>
                      <a:pt x="12" y="64"/>
                      <a:pt x="11" y="66"/>
                    </a:cubicBezTo>
                    <a:cubicBezTo>
                      <a:pt x="11" y="66"/>
                      <a:pt x="11" y="66"/>
                      <a:pt x="11" y="66"/>
                    </a:cubicBezTo>
                    <a:cubicBezTo>
                      <a:pt x="10" y="69"/>
                      <a:pt x="8" y="73"/>
                      <a:pt x="15" y="78"/>
                    </a:cubicBezTo>
                    <a:cubicBezTo>
                      <a:pt x="18" y="80"/>
                      <a:pt x="21" y="83"/>
                      <a:pt x="22" y="85"/>
                    </a:cubicBezTo>
                    <a:cubicBezTo>
                      <a:pt x="21" y="86"/>
                      <a:pt x="17" y="87"/>
                      <a:pt x="12" y="87"/>
                    </a:cubicBezTo>
                    <a:cubicBezTo>
                      <a:pt x="11" y="87"/>
                      <a:pt x="11" y="87"/>
                      <a:pt x="11" y="87"/>
                    </a:cubicBezTo>
                    <a:cubicBezTo>
                      <a:pt x="3" y="87"/>
                      <a:pt x="2" y="92"/>
                      <a:pt x="2" y="94"/>
                    </a:cubicBezTo>
                    <a:cubicBezTo>
                      <a:pt x="2" y="95"/>
                      <a:pt x="2" y="95"/>
                      <a:pt x="2" y="95"/>
                    </a:cubicBezTo>
                    <a:cubicBezTo>
                      <a:pt x="1" y="98"/>
                      <a:pt x="1" y="103"/>
                      <a:pt x="9" y="105"/>
                    </a:cubicBezTo>
                    <a:cubicBezTo>
                      <a:pt x="13" y="106"/>
                      <a:pt x="16" y="108"/>
                      <a:pt x="18" y="110"/>
                    </a:cubicBezTo>
                    <a:cubicBezTo>
                      <a:pt x="17" y="111"/>
                      <a:pt x="13" y="114"/>
                      <a:pt x="8" y="115"/>
                    </a:cubicBezTo>
                    <a:cubicBezTo>
                      <a:pt x="1" y="117"/>
                      <a:pt x="0" y="120"/>
                      <a:pt x="1" y="124"/>
                    </a:cubicBezTo>
                    <a:cubicBezTo>
                      <a:pt x="1" y="125"/>
                      <a:pt x="1" y="125"/>
                      <a:pt x="1" y="125"/>
                    </a:cubicBezTo>
                    <a:cubicBezTo>
                      <a:pt x="1" y="128"/>
                      <a:pt x="1" y="133"/>
                      <a:pt x="10" y="133"/>
                    </a:cubicBezTo>
                    <a:cubicBezTo>
                      <a:pt x="14" y="133"/>
                      <a:pt x="18" y="134"/>
                      <a:pt x="20" y="135"/>
                    </a:cubicBezTo>
                    <a:cubicBezTo>
                      <a:pt x="19" y="137"/>
                      <a:pt x="16" y="140"/>
                      <a:pt x="12" y="142"/>
                    </a:cubicBezTo>
                    <a:cubicBezTo>
                      <a:pt x="5" y="146"/>
                      <a:pt x="5" y="150"/>
                      <a:pt x="7" y="154"/>
                    </a:cubicBezTo>
                    <a:cubicBezTo>
                      <a:pt x="7" y="154"/>
                      <a:pt x="7" y="154"/>
                      <a:pt x="7" y="154"/>
                    </a:cubicBezTo>
                    <a:cubicBezTo>
                      <a:pt x="8" y="156"/>
                      <a:pt x="9" y="160"/>
                      <a:pt x="14" y="160"/>
                    </a:cubicBezTo>
                    <a:cubicBezTo>
                      <a:pt x="16" y="160"/>
                      <a:pt x="17" y="160"/>
                      <a:pt x="18" y="159"/>
                    </a:cubicBezTo>
                    <a:cubicBezTo>
                      <a:pt x="20" y="159"/>
                      <a:pt x="22" y="159"/>
                      <a:pt x="24" y="159"/>
                    </a:cubicBezTo>
                    <a:cubicBezTo>
                      <a:pt x="26" y="159"/>
                      <a:pt x="28" y="159"/>
                      <a:pt x="28" y="159"/>
                    </a:cubicBezTo>
                    <a:cubicBezTo>
                      <a:pt x="28" y="161"/>
                      <a:pt x="26" y="165"/>
                      <a:pt x="23" y="168"/>
                    </a:cubicBezTo>
                    <a:cubicBezTo>
                      <a:pt x="16" y="174"/>
                      <a:pt x="19" y="178"/>
                      <a:pt x="21" y="180"/>
                    </a:cubicBezTo>
                    <a:cubicBezTo>
                      <a:pt x="21" y="181"/>
                      <a:pt x="21" y="181"/>
                      <a:pt x="21" y="181"/>
                    </a:cubicBezTo>
                    <a:cubicBezTo>
                      <a:pt x="22" y="182"/>
                      <a:pt x="24" y="185"/>
                      <a:pt x="27" y="185"/>
                    </a:cubicBezTo>
                    <a:cubicBezTo>
                      <a:pt x="29" y="185"/>
                      <a:pt x="31" y="184"/>
                      <a:pt x="33" y="183"/>
                    </a:cubicBezTo>
                    <a:cubicBezTo>
                      <a:pt x="36" y="181"/>
                      <a:pt x="40" y="180"/>
                      <a:pt x="43" y="180"/>
                    </a:cubicBezTo>
                    <a:cubicBezTo>
                      <a:pt x="43" y="182"/>
                      <a:pt x="42" y="186"/>
                      <a:pt x="40" y="190"/>
                    </a:cubicBezTo>
                    <a:cubicBezTo>
                      <a:pt x="35" y="197"/>
                      <a:pt x="38" y="200"/>
                      <a:pt x="41" y="202"/>
                    </a:cubicBezTo>
                    <a:cubicBezTo>
                      <a:pt x="41" y="203"/>
                      <a:pt x="41" y="203"/>
                      <a:pt x="41" y="203"/>
                    </a:cubicBezTo>
                    <a:cubicBezTo>
                      <a:pt x="43" y="204"/>
                      <a:pt x="44" y="205"/>
                      <a:pt x="47" y="205"/>
                    </a:cubicBezTo>
                    <a:cubicBezTo>
                      <a:pt x="49" y="205"/>
                      <a:pt x="51" y="204"/>
                      <a:pt x="53" y="202"/>
                    </a:cubicBezTo>
                    <a:cubicBezTo>
                      <a:pt x="57" y="199"/>
                      <a:pt x="60" y="197"/>
                      <a:pt x="62" y="196"/>
                    </a:cubicBezTo>
                    <a:cubicBezTo>
                      <a:pt x="63" y="198"/>
                      <a:pt x="63" y="202"/>
                      <a:pt x="62" y="207"/>
                    </a:cubicBezTo>
                    <a:cubicBezTo>
                      <a:pt x="59" y="215"/>
                      <a:pt x="62" y="217"/>
                      <a:pt x="66" y="219"/>
                    </a:cubicBezTo>
                    <a:cubicBezTo>
                      <a:pt x="67" y="219"/>
                      <a:pt x="67" y="219"/>
                      <a:pt x="67" y="219"/>
                    </a:cubicBezTo>
                    <a:cubicBezTo>
                      <a:pt x="68" y="219"/>
                      <a:pt x="69" y="220"/>
                      <a:pt x="71" y="220"/>
                    </a:cubicBezTo>
                    <a:cubicBezTo>
                      <a:pt x="73" y="220"/>
                      <a:pt x="76" y="218"/>
                      <a:pt x="78" y="215"/>
                    </a:cubicBezTo>
                    <a:cubicBezTo>
                      <a:pt x="80" y="211"/>
                      <a:pt x="83" y="208"/>
                      <a:pt x="85" y="207"/>
                    </a:cubicBezTo>
                    <a:cubicBezTo>
                      <a:pt x="86" y="209"/>
                      <a:pt x="87" y="213"/>
                      <a:pt x="87" y="218"/>
                    </a:cubicBezTo>
                    <a:cubicBezTo>
                      <a:pt x="87" y="226"/>
                      <a:pt x="91" y="227"/>
                      <a:pt x="95" y="228"/>
                    </a:cubicBezTo>
                    <a:cubicBezTo>
                      <a:pt x="95" y="228"/>
                      <a:pt x="95" y="228"/>
                      <a:pt x="95" y="228"/>
                    </a:cubicBezTo>
                    <a:cubicBezTo>
                      <a:pt x="96" y="228"/>
                      <a:pt x="97" y="228"/>
                      <a:pt x="98" y="228"/>
                    </a:cubicBezTo>
                    <a:cubicBezTo>
                      <a:pt x="103" y="228"/>
                      <a:pt x="105" y="223"/>
                      <a:pt x="105" y="221"/>
                    </a:cubicBezTo>
                    <a:cubicBezTo>
                      <a:pt x="106" y="217"/>
                      <a:pt x="109" y="213"/>
                      <a:pt x="110" y="212"/>
                    </a:cubicBezTo>
                    <a:cubicBezTo>
                      <a:pt x="111" y="213"/>
                      <a:pt x="114" y="217"/>
                      <a:pt x="115" y="221"/>
                    </a:cubicBezTo>
                    <a:cubicBezTo>
                      <a:pt x="116" y="227"/>
                      <a:pt x="119" y="229"/>
                      <a:pt x="123" y="229"/>
                    </a:cubicBezTo>
                    <a:cubicBezTo>
                      <a:pt x="123" y="229"/>
                      <a:pt x="124" y="229"/>
                      <a:pt x="124" y="229"/>
                    </a:cubicBezTo>
                    <a:cubicBezTo>
                      <a:pt x="125" y="229"/>
                      <a:pt x="125" y="229"/>
                      <a:pt x="125" y="229"/>
                    </a:cubicBezTo>
                    <a:cubicBezTo>
                      <a:pt x="128" y="229"/>
                      <a:pt x="133" y="228"/>
                      <a:pt x="133" y="220"/>
                    </a:cubicBezTo>
                    <a:cubicBezTo>
                      <a:pt x="133" y="215"/>
                      <a:pt x="134" y="212"/>
                      <a:pt x="135" y="210"/>
                    </a:cubicBezTo>
                    <a:cubicBezTo>
                      <a:pt x="137" y="211"/>
                      <a:pt x="140" y="214"/>
                      <a:pt x="143" y="218"/>
                    </a:cubicBezTo>
                    <a:cubicBezTo>
                      <a:pt x="145" y="222"/>
                      <a:pt x="147" y="224"/>
                      <a:pt x="150" y="224"/>
                    </a:cubicBezTo>
                    <a:cubicBezTo>
                      <a:pt x="151" y="224"/>
                      <a:pt x="153" y="223"/>
                      <a:pt x="154" y="223"/>
                    </a:cubicBezTo>
                    <a:cubicBezTo>
                      <a:pt x="154" y="222"/>
                      <a:pt x="154" y="222"/>
                      <a:pt x="154" y="222"/>
                    </a:cubicBezTo>
                    <a:cubicBezTo>
                      <a:pt x="157" y="222"/>
                      <a:pt x="162" y="220"/>
                      <a:pt x="160" y="212"/>
                    </a:cubicBezTo>
                    <a:cubicBezTo>
                      <a:pt x="159" y="207"/>
                      <a:pt x="159" y="203"/>
                      <a:pt x="159" y="201"/>
                    </a:cubicBezTo>
                    <a:cubicBezTo>
                      <a:pt x="161" y="202"/>
                      <a:pt x="165" y="204"/>
                      <a:pt x="168" y="207"/>
                    </a:cubicBezTo>
                    <a:cubicBezTo>
                      <a:pt x="171" y="210"/>
                      <a:pt x="173" y="211"/>
                      <a:pt x="175" y="211"/>
                    </a:cubicBezTo>
                    <a:cubicBezTo>
                      <a:pt x="178" y="211"/>
                      <a:pt x="179" y="210"/>
                      <a:pt x="180" y="209"/>
                    </a:cubicBezTo>
                    <a:cubicBezTo>
                      <a:pt x="181" y="209"/>
                      <a:pt x="181" y="209"/>
                      <a:pt x="181" y="209"/>
                    </a:cubicBezTo>
                    <a:cubicBezTo>
                      <a:pt x="183" y="207"/>
                      <a:pt x="187" y="204"/>
                      <a:pt x="183" y="197"/>
                    </a:cubicBezTo>
                    <a:cubicBezTo>
                      <a:pt x="181" y="193"/>
                      <a:pt x="180" y="189"/>
                      <a:pt x="180" y="187"/>
                    </a:cubicBezTo>
                    <a:cubicBezTo>
                      <a:pt x="183" y="187"/>
                      <a:pt x="187" y="188"/>
                      <a:pt x="190" y="190"/>
                    </a:cubicBezTo>
                    <a:cubicBezTo>
                      <a:pt x="192" y="192"/>
                      <a:pt x="194" y="193"/>
                      <a:pt x="196" y="193"/>
                    </a:cubicBezTo>
                    <a:cubicBezTo>
                      <a:pt x="199" y="193"/>
                      <a:pt x="201" y="191"/>
                      <a:pt x="202" y="190"/>
                    </a:cubicBezTo>
                    <a:cubicBezTo>
                      <a:pt x="202" y="189"/>
                      <a:pt x="202" y="189"/>
                      <a:pt x="202" y="189"/>
                    </a:cubicBezTo>
                    <a:cubicBezTo>
                      <a:pt x="205" y="186"/>
                      <a:pt x="207" y="183"/>
                      <a:pt x="202" y="177"/>
                    </a:cubicBezTo>
                    <a:cubicBezTo>
                      <a:pt x="199" y="173"/>
                      <a:pt x="197" y="169"/>
                      <a:pt x="197" y="167"/>
                    </a:cubicBezTo>
                    <a:cubicBezTo>
                      <a:pt x="197" y="167"/>
                      <a:pt x="198" y="167"/>
                      <a:pt x="199" y="167"/>
                    </a:cubicBezTo>
                    <a:cubicBezTo>
                      <a:pt x="201" y="167"/>
                      <a:pt x="204" y="168"/>
                      <a:pt x="207" y="168"/>
                    </a:cubicBezTo>
                    <a:cubicBezTo>
                      <a:pt x="209" y="169"/>
                      <a:pt x="210" y="169"/>
                      <a:pt x="212" y="169"/>
                    </a:cubicBezTo>
                    <a:cubicBezTo>
                      <a:pt x="216" y="169"/>
                      <a:pt x="218" y="166"/>
                      <a:pt x="218" y="164"/>
                    </a:cubicBezTo>
                    <a:cubicBezTo>
                      <a:pt x="219" y="164"/>
                      <a:pt x="219" y="164"/>
                      <a:pt x="219" y="164"/>
                    </a:cubicBezTo>
                    <a:cubicBezTo>
                      <a:pt x="220" y="160"/>
                      <a:pt x="221" y="157"/>
                      <a:pt x="215" y="152"/>
                    </a:cubicBezTo>
                    <a:cubicBezTo>
                      <a:pt x="211" y="149"/>
                      <a:pt x="208" y="146"/>
                      <a:pt x="208" y="144"/>
                    </a:cubicBezTo>
                    <a:cubicBezTo>
                      <a:pt x="209" y="144"/>
                      <a:pt x="213" y="143"/>
                      <a:pt x="217" y="143"/>
                    </a:cubicBezTo>
                    <a:cubicBezTo>
                      <a:pt x="217" y="143"/>
                      <a:pt x="217" y="143"/>
                      <a:pt x="218" y="143"/>
                    </a:cubicBezTo>
                    <a:cubicBezTo>
                      <a:pt x="218" y="143"/>
                      <a:pt x="219" y="143"/>
                      <a:pt x="219" y="143"/>
                    </a:cubicBezTo>
                    <a:cubicBezTo>
                      <a:pt x="226" y="143"/>
                      <a:pt x="227" y="138"/>
                      <a:pt x="228" y="136"/>
                    </a:cubicBezTo>
                    <a:cubicBezTo>
                      <a:pt x="228" y="135"/>
                      <a:pt x="228" y="135"/>
                      <a:pt x="228" y="135"/>
                    </a:cubicBezTo>
                    <a:cubicBezTo>
                      <a:pt x="229" y="132"/>
                      <a:pt x="228" y="128"/>
                      <a:pt x="221" y="125"/>
                    </a:cubicBezTo>
                    <a:cubicBezTo>
                      <a:pt x="217" y="123"/>
                      <a:pt x="213" y="121"/>
                      <a:pt x="212" y="119"/>
                    </a:cubicBezTo>
                    <a:cubicBezTo>
                      <a:pt x="214" y="118"/>
                      <a:pt x="217" y="116"/>
                      <a:pt x="221" y="115"/>
                    </a:cubicBezTo>
                    <a:cubicBezTo>
                      <a:pt x="230" y="114"/>
                      <a:pt x="230" y="109"/>
                      <a:pt x="229" y="106"/>
                    </a:cubicBezTo>
                    <a:cubicBezTo>
                      <a:pt x="229" y="105"/>
                      <a:pt x="229" y="105"/>
                      <a:pt x="229" y="105"/>
                    </a:cubicBezTo>
                    <a:cubicBezTo>
                      <a:pt x="229" y="101"/>
                      <a:pt x="228" y="98"/>
                      <a:pt x="220" y="97"/>
                    </a:cubicBezTo>
                    <a:cubicBezTo>
                      <a:pt x="215" y="97"/>
                      <a:pt x="211" y="95"/>
                      <a:pt x="210" y="94"/>
                    </a:cubicBezTo>
                    <a:cubicBezTo>
                      <a:pt x="211" y="92"/>
                      <a:pt x="214" y="90"/>
                      <a:pt x="218" y="88"/>
                    </a:cubicBezTo>
                    <a:cubicBezTo>
                      <a:pt x="226" y="84"/>
                      <a:pt x="224" y="79"/>
                      <a:pt x="223" y="77"/>
                    </a:cubicBezTo>
                    <a:cubicBezTo>
                      <a:pt x="223" y="76"/>
                      <a:pt x="223" y="76"/>
                      <a:pt x="223" y="76"/>
                    </a:cubicBezTo>
                    <a:cubicBezTo>
                      <a:pt x="222" y="74"/>
                      <a:pt x="221" y="70"/>
                      <a:pt x="216" y="70"/>
                    </a:cubicBezTo>
                    <a:cubicBezTo>
                      <a:pt x="215" y="70"/>
                      <a:pt x="213" y="70"/>
                      <a:pt x="212" y="71"/>
                    </a:cubicBezTo>
                    <a:cubicBezTo>
                      <a:pt x="211" y="71"/>
                      <a:pt x="209" y="71"/>
                      <a:pt x="207" y="71"/>
                    </a:cubicBezTo>
                    <a:cubicBezTo>
                      <a:pt x="204" y="71"/>
                      <a:pt x="202" y="71"/>
                      <a:pt x="201" y="70"/>
                    </a:cubicBezTo>
                    <a:cubicBezTo>
                      <a:pt x="202" y="68"/>
                      <a:pt x="204" y="65"/>
                      <a:pt x="207" y="62"/>
                    </a:cubicBezTo>
                    <a:cubicBezTo>
                      <a:pt x="214" y="56"/>
                      <a:pt x="211" y="52"/>
                      <a:pt x="210" y="50"/>
                    </a:cubicBezTo>
                    <a:cubicBezTo>
                      <a:pt x="209" y="49"/>
                      <a:pt x="209" y="49"/>
                      <a:pt x="209" y="49"/>
                    </a:cubicBezTo>
                    <a:cubicBezTo>
                      <a:pt x="208" y="48"/>
                      <a:pt x="207" y="45"/>
                      <a:pt x="203" y="45"/>
                    </a:cubicBezTo>
                    <a:cubicBezTo>
                      <a:pt x="201" y="45"/>
                      <a:pt x="200" y="46"/>
                      <a:pt x="198" y="47"/>
                    </a:cubicBezTo>
                    <a:cubicBezTo>
                      <a:pt x="194" y="48"/>
                      <a:pt x="190" y="49"/>
                      <a:pt x="188" y="49"/>
                    </a:cubicBezTo>
                    <a:cubicBezTo>
                      <a:pt x="187" y="49"/>
                      <a:pt x="187" y="49"/>
                      <a:pt x="187" y="49"/>
                    </a:cubicBezTo>
                    <a:cubicBezTo>
                      <a:pt x="187" y="47"/>
                      <a:pt x="188" y="43"/>
                      <a:pt x="191" y="40"/>
                    </a:cubicBezTo>
                    <a:cubicBezTo>
                      <a:pt x="196" y="33"/>
                      <a:pt x="192" y="29"/>
                      <a:pt x="190" y="28"/>
                    </a:cubicBezTo>
                    <a:cubicBezTo>
                      <a:pt x="189" y="27"/>
                      <a:pt x="189" y="27"/>
                      <a:pt x="189" y="27"/>
                    </a:cubicBezTo>
                    <a:cubicBezTo>
                      <a:pt x="188" y="26"/>
                      <a:pt x="186" y="25"/>
                      <a:pt x="184" y="25"/>
                    </a:cubicBezTo>
                    <a:cubicBezTo>
                      <a:pt x="182" y="25"/>
                      <a:pt x="180" y="26"/>
                      <a:pt x="177" y="28"/>
                    </a:cubicBezTo>
                    <a:cubicBezTo>
                      <a:pt x="174" y="30"/>
                      <a:pt x="170" y="33"/>
                      <a:pt x="168" y="33"/>
                    </a:cubicBezTo>
                    <a:cubicBezTo>
                      <a:pt x="167" y="31"/>
                      <a:pt x="167" y="27"/>
                      <a:pt x="169" y="23"/>
                    </a:cubicBezTo>
                    <a:cubicBezTo>
                      <a:pt x="172" y="15"/>
                      <a:pt x="167" y="12"/>
                      <a:pt x="165" y="11"/>
                    </a:cubicBezTo>
                    <a:cubicBezTo>
                      <a:pt x="164" y="11"/>
                      <a:pt x="164" y="11"/>
                      <a:pt x="164" y="11"/>
                    </a:cubicBezTo>
                    <a:cubicBezTo>
                      <a:pt x="163" y="10"/>
                      <a:pt x="162" y="10"/>
                      <a:pt x="160" y="10"/>
                    </a:cubicBezTo>
                    <a:cubicBezTo>
                      <a:pt x="157" y="10"/>
                      <a:pt x="155" y="11"/>
                      <a:pt x="153" y="15"/>
                    </a:cubicBezTo>
                    <a:cubicBezTo>
                      <a:pt x="150" y="19"/>
                      <a:pt x="146" y="21"/>
                      <a:pt x="145" y="22"/>
                    </a:cubicBezTo>
                    <a:cubicBezTo>
                      <a:pt x="144" y="20"/>
                      <a:pt x="143" y="16"/>
                      <a:pt x="143" y="12"/>
                    </a:cubicBezTo>
                    <a:cubicBezTo>
                      <a:pt x="144" y="3"/>
                      <a:pt x="139" y="2"/>
                      <a:pt x="136" y="2"/>
                    </a:cubicBezTo>
                    <a:cubicBezTo>
                      <a:pt x="136" y="2"/>
                      <a:pt x="136" y="2"/>
                      <a:pt x="136" y="2"/>
                    </a:cubicBezTo>
                    <a:cubicBezTo>
                      <a:pt x="135" y="2"/>
                      <a:pt x="134" y="1"/>
                      <a:pt x="133" y="1"/>
                    </a:cubicBezTo>
                    <a:cubicBezTo>
                      <a:pt x="128" y="1"/>
                      <a:pt x="126" y="7"/>
                      <a:pt x="125" y="8"/>
                    </a:cubicBezTo>
                    <a:cubicBezTo>
                      <a:pt x="124" y="13"/>
                      <a:pt x="121" y="16"/>
                      <a:pt x="120" y="18"/>
                    </a:cubicBezTo>
                    <a:cubicBezTo>
                      <a:pt x="118" y="16"/>
                      <a:pt x="116" y="12"/>
                      <a:pt x="116" y="8"/>
                    </a:cubicBezTo>
                    <a:cubicBezTo>
                      <a:pt x="114" y="3"/>
                      <a:pt x="112" y="0"/>
                      <a:pt x="10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1692">
                <a:extLst>
                  <a:ext uri="{FF2B5EF4-FFF2-40B4-BE49-F238E27FC236}">
                    <a16:creationId xmlns:a16="http://schemas.microsoft.com/office/drawing/2014/main" id="{53B07DD2-9257-40C6-AB9A-C8CE88716536}"/>
                  </a:ext>
                </a:extLst>
              </p:cNvPr>
              <p:cNvSpPr>
                <a:spLocks noEditPoints="1"/>
              </p:cNvSpPr>
              <p:nvPr/>
            </p:nvSpPr>
            <p:spPr bwMode="auto">
              <a:xfrm>
                <a:off x="16920528" y="4297522"/>
                <a:ext cx="188913" cy="176213"/>
              </a:xfrm>
              <a:custGeom>
                <a:avLst/>
                <a:gdLst>
                  <a:gd name="T0" fmla="*/ 46 w 96"/>
                  <a:gd name="T1" fmla="*/ 69 h 90"/>
                  <a:gd name="T2" fmla="*/ 30 w 96"/>
                  <a:gd name="T3" fmla="*/ 63 h 90"/>
                  <a:gd name="T4" fmla="*/ 28 w 96"/>
                  <a:gd name="T5" fmla="*/ 29 h 90"/>
                  <a:gd name="T6" fmla="*/ 46 w 96"/>
                  <a:gd name="T7" fmla="*/ 21 h 90"/>
                  <a:gd name="T8" fmla="*/ 61 w 96"/>
                  <a:gd name="T9" fmla="*/ 26 h 90"/>
                  <a:gd name="T10" fmla="*/ 64 w 96"/>
                  <a:gd name="T11" fmla="*/ 60 h 90"/>
                  <a:gd name="T12" fmla="*/ 46 w 96"/>
                  <a:gd name="T13" fmla="*/ 69 h 90"/>
                  <a:gd name="T14" fmla="*/ 46 w 96"/>
                  <a:gd name="T15" fmla="*/ 16 h 90"/>
                  <a:gd name="T16" fmla="*/ 24 w 96"/>
                  <a:gd name="T17" fmla="*/ 26 h 90"/>
                  <a:gd name="T18" fmla="*/ 27 w 96"/>
                  <a:gd name="T19" fmla="*/ 67 h 90"/>
                  <a:gd name="T20" fmla="*/ 46 w 96"/>
                  <a:gd name="T21" fmla="*/ 74 h 90"/>
                  <a:gd name="T22" fmla="*/ 68 w 96"/>
                  <a:gd name="T23" fmla="*/ 63 h 90"/>
                  <a:gd name="T24" fmla="*/ 65 w 96"/>
                  <a:gd name="T25" fmla="*/ 23 h 90"/>
                  <a:gd name="T26" fmla="*/ 46 w 96"/>
                  <a:gd name="T27" fmla="*/ 16 h 90"/>
                  <a:gd name="T28" fmla="*/ 46 w 96"/>
                  <a:gd name="T29" fmla="*/ 85 h 90"/>
                  <a:gd name="T30" fmla="*/ 20 w 96"/>
                  <a:gd name="T31" fmla="*/ 75 h 90"/>
                  <a:gd name="T32" fmla="*/ 6 w 96"/>
                  <a:gd name="T33" fmla="*/ 48 h 90"/>
                  <a:gd name="T34" fmla="*/ 15 w 96"/>
                  <a:gd name="T35" fmla="*/ 19 h 90"/>
                  <a:gd name="T36" fmla="*/ 46 w 96"/>
                  <a:gd name="T37" fmla="*/ 5 h 90"/>
                  <a:gd name="T38" fmla="*/ 72 w 96"/>
                  <a:gd name="T39" fmla="*/ 14 h 90"/>
                  <a:gd name="T40" fmla="*/ 77 w 96"/>
                  <a:gd name="T41" fmla="*/ 71 h 90"/>
                  <a:gd name="T42" fmla="*/ 46 w 96"/>
                  <a:gd name="T43" fmla="*/ 85 h 90"/>
                  <a:gd name="T44" fmla="*/ 46 w 96"/>
                  <a:gd name="T45" fmla="*/ 0 h 90"/>
                  <a:gd name="T46" fmla="*/ 12 w 96"/>
                  <a:gd name="T47" fmla="*/ 16 h 90"/>
                  <a:gd name="T48" fmla="*/ 1 w 96"/>
                  <a:gd name="T49" fmla="*/ 48 h 90"/>
                  <a:gd name="T50" fmla="*/ 17 w 96"/>
                  <a:gd name="T51" fmla="*/ 79 h 90"/>
                  <a:gd name="T52" fmla="*/ 46 w 96"/>
                  <a:gd name="T53" fmla="*/ 90 h 90"/>
                  <a:gd name="T54" fmla="*/ 80 w 96"/>
                  <a:gd name="T55" fmla="*/ 74 h 90"/>
                  <a:gd name="T56" fmla="*/ 75 w 96"/>
                  <a:gd name="T57" fmla="*/ 10 h 90"/>
                  <a:gd name="T58" fmla="*/ 46 w 96"/>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90">
                    <a:moveTo>
                      <a:pt x="46" y="69"/>
                    </a:moveTo>
                    <a:cubicBezTo>
                      <a:pt x="40" y="69"/>
                      <a:pt x="35" y="67"/>
                      <a:pt x="30" y="63"/>
                    </a:cubicBezTo>
                    <a:cubicBezTo>
                      <a:pt x="20" y="54"/>
                      <a:pt x="19" y="39"/>
                      <a:pt x="28" y="29"/>
                    </a:cubicBezTo>
                    <a:cubicBezTo>
                      <a:pt x="32" y="24"/>
                      <a:pt x="39" y="21"/>
                      <a:pt x="46" y="21"/>
                    </a:cubicBezTo>
                    <a:cubicBezTo>
                      <a:pt x="52" y="21"/>
                      <a:pt x="57" y="23"/>
                      <a:pt x="61" y="26"/>
                    </a:cubicBezTo>
                    <a:cubicBezTo>
                      <a:pt x="71" y="35"/>
                      <a:pt x="73" y="50"/>
                      <a:pt x="64" y="60"/>
                    </a:cubicBezTo>
                    <a:cubicBezTo>
                      <a:pt x="60" y="66"/>
                      <a:pt x="53" y="69"/>
                      <a:pt x="46" y="69"/>
                    </a:cubicBezTo>
                    <a:moveTo>
                      <a:pt x="46" y="16"/>
                    </a:moveTo>
                    <a:cubicBezTo>
                      <a:pt x="37" y="16"/>
                      <a:pt x="29" y="19"/>
                      <a:pt x="24" y="26"/>
                    </a:cubicBezTo>
                    <a:cubicBezTo>
                      <a:pt x="14" y="38"/>
                      <a:pt x="15" y="56"/>
                      <a:pt x="27" y="67"/>
                    </a:cubicBezTo>
                    <a:cubicBezTo>
                      <a:pt x="32" y="71"/>
                      <a:pt x="39" y="74"/>
                      <a:pt x="46" y="74"/>
                    </a:cubicBezTo>
                    <a:cubicBezTo>
                      <a:pt x="54" y="74"/>
                      <a:pt x="63" y="70"/>
                      <a:pt x="68" y="63"/>
                    </a:cubicBezTo>
                    <a:cubicBezTo>
                      <a:pt x="78" y="51"/>
                      <a:pt x="77" y="33"/>
                      <a:pt x="65" y="23"/>
                    </a:cubicBezTo>
                    <a:cubicBezTo>
                      <a:pt x="59" y="18"/>
                      <a:pt x="53" y="16"/>
                      <a:pt x="46" y="16"/>
                    </a:cubicBezTo>
                    <a:moveTo>
                      <a:pt x="46" y="85"/>
                    </a:moveTo>
                    <a:cubicBezTo>
                      <a:pt x="36" y="85"/>
                      <a:pt x="27" y="81"/>
                      <a:pt x="20" y="75"/>
                    </a:cubicBezTo>
                    <a:cubicBezTo>
                      <a:pt x="12" y="68"/>
                      <a:pt x="7" y="59"/>
                      <a:pt x="6" y="48"/>
                    </a:cubicBezTo>
                    <a:cubicBezTo>
                      <a:pt x="5" y="37"/>
                      <a:pt x="8" y="27"/>
                      <a:pt x="15" y="19"/>
                    </a:cubicBezTo>
                    <a:cubicBezTo>
                      <a:pt x="23" y="10"/>
                      <a:pt x="34" y="5"/>
                      <a:pt x="46" y="5"/>
                    </a:cubicBezTo>
                    <a:cubicBezTo>
                      <a:pt x="55" y="5"/>
                      <a:pt x="65" y="8"/>
                      <a:pt x="72" y="14"/>
                    </a:cubicBezTo>
                    <a:cubicBezTo>
                      <a:pt x="89" y="28"/>
                      <a:pt x="91" y="54"/>
                      <a:pt x="77" y="71"/>
                    </a:cubicBezTo>
                    <a:cubicBezTo>
                      <a:pt x="69" y="80"/>
                      <a:pt x="58" y="85"/>
                      <a:pt x="46" y="85"/>
                    </a:cubicBezTo>
                    <a:moveTo>
                      <a:pt x="46" y="0"/>
                    </a:moveTo>
                    <a:cubicBezTo>
                      <a:pt x="33" y="0"/>
                      <a:pt x="20" y="5"/>
                      <a:pt x="12" y="16"/>
                    </a:cubicBezTo>
                    <a:cubicBezTo>
                      <a:pt x="4" y="25"/>
                      <a:pt x="0" y="36"/>
                      <a:pt x="1" y="48"/>
                    </a:cubicBezTo>
                    <a:cubicBezTo>
                      <a:pt x="2" y="60"/>
                      <a:pt x="8" y="71"/>
                      <a:pt x="17" y="79"/>
                    </a:cubicBezTo>
                    <a:cubicBezTo>
                      <a:pt x="25" y="86"/>
                      <a:pt x="35" y="90"/>
                      <a:pt x="46" y="90"/>
                    </a:cubicBezTo>
                    <a:cubicBezTo>
                      <a:pt x="59" y="90"/>
                      <a:pt x="72" y="84"/>
                      <a:pt x="80" y="74"/>
                    </a:cubicBezTo>
                    <a:cubicBezTo>
                      <a:pt x="96" y="55"/>
                      <a:pt x="94" y="26"/>
                      <a:pt x="75" y="10"/>
                    </a:cubicBezTo>
                    <a:cubicBezTo>
                      <a:pt x="67" y="3"/>
                      <a:pt x="57"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1707">
                <a:extLst>
                  <a:ext uri="{FF2B5EF4-FFF2-40B4-BE49-F238E27FC236}">
                    <a16:creationId xmlns:a16="http://schemas.microsoft.com/office/drawing/2014/main" id="{60BBEAC8-C156-4F8D-9232-4B3CC7972B1B}"/>
                  </a:ext>
                </a:extLst>
              </p:cNvPr>
              <p:cNvSpPr>
                <a:spLocks noEditPoints="1"/>
              </p:cNvSpPr>
              <p:nvPr/>
            </p:nvSpPr>
            <p:spPr bwMode="auto">
              <a:xfrm>
                <a:off x="17071341" y="3245009"/>
                <a:ext cx="1146175" cy="1219200"/>
              </a:xfrm>
              <a:custGeom>
                <a:avLst/>
                <a:gdLst>
                  <a:gd name="T0" fmla="*/ 565 w 585"/>
                  <a:gd name="T1" fmla="*/ 284 h 622"/>
                  <a:gd name="T2" fmla="*/ 309 w 585"/>
                  <a:gd name="T3" fmla="*/ 27 h 622"/>
                  <a:gd name="T4" fmla="*/ 280 w 585"/>
                  <a:gd name="T5" fmla="*/ 1 h 622"/>
                  <a:gd name="T6" fmla="*/ 255 w 585"/>
                  <a:gd name="T7" fmla="*/ 33 h 622"/>
                  <a:gd name="T8" fmla="*/ 230 w 585"/>
                  <a:gd name="T9" fmla="*/ 10 h 622"/>
                  <a:gd name="T10" fmla="*/ 211 w 585"/>
                  <a:gd name="T11" fmla="*/ 45 h 622"/>
                  <a:gd name="T12" fmla="*/ 182 w 585"/>
                  <a:gd name="T13" fmla="*/ 58 h 622"/>
                  <a:gd name="T14" fmla="*/ 147 w 585"/>
                  <a:gd name="T15" fmla="*/ 47 h 622"/>
                  <a:gd name="T16" fmla="*/ 136 w 585"/>
                  <a:gd name="T17" fmla="*/ 87 h 622"/>
                  <a:gd name="T18" fmla="*/ 104 w 585"/>
                  <a:gd name="T19" fmla="*/ 79 h 622"/>
                  <a:gd name="T20" fmla="*/ 101 w 585"/>
                  <a:gd name="T21" fmla="*/ 120 h 622"/>
                  <a:gd name="T22" fmla="*/ 70 w 585"/>
                  <a:gd name="T23" fmla="*/ 126 h 622"/>
                  <a:gd name="T24" fmla="*/ 53 w 585"/>
                  <a:gd name="T25" fmla="*/ 151 h 622"/>
                  <a:gd name="T26" fmla="*/ 58 w 585"/>
                  <a:gd name="T27" fmla="*/ 184 h 622"/>
                  <a:gd name="T28" fmla="*/ 27 w 585"/>
                  <a:gd name="T29" fmla="*/ 193 h 622"/>
                  <a:gd name="T30" fmla="*/ 38 w 585"/>
                  <a:gd name="T31" fmla="*/ 234 h 622"/>
                  <a:gd name="T32" fmla="*/ 7 w 585"/>
                  <a:gd name="T33" fmla="*/ 246 h 622"/>
                  <a:gd name="T34" fmla="*/ 9 w 585"/>
                  <a:gd name="T35" fmla="*/ 286 h 622"/>
                  <a:gd name="T36" fmla="*/ 28 w 585"/>
                  <a:gd name="T37" fmla="*/ 322 h 622"/>
                  <a:gd name="T38" fmla="*/ 10 w 585"/>
                  <a:gd name="T39" fmla="*/ 351 h 622"/>
                  <a:gd name="T40" fmla="*/ 16 w 585"/>
                  <a:gd name="T41" fmla="*/ 380 h 622"/>
                  <a:gd name="T42" fmla="*/ 41 w 585"/>
                  <a:gd name="T43" fmla="*/ 399 h 622"/>
                  <a:gd name="T44" fmla="*/ 27 w 585"/>
                  <a:gd name="T45" fmla="*/ 438 h 622"/>
                  <a:gd name="T46" fmla="*/ 64 w 585"/>
                  <a:gd name="T47" fmla="*/ 450 h 622"/>
                  <a:gd name="T48" fmla="*/ 61 w 585"/>
                  <a:gd name="T49" fmla="*/ 483 h 622"/>
                  <a:gd name="T50" fmla="*/ 90 w 585"/>
                  <a:gd name="T51" fmla="*/ 489 h 622"/>
                  <a:gd name="T52" fmla="*/ 111 w 585"/>
                  <a:gd name="T53" fmla="*/ 512 h 622"/>
                  <a:gd name="T54" fmla="*/ 115 w 585"/>
                  <a:gd name="T55" fmla="*/ 552 h 622"/>
                  <a:gd name="T56" fmla="*/ 147 w 585"/>
                  <a:gd name="T57" fmla="*/ 542 h 622"/>
                  <a:gd name="T58" fmla="*/ 161 w 585"/>
                  <a:gd name="T59" fmla="*/ 582 h 622"/>
                  <a:gd name="T60" fmla="*/ 193 w 585"/>
                  <a:gd name="T61" fmla="*/ 569 h 622"/>
                  <a:gd name="T62" fmla="*/ 211 w 585"/>
                  <a:gd name="T63" fmla="*/ 597 h 622"/>
                  <a:gd name="T64" fmla="*/ 239 w 585"/>
                  <a:gd name="T65" fmla="*/ 606 h 622"/>
                  <a:gd name="T66" fmla="*/ 269 w 585"/>
                  <a:gd name="T67" fmla="*/ 591 h 622"/>
                  <a:gd name="T68" fmla="*/ 295 w 585"/>
                  <a:gd name="T69" fmla="*/ 622 h 622"/>
                  <a:gd name="T70" fmla="*/ 323 w 585"/>
                  <a:gd name="T71" fmla="*/ 594 h 622"/>
                  <a:gd name="T72" fmla="*/ 344 w 585"/>
                  <a:gd name="T73" fmla="*/ 620 h 622"/>
                  <a:gd name="T74" fmla="*/ 368 w 585"/>
                  <a:gd name="T75" fmla="*/ 589 h 622"/>
                  <a:gd name="T76" fmla="*/ 398 w 585"/>
                  <a:gd name="T77" fmla="*/ 602 h 622"/>
                  <a:gd name="T78" fmla="*/ 426 w 585"/>
                  <a:gd name="T79" fmla="*/ 592 h 622"/>
                  <a:gd name="T80" fmla="*/ 442 w 585"/>
                  <a:gd name="T81" fmla="*/ 562 h 622"/>
                  <a:gd name="T82" fmla="*/ 480 w 585"/>
                  <a:gd name="T83" fmla="*/ 572 h 622"/>
                  <a:gd name="T84" fmla="*/ 487 w 585"/>
                  <a:gd name="T85" fmla="*/ 533 h 622"/>
                  <a:gd name="T86" fmla="*/ 520 w 585"/>
                  <a:gd name="T87" fmla="*/ 542 h 622"/>
                  <a:gd name="T88" fmla="*/ 541 w 585"/>
                  <a:gd name="T89" fmla="*/ 509 h 622"/>
                  <a:gd name="T90" fmla="*/ 542 w 585"/>
                  <a:gd name="T91" fmla="*/ 475 h 622"/>
                  <a:gd name="T92" fmla="*/ 581 w 585"/>
                  <a:gd name="T93" fmla="*/ 467 h 622"/>
                  <a:gd name="T94" fmla="*/ 571 w 585"/>
                  <a:gd name="T95" fmla="*/ 427 h 622"/>
                  <a:gd name="T96" fmla="*/ 584 w 585"/>
                  <a:gd name="T97" fmla="*/ 389 h 622"/>
                  <a:gd name="T98" fmla="*/ 584 w 585"/>
                  <a:gd name="T99" fmla="*/ 202 h 622"/>
                  <a:gd name="T100" fmla="*/ 558 w 585"/>
                  <a:gd name="T101" fmla="*/ 170 h 622"/>
                  <a:gd name="T102" fmla="*/ 543 w 585"/>
                  <a:gd name="T103" fmla="*/ 143 h 622"/>
                  <a:gd name="T104" fmla="*/ 543 w 585"/>
                  <a:gd name="T105" fmla="*/ 114 h 622"/>
                  <a:gd name="T106" fmla="*/ 512 w 585"/>
                  <a:gd name="T107" fmla="*/ 109 h 622"/>
                  <a:gd name="T108" fmla="*/ 507 w 585"/>
                  <a:gd name="T109" fmla="*/ 68 h 622"/>
                  <a:gd name="T110" fmla="*/ 468 w 585"/>
                  <a:gd name="T111" fmla="*/ 75 h 622"/>
                  <a:gd name="T112" fmla="*/ 456 w 585"/>
                  <a:gd name="T113" fmla="*/ 44 h 622"/>
                  <a:gd name="T114" fmla="*/ 428 w 585"/>
                  <a:gd name="T115" fmla="*/ 51 h 622"/>
                  <a:gd name="T116" fmla="*/ 399 w 585"/>
                  <a:gd name="T117" fmla="*/ 40 h 622"/>
                  <a:gd name="T118" fmla="*/ 377 w 585"/>
                  <a:gd name="T119" fmla="*/ 6 h 622"/>
                  <a:gd name="T120" fmla="*/ 353 w 585"/>
                  <a:gd name="T121" fmla="*/ 30 h 622"/>
                  <a:gd name="T122" fmla="*/ 325 w 585"/>
                  <a:gd name="T123"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622">
                    <a:moveTo>
                      <a:pt x="311" y="566"/>
                    </a:moveTo>
                    <a:cubicBezTo>
                      <a:pt x="253" y="566"/>
                      <a:pt x="196" y="545"/>
                      <a:pt x="151" y="509"/>
                    </a:cubicBezTo>
                    <a:cubicBezTo>
                      <a:pt x="42" y="420"/>
                      <a:pt x="25" y="259"/>
                      <a:pt x="113" y="150"/>
                    </a:cubicBezTo>
                    <a:cubicBezTo>
                      <a:pt x="162" y="90"/>
                      <a:pt x="234" y="56"/>
                      <a:pt x="311" y="56"/>
                    </a:cubicBezTo>
                    <a:cubicBezTo>
                      <a:pt x="370" y="56"/>
                      <a:pt x="427" y="76"/>
                      <a:pt x="472" y="113"/>
                    </a:cubicBezTo>
                    <a:cubicBezTo>
                      <a:pt x="525" y="156"/>
                      <a:pt x="558" y="217"/>
                      <a:pt x="565" y="284"/>
                    </a:cubicBezTo>
                    <a:cubicBezTo>
                      <a:pt x="572" y="352"/>
                      <a:pt x="552" y="418"/>
                      <a:pt x="509" y="471"/>
                    </a:cubicBezTo>
                    <a:cubicBezTo>
                      <a:pt x="461" y="531"/>
                      <a:pt x="388" y="566"/>
                      <a:pt x="311" y="566"/>
                    </a:cubicBezTo>
                    <a:moveTo>
                      <a:pt x="325" y="0"/>
                    </a:moveTo>
                    <a:cubicBezTo>
                      <a:pt x="323" y="0"/>
                      <a:pt x="320" y="0"/>
                      <a:pt x="319" y="7"/>
                    </a:cubicBezTo>
                    <a:cubicBezTo>
                      <a:pt x="317" y="14"/>
                      <a:pt x="314" y="22"/>
                      <a:pt x="311" y="26"/>
                    </a:cubicBezTo>
                    <a:cubicBezTo>
                      <a:pt x="310" y="27"/>
                      <a:pt x="309" y="27"/>
                      <a:pt x="309" y="27"/>
                    </a:cubicBezTo>
                    <a:cubicBezTo>
                      <a:pt x="306" y="27"/>
                      <a:pt x="303" y="27"/>
                      <a:pt x="300" y="27"/>
                    </a:cubicBezTo>
                    <a:cubicBezTo>
                      <a:pt x="300" y="27"/>
                      <a:pt x="300" y="27"/>
                      <a:pt x="300" y="27"/>
                    </a:cubicBezTo>
                    <a:cubicBezTo>
                      <a:pt x="299" y="27"/>
                      <a:pt x="298" y="27"/>
                      <a:pt x="298" y="27"/>
                    </a:cubicBezTo>
                    <a:cubicBezTo>
                      <a:pt x="294" y="23"/>
                      <a:pt x="290" y="14"/>
                      <a:pt x="289" y="8"/>
                    </a:cubicBezTo>
                    <a:cubicBezTo>
                      <a:pt x="287" y="1"/>
                      <a:pt x="284" y="1"/>
                      <a:pt x="282" y="1"/>
                    </a:cubicBezTo>
                    <a:cubicBezTo>
                      <a:pt x="281" y="1"/>
                      <a:pt x="281" y="1"/>
                      <a:pt x="280" y="1"/>
                    </a:cubicBezTo>
                    <a:cubicBezTo>
                      <a:pt x="278" y="1"/>
                      <a:pt x="278" y="1"/>
                      <a:pt x="278" y="1"/>
                    </a:cubicBezTo>
                    <a:cubicBezTo>
                      <a:pt x="274" y="1"/>
                      <a:pt x="271" y="2"/>
                      <a:pt x="271" y="10"/>
                    </a:cubicBezTo>
                    <a:cubicBezTo>
                      <a:pt x="271" y="17"/>
                      <a:pt x="269" y="25"/>
                      <a:pt x="266" y="30"/>
                    </a:cubicBezTo>
                    <a:cubicBezTo>
                      <a:pt x="266" y="31"/>
                      <a:pt x="265" y="31"/>
                      <a:pt x="264" y="31"/>
                    </a:cubicBezTo>
                    <a:cubicBezTo>
                      <a:pt x="263" y="31"/>
                      <a:pt x="263" y="31"/>
                      <a:pt x="263" y="31"/>
                    </a:cubicBezTo>
                    <a:cubicBezTo>
                      <a:pt x="260" y="32"/>
                      <a:pt x="258" y="32"/>
                      <a:pt x="255" y="33"/>
                    </a:cubicBezTo>
                    <a:cubicBezTo>
                      <a:pt x="255" y="33"/>
                      <a:pt x="255" y="33"/>
                      <a:pt x="255" y="33"/>
                    </a:cubicBezTo>
                    <a:cubicBezTo>
                      <a:pt x="254" y="33"/>
                      <a:pt x="254" y="33"/>
                      <a:pt x="253" y="32"/>
                    </a:cubicBezTo>
                    <a:cubicBezTo>
                      <a:pt x="249" y="29"/>
                      <a:pt x="244" y="21"/>
                      <a:pt x="242" y="15"/>
                    </a:cubicBezTo>
                    <a:cubicBezTo>
                      <a:pt x="239" y="9"/>
                      <a:pt x="236" y="9"/>
                      <a:pt x="235" y="9"/>
                    </a:cubicBezTo>
                    <a:cubicBezTo>
                      <a:pt x="234" y="9"/>
                      <a:pt x="233" y="9"/>
                      <a:pt x="232" y="10"/>
                    </a:cubicBezTo>
                    <a:cubicBezTo>
                      <a:pt x="230" y="10"/>
                      <a:pt x="230" y="10"/>
                      <a:pt x="230" y="10"/>
                    </a:cubicBezTo>
                    <a:cubicBezTo>
                      <a:pt x="226" y="11"/>
                      <a:pt x="223" y="12"/>
                      <a:pt x="224" y="20"/>
                    </a:cubicBezTo>
                    <a:cubicBezTo>
                      <a:pt x="225" y="26"/>
                      <a:pt x="225" y="35"/>
                      <a:pt x="223" y="41"/>
                    </a:cubicBezTo>
                    <a:cubicBezTo>
                      <a:pt x="222" y="41"/>
                      <a:pt x="222" y="42"/>
                      <a:pt x="221" y="42"/>
                    </a:cubicBezTo>
                    <a:cubicBezTo>
                      <a:pt x="218" y="43"/>
                      <a:pt x="215" y="44"/>
                      <a:pt x="213" y="45"/>
                    </a:cubicBezTo>
                    <a:cubicBezTo>
                      <a:pt x="212" y="45"/>
                      <a:pt x="212" y="45"/>
                      <a:pt x="212" y="45"/>
                    </a:cubicBezTo>
                    <a:cubicBezTo>
                      <a:pt x="211" y="45"/>
                      <a:pt x="211" y="45"/>
                      <a:pt x="211" y="45"/>
                    </a:cubicBezTo>
                    <a:cubicBezTo>
                      <a:pt x="205" y="42"/>
                      <a:pt x="200" y="35"/>
                      <a:pt x="196" y="30"/>
                    </a:cubicBezTo>
                    <a:cubicBezTo>
                      <a:pt x="193" y="25"/>
                      <a:pt x="191" y="25"/>
                      <a:pt x="190" y="25"/>
                    </a:cubicBezTo>
                    <a:cubicBezTo>
                      <a:pt x="188" y="25"/>
                      <a:pt x="187" y="25"/>
                      <a:pt x="186" y="26"/>
                    </a:cubicBezTo>
                    <a:cubicBezTo>
                      <a:pt x="184" y="26"/>
                      <a:pt x="184" y="26"/>
                      <a:pt x="184" y="26"/>
                    </a:cubicBezTo>
                    <a:cubicBezTo>
                      <a:pt x="181" y="28"/>
                      <a:pt x="178" y="29"/>
                      <a:pt x="180" y="37"/>
                    </a:cubicBezTo>
                    <a:cubicBezTo>
                      <a:pt x="182" y="43"/>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1"/>
                    </a:cubicBezTo>
                    <a:cubicBezTo>
                      <a:pt x="151" y="48"/>
                      <a:pt x="149" y="47"/>
                      <a:pt x="147" y="47"/>
                    </a:cubicBezTo>
                    <a:cubicBezTo>
                      <a:pt x="146" y="47"/>
                      <a:pt x="144" y="48"/>
                      <a:pt x="143" y="49"/>
                    </a:cubicBezTo>
                    <a:cubicBezTo>
                      <a:pt x="141" y="50"/>
                      <a:pt x="141" y="50"/>
                      <a:pt x="141" y="50"/>
                    </a:cubicBezTo>
                    <a:cubicBezTo>
                      <a:pt x="138" y="52"/>
                      <a:pt x="135" y="54"/>
                      <a:pt x="139" y="61"/>
                    </a:cubicBezTo>
                    <a:cubicBezTo>
                      <a:pt x="141" y="67"/>
                      <a:pt x="144" y="75"/>
                      <a:pt x="144" y="81"/>
                    </a:cubicBezTo>
                    <a:cubicBezTo>
                      <a:pt x="144" y="82"/>
                      <a:pt x="143" y="82"/>
                      <a:pt x="143" y="83"/>
                    </a:cubicBezTo>
                    <a:cubicBezTo>
                      <a:pt x="141" y="84"/>
                      <a:pt x="139" y="86"/>
                      <a:pt x="136" y="87"/>
                    </a:cubicBezTo>
                    <a:cubicBezTo>
                      <a:pt x="135" y="88"/>
                      <a:pt x="135" y="88"/>
                      <a:pt x="135" y="88"/>
                    </a:cubicBezTo>
                    <a:cubicBezTo>
                      <a:pt x="135" y="89"/>
                      <a:pt x="134" y="89"/>
                      <a:pt x="134" y="89"/>
                    </a:cubicBezTo>
                    <a:cubicBezTo>
                      <a:pt x="134" y="89"/>
                      <a:pt x="133" y="89"/>
                      <a:pt x="133" y="89"/>
                    </a:cubicBezTo>
                    <a:cubicBezTo>
                      <a:pt x="128" y="88"/>
                      <a:pt x="120" y="83"/>
                      <a:pt x="115" y="79"/>
                    </a:cubicBezTo>
                    <a:cubicBezTo>
                      <a:pt x="112" y="77"/>
                      <a:pt x="110" y="76"/>
                      <a:pt x="109" y="76"/>
                    </a:cubicBezTo>
                    <a:cubicBezTo>
                      <a:pt x="107" y="76"/>
                      <a:pt x="105" y="77"/>
                      <a:pt x="104" y="79"/>
                    </a:cubicBezTo>
                    <a:cubicBezTo>
                      <a:pt x="103" y="80"/>
                      <a:pt x="103" y="80"/>
                      <a:pt x="103" y="80"/>
                    </a:cubicBezTo>
                    <a:cubicBezTo>
                      <a:pt x="100" y="82"/>
                      <a:pt x="97" y="84"/>
                      <a:pt x="102" y="91"/>
                    </a:cubicBezTo>
                    <a:cubicBezTo>
                      <a:pt x="106" y="97"/>
                      <a:pt x="109" y="105"/>
                      <a:pt x="110" y="110"/>
                    </a:cubicBezTo>
                    <a:cubicBezTo>
                      <a:pt x="110" y="111"/>
                      <a:pt x="110" y="112"/>
                      <a:pt x="109" y="112"/>
                    </a:cubicBezTo>
                    <a:cubicBezTo>
                      <a:pt x="107" y="114"/>
                      <a:pt x="105" y="116"/>
                      <a:pt x="103" y="119"/>
                    </a:cubicBezTo>
                    <a:cubicBezTo>
                      <a:pt x="102" y="119"/>
                      <a:pt x="102" y="120"/>
                      <a:pt x="101" y="120"/>
                    </a:cubicBezTo>
                    <a:cubicBezTo>
                      <a:pt x="101" y="120"/>
                      <a:pt x="101" y="120"/>
                      <a:pt x="101" y="120"/>
                    </a:cubicBezTo>
                    <a:cubicBezTo>
                      <a:pt x="95" y="120"/>
                      <a:pt x="87" y="116"/>
                      <a:pt x="81" y="113"/>
                    </a:cubicBezTo>
                    <a:cubicBezTo>
                      <a:pt x="79" y="111"/>
                      <a:pt x="77" y="110"/>
                      <a:pt x="75" y="110"/>
                    </a:cubicBezTo>
                    <a:cubicBezTo>
                      <a:pt x="73" y="110"/>
                      <a:pt x="72" y="112"/>
                      <a:pt x="70" y="114"/>
                    </a:cubicBezTo>
                    <a:cubicBezTo>
                      <a:pt x="69" y="115"/>
                      <a:pt x="69" y="115"/>
                      <a:pt x="69" y="115"/>
                    </a:cubicBezTo>
                    <a:cubicBezTo>
                      <a:pt x="66" y="118"/>
                      <a:pt x="64" y="121"/>
                      <a:pt x="70" y="126"/>
                    </a:cubicBezTo>
                    <a:cubicBezTo>
                      <a:pt x="75" y="131"/>
                      <a:pt x="80" y="139"/>
                      <a:pt x="81" y="144"/>
                    </a:cubicBezTo>
                    <a:cubicBezTo>
                      <a:pt x="81" y="145"/>
                      <a:pt x="81" y="146"/>
                      <a:pt x="80" y="146"/>
                    </a:cubicBezTo>
                    <a:cubicBezTo>
                      <a:pt x="79" y="149"/>
                      <a:pt x="77" y="151"/>
                      <a:pt x="75" y="154"/>
                    </a:cubicBezTo>
                    <a:cubicBezTo>
                      <a:pt x="75" y="154"/>
                      <a:pt x="74" y="155"/>
                      <a:pt x="74" y="155"/>
                    </a:cubicBezTo>
                    <a:cubicBezTo>
                      <a:pt x="73" y="155"/>
                      <a:pt x="72" y="155"/>
                      <a:pt x="71" y="155"/>
                    </a:cubicBezTo>
                    <a:cubicBezTo>
                      <a:pt x="66" y="155"/>
                      <a:pt x="60" y="154"/>
                      <a:pt x="53" y="151"/>
                    </a:cubicBezTo>
                    <a:cubicBezTo>
                      <a:pt x="51" y="150"/>
                      <a:pt x="49" y="150"/>
                      <a:pt x="48" y="150"/>
                    </a:cubicBezTo>
                    <a:cubicBezTo>
                      <a:pt x="45" y="150"/>
                      <a:pt x="44" y="151"/>
                      <a:pt x="42" y="154"/>
                    </a:cubicBezTo>
                    <a:cubicBezTo>
                      <a:pt x="41" y="155"/>
                      <a:pt x="41" y="155"/>
                      <a:pt x="41" y="155"/>
                    </a:cubicBezTo>
                    <a:cubicBezTo>
                      <a:pt x="39" y="159"/>
                      <a:pt x="38" y="161"/>
                      <a:pt x="44" y="166"/>
                    </a:cubicBezTo>
                    <a:cubicBezTo>
                      <a:pt x="49" y="171"/>
                      <a:pt x="56" y="177"/>
                      <a:pt x="58" y="182"/>
                    </a:cubicBezTo>
                    <a:cubicBezTo>
                      <a:pt x="58" y="183"/>
                      <a:pt x="58" y="184"/>
                      <a:pt x="58" y="184"/>
                    </a:cubicBezTo>
                    <a:cubicBezTo>
                      <a:pt x="57" y="185"/>
                      <a:pt x="57" y="185"/>
                      <a:pt x="57" y="185"/>
                    </a:cubicBezTo>
                    <a:cubicBezTo>
                      <a:pt x="56" y="187"/>
                      <a:pt x="55" y="190"/>
                      <a:pt x="53" y="193"/>
                    </a:cubicBezTo>
                    <a:cubicBezTo>
                      <a:pt x="53" y="193"/>
                      <a:pt x="53" y="194"/>
                      <a:pt x="52" y="194"/>
                    </a:cubicBezTo>
                    <a:cubicBezTo>
                      <a:pt x="50" y="195"/>
                      <a:pt x="47" y="195"/>
                      <a:pt x="44" y="195"/>
                    </a:cubicBezTo>
                    <a:cubicBezTo>
                      <a:pt x="40" y="195"/>
                      <a:pt x="36" y="194"/>
                      <a:pt x="31" y="193"/>
                    </a:cubicBezTo>
                    <a:cubicBezTo>
                      <a:pt x="30" y="193"/>
                      <a:pt x="28" y="193"/>
                      <a:pt x="27" y="193"/>
                    </a:cubicBezTo>
                    <a:cubicBezTo>
                      <a:pt x="23" y="193"/>
                      <a:pt x="22" y="195"/>
                      <a:pt x="21" y="198"/>
                    </a:cubicBezTo>
                    <a:cubicBezTo>
                      <a:pt x="20" y="199"/>
                      <a:pt x="20" y="199"/>
                      <a:pt x="20" y="199"/>
                    </a:cubicBezTo>
                    <a:cubicBezTo>
                      <a:pt x="19" y="203"/>
                      <a:pt x="18" y="206"/>
                      <a:pt x="25" y="210"/>
                    </a:cubicBezTo>
                    <a:cubicBezTo>
                      <a:pt x="31" y="213"/>
                      <a:pt x="38" y="219"/>
                      <a:pt x="41" y="223"/>
                    </a:cubicBezTo>
                    <a:cubicBezTo>
                      <a:pt x="41" y="224"/>
                      <a:pt x="41" y="225"/>
                      <a:pt x="41" y="226"/>
                    </a:cubicBezTo>
                    <a:cubicBezTo>
                      <a:pt x="40" y="228"/>
                      <a:pt x="39" y="231"/>
                      <a:pt x="38" y="234"/>
                    </a:cubicBezTo>
                    <a:cubicBezTo>
                      <a:pt x="38" y="235"/>
                      <a:pt x="38" y="236"/>
                      <a:pt x="37" y="236"/>
                    </a:cubicBezTo>
                    <a:cubicBezTo>
                      <a:pt x="32" y="239"/>
                      <a:pt x="23" y="239"/>
                      <a:pt x="20" y="239"/>
                    </a:cubicBezTo>
                    <a:cubicBezTo>
                      <a:pt x="19" y="239"/>
                      <a:pt x="18" y="239"/>
                      <a:pt x="16" y="239"/>
                    </a:cubicBezTo>
                    <a:cubicBezTo>
                      <a:pt x="16" y="239"/>
                      <a:pt x="15" y="239"/>
                      <a:pt x="14" y="239"/>
                    </a:cubicBezTo>
                    <a:cubicBezTo>
                      <a:pt x="8" y="239"/>
                      <a:pt x="8" y="241"/>
                      <a:pt x="7" y="245"/>
                    </a:cubicBezTo>
                    <a:cubicBezTo>
                      <a:pt x="7" y="246"/>
                      <a:pt x="7" y="246"/>
                      <a:pt x="7" y="246"/>
                    </a:cubicBezTo>
                    <a:cubicBezTo>
                      <a:pt x="6" y="250"/>
                      <a:pt x="5" y="253"/>
                      <a:pt x="13" y="256"/>
                    </a:cubicBezTo>
                    <a:cubicBezTo>
                      <a:pt x="19" y="258"/>
                      <a:pt x="27" y="263"/>
                      <a:pt x="30" y="267"/>
                    </a:cubicBezTo>
                    <a:cubicBezTo>
                      <a:pt x="31" y="267"/>
                      <a:pt x="31" y="268"/>
                      <a:pt x="31" y="269"/>
                    </a:cubicBezTo>
                    <a:cubicBezTo>
                      <a:pt x="30" y="272"/>
                      <a:pt x="30" y="275"/>
                      <a:pt x="30" y="278"/>
                    </a:cubicBezTo>
                    <a:cubicBezTo>
                      <a:pt x="30" y="279"/>
                      <a:pt x="29" y="279"/>
                      <a:pt x="29" y="280"/>
                    </a:cubicBezTo>
                    <a:cubicBezTo>
                      <a:pt x="24" y="283"/>
                      <a:pt x="15" y="285"/>
                      <a:pt x="9" y="286"/>
                    </a:cubicBezTo>
                    <a:cubicBezTo>
                      <a:pt x="1" y="286"/>
                      <a:pt x="1" y="289"/>
                      <a:pt x="0" y="293"/>
                    </a:cubicBezTo>
                    <a:cubicBezTo>
                      <a:pt x="0" y="295"/>
                      <a:pt x="0" y="295"/>
                      <a:pt x="0" y="295"/>
                    </a:cubicBezTo>
                    <a:cubicBezTo>
                      <a:pt x="0" y="299"/>
                      <a:pt x="0" y="302"/>
                      <a:pt x="8" y="303"/>
                    </a:cubicBezTo>
                    <a:cubicBezTo>
                      <a:pt x="14" y="305"/>
                      <a:pt x="23" y="308"/>
                      <a:pt x="27" y="311"/>
                    </a:cubicBezTo>
                    <a:cubicBezTo>
                      <a:pt x="27" y="312"/>
                      <a:pt x="28" y="313"/>
                      <a:pt x="28" y="313"/>
                    </a:cubicBezTo>
                    <a:cubicBezTo>
                      <a:pt x="28" y="316"/>
                      <a:pt x="28" y="319"/>
                      <a:pt x="28" y="322"/>
                    </a:cubicBezTo>
                    <a:cubicBezTo>
                      <a:pt x="28" y="322"/>
                      <a:pt x="28" y="322"/>
                      <a:pt x="28" y="322"/>
                    </a:cubicBezTo>
                    <a:cubicBezTo>
                      <a:pt x="28" y="323"/>
                      <a:pt x="28" y="324"/>
                      <a:pt x="27" y="324"/>
                    </a:cubicBezTo>
                    <a:cubicBezTo>
                      <a:pt x="23" y="328"/>
                      <a:pt x="15" y="332"/>
                      <a:pt x="9" y="333"/>
                    </a:cubicBezTo>
                    <a:cubicBezTo>
                      <a:pt x="1" y="335"/>
                      <a:pt x="1" y="338"/>
                      <a:pt x="2" y="342"/>
                    </a:cubicBezTo>
                    <a:cubicBezTo>
                      <a:pt x="2" y="344"/>
                      <a:pt x="2" y="344"/>
                      <a:pt x="2" y="344"/>
                    </a:cubicBezTo>
                    <a:cubicBezTo>
                      <a:pt x="2" y="348"/>
                      <a:pt x="2" y="351"/>
                      <a:pt x="10" y="351"/>
                    </a:cubicBezTo>
                    <a:cubicBezTo>
                      <a:pt x="17" y="351"/>
                      <a:pt x="26" y="353"/>
                      <a:pt x="31" y="356"/>
                    </a:cubicBezTo>
                    <a:cubicBezTo>
                      <a:pt x="31" y="356"/>
                      <a:pt x="32" y="357"/>
                      <a:pt x="32" y="358"/>
                    </a:cubicBezTo>
                    <a:cubicBezTo>
                      <a:pt x="32" y="358"/>
                      <a:pt x="32" y="358"/>
                      <a:pt x="32" y="358"/>
                    </a:cubicBezTo>
                    <a:cubicBezTo>
                      <a:pt x="32" y="361"/>
                      <a:pt x="33" y="364"/>
                      <a:pt x="33" y="367"/>
                    </a:cubicBezTo>
                    <a:cubicBezTo>
                      <a:pt x="33" y="367"/>
                      <a:pt x="33" y="368"/>
                      <a:pt x="33" y="369"/>
                    </a:cubicBezTo>
                    <a:cubicBezTo>
                      <a:pt x="30" y="373"/>
                      <a:pt x="22" y="378"/>
                      <a:pt x="16" y="380"/>
                    </a:cubicBezTo>
                    <a:cubicBezTo>
                      <a:pt x="8" y="384"/>
                      <a:pt x="9" y="387"/>
                      <a:pt x="10" y="390"/>
                    </a:cubicBezTo>
                    <a:cubicBezTo>
                      <a:pt x="11" y="392"/>
                      <a:pt x="11" y="392"/>
                      <a:pt x="11" y="392"/>
                    </a:cubicBezTo>
                    <a:cubicBezTo>
                      <a:pt x="11" y="395"/>
                      <a:pt x="12" y="398"/>
                      <a:pt x="18" y="398"/>
                    </a:cubicBezTo>
                    <a:cubicBezTo>
                      <a:pt x="18" y="398"/>
                      <a:pt x="19" y="398"/>
                      <a:pt x="20" y="398"/>
                    </a:cubicBezTo>
                    <a:cubicBezTo>
                      <a:pt x="23" y="397"/>
                      <a:pt x="25" y="397"/>
                      <a:pt x="28" y="397"/>
                    </a:cubicBezTo>
                    <a:cubicBezTo>
                      <a:pt x="32" y="397"/>
                      <a:pt x="37" y="398"/>
                      <a:pt x="41" y="399"/>
                    </a:cubicBezTo>
                    <a:cubicBezTo>
                      <a:pt x="42" y="400"/>
                      <a:pt x="42" y="400"/>
                      <a:pt x="43" y="401"/>
                    </a:cubicBezTo>
                    <a:cubicBezTo>
                      <a:pt x="43" y="404"/>
                      <a:pt x="44" y="407"/>
                      <a:pt x="46" y="409"/>
                    </a:cubicBezTo>
                    <a:cubicBezTo>
                      <a:pt x="46" y="410"/>
                      <a:pt x="46" y="411"/>
                      <a:pt x="45" y="411"/>
                    </a:cubicBezTo>
                    <a:cubicBezTo>
                      <a:pt x="43" y="417"/>
                      <a:pt x="36" y="422"/>
                      <a:pt x="30" y="426"/>
                    </a:cubicBezTo>
                    <a:cubicBezTo>
                      <a:pt x="23" y="430"/>
                      <a:pt x="25" y="433"/>
                      <a:pt x="26"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0"/>
                    </a:cubicBezTo>
                    <a:cubicBezTo>
                      <a:pt x="59" y="441"/>
                      <a:pt x="59" y="441"/>
                      <a:pt x="60" y="442"/>
                    </a:cubicBezTo>
                    <a:cubicBezTo>
                      <a:pt x="61" y="444"/>
                      <a:pt x="63" y="447"/>
                      <a:pt x="64" y="450"/>
                    </a:cubicBezTo>
                    <a:cubicBezTo>
                      <a:pt x="65" y="450"/>
                      <a:pt x="65" y="451"/>
                      <a:pt x="64" y="452"/>
                    </a:cubicBezTo>
                    <a:cubicBezTo>
                      <a:pt x="63" y="457"/>
                      <a:pt x="57" y="464"/>
                      <a:pt x="52" y="468"/>
                    </a:cubicBezTo>
                    <a:cubicBezTo>
                      <a:pt x="46" y="474"/>
                      <a:pt x="47" y="476"/>
                      <a:pt x="50" y="480"/>
                    </a:cubicBezTo>
                    <a:cubicBezTo>
                      <a:pt x="50" y="481"/>
                      <a:pt x="50" y="481"/>
                      <a:pt x="50" y="481"/>
                    </a:cubicBezTo>
                    <a:cubicBezTo>
                      <a:pt x="52" y="483"/>
                      <a:pt x="53" y="485"/>
                      <a:pt x="56" y="485"/>
                    </a:cubicBezTo>
                    <a:cubicBezTo>
                      <a:pt x="57" y="485"/>
                      <a:pt x="59" y="484"/>
                      <a:pt x="61" y="483"/>
                    </a:cubicBezTo>
                    <a:cubicBezTo>
                      <a:pt x="68" y="480"/>
                      <a:pt x="75" y="478"/>
                      <a:pt x="80" y="478"/>
                    </a:cubicBezTo>
                    <a:cubicBezTo>
                      <a:pt x="81" y="478"/>
                      <a:pt x="81" y="478"/>
                      <a:pt x="82" y="478"/>
                    </a:cubicBezTo>
                    <a:cubicBezTo>
                      <a:pt x="82" y="478"/>
                      <a:pt x="83" y="479"/>
                      <a:pt x="83" y="479"/>
                    </a:cubicBezTo>
                    <a:cubicBezTo>
                      <a:pt x="85" y="481"/>
                      <a:pt x="86" y="483"/>
                      <a:pt x="88" y="485"/>
                    </a:cubicBezTo>
                    <a:cubicBezTo>
                      <a:pt x="89" y="487"/>
                      <a:pt x="89" y="487"/>
                      <a:pt x="89" y="487"/>
                    </a:cubicBezTo>
                    <a:cubicBezTo>
                      <a:pt x="90" y="487"/>
                      <a:pt x="90" y="488"/>
                      <a:pt x="90" y="489"/>
                    </a:cubicBezTo>
                    <a:cubicBezTo>
                      <a:pt x="89" y="494"/>
                      <a:pt x="84" y="502"/>
                      <a:pt x="80" y="507"/>
                    </a:cubicBezTo>
                    <a:cubicBezTo>
                      <a:pt x="74" y="513"/>
                      <a:pt x="77" y="515"/>
                      <a:pt x="79" y="518"/>
                    </a:cubicBezTo>
                    <a:cubicBezTo>
                      <a:pt x="80" y="519"/>
                      <a:pt x="80" y="519"/>
                      <a:pt x="80" y="519"/>
                    </a:cubicBezTo>
                    <a:cubicBezTo>
                      <a:pt x="82" y="521"/>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0"/>
                      <a:pt x="120" y="521"/>
                    </a:cubicBezTo>
                    <a:cubicBezTo>
                      <a:pt x="120" y="527"/>
                      <a:pt x="117" y="535"/>
                      <a:pt x="113" y="541"/>
                    </a:cubicBezTo>
                    <a:cubicBezTo>
                      <a:pt x="109" y="548"/>
                      <a:pt x="111" y="550"/>
                      <a:pt x="115" y="552"/>
                    </a:cubicBezTo>
                    <a:cubicBezTo>
                      <a:pt x="116" y="553"/>
                      <a:pt x="116" y="553"/>
                      <a:pt x="116" y="553"/>
                    </a:cubicBezTo>
                    <a:cubicBezTo>
                      <a:pt x="117" y="554"/>
                      <a:pt x="119" y="556"/>
                      <a:pt x="121" y="556"/>
                    </a:cubicBezTo>
                    <a:cubicBezTo>
                      <a:pt x="122" y="556"/>
                      <a:pt x="124" y="554"/>
                      <a:pt x="127" y="552"/>
                    </a:cubicBezTo>
                    <a:cubicBezTo>
                      <a:pt x="132" y="547"/>
                      <a:pt x="139" y="542"/>
                      <a:pt x="145" y="541"/>
                    </a:cubicBezTo>
                    <a:cubicBezTo>
                      <a:pt x="145" y="541"/>
                      <a:pt x="145" y="541"/>
                      <a:pt x="145" y="541"/>
                    </a:cubicBezTo>
                    <a:cubicBezTo>
                      <a:pt x="146" y="541"/>
                      <a:pt x="146" y="541"/>
                      <a:pt x="147" y="542"/>
                    </a:cubicBezTo>
                    <a:cubicBezTo>
                      <a:pt x="149" y="543"/>
                      <a:pt x="152" y="545"/>
                      <a:pt x="154" y="547"/>
                    </a:cubicBezTo>
                    <a:cubicBezTo>
                      <a:pt x="155" y="547"/>
                      <a:pt x="155" y="548"/>
                      <a:pt x="155" y="549"/>
                    </a:cubicBezTo>
                    <a:cubicBezTo>
                      <a:pt x="156" y="554"/>
                      <a:pt x="154" y="563"/>
                      <a:pt x="152" y="569"/>
                    </a:cubicBezTo>
                    <a:cubicBezTo>
                      <a:pt x="149" y="576"/>
                      <a:pt x="151" y="578"/>
                      <a:pt x="155" y="580"/>
                    </a:cubicBezTo>
                    <a:cubicBezTo>
                      <a:pt x="156" y="581"/>
                      <a:pt x="156" y="581"/>
                      <a:pt x="156" y="581"/>
                    </a:cubicBezTo>
                    <a:cubicBezTo>
                      <a:pt x="157" y="581"/>
                      <a:pt x="159" y="582"/>
                      <a:pt x="161" y="582"/>
                    </a:cubicBezTo>
                    <a:cubicBezTo>
                      <a:pt x="162" y="582"/>
                      <a:pt x="165" y="581"/>
                      <a:pt x="167" y="578"/>
                    </a:cubicBezTo>
                    <a:cubicBezTo>
                      <a:pt x="171" y="573"/>
                      <a:pt x="178" y="566"/>
                      <a:pt x="183" y="564"/>
                    </a:cubicBezTo>
                    <a:cubicBezTo>
                      <a:pt x="183" y="564"/>
                      <a:pt x="183" y="564"/>
                      <a:pt x="184" y="564"/>
                    </a:cubicBezTo>
                    <a:cubicBezTo>
                      <a:pt x="184" y="564"/>
                      <a:pt x="185" y="564"/>
                      <a:pt x="185" y="564"/>
                    </a:cubicBezTo>
                    <a:cubicBezTo>
                      <a:pt x="186" y="565"/>
                      <a:pt x="186" y="565"/>
                      <a:pt x="186" y="565"/>
                    </a:cubicBezTo>
                    <a:cubicBezTo>
                      <a:pt x="188" y="566"/>
                      <a:pt x="191" y="567"/>
                      <a:pt x="193" y="569"/>
                    </a:cubicBezTo>
                    <a:cubicBezTo>
                      <a:pt x="194" y="569"/>
                      <a:pt x="194" y="569"/>
                      <a:pt x="195" y="570"/>
                    </a:cubicBezTo>
                    <a:cubicBezTo>
                      <a:pt x="196" y="575"/>
                      <a:pt x="195" y="584"/>
                      <a:pt x="194" y="591"/>
                    </a:cubicBezTo>
                    <a:cubicBezTo>
                      <a:pt x="192" y="599"/>
                      <a:pt x="195" y="600"/>
                      <a:pt x="199" y="601"/>
                    </a:cubicBezTo>
                    <a:cubicBezTo>
                      <a:pt x="200" y="602"/>
                      <a:pt x="200" y="602"/>
                      <a:pt x="200" y="602"/>
                    </a:cubicBezTo>
                    <a:cubicBezTo>
                      <a:pt x="201" y="602"/>
                      <a:pt x="203" y="603"/>
                      <a:pt x="204" y="603"/>
                    </a:cubicBezTo>
                    <a:cubicBezTo>
                      <a:pt x="205" y="603"/>
                      <a:pt x="208" y="603"/>
                      <a:pt x="211" y="597"/>
                    </a:cubicBezTo>
                    <a:cubicBezTo>
                      <a:pt x="214" y="591"/>
                      <a:pt x="219" y="584"/>
                      <a:pt x="224" y="581"/>
                    </a:cubicBezTo>
                    <a:cubicBezTo>
                      <a:pt x="224" y="581"/>
                      <a:pt x="225" y="581"/>
                      <a:pt x="225" y="581"/>
                    </a:cubicBezTo>
                    <a:cubicBezTo>
                      <a:pt x="226" y="581"/>
                      <a:pt x="226" y="581"/>
                      <a:pt x="226" y="581"/>
                    </a:cubicBezTo>
                    <a:cubicBezTo>
                      <a:pt x="229" y="582"/>
                      <a:pt x="232" y="583"/>
                      <a:pt x="235" y="584"/>
                    </a:cubicBezTo>
                    <a:cubicBezTo>
                      <a:pt x="236" y="584"/>
                      <a:pt x="236" y="584"/>
                      <a:pt x="237" y="585"/>
                    </a:cubicBezTo>
                    <a:cubicBezTo>
                      <a:pt x="239" y="590"/>
                      <a:pt x="240" y="599"/>
                      <a:pt x="239" y="606"/>
                    </a:cubicBezTo>
                    <a:cubicBezTo>
                      <a:pt x="239" y="614"/>
                      <a:pt x="242" y="614"/>
                      <a:pt x="246" y="615"/>
                    </a:cubicBezTo>
                    <a:cubicBezTo>
                      <a:pt x="247" y="615"/>
                      <a:pt x="247" y="615"/>
                      <a:pt x="247" y="615"/>
                    </a:cubicBezTo>
                    <a:cubicBezTo>
                      <a:pt x="248" y="616"/>
                      <a:pt x="249" y="616"/>
                      <a:pt x="250" y="616"/>
                    </a:cubicBezTo>
                    <a:cubicBezTo>
                      <a:pt x="252" y="616"/>
                      <a:pt x="254" y="616"/>
                      <a:pt x="257" y="609"/>
                    </a:cubicBezTo>
                    <a:cubicBezTo>
                      <a:pt x="259" y="603"/>
                      <a:pt x="263" y="595"/>
                      <a:pt x="268" y="592"/>
                    </a:cubicBezTo>
                    <a:cubicBezTo>
                      <a:pt x="268" y="591"/>
                      <a:pt x="269" y="591"/>
                      <a:pt x="269" y="591"/>
                    </a:cubicBezTo>
                    <a:cubicBezTo>
                      <a:pt x="269" y="591"/>
                      <a:pt x="269" y="591"/>
                      <a:pt x="269" y="591"/>
                    </a:cubicBezTo>
                    <a:cubicBezTo>
                      <a:pt x="273" y="592"/>
                      <a:pt x="276" y="592"/>
                      <a:pt x="279" y="592"/>
                    </a:cubicBezTo>
                    <a:cubicBezTo>
                      <a:pt x="279" y="592"/>
                      <a:pt x="280" y="593"/>
                      <a:pt x="280" y="593"/>
                    </a:cubicBezTo>
                    <a:cubicBezTo>
                      <a:pt x="284" y="598"/>
                      <a:pt x="286" y="607"/>
                      <a:pt x="286" y="613"/>
                    </a:cubicBezTo>
                    <a:cubicBezTo>
                      <a:pt x="287" y="621"/>
                      <a:pt x="290" y="621"/>
                      <a:pt x="294" y="622"/>
                    </a:cubicBezTo>
                    <a:cubicBezTo>
                      <a:pt x="295" y="622"/>
                      <a:pt x="295" y="622"/>
                      <a:pt x="295" y="622"/>
                    </a:cubicBezTo>
                    <a:cubicBezTo>
                      <a:pt x="296" y="622"/>
                      <a:pt x="297" y="622"/>
                      <a:pt x="297" y="622"/>
                    </a:cubicBezTo>
                    <a:cubicBezTo>
                      <a:pt x="299"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4" y="594"/>
                      <a:pt x="325" y="595"/>
                    </a:cubicBezTo>
                    <a:cubicBezTo>
                      <a:pt x="329" y="599"/>
                      <a:pt x="332" y="607"/>
                      <a:pt x="334" y="613"/>
                    </a:cubicBezTo>
                    <a:cubicBezTo>
                      <a:pt x="336" y="621"/>
                      <a:pt x="339" y="621"/>
                      <a:pt x="340" y="621"/>
                    </a:cubicBezTo>
                    <a:cubicBezTo>
                      <a:pt x="341" y="621"/>
                      <a:pt x="342" y="621"/>
                      <a:pt x="343" y="620"/>
                    </a:cubicBezTo>
                    <a:cubicBezTo>
                      <a:pt x="344" y="620"/>
                      <a:pt x="344" y="620"/>
                      <a:pt x="344" y="620"/>
                    </a:cubicBezTo>
                    <a:cubicBezTo>
                      <a:pt x="348" y="620"/>
                      <a:pt x="351" y="620"/>
                      <a:pt x="352" y="612"/>
                    </a:cubicBezTo>
                    <a:cubicBezTo>
                      <a:pt x="352" y="605"/>
                      <a:pt x="353" y="596"/>
                      <a:pt x="357" y="591"/>
                    </a:cubicBezTo>
                    <a:cubicBezTo>
                      <a:pt x="357" y="591"/>
                      <a:pt x="358" y="590"/>
                      <a:pt x="358" y="590"/>
                    </a:cubicBezTo>
                    <a:cubicBezTo>
                      <a:pt x="360" y="590"/>
                      <a:pt x="360" y="590"/>
                      <a:pt x="360" y="590"/>
                    </a:cubicBezTo>
                    <a:cubicBezTo>
                      <a:pt x="362" y="590"/>
                      <a:pt x="365" y="589"/>
                      <a:pt x="367" y="589"/>
                    </a:cubicBezTo>
                    <a:cubicBezTo>
                      <a:pt x="367" y="589"/>
                      <a:pt x="368" y="589"/>
                      <a:pt x="368" y="589"/>
                    </a:cubicBezTo>
                    <a:cubicBezTo>
                      <a:pt x="368" y="589"/>
                      <a:pt x="369" y="589"/>
                      <a:pt x="369" y="589"/>
                    </a:cubicBezTo>
                    <a:cubicBezTo>
                      <a:pt x="374" y="592"/>
                      <a:pt x="378" y="600"/>
                      <a:pt x="381" y="606"/>
                    </a:cubicBezTo>
                    <a:cubicBezTo>
                      <a:pt x="384" y="612"/>
                      <a:pt x="386" y="612"/>
                      <a:pt x="387" y="612"/>
                    </a:cubicBezTo>
                    <a:cubicBezTo>
                      <a:pt x="389" y="612"/>
                      <a:pt x="390" y="612"/>
                      <a:pt x="391" y="612"/>
                    </a:cubicBezTo>
                    <a:cubicBezTo>
                      <a:pt x="392" y="611"/>
                      <a:pt x="392" y="611"/>
                      <a:pt x="392" y="611"/>
                    </a:cubicBezTo>
                    <a:cubicBezTo>
                      <a:pt x="396" y="610"/>
                      <a:pt x="399" y="610"/>
                      <a:pt x="398" y="602"/>
                    </a:cubicBezTo>
                    <a:cubicBezTo>
                      <a:pt x="397" y="595"/>
                      <a:pt x="398" y="586"/>
                      <a:pt x="400" y="581"/>
                    </a:cubicBezTo>
                    <a:cubicBezTo>
                      <a:pt x="400" y="580"/>
                      <a:pt x="401" y="580"/>
                      <a:pt x="401" y="579"/>
                    </a:cubicBezTo>
                    <a:cubicBezTo>
                      <a:pt x="404" y="579"/>
                      <a:pt x="407" y="578"/>
                      <a:pt x="410" y="576"/>
                    </a:cubicBezTo>
                    <a:cubicBezTo>
                      <a:pt x="410" y="576"/>
                      <a:pt x="411" y="576"/>
                      <a:pt x="411" y="576"/>
                    </a:cubicBezTo>
                    <a:cubicBezTo>
                      <a:pt x="411" y="576"/>
                      <a:pt x="412" y="576"/>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3"/>
                      <a:pt x="445" y="592"/>
                      <a:pt x="443" y="584"/>
                    </a:cubicBezTo>
                    <a:cubicBezTo>
                      <a:pt x="441" y="578"/>
                      <a:pt x="440" y="569"/>
                      <a:pt x="441" y="564"/>
                    </a:cubicBezTo>
                    <a:cubicBezTo>
                      <a:pt x="441" y="563"/>
                      <a:pt x="442" y="563"/>
                      <a:pt x="442" y="562"/>
                    </a:cubicBezTo>
                    <a:cubicBezTo>
                      <a:pt x="445" y="561"/>
                      <a:pt x="448" y="559"/>
                      <a:pt x="450" y="558"/>
                    </a:cubicBezTo>
                    <a:cubicBezTo>
                      <a:pt x="451" y="558"/>
                      <a:pt x="451" y="557"/>
                      <a:pt x="452" y="557"/>
                    </a:cubicBezTo>
                    <a:cubicBezTo>
                      <a:pt x="452" y="557"/>
                      <a:pt x="452" y="557"/>
                      <a:pt x="452" y="558"/>
                    </a:cubicBezTo>
                    <a:cubicBezTo>
                      <a:pt x="458" y="559"/>
                      <a:pt x="464" y="565"/>
                      <a:pt x="469" y="570"/>
                    </a:cubicBezTo>
                    <a:cubicBezTo>
                      <a:pt x="471" y="573"/>
                      <a:pt x="474" y="574"/>
                      <a:pt x="475" y="574"/>
                    </a:cubicBezTo>
                    <a:cubicBezTo>
                      <a:pt x="477" y="574"/>
                      <a:pt x="479" y="573"/>
                      <a:pt x="480" y="572"/>
                    </a:cubicBezTo>
                    <a:cubicBezTo>
                      <a:pt x="481" y="572"/>
                      <a:pt x="481" y="572"/>
                      <a:pt x="481" y="572"/>
                    </a:cubicBezTo>
                    <a:cubicBezTo>
                      <a:pt x="485" y="570"/>
                      <a:pt x="487" y="568"/>
                      <a:pt x="484" y="561"/>
                    </a:cubicBezTo>
                    <a:cubicBezTo>
                      <a:pt x="481" y="554"/>
                      <a:pt x="478" y="546"/>
                      <a:pt x="479" y="540"/>
                    </a:cubicBezTo>
                    <a:cubicBezTo>
                      <a:pt x="479" y="540"/>
                      <a:pt x="479" y="539"/>
                      <a:pt x="480" y="539"/>
                    </a:cubicBezTo>
                    <a:cubicBezTo>
                      <a:pt x="482" y="537"/>
                      <a:pt x="485" y="535"/>
                      <a:pt x="487" y="533"/>
                    </a:cubicBezTo>
                    <a:cubicBezTo>
                      <a:pt x="487" y="533"/>
                      <a:pt x="487" y="533"/>
                      <a:pt x="487" y="533"/>
                    </a:cubicBezTo>
                    <a:cubicBezTo>
                      <a:pt x="488" y="533"/>
                      <a:pt x="488" y="532"/>
                      <a:pt x="489" y="532"/>
                    </a:cubicBezTo>
                    <a:cubicBezTo>
                      <a:pt x="489" y="532"/>
                      <a:pt x="489" y="532"/>
                      <a:pt x="489" y="532"/>
                    </a:cubicBezTo>
                    <a:cubicBezTo>
                      <a:pt x="495" y="533"/>
                      <a:pt x="502" y="538"/>
                      <a:pt x="508" y="542"/>
                    </a:cubicBezTo>
                    <a:cubicBezTo>
                      <a:pt x="510" y="544"/>
                      <a:pt x="512" y="546"/>
                      <a:pt x="514" y="546"/>
                    </a:cubicBezTo>
                    <a:cubicBezTo>
                      <a:pt x="516" y="546"/>
                      <a:pt x="517" y="544"/>
                      <a:pt x="519" y="543"/>
                    </a:cubicBezTo>
                    <a:cubicBezTo>
                      <a:pt x="520" y="542"/>
                      <a:pt x="520" y="542"/>
                      <a:pt x="520" y="542"/>
                    </a:cubicBezTo>
                    <a:cubicBezTo>
                      <a:pt x="523" y="539"/>
                      <a:pt x="525" y="537"/>
                      <a:pt x="521" y="530"/>
                    </a:cubicBezTo>
                    <a:cubicBezTo>
                      <a:pt x="517" y="525"/>
                      <a:pt x="513" y="517"/>
                      <a:pt x="513" y="511"/>
                    </a:cubicBezTo>
                    <a:cubicBezTo>
                      <a:pt x="513" y="511"/>
                      <a:pt x="513" y="510"/>
                      <a:pt x="514" y="509"/>
                    </a:cubicBezTo>
                    <a:cubicBezTo>
                      <a:pt x="516" y="507"/>
                      <a:pt x="518" y="505"/>
                      <a:pt x="520" y="503"/>
                    </a:cubicBezTo>
                    <a:cubicBezTo>
                      <a:pt x="520" y="502"/>
                      <a:pt x="521" y="502"/>
                      <a:pt x="522" y="502"/>
                    </a:cubicBezTo>
                    <a:cubicBezTo>
                      <a:pt x="527" y="502"/>
                      <a:pt x="536" y="505"/>
                      <a:pt x="541" y="509"/>
                    </a:cubicBezTo>
                    <a:cubicBezTo>
                      <a:pt x="544" y="510"/>
                      <a:pt x="546" y="511"/>
                      <a:pt x="548" y="511"/>
                    </a:cubicBezTo>
                    <a:cubicBezTo>
                      <a:pt x="550" y="511"/>
                      <a:pt x="551" y="510"/>
                      <a:pt x="553" y="507"/>
                    </a:cubicBezTo>
                    <a:cubicBezTo>
                      <a:pt x="554" y="506"/>
                      <a:pt x="554" y="506"/>
                      <a:pt x="554" y="506"/>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8" y="467"/>
                      <a:pt x="549" y="467"/>
                    </a:cubicBezTo>
                    <a:cubicBezTo>
                      <a:pt x="550" y="466"/>
                      <a:pt x="551" y="466"/>
                      <a:pt x="552" y="466"/>
                    </a:cubicBezTo>
                    <a:cubicBezTo>
                      <a:pt x="557" y="466"/>
                      <a:pt x="563" y="468"/>
                      <a:pt x="569"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4"/>
                      <a:pt x="565" y="439"/>
                    </a:cubicBezTo>
                    <a:cubicBezTo>
                      <a:pt x="565" y="438"/>
                      <a:pt x="565" y="438"/>
                      <a:pt x="565" y="437"/>
                    </a:cubicBezTo>
                    <a:cubicBezTo>
                      <a:pt x="566" y="435"/>
                      <a:pt x="568" y="432"/>
                      <a:pt x="569" y="429"/>
                    </a:cubicBezTo>
                    <a:cubicBezTo>
                      <a:pt x="569" y="428"/>
                      <a:pt x="570" y="428"/>
                      <a:pt x="571" y="427"/>
                    </a:cubicBezTo>
                    <a:cubicBezTo>
                      <a:pt x="573" y="427"/>
                      <a:pt x="575" y="426"/>
                      <a:pt x="578" y="426"/>
                    </a:cubicBezTo>
                    <a:cubicBezTo>
                      <a:pt x="580" y="426"/>
                      <a:pt x="582" y="427"/>
                      <a:pt x="584" y="427"/>
                    </a:cubicBezTo>
                    <a:cubicBezTo>
                      <a:pt x="584" y="400"/>
                      <a:pt x="584" y="400"/>
                      <a:pt x="584" y="400"/>
                    </a:cubicBezTo>
                    <a:cubicBezTo>
                      <a:pt x="583" y="400"/>
                      <a:pt x="582" y="399"/>
                      <a:pt x="582" y="398"/>
                    </a:cubicBezTo>
                    <a:cubicBezTo>
                      <a:pt x="582" y="397"/>
                      <a:pt x="582" y="397"/>
                      <a:pt x="582" y="396"/>
                    </a:cubicBezTo>
                    <a:cubicBezTo>
                      <a:pt x="582" y="394"/>
                      <a:pt x="583" y="391"/>
                      <a:pt x="584" y="389"/>
                    </a:cubicBezTo>
                    <a:cubicBezTo>
                      <a:pt x="584" y="223"/>
                      <a:pt x="584" y="223"/>
                      <a:pt x="584" y="223"/>
                    </a:cubicBezTo>
                    <a:cubicBezTo>
                      <a:pt x="583" y="223"/>
                      <a:pt x="582" y="222"/>
                      <a:pt x="581" y="222"/>
                    </a:cubicBezTo>
                    <a:cubicBezTo>
                      <a:pt x="581" y="222"/>
                      <a:pt x="580" y="221"/>
                      <a:pt x="580" y="221"/>
                    </a:cubicBezTo>
                    <a:cubicBezTo>
                      <a:pt x="579" y="218"/>
                      <a:pt x="578" y="215"/>
                      <a:pt x="577" y="212"/>
                    </a:cubicBezTo>
                    <a:cubicBezTo>
                      <a:pt x="577" y="211"/>
                      <a:pt x="577" y="211"/>
                      <a:pt x="577" y="210"/>
                    </a:cubicBezTo>
                    <a:cubicBezTo>
                      <a:pt x="579" y="207"/>
                      <a:pt x="581" y="205"/>
                      <a:pt x="584" y="202"/>
                    </a:cubicBezTo>
                    <a:cubicBezTo>
                      <a:pt x="584" y="180"/>
                      <a:pt x="584" y="180"/>
                      <a:pt x="584" y="180"/>
                    </a:cubicBezTo>
                    <a:cubicBezTo>
                      <a:pt x="579" y="181"/>
                      <a:pt x="574" y="182"/>
                      <a:pt x="570" y="182"/>
                    </a:cubicBezTo>
                    <a:cubicBezTo>
                      <a:pt x="568" y="182"/>
                      <a:pt x="566" y="181"/>
                      <a:pt x="564" y="181"/>
                    </a:cubicBezTo>
                    <a:cubicBezTo>
                      <a:pt x="564" y="181"/>
                      <a:pt x="563" y="180"/>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69"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3"/>
                      <a:pt x="533" y="133"/>
                    </a:cubicBezTo>
                    <a:cubicBezTo>
                      <a:pt x="534" y="127"/>
                      <a:pt x="539" y="120"/>
                      <a:pt x="543" y="114"/>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8"/>
                    </a:cubicBezTo>
                    <a:cubicBezTo>
                      <a:pt x="508" y="106"/>
                      <a:pt x="506" y="104"/>
                      <a:pt x="503" y="102"/>
                    </a:cubicBezTo>
                    <a:cubicBezTo>
                      <a:pt x="503" y="102"/>
                      <a:pt x="502" y="101"/>
                      <a:pt x="502" y="100"/>
                    </a:cubicBezTo>
                    <a:cubicBezTo>
                      <a:pt x="502" y="95"/>
                      <a:pt x="506" y="86"/>
                      <a:pt x="509" y="81"/>
                    </a:cubicBezTo>
                    <a:cubicBezTo>
                      <a:pt x="514" y="74"/>
                      <a:pt x="511" y="72"/>
                      <a:pt x="508" y="69"/>
                    </a:cubicBezTo>
                    <a:cubicBezTo>
                      <a:pt x="507" y="68"/>
                      <a:pt x="507" y="68"/>
                      <a:pt x="507" y="68"/>
                    </a:cubicBezTo>
                    <a:cubicBezTo>
                      <a:pt x="505" y="67"/>
                      <a:pt x="504" y="66"/>
                      <a:pt x="502" y="66"/>
                    </a:cubicBezTo>
                    <a:cubicBezTo>
                      <a:pt x="500" y="66"/>
                      <a:pt x="498" y="67"/>
                      <a:pt x="496" y="69"/>
                    </a:cubicBezTo>
                    <a:cubicBezTo>
                      <a:pt x="491" y="74"/>
                      <a:pt x="483" y="79"/>
                      <a:pt x="478" y="80"/>
                    </a:cubicBezTo>
                    <a:cubicBezTo>
                      <a:pt x="478" y="80"/>
                      <a:pt x="477" y="80"/>
                      <a:pt x="477" y="80"/>
                    </a:cubicBezTo>
                    <a:cubicBezTo>
                      <a:pt x="477" y="80"/>
                      <a:pt x="476" y="80"/>
                      <a:pt x="476" y="80"/>
                    </a:cubicBezTo>
                    <a:cubicBezTo>
                      <a:pt x="473" y="78"/>
                      <a:pt x="471" y="76"/>
                      <a:pt x="468" y="75"/>
                    </a:cubicBezTo>
                    <a:cubicBezTo>
                      <a:pt x="468" y="74"/>
                      <a:pt x="467" y="74"/>
                      <a:pt x="467" y="73"/>
                    </a:cubicBezTo>
                    <a:cubicBezTo>
                      <a:pt x="466" y="67"/>
                      <a:pt x="469" y="59"/>
                      <a:pt x="471" y="53"/>
                    </a:cubicBezTo>
                    <a:cubicBezTo>
                      <a:pt x="474" y="45"/>
                      <a:pt x="471" y="43"/>
                      <a:pt x="468" y="41"/>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39" y="57"/>
                      <a:pt x="439" y="57"/>
                      <a:pt x="439" y="57"/>
                    </a:cubicBezTo>
                    <a:cubicBezTo>
                      <a:pt x="438"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0" y="23"/>
                      <a:pt x="427" y="22"/>
                      <a:pt x="424" y="20"/>
                    </a:cubicBezTo>
                    <a:cubicBezTo>
                      <a:pt x="422" y="20"/>
                      <a:pt x="422" y="20"/>
                      <a:pt x="422" y="20"/>
                    </a:cubicBezTo>
                    <a:cubicBezTo>
                      <a:pt x="421" y="19"/>
                      <a:pt x="420" y="19"/>
                      <a:pt x="418" y="19"/>
                    </a:cubicBezTo>
                    <a:cubicBezTo>
                      <a:pt x="418" y="19"/>
                      <a:pt x="415" y="19"/>
                      <a:pt x="412" y="24"/>
                    </a:cubicBezTo>
                    <a:cubicBezTo>
                      <a:pt x="409" y="30"/>
                      <a:pt x="403" y="37"/>
                      <a:pt x="399" y="40"/>
                    </a:cubicBezTo>
                    <a:cubicBezTo>
                      <a:pt x="398" y="40"/>
                      <a:pt x="398" y="40"/>
                      <a:pt x="397" y="40"/>
                    </a:cubicBezTo>
                    <a:cubicBezTo>
                      <a:pt x="397" y="40"/>
                      <a:pt x="397" y="40"/>
                      <a:pt x="396" y="40"/>
                    </a:cubicBezTo>
                    <a:cubicBezTo>
                      <a:pt x="394" y="39"/>
                      <a:pt x="391" y="38"/>
                      <a:pt x="388" y="38"/>
                    </a:cubicBezTo>
                    <a:cubicBezTo>
                      <a:pt x="387" y="37"/>
                      <a:pt x="386" y="37"/>
                      <a:pt x="386" y="36"/>
                    </a:cubicBezTo>
                    <a:cubicBezTo>
                      <a:pt x="383" y="31"/>
                      <a:pt x="383" y="22"/>
                      <a:pt x="383" y="16"/>
                    </a:cubicBezTo>
                    <a:cubicBezTo>
                      <a:pt x="384" y="8"/>
                      <a:pt x="381" y="7"/>
                      <a:pt x="377" y="6"/>
                    </a:cubicBezTo>
                    <a:cubicBezTo>
                      <a:pt x="376" y="6"/>
                      <a:pt x="376" y="6"/>
                      <a:pt x="376" y="6"/>
                    </a:cubicBezTo>
                    <a:cubicBezTo>
                      <a:pt x="375" y="6"/>
                      <a:pt x="373" y="5"/>
                      <a:pt x="372" y="5"/>
                    </a:cubicBezTo>
                    <a:cubicBezTo>
                      <a:pt x="371" y="5"/>
                      <a:pt x="368" y="5"/>
                      <a:pt x="366" y="12"/>
                    </a:cubicBezTo>
                    <a:cubicBezTo>
                      <a:pt x="364" y="18"/>
                      <a:pt x="359" y="26"/>
                      <a:pt x="355" y="30"/>
                    </a:cubicBezTo>
                    <a:cubicBezTo>
                      <a:pt x="355" y="30"/>
                      <a:pt x="354" y="30"/>
                      <a:pt x="353" y="30"/>
                    </a:cubicBezTo>
                    <a:cubicBezTo>
                      <a:pt x="353" y="30"/>
                      <a:pt x="353" y="30"/>
                      <a:pt x="353" y="30"/>
                    </a:cubicBezTo>
                    <a:cubicBezTo>
                      <a:pt x="350" y="30"/>
                      <a:pt x="347" y="29"/>
                      <a:pt x="344" y="29"/>
                    </a:cubicBezTo>
                    <a:cubicBezTo>
                      <a:pt x="343" y="29"/>
                      <a:pt x="343" y="29"/>
                      <a:pt x="342" y="28"/>
                    </a:cubicBezTo>
                    <a:cubicBezTo>
                      <a:pt x="339" y="23"/>
                      <a:pt x="337" y="15"/>
                      <a:pt x="336" y="8"/>
                    </a:cubicBezTo>
                    <a:cubicBezTo>
                      <a:pt x="336" y="0"/>
                      <a:pt x="333" y="0"/>
                      <a:pt x="329" y="0"/>
                    </a:cubicBezTo>
                    <a:cubicBezTo>
                      <a:pt x="327" y="0"/>
                      <a:pt x="327" y="0"/>
                      <a:pt x="327" y="0"/>
                    </a:cubicBezTo>
                    <a:cubicBezTo>
                      <a:pt x="327" y="0"/>
                      <a:pt x="326" y="0"/>
                      <a:pt x="32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708">
                <a:extLst>
                  <a:ext uri="{FF2B5EF4-FFF2-40B4-BE49-F238E27FC236}">
                    <a16:creationId xmlns:a16="http://schemas.microsoft.com/office/drawing/2014/main" id="{D191DA2A-DBA5-42C3-8EF7-012BE6449AF9}"/>
                  </a:ext>
                </a:extLst>
              </p:cNvPr>
              <p:cNvSpPr>
                <a:spLocks noEditPoints="1"/>
              </p:cNvSpPr>
              <p:nvPr/>
            </p:nvSpPr>
            <p:spPr bwMode="auto">
              <a:xfrm>
                <a:off x="17680941" y="4497547"/>
                <a:ext cx="92075" cy="93663"/>
              </a:xfrm>
              <a:custGeom>
                <a:avLst/>
                <a:gdLst>
                  <a:gd name="T0" fmla="*/ 24 w 47"/>
                  <a:gd name="T1" fmla="*/ 41 h 48"/>
                  <a:gd name="T2" fmla="*/ 7 w 47"/>
                  <a:gd name="T3" fmla="*/ 24 h 48"/>
                  <a:gd name="T4" fmla="*/ 24 w 47"/>
                  <a:gd name="T5" fmla="*/ 7 h 48"/>
                  <a:gd name="T6" fmla="*/ 41 w 47"/>
                  <a:gd name="T7" fmla="*/ 24 h 48"/>
                  <a:gd name="T8" fmla="*/ 24 w 47"/>
                  <a:gd name="T9" fmla="*/ 41 h 48"/>
                  <a:gd name="T10" fmla="*/ 24 w 47"/>
                  <a:gd name="T11" fmla="*/ 5 h 48"/>
                  <a:gd name="T12" fmla="*/ 5 w 47"/>
                  <a:gd name="T13" fmla="*/ 24 h 48"/>
                  <a:gd name="T14" fmla="*/ 24 w 47"/>
                  <a:gd name="T15" fmla="*/ 43 h 48"/>
                  <a:gd name="T16" fmla="*/ 42 w 47"/>
                  <a:gd name="T17" fmla="*/ 24 h 48"/>
                  <a:gd name="T18" fmla="*/ 24 w 47"/>
                  <a:gd name="T19" fmla="*/ 5 h 48"/>
                  <a:gd name="T20" fmla="*/ 24 w 47"/>
                  <a:gd name="T21" fmla="*/ 46 h 48"/>
                  <a:gd name="T22" fmla="*/ 2 w 47"/>
                  <a:gd name="T23" fmla="*/ 24 h 48"/>
                  <a:gd name="T24" fmla="*/ 24 w 47"/>
                  <a:gd name="T25" fmla="*/ 2 h 48"/>
                  <a:gd name="T26" fmla="*/ 46 w 47"/>
                  <a:gd name="T27" fmla="*/ 24 h 48"/>
                  <a:gd name="T28" fmla="*/ 24 w 47"/>
                  <a:gd name="T29" fmla="*/ 46 h 48"/>
                  <a:gd name="T30" fmla="*/ 24 w 47"/>
                  <a:gd name="T31" fmla="*/ 0 h 48"/>
                  <a:gd name="T32" fmla="*/ 0 w 47"/>
                  <a:gd name="T33" fmla="*/ 24 h 48"/>
                  <a:gd name="T34" fmla="*/ 24 w 47"/>
                  <a:gd name="T35" fmla="*/ 48 h 48"/>
                  <a:gd name="T36" fmla="*/ 47 w 47"/>
                  <a:gd name="T37" fmla="*/ 24 h 48"/>
                  <a:gd name="T38" fmla="*/ 24 w 47"/>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8">
                    <a:moveTo>
                      <a:pt x="24" y="41"/>
                    </a:moveTo>
                    <a:cubicBezTo>
                      <a:pt x="14" y="41"/>
                      <a:pt x="7" y="34"/>
                      <a:pt x="7" y="24"/>
                    </a:cubicBezTo>
                    <a:cubicBezTo>
                      <a:pt x="7" y="14"/>
                      <a:pt x="14" y="7"/>
                      <a:pt x="24" y="7"/>
                    </a:cubicBezTo>
                    <a:cubicBezTo>
                      <a:pt x="33" y="7"/>
                      <a:pt x="41" y="14"/>
                      <a:pt x="41" y="24"/>
                    </a:cubicBezTo>
                    <a:cubicBezTo>
                      <a:pt x="41" y="34"/>
                      <a:pt x="33" y="41"/>
                      <a:pt x="24" y="41"/>
                    </a:cubicBezTo>
                    <a:moveTo>
                      <a:pt x="24" y="5"/>
                    </a:moveTo>
                    <a:cubicBezTo>
                      <a:pt x="13" y="5"/>
                      <a:pt x="5" y="14"/>
                      <a:pt x="5" y="24"/>
                    </a:cubicBezTo>
                    <a:cubicBezTo>
                      <a:pt x="5" y="35"/>
                      <a:pt x="13" y="43"/>
                      <a:pt x="24" y="43"/>
                    </a:cubicBezTo>
                    <a:cubicBezTo>
                      <a:pt x="34" y="43"/>
                      <a:pt x="42" y="35"/>
                      <a:pt x="42" y="24"/>
                    </a:cubicBezTo>
                    <a:cubicBezTo>
                      <a:pt x="42" y="14"/>
                      <a:pt x="34" y="5"/>
                      <a:pt x="24" y="5"/>
                    </a:cubicBezTo>
                    <a:moveTo>
                      <a:pt x="24" y="46"/>
                    </a:moveTo>
                    <a:cubicBezTo>
                      <a:pt x="12" y="46"/>
                      <a:pt x="2" y="36"/>
                      <a:pt x="2" y="24"/>
                    </a:cubicBezTo>
                    <a:cubicBezTo>
                      <a:pt x="2" y="12"/>
                      <a:pt x="12" y="2"/>
                      <a:pt x="24" y="2"/>
                    </a:cubicBezTo>
                    <a:cubicBezTo>
                      <a:pt x="36" y="2"/>
                      <a:pt x="46" y="12"/>
                      <a:pt x="46" y="24"/>
                    </a:cubicBezTo>
                    <a:cubicBezTo>
                      <a:pt x="46" y="36"/>
                      <a:pt x="36" y="46"/>
                      <a:pt x="24" y="46"/>
                    </a:cubicBezTo>
                    <a:moveTo>
                      <a:pt x="24" y="0"/>
                    </a:moveTo>
                    <a:cubicBezTo>
                      <a:pt x="11" y="0"/>
                      <a:pt x="0" y="11"/>
                      <a:pt x="0" y="24"/>
                    </a:cubicBezTo>
                    <a:cubicBezTo>
                      <a:pt x="0" y="37"/>
                      <a:pt x="11" y="48"/>
                      <a:pt x="24" y="48"/>
                    </a:cubicBezTo>
                    <a:cubicBezTo>
                      <a:pt x="37" y="48"/>
                      <a:pt x="47" y="37"/>
                      <a:pt x="47" y="24"/>
                    </a:cubicBezTo>
                    <a:cubicBezTo>
                      <a:pt x="47" y="11"/>
                      <a:pt x="37" y="0"/>
                      <a:pt x="24"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1713">
                <a:extLst>
                  <a:ext uri="{FF2B5EF4-FFF2-40B4-BE49-F238E27FC236}">
                    <a16:creationId xmlns:a16="http://schemas.microsoft.com/office/drawing/2014/main" id="{0A2AE805-9955-44D2-A18C-622498050943}"/>
                  </a:ext>
                </a:extLst>
              </p:cNvPr>
              <p:cNvSpPr>
                <a:spLocks noEditPoints="1"/>
              </p:cNvSpPr>
              <p:nvPr/>
            </p:nvSpPr>
            <p:spPr bwMode="auto">
              <a:xfrm>
                <a:off x="16763366" y="3867309"/>
                <a:ext cx="238125" cy="234950"/>
              </a:xfrm>
              <a:custGeom>
                <a:avLst/>
                <a:gdLst>
                  <a:gd name="T0" fmla="*/ 52 w 121"/>
                  <a:gd name="T1" fmla="*/ 113 h 120"/>
                  <a:gd name="T2" fmla="*/ 7 w 121"/>
                  <a:gd name="T3" fmla="*/ 60 h 120"/>
                  <a:gd name="T4" fmla="*/ 61 w 121"/>
                  <a:gd name="T5" fmla="*/ 7 h 120"/>
                  <a:gd name="T6" fmla="*/ 114 w 121"/>
                  <a:gd name="T7" fmla="*/ 60 h 120"/>
                  <a:gd name="T8" fmla="*/ 68 w 121"/>
                  <a:gd name="T9" fmla="*/ 113 h 120"/>
                  <a:gd name="T10" fmla="*/ 68 w 121"/>
                  <a:gd name="T11" fmla="*/ 62 h 120"/>
                  <a:gd name="T12" fmla="*/ 68 w 121"/>
                  <a:gd name="T13" fmla="*/ 44 h 120"/>
                  <a:gd name="T14" fmla="*/ 76 w 121"/>
                  <a:gd name="T15" fmla="*/ 52 h 120"/>
                  <a:gd name="T16" fmla="*/ 76 w 121"/>
                  <a:gd name="T17" fmla="*/ 52 h 120"/>
                  <a:gd name="T18" fmla="*/ 78 w 121"/>
                  <a:gd name="T19" fmla="*/ 54 h 120"/>
                  <a:gd name="T20" fmla="*/ 84 w 121"/>
                  <a:gd name="T21" fmla="*/ 56 h 120"/>
                  <a:gd name="T22" fmla="*/ 89 w 121"/>
                  <a:gd name="T23" fmla="*/ 54 h 120"/>
                  <a:gd name="T24" fmla="*/ 89 w 121"/>
                  <a:gd name="T25" fmla="*/ 43 h 120"/>
                  <a:gd name="T26" fmla="*/ 80 w 121"/>
                  <a:gd name="T27" fmla="*/ 32 h 120"/>
                  <a:gd name="T28" fmla="*/ 60 w 121"/>
                  <a:gd name="T29" fmla="*/ 12 h 120"/>
                  <a:gd name="T30" fmla="*/ 31 w 121"/>
                  <a:gd name="T31" fmla="*/ 43 h 120"/>
                  <a:gd name="T32" fmla="*/ 31 w 121"/>
                  <a:gd name="T33" fmla="*/ 54 h 120"/>
                  <a:gd name="T34" fmla="*/ 37 w 121"/>
                  <a:gd name="T35" fmla="*/ 56 h 120"/>
                  <a:gd name="T36" fmla="*/ 42 w 121"/>
                  <a:gd name="T37" fmla="*/ 54 h 120"/>
                  <a:gd name="T38" fmla="*/ 52 w 121"/>
                  <a:gd name="T39" fmla="*/ 44 h 120"/>
                  <a:gd name="T40" fmla="*/ 52 w 121"/>
                  <a:gd name="T41" fmla="*/ 72 h 120"/>
                  <a:gd name="T42" fmla="*/ 52 w 121"/>
                  <a:gd name="T43" fmla="*/ 113 h 120"/>
                  <a:gd name="T44" fmla="*/ 61 w 121"/>
                  <a:gd name="T45" fmla="*/ 0 h 120"/>
                  <a:gd name="T46" fmla="*/ 0 w 121"/>
                  <a:gd name="T47" fmla="*/ 60 h 120"/>
                  <a:gd name="T48" fmla="*/ 61 w 121"/>
                  <a:gd name="T49" fmla="*/ 120 h 120"/>
                  <a:gd name="T50" fmla="*/ 121 w 121"/>
                  <a:gd name="T51" fmla="*/ 60 h 120"/>
                  <a:gd name="T52" fmla="*/ 61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3"/>
                    </a:moveTo>
                    <a:cubicBezTo>
                      <a:pt x="27" y="109"/>
                      <a:pt x="7" y="87"/>
                      <a:pt x="7" y="60"/>
                    </a:cubicBezTo>
                    <a:cubicBezTo>
                      <a:pt x="7" y="31"/>
                      <a:pt x="31" y="7"/>
                      <a:pt x="61" y="7"/>
                    </a:cubicBez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80" y="55"/>
                      <a:pt x="82" y="56"/>
                      <a:pt x="84" y="56"/>
                    </a:cubicBezTo>
                    <a:cubicBezTo>
                      <a:pt x="86" y="56"/>
                      <a:pt x="88" y="55"/>
                      <a:pt x="89" y="54"/>
                    </a:cubicBezTo>
                    <a:cubicBezTo>
                      <a:pt x="92" y="51"/>
                      <a:pt x="93" y="46"/>
                      <a:pt x="89" y="43"/>
                    </a:cubicBezTo>
                    <a:cubicBezTo>
                      <a:pt x="80" y="32"/>
                      <a:pt x="80" y="32"/>
                      <a:pt x="80" y="32"/>
                    </a:cubicBezTo>
                    <a:cubicBezTo>
                      <a:pt x="60" y="12"/>
                      <a:pt x="60" y="12"/>
                      <a:pt x="60" y="12"/>
                    </a:cubicBezTo>
                    <a:cubicBezTo>
                      <a:pt x="31" y="43"/>
                      <a:pt x="31" y="43"/>
                      <a:pt x="31" y="43"/>
                    </a:cubicBezTo>
                    <a:cubicBezTo>
                      <a:pt x="28" y="46"/>
                      <a:pt x="28" y="51"/>
                      <a:pt x="31" y="54"/>
                    </a:cubicBezTo>
                    <a:cubicBezTo>
                      <a:pt x="33" y="55"/>
                      <a:pt x="35" y="56"/>
                      <a:pt x="37" y="56"/>
                    </a:cubicBezTo>
                    <a:cubicBezTo>
                      <a:pt x="39" y="56"/>
                      <a:pt x="41" y="55"/>
                      <a:pt x="42" y="54"/>
                    </a:cubicBezTo>
                    <a:cubicBezTo>
                      <a:pt x="52" y="44"/>
                      <a:pt x="52" y="44"/>
                      <a:pt x="52" y="44"/>
                    </a:cubicBezTo>
                    <a:cubicBezTo>
                      <a:pt x="52" y="72"/>
                      <a:pt x="52" y="72"/>
                      <a:pt x="52" y="72"/>
                    </a:cubicBezTo>
                    <a:cubicBezTo>
                      <a:pt x="52" y="113"/>
                      <a:pt x="52" y="113"/>
                      <a:pt x="52" y="113"/>
                    </a:cubicBezTo>
                    <a:moveTo>
                      <a:pt x="61" y="0"/>
                    </a:moveTo>
                    <a:cubicBezTo>
                      <a:pt x="27" y="0"/>
                      <a:pt x="0" y="27"/>
                      <a:pt x="0" y="60"/>
                    </a:cubicBezTo>
                    <a:cubicBezTo>
                      <a:pt x="0" y="93"/>
                      <a:pt x="27" y="120"/>
                      <a:pt x="61" y="120"/>
                    </a:cubicBezTo>
                    <a:cubicBezTo>
                      <a:pt x="94" y="120"/>
                      <a:pt x="121" y="93"/>
                      <a:pt x="121" y="60"/>
                    </a:cubicBezTo>
                    <a:cubicBezTo>
                      <a:pt x="121" y="27"/>
                      <a:pt x="94" y="0"/>
                      <a:pt x="6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8226" name="Freeform 21275">
              <a:extLst>
                <a:ext uri="{FF2B5EF4-FFF2-40B4-BE49-F238E27FC236}">
                  <a16:creationId xmlns:a16="http://schemas.microsoft.com/office/drawing/2014/main" id="{E497B080-0038-4246-8890-7D4EB4BCD786}"/>
                </a:ext>
              </a:extLst>
            </p:cNvPr>
            <p:cNvSpPr>
              <a:spLocks noEditPoints="1"/>
            </p:cNvSpPr>
            <p:nvPr userDrawn="1"/>
          </p:nvSpPr>
          <p:spPr bwMode="auto">
            <a:xfrm>
              <a:off x="6997073" y="5306378"/>
              <a:ext cx="243737" cy="241416"/>
            </a:xfrm>
            <a:custGeom>
              <a:avLst/>
              <a:gdLst>
                <a:gd name="T0" fmla="*/ 50 w 165"/>
                <a:gd name="T1" fmla="*/ 49 h 164"/>
                <a:gd name="T2" fmla="*/ 116 w 165"/>
                <a:gd name="T3" fmla="*/ 115 h 164"/>
                <a:gd name="T4" fmla="*/ 31 w 165"/>
                <a:gd name="T5" fmla="*/ 82 h 164"/>
                <a:gd name="T6" fmla="*/ 134 w 165"/>
                <a:gd name="T7" fmla="*/ 82 h 164"/>
                <a:gd name="T8" fmla="*/ 69 w 165"/>
                <a:gd name="T9" fmla="*/ 24 h 164"/>
                <a:gd name="T10" fmla="*/ 82 w 165"/>
                <a:gd name="T11" fmla="*/ 5 h 164"/>
                <a:gd name="T12" fmla="*/ 93 w 165"/>
                <a:gd name="T13" fmla="*/ 24 h 164"/>
                <a:gd name="T14" fmla="*/ 111 w 165"/>
                <a:gd name="T15" fmla="*/ 11 h 164"/>
                <a:gd name="T16" fmla="*/ 117 w 165"/>
                <a:gd name="T17" fmla="*/ 32 h 164"/>
                <a:gd name="T18" fmla="*/ 137 w 165"/>
                <a:gd name="T19" fmla="*/ 27 h 164"/>
                <a:gd name="T20" fmla="*/ 140 w 165"/>
                <a:gd name="T21" fmla="*/ 51 h 164"/>
                <a:gd name="T22" fmla="*/ 154 w 165"/>
                <a:gd name="T23" fmla="*/ 52 h 164"/>
                <a:gd name="T24" fmla="*/ 155 w 165"/>
                <a:gd name="T25" fmla="*/ 78 h 164"/>
                <a:gd name="T26" fmla="*/ 155 w 165"/>
                <a:gd name="T27" fmla="*/ 86 h 164"/>
                <a:gd name="T28" fmla="*/ 154 w 165"/>
                <a:gd name="T29" fmla="*/ 111 h 164"/>
                <a:gd name="T30" fmla="*/ 140 w 165"/>
                <a:gd name="T31" fmla="*/ 113 h 164"/>
                <a:gd name="T32" fmla="*/ 137 w 165"/>
                <a:gd name="T33" fmla="*/ 136 h 164"/>
                <a:gd name="T34" fmla="*/ 118 w 165"/>
                <a:gd name="T35" fmla="*/ 131 h 164"/>
                <a:gd name="T36" fmla="*/ 115 w 165"/>
                <a:gd name="T37" fmla="*/ 152 h 164"/>
                <a:gd name="T38" fmla="*/ 96 w 165"/>
                <a:gd name="T39" fmla="*/ 140 h 164"/>
                <a:gd name="T40" fmla="*/ 86 w 165"/>
                <a:gd name="T41" fmla="*/ 159 h 164"/>
                <a:gd name="T42" fmla="*/ 72 w 165"/>
                <a:gd name="T43" fmla="*/ 141 h 164"/>
                <a:gd name="T44" fmla="*/ 58 w 165"/>
                <a:gd name="T45" fmla="*/ 155 h 164"/>
                <a:gd name="T46" fmla="*/ 51 w 165"/>
                <a:gd name="T47" fmla="*/ 132 h 164"/>
                <a:gd name="T48" fmla="*/ 30 w 165"/>
                <a:gd name="T49" fmla="*/ 138 h 164"/>
                <a:gd name="T50" fmla="*/ 33 w 165"/>
                <a:gd name="T51" fmla="*/ 115 h 164"/>
                <a:gd name="T52" fmla="*/ 12 w 165"/>
                <a:gd name="T53" fmla="*/ 113 h 164"/>
                <a:gd name="T54" fmla="*/ 24 w 165"/>
                <a:gd name="T55" fmla="*/ 93 h 164"/>
                <a:gd name="T56" fmla="*/ 10 w 165"/>
                <a:gd name="T57" fmla="*/ 79 h 164"/>
                <a:gd name="T58" fmla="*/ 11 w 165"/>
                <a:gd name="T59" fmla="*/ 54 h 164"/>
                <a:gd name="T60" fmla="*/ 24 w 165"/>
                <a:gd name="T61" fmla="*/ 52 h 164"/>
                <a:gd name="T62" fmla="*/ 28 w 165"/>
                <a:gd name="T63" fmla="*/ 28 h 164"/>
                <a:gd name="T64" fmla="*/ 47 w 165"/>
                <a:gd name="T65" fmla="*/ 33 h 164"/>
                <a:gd name="T66" fmla="*/ 52 w 165"/>
                <a:gd name="T67" fmla="*/ 12 h 164"/>
                <a:gd name="T68" fmla="*/ 68 w 165"/>
                <a:gd name="T69" fmla="*/ 24 h 164"/>
                <a:gd name="T70" fmla="*/ 72 w 165"/>
                <a:gd name="T71" fmla="*/ 9 h 164"/>
                <a:gd name="T72" fmla="*/ 50 w 165"/>
                <a:gd name="T73" fmla="*/ 7 h 164"/>
                <a:gd name="T74" fmla="*/ 37 w 165"/>
                <a:gd name="T75" fmla="*/ 24 h 164"/>
                <a:gd name="T76" fmla="*/ 24 w 165"/>
                <a:gd name="T77" fmla="*/ 37 h 164"/>
                <a:gd name="T78" fmla="*/ 14 w 165"/>
                <a:gd name="T79" fmla="*/ 46 h 164"/>
                <a:gd name="T80" fmla="*/ 19 w 165"/>
                <a:gd name="T81" fmla="*/ 70 h 164"/>
                <a:gd name="T82" fmla="*/ 9 w 165"/>
                <a:gd name="T83" fmla="*/ 92 h 164"/>
                <a:gd name="T84" fmla="*/ 8 w 165"/>
                <a:gd name="T85" fmla="*/ 115 h 164"/>
                <a:gd name="T86" fmla="*/ 29 w 165"/>
                <a:gd name="T87" fmla="*/ 119 h 164"/>
                <a:gd name="T88" fmla="*/ 32 w 165"/>
                <a:gd name="T89" fmla="*/ 145 h 164"/>
                <a:gd name="T90" fmla="*/ 48 w 165"/>
                <a:gd name="T91" fmla="*/ 148 h 164"/>
                <a:gd name="T92" fmla="*/ 65 w 165"/>
                <a:gd name="T93" fmla="*/ 154 h 164"/>
                <a:gd name="T94" fmla="*/ 85 w 165"/>
                <a:gd name="T95" fmla="*/ 164 h 164"/>
                <a:gd name="T96" fmla="*/ 105 w 165"/>
                <a:gd name="T97" fmla="*/ 153 h 164"/>
                <a:gd name="T98" fmla="*/ 121 w 165"/>
                <a:gd name="T99" fmla="*/ 145 h 164"/>
                <a:gd name="T100" fmla="*/ 140 w 165"/>
                <a:gd name="T101" fmla="*/ 141 h 164"/>
                <a:gd name="T102" fmla="*/ 140 w 165"/>
                <a:gd name="T103" fmla="*/ 118 h 164"/>
                <a:gd name="T104" fmla="*/ 158 w 165"/>
                <a:gd name="T105" fmla="*/ 113 h 164"/>
                <a:gd name="T106" fmla="*/ 165 w 165"/>
                <a:gd name="T107" fmla="*/ 82 h 164"/>
                <a:gd name="T108" fmla="*/ 146 w 165"/>
                <a:gd name="T109" fmla="*/ 69 h 164"/>
                <a:gd name="T110" fmla="*/ 151 w 165"/>
                <a:gd name="T111" fmla="*/ 44 h 164"/>
                <a:gd name="T112" fmla="*/ 140 w 165"/>
                <a:gd name="T113" fmla="*/ 36 h 164"/>
                <a:gd name="T114" fmla="*/ 127 w 165"/>
                <a:gd name="T115" fmla="*/ 23 h 164"/>
                <a:gd name="T116" fmla="*/ 112 w 165"/>
                <a:gd name="T117" fmla="*/ 6 h 164"/>
                <a:gd name="T118" fmla="*/ 90 w 165"/>
                <a:gd name="T119"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4">
                  <a:moveTo>
                    <a:pt x="83" y="129"/>
                  </a:moveTo>
                  <a:cubicBezTo>
                    <a:pt x="70" y="129"/>
                    <a:pt x="58" y="124"/>
                    <a:pt x="50" y="115"/>
                  </a:cubicBezTo>
                  <a:cubicBezTo>
                    <a:pt x="41" y="106"/>
                    <a:pt x="36" y="95"/>
                    <a:pt x="36" y="82"/>
                  </a:cubicBezTo>
                  <a:cubicBezTo>
                    <a:pt x="36" y="70"/>
                    <a:pt x="41" y="58"/>
                    <a:pt x="50" y="49"/>
                  </a:cubicBezTo>
                  <a:cubicBezTo>
                    <a:pt x="58" y="40"/>
                    <a:pt x="70" y="35"/>
                    <a:pt x="83" y="35"/>
                  </a:cubicBezTo>
                  <a:cubicBezTo>
                    <a:pt x="95" y="35"/>
                    <a:pt x="107" y="40"/>
                    <a:pt x="116" y="49"/>
                  </a:cubicBezTo>
                  <a:cubicBezTo>
                    <a:pt x="124" y="58"/>
                    <a:pt x="129" y="70"/>
                    <a:pt x="129" y="82"/>
                  </a:cubicBezTo>
                  <a:cubicBezTo>
                    <a:pt x="129" y="95"/>
                    <a:pt x="124" y="106"/>
                    <a:pt x="116" y="115"/>
                  </a:cubicBezTo>
                  <a:cubicBezTo>
                    <a:pt x="107" y="124"/>
                    <a:pt x="95" y="129"/>
                    <a:pt x="83" y="129"/>
                  </a:cubicBezTo>
                  <a:moveTo>
                    <a:pt x="83" y="30"/>
                  </a:moveTo>
                  <a:cubicBezTo>
                    <a:pt x="69" y="30"/>
                    <a:pt x="56" y="36"/>
                    <a:pt x="46" y="46"/>
                  </a:cubicBezTo>
                  <a:cubicBezTo>
                    <a:pt x="36" y="55"/>
                    <a:pt x="31" y="68"/>
                    <a:pt x="31" y="82"/>
                  </a:cubicBezTo>
                  <a:cubicBezTo>
                    <a:pt x="31" y="96"/>
                    <a:pt x="36" y="109"/>
                    <a:pt x="46" y="119"/>
                  </a:cubicBezTo>
                  <a:cubicBezTo>
                    <a:pt x="56" y="129"/>
                    <a:pt x="69" y="134"/>
                    <a:pt x="83" y="134"/>
                  </a:cubicBezTo>
                  <a:cubicBezTo>
                    <a:pt x="96" y="134"/>
                    <a:pt x="109" y="128"/>
                    <a:pt x="119" y="119"/>
                  </a:cubicBezTo>
                  <a:cubicBezTo>
                    <a:pt x="129" y="109"/>
                    <a:pt x="134" y="96"/>
                    <a:pt x="134" y="82"/>
                  </a:cubicBezTo>
                  <a:cubicBezTo>
                    <a:pt x="134" y="68"/>
                    <a:pt x="129" y="55"/>
                    <a:pt x="119" y="46"/>
                  </a:cubicBezTo>
                  <a:cubicBezTo>
                    <a:pt x="109" y="36"/>
                    <a:pt x="96" y="30"/>
                    <a:pt x="83" y="30"/>
                  </a:cubicBezTo>
                  <a:moveTo>
                    <a:pt x="68" y="24"/>
                  </a:moveTo>
                  <a:cubicBezTo>
                    <a:pt x="69" y="24"/>
                    <a:pt x="69" y="24"/>
                    <a:pt x="69" y="24"/>
                  </a:cubicBezTo>
                  <a:cubicBezTo>
                    <a:pt x="74" y="23"/>
                    <a:pt x="76" y="14"/>
                    <a:pt x="77" y="9"/>
                  </a:cubicBezTo>
                  <a:cubicBezTo>
                    <a:pt x="77" y="5"/>
                    <a:pt x="78" y="5"/>
                    <a:pt x="80" y="5"/>
                  </a:cubicBezTo>
                  <a:cubicBezTo>
                    <a:pt x="81" y="5"/>
                    <a:pt x="81" y="5"/>
                    <a:pt x="81" y="5"/>
                  </a:cubicBezTo>
                  <a:cubicBezTo>
                    <a:pt x="82" y="5"/>
                    <a:pt x="82" y="5"/>
                    <a:pt x="82" y="5"/>
                  </a:cubicBezTo>
                  <a:cubicBezTo>
                    <a:pt x="83" y="5"/>
                    <a:pt x="84" y="5"/>
                    <a:pt x="85" y="9"/>
                  </a:cubicBezTo>
                  <a:cubicBezTo>
                    <a:pt x="86" y="14"/>
                    <a:pt x="88" y="20"/>
                    <a:pt x="91" y="23"/>
                  </a:cubicBezTo>
                  <a:cubicBezTo>
                    <a:pt x="92" y="23"/>
                    <a:pt x="92" y="24"/>
                    <a:pt x="93" y="24"/>
                  </a:cubicBezTo>
                  <a:cubicBezTo>
                    <a:pt x="93" y="24"/>
                    <a:pt x="93" y="24"/>
                    <a:pt x="93" y="24"/>
                  </a:cubicBezTo>
                  <a:cubicBezTo>
                    <a:pt x="98" y="24"/>
                    <a:pt x="103" y="17"/>
                    <a:pt x="105" y="13"/>
                  </a:cubicBezTo>
                  <a:cubicBezTo>
                    <a:pt x="106" y="12"/>
                    <a:pt x="107" y="10"/>
                    <a:pt x="108" y="10"/>
                  </a:cubicBezTo>
                  <a:cubicBezTo>
                    <a:pt x="109" y="10"/>
                    <a:pt x="110" y="10"/>
                    <a:pt x="110" y="10"/>
                  </a:cubicBezTo>
                  <a:cubicBezTo>
                    <a:pt x="111" y="11"/>
                    <a:pt x="111" y="11"/>
                    <a:pt x="111" y="11"/>
                  </a:cubicBezTo>
                  <a:cubicBezTo>
                    <a:pt x="113" y="12"/>
                    <a:pt x="114" y="12"/>
                    <a:pt x="113" y="16"/>
                  </a:cubicBezTo>
                  <a:cubicBezTo>
                    <a:pt x="112" y="21"/>
                    <a:pt x="111" y="27"/>
                    <a:pt x="113" y="31"/>
                  </a:cubicBezTo>
                  <a:cubicBezTo>
                    <a:pt x="113" y="31"/>
                    <a:pt x="114" y="32"/>
                    <a:pt x="115" y="32"/>
                  </a:cubicBezTo>
                  <a:cubicBezTo>
                    <a:pt x="115" y="32"/>
                    <a:pt x="116" y="32"/>
                    <a:pt x="117" y="32"/>
                  </a:cubicBezTo>
                  <a:cubicBezTo>
                    <a:pt x="121" y="32"/>
                    <a:pt x="127" y="30"/>
                    <a:pt x="130" y="27"/>
                  </a:cubicBezTo>
                  <a:cubicBezTo>
                    <a:pt x="132" y="26"/>
                    <a:pt x="133" y="25"/>
                    <a:pt x="134" y="25"/>
                  </a:cubicBezTo>
                  <a:cubicBezTo>
                    <a:pt x="135" y="25"/>
                    <a:pt x="135" y="26"/>
                    <a:pt x="136" y="27"/>
                  </a:cubicBezTo>
                  <a:cubicBezTo>
                    <a:pt x="137" y="27"/>
                    <a:pt x="137" y="27"/>
                    <a:pt x="137" y="27"/>
                  </a:cubicBezTo>
                  <a:cubicBezTo>
                    <a:pt x="138" y="29"/>
                    <a:pt x="139" y="29"/>
                    <a:pt x="136" y="33"/>
                  </a:cubicBezTo>
                  <a:cubicBezTo>
                    <a:pt x="133" y="37"/>
                    <a:pt x="130" y="43"/>
                    <a:pt x="131" y="47"/>
                  </a:cubicBezTo>
                  <a:cubicBezTo>
                    <a:pt x="131" y="47"/>
                    <a:pt x="131" y="48"/>
                    <a:pt x="131" y="48"/>
                  </a:cubicBezTo>
                  <a:cubicBezTo>
                    <a:pt x="133" y="50"/>
                    <a:pt x="136" y="51"/>
                    <a:pt x="140" y="51"/>
                  </a:cubicBezTo>
                  <a:cubicBezTo>
                    <a:pt x="143" y="51"/>
                    <a:pt x="145" y="50"/>
                    <a:pt x="148" y="50"/>
                  </a:cubicBezTo>
                  <a:cubicBezTo>
                    <a:pt x="149" y="50"/>
                    <a:pt x="150" y="49"/>
                    <a:pt x="151" y="49"/>
                  </a:cubicBezTo>
                  <a:cubicBezTo>
                    <a:pt x="152" y="49"/>
                    <a:pt x="153" y="50"/>
                    <a:pt x="153" y="52"/>
                  </a:cubicBezTo>
                  <a:cubicBezTo>
                    <a:pt x="154" y="52"/>
                    <a:pt x="154" y="52"/>
                    <a:pt x="154" y="52"/>
                  </a:cubicBezTo>
                  <a:cubicBezTo>
                    <a:pt x="154" y="54"/>
                    <a:pt x="155" y="55"/>
                    <a:pt x="151" y="57"/>
                  </a:cubicBezTo>
                  <a:cubicBezTo>
                    <a:pt x="147" y="60"/>
                    <a:pt x="142" y="64"/>
                    <a:pt x="141" y="68"/>
                  </a:cubicBezTo>
                  <a:cubicBezTo>
                    <a:pt x="140" y="69"/>
                    <a:pt x="140" y="69"/>
                    <a:pt x="141" y="70"/>
                  </a:cubicBezTo>
                  <a:cubicBezTo>
                    <a:pt x="142" y="74"/>
                    <a:pt x="151" y="77"/>
                    <a:pt x="155" y="78"/>
                  </a:cubicBezTo>
                  <a:cubicBezTo>
                    <a:pt x="160" y="78"/>
                    <a:pt x="160" y="79"/>
                    <a:pt x="160" y="81"/>
                  </a:cubicBezTo>
                  <a:cubicBezTo>
                    <a:pt x="160" y="82"/>
                    <a:pt x="160" y="82"/>
                    <a:pt x="160" y="82"/>
                  </a:cubicBezTo>
                  <a:cubicBezTo>
                    <a:pt x="160" y="82"/>
                    <a:pt x="160" y="82"/>
                    <a:pt x="160" y="82"/>
                  </a:cubicBezTo>
                  <a:cubicBezTo>
                    <a:pt x="160" y="84"/>
                    <a:pt x="160" y="85"/>
                    <a:pt x="155" y="86"/>
                  </a:cubicBezTo>
                  <a:cubicBezTo>
                    <a:pt x="150" y="87"/>
                    <a:pt x="144" y="89"/>
                    <a:pt x="142" y="92"/>
                  </a:cubicBezTo>
                  <a:cubicBezTo>
                    <a:pt x="141" y="92"/>
                    <a:pt x="141" y="93"/>
                    <a:pt x="141" y="93"/>
                  </a:cubicBezTo>
                  <a:cubicBezTo>
                    <a:pt x="141" y="98"/>
                    <a:pt x="148" y="104"/>
                    <a:pt x="152" y="106"/>
                  </a:cubicBezTo>
                  <a:cubicBezTo>
                    <a:pt x="155" y="108"/>
                    <a:pt x="155" y="109"/>
                    <a:pt x="154" y="111"/>
                  </a:cubicBezTo>
                  <a:cubicBezTo>
                    <a:pt x="154" y="112"/>
                    <a:pt x="154" y="112"/>
                    <a:pt x="154" y="112"/>
                  </a:cubicBezTo>
                  <a:cubicBezTo>
                    <a:pt x="153" y="114"/>
                    <a:pt x="153" y="114"/>
                    <a:pt x="151" y="114"/>
                  </a:cubicBezTo>
                  <a:cubicBezTo>
                    <a:pt x="150" y="114"/>
                    <a:pt x="149" y="114"/>
                    <a:pt x="148" y="114"/>
                  </a:cubicBezTo>
                  <a:cubicBezTo>
                    <a:pt x="145" y="113"/>
                    <a:pt x="142" y="113"/>
                    <a:pt x="140" y="113"/>
                  </a:cubicBezTo>
                  <a:cubicBezTo>
                    <a:pt x="137" y="113"/>
                    <a:pt x="135" y="113"/>
                    <a:pt x="133" y="114"/>
                  </a:cubicBezTo>
                  <a:cubicBezTo>
                    <a:pt x="133" y="114"/>
                    <a:pt x="132" y="114"/>
                    <a:pt x="132" y="115"/>
                  </a:cubicBezTo>
                  <a:cubicBezTo>
                    <a:pt x="130" y="119"/>
                    <a:pt x="134" y="127"/>
                    <a:pt x="137" y="131"/>
                  </a:cubicBezTo>
                  <a:cubicBezTo>
                    <a:pt x="139" y="134"/>
                    <a:pt x="139" y="135"/>
                    <a:pt x="137" y="136"/>
                  </a:cubicBezTo>
                  <a:cubicBezTo>
                    <a:pt x="137" y="137"/>
                    <a:pt x="137" y="137"/>
                    <a:pt x="137" y="137"/>
                  </a:cubicBezTo>
                  <a:cubicBezTo>
                    <a:pt x="136" y="138"/>
                    <a:pt x="135" y="138"/>
                    <a:pt x="135" y="138"/>
                  </a:cubicBezTo>
                  <a:cubicBezTo>
                    <a:pt x="134" y="138"/>
                    <a:pt x="133" y="138"/>
                    <a:pt x="131" y="137"/>
                  </a:cubicBezTo>
                  <a:cubicBezTo>
                    <a:pt x="127" y="134"/>
                    <a:pt x="122" y="131"/>
                    <a:pt x="118" y="131"/>
                  </a:cubicBezTo>
                  <a:cubicBezTo>
                    <a:pt x="118" y="131"/>
                    <a:pt x="118" y="131"/>
                    <a:pt x="118" y="131"/>
                  </a:cubicBezTo>
                  <a:cubicBezTo>
                    <a:pt x="117" y="131"/>
                    <a:pt x="116" y="132"/>
                    <a:pt x="116" y="133"/>
                  </a:cubicBezTo>
                  <a:cubicBezTo>
                    <a:pt x="115" y="137"/>
                    <a:pt x="116" y="143"/>
                    <a:pt x="117" y="147"/>
                  </a:cubicBezTo>
                  <a:cubicBezTo>
                    <a:pt x="118" y="151"/>
                    <a:pt x="117" y="151"/>
                    <a:pt x="115" y="152"/>
                  </a:cubicBezTo>
                  <a:cubicBezTo>
                    <a:pt x="114" y="152"/>
                    <a:pt x="114" y="152"/>
                    <a:pt x="114" y="152"/>
                  </a:cubicBezTo>
                  <a:cubicBezTo>
                    <a:pt x="114" y="153"/>
                    <a:pt x="113" y="153"/>
                    <a:pt x="112" y="153"/>
                  </a:cubicBezTo>
                  <a:cubicBezTo>
                    <a:pt x="112" y="153"/>
                    <a:pt x="110" y="152"/>
                    <a:pt x="109" y="150"/>
                  </a:cubicBezTo>
                  <a:cubicBezTo>
                    <a:pt x="107" y="147"/>
                    <a:pt x="101" y="140"/>
                    <a:pt x="96" y="140"/>
                  </a:cubicBezTo>
                  <a:cubicBezTo>
                    <a:pt x="96" y="140"/>
                    <a:pt x="96" y="140"/>
                    <a:pt x="96" y="140"/>
                  </a:cubicBezTo>
                  <a:cubicBezTo>
                    <a:pt x="95" y="140"/>
                    <a:pt x="95" y="140"/>
                    <a:pt x="94" y="141"/>
                  </a:cubicBezTo>
                  <a:cubicBezTo>
                    <a:pt x="92" y="143"/>
                    <a:pt x="90" y="150"/>
                    <a:pt x="89" y="155"/>
                  </a:cubicBezTo>
                  <a:cubicBezTo>
                    <a:pt x="89" y="159"/>
                    <a:pt x="88" y="159"/>
                    <a:pt x="86" y="159"/>
                  </a:cubicBezTo>
                  <a:cubicBezTo>
                    <a:pt x="85" y="159"/>
                    <a:pt x="85" y="159"/>
                    <a:pt x="85" y="159"/>
                  </a:cubicBezTo>
                  <a:cubicBezTo>
                    <a:pt x="84" y="159"/>
                    <a:pt x="84" y="159"/>
                    <a:pt x="84" y="159"/>
                  </a:cubicBezTo>
                  <a:cubicBezTo>
                    <a:pt x="83" y="159"/>
                    <a:pt x="82" y="159"/>
                    <a:pt x="81" y="155"/>
                  </a:cubicBezTo>
                  <a:cubicBezTo>
                    <a:pt x="80" y="151"/>
                    <a:pt x="77" y="142"/>
                    <a:pt x="72" y="141"/>
                  </a:cubicBezTo>
                  <a:cubicBezTo>
                    <a:pt x="72" y="141"/>
                    <a:pt x="72" y="141"/>
                    <a:pt x="72" y="141"/>
                  </a:cubicBezTo>
                  <a:cubicBezTo>
                    <a:pt x="71" y="141"/>
                    <a:pt x="71" y="141"/>
                    <a:pt x="71" y="141"/>
                  </a:cubicBezTo>
                  <a:cubicBezTo>
                    <a:pt x="67" y="142"/>
                    <a:pt x="63" y="147"/>
                    <a:pt x="61" y="152"/>
                  </a:cubicBezTo>
                  <a:cubicBezTo>
                    <a:pt x="60" y="153"/>
                    <a:pt x="59" y="155"/>
                    <a:pt x="58" y="155"/>
                  </a:cubicBezTo>
                  <a:cubicBezTo>
                    <a:pt x="57" y="155"/>
                    <a:pt x="56" y="154"/>
                    <a:pt x="56" y="154"/>
                  </a:cubicBezTo>
                  <a:cubicBezTo>
                    <a:pt x="55" y="154"/>
                    <a:pt x="55" y="154"/>
                    <a:pt x="55" y="154"/>
                  </a:cubicBezTo>
                  <a:cubicBezTo>
                    <a:pt x="53" y="153"/>
                    <a:pt x="52" y="153"/>
                    <a:pt x="53" y="149"/>
                  </a:cubicBezTo>
                  <a:cubicBezTo>
                    <a:pt x="54" y="144"/>
                    <a:pt x="54" y="135"/>
                    <a:pt x="51" y="132"/>
                  </a:cubicBezTo>
                  <a:cubicBezTo>
                    <a:pt x="50" y="132"/>
                    <a:pt x="50" y="132"/>
                    <a:pt x="49" y="132"/>
                  </a:cubicBezTo>
                  <a:cubicBezTo>
                    <a:pt x="45" y="132"/>
                    <a:pt x="39" y="135"/>
                    <a:pt x="35" y="138"/>
                  </a:cubicBezTo>
                  <a:cubicBezTo>
                    <a:pt x="33" y="139"/>
                    <a:pt x="32" y="140"/>
                    <a:pt x="32" y="140"/>
                  </a:cubicBezTo>
                  <a:cubicBezTo>
                    <a:pt x="31" y="140"/>
                    <a:pt x="31" y="139"/>
                    <a:pt x="30" y="138"/>
                  </a:cubicBezTo>
                  <a:cubicBezTo>
                    <a:pt x="29" y="138"/>
                    <a:pt x="29" y="138"/>
                    <a:pt x="29" y="138"/>
                  </a:cubicBezTo>
                  <a:cubicBezTo>
                    <a:pt x="28" y="136"/>
                    <a:pt x="27" y="136"/>
                    <a:pt x="29" y="132"/>
                  </a:cubicBezTo>
                  <a:cubicBezTo>
                    <a:pt x="32" y="128"/>
                    <a:pt x="36" y="120"/>
                    <a:pt x="34" y="116"/>
                  </a:cubicBezTo>
                  <a:cubicBezTo>
                    <a:pt x="34" y="115"/>
                    <a:pt x="33" y="115"/>
                    <a:pt x="33" y="115"/>
                  </a:cubicBezTo>
                  <a:cubicBezTo>
                    <a:pt x="31" y="114"/>
                    <a:pt x="29" y="114"/>
                    <a:pt x="27" y="114"/>
                  </a:cubicBezTo>
                  <a:cubicBezTo>
                    <a:pt x="24" y="114"/>
                    <a:pt x="21" y="114"/>
                    <a:pt x="18" y="115"/>
                  </a:cubicBezTo>
                  <a:cubicBezTo>
                    <a:pt x="16" y="115"/>
                    <a:pt x="15" y="116"/>
                    <a:pt x="15" y="116"/>
                  </a:cubicBezTo>
                  <a:cubicBezTo>
                    <a:pt x="13" y="116"/>
                    <a:pt x="13" y="115"/>
                    <a:pt x="12" y="113"/>
                  </a:cubicBezTo>
                  <a:cubicBezTo>
                    <a:pt x="12" y="113"/>
                    <a:pt x="12" y="113"/>
                    <a:pt x="12" y="113"/>
                  </a:cubicBezTo>
                  <a:cubicBezTo>
                    <a:pt x="11" y="111"/>
                    <a:pt x="11" y="110"/>
                    <a:pt x="14" y="108"/>
                  </a:cubicBezTo>
                  <a:cubicBezTo>
                    <a:pt x="18" y="105"/>
                    <a:pt x="25" y="99"/>
                    <a:pt x="25" y="95"/>
                  </a:cubicBezTo>
                  <a:cubicBezTo>
                    <a:pt x="25" y="94"/>
                    <a:pt x="24" y="93"/>
                    <a:pt x="24" y="93"/>
                  </a:cubicBezTo>
                  <a:cubicBezTo>
                    <a:pt x="21" y="90"/>
                    <a:pt x="15" y="88"/>
                    <a:pt x="10" y="87"/>
                  </a:cubicBezTo>
                  <a:cubicBezTo>
                    <a:pt x="6" y="87"/>
                    <a:pt x="6" y="86"/>
                    <a:pt x="6" y="84"/>
                  </a:cubicBezTo>
                  <a:cubicBezTo>
                    <a:pt x="6" y="83"/>
                    <a:pt x="6" y="83"/>
                    <a:pt x="6" y="83"/>
                  </a:cubicBezTo>
                  <a:cubicBezTo>
                    <a:pt x="6" y="81"/>
                    <a:pt x="6" y="80"/>
                    <a:pt x="10" y="79"/>
                  </a:cubicBezTo>
                  <a:cubicBezTo>
                    <a:pt x="14" y="78"/>
                    <a:pt x="23" y="76"/>
                    <a:pt x="24" y="71"/>
                  </a:cubicBezTo>
                  <a:cubicBezTo>
                    <a:pt x="24" y="70"/>
                    <a:pt x="24" y="70"/>
                    <a:pt x="24" y="69"/>
                  </a:cubicBezTo>
                  <a:cubicBezTo>
                    <a:pt x="23" y="66"/>
                    <a:pt x="18" y="61"/>
                    <a:pt x="14" y="59"/>
                  </a:cubicBezTo>
                  <a:cubicBezTo>
                    <a:pt x="10" y="57"/>
                    <a:pt x="10" y="56"/>
                    <a:pt x="11" y="54"/>
                  </a:cubicBezTo>
                  <a:cubicBezTo>
                    <a:pt x="11" y="53"/>
                    <a:pt x="11" y="53"/>
                    <a:pt x="11" y="53"/>
                  </a:cubicBezTo>
                  <a:cubicBezTo>
                    <a:pt x="12" y="51"/>
                    <a:pt x="12" y="51"/>
                    <a:pt x="14" y="51"/>
                  </a:cubicBezTo>
                  <a:cubicBezTo>
                    <a:pt x="15" y="51"/>
                    <a:pt x="16" y="51"/>
                    <a:pt x="17" y="51"/>
                  </a:cubicBezTo>
                  <a:cubicBezTo>
                    <a:pt x="19" y="52"/>
                    <a:pt x="21" y="52"/>
                    <a:pt x="24" y="52"/>
                  </a:cubicBezTo>
                  <a:cubicBezTo>
                    <a:pt x="27" y="52"/>
                    <a:pt x="31" y="52"/>
                    <a:pt x="33" y="49"/>
                  </a:cubicBezTo>
                  <a:cubicBezTo>
                    <a:pt x="34" y="49"/>
                    <a:pt x="34" y="48"/>
                    <a:pt x="34" y="48"/>
                  </a:cubicBezTo>
                  <a:cubicBezTo>
                    <a:pt x="34" y="44"/>
                    <a:pt x="31" y="38"/>
                    <a:pt x="28" y="34"/>
                  </a:cubicBezTo>
                  <a:cubicBezTo>
                    <a:pt x="25" y="31"/>
                    <a:pt x="26" y="30"/>
                    <a:pt x="28" y="28"/>
                  </a:cubicBezTo>
                  <a:cubicBezTo>
                    <a:pt x="28" y="28"/>
                    <a:pt x="28" y="28"/>
                    <a:pt x="28" y="28"/>
                  </a:cubicBezTo>
                  <a:cubicBezTo>
                    <a:pt x="29" y="27"/>
                    <a:pt x="30" y="26"/>
                    <a:pt x="30" y="26"/>
                  </a:cubicBezTo>
                  <a:cubicBezTo>
                    <a:pt x="31" y="26"/>
                    <a:pt x="32" y="27"/>
                    <a:pt x="34" y="28"/>
                  </a:cubicBezTo>
                  <a:cubicBezTo>
                    <a:pt x="37" y="31"/>
                    <a:pt x="43" y="33"/>
                    <a:pt x="47" y="33"/>
                  </a:cubicBezTo>
                  <a:cubicBezTo>
                    <a:pt x="48" y="33"/>
                    <a:pt x="49" y="33"/>
                    <a:pt x="49" y="32"/>
                  </a:cubicBezTo>
                  <a:cubicBezTo>
                    <a:pt x="51" y="28"/>
                    <a:pt x="50" y="22"/>
                    <a:pt x="49" y="17"/>
                  </a:cubicBezTo>
                  <a:cubicBezTo>
                    <a:pt x="48" y="13"/>
                    <a:pt x="49" y="13"/>
                    <a:pt x="51" y="12"/>
                  </a:cubicBezTo>
                  <a:cubicBezTo>
                    <a:pt x="52" y="12"/>
                    <a:pt x="52" y="12"/>
                    <a:pt x="52" y="12"/>
                  </a:cubicBezTo>
                  <a:cubicBezTo>
                    <a:pt x="52" y="11"/>
                    <a:pt x="53" y="11"/>
                    <a:pt x="54" y="11"/>
                  </a:cubicBezTo>
                  <a:cubicBezTo>
                    <a:pt x="55" y="11"/>
                    <a:pt x="56" y="13"/>
                    <a:pt x="57" y="14"/>
                  </a:cubicBezTo>
                  <a:cubicBezTo>
                    <a:pt x="59" y="18"/>
                    <a:pt x="64" y="23"/>
                    <a:pt x="67" y="24"/>
                  </a:cubicBezTo>
                  <a:cubicBezTo>
                    <a:pt x="68" y="24"/>
                    <a:pt x="68" y="24"/>
                    <a:pt x="68" y="24"/>
                  </a:cubicBezTo>
                  <a:moveTo>
                    <a:pt x="82" y="0"/>
                  </a:moveTo>
                  <a:cubicBezTo>
                    <a:pt x="81" y="0"/>
                    <a:pt x="81" y="0"/>
                    <a:pt x="81" y="0"/>
                  </a:cubicBezTo>
                  <a:cubicBezTo>
                    <a:pt x="80" y="0"/>
                    <a:pt x="80" y="0"/>
                    <a:pt x="80" y="0"/>
                  </a:cubicBezTo>
                  <a:cubicBezTo>
                    <a:pt x="77" y="0"/>
                    <a:pt x="73" y="1"/>
                    <a:pt x="72" y="9"/>
                  </a:cubicBezTo>
                  <a:cubicBezTo>
                    <a:pt x="71" y="14"/>
                    <a:pt x="69" y="18"/>
                    <a:pt x="68" y="19"/>
                  </a:cubicBezTo>
                  <a:cubicBezTo>
                    <a:pt x="66" y="18"/>
                    <a:pt x="63" y="15"/>
                    <a:pt x="61" y="12"/>
                  </a:cubicBezTo>
                  <a:cubicBezTo>
                    <a:pt x="59" y="8"/>
                    <a:pt x="56" y="6"/>
                    <a:pt x="54" y="6"/>
                  </a:cubicBezTo>
                  <a:cubicBezTo>
                    <a:pt x="52" y="6"/>
                    <a:pt x="51" y="7"/>
                    <a:pt x="50" y="7"/>
                  </a:cubicBezTo>
                  <a:cubicBezTo>
                    <a:pt x="49" y="7"/>
                    <a:pt x="49" y="7"/>
                    <a:pt x="49" y="7"/>
                  </a:cubicBezTo>
                  <a:cubicBezTo>
                    <a:pt x="46" y="8"/>
                    <a:pt x="42" y="10"/>
                    <a:pt x="44" y="19"/>
                  </a:cubicBezTo>
                  <a:cubicBezTo>
                    <a:pt x="45" y="22"/>
                    <a:pt x="45" y="26"/>
                    <a:pt x="45" y="28"/>
                  </a:cubicBezTo>
                  <a:cubicBezTo>
                    <a:pt x="43" y="27"/>
                    <a:pt x="39" y="26"/>
                    <a:pt x="37" y="24"/>
                  </a:cubicBezTo>
                  <a:cubicBezTo>
                    <a:pt x="34" y="22"/>
                    <a:pt x="32" y="21"/>
                    <a:pt x="30" y="21"/>
                  </a:cubicBezTo>
                  <a:cubicBezTo>
                    <a:pt x="27" y="21"/>
                    <a:pt x="26" y="23"/>
                    <a:pt x="24" y="24"/>
                  </a:cubicBezTo>
                  <a:cubicBezTo>
                    <a:pt x="24" y="25"/>
                    <a:pt x="24" y="25"/>
                    <a:pt x="24" y="25"/>
                  </a:cubicBezTo>
                  <a:cubicBezTo>
                    <a:pt x="22" y="27"/>
                    <a:pt x="19" y="30"/>
                    <a:pt x="24" y="37"/>
                  </a:cubicBezTo>
                  <a:cubicBezTo>
                    <a:pt x="26" y="40"/>
                    <a:pt x="28" y="44"/>
                    <a:pt x="29" y="46"/>
                  </a:cubicBezTo>
                  <a:cubicBezTo>
                    <a:pt x="28" y="47"/>
                    <a:pt x="26" y="47"/>
                    <a:pt x="24" y="47"/>
                  </a:cubicBezTo>
                  <a:cubicBezTo>
                    <a:pt x="22" y="47"/>
                    <a:pt x="20" y="47"/>
                    <a:pt x="18" y="46"/>
                  </a:cubicBezTo>
                  <a:cubicBezTo>
                    <a:pt x="16" y="46"/>
                    <a:pt x="15" y="46"/>
                    <a:pt x="14" y="46"/>
                  </a:cubicBezTo>
                  <a:cubicBezTo>
                    <a:pt x="9" y="46"/>
                    <a:pt x="7" y="49"/>
                    <a:pt x="7" y="51"/>
                  </a:cubicBezTo>
                  <a:cubicBezTo>
                    <a:pt x="6" y="52"/>
                    <a:pt x="6" y="52"/>
                    <a:pt x="6" y="52"/>
                  </a:cubicBezTo>
                  <a:cubicBezTo>
                    <a:pt x="5" y="55"/>
                    <a:pt x="4" y="59"/>
                    <a:pt x="11" y="63"/>
                  </a:cubicBezTo>
                  <a:cubicBezTo>
                    <a:pt x="14" y="65"/>
                    <a:pt x="18" y="68"/>
                    <a:pt x="19" y="70"/>
                  </a:cubicBezTo>
                  <a:cubicBezTo>
                    <a:pt x="18" y="71"/>
                    <a:pt x="14" y="73"/>
                    <a:pt x="9" y="74"/>
                  </a:cubicBezTo>
                  <a:cubicBezTo>
                    <a:pt x="0" y="76"/>
                    <a:pt x="1" y="81"/>
                    <a:pt x="1" y="83"/>
                  </a:cubicBezTo>
                  <a:cubicBezTo>
                    <a:pt x="1" y="84"/>
                    <a:pt x="1" y="84"/>
                    <a:pt x="1" y="84"/>
                  </a:cubicBezTo>
                  <a:cubicBezTo>
                    <a:pt x="1" y="87"/>
                    <a:pt x="1" y="92"/>
                    <a:pt x="9" y="92"/>
                  </a:cubicBezTo>
                  <a:cubicBezTo>
                    <a:pt x="14" y="93"/>
                    <a:pt x="17" y="94"/>
                    <a:pt x="19" y="96"/>
                  </a:cubicBezTo>
                  <a:cubicBezTo>
                    <a:pt x="18" y="97"/>
                    <a:pt x="15" y="101"/>
                    <a:pt x="12" y="103"/>
                  </a:cubicBezTo>
                  <a:cubicBezTo>
                    <a:pt x="4" y="108"/>
                    <a:pt x="6" y="112"/>
                    <a:pt x="7" y="115"/>
                  </a:cubicBezTo>
                  <a:cubicBezTo>
                    <a:pt x="8" y="115"/>
                    <a:pt x="8" y="115"/>
                    <a:pt x="8" y="115"/>
                  </a:cubicBezTo>
                  <a:cubicBezTo>
                    <a:pt x="9" y="117"/>
                    <a:pt x="10" y="121"/>
                    <a:pt x="15" y="121"/>
                  </a:cubicBezTo>
                  <a:cubicBezTo>
                    <a:pt x="16" y="121"/>
                    <a:pt x="17" y="120"/>
                    <a:pt x="19" y="120"/>
                  </a:cubicBezTo>
                  <a:cubicBezTo>
                    <a:pt x="22" y="119"/>
                    <a:pt x="24" y="119"/>
                    <a:pt x="27" y="119"/>
                  </a:cubicBezTo>
                  <a:cubicBezTo>
                    <a:pt x="28" y="119"/>
                    <a:pt x="29" y="119"/>
                    <a:pt x="29" y="119"/>
                  </a:cubicBezTo>
                  <a:cubicBezTo>
                    <a:pt x="29" y="121"/>
                    <a:pt x="28" y="125"/>
                    <a:pt x="25" y="129"/>
                  </a:cubicBezTo>
                  <a:cubicBezTo>
                    <a:pt x="21" y="135"/>
                    <a:pt x="23" y="139"/>
                    <a:pt x="26" y="141"/>
                  </a:cubicBezTo>
                  <a:cubicBezTo>
                    <a:pt x="26" y="142"/>
                    <a:pt x="26" y="142"/>
                    <a:pt x="26" y="142"/>
                  </a:cubicBezTo>
                  <a:cubicBezTo>
                    <a:pt x="28" y="143"/>
                    <a:pt x="29" y="145"/>
                    <a:pt x="32" y="145"/>
                  </a:cubicBezTo>
                  <a:cubicBezTo>
                    <a:pt x="32" y="145"/>
                    <a:pt x="32" y="145"/>
                    <a:pt x="32" y="145"/>
                  </a:cubicBezTo>
                  <a:cubicBezTo>
                    <a:pt x="34" y="145"/>
                    <a:pt x="36" y="144"/>
                    <a:pt x="39" y="142"/>
                  </a:cubicBezTo>
                  <a:cubicBezTo>
                    <a:pt x="42" y="139"/>
                    <a:pt x="45" y="137"/>
                    <a:pt x="48" y="137"/>
                  </a:cubicBezTo>
                  <a:cubicBezTo>
                    <a:pt x="48" y="139"/>
                    <a:pt x="49" y="143"/>
                    <a:pt x="48" y="148"/>
                  </a:cubicBezTo>
                  <a:cubicBezTo>
                    <a:pt x="46" y="156"/>
                    <a:pt x="51" y="158"/>
                    <a:pt x="53" y="159"/>
                  </a:cubicBezTo>
                  <a:cubicBezTo>
                    <a:pt x="54" y="159"/>
                    <a:pt x="54" y="159"/>
                    <a:pt x="54" y="159"/>
                  </a:cubicBezTo>
                  <a:cubicBezTo>
                    <a:pt x="55" y="159"/>
                    <a:pt x="56" y="160"/>
                    <a:pt x="58" y="160"/>
                  </a:cubicBezTo>
                  <a:cubicBezTo>
                    <a:pt x="61" y="160"/>
                    <a:pt x="63" y="158"/>
                    <a:pt x="65" y="154"/>
                  </a:cubicBezTo>
                  <a:cubicBezTo>
                    <a:pt x="67" y="151"/>
                    <a:pt x="70" y="147"/>
                    <a:pt x="72" y="146"/>
                  </a:cubicBezTo>
                  <a:cubicBezTo>
                    <a:pt x="73" y="147"/>
                    <a:pt x="75" y="151"/>
                    <a:pt x="76" y="156"/>
                  </a:cubicBezTo>
                  <a:cubicBezTo>
                    <a:pt x="77" y="162"/>
                    <a:pt x="79" y="164"/>
                    <a:pt x="84" y="164"/>
                  </a:cubicBezTo>
                  <a:cubicBezTo>
                    <a:pt x="84" y="164"/>
                    <a:pt x="85" y="164"/>
                    <a:pt x="85" y="164"/>
                  </a:cubicBezTo>
                  <a:cubicBezTo>
                    <a:pt x="86" y="164"/>
                    <a:pt x="86" y="164"/>
                    <a:pt x="86" y="164"/>
                  </a:cubicBezTo>
                  <a:cubicBezTo>
                    <a:pt x="88" y="164"/>
                    <a:pt x="93" y="164"/>
                    <a:pt x="94" y="155"/>
                  </a:cubicBezTo>
                  <a:cubicBezTo>
                    <a:pt x="95" y="151"/>
                    <a:pt x="96" y="147"/>
                    <a:pt x="97" y="145"/>
                  </a:cubicBezTo>
                  <a:cubicBezTo>
                    <a:pt x="99" y="146"/>
                    <a:pt x="102" y="149"/>
                    <a:pt x="105" y="153"/>
                  </a:cubicBezTo>
                  <a:cubicBezTo>
                    <a:pt x="107" y="156"/>
                    <a:pt x="110" y="158"/>
                    <a:pt x="112" y="158"/>
                  </a:cubicBezTo>
                  <a:cubicBezTo>
                    <a:pt x="114" y="158"/>
                    <a:pt x="115" y="157"/>
                    <a:pt x="117" y="157"/>
                  </a:cubicBezTo>
                  <a:cubicBezTo>
                    <a:pt x="117" y="156"/>
                    <a:pt x="117" y="156"/>
                    <a:pt x="117" y="156"/>
                  </a:cubicBezTo>
                  <a:cubicBezTo>
                    <a:pt x="120" y="155"/>
                    <a:pt x="124" y="153"/>
                    <a:pt x="121" y="145"/>
                  </a:cubicBezTo>
                  <a:cubicBezTo>
                    <a:pt x="121" y="142"/>
                    <a:pt x="120" y="139"/>
                    <a:pt x="120" y="136"/>
                  </a:cubicBezTo>
                  <a:cubicBezTo>
                    <a:pt x="123" y="137"/>
                    <a:pt x="125" y="139"/>
                    <a:pt x="128" y="140"/>
                  </a:cubicBezTo>
                  <a:cubicBezTo>
                    <a:pt x="130" y="142"/>
                    <a:pt x="132" y="143"/>
                    <a:pt x="135" y="143"/>
                  </a:cubicBezTo>
                  <a:cubicBezTo>
                    <a:pt x="137" y="143"/>
                    <a:pt x="139" y="142"/>
                    <a:pt x="140" y="141"/>
                  </a:cubicBezTo>
                  <a:cubicBezTo>
                    <a:pt x="141" y="140"/>
                    <a:pt x="141" y="140"/>
                    <a:pt x="141" y="140"/>
                  </a:cubicBezTo>
                  <a:cubicBezTo>
                    <a:pt x="143" y="137"/>
                    <a:pt x="145" y="134"/>
                    <a:pt x="141" y="128"/>
                  </a:cubicBezTo>
                  <a:cubicBezTo>
                    <a:pt x="138" y="124"/>
                    <a:pt x="137" y="120"/>
                    <a:pt x="137" y="118"/>
                  </a:cubicBezTo>
                  <a:cubicBezTo>
                    <a:pt x="137" y="118"/>
                    <a:pt x="138" y="118"/>
                    <a:pt x="140" y="118"/>
                  </a:cubicBezTo>
                  <a:cubicBezTo>
                    <a:pt x="142" y="118"/>
                    <a:pt x="145" y="118"/>
                    <a:pt x="147" y="118"/>
                  </a:cubicBezTo>
                  <a:cubicBezTo>
                    <a:pt x="149" y="119"/>
                    <a:pt x="150" y="119"/>
                    <a:pt x="151" y="119"/>
                  </a:cubicBezTo>
                  <a:cubicBezTo>
                    <a:pt x="156" y="119"/>
                    <a:pt x="157" y="116"/>
                    <a:pt x="158" y="114"/>
                  </a:cubicBezTo>
                  <a:cubicBezTo>
                    <a:pt x="158" y="113"/>
                    <a:pt x="158" y="113"/>
                    <a:pt x="158" y="113"/>
                  </a:cubicBezTo>
                  <a:cubicBezTo>
                    <a:pt x="160" y="111"/>
                    <a:pt x="162" y="106"/>
                    <a:pt x="154" y="102"/>
                  </a:cubicBezTo>
                  <a:cubicBezTo>
                    <a:pt x="150" y="99"/>
                    <a:pt x="147" y="96"/>
                    <a:pt x="146" y="94"/>
                  </a:cubicBezTo>
                  <a:cubicBezTo>
                    <a:pt x="148" y="93"/>
                    <a:pt x="152" y="91"/>
                    <a:pt x="156" y="91"/>
                  </a:cubicBezTo>
                  <a:cubicBezTo>
                    <a:pt x="165" y="90"/>
                    <a:pt x="165" y="85"/>
                    <a:pt x="165" y="82"/>
                  </a:cubicBezTo>
                  <a:cubicBezTo>
                    <a:pt x="165" y="82"/>
                    <a:pt x="165" y="82"/>
                    <a:pt x="165" y="82"/>
                  </a:cubicBezTo>
                  <a:cubicBezTo>
                    <a:pt x="165" y="81"/>
                    <a:pt x="165" y="81"/>
                    <a:pt x="165" y="81"/>
                  </a:cubicBezTo>
                  <a:cubicBezTo>
                    <a:pt x="165" y="79"/>
                    <a:pt x="165" y="74"/>
                    <a:pt x="156" y="73"/>
                  </a:cubicBezTo>
                  <a:cubicBezTo>
                    <a:pt x="151" y="72"/>
                    <a:pt x="147" y="70"/>
                    <a:pt x="146" y="69"/>
                  </a:cubicBezTo>
                  <a:cubicBezTo>
                    <a:pt x="147" y="67"/>
                    <a:pt x="150" y="64"/>
                    <a:pt x="154" y="62"/>
                  </a:cubicBezTo>
                  <a:cubicBezTo>
                    <a:pt x="161" y="57"/>
                    <a:pt x="159" y="53"/>
                    <a:pt x="158" y="50"/>
                  </a:cubicBezTo>
                  <a:cubicBezTo>
                    <a:pt x="158" y="50"/>
                    <a:pt x="158" y="50"/>
                    <a:pt x="158" y="50"/>
                  </a:cubicBezTo>
                  <a:cubicBezTo>
                    <a:pt x="157" y="48"/>
                    <a:pt x="156" y="44"/>
                    <a:pt x="151" y="44"/>
                  </a:cubicBezTo>
                  <a:cubicBezTo>
                    <a:pt x="150" y="44"/>
                    <a:pt x="148" y="45"/>
                    <a:pt x="147" y="45"/>
                  </a:cubicBezTo>
                  <a:cubicBezTo>
                    <a:pt x="145" y="45"/>
                    <a:pt x="142" y="46"/>
                    <a:pt x="140" y="46"/>
                  </a:cubicBezTo>
                  <a:cubicBezTo>
                    <a:pt x="138" y="46"/>
                    <a:pt x="137" y="45"/>
                    <a:pt x="136" y="45"/>
                  </a:cubicBezTo>
                  <a:cubicBezTo>
                    <a:pt x="136" y="43"/>
                    <a:pt x="138" y="39"/>
                    <a:pt x="140" y="36"/>
                  </a:cubicBezTo>
                  <a:cubicBezTo>
                    <a:pt x="146" y="29"/>
                    <a:pt x="142" y="26"/>
                    <a:pt x="140" y="24"/>
                  </a:cubicBezTo>
                  <a:cubicBezTo>
                    <a:pt x="140" y="23"/>
                    <a:pt x="140" y="23"/>
                    <a:pt x="140" y="23"/>
                  </a:cubicBezTo>
                  <a:cubicBezTo>
                    <a:pt x="138" y="22"/>
                    <a:pt x="137" y="20"/>
                    <a:pt x="134" y="20"/>
                  </a:cubicBezTo>
                  <a:cubicBezTo>
                    <a:pt x="132" y="20"/>
                    <a:pt x="130" y="21"/>
                    <a:pt x="127" y="23"/>
                  </a:cubicBezTo>
                  <a:cubicBezTo>
                    <a:pt x="124" y="25"/>
                    <a:pt x="120" y="27"/>
                    <a:pt x="117" y="28"/>
                  </a:cubicBezTo>
                  <a:cubicBezTo>
                    <a:pt x="117" y="25"/>
                    <a:pt x="117" y="21"/>
                    <a:pt x="118" y="17"/>
                  </a:cubicBezTo>
                  <a:cubicBezTo>
                    <a:pt x="120" y="9"/>
                    <a:pt x="115" y="7"/>
                    <a:pt x="113" y="6"/>
                  </a:cubicBezTo>
                  <a:cubicBezTo>
                    <a:pt x="112" y="6"/>
                    <a:pt x="112" y="6"/>
                    <a:pt x="112" y="6"/>
                  </a:cubicBezTo>
                  <a:cubicBezTo>
                    <a:pt x="111" y="5"/>
                    <a:pt x="110" y="5"/>
                    <a:pt x="108" y="5"/>
                  </a:cubicBezTo>
                  <a:cubicBezTo>
                    <a:pt x="106" y="5"/>
                    <a:pt x="103" y="7"/>
                    <a:pt x="101" y="10"/>
                  </a:cubicBezTo>
                  <a:cubicBezTo>
                    <a:pt x="99" y="14"/>
                    <a:pt x="95" y="17"/>
                    <a:pt x="94" y="18"/>
                  </a:cubicBezTo>
                  <a:cubicBezTo>
                    <a:pt x="92" y="17"/>
                    <a:pt x="91" y="13"/>
                    <a:pt x="90" y="9"/>
                  </a:cubicBezTo>
                  <a:cubicBezTo>
                    <a:pt x="89" y="3"/>
                    <a:pt x="87" y="0"/>
                    <a:pt x="8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7" name="Freeform 21276">
              <a:extLst>
                <a:ext uri="{FF2B5EF4-FFF2-40B4-BE49-F238E27FC236}">
                  <a16:creationId xmlns:a16="http://schemas.microsoft.com/office/drawing/2014/main" id="{6BC26000-6FF9-42C1-BA6A-A8969453A0B8}"/>
                </a:ext>
              </a:extLst>
            </p:cNvPr>
            <p:cNvSpPr>
              <a:spLocks noEditPoints="1"/>
            </p:cNvSpPr>
            <p:nvPr userDrawn="1"/>
          </p:nvSpPr>
          <p:spPr bwMode="auto">
            <a:xfrm>
              <a:off x="7238489" y="5733499"/>
              <a:ext cx="59194" cy="59194"/>
            </a:xfrm>
            <a:custGeom>
              <a:avLst/>
              <a:gdLst>
                <a:gd name="T0" fmla="*/ 20 w 40"/>
                <a:gd name="T1" fmla="*/ 30 h 40"/>
                <a:gd name="T2" fmla="*/ 13 w 40"/>
                <a:gd name="T3" fmla="*/ 27 h 40"/>
                <a:gd name="T4" fmla="*/ 13 w 40"/>
                <a:gd name="T5" fmla="*/ 13 h 40"/>
                <a:gd name="T6" fmla="*/ 20 w 40"/>
                <a:gd name="T7" fmla="*/ 10 h 40"/>
                <a:gd name="T8" fmla="*/ 27 w 40"/>
                <a:gd name="T9" fmla="*/ 13 h 40"/>
                <a:gd name="T10" fmla="*/ 30 w 40"/>
                <a:gd name="T11" fmla="*/ 20 h 40"/>
                <a:gd name="T12" fmla="*/ 27 w 40"/>
                <a:gd name="T13" fmla="*/ 27 h 40"/>
                <a:gd name="T14" fmla="*/ 20 w 40"/>
                <a:gd name="T15" fmla="*/ 30 h 40"/>
                <a:gd name="T16" fmla="*/ 20 w 40"/>
                <a:gd name="T17" fmla="*/ 7 h 40"/>
                <a:gd name="T18" fmla="*/ 10 w 40"/>
                <a:gd name="T19" fmla="*/ 11 h 40"/>
                <a:gd name="T20" fmla="*/ 10 w 40"/>
                <a:gd name="T21" fmla="*/ 30 h 40"/>
                <a:gd name="T22" fmla="*/ 20 w 40"/>
                <a:gd name="T23" fmla="*/ 33 h 40"/>
                <a:gd name="T24" fmla="*/ 29 w 40"/>
                <a:gd name="T25" fmla="*/ 30 h 40"/>
                <a:gd name="T26" fmla="*/ 33 w 40"/>
                <a:gd name="T27" fmla="*/ 20 h 40"/>
                <a:gd name="T28" fmla="*/ 29 w 40"/>
                <a:gd name="T29" fmla="*/ 11 h 40"/>
                <a:gd name="T30" fmla="*/ 20 w 40"/>
                <a:gd name="T31" fmla="*/ 7 h 40"/>
                <a:gd name="T32" fmla="*/ 20 w 40"/>
                <a:gd name="T33" fmla="*/ 37 h 40"/>
                <a:gd name="T34" fmla="*/ 8 w 40"/>
                <a:gd name="T35" fmla="*/ 32 h 40"/>
                <a:gd name="T36" fmla="*/ 3 w 40"/>
                <a:gd name="T37" fmla="*/ 20 h 40"/>
                <a:gd name="T38" fmla="*/ 8 w 40"/>
                <a:gd name="T39" fmla="*/ 8 h 40"/>
                <a:gd name="T40" fmla="*/ 20 w 40"/>
                <a:gd name="T41" fmla="*/ 3 h 40"/>
                <a:gd name="T42" fmla="*/ 32 w 40"/>
                <a:gd name="T43" fmla="*/ 8 h 40"/>
                <a:gd name="T44" fmla="*/ 36 w 40"/>
                <a:gd name="T45" fmla="*/ 20 h 40"/>
                <a:gd name="T46" fmla="*/ 32 w 40"/>
                <a:gd name="T47" fmla="*/ 32 h 40"/>
                <a:gd name="T48" fmla="*/ 20 w 40"/>
                <a:gd name="T49" fmla="*/ 37 h 40"/>
                <a:gd name="T50" fmla="*/ 20 w 40"/>
                <a:gd name="T51" fmla="*/ 0 h 40"/>
                <a:gd name="T52" fmla="*/ 5 w 40"/>
                <a:gd name="T53" fmla="*/ 6 h 40"/>
                <a:gd name="T54" fmla="*/ 0 w 40"/>
                <a:gd name="T55" fmla="*/ 20 h 40"/>
                <a:gd name="T56" fmla="*/ 6 w 40"/>
                <a:gd name="T57" fmla="*/ 35 h 40"/>
                <a:gd name="T58" fmla="*/ 20 w 40"/>
                <a:gd name="T59" fmla="*/ 40 h 40"/>
                <a:gd name="T60" fmla="*/ 34 w 40"/>
                <a:gd name="T61" fmla="*/ 34 h 40"/>
                <a:gd name="T62" fmla="*/ 40 w 40"/>
                <a:gd name="T63" fmla="*/ 20 h 40"/>
                <a:gd name="T64" fmla="*/ 34 w 40"/>
                <a:gd name="T65" fmla="*/ 6 h 40"/>
                <a:gd name="T66" fmla="*/ 20 w 40"/>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40">
                  <a:moveTo>
                    <a:pt x="20" y="30"/>
                  </a:moveTo>
                  <a:cubicBezTo>
                    <a:pt x="17" y="30"/>
                    <a:pt x="15" y="29"/>
                    <a:pt x="13" y="27"/>
                  </a:cubicBezTo>
                  <a:cubicBezTo>
                    <a:pt x="9" y="23"/>
                    <a:pt x="9" y="17"/>
                    <a:pt x="13" y="13"/>
                  </a:cubicBezTo>
                  <a:cubicBezTo>
                    <a:pt x="15" y="12"/>
                    <a:pt x="17" y="10"/>
                    <a:pt x="20" y="10"/>
                  </a:cubicBezTo>
                  <a:cubicBezTo>
                    <a:pt x="22" y="10"/>
                    <a:pt x="25" y="11"/>
                    <a:pt x="27" y="13"/>
                  </a:cubicBezTo>
                  <a:cubicBezTo>
                    <a:pt x="28" y="15"/>
                    <a:pt x="30" y="18"/>
                    <a:pt x="30" y="20"/>
                  </a:cubicBezTo>
                  <a:cubicBezTo>
                    <a:pt x="30" y="23"/>
                    <a:pt x="28" y="25"/>
                    <a:pt x="27" y="27"/>
                  </a:cubicBezTo>
                  <a:cubicBezTo>
                    <a:pt x="25" y="29"/>
                    <a:pt x="22" y="30"/>
                    <a:pt x="20" y="30"/>
                  </a:cubicBezTo>
                  <a:moveTo>
                    <a:pt x="20" y="7"/>
                  </a:moveTo>
                  <a:cubicBezTo>
                    <a:pt x="16" y="7"/>
                    <a:pt x="13" y="9"/>
                    <a:pt x="10" y="11"/>
                  </a:cubicBezTo>
                  <a:cubicBezTo>
                    <a:pt x="5" y="16"/>
                    <a:pt x="5" y="24"/>
                    <a:pt x="10" y="30"/>
                  </a:cubicBezTo>
                  <a:cubicBezTo>
                    <a:pt x="13" y="32"/>
                    <a:pt x="16" y="33"/>
                    <a:pt x="20" y="33"/>
                  </a:cubicBezTo>
                  <a:cubicBezTo>
                    <a:pt x="23" y="33"/>
                    <a:pt x="26" y="32"/>
                    <a:pt x="29" y="30"/>
                  </a:cubicBezTo>
                  <a:cubicBezTo>
                    <a:pt x="31" y="27"/>
                    <a:pt x="33" y="24"/>
                    <a:pt x="33" y="20"/>
                  </a:cubicBezTo>
                  <a:cubicBezTo>
                    <a:pt x="33" y="17"/>
                    <a:pt x="31" y="14"/>
                    <a:pt x="29" y="11"/>
                  </a:cubicBezTo>
                  <a:cubicBezTo>
                    <a:pt x="26" y="9"/>
                    <a:pt x="23" y="7"/>
                    <a:pt x="20" y="7"/>
                  </a:cubicBezTo>
                  <a:moveTo>
                    <a:pt x="20" y="37"/>
                  </a:moveTo>
                  <a:cubicBezTo>
                    <a:pt x="15" y="37"/>
                    <a:pt x="11" y="35"/>
                    <a:pt x="8" y="32"/>
                  </a:cubicBezTo>
                  <a:cubicBezTo>
                    <a:pt x="5" y="29"/>
                    <a:pt x="3" y="25"/>
                    <a:pt x="3" y="20"/>
                  </a:cubicBezTo>
                  <a:cubicBezTo>
                    <a:pt x="3" y="16"/>
                    <a:pt x="5" y="12"/>
                    <a:pt x="8" y="8"/>
                  </a:cubicBezTo>
                  <a:cubicBezTo>
                    <a:pt x="11" y="5"/>
                    <a:pt x="15" y="3"/>
                    <a:pt x="20" y="3"/>
                  </a:cubicBezTo>
                  <a:cubicBezTo>
                    <a:pt x="24" y="3"/>
                    <a:pt x="28" y="5"/>
                    <a:pt x="32" y="8"/>
                  </a:cubicBezTo>
                  <a:cubicBezTo>
                    <a:pt x="35" y="12"/>
                    <a:pt x="36" y="16"/>
                    <a:pt x="36" y="20"/>
                  </a:cubicBezTo>
                  <a:cubicBezTo>
                    <a:pt x="36" y="25"/>
                    <a:pt x="35" y="29"/>
                    <a:pt x="32" y="32"/>
                  </a:cubicBezTo>
                  <a:cubicBezTo>
                    <a:pt x="28" y="35"/>
                    <a:pt x="24" y="37"/>
                    <a:pt x="20" y="37"/>
                  </a:cubicBezTo>
                  <a:moveTo>
                    <a:pt x="20" y="0"/>
                  </a:moveTo>
                  <a:cubicBezTo>
                    <a:pt x="14" y="0"/>
                    <a:pt x="9" y="2"/>
                    <a:pt x="5" y="6"/>
                  </a:cubicBezTo>
                  <a:cubicBezTo>
                    <a:pt x="2" y="10"/>
                    <a:pt x="0" y="15"/>
                    <a:pt x="0" y="20"/>
                  </a:cubicBezTo>
                  <a:cubicBezTo>
                    <a:pt x="0" y="26"/>
                    <a:pt x="2" y="31"/>
                    <a:pt x="6" y="35"/>
                  </a:cubicBezTo>
                  <a:cubicBezTo>
                    <a:pt x="9" y="38"/>
                    <a:pt x="14" y="40"/>
                    <a:pt x="20" y="40"/>
                  </a:cubicBezTo>
                  <a:cubicBezTo>
                    <a:pt x="25" y="40"/>
                    <a:pt x="30" y="38"/>
                    <a:pt x="34" y="34"/>
                  </a:cubicBezTo>
                  <a:cubicBezTo>
                    <a:pt x="38" y="31"/>
                    <a:pt x="40" y="26"/>
                    <a:pt x="40" y="20"/>
                  </a:cubicBezTo>
                  <a:cubicBezTo>
                    <a:pt x="40" y="15"/>
                    <a:pt x="38" y="10"/>
                    <a:pt x="34" y="6"/>
                  </a:cubicBezTo>
                  <a:cubicBezTo>
                    <a:pt x="30" y="2"/>
                    <a:pt x="25" y="0"/>
                    <a:pt x="2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8" name="Freeform 21277">
              <a:extLst>
                <a:ext uri="{FF2B5EF4-FFF2-40B4-BE49-F238E27FC236}">
                  <a16:creationId xmlns:a16="http://schemas.microsoft.com/office/drawing/2014/main" id="{28484098-940B-48EB-97E9-05C6923CB9CE}"/>
                </a:ext>
              </a:extLst>
            </p:cNvPr>
            <p:cNvSpPr>
              <a:spLocks noEditPoints="1"/>
            </p:cNvSpPr>
            <p:nvPr userDrawn="1"/>
          </p:nvSpPr>
          <p:spPr bwMode="auto">
            <a:xfrm>
              <a:off x="7244292" y="5470031"/>
              <a:ext cx="61515" cy="61515"/>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3" name="Freeform 21292">
              <a:extLst>
                <a:ext uri="{FF2B5EF4-FFF2-40B4-BE49-F238E27FC236}">
                  <a16:creationId xmlns:a16="http://schemas.microsoft.com/office/drawing/2014/main" id="{35E16E75-1EE0-4342-ACA4-8521F8BC2D4E}"/>
                </a:ext>
              </a:extLst>
            </p:cNvPr>
            <p:cNvSpPr>
              <a:spLocks noEditPoints="1"/>
            </p:cNvSpPr>
            <p:nvPr userDrawn="1"/>
          </p:nvSpPr>
          <p:spPr bwMode="auto">
            <a:xfrm>
              <a:off x="7259381" y="5756712"/>
              <a:ext cx="229809" cy="228649"/>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0" name="Freeform 21299">
              <a:extLst>
                <a:ext uri="{FF2B5EF4-FFF2-40B4-BE49-F238E27FC236}">
                  <a16:creationId xmlns:a16="http://schemas.microsoft.com/office/drawing/2014/main" id="{06F68C9C-EC54-43B9-B8A0-282B1C4C4C65}"/>
                </a:ext>
              </a:extLst>
            </p:cNvPr>
            <p:cNvSpPr>
              <a:spLocks noEditPoints="1"/>
            </p:cNvSpPr>
            <p:nvPr userDrawn="1"/>
          </p:nvSpPr>
          <p:spPr bwMode="auto">
            <a:xfrm>
              <a:off x="7158403" y="5541991"/>
              <a:ext cx="178741" cy="182223"/>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3" name="Freeform 21312">
              <a:extLst>
                <a:ext uri="{FF2B5EF4-FFF2-40B4-BE49-F238E27FC236}">
                  <a16:creationId xmlns:a16="http://schemas.microsoft.com/office/drawing/2014/main" id="{431F72E9-F0B7-47B6-8205-A68E394A2797}"/>
                </a:ext>
              </a:extLst>
            </p:cNvPr>
            <p:cNvSpPr>
              <a:spLocks noEditPoints="1"/>
            </p:cNvSpPr>
            <p:nvPr userDrawn="1"/>
          </p:nvSpPr>
          <p:spPr bwMode="auto">
            <a:xfrm>
              <a:off x="7244292" y="6067767"/>
              <a:ext cx="242577" cy="242577"/>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3 h 164"/>
                <a:gd name="T12" fmla="*/ 111 w 164"/>
                <a:gd name="T13" fmla="*/ 10 h 164"/>
                <a:gd name="T14" fmla="*/ 116 w 164"/>
                <a:gd name="T15" fmla="*/ 32 h 164"/>
                <a:gd name="T16" fmla="*/ 136 w 164"/>
                <a:gd name="T17" fmla="*/ 27 h 164"/>
                <a:gd name="T18" fmla="*/ 140 w 164"/>
                <a:gd name="T19" fmla="*/ 50 h 164"/>
                <a:gd name="T20" fmla="*/ 153 w 164"/>
                <a:gd name="T21" fmla="*/ 52 h 164"/>
                <a:gd name="T22" fmla="*/ 155 w 164"/>
                <a:gd name="T23" fmla="*/ 77 h 164"/>
                <a:gd name="T24" fmla="*/ 155 w 164"/>
                <a:gd name="T25" fmla="*/ 86 h 164"/>
                <a:gd name="T26" fmla="*/ 153 w 164"/>
                <a:gd name="T27" fmla="*/ 111 h 164"/>
                <a:gd name="T28" fmla="*/ 139 w 164"/>
                <a:gd name="T29" fmla="*/ 112 h 164"/>
                <a:gd name="T30" fmla="*/ 137 w 164"/>
                <a:gd name="T31" fmla="*/ 136 h 164"/>
                <a:gd name="T32" fmla="*/ 118 w 164"/>
                <a:gd name="T33" fmla="*/ 131 h 164"/>
                <a:gd name="T34" fmla="*/ 115 w 164"/>
                <a:gd name="T35" fmla="*/ 152 h 164"/>
                <a:gd name="T36" fmla="*/ 96 w 164"/>
                <a:gd name="T37" fmla="*/ 140 h 164"/>
                <a:gd name="T38" fmla="*/ 84 w 164"/>
                <a:gd name="T39" fmla="*/ 159 h 164"/>
                <a:gd name="T40" fmla="*/ 71 w 164"/>
                <a:gd name="T41" fmla="*/ 140 h 164"/>
                <a:gd name="T42" fmla="*/ 55 w 164"/>
                <a:gd name="T43" fmla="*/ 154 h 164"/>
                <a:gd name="T44" fmla="*/ 48 w 164"/>
                <a:gd name="T45" fmla="*/ 131 h 164"/>
                <a:gd name="T46" fmla="*/ 29 w 164"/>
                <a:gd name="T47" fmla="*/ 137 h 164"/>
                <a:gd name="T48" fmla="*/ 26 w 164"/>
                <a:gd name="T49" fmla="*/ 114 h 164"/>
                <a:gd name="T50" fmla="*/ 11 w 164"/>
                <a:gd name="T51" fmla="*/ 112 h 164"/>
                <a:gd name="T52" fmla="*/ 9 w 164"/>
                <a:gd name="T53" fmla="*/ 87 h 164"/>
                <a:gd name="T54" fmla="*/ 24 w 164"/>
                <a:gd name="T55" fmla="*/ 71 h 164"/>
                <a:gd name="T56" fmla="*/ 11 w 164"/>
                <a:gd name="T57" fmla="*/ 53 h 164"/>
                <a:gd name="T58" fmla="*/ 33 w 164"/>
                <a:gd name="T59" fmla="*/ 49 h 164"/>
                <a:gd name="T60" fmla="*/ 28 w 164"/>
                <a:gd name="T61" fmla="*/ 28 h 164"/>
                <a:gd name="T62" fmla="*/ 49 w 164"/>
                <a:gd name="T63" fmla="*/ 31 h 164"/>
                <a:gd name="T64" fmla="*/ 53 w 164"/>
                <a:gd name="T65" fmla="*/ 11 h 164"/>
                <a:gd name="T66" fmla="*/ 69 w 164"/>
                <a:gd name="T67" fmla="*/ 24 h 164"/>
                <a:gd name="T68" fmla="*/ 81 w 164"/>
                <a:gd name="T69" fmla="*/ 0 h 164"/>
                <a:gd name="T70" fmla="*/ 67 w 164"/>
                <a:gd name="T71" fmla="*/ 19 h 164"/>
                <a:gd name="T72" fmla="*/ 48 w 164"/>
                <a:gd name="T73" fmla="*/ 7 h 164"/>
                <a:gd name="T74" fmla="*/ 30 w 164"/>
                <a:gd name="T75" fmla="*/ 21 h 164"/>
                <a:gd name="T76" fmla="*/ 28 w 164"/>
                <a:gd name="T77" fmla="*/ 46 h 164"/>
                <a:gd name="T78" fmla="*/ 6 w 164"/>
                <a:gd name="T79" fmla="*/ 51 h 164"/>
                <a:gd name="T80" fmla="*/ 8 w 164"/>
                <a:gd name="T81" fmla="*/ 74 h 164"/>
                <a:gd name="T82" fmla="*/ 19 w 164"/>
                <a:gd name="T83" fmla="*/ 95 h 164"/>
                <a:gd name="T84" fmla="*/ 14 w 164"/>
                <a:gd name="T85" fmla="*/ 120 h 164"/>
                <a:gd name="T86" fmla="*/ 25 w 164"/>
                <a:gd name="T87" fmla="*/ 129 h 164"/>
                <a:gd name="T88" fmla="*/ 38 w 164"/>
                <a:gd name="T89" fmla="*/ 141 h 164"/>
                <a:gd name="T90" fmla="*/ 53 w 164"/>
                <a:gd name="T91" fmla="*/ 159 h 164"/>
                <a:gd name="T92" fmla="*/ 75 w 164"/>
                <a:gd name="T93" fmla="*/ 156 h 164"/>
                <a:gd name="T94" fmla="*/ 94 w 164"/>
                <a:gd name="T95" fmla="*/ 155 h 164"/>
                <a:gd name="T96" fmla="*/ 116 w 164"/>
                <a:gd name="T97" fmla="*/ 156 h 164"/>
                <a:gd name="T98" fmla="*/ 127 w 164"/>
                <a:gd name="T99" fmla="*/ 140 h 164"/>
                <a:gd name="T100" fmla="*/ 140 w 164"/>
                <a:gd name="T101" fmla="*/ 128 h 164"/>
                <a:gd name="T102" fmla="*/ 151 w 164"/>
                <a:gd name="T103" fmla="*/ 119 h 164"/>
                <a:gd name="T104" fmla="*/ 146 w 164"/>
                <a:gd name="T105" fmla="*/ 94 h 164"/>
                <a:gd name="T106" fmla="*/ 164 w 164"/>
                <a:gd name="T107" fmla="*/ 81 h 164"/>
                <a:gd name="T108" fmla="*/ 158 w 164"/>
                <a:gd name="T109" fmla="*/ 50 h 164"/>
                <a:gd name="T110" fmla="*/ 140 w 164"/>
                <a:gd name="T111" fmla="*/ 45 h 164"/>
                <a:gd name="T112" fmla="*/ 139 w 164"/>
                <a:gd name="T113" fmla="*/ 23 h 164"/>
                <a:gd name="T114" fmla="*/ 117 w 164"/>
                <a:gd name="T115" fmla="*/ 17 h 164"/>
                <a:gd name="T116" fmla="*/ 100 w 164"/>
                <a:gd name="T117"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6"/>
                    <a:pt x="35" y="94"/>
                    <a:pt x="35" y="82"/>
                  </a:cubicBezTo>
                  <a:cubicBezTo>
                    <a:pt x="35" y="70"/>
                    <a:pt x="40" y="58"/>
                    <a:pt x="49" y="49"/>
                  </a:cubicBezTo>
                  <a:cubicBezTo>
                    <a:pt x="58" y="40"/>
                    <a:pt x="70" y="35"/>
                    <a:pt x="82" y="35"/>
                  </a:cubicBezTo>
                  <a:cubicBezTo>
                    <a:pt x="94" y="35"/>
                    <a:pt x="106" y="40"/>
                    <a:pt x="115" y="49"/>
                  </a:cubicBezTo>
                  <a:cubicBezTo>
                    <a:pt x="124" y="58"/>
                    <a:pt x="129" y="69"/>
                    <a:pt x="129" y="82"/>
                  </a:cubicBezTo>
                  <a:cubicBezTo>
                    <a:pt x="129" y="94"/>
                    <a:pt x="124" y="106"/>
                    <a:pt x="115" y="115"/>
                  </a:cubicBezTo>
                  <a:cubicBezTo>
                    <a:pt x="106" y="124"/>
                    <a:pt x="95" y="129"/>
                    <a:pt x="82" y="129"/>
                  </a:cubicBezTo>
                  <a:moveTo>
                    <a:pt x="82" y="30"/>
                  </a:moveTo>
                  <a:cubicBezTo>
                    <a:pt x="68" y="30"/>
                    <a:pt x="55" y="36"/>
                    <a:pt x="45" y="45"/>
                  </a:cubicBezTo>
                  <a:cubicBezTo>
                    <a:pt x="36" y="55"/>
                    <a:pt x="30" y="68"/>
                    <a:pt x="30" y="82"/>
                  </a:cubicBezTo>
                  <a:cubicBezTo>
                    <a:pt x="30" y="96"/>
                    <a:pt x="36" y="109"/>
                    <a:pt x="46" y="119"/>
                  </a:cubicBezTo>
                  <a:cubicBezTo>
                    <a:pt x="55" y="128"/>
                    <a:pt x="68" y="134"/>
                    <a:pt x="82" y="134"/>
                  </a:cubicBezTo>
                  <a:cubicBezTo>
                    <a:pt x="96" y="134"/>
                    <a:pt x="109" y="128"/>
                    <a:pt x="119" y="118"/>
                  </a:cubicBezTo>
                  <a:cubicBezTo>
                    <a:pt x="128" y="109"/>
                    <a:pt x="134" y="96"/>
                    <a:pt x="134" y="82"/>
                  </a:cubicBezTo>
                  <a:cubicBezTo>
                    <a:pt x="134" y="68"/>
                    <a:pt x="128" y="55"/>
                    <a:pt x="119" y="45"/>
                  </a:cubicBezTo>
                  <a:cubicBezTo>
                    <a:pt x="109" y="36"/>
                    <a:pt x="96" y="30"/>
                    <a:pt x="82" y="30"/>
                  </a:cubicBezTo>
                  <a:moveTo>
                    <a:pt x="80" y="5"/>
                  </a:moveTo>
                  <a:cubicBezTo>
                    <a:pt x="81" y="5"/>
                    <a:pt x="81" y="5"/>
                    <a:pt x="81" y="5"/>
                  </a:cubicBezTo>
                  <a:cubicBezTo>
                    <a:pt x="83" y="5"/>
                    <a:pt x="84" y="5"/>
                    <a:pt x="84" y="9"/>
                  </a:cubicBezTo>
                  <a:cubicBezTo>
                    <a:pt x="85" y="14"/>
                    <a:pt x="87" y="20"/>
                    <a:pt x="91" y="23"/>
                  </a:cubicBezTo>
                  <a:cubicBezTo>
                    <a:pt x="91" y="23"/>
                    <a:pt x="92" y="23"/>
                    <a:pt x="92" y="23"/>
                  </a:cubicBezTo>
                  <a:cubicBezTo>
                    <a:pt x="92" y="23"/>
                    <a:pt x="92" y="23"/>
                    <a:pt x="92" y="23"/>
                  </a:cubicBezTo>
                  <a:cubicBezTo>
                    <a:pt x="97" y="23"/>
                    <a:pt x="103" y="16"/>
                    <a:pt x="105" y="13"/>
                  </a:cubicBezTo>
                  <a:cubicBezTo>
                    <a:pt x="105" y="11"/>
                    <a:pt x="107" y="10"/>
                    <a:pt x="108" y="10"/>
                  </a:cubicBezTo>
                  <a:cubicBezTo>
                    <a:pt x="108" y="10"/>
                    <a:pt x="109" y="10"/>
                    <a:pt x="110" y="10"/>
                  </a:cubicBezTo>
                  <a:cubicBezTo>
                    <a:pt x="111" y="10"/>
                    <a:pt x="111" y="10"/>
                    <a:pt x="111" y="10"/>
                  </a:cubicBezTo>
                  <a:cubicBezTo>
                    <a:pt x="113" y="11"/>
                    <a:pt x="113" y="12"/>
                    <a:pt x="112" y="16"/>
                  </a:cubicBezTo>
                  <a:cubicBezTo>
                    <a:pt x="111" y="21"/>
                    <a:pt x="111" y="27"/>
                    <a:pt x="113" y="31"/>
                  </a:cubicBezTo>
                  <a:cubicBezTo>
                    <a:pt x="113" y="31"/>
                    <a:pt x="113" y="32"/>
                    <a:pt x="114" y="32"/>
                  </a:cubicBezTo>
                  <a:cubicBezTo>
                    <a:pt x="115" y="32"/>
                    <a:pt x="115" y="32"/>
                    <a:pt x="116" y="32"/>
                  </a:cubicBezTo>
                  <a:cubicBezTo>
                    <a:pt x="120" y="32"/>
                    <a:pt x="126" y="30"/>
                    <a:pt x="130" y="27"/>
                  </a:cubicBezTo>
                  <a:cubicBezTo>
                    <a:pt x="132" y="25"/>
                    <a:pt x="133" y="25"/>
                    <a:pt x="133" y="25"/>
                  </a:cubicBezTo>
                  <a:cubicBezTo>
                    <a:pt x="134" y="25"/>
                    <a:pt x="134" y="25"/>
                    <a:pt x="135" y="26"/>
                  </a:cubicBezTo>
                  <a:cubicBezTo>
                    <a:pt x="136" y="27"/>
                    <a:pt x="136" y="27"/>
                    <a:pt x="136" y="27"/>
                  </a:cubicBezTo>
                  <a:cubicBezTo>
                    <a:pt x="138" y="29"/>
                    <a:pt x="138" y="29"/>
                    <a:pt x="136" y="33"/>
                  </a:cubicBezTo>
                  <a:cubicBezTo>
                    <a:pt x="133" y="37"/>
                    <a:pt x="130" y="42"/>
                    <a:pt x="130" y="46"/>
                  </a:cubicBezTo>
                  <a:cubicBezTo>
                    <a:pt x="130" y="47"/>
                    <a:pt x="130" y="48"/>
                    <a:pt x="131" y="48"/>
                  </a:cubicBezTo>
                  <a:cubicBezTo>
                    <a:pt x="132" y="50"/>
                    <a:pt x="135" y="50"/>
                    <a:pt x="140" y="50"/>
                  </a:cubicBezTo>
                  <a:cubicBezTo>
                    <a:pt x="142" y="50"/>
                    <a:pt x="145" y="50"/>
                    <a:pt x="147" y="50"/>
                  </a:cubicBezTo>
                  <a:cubicBezTo>
                    <a:pt x="149" y="49"/>
                    <a:pt x="150" y="49"/>
                    <a:pt x="150" y="49"/>
                  </a:cubicBezTo>
                  <a:cubicBezTo>
                    <a:pt x="152" y="49"/>
                    <a:pt x="152" y="50"/>
                    <a:pt x="153" y="51"/>
                  </a:cubicBezTo>
                  <a:cubicBezTo>
                    <a:pt x="153" y="52"/>
                    <a:pt x="153" y="52"/>
                    <a:pt x="153" y="52"/>
                  </a:cubicBezTo>
                  <a:cubicBezTo>
                    <a:pt x="154" y="54"/>
                    <a:pt x="154" y="55"/>
                    <a:pt x="150" y="57"/>
                  </a:cubicBezTo>
                  <a:cubicBezTo>
                    <a:pt x="146" y="60"/>
                    <a:pt x="141" y="64"/>
                    <a:pt x="140" y="68"/>
                  </a:cubicBezTo>
                  <a:cubicBezTo>
                    <a:pt x="140" y="68"/>
                    <a:pt x="140" y="69"/>
                    <a:pt x="140" y="69"/>
                  </a:cubicBezTo>
                  <a:cubicBezTo>
                    <a:pt x="142" y="74"/>
                    <a:pt x="150" y="77"/>
                    <a:pt x="155" y="77"/>
                  </a:cubicBezTo>
                  <a:cubicBezTo>
                    <a:pt x="159" y="78"/>
                    <a:pt x="159" y="79"/>
                    <a:pt x="159" y="81"/>
                  </a:cubicBezTo>
                  <a:cubicBezTo>
                    <a:pt x="159" y="81"/>
                    <a:pt x="159" y="81"/>
                    <a:pt x="159" y="81"/>
                  </a:cubicBezTo>
                  <a:cubicBezTo>
                    <a:pt x="159" y="82"/>
                    <a:pt x="159" y="82"/>
                    <a:pt x="159" y="82"/>
                  </a:cubicBezTo>
                  <a:cubicBezTo>
                    <a:pt x="159" y="84"/>
                    <a:pt x="159" y="85"/>
                    <a:pt x="155" y="86"/>
                  </a:cubicBezTo>
                  <a:cubicBezTo>
                    <a:pt x="150" y="86"/>
                    <a:pt x="144" y="88"/>
                    <a:pt x="141" y="91"/>
                  </a:cubicBezTo>
                  <a:cubicBezTo>
                    <a:pt x="141" y="92"/>
                    <a:pt x="140" y="92"/>
                    <a:pt x="140" y="93"/>
                  </a:cubicBezTo>
                  <a:cubicBezTo>
                    <a:pt x="140" y="98"/>
                    <a:pt x="147" y="104"/>
                    <a:pt x="151" y="106"/>
                  </a:cubicBezTo>
                  <a:cubicBezTo>
                    <a:pt x="155" y="108"/>
                    <a:pt x="154" y="109"/>
                    <a:pt x="153" y="111"/>
                  </a:cubicBezTo>
                  <a:cubicBezTo>
                    <a:pt x="153" y="112"/>
                    <a:pt x="153" y="112"/>
                    <a:pt x="153" y="112"/>
                  </a:cubicBezTo>
                  <a:cubicBezTo>
                    <a:pt x="152" y="113"/>
                    <a:pt x="152" y="114"/>
                    <a:pt x="151" y="114"/>
                  </a:cubicBezTo>
                  <a:cubicBezTo>
                    <a:pt x="150" y="114"/>
                    <a:pt x="149" y="114"/>
                    <a:pt x="148" y="113"/>
                  </a:cubicBezTo>
                  <a:cubicBezTo>
                    <a:pt x="145" y="113"/>
                    <a:pt x="142" y="112"/>
                    <a:pt x="139" y="112"/>
                  </a:cubicBezTo>
                  <a:cubicBezTo>
                    <a:pt x="136" y="112"/>
                    <a:pt x="134" y="113"/>
                    <a:pt x="133" y="113"/>
                  </a:cubicBezTo>
                  <a:cubicBezTo>
                    <a:pt x="132" y="114"/>
                    <a:pt x="132" y="114"/>
                    <a:pt x="132" y="115"/>
                  </a:cubicBezTo>
                  <a:cubicBezTo>
                    <a:pt x="130" y="119"/>
                    <a:pt x="134" y="127"/>
                    <a:pt x="136" y="131"/>
                  </a:cubicBezTo>
                  <a:cubicBezTo>
                    <a:pt x="139" y="134"/>
                    <a:pt x="138" y="135"/>
                    <a:pt x="137" y="136"/>
                  </a:cubicBezTo>
                  <a:cubicBezTo>
                    <a:pt x="136" y="137"/>
                    <a:pt x="136" y="137"/>
                    <a:pt x="136" y="137"/>
                  </a:cubicBezTo>
                  <a:cubicBezTo>
                    <a:pt x="135" y="138"/>
                    <a:pt x="135" y="138"/>
                    <a:pt x="134" y="138"/>
                  </a:cubicBezTo>
                  <a:cubicBezTo>
                    <a:pt x="133" y="138"/>
                    <a:pt x="132" y="138"/>
                    <a:pt x="130" y="136"/>
                  </a:cubicBezTo>
                  <a:cubicBezTo>
                    <a:pt x="127" y="134"/>
                    <a:pt x="122" y="131"/>
                    <a:pt x="118" y="131"/>
                  </a:cubicBezTo>
                  <a:cubicBezTo>
                    <a:pt x="118" y="131"/>
                    <a:pt x="118" y="131"/>
                    <a:pt x="118" y="131"/>
                  </a:cubicBezTo>
                  <a:cubicBezTo>
                    <a:pt x="116" y="131"/>
                    <a:pt x="115" y="131"/>
                    <a:pt x="115" y="132"/>
                  </a:cubicBezTo>
                  <a:cubicBezTo>
                    <a:pt x="114" y="136"/>
                    <a:pt x="115" y="142"/>
                    <a:pt x="116" y="146"/>
                  </a:cubicBezTo>
                  <a:cubicBezTo>
                    <a:pt x="117" y="150"/>
                    <a:pt x="117" y="151"/>
                    <a:pt x="115" y="152"/>
                  </a:cubicBezTo>
                  <a:cubicBezTo>
                    <a:pt x="114" y="152"/>
                    <a:pt x="114" y="152"/>
                    <a:pt x="114" y="152"/>
                  </a:cubicBezTo>
                  <a:cubicBezTo>
                    <a:pt x="113" y="152"/>
                    <a:pt x="112" y="153"/>
                    <a:pt x="112" y="153"/>
                  </a:cubicBezTo>
                  <a:cubicBezTo>
                    <a:pt x="111" y="153"/>
                    <a:pt x="110" y="152"/>
                    <a:pt x="109" y="150"/>
                  </a:cubicBezTo>
                  <a:cubicBezTo>
                    <a:pt x="106" y="146"/>
                    <a:pt x="100" y="140"/>
                    <a:pt x="96" y="140"/>
                  </a:cubicBezTo>
                  <a:cubicBezTo>
                    <a:pt x="95" y="140"/>
                    <a:pt x="94" y="140"/>
                    <a:pt x="94" y="140"/>
                  </a:cubicBezTo>
                  <a:cubicBezTo>
                    <a:pt x="91" y="143"/>
                    <a:pt x="89" y="149"/>
                    <a:pt x="89" y="154"/>
                  </a:cubicBezTo>
                  <a:cubicBezTo>
                    <a:pt x="88" y="159"/>
                    <a:pt x="87" y="159"/>
                    <a:pt x="85" y="159"/>
                  </a:cubicBezTo>
                  <a:cubicBezTo>
                    <a:pt x="84" y="159"/>
                    <a:pt x="84" y="159"/>
                    <a:pt x="84" y="159"/>
                  </a:cubicBezTo>
                  <a:cubicBezTo>
                    <a:pt x="84" y="159"/>
                    <a:pt x="83" y="159"/>
                    <a:pt x="83" y="159"/>
                  </a:cubicBezTo>
                  <a:cubicBezTo>
                    <a:pt x="82" y="159"/>
                    <a:pt x="81" y="159"/>
                    <a:pt x="80" y="155"/>
                  </a:cubicBezTo>
                  <a:cubicBezTo>
                    <a:pt x="79" y="150"/>
                    <a:pt x="77" y="142"/>
                    <a:pt x="72" y="140"/>
                  </a:cubicBezTo>
                  <a:cubicBezTo>
                    <a:pt x="71" y="140"/>
                    <a:pt x="71" y="140"/>
                    <a:pt x="71" y="140"/>
                  </a:cubicBezTo>
                  <a:cubicBezTo>
                    <a:pt x="70" y="140"/>
                    <a:pt x="70" y="140"/>
                    <a:pt x="70" y="140"/>
                  </a:cubicBezTo>
                  <a:cubicBezTo>
                    <a:pt x="66" y="142"/>
                    <a:pt x="62" y="147"/>
                    <a:pt x="60" y="151"/>
                  </a:cubicBezTo>
                  <a:cubicBezTo>
                    <a:pt x="59" y="153"/>
                    <a:pt x="58" y="155"/>
                    <a:pt x="57" y="155"/>
                  </a:cubicBezTo>
                  <a:cubicBezTo>
                    <a:pt x="56" y="155"/>
                    <a:pt x="56" y="154"/>
                    <a:pt x="55" y="154"/>
                  </a:cubicBezTo>
                  <a:cubicBezTo>
                    <a:pt x="54" y="154"/>
                    <a:pt x="54" y="154"/>
                    <a:pt x="54" y="154"/>
                  </a:cubicBezTo>
                  <a:cubicBezTo>
                    <a:pt x="52" y="153"/>
                    <a:pt x="51" y="153"/>
                    <a:pt x="52" y="148"/>
                  </a:cubicBezTo>
                  <a:cubicBezTo>
                    <a:pt x="53" y="144"/>
                    <a:pt x="54" y="135"/>
                    <a:pt x="50" y="132"/>
                  </a:cubicBezTo>
                  <a:cubicBezTo>
                    <a:pt x="50" y="132"/>
                    <a:pt x="49" y="131"/>
                    <a:pt x="48" y="131"/>
                  </a:cubicBezTo>
                  <a:cubicBezTo>
                    <a:pt x="44" y="131"/>
                    <a:pt x="39" y="134"/>
                    <a:pt x="35" y="137"/>
                  </a:cubicBezTo>
                  <a:cubicBezTo>
                    <a:pt x="33" y="139"/>
                    <a:pt x="32" y="139"/>
                    <a:pt x="31" y="139"/>
                  </a:cubicBezTo>
                  <a:cubicBezTo>
                    <a:pt x="31" y="139"/>
                    <a:pt x="30" y="139"/>
                    <a:pt x="29" y="138"/>
                  </a:cubicBezTo>
                  <a:cubicBezTo>
                    <a:pt x="29" y="137"/>
                    <a:pt x="29" y="137"/>
                    <a:pt x="29" y="137"/>
                  </a:cubicBezTo>
                  <a:cubicBezTo>
                    <a:pt x="27" y="136"/>
                    <a:pt x="26" y="135"/>
                    <a:pt x="29" y="132"/>
                  </a:cubicBezTo>
                  <a:cubicBezTo>
                    <a:pt x="31" y="128"/>
                    <a:pt x="35" y="120"/>
                    <a:pt x="33" y="116"/>
                  </a:cubicBezTo>
                  <a:cubicBezTo>
                    <a:pt x="33" y="115"/>
                    <a:pt x="33" y="115"/>
                    <a:pt x="32" y="115"/>
                  </a:cubicBezTo>
                  <a:cubicBezTo>
                    <a:pt x="31" y="114"/>
                    <a:pt x="29" y="114"/>
                    <a:pt x="26" y="114"/>
                  </a:cubicBezTo>
                  <a:cubicBezTo>
                    <a:pt x="23" y="114"/>
                    <a:pt x="20" y="114"/>
                    <a:pt x="17" y="115"/>
                  </a:cubicBezTo>
                  <a:cubicBezTo>
                    <a:pt x="16" y="115"/>
                    <a:pt x="15" y="115"/>
                    <a:pt x="14" y="115"/>
                  </a:cubicBezTo>
                  <a:cubicBezTo>
                    <a:pt x="13" y="115"/>
                    <a:pt x="13" y="115"/>
                    <a:pt x="12" y="113"/>
                  </a:cubicBezTo>
                  <a:cubicBezTo>
                    <a:pt x="11" y="112"/>
                    <a:pt x="11" y="112"/>
                    <a:pt x="11" y="112"/>
                  </a:cubicBezTo>
                  <a:cubicBezTo>
                    <a:pt x="10" y="110"/>
                    <a:pt x="10" y="110"/>
                    <a:pt x="14" y="107"/>
                  </a:cubicBezTo>
                  <a:cubicBezTo>
                    <a:pt x="17" y="105"/>
                    <a:pt x="24" y="99"/>
                    <a:pt x="24" y="94"/>
                  </a:cubicBezTo>
                  <a:cubicBezTo>
                    <a:pt x="24" y="94"/>
                    <a:pt x="24" y="93"/>
                    <a:pt x="23" y="93"/>
                  </a:cubicBezTo>
                  <a:cubicBezTo>
                    <a:pt x="21" y="90"/>
                    <a:pt x="14" y="88"/>
                    <a:pt x="9" y="87"/>
                  </a:cubicBezTo>
                  <a:cubicBezTo>
                    <a:pt x="5" y="87"/>
                    <a:pt x="5" y="86"/>
                    <a:pt x="5" y="84"/>
                  </a:cubicBezTo>
                  <a:cubicBezTo>
                    <a:pt x="5" y="83"/>
                    <a:pt x="5" y="83"/>
                    <a:pt x="5" y="83"/>
                  </a:cubicBezTo>
                  <a:cubicBezTo>
                    <a:pt x="5" y="81"/>
                    <a:pt x="5" y="80"/>
                    <a:pt x="9" y="79"/>
                  </a:cubicBezTo>
                  <a:cubicBezTo>
                    <a:pt x="14" y="78"/>
                    <a:pt x="22" y="75"/>
                    <a:pt x="24" y="71"/>
                  </a:cubicBezTo>
                  <a:cubicBezTo>
                    <a:pt x="24" y="70"/>
                    <a:pt x="24" y="70"/>
                    <a:pt x="24" y="69"/>
                  </a:cubicBezTo>
                  <a:cubicBezTo>
                    <a:pt x="22" y="65"/>
                    <a:pt x="17" y="61"/>
                    <a:pt x="13" y="59"/>
                  </a:cubicBezTo>
                  <a:cubicBezTo>
                    <a:pt x="9" y="57"/>
                    <a:pt x="10" y="56"/>
                    <a:pt x="10" y="54"/>
                  </a:cubicBezTo>
                  <a:cubicBezTo>
                    <a:pt x="11" y="53"/>
                    <a:pt x="11" y="53"/>
                    <a:pt x="11" y="53"/>
                  </a:cubicBezTo>
                  <a:cubicBezTo>
                    <a:pt x="11" y="51"/>
                    <a:pt x="12" y="51"/>
                    <a:pt x="13" y="51"/>
                  </a:cubicBezTo>
                  <a:cubicBezTo>
                    <a:pt x="14" y="51"/>
                    <a:pt x="15" y="51"/>
                    <a:pt x="16" y="51"/>
                  </a:cubicBezTo>
                  <a:cubicBezTo>
                    <a:pt x="18" y="51"/>
                    <a:pt x="21" y="52"/>
                    <a:pt x="23" y="52"/>
                  </a:cubicBezTo>
                  <a:cubicBezTo>
                    <a:pt x="26" y="52"/>
                    <a:pt x="31" y="51"/>
                    <a:pt x="33" y="49"/>
                  </a:cubicBezTo>
                  <a:cubicBezTo>
                    <a:pt x="33" y="49"/>
                    <a:pt x="33" y="48"/>
                    <a:pt x="33" y="47"/>
                  </a:cubicBezTo>
                  <a:cubicBezTo>
                    <a:pt x="33" y="44"/>
                    <a:pt x="30" y="38"/>
                    <a:pt x="27" y="34"/>
                  </a:cubicBezTo>
                  <a:cubicBezTo>
                    <a:pt x="25" y="30"/>
                    <a:pt x="25" y="30"/>
                    <a:pt x="27" y="28"/>
                  </a:cubicBezTo>
                  <a:cubicBezTo>
                    <a:pt x="28" y="28"/>
                    <a:pt x="28" y="28"/>
                    <a:pt x="28" y="28"/>
                  </a:cubicBezTo>
                  <a:cubicBezTo>
                    <a:pt x="29" y="27"/>
                    <a:pt x="29" y="26"/>
                    <a:pt x="30" y="26"/>
                  </a:cubicBezTo>
                  <a:cubicBezTo>
                    <a:pt x="30" y="26"/>
                    <a:pt x="31" y="26"/>
                    <a:pt x="33" y="28"/>
                  </a:cubicBezTo>
                  <a:cubicBezTo>
                    <a:pt x="37" y="30"/>
                    <a:pt x="42" y="33"/>
                    <a:pt x="46" y="33"/>
                  </a:cubicBezTo>
                  <a:cubicBezTo>
                    <a:pt x="47" y="33"/>
                    <a:pt x="48" y="32"/>
                    <a:pt x="49" y="31"/>
                  </a:cubicBezTo>
                  <a:cubicBezTo>
                    <a:pt x="50" y="28"/>
                    <a:pt x="50" y="22"/>
                    <a:pt x="49" y="17"/>
                  </a:cubicBezTo>
                  <a:cubicBezTo>
                    <a:pt x="47" y="13"/>
                    <a:pt x="48" y="13"/>
                    <a:pt x="50" y="12"/>
                  </a:cubicBezTo>
                  <a:cubicBezTo>
                    <a:pt x="51" y="12"/>
                    <a:pt x="51" y="12"/>
                    <a:pt x="51" y="12"/>
                  </a:cubicBezTo>
                  <a:cubicBezTo>
                    <a:pt x="52" y="11"/>
                    <a:pt x="52" y="11"/>
                    <a:pt x="53" y="11"/>
                  </a:cubicBezTo>
                  <a:cubicBezTo>
                    <a:pt x="54" y="11"/>
                    <a:pt x="55" y="13"/>
                    <a:pt x="56" y="14"/>
                  </a:cubicBezTo>
                  <a:cubicBezTo>
                    <a:pt x="59" y="18"/>
                    <a:pt x="63" y="23"/>
                    <a:pt x="67" y="24"/>
                  </a:cubicBezTo>
                  <a:cubicBezTo>
                    <a:pt x="67" y="24"/>
                    <a:pt x="67" y="24"/>
                    <a:pt x="68" y="24"/>
                  </a:cubicBezTo>
                  <a:cubicBezTo>
                    <a:pt x="68" y="24"/>
                    <a:pt x="68" y="24"/>
                    <a:pt x="69" y="24"/>
                  </a:cubicBezTo>
                  <a:cubicBezTo>
                    <a:pt x="73" y="22"/>
                    <a:pt x="76" y="14"/>
                    <a:pt x="76" y="9"/>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3"/>
                    <a:pt x="69" y="17"/>
                    <a:pt x="67" y="19"/>
                  </a:cubicBezTo>
                  <a:cubicBezTo>
                    <a:pt x="65" y="18"/>
                    <a:pt x="62" y="15"/>
                    <a:pt x="60" y="11"/>
                  </a:cubicBezTo>
                  <a:cubicBezTo>
                    <a:pt x="58" y="8"/>
                    <a:pt x="56" y="6"/>
                    <a:pt x="53" y="6"/>
                  </a:cubicBezTo>
                  <a:cubicBezTo>
                    <a:pt x="51" y="6"/>
                    <a:pt x="50" y="6"/>
                    <a:pt x="49" y="7"/>
                  </a:cubicBezTo>
                  <a:cubicBezTo>
                    <a:pt x="48" y="7"/>
                    <a:pt x="48" y="7"/>
                    <a:pt x="48" y="7"/>
                  </a:cubicBezTo>
                  <a:cubicBezTo>
                    <a:pt x="46" y="8"/>
                    <a:pt x="41" y="10"/>
                    <a:pt x="44" y="18"/>
                  </a:cubicBezTo>
                  <a:cubicBezTo>
                    <a:pt x="45" y="22"/>
                    <a:pt x="45" y="25"/>
                    <a:pt x="44" y="28"/>
                  </a:cubicBezTo>
                  <a:cubicBezTo>
                    <a:pt x="42" y="27"/>
                    <a:pt x="39" y="26"/>
                    <a:pt x="36" y="24"/>
                  </a:cubicBezTo>
                  <a:cubicBezTo>
                    <a:pt x="34" y="22"/>
                    <a:pt x="31" y="21"/>
                    <a:pt x="30" y="21"/>
                  </a:cubicBezTo>
                  <a:cubicBezTo>
                    <a:pt x="27" y="21"/>
                    <a:pt x="25" y="23"/>
                    <a:pt x="24" y="24"/>
                  </a:cubicBezTo>
                  <a:cubicBezTo>
                    <a:pt x="23" y="25"/>
                    <a:pt x="23" y="25"/>
                    <a:pt x="23" y="25"/>
                  </a:cubicBezTo>
                  <a:cubicBezTo>
                    <a:pt x="22" y="27"/>
                    <a:pt x="18" y="30"/>
                    <a:pt x="23" y="37"/>
                  </a:cubicBezTo>
                  <a:cubicBezTo>
                    <a:pt x="26" y="40"/>
                    <a:pt x="28" y="44"/>
                    <a:pt x="28" y="46"/>
                  </a:cubicBezTo>
                  <a:cubicBezTo>
                    <a:pt x="27" y="46"/>
                    <a:pt x="26" y="47"/>
                    <a:pt x="23" y="47"/>
                  </a:cubicBezTo>
                  <a:cubicBezTo>
                    <a:pt x="21" y="47"/>
                    <a:pt x="19" y="47"/>
                    <a:pt x="17" y="46"/>
                  </a:cubicBezTo>
                  <a:cubicBezTo>
                    <a:pt x="16" y="46"/>
                    <a:pt x="14" y="46"/>
                    <a:pt x="13" y="46"/>
                  </a:cubicBezTo>
                  <a:cubicBezTo>
                    <a:pt x="8" y="46"/>
                    <a:pt x="7" y="49"/>
                    <a:pt x="6" y="51"/>
                  </a:cubicBezTo>
                  <a:cubicBezTo>
                    <a:pt x="6" y="52"/>
                    <a:pt x="6" y="52"/>
                    <a:pt x="6" y="52"/>
                  </a:cubicBezTo>
                  <a:cubicBezTo>
                    <a:pt x="5" y="54"/>
                    <a:pt x="3" y="59"/>
                    <a:pt x="11" y="63"/>
                  </a:cubicBezTo>
                  <a:cubicBezTo>
                    <a:pt x="14" y="65"/>
                    <a:pt x="17" y="68"/>
                    <a:pt x="18" y="70"/>
                  </a:cubicBezTo>
                  <a:cubicBezTo>
                    <a:pt x="17" y="71"/>
                    <a:pt x="13" y="73"/>
                    <a:pt x="8" y="74"/>
                  </a:cubicBezTo>
                  <a:cubicBezTo>
                    <a:pt x="0" y="75"/>
                    <a:pt x="0" y="80"/>
                    <a:pt x="0" y="83"/>
                  </a:cubicBezTo>
                  <a:cubicBezTo>
                    <a:pt x="0" y="84"/>
                    <a:pt x="0" y="84"/>
                    <a:pt x="0" y="84"/>
                  </a:cubicBezTo>
                  <a:cubicBezTo>
                    <a:pt x="0" y="86"/>
                    <a:pt x="0" y="91"/>
                    <a:pt x="9" y="92"/>
                  </a:cubicBezTo>
                  <a:cubicBezTo>
                    <a:pt x="13" y="93"/>
                    <a:pt x="17" y="94"/>
                    <a:pt x="19" y="95"/>
                  </a:cubicBezTo>
                  <a:cubicBezTo>
                    <a:pt x="18" y="97"/>
                    <a:pt x="15" y="101"/>
                    <a:pt x="11" y="103"/>
                  </a:cubicBezTo>
                  <a:cubicBezTo>
                    <a:pt x="4" y="108"/>
                    <a:pt x="6" y="112"/>
                    <a:pt x="7" y="115"/>
                  </a:cubicBezTo>
                  <a:cubicBezTo>
                    <a:pt x="7" y="115"/>
                    <a:pt x="7" y="115"/>
                    <a:pt x="7" y="115"/>
                  </a:cubicBezTo>
                  <a:cubicBezTo>
                    <a:pt x="8" y="117"/>
                    <a:pt x="9" y="120"/>
                    <a:pt x="14" y="120"/>
                  </a:cubicBezTo>
                  <a:cubicBezTo>
                    <a:pt x="15" y="120"/>
                    <a:pt x="17" y="120"/>
                    <a:pt x="18" y="120"/>
                  </a:cubicBezTo>
                  <a:cubicBezTo>
                    <a:pt x="21" y="119"/>
                    <a:pt x="24" y="119"/>
                    <a:pt x="26" y="119"/>
                  </a:cubicBezTo>
                  <a:cubicBezTo>
                    <a:pt x="27" y="119"/>
                    <a:pt x="28" y="119"/>
                    <a:pt x="29" y="119"/>
                  </a:cubicBezTo>
                  <a:cubicBezTo>
                    <a:pt x="29" y="121"/>
                    <a:pt x="27" y="125"/>
                    <a:pt x="25" y="129"/>
                  </a:cubicBezTo>
                  <a:cubicBezTo>
                    <a:pt x="20" y="135"/>
                    <a:pt x="22" y="138"/>
                    <a:pt x="25" y="141"/>
                  </a:cubicBezTo>
                  <a:cubicBezTo>
                    <a:pt x="26" y="142"/>
                    <a:pt x="26" y="142"/>
                    <a:pt x="26" y="142"/>
                  </a:cubicBezTo>
                  <a:cubicBezTo>
                    <a:pt x="27" y="143"/>
                    <a:pt x="29" y="144"/>
                    <a:pt x="31" y="144"/>
                  </a:cubicBezTo>
                  <a:cubicBezTo>
                    <a:pt x="33" y="144"/>
                    <a:pt x="36" y="143"/>
                    <a:pt x="38" y="141"/>
                  </a:cubicBezTo>
                  <a:cubicBezTo>
                    <a:pt x="41" y="139"/>
                    <a:pt x="45" y="137"/>
                    <a:pt x="47" y="136"/>
                  </a:cubicBezTo>
                  <a:cubicBezTo>
                    <a:pt x="48" y="138"/>
                    <a:pt x="48" y="143"/>
                    <a:pt x="47" y="147"/>
                  </a:cubicBezTo>
                  <a:cubicBezTo>
                    <a:pt x="45" y="156"/>
                    <a:pt x="50" y="158"/>
                    <a:pt x="53" y="158"/>
                  </a:cubicBezTo>
                  <a:cubicBezTo>
                    <a:pt x="53" y="159"/>
                    <a:pt x="53" y="159"/>
                    <a:pt x="53" y="159"/>
                  </a:cubicBezTo>
                  <a:cubicBezTo>
                    <a:pt x="54" y="159"/>
                    <a:pt x="56" y="160"/>
                    <a:pt x="57" y="160"/>
                  </a:cubicBezTo>
                  <a:cubicBezTo>
                    <a:pt x="60" y="160"/>
                    <a:pt x="62" y="158"/>
                    <a:pt x="64" y="154"/>
                  </a:cubicBezTo>
                  <a:cubicBezTo>
                    <a:pt x="66" y="150"/>
                    <a:pt x="69" y="147"/>
                    <a:pt x="71" y="146"/>
                  </a:cubicBezTo>
                  <a:cubicBezTo>
                    <a:pt x="72" y="147"/>
                    <a:pt x="74" y="151"/>
                    <a:pt x="75" y="156"/>
                  </a:cubicBezTo>
                  <a:cubicBezTo>
                    <a:pt x="76" y="161"/>
                    <a:pt x="79" y="164"/>
                    <a:pt x="83" y="164"/>
                  </a:cubicBezTo>
                  <a:cubicBezTo>
                    <a:pt x="84" y="164"/>
                    <a:pt x="84" y="164"/>
                    <a:pt x="84" y="164"/>
                  </a:cubicBezTo>
                  <a:cubicBezTo>
                    <a:pt x="85" y="164"/>
                    <a:pt x="85" y="164"/>
                    <a:pt x="85" y="164"/>
                  </a:cubicBezTo>
                  <a:cubicBezTo>
                    <a:pt x="88" y="164"/>
                    <a:pt x="93" y="164"/>
                    <a:pt x="94" y="155"/>
                  </a:cubicBezTo>
                  <a:cubicBezTo>
                    <a:pt x="94" y="151"/>
                    <a:pt x="95" y="147"/>
                    <a:pt x="97" y="145"/>
                  </a:cubicBezTo>
                  <a:cubicBezTo>
                    <a:pt x="98" y="146"/>
                    <a:pt x="102" y="149"/>
                    <a:pt x="104" y="153"/>
                  </a:cubicBezTo>
                  <a:cubicBezTo>
                    <a:pt x="107" y="156"/>
                    <a:pt x="109" y="158"/>
                    <a:pt x="112" y="158"/>
                  </a:cubicBezTo>
                  <a:cubicBezTo>
                    <a:pt x="114" y="158"/>
                    <a:pt x="115" y="157"/>
                    <a:pt x="116" y="156"/>
                  </a:cubicBezTo>
                  <a:cubicBezTo>
                    <a:pt x="117" y="156"/>
                    <a:pt x="117" y="156"/>
                    <a:pt x="117" y="156"/>
                  </a:cubicBezTo>
                  <a:cubicBezTo>
                    <a:pt x="119" y="155"/>
                    <a:pt x="124" y="153"/>
                    <a:pt x="121" y="145"/>
                  </a:cubicBezTo>
                  <a:cubicBezTo>
                    <a:pt x="120" y="142"/>
                    <a:pt x="120" y="139"/>
                    <a:pt x="120" y="136"/>
                  </a:cubicBezTo>
                  <a:cubicBezTo>
                    <a:pt x="122" y="137"/>
                    <a:pt x="125" y="138"/>
                    <a:pt x="127" y="140"/>
                  </a:cubicBezTo>
                  <a:cubicBezTo>
                    <a:pt x="130" y="142"/>
                    <a:pt x="132" y="143"/>
                    <a:pt x="134" y="143"/>
                  </a:cubicBezTo>
                  <a:cubicBezTo>
                    <a:pt x="137" y="143"/>
                    <a:pt x="138" y="141"/>
                    <a:pt x="140" y="140"/>
                  </a:cubicBezTo>
                  <a:cubicBezTo>
                    <a:pt x="140" y="140"/>
                    <a:pt x="140" y="140"/>
                    <a:pt x="140" y="140"/>
                  </a:cubicBezTo>
                  <a:cubicBezTo>
                    <a:pt x="143" y="137"/>
                    <a:pt x="145" y="134"/>
                    <a:pt x="140" y="128"/>
                  </a:cubicBezTo>
                  <a:cubicBezTo>
                    <a:pt x="138" y="124"/>
                    <a:pt x="136" y="120"/>
                    <a:pt x="136" y="118"/>
                  </a:cubicBezTo>
                  <a:cubicBezTo>
                    <a:pt x="137" y="117"/>
                    <a:pt x="138" y="117"/>
                    <a:pt x="139" y="117"/>
                  </a:cubicBezTo>
                  <a:cubicBezTo>
                    <a:pt x="141" y="117"/>
                    <a:pt x="144" y="118"/>
                    <a:pt x="146" y="118"/>
                  </a:cubicBezTo>
                  <a:cubicBezTo>
                    <a:pt x="148" y="119"/>
                    <a:pt x="149" y="119"/>
                    <a:pt x="151" y="119"/>
                  </a:cubicBezTo>
                  <a:cubicBezTo>
                    <a:pt x="155" y="119"/>
                    <a:pt x="157" y="115"/>
                    <a:pt x="158" y="114"/>
                  </a:cubicBezTo>
                  <a:cubicBezTo>
                    <a:pt x="158" y="113"/>
                    <a:pt x="158" y="113"/>
                    <a:pt x="158" y="113"/>
                  </a:cubicBezTo>
                  <a:cubicBezTo>
                    <a:pt x="159" y="110"/>
                    <a:pt x="161" y="106"/>
                    <a:pt x="154" y="102"/>
                  </a:cubicBezTo>
                  <a:cubicBezTo>
                    <a:pt x="149" y="99"/>
                    <a:pt x="147" y="96"/>
                    <a:pt x="146" y="94"/>
                  </a:cubicBezTo>
                  <a:cubicBezTo>
                    <a:pt x="148" y="93"/>
                    <a:pt x="152" y="91"/>
                    <a:pt x="155" y="91"/>
                  </a:cubicBezTo>
                  <a:cubicBezTo>
                    <a:pt x="164" y="89"/>
                    <a:pt x="164" y="85"/>
                    <a:pt x="164" y="82"/>
                  </a:cubicBezTo>
                  <a:cubicBezTo>
                    <a:pt x="164" y="82"/>
                    <a:pt x="164" y="82"/>
                    <a:pt x="164" y="82"/>
                  </a:cubicBezTo>
                  <a:cubicBezTo>
                    <a:pt x="164" y="81"/>
                    <a:pt x="164" y="81"/>
                    <a:pt x="164" y="81"/>
                  </a:cubicBezTo>
                  <a:cubicBezTo>
                    <a:pt x="164" y="78"/>
                    <a:pt x="164" y="74"/>
                    <a:pt x="156" y="72"/>
                  </a:cubicBezTo>
                  <a:cubicBezTo>
                    <a:pt x="151" y="72"/>
                    <a:pt x="147" y="70"/>
                    <a:pt x="145" y="68"/>
                  </a:cubicBezTo>
                  <a:cubicBezTo>
                    <a:pt x="147" y="66"/>
                    <a:pt x="150" y="63"/>
                    <a:pt x="153" y="62"/>
                  </a:cubicBezTo>
                  <a:cubicBezTo>
                    <a:pt x="161" y="57"/>
                    <a:pt x="159" y="53"/>
                    <a:pt x="158" y="50"/>
                  </a:cubicBezTo>
                  <a:cubicBezTo>
                    <a:pt x="157" y="50"/>
                    <a:pt x="157" y="50"/>
                    <a:pt x="157" y="50"/>
                  </a:cubicBezTo>
                  <a:cubicBezTo>
                    <a:pt x="157" y="48"/>
                    <a:pt x="155" y="44"/>
                    <a:pt x="150" y="44"/>
                  </a:cubicBezTo>
                  <a:cubicBezTo>
                    <a:pt x="149" y="44"/>
                    <a:pt x="148" y="44"/>
                    <a:pt x="146" y="45"/>
                  </a:cubicBezTo>
                  <a:cubicBezTo>
                    <a:pt x="144" y="45"/>
                    <a:pt x="142" y="45"/>
                    <a:pt x="140" y="45"/>
                  </a:cubicBezTo>
                  <a:cubicBezTo>
                    <a:pt x="137" y="45"/>
                    <a:pt x="136" y="45"/>
                    <a:pt x="135" y="45"/>
                  </a:cubicBezTo>
                  <a:cubicBezTo>
                    <a:pt x="136" y="43"/>
                    <a:pt x="137" y="39"/>
                    <a:pt x="140" y="36"/>
                  </a:cubicBezTo>
                  <a:cubicBezTo>
                    <a:pt x="145" y="29"/>
                    <a:pt x="141" y="25"/>
                    <a:pt x="139" y="23"/>
                  </a:cubicBezTo>
                  <a:cubicBezTo>
                    <a:pt x="139" y="23"/>
                    <a:pt x="139" y="23"/>
                    <a:pt x="139" y="23"/>
                  </a:cubicBezTo>
                  <a:cubicBezTo>
                    <a:pt x="138" y="22"/>
                    <a:pt x="136" y="20"/>
                    <a:pt x="133" y="20"/>
                  </a:cubicBezTo>
                  <a:cubicBezTo>
                    <a:pt x="131" y="20"/>
                    <a:pt x="129" y="21"/>
                    <a:pt x="127" y="23"/>
                  </a:cubicBezTo>
                  <a:cubicBezTo>
                    <a:pt x="123" y="25"/>
                    <a:pt x="119" y="27"/>
                    <a:pt x="117" y="27"/>
                  </a:cubicBezTo>
                  <a:cubicBezTo>
                    <a:pt x="116" y="25"/>
                    <a:pt x="116" y="21"/>
                    <a:pt x="117" y="17"/>
                  </a:cubicBezTo>
                  <a:cubicBezTo>
                    <a:pt x="119" y="9"/>
                    <a:pt x="115" y="7"/>
                    <a:pt x="112" y="6"/>
                  </a:cubicBezTo>
                  <a:cubicBezTo>
                    <a:pt x="112" y="6"/>
                    <a:pt x="112" y="6"/>
                    <a:pt x="112" y="6"/>
                  </a:cubicBezTo>
                  <a:cubicBezTo>
                    <a:pt x="111" y="5"/>
                    <a:pt x="109" y="5"/>
                    <a:pt x="108" y="5"/>
                  </a:cubicBezTo>
                  <a:cubicBezTo>
                    <a:pt x="105" y="5"/>
                    <a:pt x="103" y="6"/>
                    <a:pt x="100" y="10"/>
                  </a:cubicBezTo>
                  <a:cubicBezTo>
                    <a:pt x="98" y="14"/>
                    <a:pt x="95" y="17"/>
                    <a:pt x="93" y="18"/>
                  </a:cubicBezTo>
                  <a:cubicBezTo>
                    <a:pt x="92" y="16"/>
                    <a:pt x="90" y="13"/>
                    <a:pt x="89" y="8"/>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4" name="Freeform 21313">
              <a:extLst>
                <a:ext uri="{FF2B5EF4-FFF2-40B4-BE49-F238E27FC236}">
                  <a16:creationId xmlns:a16="http://schemas.microsoft.com/office/drawing/2014/main" id="{687F06CC-343D-4961-8A77-8842BD6807D8}"/>
                </a:ext>
              </a:extLst>
            </p:cNvPr>
            <p:cNvSpPr>
              <a:spLocks noEditPoints="1"/>
            </p:cNvSpPr>
            <p:nvPr userDrawn="1"/>
          </p:nvSpPr>
          <p:spPr bwMode="auto">
            <a:xfrm>
              <a:off x="11035665" y="2791778"/>
              <a:ext cx="582613" cy="554038"/>
            </a:xfrm>
            <a:custGeom>
              <a:avLst/>
              <a:gdLst>
                <a:gd name="T0" fmla="*/ 137 w 288"/>
                <a:gd name="T1" fmla="*/ 184 h 275"/>
                <a:gd name="T2" fmla="*/ 105 w 288"/>
                <a:gd name="T3" fmla="*/ 170 h 275"/>
                <a:gd name="T4" fmla="*/ 105 w 288"/>
                <a:gd name="T5" fmla="*/ 105 h 275"/>
                <a:gd name="T6" fmla="*/ 137 w 288"/>
                <a:gd name="T7" fmla="*/ 91 h 275"/>
                <a:gd name="T8" fmla="*/ 170 w 288"/>
                <a:gd name="T9" fmla="*/ 105 h 275"/>
                <a:gd name="T10" fmla="*/ 183 w 288"/>
                <a:gd name="T11" fmla="*/ 138 h 275"/>
                <a:gd name="T12" fmla="*/ 170 w 288"/>
                <a:gd name="T13" fmla="*/ 170 h 275"/>
                <a:gd name="T14" fmla="*/ 137 w 288"/>
                <a:gd name="T15" fmla="*/ 184 h 275"/>
                <a:gd name="T16" fmla="*/ 137 w 288"/>
                <a:gd name="T17" fmla="*/ 86 h 275"/>
                <a:gd name="T18" fmla="*/ 101 w 288"/>
                <a:gd name="T19" fmla="*/ 101 h 275"/>
                <a:gd name="T20" fmla="*/ 101 w 288"/>
                <a:gd name="T21" fmla="*/ 174 h 275"/>
                <a:gd name="T22" fmla="*/ 137 w 288"/>
                <a:gd name="T23" fmla="*/ 189 h 275"/>
                <a:gd name="T24" fmla="*/ 173 w 288"/>
                <a:gd name="T25" fmla="*/ 174 h 275"/>
                <a:gd name="T26" fmla="*/ 188 w 288"/>
                <a:gd name="T27" fmla="*/ 138 h 275"/>
                <a:gd name="T28" fmla="*/ 173 w 288"/>
                <a:gd name="T29" fmla="*/ 101 h 275"/>
                <a:gd name="T30" fmla="*/ 137 w 288"/>
                <a:gd name="T31" fmla="*/ 86 h 275"/>
                <a:gd name="T32" fmla="*/ 137 w 288"/>
                <a:gd name="T33" fmla="*/ 270 h 275"/>
                <a:gd name="T34" fmla="*/ 44 w 288"/>
                <a:gd name="T35" fmla="*/ 231 h 275"/>
                <a:gd name="T36" fmla="*/ 5 w 288"/>
                <a:gd name="T37" fmla="*/ 137 h 275"/>
                <a:gd name="T38" fmla="*/ 44 w 288"/>
                <a:gd name="T39" fmla="*/ 44 h 275"/>
                <a:gd name="T40" fmla="*/ 137 w 288"/>
                <a:gd name="T41" fmla="*/ 5 h 275"/>
                <a:gd name="T42" fmla="*/ 231 w 288"/>
                <a:gd name="T43" fmla="*/ 44 h 275"/>
                <a:gd name="T44" fmla="*/ 231 w 288"/>
                <a:gd name="T45" fmla="*/ 231 h 275"/>
                <a:gd name="T46" fmla="*/ 137 w 288"/>
                <a:gd name="T47" fmla="*/ 270 h 275"/>
                <a:gd name="T48" fmla="*/ 137 w 288"/>
                <a:gd name="T49" fmla="*/ 270 h 275"/>
                <a:gd name="T50" fmla="*/ 137 w 288"/>
                <a:gd name="T51" fmla="*/ 0 h 275"/>
                <a:gd name="T52" fmla="*/ 40 w 288"/>
                <a:gd name="T53" fmla="*/ 40 h 275"/>
                <a:gd name="T54" fmla="*/ 0 w 288"/>
                <a:gd name="T55" fmla="*/ 137 h 275"/>
                <a:gd name="T56" fmla="*/ 40 w 288"/>
                <a:gd name="T57" fmla="*/ 235 h 275"/>
                <a:gd name="T58" fmla="*/ 137 w 288"/>
                <a:gd name="T59" fmla="*/ 275 h 275"/>
                <a:gd name="T60" fmla="*/ 137 w 288"/>
                <a:gd name="T61" fmla="*/ 275 h 275"/>
                <a:gd name="T62" fmla="*/ 234 w 288"/>
                <a:gd name="T63" fmla="*/ 235 h 275"/>
                <a:gd name="T64" fmla="*/ 234 w 288"/>
                <a:gd name="T65" fmla="*/ 40 h 275"/>
                <a:gd name="T66" fmla="*/ 137 w 288"/>
                <a:gd name="T6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75">
                  <a:moveTo>
                    <a:pt x="137" y="184"/>
                  </a:moveTo>
                  <a:cubicBezTo>
                    <a:pt x="125" y="184"/>
                    <a:pt x="113" y="179"/>
                    <a:pt x="105" y="170"/>
                  </a:cubicBezTo>
                  <a:cubicBezTo>
                    <a:pt x="87" y="152"/>
                    <a:pt x="87" y="123"/>
                    <a:pt x="105" y="105"/>
                  </a:cubicBezTo>
                  <a:cubicBezTo>
                    <a:pt x="113" y="96"/>
                    <a:pt x="125" y="91"/>
                    <a:pt x="137" y="91"/>
                  </a:cubicBezTo>
                  <a:cubicBezTo>
                    <a:pt x="150" y="91"/>
                    <a:pt x="161" y="96"/>
                    <a:pt x="170" y="105"/>
                  </a:cubicBezTo>
                  <a:cubicBezTo>
                    <a:pt x="179" y="114"/>
                    <a:pt x="183" y="125"/>
                    <a:pt x="183" y="138"/>
                  </a:cubicBezTo>
                  <a:cubicBezTo>
                    <a:pt x="183" y="150"/>
                    <a:pt x="179" y="161"/>
                    <a:pt x="170" y="170"/>
                  </a:cubicBezTo>
                  <a:cubicBezTo>
                    <a:pt x="161" y="179"/>
                    <a:pt x="150" y="184"/>
                    <a:pt x="137" y="184"/>
                  </a:cubicBezTo>
                  <a:moveTo>
                    <a:pt x="137" y="86"/>
                  </a:moveTo>
                  <a:cubicBezTo>
                    <a:pt x="124" y="86"/>
                    <a:pt x="111" y="92"/>
                    <a:pt x="101" y="101"/>
                  </a:cubicBezTo>
                  <a:cubicBezTo>
                    <a:pt x="81" y="121"/>
                    <a:pt x="81" y="154"/>
                    <a:pt x="101" y="174"/>
                  </a:cubicBezTo>
                  <a:cubicBezTo>
                    <a:pt x="111" y="183"/>
                    <a:pt x="124" y="189"/>
                    <a:pt x="137" y="189"/>
                  </a:cubicBezTo>
                  <a:cubicBezTo>
                    <a:pt x="151" y="189"/>
                    <a:pt x="164" y="183"/>
                    <a:pt x="173" y="174"/>
                  </a:cubicBezTo>
                  <a:cubicBezTo>
                    <a:pt x="183" y="164"/>
                    <a:pt x="188" y="151"/>
                    <a:pt x="188" y="138"/>
                  </a:cubicBezTo>
                  <a:cubicBezTo>
                    <a:pt x="188" y="124"/>
                    <a:pt x="183" y="111"/>
                    <a:pt x="173" y="101"/>
                  </a:cubicBezTo>
                  <a:cubicBezTo>
                    <a:pt x="164" y="92"/>
                    <a:pt x="151" y="86"/>
                    <a:pt x="137" y="86"/>
                  </a:cubicBezTo>
                  <a:moveTo>
                    <a:pt x="137" y="270"/>
                  </a:moveTo>
                  <a:cubicBezTo>
                    <a:pt x="102" y="270"/>
                    <a:pt x="69" y="256"/>
                    <a:pt x="44" y="231"/>
                  </a:cubicBezTo>
                  <a:cubicBezTo>
                    <a:pt x="19" y="206"/>
                    <a:pt x="5" y="173"/>
                    <a:pt x="5" y="137"/>
                  </a:cubicBezTo>
                  <a:cubicBezTo>
                    <a:pt x="5" y="102"/>
                    <a:pt x="19" y="69"/>
                    <a:pt x="44" y="44"/>
                  </a:cubicBezTo>
                  <a:cubicBezTo>
                    <a:pt x="69" y="19"/>
                    <a:pt x="102" y="5"/>
                    <a:pt x="137" y="5"/>
                  </a:cubicBezTo>
                  <a:cubicBezTo>
                    <a:pt x="173" y="5"/>
                    <a:pt x="206" y="19"/>
                    <a:pt x="231" y="44"/>
                  </a:cubicBezTo>
                  <a:cubicBezTo>
                    <a:pt x="282" y="96"/>
                    <a:pt x="282" y="180"/>
                    <a:pt x="231" y="231"/>
                  </a:cubicBezTo>
                  <a:cubicBezTo>
                    <a:pt x="206" y="256"/>
                    <a:pt x="173" y="270"/>
                    <a:pt x="137" y="270"/>
                  </a:cubicBezTo>
                  <a:cubicBezTo>
                    <a:pt x="137" y="270"/>
                    <a:pt x="137" y="270"/>
                    <a:pt x="137" y="270"/>
                  </a:cubicBezTo>
                  <a:moveTo>
                    <a:pt x="137" y="0"/>
                  </a:moveTo>
                  <a:cubicBezTo>
                    <a:pt x="101" y="0"/>
                    <a:pt x="66" y="14"/>
                    <a:pt x="40" y="40"/>
                  </a:cubicBezTo>
                  <a:cubicBezTo>
                    <a:pt x="14" y="66"/>
                    <a:pt x="0" y="101"/>
                    <a:pt x="0" y="137"/>
                  </a:cubicBezTo>
                  <a:cubicBezTo>
                    <a:pt x="0" y="174"/>
                    <a:pt x="14" y="209"/>
                    <a:pt x="40" y="235"/>
                  </a:cubicBezTo>
                  <a:cubicBezTo>
                    <a:pt x="66" y="261"/>
                    <a:pt x="100" y="275"/>
                    <a:pt x="137" y="275"/>
                  </a:cubicBezTo>
                  <a:cubicBezTo>
                    <a:pt x="137" y="275"/>
                    <a:pt x="137" y="275"/>
                    <a:pt x="137" y="275"/>
                  </a:cubicBezTo>
                  <a:cubicBezTo>
                    <a:pt x="174" y="275"/>
                    <a:pt x="208" y="261"/>
                    <a:pt x="234" y="235"/>
                  </a:cubicBezTo>
                  <a:cubicBezTo>
                    <a:pt x="288" y="181"/>
                    <a:pt x="288" y="94"/>
                    <a:pt x="234" y="40"/>
                  </a:cubicBezTo>
                  <a:cubicBezTo>
                    <a:pt x="208" y="15"/>
                    <a:pt x="174"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5" name="Freeform 21314">
              <a:extLst>
                <a:ext uri="{FF2B5EF4-FFF2-40B4-BE49-F238E27FC236}">
                  <a16:creationId xmlns:a16="http://schemas.microsoft.com/office/drawing/2014/main" id="{A3A8F637-3CDE-4EEB-B01C-9F46F4BA9F45}"/>
                </a:ext>
              </a:extLst>
            </p:cNvPr>
            <p:cNvSpPr>
              <a:spLocks noEditPoints="1"/>
            </p:cNvSpPr>
            <p:nvPr userDrawn="1"/>
          </p:nvSpPr>
          <p:spPr bwMode="auto">
            <a:xfrm>
              <a:off x="10945178" y="2702878"/>
              <a:ext cx="735013" cy="731838"/>
            </a:xfrm>
            <a:custGeom>
              <a:avLst/>
              <a:gdLst>
                <a:gd name="T0" fmla="*/ 182 w 364"/>
                <a:gd name="T1" fmla="*/ 67 h 363"/>
                <a:gd name="T2" fmla="*/ 182 w 364"/>
                <a:gd name="T3" fmla="*/ 62 h 363"/>
                <a:gd name="T4" fmla="*/ 267 w 364"/>
                <a:gd name="T5" fmla="*/ 266 h 363"/>
                <a:gd name="T6" fmla="*/ 142 w 364"/>
                <a:gd name="T7" fmla="*/ 43 h 363"/>
                <a:gd name="T8" fmla="*/ 171 w 364"/>
                <a:gd name="T9" fmla="*/ 14 h 363"/>
                <a:gd name="T10" fmla="*/ 210 w 364"/>
                <a:gd name="T11" fmla="*/ 6 h 363"/>
                <a:gd name="T12" fmla="*/ 230 w 364"/>
                <a:gd name="T13" fmla="*/ 45 h 363"/>
                <a:gd name="T14" fmla="*/ 271 w 364"/>
                <a:gd name="T15" fmla="*/ 39 h 363"/>
                <a:gd name="T16" fmla="*/ 305 w 364"/>
                <a:gd name="T17" fmla="*/ 55 h 363"/>
                <a:gd name="T18" fmla="*/ 300 w 364"/>
                <a:gd name="T19" fmla="*/ 99 h 363"/>
                <a:gd name="T20" fmla="*/ 342 w 364"/>
                <a:gd name="T21" fmla="*/ 104 h 363"/>
                <a:gd name="T22" fmla="*/ 358 w 364"/>
                <a:gd name="T23" fmla="*/ 155 h 363"/>
                <a:gd name="T24" fmla="*/ 350 w 364"/>
                <a:gd name="T25" fmla="*/ 200 h 363"/>
                <a:gd name="T26" fmla="*/ 344 w 364"/>
                <a:gd name="T27" fmla="*/ 219 h 363"/>
                <a:gd name="T28" fmla="*/ 339 w 364"/>
                <a:gd name="T29" fmla="*/ 264 h 363"/>
                <a:gd name="T30" fmla="*/ 299 w 364"/>
                <a:gd name="T31" fmla="*/ 267 h 363"/>
                <a:gd name="T32" fmla="*/ 293 w 364"/>
                <a:gd name="T33" fmla="*/ 308 h 363"/>
                <a:gd name="T34" fmla="*/ 258 w 364"/>
                <a:gd name="T35" fmla="*/ 342 h 363"/>
                <a:gd name="T36" fmla="*/ 221 w 364"/>
                <a:gd name="T37" fmla="*/ 321 h 363"/>
                <a:gd name="T38" fmla="*/ 195 w 364"/>
                <a:gd name="T39" fmla="*/ 349 h 363"/>
                <a:gd name="T40" fmla="*/ 155 w 364"/>
                <a:gd name="T41" fmla="*/ 357 h 363"/>
                <a:gd name="T42" fmla="*/ 133 w 364"/>
                <a:gd name="T43" fmla="*/ 317 h 363"/>
                <a:gd name="T44" fmla="*/ 98 w 364"/>
                <a:gd name="T45" fmla="*/ 338 h 363"/>
                <a:gd name="T46" fmla="*/ 69 w 364"/>
                <a:gd name="T47" fmla="*/ 306 h 363"/>
                <a:gd name="T48" fmla="*/ 64 w 364"/>
                <a:gd name="T49" fmla="*/ 265 h 363"/>
                <a:gd name="T50" fmla="*/ 23 w 364"/>
                <a:gd name="T51" fmla="*/ 261 h 363"/>
                <a:gd name="T52" fmla="*/ 18 w 364"/>
                <a:gd name="T53" fmla="*/ 217 h 363"/>
                <a:gd name="T54" fmla="*/ 15 w 364"/>
                <a:gd name="T55" fmla="*/ 197 h 363"/>
                <a:gd name="T56" fmla="*/ 7 w 364"/>
                <a:gd name="T57" fmla="*/ 152 h 363"/>
                <a:gd name="T58" fmla="*/ 28 w 364"/>
                <a:gd name="T59" fmla="*/ 114 h 363"/>
                <a:gd name="T60" fmla="*/ 54 w 364"/>
                <a:gd name="T61" fmla="*/ 99 h 363"/>
                <a:gd name="T62" fmla="*/ 57 w 364"/>
                <a:gd name="T63" fmla="*/ 56 h 363"/>
                <a:gd name="T64" fmla="*/ 99 w 364"/>
                <a:gd name="T65" fmla="*/ 64 h 363"/>
                <a:gd name="T66" fmla="*/ 108 w 364"/>
                <a:gd name="T67" fmla="*/ 20 h 363"/>
                <a:gd name="T68" fmla="*/ 163 w 364"/>
                <a:gd name="T69" fmla="*/ 0 h 363"/>
                <a:gd name="T70" fmla="*/ 124 w 364"/>
                <a:gd name="T71" fmla="*/ 23 h 363"/>
                <a:gd name="T72" fmla="*/ 97 w 364"/>
                <a:gd name="T73" fmla="*/ 60 h 363"/>
                <a:gd name="T74" fmla="*/ 96 w 364"/>
                <a:gd name="T75" fmla="*/ 60 h 363"/>
                <a:gd name="T76" fmla="*/ 52 w 364"/>
                <a:gd name="T77" fmla="*/ 53 h 363"/>
                <a:gd name="T78" fmla="*/ 30 w 364"/>
                <a:gd name="T79" fmla="*/ 90 h 363"/>
                <a:gd name="T80" fmla="*/ 18 w 364"/>
                <a:gd name="T81" fmla="*/ 140 h 363"/>
                <a:gd name="T82" fmla="*/ 33 w 364"/>
                <a:gd name="T83" fmla="*/ 180 h 363"/>
                <a:gd name="T84" fmla="*/ 18 w 364"/>
                <a:gd name="T85" fmla="*/ 222 h 363"/>
                <a:gd name="T86" fmla="*/ 19 w 364"/>
                <a:gd name="T87" fmla="*/ 264 h 363"/>
                <a:gd name="T88" fmla="*/ 51 w 364"/>
                <a:gd name="T89" fmla="*/ 289 h 363"/>
                <a:gd name="T90" fmla="*/ 92 w 364"/>
                <a:gd name="T91" fmla="*/ 301 h 363"/>
                <a:gd name="T92" fmla="*/ 116 w 364"/>
                <a:gd name="T93" fmla="*/ 337 h 363"/>
                <a:gd name="T94" fmla="*/ 155 w 364"/>
                <a:gd name="T95" fmla="*/ 362 h 363"/>
                <a:gd name="T96" fmla="*/ 206 w 364"/>
                <a:gd name="T97" fmla="*/ 363 h 363"/>
                <a:gd name="T98" fmla="*/ 253 w 364"/>
                <a:gd name="T99" fmla="*/ 349 h 363"/>
                <a:gd name="T100" fmla="*/ 269 w 364"/>
                <a:gd name="T101" fmla="*/ 302 h 363"/>
                <a:gd name="T102" fmla="*/ 312 w 364"/>
                <a:gd name="T103" fmla="*/ 291 h 363"/>
                <a:gd name="T104" fmla="*/ 344 w 364"/>
                <a:gd name="T105" fmla="*/ 267 h 363"/>
                <a:gd name="T106" fmla="*/ 346 w 364"/>
                <a:gd name="T107" fmla="*/ 224 h 363"/>
                <a:gd name="T108" fmla="*/ 332 w 364"/>
                <a:gd name="T109" fmla="*/ 183 h 363"/>
                <a:gd name="T110" fmla="*/ 347 w 364"/>
                <a:gd name="T111" fmla="*/ 143 h 363"/>
                <a:gd name="T112" fmla="*/ 335 w 364"/>
                <a:gd name="T113" fmla="*/ 93 h 363"/>
                <a:gd name="T114" fmla="*/ 315 w 364"/>
                <a:gd name="T115" fmla="*/ 56 h 363"/>
                <a:gd name="T116" fmla="*/ 272 w 364"/>
                <a:gd name="T117" fmla="*/ 62 h 363"/>
                <a:gd name="T118" fmla="*/ 249 w 364"/>
                <a:gd name="T119" fmla="*/ 26 h 363"/>
                <a:gd name="T120" fmla="*/ 210 w 364"/>
                <a:gd name="T121" fmla="*/ 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4" h="363">
                  <a:moveTo>
                    <a:pt x="182" y="296"/>
                  </a:moveTo>
                  <a:cubicBezTo>
                    <a:pt x="152" y="296"/>
                    <a:pt x="123" y="284"/>
                    <a:pt x="101" y="263"/>
                  </a:cubicBezTo>
                  <a:cubicBezTo>
                    <a:pt x="79" y="241"/>
                    <a:pt x="67" y="212"/>
                    <a:pt x="67" y="181"/>
                  </a:cubicBezTo>
                  <a:cubicBezTo>
                    <a:pt x="67" y="151"/>
                    <a:pt x="79" y="122"/>
                    <a:pt x="101" y="100"/>
                  </a:cubicBezTo>
                  <a:cubicBezTo>
                    <a:pt x="123" y="79"/>
                    <a:pt x="152" y="67"/>
                    <a:pt x="182" y="67"/>
                  </a:cubicBezTo>
                  <a:cubicBezTo>
                    <a:pt x="213" y="67"/>
                    <a:pt x="242" y="79"/>
                    <a:pt x="263" y="100"/>
                  </a:cubicBezTo>
                  <a:cubicBezTo>
                    <a:pt x="285" y="122"/>
                    <a:pt x="297" y="151"/>
                    <a:pt x="297" y="182"/>
                  </a:cubicBezTo>
                  <a:cubicBezTo>
                    <a:pt x="297" y="212"/>
                    <a:pt x="285" y="241"/>
                    <a:pt x="263" y="263"/>
                  </a:cubicBezTo>
                  <a:cubicBezTo>
                    <a:pt x="242" y="284"/>
                    <a:pt x="213" y="296"/>
                    <a:pt x="182" y="296"/>
                  </a:cubicBezTo>
                  <a:moveTo>
                    <a:pt x="182" y="62"/>
                  </a:moveTo>
                  <a:cubicBezTo>
                    <a:pt x="150" y="62"/>
                    <a:pt x="120" y="74"/>
                    <a:pt x="98" y="97"/>
                  </a:cubicBezTo>
                  <a:cubicBezTo>
                    <a:pt x="75" y="119"/>
                    <a:pt x="62" y="150"/>
                    <a:pt x="62" y="181"/>
                  </a:cubicBezTo>
                  <a:cubicBezTo>
                    <a:pt x="62" y="213"/>
                    <a:pt x="75" y="244"/>
                    <a:pt x="97" y="266"/>
                  </a:cubicBezTo>
                  <a:cubicBezTo>
                    <a:pt x="120" y="289"/>
                    <a:pt x="150" y="301"/>
                    <a:pt x="182" y="301"/>
                  </a:cubicBezTo>
                  <a:cubicBezTo>
                    <a:pt x="214" y="301"/>
                    <a:pt x="244" y="289"/>
                    <a:pt x="267" y="266"/>
                  </a:cubicBezTo>
                  <a:cubicBezTo>
                    <a:pt x="289" y="244"/>
                    <a:pt x="302" y="214"/>
                    <a:pt x="302" y="182"/>
                  </a:cubicBezTo>
                  <a:cubicBezTo>
                    <a:pt x="302" y="150"/>
                    <a:pt x="290" y="120"/>
                    <a:pt x="267" y="97"/>
                  </a:cubicBezTo>
                  <a:cubicBezTo>
                    <a:pt x="244" y="74"/>
                    <a:pt x="214" y="62"/>
                    <a:pt x="182" y="62"/>
                  </a:cubicBezTo>
                  <a:moveTo>
                    <a:pt x="140" y="44"/>
                  </a:moveTo>
                  <a:cubicBezTo>
                    <a:pt x="141" y="44"/>
                    <a:pt x="141" y="43"/>
                    <a:pt x="142" y="43"/>
                  </a:cubicBezTo>
                  <a:cubicBezTo>
                    <a:pt x="147" y="39"/>
                    <a:pt x="151" y="27"/>
                    <a:pt x="151" y="16"/>
                  </a:cubicBezTo>
                  <a:cubicBezTo>
                    <a:pt x="151" y="6"/>
                    <a:pt x="154" y="6"/>
                    <a:pt x="159" y="5"/>
                  </a:cubicBezTo>
                  <a:cubicBezTo>
                    <a:pt x="161" y="5"/>
                    <a:pt x="161" y="5"/>
                    <a:pt x="161" y="5"/>
                  </a:cubicBezTo>
                  <a:cubicBezTo>
                    <a:pt x="162" y="5"/>
                    <a:pt x="163" y="5"/>
                    <a:pt x="163" y="5"/>
                  </a:cubicBezTo>
                  <a:cubicBezTo>
                    <a:pt x="165" y="5"/>
                    <a:pt x="169" y="5"/>
                    <a:pt x="171" y="14"/>
                  </a:cubicBezTo>
                  <a:cubicBezTo>
                    <a:pt x="173" y="22"/>
                    <a:pt x="178" y="33"/>
                    <a:pt x="184" y="37"/>
                  </a:cubicBezTo>
                  <a:cubicBezTo>
                    <a:pt x="184" y="37"/>
                    <a:pt x="185" y="37"/>
                    <a:pt x="185" y="37"/>
                  </a:cubicBezTo>
                  <a:cubicBezTo>
                    <a:pt x="186" y="37"/>
                    <a:pt x="186" y="37"/>
                    <a:pt x="186" y="37"/>
                  </a:cubicBezTo>
                  <a:cubicBezTo>
                    <a:pt x="192" y="35"/>
                    <a:pt x="199" y="24"/>
                    <a:pt x="203" y="15"/>
                  </a:cubicBezTo>
                  <a:cubicBezTo>
                    <a:pt x="206" y="6"/>
                    <a:pt x="209" y="6"/>
                    <a:pt x="210" y="6"/>
                  </a:cubicBezTo>
                  <a:cubicBezTo>
                    <a:pt x="212" y="6"/>
                    <a:pt x="213" y="6"/>
                    <a:pt x="214" y="7"/>
                  </a:cubicBezTo>
                  <a:cubicBezTo>
                    <a:pt x="216" y="7"/>
                    <a:pt x="216" y="7"/>
                    <a:pt x="216" y="7"/>
                  </a:cubicBezTo>
                  <a:cubicBezTo>
                    <a:pt x="220" y="8"/>
                    <a:pt x="223" y="9"/>
                    <a:pt x="223" y="19"/>
                  </a:cubicBezTo>
                  <a:cubicBezTo>
                    <a:pt x="222" y="27"/>
                    <a:pt x="224" y="39"/>
                    <a:pt x="228" y="44"/>
                  </a:cubicBezTo>
                  <a:cubicBezTo>
                    <a:pt x="228" y="45"/>
                    <a:pt x="229" y="45"/>
                    <a:pt x="230" y="45"/>
                  </a:cubicBezTo>
                  <a:cubicBezTo>
                    <a:pt x="237" y="45"/>
                    <a:pt x="247" y="37"/>
                    <a:pt x="253" y="29"/>
                  </a:cubicBezTo>
                  <a:cubicBezTo>
                    <a:pt x="256" y="25"/>
                    <a:pt x="259" y="23"/>
                    <a:pt x="261" y="23"/>
                  </a:cubicBezTo>
                  <a:cubicBezTo>
                    <a:pt x="263" y="23"/>
                    <a:pt x="264" y="24"/>
                    <a:pt x="266" y="25"/>
                  </a:cubicBezTo>
                  <a:cubicBezTo>
                    <a:pt x="267" y="26"/>
                    <a:pt x="267" y="26"/>
                    <a:pt x="267" y="26"/>
                  </a:cubicBezTo>
                  <a:cubicBezTo>
                    <a:pt x="271" y="28"/>
                    <a:pt x="274" y="29"/>
                    <a:pt x="271" y="39"/>
                  </a:cubicBezTo>
                  <a:cubicBezTo>
                    <a:pt x="268" y="47"/>
                    <a:pt x="265" y="58"/>
                    <a:pt x="268" y="65"/>
                  </a:cubicBezTo>
                  <a:cubicBezTo>
                    <a:pt x="268" y="66"/>
                    <a:pt x="268" y="66"/>
                    <a:pt x="269" y="67"/>
                  </a:cubicBezTo>
                  <a:cubicBezTo>
                    <a:pt x="270" y="67"/>
                    <a:pt x="271" y="67"/>
                    <a:pt x="273" y="67"/>
                  </a:cubicBezTo>
                  <a:cubicBezTo>
                    <a:pt x="280" y="67"/>
                    <a:pt x="290" y="63"/>
                    <a:pt x="297" y="58"/>
                  </a:cubicBezTo>
                  <a:cubicBezTo>
                    <a:pt x="300" y="56"/>
                    <a:pt x="302" y="55"/>
                    <a:pt x="305" y="55"/>
                  </a:cubicBezTo>
                  <a:cubicBezTo>
                    <a:pt x="307" y="55"/>
                    <a:pt x="308" y="56"/>
                    <a:pt x="310" y="58"/>
                  </a:cubicBezTo>
                  <a:cubicBezTo>
                    <a:pt x="311" y="59"/>
                    <a:pt x="311" y="59"/>
                    <a:pt x="311" y="59"/>
                  </a:cubicBezTo>
                  <a:cubicBezTo>
                    <a:pt x="314" y="62"/>
                    <a:pt x="316" y="65"/>
                    <a:pt x="310" y="73"/>
                  </a:cubicBezTo>
                  <a:cubicBezTo>
                    <a:pt x="305" y="79"/>
                    <a:pt x="299" y="90"/>
                    <a:pt x="299" y="97"/>
                  </a:cubicBezTo>
                  <a:cubicBezTo>
                    <a:pt x="299" y="98"/>
                    <a:pt x="300" y="98"/>
                    <a:pt x="300" y="99"/>
                  </a:cubicBezTo>
                  <a:cubicBezTo>
                    <a:pt x="303" y="101"/>
                    <a:pt x="307" y="101"/>
                    <a:pt x="312" y="101"/>
                  </a:cubicBezTo>
                  <a:cubicBezTo>
                    <a:pt x="317" y="101"/>
                    <a:pt x="323" y="101"/>
                    <a:pt x="329" y="99"/>
                  </a:cubicBezTo>
                  <a:cubicBezTo>
                    <a:pt x="331" y="98"/>
                    <a:pt x="334" y="98"/>
                    <a:pt x="335" y="98"/>
                  </a:cubicBezTo>
                  <a:cubicBezTo>
                    <a:pt x="339" y="98"/>
                    <a:pt x="340" y="100"/>
                    <a:pt x="342" y="103"/>
                  </a:cubicBezTo>
                  <a:cubicBezTo>
                    <a:pt x="342" y="104"/>
                    <a:pt x="342" y="104"/>
                    <a:pt x="342" y="104"/>
                  </a:cubicBezTo>
                  <a:cubicBezTo>
                    <a:pt x="344" y="108"/>
                    <a:pt x="346" y="112"/>
                    <a:pt x="337" y="117"/>
                  </a:cubicBezTo>
                  <a:cubicBezTo>
                    <a:pt x="330" y="122"/>
                    <a:pt x="322" y="130"/>
                    <a:pt x="320" y="137"/>
                  </a:cubicBezTo>
                  <a:cubicBezTo>
                    <a:pt x="319" y="137"/>
                    <a:pt x="319" y="138"/>
                    <a:pt x="320" y="139"/>
                  </a:cubicBezTo>
                  <a:cubicBezTo>
                    <a:pt x="324" y="144"/>
                    <a:pt x="336" y="147"/>
                    <a:pt x="347" y="148"/>
                  </a:cubicBezTo>
                  <a:cubicBezTo>
                    <a:pt x="357" y="148"/>
                    <a:pt x="357" y="151"/>
                    <a:pt x="358" y="155"/>
                  </a:cubicBezTo>
                  <a:cubicBezTo>
                    <a:pt x="358" y="157"/>
                    <a:pt x="358" y="157"/>
                    <a:pt x="358" y="157"/>
                  </a:cubicBezTo>
                  <a:cubicBezTo>
                    <a:pt x="359" y="161"/>
                    <a:pt x="359" y="165"/>
                    <a:pt x="349" y="168"/>
                  </a:cubicBezTo>
                  <a:cubicBezTo>
                    <a:pt x="341" y="170"/>
                    <a:pt x="331" y="175"/>
                    <a:pt x="327" y="181"/>
                  </a:cubicBezTo>
                  <a:cubicBezTo>
                    <a:pt x="326" y="182"/>
                    <a:pt x="326" y="182"/>
                    <a:pt x="326" y="183"/>
                  </a:cubicBezTo>
                  <a:cubicBezTo>
                    <a:pt x="329" y="189"/>
                    <a:pt x="340" y="196"/>
                    <a:pt x="350" y="200"/>
                  </a:cubicBezTo>
                  <a:cubicBezTo>
                    <a:pt x="359" y="203"/>
                    <a:pt x="358" y="206"/>
                    <a:pt x="357" y="211"/>
                  </a:cubicBezTo>
                  <a:cubicBezTo>
                    <a:pt x="357" y="212"/>
                    <a:pt x="357" y="212"/>
                    <a:pt x="357" y="212"/>
                  </a:cubicBezTo>
                  <a:cubicBezTo>
                    <a:pt x="356" y="216"/>
                    <a:pt x="356" y="219"/>
                    <a:pt x="348" y="219"/>
                  </a:cubicBezTo>
                  <a:cubicBezTo>
                    <a:pt x="347" y="219"/>
                    <a:pt x="347" y="219"/>
                    <a:pt x="346" y="219"/>
                  </a:cubicBezTo>
                  <a:cubicBezTo>
                    <a:pt x="345" y="219"/>
                    <a:pt x="345" y="219"/>
                    <a:pt x="344" y="219"/>
                  </a:cubicBezTo>
                  <a:cubicBezTo>
                    <a:pt x="336" y="219"/>
                    <a:pt x="325" y="221"/>
                    <a:pt x="320" y="225"/>
                  </a:cubicBezTo>
                  <a:cubicBezTo>
                    <a:pt x="319" y="226"/>
                    <a:pt x="319" y="226"/>
                    <a:pt x="319" y="227"/>
                  </a:cubicBezTo>
                  <a:cubicBezTo>
                    <a:pt x="319" y="234"/>
                    <a:pt x="327" y="244"/>
                    <a:pt x="336" y="250"/>
                  </a:cubicBezTo>
                  <a:cubicBezTo>
                    <a:pt x="344" y="256"/>
                    <a:pt x="342" y="259"/>
                    <a:pt x="340" y="263"/>
                  </a:cubicBezTo>
                  <a:cubicBezTo>
                    <a:pt x="339" y="264"/>
                    <a:pt x="339" y="264"/>
                    <a:pt x="339" y="264"/>
                  </a:cubicBezTo>
                  <a:cubicBezTo>
                    <a:pt x="338" y="267"/>
                    <a:pt x="337" y="269"/>
                    <a:pt x="333" y="269"/>
                  </a:cubicBezTo>
                  <a:cubicBezTo>
                    <a:pt x="331" y="269"/>
                    <a:pt x="329" y="269"/>
                    <a:pt x="326" y="268"/>
                  </a:cubicBezTo>
                  <a:cubicBezTo>
                    <a:pt x="320" y="265"/>
                    <a:pt x="313" y="264"/>
                    <a:pt x="307" y="264"/>
                  </a:cubicBezTo>
                  <a:cubicBezTo>
                    <a:pt x="304" y="264"/>
                    <a:pt x="302" y="264"/>
                    <a:pt x="300" y="265"/>
                  </a:cubicBezTo>
                  <a:cubicBezTo>
                    <a:pt x="299" y="265"/>
                    <a:pt x="299" y="266"/>
                    <a:pt x="299" y="267"/>
                  </a:cubicBezTo>
                  <a:cubicBezTo>
                    <a:pt x="297" y="273"/>
                    <a:pt x="301" y="285"/>
                    <a:pt x="308" y="294"/>
                  </a:cubicBezTo>
                  <a:cubicBezTo>
                    <a:pt x="313" y="302"/>
                    <a:pt x="311" y="304"/>
                    <a:pt x="308" y="307"/>
                  </a:cubicBezTo>
                  <a:cubicBezTo>
                    <a:pt x="307" y="308"/>
                    <a:pt x="307" y="308"/>
                    <a:pt x="307" y="308"/>
                  </a:cubicBezTo>
                  <a:cubicBezTo>
                    <a:pt x="305" y="310"/>
                    <a:pt x="303" y="312"/>
                    <a:pt x="301" y="312"/>
                  </a:cubicBezTo>
                  <a:cubicBezTo>
                    <a:pt x="299" y="312"/>
                    <a:pt x="296" y="310"/>
                    <a:pt x="293" y="308"/>
                  </a:cubicBezTo>
                  <a:cubicBezTo>
                    <a:pt x="286" y="303"/>
                    <a:pt x="276" y="297"/>
                    <a:pt x="269" y="297"/>
                  </a:cubicBezTo>
                  <a:cubicBezTo>
                    <a:pt x="268" y="297"/>
                    <a:pt x="266" y="297"/>
                    <a:pt x="265" y="298"/>
                  </a:cubicBezTo>
                  <a:cubicBezTo>
                    <a:pt x="258" y="302"/>
                    <a:pt x="260" y="319"/>
                    <a:pt x="263" y="329"/>
                  </a:cubicBezTo>
                  <a:cubicBezTo>
                    <a:pt x="267" y="338"/>
                    <a:pt x="264" y="340"/>
                    <a:pt x="260" y="342"/>
                  </a:cubicBezTo>
                  <a:cubicBezTo>
                    <a:pt x="258" y="342"/>
                    <a:pt x="258" y="342"/>
                    <a:pt x="258" y="342"/>
                  </a:cubicBezTo>
                  <a:cubicBezTo>
                    <a:pt x="256" y="343"/>
                    <a:pt x="255" y="344"/>
                    <a:pt x="253" y="344"/>
                  </a:cubicBezTo>
                  <a:cubicBezTo>
                    <a:pt x="251" y="344"/>
                    <a:pt x="248" y="342"/>
                    <a:pt x="246" y="337"/>
                  </a:cubicBezTo>
                  <a:cubicBezTo>
                    <a:pt x="240" y="329"/>
                    <a:pt x="230" y="320"/>
                    <a:pt x="223" y="320"/>
                  </a:cubicBezTo>
                  <a:cubicBezTo>
                    <a:pt x="223" y="320"/>
                    <a:pt x="223" y="320"/>
                    <a:pt x="223" y="320"/>
                  </a:cubicBezTo>
                  <a:cubicBezTo>
                    <a:pt x="222" y="320"/>
                    <a:pt x="222" y="320"/>
                    <a:pt x="221" y="321"/>
                  </a:cubicBezTo>
                  <a:cubicBezTo>
                    <a:pt x="217" y="326"/>
                    <a:pt x="215" y="338"/>
                    <a:pt x="214" y="346"/>
                  </a:cubicBezTo>
                  <a:cubicBezTo>
                    <a:pt x="215" y="356"/>
                    <a:pt x="211" y="357"/>
                    <a:pt x="207" y="358"/>
                  </a:cubicBezTo>
                  <a:cubicBezTo>
                    <a:pt x="205" y="358"/>
                    <a:pt x="205" y="358"/>
                    <a:pt x="205" y="358"/>
                  </a:cubicBezTo>
                  <a:cubicBezTo>
                    <a:pt x="204" y="358"/>
                    <a:pt x="203" y="358"/>
                    <a:pt x="202" y="358"/>
                  </a:cubicBezTo>
                  <a:cubicBezTo>
                    <a:pt x="201" y="358"/>
                    <a:pt x="197" y="358"/>
                    <a:pt x="195" y="349"/>
                  </a:cubicBezTo>
                  <a:cubicBezTo>
                    <a:pt x="192" y="339"/>
                    <a:pt x="185" y="328"/>
                    <a:pt x="179" y="326"/>
                  </a:cubicBezTo>
                  <a:cubicBezTo>
                    <a:pt x="178" y="326"/>
                    <a:pt x="178" y="326"/>
                    <a:pt x="178" y="326"/>
                  </a:cubicBezTo>
                  <a:cubicBezTo>
                    <a:pt x="177" y="326"/>
                    <a:pt x="177" y="326"/>
                    <a:pt x="177" y="326"/>
                  </a:cubicBezTo>
                  <a:cubicBezTo>
                    <a:pt x="171" y="330"/>
                    <a:pt x="165" y="340"/>
                    <a:pt x="163" y="348"/>
                  </a:cubicBezTo>
                  <a:cubicBezTo>
                    <a:pt x="160" y="357"/>
                    <a:pt x="157" y="357"/>
                    <a:pt x="155" y="357"/>
                  </a:cubicBezTo>
                  <a:cubicBezTo>
                    <a:pt x="154" y="357"/>
                    <a:pt x="153" y="357"/>
                    <a:pt x="152" y="357"/>
                  </a:cubicBezTo>
                  <a:cubicBezTo>
                    <a:pt x="150" y="356"/>
                    <a:pt x="150" y="356"/>
                    <a:pt x="150" y="356"/>
                  </a:cubicBezTo>
                  <a:cubicBezTo>
                    <a:pt x="146" y="356"/>
                    <a:pt x="143" y="355"/>
                    <a:pt x="143" y="345"/>
                  </a:cubicBezTo>
                  <a:cubicBezTo>
                    <a:pt x="143" y="335"/>
                    <a:pt x="140" y="322"/>
                    <a:pt x="135" y="318"/>
                  </a:cubicBezTo>
                  <a:cubicBezTo>
                    <a:pt x="134" y="317"/>
                    <a:pt x="134" y="317"/>
                    <a:pt x="133" y="317"/>
                  </a:cubicBezTo>
                  <a:cubicBezTo>
                    <a:pt x="133" y="317"/>
                    <a:pt x="133" y="317"/>
                    <a:pt x="133" y="317"/>
                  </a:cubicBezTo>
                  <a:cubicBezTo>
                    <a:pt x="126" y="319"/>
                    <a:pt x="118" y="327"/>
                    <a:pt x="112" y="334"/>
                  </a:cubicBezTo>
                  <a:cubicBezTo>
                    <a:pt x="110" y="339"/>
                    <a:pt x="107" y="341"/>
                    <a:pt x="105" y="341"/>
                  </a:cubicBezTo>
                  <a:cubicBezTo>
                    <a:pt x="103" y="341"/>
                    <a:pt x="101" y="340"/>
                    <a:pt x="100" y="339"/>
                  </a:cubicBezTo>
                  <a:cubicBezTo>
                    <a:pt x="98" y="338"/>
                    <a:pt x="98" y="338"/>
                    <a:pt x="98" y="338"/>
                  </a:cubicBezTo>
                  <a:cubicBezTo>
                    <a:pt x="94" y="336"/>
                    <a:pt x="91" y="335"/>
                    <a:pt x="95" y="325"/>
                  </a:cubicBezTo>
                  <a:cubicBezTo>
                    <a:pt x="98" y="315"/>
                    <a:pt x="99" y="302"/>
                    <a:pt x="95" y="297"/>
                  </a:cubicBezTo>
                  <a:cubicBezTo>
                    <a:pt x="95" y="296"/>
                    <a:pt x="94" y="296"/>
                    <a:pt x="93" y="296"/>
                  </a:cubicBezTo>
                  <a:cubicBezTo>
                    <a:pt x="93" y="296"/>
                    <a:pt x="93" y="296"/>
                    <a:pt x="93" y="296"/>
                  </a:cubicBezTo>
                  <a:cubicBezTo>
                    <a:pt x="86" y="296"/>
                    <a:pt x="76" y="301"/>
                    <a:pt x="69" y="306"/>
                  </a:cubicBezTo>
                  <a:cubicBezTo>
                    <a:pt x="66" y="308"/>
                    <a:pt x="63" y="310"/>
                    <a:pt x="61" y="310"/>
                  </a:cubicBezTo>
                  <a:cubicBezTo>
                    <a:pt x="59" y="310"/>
                    <a:pt x="58" y="308"/>
                    <a:pt x="56" y="306"/>
                  </a:cubicBezTo>
                  <a:cubicBezTo>
                    <a:pt x="54" y="305"/>
                    <a:pt x="54" y="305"/>
                    <a:pt x="54" y="305"/>
                  </a:cubicBezTo>
                  <a:cubicBezTo>
                    <a:pt x="51" y="302"/>
                    <a:pt x="49" y="300"/>
                    <a:pt x="55" y="292"/>
                  </a:cubicBezTo>
                  <a:cubicBezTo>
                    <a:pt x="61" y="283"/>
                    <a:pt x="66" y="271"/>
                    <a:pt x="64" y="265"/>
                  </a:cubicBezTo>
                  <a:cubicBezTo>
                    <a:pt x="64" y="264"/>
                    <a:pt x="64" y="263"/>
                    <a:pt x="63" y="263"/>
                  </a:cubicBezTo>
                  <a:cubicBezTo>
                    <a:pt x="61" y="262"/>
                    <a:pt x="58" y="262"/>
                    <a:pt x="55" y="262"/>
                  </a:cubicBezTo>
                  <a:cubicBezTo>
                    <a:pt x="49" y="262"/>
                    <a:pt x="43" y="263"/>
                    <a:pt x="36" y="265"/>
                  </a:cubicBezTo>
                  <a:cubicBezTo>
                    <a:pt x="34" y="266"/>
                    <a:pt x="32" y="267"/>
                    <a:pt x="30" y="267"/>
                  </a:cubicBezTo>
                  <a:cubicBezTo>
                    <a:pt x="26" y="267"/>
                    <a:pt x="25" y="265"/>
                    <a:pt x="23" y="261"/>
                  </a:cubicBezTo>
                  <a:cubicBezTo>
                    <a:pt x="23" y="260"/>
                    <a:pt x="23" y="260"/>
                    <a:pt x="23" y="260"/>
                  </a:cubicBezTo>
                  <a:cubicBezTo>
                    <a:pt x="21" y="256"/>
                    <a:pt x="19" y="253"/>
                    <a:pt x="27" y="247"/>
                  </a:cubicBezTo>
                  <a:cubicBezTo>
                    <a:pt x="36" y="241"/>
                    <a:pt x="44" y="231"/>
                    <a:pt x="45" y="225"/>
                  </a:cubicBezTo>
                  <a:cubicBezTo>
                    <a:pt x="45" y="224"/>
                    <a:pt x="44" y="223"/>
                    <a:pt x="44" y="223"/>
                  </a:cubicBezTo>
                  <a:cubicBezTo>
                    <a:pt x="38" y="218"/>
                    <a:pt x="27" y="217"/>
                    <a:pt x="18" y="217"/>
                  </a:cubicBezTo>
                  <a:cubicBezTo>
                    <a:pt x="18" y="217"/>
                    <a:pt x="18" y="217"/>
                    <a:pt x="18" y="217"/>
                  </a:cubicBezTo>
                  <a:cubicBezTo>
                    <a:pt x="17" y="217"/>
                    <a:pt x="17" y="217"/>
                    <a:pt x="16" y="217"/>
                  </a:cubicBezTo>
                  <a:cubicBezTo>
                    <a:pt x="8" y="217"/>
                    <a:pt x="7" y="213"/>
                    <a:pt x="7" y="209"/>
                  </a:cubicBezTo>
                  <a:cubicBezTo>
                    <a:pt x="6" y="208"/>
                    <a:pt x="6" y="208"/>
                    <a:pt x="6" y="208"/>
                  </a:cubicBezTo>
                  <a:cubicBezTo>
                    <a:pt x="6" y="203"/>
                    <a:pt x="5" y="200"/>
                    <a:pt x="15" y="197"/>
                  </a:cubicBezTo>
                  <a:cubicBezTo>
                    <a:pt x="25" y="194"/>
                    <a:pt x="36" y="187"/>
                    <a:pt x="38" y="181"/>
                  </a:cubicBezTo>
                  <a:cubicBezTo>
                    <a:pt x="38" y="180"/>
                    <a:pt x="38" y="179"/>
                    <a:pt x="38" y="178"/>
                  </a:cubicBezTo>
                  <a:cubicBezTo>
                    <a:pt x="34" y="173"/>
                    <a:pt x="23" y="167"/>
                    <a:pt x="15" y="165"/>
                  </a:cubicBezTo>
                  <a:cubicBezTo>
                    <a:pt x="5" y="162"/>
                    <a:pt x="6" y="158"/>
                    <a:pt x="7" y="154"/>
                  </a:cubicBezTo>
                  <a:cubicBezTo>
                    <a:pt x="7" y="152"/>
                    <a:pt x="7" y="152"/>
                    <a:pt x="7" y="152"/>
                  </a:cubicBezTo>
                  <a:cubicBezTo>
                    <a:pt x="7" y="148"/>
                    <a:pt x="8" y="145"/>
                    <a:pt x="17" y="145"/>
                  </a:cubicBezTo>
                  <a:cubicBezTo>
                    <a:pt x="18" y="145"/>
                    <a:pt x="18" y="145"/>
                    <a:pt x="18" y="145"/>
                  </a:cubicBezTo>
                  <a:cubicBezTo>
                    <a:pt x="28" y="145"/>
                    <a:pt x="41" y="142"/>
                    <a:pt x="45" y="136"/>
                  </a:cubicBezTo>
                  <a:cubicBezTo>
                    <a:pt x="46" y="136"/>
                    <a:pt x="46" y="135"/>
                    <a:pt x="46" y="134"/>
                  </a:cubicBezTo>
                  <a:cubicBezTo>
                    <a:pt x="44" y="128"/>
                    <a:pt x="35" y="119"/>
                    <a:pt x="28" y="114"/>
                  </a:cubicBezTo>
                  <a:cubicBezTo>
                    <a:pt x="20" y="109"/>
                    <a:pt x="21" y="106"/>
                    <a:pt x="23" y="102"/>
                  </a:cubicBezTo>
                  <a:cubicBezTo>
                    <a:pt x="24" y="100"/>
                    <a:pt x="24" y="100"/>
                    <a:pt x="24" y="100"/>
                  </a:cubicBezTo>
                  <a:cubicBezTo>
                    <a:pt x="26" y="97"/>
                    <a:pt x="27" y="95"/>
                    <a:pt x="30" y="95"/>
                  </a:cubicBezTo>
                  <a:cubicBezTo>
                    <a:pt x="32" y="95"/>
                    <a:pt x="34" y="96"/>
                    <a:pt x="37" y="96"/>
                  </a:cubicBezTo>
                  <a:cubicBezTo>
                    <a:pt x="43" y="98"/>
                    <a:pt x="49" y="99"/>
                    <a:pt x="54" y="99"/>
                  </a:cubicBezTo>
                  <a:cubicBezTo>
                    <a:pt x="59" y="99"/>
                    <a:pt x="63" y="98"/>
                    <a:pt x="66" y="97"/>
                  </a:cubicBezTo>
                  <a:cubicBezTo>
                    <a:pt x="66" y="96"/>
                    <a:pt x="67" y="96"/>
                    <a:pt x="67" y="95"/>
                  </a:cubicBezTo>
                  <a:cubicBezTo>
                    <a:pt x="67" y="88"/>
                    <a:pt x="61" y="77"/>
                    <a:pt x="56" y="70"/>
                  </a:cubicBezTo>
                  <a:cubicBezTo>
                    <a:pt x="50" y="63"/>
                    <a:pt x="52" y="60"/>
                    <a:pt x="56" y="57"/>
                  </a:cubicBezTo>
                  <a:cubicBezTo>
                    <a:pt x="57" y="56"/>
                    <a:pt x="57" y="56"/>
                    <a:pt x="57" y="56"/>
                  </a:cubicBezTo>
                  <a:cubicBezTo>
                    <a:pt x="59" y="54"/>
                    <a:pt x="60" y="52"/>
                    <a:pt x="62" y="52"/>
                  </a:cubicBezTo>
                  <a:cubicBezTo>
                    <a:pt x="64" y="52"/>
                    <a:pt x="67" y="54"/>
                    <a:pt x="70" y="56"/>
                  </a:cubicBezTo>
                  <a:cubicBezTo>
                    <a:pt x="77" y="61"/>
                    <a:pt x="87" y="66"/>
                    <a:pt x="94" y="66"/>
                  </a:cubicBezTo>
                  <a:cubicBezTo>
                    <a:pt x="96" y="66"/>
                    <a:pt x="98" y="65"/>
                    <a:pt x="99" y="64"/>
                  </a:cubicBezTo>
                  <a:cubicBezTo>
                    <a:pt x="99" y="64"/>
                    <a:pt x="99" y="64"/>
                    <a:pt x="99" y="64"/>
                  </a:cubicBezTo>
                  <a:cubicBezTo>
                    <a:pt x="99" y="64"/>
                    <a:pt x="99" y="64"/>
                    <a:pt x="99" y="64"/>
                  </a:cubicBezTo>
                  <a:cubicBezTo>
                    <a:pt x="100" y="64"/>
                    <a:pt x="100" y="64"/>
                    <a:pt x="100" y="64"/>
                  </a:cubicBezTo>
                  <a:cubicBezTo>
                    <a:pt x="106" y="59"/>
                    <a:pt x="104" y="43"/>
                    <a:pt x="102" y="34"/>
                  </a:cubicBezTo>
                  <a:cubicBezTo>
                    <a:pt x="99" y="24"/>
                    <a:pt x="102" y="23"/>
                    <a:pt x="106" y="21"/>
                  </a:cubicBezTo>
                  <a:cubicBezTo>
                    <a:pt x="108" y="20"/>
                    <a:pt x="108" y="20"/>
                    <a:pt x="108" y="20"/>
                  </a:cubicBezTo>
                  <a:cubicBezTo>
                    <a:pt x="109" y="20"/>
                    <a:pt x="111" y="19"/>
                    <a:pt x="112" y="19"/>
                  </a:cubicBezTo>
                  <a:cubicBezTo>
                    <a:pt x="113" y="19"/>
                    <a:pt x="116" y="19"/>
                    <a:pt x="120" y="26"/>
                  </a:cubicBezTo>
                  <a:cubicBezTo>
                    <a:pt x="125" y="33"/>
                    <a:pt x="133" y="41"/>
                    <a:pt x="139" y="43"/>
                  </a:cubicBezTo>
                  <a:cubicBezTo>
                    <a:pt x="140" y="44"/>
                    <a:pt x="140" y="44"/>
                    <a:pt x="140" y="44"/>
                  </a:cubicBezTo>
                  <a:moveTo>
                    <a:pt x="163" y="0"/>
                  </a:moveTo>
                  <a:cubicBezTo>
                    <a:pt x="162" y="0"/>
                    <a:pt x="161" y="0"/>
                    <a:pt x="160" y="0"/>
                  </a:cubicBezTo>
                  <a:cubicBezTo>
                    <a:pt x="158" y="0"/>
                    <a:pt x="158" y="0"/>
                    <a:pt x="158" y="0"/>
                  </a:cubicBezTo>
                  <a:cubicBezTo>
                    <a:pt x="152" y="1"/>
                    <a:pt x="146" y="3"/>
                    <a:pt x="146" y="16"/>
                  </a:cubicBezTo>
                  <a:cubicBezTo>
                    <a:pt x="146" y="25"/>
                    <a:pt x="143" y="35"/>
                    <a:pt x="140" y="38"/>
                  </a:cubicBezTo>
                  <a:cubicBezTo>
                    <a:pt x="135" y="36"/>
                    <a:pt x="129" y="30"/>
                    <a:pt x="124" y="23"/>
                  </a:cubicBezTo>
                  <a:cubicBezTo>
                    <a:pt x="121" y="17"/>
                    <a:pt x="117" y="14"/>
                    <a:pt x="112" y="14"/>
                  </a:cubicBezTo>
                  <a:cubicBezTo>
                    <a:pt x="110" y="14"/>
                    <a:pt x="107" y="15"/>
                    <a:pt x="106" y="16"/>
                  </a:cubicBezTo>
                  <a:cubicBezTo>
                    <a:pt x="104" y="16"/>
                    <a:pt x="104" y="16"/>
                    <a:pt x="104" y="16"/>
                  </a:cubicBezTo>
                  <a:cubicBezTo>
                    <a:pt x="99" y="19"/>
                    <a:pt x="93" y="22"/>
                    <a:pt x="97" y="35"/>
                  </a:cubicBezTo>
                  <a:cubicBezTo>
                    <a:pt x="100" y="46"/>
                    <a:pt x="99" y="57"/>
                    <a:pt x="97" y="60"/>
                  </a:cubicBezTo>
                  <a:cubicBezTo>
                    <a:pt x="97" y="60"/>
                    <a:pt x="97" y="60"/>
                    <a:pt x="97" y="60"/>
                  </a:cubicBezTo>
                  <a:cubicBezTo>
                    <a:pt x="97" y="60"/>
                    <a:pt x="97" y="60"/>
                    <a:pt x="97" y="60"/>
                  </a:cubicBezTo>
                  <a:cubicBezTo>
                    <a:pt x="97" y="60"/>
                    <a:pt x="97" y="60"/>
                    <a:pt x="97" y="60"/>
                  </a:cubicBezTo>
                  <a:cubicBezTo>
                    <a:pt x="96" y="60"/>
                    <a:pt x="96" y="60"/>
                    <a:pt x="96" y="60"/>
                  </a:cubicBezTo>
                  <a:cubicBezTo>
                    <a:pt x="96" y="60"/>
                    <a:pt x="96" y="60"/>
                    <a:pt x="96" y="60"/>
                  </a:cubicBezTo>
                  <a:cubicBezTo>
                    <a:pt x="96" y="60"/>
                    <a:pt x="95" y="61"/>
                    <a:pt x="94" y="61"/>
                  </a:cubicBezTo>
                  <a:cubicBezTo>
                    <a:pt x="89" y="61"/>
                    <a:pt x="80" y="57"/>
                    <a:pt x="73" y="52"/>
                  </a:cubicBezTo>
                  <a:cubicBezTo>
                    <a:pt x="69" y="49"/>
                    <a:pt x="65" y="47"/>
                    <a:pt x="62" y="47"/>
                  </a:cubicBezTo>
                  <a:cubicBezTo>
                    <a:pt x="58" y="47"/>
                    <a:pt x="55" y="50"/>
                    <a:pt x="53" y="52"/>
                  </a:cubicBezTo>
                  <a:cubicBezTo>
                    <a:pt x="52" y="53"/>
                    <a:pt x="52" y="53"/>
                    <a:pt x="52" y="53"/>
                  </a:cubicBezTo>
                  <a:cubicBezTo>
                    <a:pt x="48" y="58"/>
                    <a:pt x="44" y="63"/>
                    <a:pt x="52" y="74"/>
                  </a:cubicBezTo>
                  <a:cubicBezTo>
                    <a:pt x="57" y="80"/>
                    <a:pt x="61" y="88"/>
                    <a:pt x="62" y="93"/>
                  </a:cubicBezTo>
                  <a:cubicBezTo>
                    <a:pt x="60" y="94"/>
                    <a:pt x="58" y="94"/>
                    <a:pt x="55" y="94"/>
                  </a:cubicBezTo>
                  <a:cubicBezTo>
                    <a:pt x="50" y="94"/>
                    <a:pt x="44" y="93"/>
                    <a:pt x="39" y="92"/>
                  </a:cubicBezTo>
                  <a:cubicBezTo>
                    <a:pt x="35" y="91"/>
                    <a:pt x="33" y="90"/>
                    <a:pt x="30" y="90"/>
                  </a:cubicBezTo>
                  <a:cubicBezTo>
                    <a:pt x="23" y="90"/>
                    <a:pt x="21" y="95"/>
                    <a:pt x="20" y="98"/>
                  </a:cubicBezTo>
                  <a:cubicBezTo>
                    <a:pt x="19" y="99"/>
                    <a:pt x="19" y="99"/>
                    <a:pt x="19" y="99"/>
                  </a:cubicBezTo>
                  <a:cubicBezTo>
                    <a:pt x="16" y="105"/>
                    <a:pt x="14" y="111"/>
                    <a:pt x="25" y="118"/>
                  </a:cubicBezTo>
                  <a:cubicBezTo>
                    <a:pt x="32" y="123"/>
                    <a:pt x="38" y="130"/>
                    <a:pt x="40" y="134"/>
                  </a:cubicBezTo>
                  <a:cubicBezTo>
                    <a:pt x="37" y="137"/>
                    <a:pt x="27" y="140"/>
                    <a:pt x="18" y="140"/>
                  </a:cubicBezTo>
                  <a:cubicBezTo>
                    <a:pt x="17" y="140"/>
                    <a:pt x="17" y="140"/>
                    <a:pt x="17" y="140"/>
                  </a:cubicBezTo>
                  <a:cubicBezTo>
                    <a:pt x="3" y="140"/>
                    <a:pt x="3" y="147"/>
                    <a:pt x="2" y="152"/>
                  </a:cubicBezTo>
                  <a:cubicBezTo>
                    <a:pt x="2" y="153"/>
                    <a:pt x="2" y="153"/>
                    <a:pt x="2" y="153"/>
                  </a:cubicBezTo>
                  <a:cubicBezTo>
                    <a:pt x="1" y="159"/>
                    <a:pt x="1" y="166"/>
                    <a:pt x="14" y="169"/>
                  </a:cubicBezTo>
                  <a:cubicBezTo>
                    <a:pt x="22" y="172"/>
                    <a:pt x="29" y="176"/>
                    <a:pt x="33" y="180"/>
                  </a:cubicBezTo>
                  <a:cubicBezTo>
                    <a:pt x="30" y="184"/>
                    <a:pt x="22" y="189"/>
                    <a:pt x="13" y="192"/>
                  </a:cubicBezTo>
                  <a:cubicBezTo>
                    <a:pt x="0" y="196"/>
                    <a:pt x="0" y="202"/>
                    <a:pt x="1" y="208"/>
                  </a:cubicBezTo>
                  <a:cubicBezTo>
                    <a:pt x="2" y="210"/>
                    <a:pt x="2" y="210"/>
                    <a:pt x="2" y="210"/>
                  </a:cubicBezTo>
                  <a:cubicBezTo>
                    <a:pt x="2" y="215"/>
                    <a:pt x="3" y="222"/>
                    <a:pt x="17" y="222"/>
                  </a:cubicBezTo>
                  <a:cubicBezTo>
                    <a:pt x="17" y="222"/>
                    <a:pt x="18" y="222"/>
                    <a:pt x="18" y="222"/>
                  </a:cubicBezTo>
                  <a:cubicBezTo>
                    <a:pt x="18" y="222"/>
                    <a:pt x="18" y="222"/>
                    <a:pt x="18" y="222"/>
                  </a:cubicBezTo>
                  <a:cubicBezTo>
                    <a:pt x="26" y="222"/>
                    <a:pt x="35" y="223"/>
                    <a:pt x="39" y="226"/>
                  </a:cubicBezTo>
                  <a:cubicBezTo>
                    <a:pt x="38" y="230"/>
                    <a:pt x="32" y="238"/>
                    <a:pt x="24" y="243"/>
                  </a:cubicBezTo>
                  <a:cubicBezTo>
                    <a:pt x="13" y="251"/>
                    <a:pt x="15" y="257"/>
                    <a:pt x="18" y="262"/>
                  </a:cubicBezTo>
                  <a:cubicBezTo>
                    <a:pt x="19" y="264"/>
                    <a:pt x="19" y="264"/>
                    <a:pt x="19" y="264"/>
                  </a:cubicBezTo>
                  <a:cubicBezTo>
                    <a:pt x="21" y="267"/>
                    <a:pt x="23" y="272"/>
                    <a:pt x="30" y="272"/>
                  </a:cubicBezTo>
                  <a:cubicBezTo>
                    <a:pt x="32" y="272"/>
                    <a:pt x="35" y="271"/>
                    <a:pt x="38" y="270"/>
                  </a:cubicBezTo>
                  <a:cubicBezTo>
                    <a:pt x="44" y="268"/>
                    <a:pt x="50" y="267"/>
                    <a:pt x="55" y="267"/>
                  </a:cubicBezTo>
                  <a:cubicBezTo>
                    <a:pt x="57" y="267"/>
                    <a:pt x="58" y="267"/>
                    <a:pt x="60" y="267"/>
                  </a:cubicBezTo>
                  <a:cubicBezTo>
                    <a:pt x="60" y="272"/>
                    <a:pt x="56" y="281"/>
                    <a:pt x="51" y="289"/>
                  </a:cubicBezTo>
                  <a:cubicBezTo>
                    <a:pt x="43" y="299"/>
                    <a:pt x="46" y="304"/>
                    <a:pt x="51" y="309"/>
                  </a:cubicBezTo>
                  <a:cubicBezTo>
                    <a:pt x="52" y="310"/>
                    <a:pt x="52" y="310"/>
                    <a:pt x="52" y="310"/>
                  </a:cubicBezTo>
                  <a:cubicBezTo>
                    <a:pt x="54" y="312"/>
                    <a:pt x="57" y="315"/>
                    <a:pt x="61" y="315"/>
                  </a:cubicBezTo>
                  <a:cubicBezTo>
                    <a:pt x="64" y="315"/>
                    <a:pt x="68" y="313"/>
                    <a:pt x="72" y="310"/>
                  </a:cubicBezTo>
                  <a:cubicBezTo>
                    <a:pt x="79" y="305"/>
                    <a:pt x="87" y="301"/>
                    <a:pt x="92" y="301"/>
                  </a:cubicBezTo>
                  <a:cubicBezTo>
                    <a:pt x="94" y="305"/>
                    <a:pt x="93" y="315"/>
                    <a:pt x="90" y="324"/>
                  </a:cubicBezTo>
                  <a:cubicBezTo>
                    <a:pt x="85" y="336"/>
                    <a:pt x="91" y="340"/>
                    <a:pt x="96" y="343"/>
                  </a:cubicBezTo>
                  <a:cubicBezTo>
                    <a:pt x="97" y="343"/>
                    <a:pt x="97" y="343"/>
                    <a:pt x="97" y="343"/>
                  </a:cubicBezTo>
                  <a:cubicBezTo>
                    <a:pt x="99" y="344"/>
                    <a:pt x="102" y="346"/>
                    <a:pt x="105" y="346"/>
                  </a:cubicBezTo>
                  <a:cubicBezTo>
                    <a:pt x="109" y="346"/>
                    <a:pt x="113" y="343"/>
                    <a:pt x="116" y="337"/>
                  </a:cubicBezTo>
                  <a:cubicBezTo>
                    <a:pt x="121" y="331"/>
                    <a:pt x="128" y="325"/>
                    <a:pt x="133" y="323"/>
                  </a:cubicBezTo>
                  <a:cubicBezTo>
                    <a:pt x="136" y="326"/>
                    <a:pt x="138" y="336"/>
                    <a:pt x="138" y="345"/>
                  </a:cubicBezTo>
                  <a:cubicBezTo>
                    <a:pt x="137" y="358"/>
                    <a:pt x="143" y="360"/>
                    <a:pt x="150" y="361"/>
                  </a:cubicBezTo>
                  <a:cubicBezTo>
                    <a:pt x="151" y="362"/>
                    <a:pt x="151" y="362"/>
                    <a:pt x="151" y="362"/>
                  </a:cubicBezTo>
                  <a:cubicBezTo>
                    <a:pt x="152" y="362"/>
                    <a:pt x="154" y="362"/>
                    <a:pt x="155" y="362"/>
                  </a:cubicBezTo>
                  <a:cubicBezTo>
                    <a:pt x="161" y="362"/>
                    <a:pt x="165" y="358"/>
                    <a:pt x="167" y="350"/>
                  </a:cubicBezTo>
                  <a:cubicBezTo>
                    <a:pt x="170" y="342"/>
                    <a:pt x="174" y="334"/>
                    <a:pt x="178" y="331"/>
                  </a:cubicBezTo>
                  <a:cubicBezTo>
                    <a:pt x="182" y="334"/>
                    <a:pt x="187" y="342"/>
                    <a:pt x="190" y="351"/>
                  </a:cubicBezTo>
                  <a:cubicBezTo>
                    <a:pt x="192" y="359"/>
                    <a:pt x="196" y="363"/>
                    <a:pt x="202" y="363"/>
                  </a:cubicBezTo>
                  <a:cubicBezTo>
                    <a:pt x="203" y="363"/>
                    <a:pt x="205" y="363"/>
                    <a:pt x="206" y="363"/>
                  </a:cubicBezTo>
                  <a:cubicBezTo>
                    <a:pt x="208" y="362"/>
                    <a:pt x="208" y="362"/>
                    <a:pt x="208" y="362"/>
                  </a:cubicBezTo>
                  <a:cubicBezTo>
                    <a:pt x="214" y="362"/>
                    <a:pt x="220" y="360"/>
                    <a:pt x="219" y="346"/>
                  </a:cubicBezTo>
                  <a:cubicBezTo>
                    <a:pt x="220" y="338"/>
                    <a:pt x="222" y="329"/>
                    <a:pt x="224" y="325"/>
                  </a:cubicBezTo>
                  <a:cubicBezTo>
                    <a:pt x="229" y="326"/>
                    <a:pt x="236" y="333"/>
                    <a:pt x="241" y="340"/>
                  </a:cubicBezTo>
                  <a:cubicBezTo>
                    <a:pt x="245" y="346"/>
                    <a:pt x="249" y="349"/>
                    <a:pt x="253" y="349"/>
                  </a:cubicBezTo>
                  <a:cubicBezTo>
                    <a:pt x="256" y="349"/>
                    <a:pt x="258" y="348"/>
                    <a:pt x="260" y="347"/>
                  </a:cubicBezTo>
                  <a:cubicBezTo>
                    <a:pt x="262" y="346"/>
                    <a:pt x="262" y="346"/>
                    <a:pt x="262" y="346"/>
                  </a:cubicBezTo>
                  <a:cubicBezTo>
                    <a:pt x="267" y="343"/>
                    <a:pt x="272" y="340"/>
                    <a:pt x="268" y="327"/>
                  </a:cubicBezTo>
                  <a:cubicBezTo>
                    <a:pt x="265" y="315"/>
                    <a:pt x="265" y="304"/>
                    <a:pt x="267" y="303"/>
                  </a:cubicBezTo>
                  <a:cubicBezTo>
                    <a:pt x="268" y="302"/>
                    <a:pt x="268" y="302"/>
                    <a:pt x="269" y="302"/>
                  </a:cubicBezTo>
                  <a:cubicBezTo>
                    <a:pt x="274" y="302"/>
                    <a:pt x="283" y="306"/>
                    <a:pt x="290" y="312"/>
                  </a:cubicBezTo>
                  <a:cubicBezTo>
                    <a:pt x="294" y="315"/>
                    <a:pt x="298" y="317"/>
                    <a:pt x="301" y="317"/>
                  </a:cubicBezTo>
                  <a:cubicBezTo>
                    <a:pt x="305" y="317"/>
                    <a:pt x="308" y="314"/>
                    <a:pt x="310" y="312"/>
                  </a:cubicBezTo>
                  <a:cubicBezTo>
                    <a:pt x="311" y="311"/>
                    <a:pt x="311" y="311"/>
                    <a:pt x="311" y="311"/>
                  </a:cubicBezTo>
                  <a:cubicBezTo>
                    <a:pt x="316" y="307"/>
                    <a:pt x="320" y="302"/>
                    <a:pt x="312" y="291"/>
                  </a:cubicBezTo>
                  <a:cubicBezTo>
                    <a:pt x="306" y="283"/>
                    <a:pt x="303" y="274"/>
                    <a:pt x="303" y="270"/>
                  </a:cubicBezTo>
                  <a:cubicBezTo>
                    <a:pt x="304" y="269"/>
                    <a:pt x="306" y="269"/>
                    <a:pt x="307" y="269"/>
                  </a:cubicBezTo>
                  <a:cubicBezTo>
                    <a:pt x="312" y="269"/>
                    <a:pt x="319" y="270"/>
                    <a:pt x="325" y="272"/>
                  </a:cubicBezTo>
                  <a:cubicBezTo>
                    <a:pt x="328" y="274"/>
                    <a:pt x="331" y="274"/>
                    <a:pt x="333" y="274"/>
                  </a:cubicBezTo>
                  <a:cubicBezTo>
                    <a:pt x="340" y="274"/>
                    <a:pt x="342" y="270"/>
                    <a:pt x="344" y="267"/>
                  </a:cubicBezTo>
                  <a:cubicBezTo>
                    <a:pt x="345" y="265"/>
                    <a:pt x="345" y="265"/>
                    <a:pt x="345" y="265"/>
                  </a:cubicBezTo>
                  <a:cubicBezTo>
                    <a:pt x="348" y="260"/>
                    <a:pt x="350" y="254"/>
                    <a:pt x="339" y="246"/>
                  </a:cubicBezTo>
                  <a:cubicBezTo>
                    <a:pt x="332" y="241"/>
                    <a:pt x="325" y="233"/>
                    <a:pt x="324" y="228"/>
                  </a:cubicBezTo>
                  <a:cubicBezTo>
                    <a:pt x="328" y="226"/>
                    <a:pt x="336" y="224"/>
                    <a:pt x="344" y="224"/>
                  </a:cubicBezTo>
                  <a:cubicBezTo>
                    <a:pt x="346" y="224"/>
                    <a:pt x="346" y="224"/>
                    <a:pt x="346" y="224"/>
                  </a:cubicBezTo>
                  <a:cubicBezTo>
                    <a:pt x="346" y="224"/>
                    <a:pt x="347" y="224"/>
                    <a:pt x="348" y="224"/>
                  </a:cubicBezTo>
                  <a:cubicBezTo>
                    <a:pt x="360" y="224"/>
                    <a:pt x="361" y="218"/>
                    <a:pt x="362" y="213"/>
                  </a:cubicBezTo>
                  <a:cubicBezTo>
                    <a:pt x="362" y="212"/>
                    <a:pt x="362" y="212"/>
                    <a:pt x="362" y="212"/>
                  </a:cubicBezTo>
                  <a:cubicBezTo>
                    <a:pt x="364" y="205"/>
                    <a:pt x="364" y="199"/>
                    <a:pt x="351" y="195"/>
                  </a:cubicBezTo>
                  <a:cubicBezTo>
                    <a:pt x="343" y="192"/>
                    <a:pt x="334" y="187"/>
                    <a:pt x="332" y="183"/>
                  </a:cubicBezTo>
                  <a:cubicBezTo>
                    <a:pt x="335" y="179"/>
                    <a:pt x="343" y="175"/>
                    <a:pt x="351" y="172"/>
                  </a:cubicBezTo>
                  <a:cubicBezTo>
                    <a:pt x="364" y="169"/>
                    <a:pt x="364" y="163"/>
                    <a:pt x="363" y="156"/>
                  </a:cubicBezTo>
                  <a:cubicBezTo>
                    <a:pt x="363" y="155"/>
                    <a:pt x="363" y="155"/>
                    <a:pt x="363" y="155"/>
                  </a:cubicBezTo>
                  <a:cubicBezTo>
                    <a:pt x="362" y="149"/>
                    <a:pt x="360" y="143"/>
                    <a:pt x="347" y="143"/>
                  </a:cubicBezTo>
                  <a:cubicBezTo>
                    <a:pt x="347" y="143"/>
                    <a:pt x="347" y="143"/>
                    <a:pt x="347" y="143"/>
                  </a:cubicBezTo>
                  <a:cubicBezTo>
                    <a:pt x="338" y="142"/>
                    <a:pt x="328" y="140"/>
                    <a:pt x="325" y="137"/>
                  </a:cubicBezTo>
                  <a:cubicBezTo>
                    <a:pt x="327" y="132"/>
                    <a:pt x="333" y="126"/>
                    <a:pt x="340" y="121"/>
                  </a:cubicBezTo>
                  <a:cubicBezTo>
                    <a:pt x="351" y="114"/>
                    <a:pt x="349" y="108"/>
                    <a:pt x="347" y="102"/>
                  </a:cubicBezTo>
                  <a:cubicBezTo>
                    <a:pt x="346" y="101"/>
                    <a:pt x="346" y="101"/>
                    <a:pt x="346" y="101"/>
                  </a:cubicBezTo>
                  <a:cubicBezTo>
                    <a:pt x="345" y="98"/>
                    <a:pt x="342" y="93"/>
                    <a:pt x="335" y="93"/>
                  </a:cubicBezTo>
                  <a:cubicBezTo>
                    <a:pt x="333" y="93"/>
                    <a:pt x="330" y="93"/>
                    <a:pt x="327" y="94"/>
                  </a:cubicBezTo>
                  <a:cubicBezTo>
                    <a:pt x="322" y="96"/>
                    <a:pt x="317" y="96"/>
                    <a:pt x="312" y="96"/>
                  </a:cubicBezTo>
                  <a:cubicBezTo>
                    <a:pt x="309" y="96"/>
                    <a:pt x="306" y="96"/>
                    <a:pt x="304" y="95"/>
                  </a:cubicBezTo>
                  <a:cubicBezTo>
                    <a:pt x="305" y="90"/>
                    <a:pt x="309" y="82"/>
                    <a:pt x="314" y="76"/>
                  </a:cubicBezTo>
                  <a:cubicBezTo>
                    <a:pt x="322" y="66"/>
                    <a:pt x="319" y="60"/>
                    <a:pt x="315" y="56"/>
                  </a:cubicBezTo>
                  <a:cubicBezTo>
                    <a:pt x="314" y="55"/>
                    <a:pt x="314" y="55"/>
                    <a:pt x="314" y="55"/>
                  </a:cubicBezTo>
                  <a:cubicBezTo>
                    <a:pt x="312" y="52"/>
                    <a:pt x="309" y="50"/>
                    <a:pt x="305" y="50"/>
                  </a:cubicBezTo>
                  <a:cubicBezTo>
                    <a:pt x="301" y="50"/>
                    <a:pt x="298" y="51"/>
                    <a:pt x="294" y="54"/>
                  </a:cubicBezTo>
                  <a:cubicBezTo>
                    <a:pt x="287" y="59"/>
                    <a:pt x="278" y="62"/>
                    <a:pt x="273" y="62"/>
                  </a:cubicBezTo>
                  <a:cubicBezTo>
                    <a:pt x="273" y="62"/>
                    <a:pt x="272" y="62"/>
                    <a:pt x="272" y="62"/>
                  </a:cubicBezTo>
                  <a:cubicBezTo>
                    <a:pt x="271" y="57"/>
                    <a:pt x="272" y="48"/>
                    <a:pt x="275" y="41"/>
                  </a:cubicBezTo>
                  <a:cubicBezTo>
                    <a:pt x="280" y="28"/>
                    <a:pt x="275" y="24"/>
                    <a:pt x="270" y="21"/>
                  </a:cubicBezTo>
                  <a:cubicBezTo>
                    <a:pt x="268" y="21"/>
                    <a:pt x="268" y="21"/>
                    <a:pt x="268" y="21"/>
                  </a:cubicBezTo>
                  <a:cubicBezTo>
                    <a:pt x="266" y="19"/>
                    <a:pt x="264" y="18"/>
                    <a:pt x="261" y="18"/>
                  </a:cubicBezTo>
                  <a:cubicBezTo>
                    <a:pt x="257" y="18"/>
                    <a:pt x="253" y="21"/>
                    <a:pt x="249" y="26"/>
                  </a:cubicBezTo>
                  <a:cubicBezTo>
                    <a:pt x="244" y="33"/>
                    <a:pt x="236" y="39"/>
                    <a:pt x="231" y="40"/>
                  </a:cubicBezTo>
                  <a:cubicBezTo>
                    <a:pt x="229" y="36"/>
                    <a:pt x="227" y="27"/>
                    <a:pt x="228" y="19"/>
                  </a:cubicBezTo>
                  <a:cubicBezTo>
                    <a:pt x="229" y="6"/>
                    <a:pt x="223" y="3"/>
                    <a:pt x="216" y="2"/>
                  </a:cubicBezTo>
                  <a:cubicBezTo>
                    <a:pt x="215" y="2"/>
                    <a:pt x="215" y="2"/>
                    <a:pt x="215" y="2"/>
                  </a:cubicBezTo>
                  <a:cubicBezTo>
                    <a:pt x="214" y="2"/>
                    <a:pt x="212" y="1"/>
                    <a:pt x="210" y="1"/>
                  </a:cubicBezTo>
                  <a:cubicBezTo>
                    <a:pt x="205" y="1"/>
                    <a:pt x="201" y="5"/>
                    <a:pt x="198" y="13"/>
                  </a:cubicBezTo>
                  <a:cubicBezTo>
                    <a:pt x="195" y="21"/>
                    <a:pt x="190" y="30"/>
                    <a:pt x="186" y="32"/>
                  </a:cubicBezTo>
                  <a:cubicBezTo>
                    <a:pt x="182" y="29"/>
                    <a:pt x="178" y="21"/>
                    <a:pt x="176" y="13"/>
                  </a:cubicBezTo>
                  <a:cubicBezTo>
                    <a:pt x="174" y="4"/>
                    <a:pt x="170" y="0"/>
                    <a:pt x="163"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6" name="Freeform 21315">
              <a:extLst>
                <a:ext uri="{FF2B5EF4-FFF2-40B4-BE49-F238E27FC236}">
                  <a16:creationId xmlns:a16="http://schemas.microsoft.com/office/drawing/2014/main" id="{B4D17E88-BFCB-431A-B044-F95636FB5B0F}"/>
                </a:ext>
              </a:extLst>
            </p:cNvPr>
            <p:cNvSpPr>
              <a:spLocks noEditPoints="1"/>
            </p:cNvSpPr>
            <p:nvPr userDrawn="1"/>
          </p:nvSpPr>
          <p:spPr bwMode="auto">
            <a:xfrm>
              <a:off x="11530965" y="5093653"/>
              <a:ext cx="273050" cy="258763"/>
            </a:xfrm>
            <a:custGeom>
              <a:avLst/>
              <a:gdLst>
                <a:gd name="T0" fmla="*/ 65 w 135"/>
                <a:gd name="T1" fmla="*/ 100 h 128"/>
                <a:gd name="T2" fmla="*/ 39 w 135"/>
                <a:gd name="T3" fmla="*/ 90 h 128"/>
                <a:gd name="T4" fmla="*/ 39 w 135"/>
                <a:gd name="T5" fmla="*/ 39 h 128"/>
                <a:gd name="T6" fmla="*/ 65 w 135"/>
                <a:gd name="T7" fmla="*/ 28 h 128"/>
                <a:gd name="T8" fmla="*/ 90 w 135"/>
                <a:gd name="T9" fmla="*/ 39 h 128"/>
                <a:gd name="T10" fmla="*/ 90 w 135"/>
                <a:gd name="T11" fmla="*/ 90 h 128"/>
                <a:gd name="T12" fmla="*/ 65 w 135"/>
                <a:gd name="T13" fmla="*/ 100 h 128"/>
                <a:gd name="T14" fmla="*/ 65 w 135"/>
                <a:gd name="T15" fmla="*/ 23 h 128"/>
                <a:gd name="T16" fmla="*/ 36 w 135"/>
                <a:gd name="T17" fmla="*/ 35 h 128"/>
                <a:gd name="T18" fmla="*/ 36 w 135"/>
                <a:gd name="T19" fmla="*/ 93 h 128"/>
                <a:gd name="T20" fmla="*/ 65 w 135"/>
                <a:gd name="T21" fmla="*/ 105 h 128"/>
                <a:gd name="T22" fmla="*/ 93 w 135"/>
                <a:gd name="T23" fmla="*/ 93 h 128"/>
                <a:gd name="T24" fmla="*/ 93 w 135"/>
                <a:gd name="T25" fmla="*/ 35 h 128"/>
                <a:gd name="T26" fmla="*/ 65 w 135"/>
                <a:gd name="T27" fmla="*/ 23 h 128"/>
                <a:gd name="T28" fmla="*/ 65 w 135"/>
                <a:gd name="T29" fmla="*/ 123 h 128"/>
                <a:gd name="T30" fmla="*/ 23 w 135"/>
                <a:gd name="T31" fmla="*/ 106 h 128"/>
                <a:gd name="T32" fmla="*/ 5 w 135"/>
                <a:gd name="T33" fmla="*/ 64 h 128"/>
                <a:gd name="T34" fmla="*/ 23 w 135"/>
                <a:gd name="T35" fmla="*/ 22 h 128"/>
                <a:gd name="T36" fmla="*/ 65 w 135"/>
                <a:gd name="T37" fmla="*/ 5 h 128"/>
                <a:gd name="T38" fmla="*/ 106 w 135"/>
                <a:gd name="T39" fmla="*/ 22 h 128"/>
                <a:gd name="T40" fmla="*/ 106 w 135"/>
                <a:gd name="T41" fmla="*/ 106 h 128"/>
                <a:gd name="T42" fmla="*/ 65 w 135"/>
                <a:gd name="T43" fmla="*/ 123 h 128"/>
                <a:gd name="T44" fmla="*/ 65 w 135"/>
                <a:gd name="T45" fmla="*/ 0 h 128"/>
                <a:gd name="T46" fmla="*/ 45 w 135"/>
                <a:gd name="T47" fmla="*/ 3 h 128"/>
                <a:gd name="T48" fmla="*/ 39 w 135"/>
                <a:gd name="T49" fmla="*/ 10 h 128"/>
                <a:gd name="T50" fmla="*/ 33 w 135"/>
                <a:gd name="T51" fmla="*/ 12 h 128"/>
                <a:gd name="T52" fmla="*/ 29 w 135"/>
                <a:gd name="T53" fmla="*/ 11 h 128"/>
                <a:gd name="T54" fmla="*/ 19 w 135"/>
                <a:gd name="T55" fmla="*/ 19 h 128"/>
                <a:gd name="T56" fmla="*/ 0 w 135"/>
                <a:gd name="T57" fmla="*/ 64 h 128"/>
                <a:gd name="T58" fmla="*/ 19 w 135"/>
                <a:gd name="T59" fmla="*/ 110 h 128"/>
                <a:gd name="T60" fmla="*/ 65 w 135"/>
                <a:gd name="T61" fmla="*/ 128 h 128"/>
                <a:gd name="T62" fmla="*/ 65 w 135"/>
                <a:gd name="T63" fmla="*/ 128 h 128"/>
                <a:gd name="T64" fmla="*/ 110 w 135"/>
                <a:gd name="T65" fmla="*/ 110 h 128"/>
                <a:gd name="T66" fmla="*/ 110 w 135"/>
                <a:gd name="T67" fmla="*/ 19 h 128"/>
                <a:gd name="T68" fmla="*/ 65 w 135"/>
                <a:gd name="T6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8">
                  <a:moveTo>
                    <a:pt x="65" y="100"/>
                  </a:moveTo>
                  <a:cubicBezTo>
                    <a:pt x="55" y="100"/>
                    <a:pt x="46" y="96"/>
                    <a:pt x="39" y="90"/>
                  </a:cubicBezTo>
                  <a:cubicBezTo>
                    <a:pt x="25" y="76"/>
                    <a:pt x="25" y="53"/>
                    <a:pt x="39" y="39"/>
                  </a:cubicBezTo>
                  <a:cubicBezTo>
                    <a:pt x="46" y="32"/>
                    <a:pt x="55" y="28"/>
                    <a:pt x="65" y="28"/>
                  </a:cubicBezTo>
                  <a:cubicBezTo>
                    <a:pt x="74" y="28"/>
                    <a:pt x="83" y="32"/>
                    <a:pt x="90" y="39"/>
                  </a:cubicBezTo>
                  <a:cubicBezTo>
                    <a:pt x="104" y="53"/>
                    <a:pt x="104" y="76"/>
                    <a:pt x="90" y="90"/>
                  </a:cubicBezTo>
                  <a:cubicBezTo>
                    <a:pt x="83" y="96"/>
                    <a:pt x="74" y="100"/>
                    <a:pt x="65" y="100"/>
                  </a:cubicBezTo>
                  <a:moveTo>
                    <a:pt x="65" y="23"/>
                  </a:moveTo>
                  <a:cubicBezTo>
                    <a:pt x="54" y="23"/>
                    <a:pt x="43" y="28"/>
                    <a:pt x="36" y="35"/>
                  </a:cubicBezTo>
                  <a:cubicBezTo>
                    <a:pt x="20" y="51"/>
                    <a:pt x="20" y="77"/>
                    <a:pt x="36" y="93"/>
                  </a:cubicBezTo>
                  <a:cubicBezTo>
                    <a:pt x="43" y="101"/>
                    <a:pt x="54" y="105"/>
                    <a:pt x="65" y="105"/>
                  </a:cubicBezTo>
                  <a:cubicBezTo>
                    <a:pt x="76" y="105"/>
                    <a:pt x="86" y="101"/>
                    <a:pt x="93" y="93"/>
                  </a:cubicBezTo>
                  <a:cubicBezTo>
                    <a:pt x="109" y="77"/>
                    <a:pt x="109" y="51"/>
                    <a:pt x="93" y="35"/>
                  </a:cubicBezTo>
                  <a:cubicBezTo>
                    <a:pt x="86" y="28"/>
                    <a:pt x="76" y="23"/>
                    <a:pt x="65" y="23"/>
                  </a:cubicBezTo>
                  <a:moveTo>
                    <a:pt x="65" y="123"/>
                  </a:moveTo>
                  <a:cubicBezTo>
                    <a:pt x="49" y="123"/>
                    <a:pt x="34" y="117"/>
                    <a:pt x="23" y="106"/>
                  </a:cubicBezTo>
                  <a:cubicBezTo>
                    <a:pt x="12" y="95"/>
                    <a:pt x="5" y="80"/>
                    <a:pt x="5" y="64"/>
                  </a:cubicBezTo>
                  <a:cubicBezTo>
                    <a:pt x="5" y="48"/>
                    <a:pt x="12" y="33"/>
                    <a:pt x="23" y="22"/>
                  </a:cubicBezTo>
                  <a:cubicBezTo>
                    <a:pt x="34" y="11"/>
                    <a:pt x="49" y="5"/>
                    <a:pt x="65" y="5"/>
                  </a:cubicBezTo>
                  <a:cubicBezTo>
                    <a:pt x="80" y="5"/>
                    <a:pt x="95" y="11"/>
                    <a:pt x="106" y="22"/>
                  </a:cubicBezTo>
                  <a:cubicBezTo>
                    <a:pt x="130" y="45"/>
                    <a:pt x="130" y="83"/>
                    <a:pt x="106" y="106"/>
                  </a:cubicBezTo>
                  <a:cubicBezTo>
                    <a:pt x="95" y="117"/>
                    <a:pt x="80" y="123"/>
                    <a:pt x="65" y="123"/>
                  </a:cubicBezTo>
                  <a:moveTo>
                    <a:pt x="65" y="0"/>
                  </a:moveTo>
                  <a:cubicBezTo>
                    <a:pt x="58" y="0"/>
                    <a:pt x="52" y="1"/>
                    <a:pt x="45" y="3"/>
                  </a:cubicBezTo>
                  <a:cubicBezTo>
                    <a:pt x="45" y="7"/>
                    <a:pt x="42" y="9"/>
                    <a:pt x="39" y="10"/>
                  </a:cubicBezTo>
                  <a:cubicBezTo>
                    <a:pt x="37" y="11"/>
                    <a:pt x="35" y="12"/>
                    <a:pt x="33" y="12"/>
                  </a:cubicBezTo>
                  <a:cubicBezTo>
                    <a:pt x="32" y="12"/>
                    <a:pt x="31" y="11"/>
                    <a:pt x="29" y="11"/>
                  </a:cubicBezTo>
                  <a:cubicBezTo>
                    <a:pt x="26" y="13"/>
                    <a:pt x="22" y="16"/>
                    <a:pt x="19" y="19"/>
                  </a:cubicBezTo>
                  <a:cubicBezTo>
                    <a:pt x="7" y="31"/>
                    <a:pt x="0" y="47"/>
                    <a:pt x="0" y="64"/>
                  </a:cubicBezTo>
                  <a:cubicBezTo>
                    <a:pt x="0" y="81"/>
                    <a:pt x="7" y="97"/>
                    <a:pt x="19" y="110"/>
                  </a:cubicBezTo>
                  <a:cubicBezTo>
                    <a:pt x="31" y="122"/>
                    <a:pt x="47" y="128"/>
                    <a:pt x="65" y="128"/>
                  </a:cubicBezTo>
                  <a:cubicBezTo>
                    <a:pt x="65" y="128"/>
                    <a:pt x="65" y="128"/>
                    <a:pt x="65" y="128"/>
                  </a:cubicBezTo>
                  <a:cubicBezTo>
                    <a:pt x="82" y="128"/>
                    <a:pt x="98" y="122"/>
                    <a:pt x="110" y="110"/>
                  </a:cubicBezTo>
                  <a:cubicBezTo>
                    <a:pt x="135" y="85"/>
                    <a:pt x="135" y="44"/>
                    <a:pt x="110" y="19"/>
                  </a:cubicBezTo>
                  <a:cubicBezTo>
                    <a:pt x="98" y="7"/>
                    <a:pt x="82" y="0"/>
                    <a:pt x="6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7" name="Freeform 21316">
              <a:extLst>
                <a:ext uri="{FF2B5EF4-FFF2-40B4-BE49-F238E27FC236}">
                  <a16:creationId xmlns:a16="http://schemas.microsoft.com/office/drawing/2014/main" id="{918A462F-0A07-4D5E-ADD1-11D5ED351D69}"/>
                </a:ext>
              </a:extLst>
            </p:cNvPr>
            <p:cNvSpPr>
              <a:spLocks noEditPoints="1"/>
            </p:cNvSpPr>
            <p:nvPr userDrawn="1"/>
          </p:nvSpPr>
          <p:spPr bwMode="auto">
            <a:xfrm>
              <a:off x="10634028" y="3266440"/>
              <a:ext cx="68263" cy="71438"/>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5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5"/>
                    <a:pt x="23" y="35"/>
                    <a:pt x="23" y="35"/>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8" name="Freeform 21317">
              <a:extLst>
                <a:ext uri="{FF2B5EF4-FFF2-40B4-BE49-F238E27FC236}">
                  <a16:creationId xmlns:a16="http://schemas.microsoft.com/office/drawing/2014/main" id="{9B2FE318-33DA-4C12-9F65-32D5BE8A361B}"/>
                </a:ext>
              </a:extLst>
            </p:cNvPr>
            <p:cNvSpPr>
              <a:spLocks noEditPoints="1"/>
            </p:cNvSpPr>
            <p:nvPr userDrawn="1"/>
          </p:nvSpPr>
          <p:spPr bwMode="auto">
            <a:xfrm>
              <a:off x="10608628" y="3275965"/>
              <a:ext cx="69850" cy="73025"/>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3"/>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9" name="Freeform 21318">
              <a:extLst>
                <a:ext uri="{FF2B5EF4-FFF2-40B4-BE49-F238E27FC236}">
                  <a16:creationId xmlns:a16="http://schemas.microsoft.com/office/drawing/2014/main" id="{3B70BE25-9EBF-48D7-B5E8-423FA53AFAE5}"/>
                </a:ext>
              </a:extLst>
            </p:cNvPr>
            <p:cNvSpPr>
              <a:spLocks noEditPoints="1"/>
            </p:cNvSpPr>
            <p:nvPr userDrawn="1"/>
          </p:nvSpPr>
          <p:spPr bwMode="auto">
            <a:xfrm>
              <a:off x="11373803" y="5881053"/>
              <a:ext cx="187325" cy="190500"/>
            </a:xfrm>
            <a:custGeom>
              <a:avLst/>
              <a:gdLst>
                <a:gd name="T0" fmla="*/ 46 w 93"/>
                <a:gd name="T1" fmla="*/ 80 h 95"/>
                <a:gd name="T2" fmla="*/ 14 w 93"/>
                <a:gd name="T3" fmla="*/ 48 h 95"/>
                <a:gd name="T4" fmla="*/ 46 w 93"/>
                <a:gd name="T5" fmla="*/ 15 h 95"/>
                <a:gd name="T6" fmla="*/ 78 w 93"/>
                <a:gd name="T7" fmla="*/ 48 h 95"/>
                <a:gd name="T8" fmla="*/ 46 w 93"/>
                <a:gd name="T9" fmla="*/ 80 h 95"/>
                <a:gd name="T10" fmla="*/ 46 w 93"/>
                <a:gd name="T11" fmla="*/ 10 h 95"/>
                <a:gd name="T12" fmla="*/ 9 w 93"/>
                <a:gd name="T13" fmla="*/ 48 h 95"/>
                <a:gd name="T14" fmla="*/ 46 w 93"/>
                <a:gd name="T15" fmla="*/ 85 h 95"/>
                <a:gd name="T16" fmla="*/ 83 w 93"/>
                <a:gd name="T17" fmla="*/ 48 h 95"/>
                <a:gd name="T18" fmla="*/ 46 w 93"/>
                <a:gd name="T19" fmla="*/ 10 h 95"/>
                <a:gd name="T20" fmla="*/ 46 w 93"/>
                <a:gd name="T21" fmla="*/ 90 h 95"/>
                <a:gd name="T22" fmla="*/ 5 w 93"/>
                <a:gd name="T23" fmla="*/ 48 h 95"/>
                <a:gd name="T24" fmla="*/ 46 w 93"/>
                <a:gd name="T25" fmla="*/ 5 h 95"/>
                <a:gd name="T26" fmla="*/ 88 w 93"/>
                <a:gd name="T27" fmla="*/ 48 h 95"/>
                <a:gd name="T28" fmla="*/ 46 w 93"/>
                <a:gd name="T29" fmla="*/ 90 h 95"/>
                <a:gd name="T30" fmla="*/ 46 w 93"/>
                <a:gd name="T31" fmla="*/ 0 h 95"/>
                <a:gd name="T32" fmla="*/ 0 w 93"/>
                <a:gd name="T33" fmla="*/ 48 h 95"/>
                <a:gd name="T34" fmla="*/ 46 w 93"/>
                <a:gd name="T35" fmla="*/ 95 h 95"/>
                <a:gd name="T36" fmla="*/ 93 w 93"/>
                <a:gd name="T37" fmla="*/ 48 h 95"/>
                <a:gd name="T38" fmla="*/ 46 w 93"/>
                <a:gd name="T3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95">
                  <a:moveTo>
                    <a:pt x="46" y="80"/>
                  </a:moveTo>
                  <a:cubicBezTo>
                    <a:pt x="29" y="80"/>
                    <a:pt x="14" y="66"/>
                    <a:pt x="14" y="48"/>
                  </a:cubicBezTo>
                  <a:cubicBezTo>
                    <a:pt x="14" y="30"/>
                    <a:pt x="29" y="15"/>
                    <a:pt x="46" y="15"/>
                  </a:cubicBezTo>
                  <a:cubicBezTo>
                    <a:pt x="64" y="15"/>
                    <a:pt x="78" y="30"/>
                    <a:pt x="78" y="48"/>
                  </a:cubicBezTo>
                  <a:cubicBezTo>
                    <a:pt x="78" y="66"/>
                    <a:pt x="64" y="80"/>
                    <a:pt x="46" y="80"/>
                  </a:cubicBezTo>
                  <a:moveTo>
                    <a:pt x="46" y="10"/>
                  </a:moveTo>
                  <a:cubicBezTo>
                    <a:pt x="26" y="10"/>
                    <a:pt x="9" y="27"/>
                    <a:pt x="9" y="48"/>
                  </a:cubicBezTo>
                  <a:cubicBezTo>
                    <a:pt x="9" y="68"/>
                    <a:pt x="26" y="85"/>
                    <a:pt x="46" y="85"/>
                  </a:cubicBezTo>
                  <a:cubicBezTo>
                    <a:pt x="67" y="85"/>
                    <a:pt x="83" y="68"/>
                    <a:pt x="83" y="48"/>
                  </a:cubicBezTo>
                  <a:cubicBezTo>
                    <a:pt x="83" y="27"/>
                    <a:pt x="67" y="10"/>
                    <a:pt x="46" y="10"/>
                  </a:cubicBezTo>
                  <a:moveTo>
                    <a:pt x="46" y="90"/>
                  </a:moveTo>
                  <a:cubicBezTo>
                    <a:pt x="23" y="90"/>
                    <a:pt x="5" y="71"/>
                    <a:pt x="5" y="48"/>
                  </a:cubicBezTo>
                  <a:cubicBezTo>
                    <a:pt x="5" y="24"/>
                    <a:pt x="23" y="5"/>
                    <a:pt x="46" y="5"/>
                  </a:cubicBezTo>
                  <a:cubicBezTo>
                    <a:pt x="69" y="5"/>
                    <a:pt x="88" y="24"/>
                    <a:pt x="88" y="48"/>
                  </a:cubicBezTo>
                  <a:cubicBezTo>
                    <a:pt x="88" y="71"/>
                    <a:pt x="69" y="90"/>
                    <a:pt x="46" y="90"/>
                  </a:cubicBezTo>
                  <a:moveTo>
                    <a:pt x="46" y="0"/>
                  </a:moveTo>
                  <a:cubicBezTo>
                    <a:pt x="21" y="0"/>
                    <a:pt x="0" y="22"/>
                    <a:pt x="0" y="48"/>
                  </a:cubicBezTo>
                  <a:cubicBezTo>
                    <a:pt x="0" y="74"/>
                    <a:pt x="21" y="95"/>
                    <a:pt x="46" y="95"/>
                  </a:cubicBezTo>
                  <a:cubicBezTo>
                    <a:pt x="72" y="95"/>
                    <a:pt x="93" y="74"/>
                    <a:pt x="93" y="48"/>
                  </a:cubicBezTo>
                  <a:cubicBezTo>
                    <a:pt x="93" y="22"/>
                    <a:pt x="72"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0" name="Freeform 21319">
              <a:extLst>
                <a:ext uri="{FF2B5EF4-FFF2-40B4-BE49-F238E27FC236}">
                  <a16:creationId xmlns:a16="http://schemas.microsoft.com/office/drawing/2014/main" id="{D181E4CE-CDB0-48C2-876B-BBF1551676B8}"/>
                </a:ext>
              </a:extLst>
            </p:cNvPr>
            <p:cNvSpPr>
              <a:spLocks noEditPoints="1"/>
            </p:cNvSpPr>
            <p:nvPr userDrawn="1"/>
          </p:nvSpPr>
          <p:spPr bwMode="auto">
            <a:xfrm>
              <a:off x="10991215" y="4387215"/>
              <a:ext cx="141288" cy="144463"/>
            </a:xfrm>
            <a:custGeom>
              <a:avLst/>
              <a:gdLst>
                <a:gd name="T0" fmla="*/ 35 w 70"/>
                <a:gd name="T1" fmla="*/ 61 h 72"/>
                <a:gd name="T2" fmla="*/ 11 w 70"/>
                <a:gd name="T3" fmla="*/ 36 h 72"/>
                <a:gd name="T4" fmla="*/ 35 w 70"/>
                <a:gd name="T5" fmla="*/ 11 h 72"/>
                <a:gd name="T6" fmla="*/ 59 w 70"/>
                <a:gd name="T7" fmla="*/ 36 h 72"/>
                <a:gd name="T8" fmla="*/ 35 w 70"/>
                <a:gd name="T9" fmla="*/ 61 h 72"/>
                <a:gd name="T10" fmla="*/ 35 w 70"/>
                <a:gd name="T11" fmla="*/ 8 h 72"/>
                <a:gd name="T12" fmla="*/ 7 w 70"/>
                <a:gd name="T13" fmla="*/ 36 h 72"/>
                <a:gd name="T14" fmla="*/ 35 w 70"/>
                <a:gd name="T15" fmla="*/ 65 h 72"/>
                <a:gd name="T16" fmla="*/ 63 w 70"/>
                <a:gd name="T17" fmla="*/ 36 h 72"/>
                <a:gd name="T18" fmla="*/ 35 w 70"/>
                <a:gd name="T19" fmla="*/ 8 h 72"/>
                <a:gd name="T20" fmla="*/ 35 w 70"/>
                <a:gd name="T21" fmla="*/ 68 h 72"/>
                <a:gd name="T22" fmla="*/ 4 w 70"/>
                <a:gd name="T23" fmla="*/ 36 h 72"/>
                <a:gd name="T24" fmla="*/ 35 w 70"/>
                <a:gd name="T25" fmla="*/ 4 h 72"/>
                <a:gd name="T26" fmla="*/ 66 w 70"/>
                <a:gd name="T27" fmla="*/ 36 h 72"/>
                <a:gd name="T28" fmla="*/ 35 w 70"/>
                <a:gd name="T29" fmla="*/ 68 h 72"/>
                <a:gd name="T30" fmla="*/ 35 w 70"/>
                <a:gd name="T31" fmla="*/ 0 h 72"/>
                <a:gd name="T32" fmla="*/ 0 w 70"/>
                <a:gd name="T33" fmla="*/ 36 h 72"/>
                <a:gd name="T34" fmla="*/ 35 w 70"/>
                <a:gd name="T35" fmla="*/ 72 h 72"/>
                <a:gd name="T36" fmla="*/ 70 w 70"/>
                <a:gd name="T37" fmla="*/ 36 h 72"/>
                <a:gd name="T38" fmla="*/ 35 w 70"/>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2">
                  <a:moveTo>
                    <a:pt x="35" y="61"/>
                  </a:moveTo>
                  <a:cubicBezTo>
                    <a:pt x="22" y="61"/>
                    <a:pt x="11" y="50"/>
                    <a:pt x="11" y="36"/>
                  </a:cubicBezTo>
                  <a:cubicBezTo>
                    <a:pt x="11" y="22"/>
                    <a:pt x="22" y="11"/>
                    <a:pt x="35" y="11"/>
                  </a:cubicBezTo>
                  <a:cubicBezTo>
                    <a:pt x="48" y="11"/>
                    <a:pt x="59" y="22"/>
                    <a:pt x="59" y="36"/>
                  </a:cubicBezTo>
                  <a:cubicBezTo>
                    <a:pt x="59" y="50"/>
                    <a:pt x="48" y="61"/>
                    <a:pt x="35" y="61"/>
                  </a:cubicBezTo>
                  <a:moveTo>
                    <a:pt x="35" y="8"/>
                  </a:moveTo>
                  <a:cubicBezTo>
                    <a:pt x="20" y="8"/>
                    <a:pt x="7" y="20"/>
                    <a:pt x="7" y="36"/>
                  </a:cubicBezTo>
                  <a:cubicBezTo>
                    <a:pt x="7" y="52"/>
                    <a:pt x="20" y="65"/>
                    <a:pt x="35" y="65"/>
                  </a:cubicBezTo>
                  <a:cubicBezTo>
                    <a:pt x="51" y="65"/>
                    <a:pt x="63" y="52"/>
                    <a:pt x="63" y="36"/>
                  </a:cubicBezTo>
                  <a:cubicBezTo>
                    <a:pt x="63" y="20"/>
                    <a:pt x="51" y="8"/>
                    <a:pt x="35" y="8"/>
                  </a:cubicBezTo>
                  <a:moveTo>
                    <a:pt x="35" y="68"/>
                  </a:moveTo>
                  <a:cubicBezTo>
                    <a:pt x="18" y="68"/>
                    <a:pt x="4" y="54"/>
                    <a:pt x="4" y="36"/>
                  </a:cubicBezTo>
                  <a:cubicBezTo>
                    <a:pt x="4" y="19"/>
                    <a:pt x="18" y="4"/>
                    <a:pt x="35" y="4"/>
                  </a:cubicBezTo>
                  <a:cubicBezTo>
                    <a:pt x="52" y="4"/>
                    <a:pt x="66" y="19"/>
                    <a:pt x="66" y="36"/>
                  </a:cubicBezTo>
                  <a:cubicBezTo>
                    <a:pt x="66" y="54"/>
                    <a:pt x="52" y="68"/>
                    <a:pt x="35" y="68"/>
                  </a:cubicBezTo>
                  <a:moveTo>
                    <a:pt x="35" y="0"/>
                  </a:moveTo>
                  <a:cubicBezTo>
                    <a:pt x="16" y="0"/>
                    <a:pt x="0" y="16"/>
                    <a:pt x="0" y="36"/>
                  </a:cubicBezTo>
                  <a:cubicBezTo>
                    <a:pt x="0" y="56"/>
                    <a:pt x="16" y="72"/>
                    <a:pt x="35" y="72"/>
                  </a:cubicBezTo>
                  <a:cubicBezTo>
                    <a:pt x="55" y="72"/>
                    <a:pt x="70" y="56"/>
                    <a:pt x="70" y="36"/>
                  </a:cubicBezTo>
                  <a:cubicBezTo>
                    <a:pt x="70" y="16"/>
                    <a:pt x="55" y="0"/>
                    <a:pt x="3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1" name="Freeform 21320">
              <a:extLst>
                <a:ext uri="{FF2B5EF4-FFF2-40B4-BE49-F238E27FC236}">
                  <a16:creationId xmlns:a16="http://schemas.microsoft.com/office/drawing/2014/main" id="{4D6C5A78-3039-4063-B834-0BA167068C1F}"/>
                </a:ext>
              </a:extLst>
            </p:cNvPr>
            <p:cNvSpPr>
              <a:spLocks noEditPoints="1"/>
            </p:cNvSpPr>
            <p:nvPr userDrawn="1"/>
          </p:nvSpPr>
          <p:spPr bwMode="auto">
            <a:xfrm>
              <a:off x="11165840" y="4364990"/>
              <a:ext cx="69850" cy="71438"/>
            </a:xfrm>
            <a:custGeom>
              <a:avLst/>
              <a:gdLst>
                <a:gd name="T0" fmla="*/ 18 w 35"/>
                <a:gd name="T1" fmla="*/ 30 h 36"/>
                <a:gd name="T2" fmla="*/ 6 w 35"/>
                <a:gd name="T3" fmla="*/ 18 h 36"/>
                <a:gd name="T4" fmla="*/ 18 w 35"/>
                <a:gd name="T5" fmla="*/ 6 h 36"/>
                <a:gd name="T6" fmla="*/ 29 w 35"/>
                <a:gd name="T7" fmla="*/ 18 h 36"/>
                <a:gd name="T8" fmla="*/ 18 w 35"/>
                <a:gd name="T9" fmla="*/ 30 h 36"/>
                <a:gd name="T10" fmla="*/ 18 w 35"/>
                <a:gd name="T11" fmla="*/ 4 h 36"/>
                <a:gd name="T12" fmla="*/ 4 w 35"/>
                <a:gd name="T13" fmla="*/ 18 h 36"/>
                <a:gd name="T14" fmla="*/ 18 w 35"/>
                <a:gd name="T15" fmla="*/ 32 h 36"/>
                <a:gd name="T16" fmla="*/ 32 w 35"/>
                <a:gd name="T17" fmla="*/ 18 h 36"/>
                <a:gd name="T18" fmla="*/ 18 w 35"/>
                <a:gd name="T19" fmla="*/ 4 h 36"/>
                <a:gd name="T20" fmla="*/ 18 w 35"/>
                <a:gd name="T21" fmla="*/ 33 h 36"/>
                <a:gd name="T22" fmla="*/ 3 w 35"/>
                <a:gd name="T23" fmla="*/ 18 h 36"/>
                <a:gd name="T24" fmla="*/ 18 w 35"/>
                <a:gd name="T25" fmla="*/ 3 h 36"/>
                <a:gd name="T26" fmla="*/ 33 w 35"/>
                <a:gd name="T27" fmla="*/ 18 h 36"/>
                <a:gd name="T28" fmla="*/ 18 w 35"/>
                <a:gd name="T29" fmla="*/ 33 h 36"/>
                <a:gd name="T30" fmla="*/ 18 w 35"/>
                <a:gd name="T31" fmla="*/ 0 h 36"/>
                <a:gd name="T32" fmla="*/ 0 w 35"/>
                <a:gd name="T33" fmla="*/ 18 h 36"/>
                <a:gd name="T34" fmla="*/ 18 w 35"/>
                <a:gd name="T35" fmla="*/ 36 h 36"/>
                <a:gd name="T36" fmla="*/ 35 w 35"/>
                <a:gd name="T37" fmla="*/ 18 h 36"/>
                <a:gd name="T38" fmla="*/ 18 w 35"/>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6">
                  <a:moveTo>
                    <a:pt x="18" y="30"/>
                  </a:moveTo>
                  <a:cubicBezTo>
                    <a:pt x="11" y="30"/>
                    <a:pt x="6" y="25"/>
                    <a:pt x="6" y="18"/>
                  </a:cubicBezTo>
                  <a:cubicBezTo>
                    <a:pt x="6" y="12"/>
                    <a:pt x="11" y="6"/>
                    <a:pt x="18" y="6"/>
                  </a:cubicBezTo>
                  <a:cubicBezTo>
                    <a:pt x="24" y="6"/>
                    <a:pt x="29" y="12"/>
                    <a:pt x="29" y="18"/>
                  </a:cubicBezTo>
                  <a:cubicBezTo>
                    <a:pt x="29" y="25"/>
                    <a:pt x="24" y="30"/>
                    <a:pt x="18" y="30"/>
                  </a:cubicBezTo>
                  <a:moveTo>
                    <a:pt x="18" y="4"/>
                  </a:moveTo>
                  <a:cubicBezTo>
                    <a:pt x="10" y="4"/>
                    <a:pt x="4" y="10"/>
                    <a:pt x="4" y="18"/>
                  </a:cubicBezTo>
                  <a:cubicBezTo>
                    <a:pt x="4" y="26"/>
                    <a:pt x="10" y="32"/>
                    <a:pt x="18" y="32"/>
                  </a:cubicBezTo>
                  <a:cubicBezTo>
                    <a:pt x="25" y="32"/>
                    <a:pt x="32" y="26"/>
                    <a:pt x="32" y="18"/>
                  </a:cubicBezTo>
                  <a:cubicBezTo>
                    <a:pt x="32" y="10"/>
                    <a:pt x="25" y="4"/>
                    <a:pt x="18" y="4"/>
                  </a:cubicBezTo>
                  <a:moveTo>
                    <a:pt x="18" y="33"/>
                  </a:moveTo>
                  <a:cubicBezTo>
                    <a:pt x="9" y="33"/>
                    <a:pt x="3" y="26"/>
                    <a:pt x="3" y="18"/>
                  </a:cubicBezTo>
                  <a:cubicBezTo>
                    <a:pt x="3" y="10"/>
                    <a:pt x="9" y="3"/>
                    <a:pt x="18" y="3"/>
                  </a:cubicBezTo>
                  <a:cubicBezTo>
                    <a:pt x="26" y="3"/>
                    <a:pt x="33" y="10"/>
                    <a:pt x="33" y="18"/>
                  </a:cubicBezTo>
                  <a:cubicBezTo>
                    <a:pt x="33" y="26"/>
                    <a:pt x="26" y="33"/>
                    <a:pt x="18" y="33"/>
                  </a:cubicBezTo>
                  <a:moveTo>
                    <a:pt x="18" y="0"/>
                  </a:moveTo>
                  <a:cubicBezTo>
                    <a:pt x="8" y="0"/>
                    <a:pt x="0" y="8"/>
                    <a:pt x="0" y="18"/>
                  </a:cubicBezTo>
                  <a:cubicBezTo>
                    <a:pt x="0" y="28"/>
                    <a:pt x="8" y="36"/>
                    <a:pt x="18" y="36"/>
                  </a:cubicBezTo>
                  <a:cubicBezTo>
                    <a:pt x="27" y="36"/>
                    <a:pt x="35" y="28"/>
                    <a:pt x="35" y="18"/>
                  </a:cubicBezTo>
                  <a:cubicBezTo>
                    <a:pt x="35" y="8"/>
                    <a:pt x="27" y="0"/>
                    <a:pt x="1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2" name="Freeform 21321">
              <a:extLst>
                <a:ext uri="{FF2B5EF4-FFF2-40B4-BE49-F238E27FC236}">
                  <a16:creationId xmlns:a16="http://schemas.microsoft.com/office/drawing/2014/main" id="{87C90F36-C31A-40DB-9F2B-5DF9260233BE}"/>
                </a:ext>
              </a:extLst>
            </p:cNvPr>
            <p:cNvSpPr>
              <a:spLocks noEditPoints="1"/>
            </p:cNvSpPr>
            <p:nvPr userDrawn="1"/>
          </p:nvSpPr>
          <p:spPr bwMode="auto">
            <a:xfrm>
              <a:off x="10416540" y="3409315"/>
              <a:ext cx="373063" cy="369888"/>
            </a:xfrm>
            <a:custGeom>
              <a:avLst/>
              <a:gdLst>
                <a:gd name="T0" fmla="*/ 72 w 184"/>
                <a:gd name="T1" fmla="*/ 115 h 184"/>
                <a:gd name="T2" fmla="*/ 69 w 184"/>
                <a:gd name="T3" fmla="*/ 72 h 184"/>
                <a:gd name="T4" fmla="*/ 111 w 184"/>
                <a:gd name="T5" fmla="*/ 69 h 184"/>
                <a:gd name="T6" fmla="*/ 115 w 184"/>
                <a:gd name="T7" fmla="*/ 111 h 184"/>
                <a:gd name="T8" fmla="*/ 92 w 184"/>
                <a:gd name="T9" fmla="*/ 57 h 184"/>
                <a:gd name="T10" fmla="*/ 57 w 184"/>
                <a:gd name="T11" fmla="*/ 95 h 184"/>
                <a:gd name="T12" fmla="*/ 92 w 184"/>
                <a:gd name="T13" fmla="*/ 127 h 184"/>
                <a:gd name="T14" fmla="*/ 127 w 184"/>
                <a:gd name="T15" fmla="*/ 89 h 184"/>
                <a:gd name="T16" fmla="*/ 92 w 184"/>
                <a:gd name="T17" fmla="*/ 57 h 184"/>
                <a:gd name="T18" fmla="*/ 36 w 184"/>
                <a:gd name="T19" fmla="*/ 158 h 184"/>
                <a:gd name="T20" fmla="*/ 26 w 184"/>
                <a:gd name="T21" fmla="*/ 35 h 184"/>
                <a:gd name="T22" fmla="*/ 148 w 184"/>
                <a:gd name="T23" fmla="*/ 25 h 184"/>
                <a:gd name="T24" fmla="*/ 158 w 184"/>
                <a:gd name="T25" fmla="*/ 148 h 184"/>
                <a:gd name="T26" fmla="*/ 92 w 184"/>
                <a:gd name="T27" fmla="*/ 179 h 184"/>
                <a:gd name="T28" fmla="*/ 73 w 184"/>
                <a:gd name="T29" fmla="*/ 2 h 184"/>
                <a:gd name="T30" fmla="*/ 71 w 184"/>
                <a:gd name="T31" fmla="*/ 2 h 184"/>
                <a:gd name="T32" fmla="*/ 51 w 184"/>
                <a:gd name="T33" fmla="*/ 9 h 184"/>
                <a:gd name="T34" fmla="*/ 48 w 184"/>
                <a:gd name="T35" fmla="*/ 11 h 184"/>
                <a:gd name="T36" fmla="*/ 31 w 184"/>
                <a:gd name="T37" fmla="*/ 23 h 184"/>
                <a:gd name="T38" fmla="*/ 30 w 184"/>
                <a:gd name="T39" fmla="*/ 24 h 184"/>
                <a:gd name="T40" fmla="*/ 22 w 184"/>
                <a:gd name="T41" fmla="*/ 32 h 184"/>
                <a:gd name="T42" fmla="*/ 15 w 184"/>
                <a:gd name="T43" fmla="*/ 42 h 184"/>
                <a:gd name="T44" fmla="*/ 5 w 184"/>
                <a:gd name="T45" fmla="*/ 62 h 184"/>
                <a:gd name="T46" fmla="*/ 4 w 184"/>
                <a:gd name="T47" fmla="*/ 65 h 184"/>
                <a:gd name="T48" fmla="*/ 0 w 184"/>
                <a:gd name="T49" fmla="*/ 87 h 184"/>
                <a:gd name="T50" fmla="*/ 0 w 184"/>
                <a:gd name="T51" fmla="*/ 99 h 184"/>
                <a:gd name="T52" fmla="*/ 2 w 184"/>
                <a:gd name="T53" fmla="*/ 111 h 184"/>
                <a:gd name="T54" fmla="*/ 9 w 184"/>
                <a:gd name="T55" fmla="*/ 132 h 184"/>
                <a:gd name="T56" fmla="*/ 10 w 184"/>
                <a:gd name="T57" fmla="*/ 135 h 184"/>
                <a:gd name="T58" fmla="*/ 24 w 184"/>
                <a:gd name="T59" fmla="*/ 153 h 184"/>
                <a:gd name="T60" fmla="*/ 32 w 184"/>
                <a:gd name="T61" fmla="*/ 162 h 184"/>
                <a:gd name="T62" fmla="*/ 42 w 184"/>
                <a:gd name="T63" fmla="*/ 169 h 184"/>
                <a:gd name="T64" fmla="*/ 62 w 184"/>
                <a:gd name="T65" fmla="*/ 179 h 184"/>
                <a:gd name="T66" fmla="*/ 64 w 184"/>
                <a:gd name="T67" fmla="*/ 179 h 184"/>
                <a:gd name="T68" fmla="*/ 86 w 184"/>
                <a:gd name="T69" fmla="*/ 184 h 184"/>
                <a:gd name="T70" fmla="*/ 87 w 184"/>
                <a:gd name="T71" fmla="*/ 183 h 184"/>
                <a:gd name="T72" fmla="*/ 92 w 184"/>
                <a:gd name="T73" fmla="*/ 184 h 184"/>
                <a:gd name="T74" fmla="*/ 111 w 184"/>
                <a:gd name="T75" fmla="*/ 181 h 184"/>
                <a:gd name="T76" fmla="*/ 112 w 184"/>
                <a:gd name="T77" fmla="*/ 182 h 184"/>
                <a:gd name="T78" fmla="*/ 134 w 184"/>
                <a:gd name="T79" fmla="*/ 174 h 184"/>
                <a:gd name="T80" fmla="*/ 153 w 184"/>
                <a:gd name="T81" fmla="*/ 161 h 184"/>
                <a:gd name="T82" fmla="*/ 154 w 184"/>
                <a:gd name="T83" fmla="*/ 159 h 184"/>
                <a:gd name="T84" fmla="*/ 162 w 184"/>
                <a:gd name="T85" fmla="*/ 151 h 184"/>
                <a:gd name="T86" fmla="*/ 169 w 184"/>
                <a:gd name="T87" fmla="*/ 141 h 184"/>
                <a:gd name="T88" fmla="*/ 179 w 184"/>
                <a:gd name="T89" fmla="*/ 121 h 184"/>
                <a:gd name="T90" fmla="*/ 180 w 184"/>
                <a:gd name="T91" fmla="*/ 118 h 184"/>
                <a:gd name="T92" fmla="*/ 184 w 184"/>
                <a:gd name="T93" fmla="*/ 96 h 184"/>
                <a:gd name="T94" fmla="*/ 184 w 184"/>
                <a:gd name="T95" fmla="*/ 84 h 184"/>
                <a:gd name="T96" fmla="*/ 182 w 184"/>
                <a:gd name="T97" fmla="*/ 72 h 184"/>
                <a:gd name="T98" fmla="*/ 174 w 184"/>
                <a:gd name="T99" fmla="*/ 51 h 184"/>
                <a:gd name="T100" fmla="*/ 173 w 184"/>
                <a:gd name="T101" fmla="*/ 48 h 184"/>
                <a:gd name="T102" fmla="*/ 160 w 184"/>
                <a:gd name="T103" fmla="*/ 30 h 184"/>
                <a:gd name="T104" fmla="*/ 151 w 184"/>
                <a:gd name="T105" fmla="*/ 21 h 184"/>
                <a:gd name="T106" fmla="*/ 141 w 184"/>
                <a:gd name="T107" fmla="*/ 14 h 184"/>
                <a:gd name="T108" fmla="*/ 121 w 184"/>
                <a:gd name="T109" fmla="*/ 4 h 184"/>
                <a:gd name="T110" fmla="*/ 120 w 184"/>
                <a:gd name="T111" fmla="*/ 4 h 184"/>
                <a:gd name="T112" fmla="*/ 97 w 184"/>
                <a:gd name="T113" fmla="*/ 0 h 184"/>
                <a:gd name="T114" fmla="*/ 96 w 184"/>
                <a:gd name="T115" fmla="*/ 0 h 184"/>
                <a:gd name="T116" fmla="*/ 92 w 184"/>
                <a:gd name="T11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84">
                  <a:moveTo>
                    <a:pt x="92" y="122"/>
                  </a:moveTo>
                  <a:cubicBezTo>
                    <a:pt x="85" y="122"/>
                    <a:pt x="78" y="119"/>
                    <a:pt x="72" y="115"/>
                  </a:cubicBezTo>
                  <a:cubicBezTo>
                    <a:pt x="66" y="109"/>
                    <a:pt x="63" y="102"/>
                    <a:pt x="62" y="94"/>
                  </a:cubicBezTo>
                  <a:cubicBezTo>
                    <a:pt x="61" y="86"/>
                    <a:pt x="64" y="78"/>
                    <a:pt x="69" y="72"/>
                  </a:cubicBezTo>
                  <a:cubicBezTo>
                    <a:pt x="75" y="65"/>
                    <a:pt x="83" y="62"/>
                    <a:pt x="92" y="62"/>
                  </a:cubicBezTo>
                  <a:cubicBezTo>
                    <a:pt x="99" y="62"/>
                    <a:pt x="106" y="64"/>
                    <a:pt x="111" y="69"/>
                  </a:cubicBezTo>
                  <a:cubicBezTo>
                    <a:pt x="118" y="74"/>
                    <a:pt x="121" y="81"/>
                    <a:pt x="122" y="89"/>
                  </a:cubicBezTo>
                  <a:cubicBezTo>
                    <a:pt x="123" y="97"/>
                    <a:pt x="120" y="105"/>
                    <a:pt x="115" y="111"/>
                  </a:cubicBezTo>
                  <a:cubicBezTo>
                    <a:pt x="109" y="118"/>
                    <a:pt x="101" y="122"/>
                    <a:pt x="92" y="122"/>
                  </a:cubicBezTo>
                  <a:moveTo>
                    <a:pt x="92" y="57"/>
                  </a:moveTo>
                  <a:cubicBezTo>
                    <a:pt x="82" y="57"/>
                    <a:pt x="72" y="61"/>
                    <a:pt x="65" y="69"/>
                  </a:cubicBezTo>
                  <a:cubicBezTo>
                    <a:pt x="59" y="76"/>
                    <a:pt x="56" y="85"/>
                    <a:pt x="57" y="95"/>
                  </a:cubicBezTo>
                  <a:cubicBezTo>
                    <a:pt x="58" y="104"/>
                    <a:pt x="62" y="112"/>
                    <a:pt x="69" y="119"/>
                  </a:cubicBezTo>
                  <a:cubicBezTo>
                    <a:pt x="76" y="124"/>
                    <a:pt x="84" y="127"/>
                    <a:pt x="92" y="127"/>
                  </a:cubicBezTo>
                  <a:cubicBezTo>
                    <a:pt x="102" y="127"/>
                    <a:pt x="112" y="122"/>
                    <a:pt x="119" y="114"/>
                  </a:cubicBezTo>
                  <a:cubicBezTo>
                    <a:pt x="125" y="107"/>
                    <a:pt x="128" y="98"/>
                    <a:pt x="127" y="89"/>
                  </a:cubicBezTo>
                  <a:cubicBezTo>
                    <a:pt x="126" y="79"/>
                    <a:pt x="122" y="71"/>
                    <a:pt x="115" y="65"/>
                  </a:cubicBezTo>
                  <a:cubicBezTo>
                    <a:pt x="108" y="60"/>
                    <a:pt x="100" y="57"/>
                    <a:pt x="92" y="57"/>
                  </a:cubicBezTo>
                  <a:moveTo>
                    <a:pt x="92" y="179"/>
                  </a:moveTo>
                  <a:cubicBezTo>
                    <a:pt x="71" y="179"/>
                    <a:pt x="51" y="171"/>
                    <a:pt x="36" y="158"/>
                  </a:cubicBezTo>
                  <a:cubicBezTo>
                    <a:pt x="18" y="143"/>
                    <a:pt x="7" y="122"/>
                    <a:pt x="5" y="99"/>
                  </a:cubicBezTo>
                  <a:cubicBezTo>
                    <a:pt x="3" y="76"/>
                    <a:pt x="10" y="53"/>
                    <a:pt x="26" y="35"/>
                  </a:cubicBezTo>
                  <a:cubicBezTo>
                    <a:pt x="42" y="16"/>
                    <a:pt x="66" y="5"/>
                    <a:pt x="92" y="5"/>
                  </a:cubicBezTo>
                  <a:cubicBezTo>
                    <a:pt x="113" y="5"/>
                    <a:pt x="133" y="12"/>
                    <a:pt x="148" y="25"/>
                  </a:cubicBezTo>
                  <a:cubicBezTo>
                    <a:pt x="166" y="40"/>
                    <a:pt x="177" y="61"/>
                    <a:pt x="179" y="85"/>
                  </a:cubicBezTo>
                  <a:cubicBezTo>
                    <a:pt x="181" y="108"/>
                    <a:pt x="173" y="130"/>
                    <a:pt x="158" y="148"/>
                  </a:cubicBezTo>
                  <a:cubicBezTo>
                    <a:pt x="142" y="168"/>
                    <a:pt x="118" y="179"/>
                    <a:pt x="92" y="179"/>
                  </a:cubicBezTo>
                  <a:cubicBezTo>
                    <a:pt x="92" y="179"/>
                    <a:pt x="92" y="179"/>
                    <a:pt x="92" y="179"/>
                  </a:cubicBezTo>
                  <a:moveTo>
                    <a:pt x="92" y="0"/>
                  </a:moveTo>
                  <a:cubicBezTo>
                    <a:pt x="86" y="0"/>
                    <a:pt x="79" y="0"/>
                    <a:pt x="73" y="2"/>
                  </a:cubicBezTo>
                  <a:cubicBezTo>
                    <a:pt x="73" y="2"/>
                    <a:pt x="72" y="2"/>
                    <a:pt x="72" y="2"/>
                  </a:cubicBezTo>
                  <a:cubicBezTo>
                    <a:pt x="72" y="2"/>
                    <a:pt x="72" y="2"/>
                    <a:pt x="71" y="2"/>
                  </a:cubicBezTo>
                  <a:cubicBezTo>
                    <a:pt x="71" y="2"/>
                    <a:pt x="71" y="2"/>
                    <a:pt x="71" y="2"/>
                  </a:cubicBezTo>
                  <a:cubicBezTo>
                    <a:pt x="64" y="4"/>
                    <a:pt x="57" y="6"/>
                    <a:pt x="51" y="9"/>
                  </a:cubicBezTo>
                  <a:cubicBezTo>
                    <a:pt x="50" y="10"/>
                    <a:pt x="50" y="10"/>
                    <a:pt x="50" y="10"/>
                  </a:cubicBezTo>
                  <a:cubicBezTo>
                    <a:pt x="49" y="10"/>
                    <a:pt x="49" y="11"/>
                    <a:pt x="48" y="11"/>
                  </a:cubicBezTo>
                  <a:cubicBezTo>
                    <a:pt x="48" y="11"/>
                    <a:pt x="48" y="11"/>
                    <a:pt x="48" y="11"/>
                  </a:cubicBezTo>
                  <a:cubicBezTo>
                    <a:pt x="42" y="14"/>
                    <a:pt x="36" y="18"/>
                    <a:pt x="31" y="23"/>
                  </a:cubicBezTo>
                  <a:cubicBezTo>
                    <a:pt x="31" y="23"/>
                    <a:pt x="31" y="23"/>
                    <a:pt x="31" y="23"/>
                  </a:cubicBezTo>
                  <a:cubicBezTo>
                    <a:pt x="30" y="23"/>
                    <a:pt x="30" y="24"/>
                    <a:pt x="30" y="24"/>
                  </a:cubicBezTo>
                  <a:cubicBezTo>
                    <a:pt x="29" y="24"/>
                    <a:pt x="29" y="24"/>
                    <a:pt x="29" y="24"/>
                  </a:cubicBezTo>
                  <a:cubicBezTo>
                    <a:pt x="27" y="27"/>
                    <a:pt x="24" y="29"/>
                    <a:pt x="22" y="32"/>
                  </a:cubicBezTo>
                  <a:cubicBezTo>
                    <a:pt x="19" y="35"/>
                    <a:pt x="17" y="38"/>
                    <a:pt x="15" y="40"/>
                  </a:cubicBezTo>
                  <a:cubicBezTo>
                    <a:pt x="15" y="41"/>
                    <a:pt x="15" y="41"/>
                    <a:pt x="15" y="42"/>
                  </a:cubicBezTo>
                  <a:cubicBezTo>
                    <a:pt x="15" y="42"/>
                    <a:pt x="14" y="42"/>
                    <a:pt x="14" y="43"/>
                  </a:cubicBezTo>
                  <a:cubicBezTo>
                    <a:pt x="10" y="49"/>
                    <a:pt x="7" y="55"/>
                    <a:pt x="5" y="62"/>
                  </a:cubicBezTo>
                  <a:cubicBezTo>
                    <a:pt x="5" y="62"/>
                    <a:pt x="5" y="63"/>
                    <a:pt x="5" y="63"/>
                  </a:cubicBezTo>
                  <a:cubicBezTo>
                    <a:pt x="4" y="64"/>
                    <a:pt x="4" y="64"/>
                    <a:pt x="4" y="65"/>
                  </a:cubicBezTo>
                  <a:cubicBezTo>
                    <a:pt x="2" y="71"/>
                    <a:pt x="0" y="78"/>
                    <a:pt x="0" y="86"/>
                  </a:cubicBezTo>
                  <a:cubicBezTo>
                    <a:pt x="0" y="86"/>
                    <a:pt x="0" y="86"/>
                    <a:pt x="0" y="87"/>
                  </a:cubicBezTo>
                  <a:cubicBezTo>
                    <a:pt x="0" y="87"/>
                    <a:pt x="0" y="88"/>
                    <a:pt x="0" y="88"/>
                  </a:cubicBezTo>
                  <a:cubicBezTo>
                    <a:pt x="0" y="92"/>
                    <a:pt x="0" y="96"/>
                    <a:pt x="0" y="99"/>
                  </a:cubicBezTo>
                  <a:cubicBezTo>
                    <a:pt x="0" y="103"/>
                    <a:pt x="1" y="106"/>
                    <a:pt x="2" y="110"/>
                  </a:cubicBezTo>
                  <a:cubicBezTo>
                    <a:pt x="2" y="110"/>
                    <a:pt x="2" y="111"/>
                    <a:pt x="2" y="111"/>
                  </a:cubicBezTo>
                  <a:cubicBezTo>
                    <a:pt x="2" y="111"/>
                    <a:pt x="2" y="112"/>
                    <a:pt x="2" y="112"/>
                  </a:cubicBezTo>
                  <a:cubicBezTo>
                    <a:pt x="4" y="119"/>
                    <a:pt x="6" y="126"/>
                    <a:pt x="9" y="132"/>
                  </a:cubicBezTo>
                  <a:cubicBezTo>
                    <a:pt x="10" y="133"/>
                    <a:pt x="10" y="133"/>
                    <a:pt x="10" y="133"/>
                  </a:cubicBezTo>
                  <a:cubicBezTo>
                    <a:pt x="10" y="134"/>
                    <a:pt x="10" y="134"/>
                    <a:pt x="10" y="135"/>
                  </a:cubicBezTo>
                  <a:cubicBezTo>
                    <a:pt x="14" y="141"/>
                    <a:pt x="18" y="147"/>
                    <a:pt x="23" y="152"/>
                  </a:cubicBezTo>
                  <a:cubicBezTo>
                    <a:pt x="23" y="153"/>
                    <a:pt x="23" y="153"/>
                    <a:pt x="24" y="153"/>
                  </a:cubicBezTo>
                  <a:cubicBezTo>
                    <a:pt x="24" y="154"/>
                    <a:pt x="24" y="154"/>
                    <a:pt x="24" y="154"/>
                  </a:cubicBezTo>
                  <a:cubicBezTo>
                    <a:pt x="27" y="157"/>
                    <a:pt x="30" y="160"/>
                    <a:pt x="32" y="162"/>
                  </a:cubicBezTo>
                  <a:cubicBezTo>
                    <a:pt x="35" y="164"/>
                    <a:pt x="38" y="166"/>
                    <a:pt x="41" y="168"/>
                  </a:cubicBezTo>
                  <a:cubicBezTo>
                    <a:pt x="41" y="168"/>
                    <a:pt x="42" y="168"/>
                    <a:pt x="42" y="169"/>
                  </a:cubicBezTo>
                  <a:cubicBezTo>
                    <a:pt x="42" y="169"/>
                    <a:pt x="43" y="169"/>
                    <a:pt x="43" y="170"/>
                  </a:cubicBezTo>
                  <a:cubicBezTo>
                    <a:pt x="49" y="173"/>
                    <a:pt x="55" y="177"/>
                    <a:pt x="62" y="179"/>
                  </a:cubicBezTo>
                  <a:cubicBezTo>
                    <a:pt x="62" y="179"/>
                    <a:pt x="62" y="179"/>
                    <a:pt x="63" y="179"/>
                  </a:cubicBezTo>
                  <a:cubicBezTo>
                    <a:pt x="63" y="179"/>
                    <a:pt x="63" y="179"/>
                    <a:pt x="64" y="179"/>
                  </a:cubicBezTo>
                  <a:cubicBezTo>
                    <a:pt x="64" y="179"/>
                    <a:pt x="64" y="179"/>
                    <a:pt x="65" y="180"/>
                  </a:cubicBezTo>
                  <a:cubicBezTo>
                    <a:pt x="72" y="182"/>
                    <a:pt x="79" y="183"/>
                    <a:pt x="86" y="184"/>
                  </a:cubicBezTo>
                  <a:cubicBezTo>
                    <a:pt x="86" y="183"/>
                    <a:pt x="86" y="183"/>
                    <a:pt x="87" y="183"/>
                  </a:cubicBezTo>
                  <a:cubicBezTo>
                    <a:pt x="87" y="183"/>
                    <a:pt x="87" y="183"/>
                    <a:pt x="87" y="183"/>
                  </a:cubicBezTo>
                  <a:cubicBezTo>
                    <a:pt x="87" y="183"/>
                    <a:pt x="88" y="184"/>
                    <a:pt x="88" y="184"/>
                  </a:cubicBezTo>
                  <a:cubicBezTo>
                    <a:pt x="89" y="184"/>
                    <a:pt x="91" y="184"/>
                    <a:pt x="92" y="184"/>
                  </a:cubicBezTo>
                  <a:cubicBezTo>
                    <a:pt x="98" y="184"/>
                    <a:pt x="104" y="183"/>
                    <a:pt x="110" y="182"/>
                  </a:cubicBezTo>
                  <a:cubicBezTo>
                    <a:pt x="110" y="182"/>
                    <a:pt x="111" y="182"/>
                    <a:pt x="111" y="181"/>
                  </a:cubicBezTo>
                  <a:cubicBezTo>
                    <a:pt x="112" y="181"/>
                    <a:pt x="112" y="181"/>
                    <a:pt x="112" y="181"/>
                  </a:cubicBezTo>
                  <a:cubicBezTo>
                    <a:pt x="112" y="181"/>
                    <a:pt x="112" y="181"/>
                    <a:pt x="112" y="182"/>
                  </a:cubicBezTo>
                  <a:cubicBezTo>
                    <a:pt x="119" y="180"/>
                    <a:pt x="126" y="178"/>
                    <a:pt x="133" y="174"/>
                  </a:cubicBezTo>
                  <a:cubicBezTo>
                    <a:pt x="133" y="174"/>
                    <a:pt x="133" y="174"/>
                    <a:pt x="134" y="174"/>
                  </a:cubicBezTo>
                  <a:cubicBezTo>
                    <a:pt x="134" y="173"/>
                    <a:pt x="134" y="173"/>
                    <a:pt x="135" y="173"/>
                  </a:cubicBezTo>
                  <a:cubicBezTo>
                    <a:pt x="141" y="170"/>
                    <a:pt x="147" y="166"/>
                    <a:pt x="153" y="161"/>
                  </a:cubicBezTo>
                  <a:cubicBezTo>
                    <a:pt x="153" y="161"/>
                    <a:pt x="153" y="161"/>
                    <a:pt x="153" y="160"/>
                  </a:cubicBezTo>
                  <a:cubicBezTo>
                    <a:pt x="153" y="160"/>
                    <a:pt x="154" y="159"/>
                    <a:pt x="154" y="159"/>
                  </a:cubicBezTo>
                  <a:cubicBezTo>
                    <a:pt x="155" y="159"/>
                    <a:pt x="155" y="159"/>
                    <a:pt x="155" y="159"/>
                  </a:cubicBezTo>
                  <a:cubicBezTo>
                    <a:pt x="158" y="156"/>
                    <a:pt x="160" y="154"/>
                    <a:pt x="162" y="151"/>
                  </a:cubicBezTo>
                  <a:cubicBezTo>
                    <a:pt x="165" y="148"/>
                    <a:pt x="167" y="145"/>
                    <a:pt x="169" y="142"/>
                  </a:cubicBezTo>
                  <a:cubicBezTo>
                    <a:pt x="169" y="142"/>
                    <a:pt x="169" y="142"/>
                    <a:pt x="169" y="141"/>
                  </a:cubicBezTo>
                  <a:cubicBezTo>
                    <a:pt x="170" y="141"/>
                    <a:pt x="170" y="140"/>
                    <a:pt x="170" y="140"/>
                  </a:cubicBezTo>
                  <a:cubicBezTo>
                    <a:pt x="174" y="134"/>
                    <a:pt x="177" y="128"/>
                    <a:pt x="179" y="121"/>
                  </a:cubicBezTo>
                  <a:cubicBezTo>
                    <a:pt x="179" y="120"/>
                    <a:pt x="179" y="120"/>
                    <a:pt x="179" y="119"/>
                  </a:cubicBezTo>
                  <a:cubicBezTo>
                    <a:pt x="180" y="119"/>
                    <a:pt x="180" y="119"/>
                    <a:pt x="180" y="118"/>
                  </a:cubicBezTo>
                  <a:cubicBezTo>
                    <a:pt x="182" y="111"/>
                    <a:pt x="183" y="104"/>
                    <a:pt x="184" y="97"/>
                  </a:cubicBezTo>
                  <a:cubicBezTo>
                    <a:pt x="184" y="97"/>
                    <a:pt x="184" y="96"/>
                    <a:pt x="184" y="96"/>
                  </a:cubicBezTo>
                  <a:cubicBezTo>
                    <a:pt x="184" y="96"/>
                    <a:pt x="184" y="95"/>
                    <a:pt x="184" y="95"/>
                  </a:cubicBezTo>
                  <a:cubicBezTo>
                    <a:pt x="184" y="91"/>
                    <a:pt x="184" y="88"/>
                    <a:pt x="184" y="84"/>
                  </a:cubicBezTo>
                  <a:cubicBezTo>
                    <a:pt x="183" y="80"/>
                    <a:pt x="183" y="77"/>
                    <a:pt x="182" y="73"/>
                  </a:cubicBezTo>
                  <a:cubicBezTo>
                    <a:pt x="182" y="73"/>
                    <a:pt x="182" y="72"/>
                    <a:pt x="182" y="72"/>
                  </a:cubicBezTo>
                  <a:cubicBezTo>
                    <a:pt x="181" y="71"/>
                    <a:pt x="181" y="71"/>
                    <a:pt x="182" y="71"/>
                  </a:cubicBezTo>
                  <a:cubicBezTo>
                    <a:pt x="180" y="64"/>
                    <a:pt x="178" y="57"/>
                    <a:pt x="174" y="51"/>
                  </a:cubicBezTo>
                  <a:cubicBezTo>
                    <a:pt x="174" y="50"/>
                    <a:pt x="174" y="50"/>
                    <a:pt x="173" y="49"/>
                  </a:cubicBezTo>
                  <a:cubicBezTo>
                    <a:pt x="173" y="49"/>
                    <a:pt x="173" y="49"/>
                    <a:pt x="173" y="48"/>
                  </a:cubicBezTo>
                  <a:cubicBezTo>
                    <a:pt x="170" y="42"/>
                    <a:pt x="166" y="36"/>
                    <a:pt x="161" y="31"/>
                  </a:cubicBezTo>
                  <a:cubicBezTo>
                    <a:pt x="160" y="30"/>
                    <a:pt x="160" y="30"/>
                    <a:pt x="160" y="30"/>
                  </a:cubicBezTo>
                  <a:cubicBezTo>
                    <a:pt x="159" y="29"/>
                    <a:pt x="159" y="29"/>
                    <a:pt x="159" y="29"/>
                  </a:cubicBezTo>
                  <a:cubicBezTo>
                    <a:pt x="157" y="26"/>
                    <a:pt x="154" y="24"/>
                    <a:pt x="151" y="21"/>
                  </a:cubicBezTo>
                  <a:cubicBezTo>
                    <a:pt x="149" y="19"/>
                    <a:pt x="146" y="17"/>
                    <a:pt x="143" y="15"/>
                  </a:cubicBezTo>
                  <a:cubicBezTo>
                    <a:pt x="142" y="15"/>
                    <a:pt x="142" y="15"/>
                    <a:pt x="141" y="14"/>
                  </a:cubicBezTo>
                  <a:cubicBezTo>
                    <a:pt x="141" y="14"/>
                    <a:pt x="141" y="14"/>
                    <a:pt x="140" y="13"/>
                  </a:cubicBezTo>
                  <a:cubicBezTo>
                    <a:pt x="134" y="10"/>
                    <a:pt x="128" y="7"/>
                    <a:pt x="121" y="4"/>
                  </a:cubicBezTo>
                  <a:cubicBezTo>
                    <a:pt x="121" y="4"/>
                    <a:pt x="121" y="4"/>
                    <a:pt x="121" y="4"/>
                  </a:cubicBezTo>
                  <a:cubicBezTo>
                    <a:pt x="120" y="4"/>
                    <a:pt x="120" y="4"/>
                    <a:pt x="120" y="4"/>
                  </a:cubicBezTo>
                  <a:cubicBezTo>
                    <a:pt x="119" y="4"/>
                    <a:pt x="119" y="4"/>
                    <a:pt x="118" y="4"/>
                  </a:cubicBezTo>
                  <a:cubicBezTo>
                    <a:pt x="112" y="1"/>
                    <a:pt x="105" y="0"/>
                    <a:pt x="97" y="0"/>
                  </a:cubicBezTo>
                  <a:cubicBezTo>
                    <a:pt x="97" y="0"/>
                    <a:pt x="97" y="0"/>
                    <a:pt x="96" y="0"/>
                  </a:cubicBezTo>
                  <a:cubicBezTo>
                    <a:pt x="96" y="0"/>
                    <a:pt x="96" y="0"/>
                    <a:pt x="96" y="0"/>
                  </a:cubicBezTo>
                  <a:cubicBezTo>
                    <a:pt x="96" y="0"/>
                    <a:pt x="95" y="0"/>
                    <a:pt x="95" y="0"/>
                  </a:cubicBezTo>
                  <a:cubicBezTo>
                    <a:pt x="94" y="0"/>
                    <a:pt x="93" y="0"/>
                    <a:pt x="9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3" name="Freeform 21322">
              <a:extLst>
                <a:ext uri="{FF2B5EF4-FFF2-40B4-BE49-F238E27FC236}">
                  <a16:creationId xmlns:a16="http://schemas.microsoft.com/office/drawing/2014/main" id="{3E262A86-A288-40A4-977E-C7BBE16E5751}"/>
                </a:ext>
              </a:extLst>
            </p:cNvPr>
            <p:cNvSpPr>
              <a:spLocks noEditPoints="1"/>
            </p:cNvSpPr>
            <p:nvPr userDrawn="1"/>
          </p:nvSpPr>
          <p:spPr bwMode="auto">
            <a:xfrm>
              <a:off x="10370503" y="3363278"/>
              <a:ext cx="465138" cy="460375"/>
            </a:xfrm>
            <a:custGeom>
              <a:avLst/>
              <a:gdLst>
                <a:gd name="T0" fmla="*/ 172 w 230"/>
                <a:gd name="T1" fmla="*/ 163 h 229"/>
                <a:gd name="T2" fmla="*/ 194 w 230"/>
                <a:gd name="T3" fmla="*/ 108 h 229"/>
                <a:gd name="T4" fmla="*/ 108 w 230"/>
                <a:gd name="T5" fmla="*/ 5 h 229"/>
                <a:gd name="T6" fmla="*/ 130 w 230"/>
                <a:gd name="T7" fmla="*/ 10 h 229"/>
                <a:gd name="T8" fmla="*/ 143 w 230"/>
                <a:gd name="T9" fmla="*/ 27 h 229"/>
                <a:gd name="T10" fmla="*/ 164 w 230"/>
                <a:gd name="T11" fmla="*/ 21 h 229"/>
                <a:gd name="T12" fmla="*/ 184 w 230"/>
                <a:gd name="T13" fmla="*/ 30 h 229"/>
                <a:gd name="T14" fmla="*/ 184 w 230"/>
                <a:gd name="T15" fmla="*/ 54 h 229"/>
                <a:gd name="T16" fmla="*/ 196 w 230"/>
                <a:gd name="T17" fmla="*/ 71 h 229"/>
                <a:gd name="T18" fmla="*/ 218 w 230"/>
                <a:gd name="T19" fmla="*/ 78 h 229"/>
                <a:gd name="T20" fmla="*/ 220 w 230"/>
                <a:gd name="T21" fmla="*/ 102 h 229"/>
                <a:gd name="T22" fmla="*/ 207 w 230"/>
                <a:gd name="T23" fmla="*/ 120 h 229"/>
                <a:gd name="T24" fmla="*/ 203 w 230"/>
                <a:gd name="T25" fmla="*/ 141 h 229"/>
                <a:gd name="T26" fmla="*/ 212 w 230"/>
                <a:gd name="T27" fmla="*/ 164 h 229"/>
                <a:gd name="T28" fmla="*/ 198 w 230"/>
                <a:gd name="T29" fmla="*/ 180 h 229"/>
                <a:gd name="T30" fmla="*/ 177 w 230"/>
                <a:gd name="T31" fmla="*/ 182 h 229"/>
                <a:gd name="T32" fmla="*/ 172 w 230"/>
                <a:gd name="T33" fmla="*/ 204 h 229"/>
                <a:gd name="T34" fmla="*/ 153 w 230"/>
                <a:gd name="T35" fmla="*/ 218 h 229"/>
                <a:gd name="T36" fmla="*/ 133 w 230"/>
                <a:gd name="T37" fmla="*/ 205 h 229"/>
                <a:gd name="T38" fmla="*/ 111 w 230"/>
                <a:gd name="T39" fmla="*/ 207 h 229"/>
                <a:gd name="T40" fmla="*/ 96 w 230"/>
                <a:gd name="T41" fmla="*/ 223 h 229"/>
                <a:gd name="T42" fmla="*/ 85 w 230"/>
                <a:gd name="T43" fmla="*/ 202 h 229"/>
                <a:gd name="T44" fmla="*/ 65 w 230"/>
                <a:gd name="T45" fmla="*/ 192 h 229"/>
                <a:gd name="T46" fmla="*/ 44 w 230"/>
                <a:gd name="T47" fmla="*/ 198 h 229"/>
                <a:gd name="T48" fmla="*/ 31 w 230"/>
                <a:gd name="T49" fmla="*/ 178 h 229"/>
                <a:gd name="T50" fmla="*/ 32 w 230"/>
                <a:gd name="T51" fmla="*/ 155 h 229"/>
                <a:gd name="T52" fmla="*/ 14 w 230"/>
                <a:gd name="T53" fmla="*/ 147 h 229"/>
                <a:gd name="T54" fmla="*/ 6 w 230"/>
                <a:gd name="T55" fmla="*/ 124 h 229"/>
                <a:gd name="T56" fmla="*/ 7 w 230"/>
                <a:gd name="T57" fmla="*/ 96 h 229"/>
                <a:gd name="T58" fmla="*/ 28 w 230"/>
                <a:gd name="T59" fmla="*/ 85 h 229"/>
                <a:gd name="T60" fmla="*/ 37 w 230"/>
                <a:gd name="T61" fmla="*/ 66 h 229"/>
                <a:gd name="T62" fmla="*/ 33 w 230"/>
                <a:gd name="T63" fmla="*/ 42 h 229"/>
                <a:gd name="T64" fmla="*/ 52 w 230"/>
                <a:gd name="T65" fmla="*/ 30 h 229"/>
                <a:gd name="T66" fmla="*/ 71 w 230"/>
                <a:gd name="T67" fmla="*/ 34 h 229"/>
                <a:gd name="T68" fmla="*/ 83 w 230"/>
                <a:gd name="T69" fmla="*/ 14 h 229"/>
                <a:gd name="T70" fmla="*/ 106 w 230"/>
                <a:gd name="T71" fmla="*/ 0 h 229"/>
                <a:gd name="T72" fmla="*/ 76 w 230"/>
                <a:gd name="T73" fmla="*/ 7 h 229"/>
                <a:gd name="T74" fmla="*/ 47 w 230"/>
                <a:gd name="T75" fmla="*/ 32 h 229"/>
                <a:gd name="T76" fmla="*/ 28 w 230"/>
                <a:gd name="T77" fmla="*/ 53 h 229"/>
                <a:gd name="T78" fmla="*/ 15 w 230"/>
                <a:gd name="T79" fmla="*/ 78 h 229"/>
                <a:gd name="T80" fmla="*/ 18 w 230"/>
                <a:gd name="T81" fmla="*/ 110 h 229"/>
                <a:gd name="T82" fmla="*/ 7 w 230"/>
                <a:gd name="T83" fmla="*/ 154 h 229"/>
                <a:gd name="T84" fmla="*/ 21 w 230"/>
                <a:gd name="T85" fmla="*/ 180 h 229"/>
                <a:gd name="T86" fmla="*/ 41 w 230"/>
                <a:gd name="T87" fmla="*/ 203 h 229"/>
                <a:gd name="T88" fmla="*/ 71 w 230"/>
                <a:gd name="T89" fmla="*/ 220 h 229"/>
                <a:gd name="T90" fmla="*/ 105 w 230"/>
                <a:gd name="T91" fmla="*/ 221 h 229"/>
                <a:gd name="T92" fmla="*/ 135 w 230"/>
                <a:gd name="T93" fmla="*/ 210 h 229"/>
                <a:gd name="T94" fmla="*/ 168 w 230"/>
                <a:gd name="T95" fmla="*/ 207 h 229"/>
                <a:gd name="T96" fmla="*/ 196 w 230"/>
                <a:gd name="T97" fmla="*/ 193 h 229"/>
                <a:gd name="T98" fmla="*/ 212 w 230"/>
                <a:gd name="T99" fmla="*/ 169 h 229"/>
                <a:gd name="T100" fmla="*/ 219 w 230"/>
                <a:gd name="T101" fmla="*/ 143 h 229"/>
                <a:gd name="T102" fmla="*/ 229 w 230"/>
                <a:gd name="T103" fmla="*/ 105 h 229"/>
                <a:gd name="T104" fmla="*/ 212 w 230"/>
                <a:gd name="T105" fmla="*/ 71 h 229"/>
                <a:gd name="T106" fmla="*/ 198 w 230"/>
                <a:gd name="T107" fmla="*/ 47 h 229"/>
                <a:gd name="T108" fmla="*/ 177 w 230"/>
                <a:gd name="T109" fmla="*/ 28 h 229"/>
                <a:gd name="T110" fmla="*/ 145 w 230"/>
                <a:gd name="T111" fmla="*/ 22 h 229"/>
                <a:gd name="T112" fmla="*/ 116 w 230"/>
                <a:gd name="T113"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15" y="189"/>
                  </a:moveTo>
                  <a:cubicBezTo>
                    <a:pt x="97" y="189"/>
                    <a:pt x="80" y="183"/>
                    <a:pt x="67" y="172"/>
                  </a:cubicBezTo>
                  <a:cubicBezTo>
                    <a:pt x="35" y="145"/>
                    <a:pt x="31" y="98"/>
                    <a:pt x="58" y="66"/>
                  </a:cubicBezTo>
                  <a:cubicBezTo>
                    <a:pt x="72" y="50"/>
                    <a:pt x="93" y="40"/>
                    <a:pt x="115" y="40"/>
                  </a:cubicBezTo>
                  <a:cubicBezTo>
                    <a:pt x="133" y="40"/>
                    <a:pt x="150" y="46"/>
                    <a:pt x="163" y="58"/>
                  </a:cubicBezTo>
                  <a:cubicBezTo>
                    <a:pt x="178" y="71"/>
                    <a:pt x="188" y="89"/>
                    <a:pt x="189" y="109"/>
                  </a:cubicBezTo>
                  <a:cubicBezTo>
                    <a:pt x="191" y="128"/>
                    <a:pt x="185" y="148"/>
                    <a:pt x="172" y="163"/>
                  </a:cubicBezTo>
                  <a:cubicBezTo>
                    <a:pt x="158" y="180"/>
                    <a:pt x="137" y="189"/>
                    <a:pt x="115" y="189"/>
                  </a:cubicBezTo>
                  <a:moveTo>
                    <a:pt x="115" y="35"/>
                  </a:moveTo>
                  <a:cubicBezTo>
                    <a:pt x="91" y="35"/>
                    <a:pt x="69" y="45"/>
                    <a:pt x="54" y="63"/>
                  </a:cubicBezTo>
                  <a:cubicBezTo>
                    <a:pt x="26" y="97"/>
                    <a:pt x="30" y="147"/>
                    <a:pt x="63" y="176"/>
                  </a:cubicBezTo>
                  <a:cubicBezTo>
                    <a:pt x="78" y="188"/>
                    <a:pt x="96" y="194"/>
                    <a:pt x="115" y="194"/>
                  </a:cubicBezTo>
                  <a:cubicBezTo>
                    <a:pt x="138" y="194"/>
                    <a:pt x="161" y="184"/>
                    <a:pt x="176" y="166"/>
                  </a:cubicBezTo>
                  <a:cubicBezTo>
                    <a:pt x="190" y="150"/>
                    <a:pt x="196" y="129"/>
                    <a:pt x="194" y="108"/>
                  </a:cubicBezTo>
                  <a:cubicBezTo>
                    <a:pt x="193" y="87"/>
                    <a:pt x="183" y="68"/>
                    <a:pt x="166" y="54"/>
                  </a:cubicBezTo>
                  <a:cubicBezTo>
                    <a:pt x="152" y="42"/>
                    <a:pt x="134" y="35"/>
                    <a:pt x="115" y="35"/>
                  </a:cubicBezTo>
                  <a:moveTo>
                    <a:pt x="96" y="25"/>
                  </a:moveTo>
                  <a:cubicBezTo>
                    <a:pt x="100" y="22"/>
                    <a:pt x="102" y="14"/>
                    <a:pt x="103" y="10"/>
                  </a:cubicBezTo>
                  <a:cubicBezTo>
                    <a:pt x="103" y="5"/>
                    <a:pt x="104" y="5"/>
                    <a:pt x="106" y="5"/>
                  </a:cubicBezTo>
                  <a:cubicBezTo>
                    <a:pt x="107" y="5"/>
                    <a:pt x="107" y="5"/>
                    <a:pt x="107" y="5"/>
                  </a:cubicBezTo>
                  <a:cubicBezTo>
                    <a:pt x="107" y="5"/>
                    <a:pt x="107" y="5"/>
                    <a:pt x="108" y="5"/>
                  </a:cubicBezTo>
                  <a:cubicBezTo>
                    <a:pt x="109" y="5"/>
                    <a:pt x="110" y="5"/>
                    <a:pt x="111" y="9"/>
                  </a:cubicBezTo>
                  <a:cubicBezTo>
                    <a:pt x="112" y="14"/>
                    <a:pt x="114" y="20"/>
                    <a:pt x="118" y="23"/>
                  </a:cubicBezTo>
                  <a:cubicBezTo>
                    <a:pt x="118" y="23"/>
                    <a:pt x="118" y="23"/>
                    <a:pt x="118" y="23"/>
                  </a:cubicBezTo>
                  <a:cubicBezTo>
                    <a:pt x="118" y="23"/>
                    <a:pt x="119" y="23"/>
                    <a:pt x="119" y="23"/>
                  </a:cubicBezTo>
                  <a:cubicBezTo>
                    <a:pt x="119" y="23"/>
                    <a:pt x="119" y="23"/>
                    <a:pt x="119" y="23"/>
                  </a:cubicBezTo>
                  <a:cubicBezTo>
                    <a:pt x="120" y="23"/>
                    <a:pt x="120" y="23"/>
                    <a:pt x="120" y="23"/>
                  </a:cubicBezTo>
                  <a:cubicBezTo>
                    <a:pt x="125" y="21"/>
                    <a:pt x="129" y="14"/>
                    <a:pt x="130" y="10"/>
                  </a:cubicBezTo>
                  <a:cubicBezTo>
                    <a:pt x="131" y="6"/>
                    <a:pt x="132" y="6"/>
                    <a:pt x="133" y="6"/>
                  </a:cubicBezTo>
                  <a:cubicBezTo>
                    <a:pt x="133" y="6"/>
                    <a:pt x="134" y="7"/>
                    <a:pt x="134" y="7"/>
                  </a:cubicBezTo>
                  <a:cubicBezTo>
                    <a:pt x="135" y="7"/>
                    <a:pt x="135" y="7"/>
                    <a:pt x="135" y="7"/>
                  </a:cubicBezTo>
                  <a:cubicBezTo>
                    <a:pt x="137" y="7"/>
                    <a:pt x="138" y="7"/>
                    <a:pt x="138" y="12"/>
                  </a:cubicBezTo>
                  <a:cubicBezTo>
                    <a:pt x="138" y="17"/>
                    <a:pt x="139" y="23"/>
                    <a:pt x="141" y="26"/>
                  </a:cubicBezTo>
                  <a:cubicBezTo>
                    <a:pt x="141" y="26"/>
                    <a:pt x="141" y="26"/>
                    <a:pt x="141" y="27"/>
                  </a:cubicBezTo>
                  <a:cubicBezTo>
                    <a:pt x="142" y="27"/>
                    <a:pt x="142" y="27"/>
                    <a:pt x="143" y="27"/>
                  </a:cubicBezTo>
                  <a:cubicBezTo>
                    <a:pt x="143" y="27"/>
                    <a:pt x="143" y="27"/>
                    <a:pt x="144" y="27"/>
                  </a:cubicBezTo>
                  <a:cubicBezTo>
                    <a:pt x="144" y="27"/>
                    <a:pt x="144" y="27"/>
                    <a:pt x="144" y="27"/>
                  </a:cubicBezTo>
                  <a:cubicBezTo>
                    <a:pt x="149" y="27"/>
                    <a:pt x="154" y="21"/>
                    <a:pt x="157" y="18"/>
                  </a:cubicBezTo>
                  <a:cubicBezTo>
                    <a:pt x="158" y="16"/>
                    <a:pt x="159" y="15"/>
                    <a:pt x="160" y="15"/>
                  </a:cubicBezTo>
                  <a:cubicBezTo>
                    <a:pt x="160" y="15"/>
                    <a:pt x="161" y="15"/>
                    <a:pt x="162" y="15"/>
                  </a:cubicBezTo>
                  <a:cubicBezTo>
                    <a:pt x="163" y="16"/>
                    <a:pt x="163" y="16"/>
                    <a:pt x="163" y="16"/>
                  </a:cubicBezTo>
                  <a:cubicBezTo>
                    <a:pt x="165" y="17"/>
                    <a:pt x="165" y="17"/>
                    <a:pt x="164" y="21"/>
                  </a:cubicBezTo>
                  <a:cubicBezTo>
                    <a:pt x="162" y="26"/>
                    <a:pt x="162" y="33"/>
                    <a:pt x="163" y="36"/>
                  </a:cubicBezTo>
                  <a:cubicBezTo>
                    <a:pt x="163" y="36"/>
                    <a:pt x="163" y="36"/>
                    <a:pt x="163" y="36"/>
                  </a:cubicBezTo>
                  <a:cubicBezTo>
                    <a:pt x="164" y="37"/>
                    <a:pt x="164" y="37"/>
                    <a:pt x="164" y="37"/>
                  </a:cubicBezTo>
                  <a:cubicBezTo>
                    <a:pt x="165" y="38"/>
                    <a:pt x="165" y="38"/>
                    <a:pt x="166" y="38"/>
                  </a:cubicBezTo>
                  <a:cubicBezTo>
                    <a:pt x="166" y="38"/>
                    <a:pt x="167" y="38"/>
                    <a:pt x="167" y="38"/>
                  </a:cubicBezTo>
                  <a:cubicBezTo>
                    <a:pt x="171" y="38"/>
                    <a:pt x="177" y="35"/>
                    <a:pt x="180" y="32"/>
                  </a:cubicBezTo>
                  <a:cubicBezTo>
                    <a:pt x="182" y="30"/>
                    <a:pt x="183" y="30"/>
                    <a:pt x="184" y="30"/>
                  </a:cubicBezTo>
                  <a:cubicBezTo>
                    <a:pt x="184" y="30"/>
                    <a:pt x="185" y="30"/>
                    <a:pt x="186" y="31"/>
                  </a:cubicBezTo>
                  <a:cubicBezTo>
                    <a:pt x="186" y="32"/>
                    <a:pt x="186" y="32"/>
                    <a:pt x="186" y="32"/>
                  </a:cubicBezTo>
                  <a:cubicBezTo>
                    <a:pt x="188" y="33"/>
                    <a:pt x="189" y="34"/>
                    <a:pt x="186" y="37"/>
                  </a:cubicBezTo>
                  <a:cubicBezTo>
                    <a:pt x="184" y="41"/>
                    <a:pt x="181" y="47"/>
                    <a:pt x="182" y="51"/>
                  </a:cubicBezTo>
                  <a:cubicBezTo>
                    <a:pt x="182" y="51"/>
                    <a:pt x="182" y="52"/>
                    <a:pt x="182" y="52"/>
                  </a:cubicBezTo>
                  <a:cubicBezTo>
                    <a:pt x="182" y="52"/>
                    <a:pt x="182" y="52"/>
                    <a:pt x="183" y="53"/>
                  </a:cubicBezTo>
                  <a:cubicBezTo>
                    <a:pt x="183" y="53"/>
                    <a:pt x="183" y="53"/>
                    <a:pt x="184" y="54"/>
                  </a:cubicBezTo>
                  <a:cubicBezTo>
                    <a:pt x="185" y="54"/>
                    <a:pt x="186" y="54"/>
                    <a:pt x="188" y="54"/>
                  </a:cubicBezTo>
                  <a:cubicBezTo>
                    <a:pt x="191" y="54"/>
                    <a:pt x="196" y="53"/>
                    <a:pt x="200" y="51"/>
                  </a:cubicBezTo>
                  <a:cubicBezTo>
                    <a:pt x="201" y="51"/>
                    <a:pt x="203" y="50"/>
                    <a:pt x="203" y="50"/>
                  </a:cubicBezTo>
                  <a:cubicBezTo>
                    <a:pt x="204" y="50"/>
                    <a:pt x="204" y="51"/>
                    <a:pt x="205" y="52"/>
                  </a:cubicBezTo>
                  <a:cubicBezTo>
                    <a:pt x="206" y="53"/>
                    <a:pt x="206" y="53"/>
                    <a:pt x="206" y="53"/>
                  </a:cubicBezTo>
                  <a:cubicBezTo>
                    <a:pt x="207" y="55"/>
                    <a:pt x="207" y="55"/>
                    <a:pt x="204" y="58"/>
                  </a:cubicBezTo>
                  <a:cubicBezTo>
                    <a:pt x="200" y="62"/>
                    <a:pt x="196" y="67"/>
                    <a:pt x="196" y="71"/>
                  </a:cubicBezTo>
                  <a:cubicBezTo>
                    <a:pt x="196" y="71"/>
                    <a:pt x="196" y="71"/>
                    <a:pt x="196" y="71"/>
                  </a:cubicBezTo>
                  <a:cubicBezTo>
                    <a:pt x="196" y="72"/>
                    <a:pt x="196" y="72"/>
                    <a:pt x="196" y="72"/>
                  </a:cubicBezTo>
                  <a:cubicBezTo>
                    <a:pt x="197" y="73"/>
                    <a:pt x="197" y="73"/>
                    <a:pt x="197" y="74"/>
                  </a:cubicBezTo>
                  <a:cubicBezTo>
                    <a:pt x="200" y="76"/>
                    <a:pt x="204" y="76"/>
                    <a:pt x="207" y="76"/>
                  </a:cubicBezTo>
                  <a:cubicBezTo>
                    <a:pt x="209" y="76"/>
                    <a:pt x="211" y="76"/>
                    <a:pt x="213" y="76"/>
                  </a:cubicBezTo>
                  <a:cubicBezTo>
                    <a:pt x="214" y="75"/>
                    <a:pt x="215" y="75"/>
                    <a:pt x="216" y="75"/>
                  </a:cubicBezTo>
                  <a:cubicBezTo>
                    <a:pt x="217" y="75"/>
                    <a:pt x="218" y="76"/>
                    <a:pt x="218" y="78"/>
                  </a:cubicBezTo>
                  <a:cubicBezTo>
                    <a:pt x="219" y="78"/>
                    <a:pt x="219" y="78"/>
                    <a:pt x="219" y="78"/>
                  </a:cubicBezTo>
                  <a:cubicBezTo>
                    <a:pt x="219" y="81"/>
                    <a:pt x="220" y="81"/>
                    <a:pt x="216" y="83"/>
                  </a:cubicBezTo>
                  <a:cubicBezTo>
                    <a:pt x="211" y="86"/>
                    <a:pt x="206" y="90"/>
                    <a:pt x="205" y="93"/>
                  </a:cubicBezTo>
                  <a:cubicBezTo>
                    <a:pt x="205" y="93"/>
                    <a:pt x="205" y="93"/>
                    <a:pt x="205" y="94"/>
                  </a:cubicBezTo>
                  <a:cubicBezTo>
                    <a:pt x="204" y="94"/>
                    <a:pt x="204" y="94"/>
                    <a:pt x="205" y="95"/>
                  </a:cubicBezTo>
                  <a:cubicBezTo>
                    <a:pt x="205" y="95"/>
                    <a:pt x="205" y="96"/>
                    <a:pt x="205" y="96"/>
                  </a:cubicBezTo>
                  <a:cubicBezTo>
                    <a:pt x="207" y="100"/>
                    <a:pt x="216" y="102"/>
                    <a:pt x="220" y="102"/>
                  </a:cubicBezTo>
                  <a:cubicBezTo>
                    <a:pt x="224" y="103"/>
                    <a:pt x="224" y="103"/>
                    <a:pt x="224" y="106"/>
                  </a:cubicBezTo>
                  <a:cubicBezTo>
                    <a:pt x="224" y="106"/>
                    <a:pt x="224" y="106"/>
                    <a:pt x="224" y="106"/>
                  </a:cubicBezTo>
                  <a:cubicBezTo>
                    <a:pt x="225" y="109"/>
                    <a:pt x="225" y="110"/>
                    <a:pt x="220" y="110"/>
                  </a:cubicBezTo>
                  <a:cubicBezTo>
                    <a:pt x="215" y="112"/>
                    <a:pt x="209" y="114"/>
                    <a:pt x="207" y="117"/>
                  </a:cubicBezTo>
                  <a:cubicBezTo>
                    <a:pt x="207" y="117"/>
                    <a:pt x="207" y="118"/>
                    <a:pt x="207" y="118"/>
                  </a:cubicBezTo>
                  <a:cubicBezTo>
                    <a:pt x="207" y="118"/>
                    <a:pt x="207" y="119"/>
                    <a:pt x="207" y="119"/>
                  </a:cubicBezTo>
                  <a:cubicBezTo>
                    <a:pt x="207" y="119"/>
                    <a:pt x="207" y="120"/>
                    <a:pt x="207" y="120"/>
                  </a:cubicBezTo>
                  <a:cubicBezTo>
                    <a:pt x="208" y="125"/>
                    <a:pt x="216" y="128"/>
                    <a:pt x="220" y="130"/>
                  </a:cubicBezTo>
                  <a:cubicBezTo>
                    <a:pt x="224" y="131"/>
                    <a:pt x="223" y="132"/>
                    <a:pt x="223" y="134"/>
                  </a:cubicBezTo>
                  <a:cubicBezTo>
                    <a:pt x="223" y="135"/>
                    <a:pt x="223" y="135"/>
                    <a:pt x="223" y="135"/>
                  </a:cubicBezTo>
                  <a:cubicBezTo>
                    <a:pt x="222" y="137"/>
                    <a:pt x="222" y="138"/>
                    <a:pt x="219" y="138"/>
                  </a:cubicBezTo>
                  <a:cubicBezTo>
                    <a:pt x="219" y="138"/>
                    <a:pt x="218" y="138"/>
                    <a:pt x="218" y="138"/>
                  </a:cubicBezTo>
                  <a:cubicBezTo>
                    <a:pt x="217" y="138"/>
                    <a:pt x="217" y="138"/>
                    <a:pt x="217" y="138"/>
                  </a:cubicBezTo>
                  <a:cubicBezTo>
                    <a:pt x="212" y="138"/>
                    <a:pt x="206" y="139"/>
                    <a:pt x="203" y="141"/>
                  </a:cubicBezTo>
                  <a:cubicBezTo>
                    <a:pt x="203" y="141"/>
                    <a:pt x="203" y="141"/>
                    <a:pt x="203" y="141"/>
                  </a:cubicBezTo>
                  <a:cubicBezTo>
                    <a:pt x="203" y="142"/>
                    <a:pt x="203" y="142"/>
                    <a:pt x="202" y="142"/>
                  </a:cubicBezTo>
                  <a:cubicBezTo>
                    <a:pt x="202" y="143"/>
                    <a:pt x="202" y="143"/>
                    <a:pt x="202" y="144"/>
                  </a:cubicBezTo>
                  <a:cubicBezTo>
                    <a:pt x="203" y="148"/>
                    <a:pt x="208" y="154"/>
                    <a:pt x="212" y="157"/>
                  </a:cubicBezTo>
                  <a:cubicBezTo>
                    <a:pt x="216" y="159"/>
                    <a:pt x="215" y="160"/>
                    <a:pt x="214" y="162"/>
                  </a:cubicBezTo>
                  <a:cubicBezTo>
                    <a:pt x="214" y="162"/>
                    <a:pt x="214" y="162"/>
                    <a:pt x="214" y="162"/>
                  </a:cubicBezTo>
                  <a:cubicBezTo>
                    <a:pt x="213" y="164"/>
                    <a:pt x="213" y="164"/>
                    <a:pt x="212" y="164"/>
                  </a:cubicBezTo>
                  <a:cubicBezTo>
                    <a:pt x="211" y="164"/>
                    <a:pt x="210" y="164"/>
                    <a:pt x="208" y="164"/>
                  </a:cubicBezTo>
                  <a:cubicBezTo>
                    <a:pt x="205" y="163"/>
                    <a:pt x="202" y="162"/>
                    <a:pt x="199" y="162"/>
                  </a:cubicBezTo>
                  <a:cubicBezTo>
                    <a:pt x="197" y="162"/>
                    <a:pt x="195" y="162"/>
                    <a:pt x="193" y="163"/>
                  </a:cubicBezTo>
                  <a:cubicBezTo>
                    <a:pt x="193" y="163"/>
                    <a:pt x="193" y="163"/>
                    <a:pt x="193" y="163"/>
                  </a:cubicBezTo>
                  <a:cubicBezTo>
                    <a:pt x="193" y="163"/>
                    <a:pt x="193" y="164"/>
                    <a:pt x="192" y="164"/>
                  </a:cubicBezTo>
                  <a:cubicBezTo>
                    <a:pt x="192" y="165"/>
                    <a:pt x="192" y="165"/>
                    <a:pt x="192" y="165"/>
                  </a:cubicBezTo>
                  <a:cubicBezTo>
                    <a:pt x="191" y="170"/>
                    <a:pt x="195" y="177"/>
                    <a:pt x="198" y="180"/>
                  </a:cubicBezTo>
                  <a:cubicBezTo>
                    <a:pt x="201" y="183"/>
                    <a:pt x="200" y="184"/>
                    <a:pt x="199" y="186"/>
                  </a:cubicBezTo>
                  <a:cubicBezTo>
                    <a:pt x="198" y="186"/>
                    <a:pt x="198" y="186"/>
                    <a:pt x="198" y="186"/>
                  </a:cubicBezTo>
                  <a:cubicBezTo>
                    <a:pt x="197" y="187"/>
                    <a:pt x="197" y="188"/>
                    <a:pt x="196" y="188"/>
                  </a:cubicBezTo>
                  <a:cubicBezTo>
                    <a:pt x="196" y="188"/>
                    <a:pt x="195" y="188"/>
                    <a:pt x="193" y="186"/>
                  </a:cubicBezTo>
                  <a:cubicBezTo>
                    <a:pt x="189" y="184"/>
                    <a:pt x="184" y="182"/>
                    <a:pt x="180" y="182"/>
                  </a:cubicBezTo>
                  <a:cubicBezTo>
                    <a:pt x="179" y="182"/>
                    <a:pt x="179" y="182"/>
                    <a:pt x="178" y="182"/>
                  </a:cubicBezTo>
                  <a:cubicBezTo>
                    <a:pt x="178" y="182"/>
                    <a:pt x="178" y="182"/>
                    <a:pt x="177" y="182"/>
                  </a:cubicBezTo>
                  <a:cubicBezTo>
                    <a:pt x="177" y="182"/>
                    <a:pt x="176" y="183"/>
                    <a:pt x="176" y="183"/>
                  </a:cubicBezTo>
                  <a:cubicBezTo>
                    <a:pt x="176" y="184"/>
                    <a:pt x="176" y="184"/>
                    <a:pt x="176" y="184"/>
                  </a:cubicBezTo>
                  <a:cubicBezTo>
                    <a:pt x="174" y="188"/>
                    <a:pt x="177" y="196"/>
                    <a:pt x="179" y="199"/>
                  </a:cubicBezTo>
                  <a:cubicBezTo>
                    <a:pt x="181" y="203"/>
                    <a:pt x="180" y="203"/>
                    <a:pt x="178" y="204"/>
                  </a:cubicBezTo>
                  <a:cubicBezTo>
                    <a:pt x="177" y="205"/>
                    <a:pt x="177" y="205"/>
                    <a:pt x="177" y="205"/>
                  </a:cubicBezTo>
                  <a:cubicBezTo>
                    <a:pt x="177" y="206"/>
                    <a:pt x="176" y="206"/>
                    <a:pt x="175" y="206"/>
                  </a:cubicBezTo>
                  <a:cubicBezTo>
                    <a:pt x="175" y="206"/>
                    <a:pt x="174" y="206"/>
                    <a:pt x="172" y="204"/>
                  </a:cubicBezTo>
                  <a:cubicBezTo>
                    <a:pt x="168" y="200"/>
                    <a:pt x="163" y="196"/>
                    <a:pt x="159" y="196"/>
                  </a:cubicBezTo>
                  <a:cubicBezTo>
                    <a:pt x="158" y="196"/>
                    <a:pt x="158" y="196"/>
                    <a:pt x="158" y="196"/>
                  </a:cubicBezTo>
                  <a:cubicBezTo>
                    <a:pt x="157" y="196"/>
                    <a:pt x="157" y="196"/>
                    <a:pt x="157" y="197"/>
                  </a:cubicBezTo>
                  <a:cubicBezTo>
                    <a:pt x="156" y="197"/>
                    <a:pt x="156" y="197"/>
                    <a:pt x="156" y="197"/>
                  </a:cubicBezTo>
                  <a:cubicBezTo>
                    <a:pt x="156" y="197"/>
                    <a:pt x="155" y="197"/>
                    <a:pt x="155" y="198"/>
                  </a:cubicBezTo>
                  <a:cubicBezTo>
                    <a:pt x="153" y="201"/>
                    <a:pt x="154" y="208"/>
                    <a:pt x="155" y="213"/>
                  </a:cubicBezTo>
                  <a:cubicBezTo>
                    <a:pt x="156" y="217"/>
                    <a:pt x="155" y="217"/>
                    <a:pt x="153" y="218"/>
                  </a:cubicBezTo>
                  <a:cubicBezTo>
                    <a:pt x="152" y="218"/>
                    <a:pt x="152" y="218"/>
                    <a:pt x="152" y="218"/>
                  </a:cubicBezTo>
                  <a:cubicBezTo>
                    <a:pt x="151" y="218"/>
                    <a:pt x="151" y="219"/>
                    <a:pt x="150" y="219"/>
                  </a:cubicBezTo>
                  <a:cubicBezTo>
                    <a:pt x="149" y="219"/>
                    <a:pt x="148" y="217"/>
                    <a:pt x="147" y="215"/>
                  </a:cubicBezTo>
                  <a:cubicBezTo>
                    <a:pt x="145" y="212"/>
                    <a:pt x="140" y="205"/>
                    <a:pt x="135" y="205"/>
                  </a:cubicBezTo>
                  <a:cubicBezTo>
                    <a:pt x="135" y="204"/>
                    <a:pt x="135" y="204"/>
                    <a:pt x="135" y="204"/>
                  </a:cubicBezTo>
                  <a:cubicBezTo>
                    <a:pt x="134" y="204"/>
                    <a:pt x="134" y="204"/>
                    <a:pt x="134" y="204"/>
                  </a:cubicBezTo>
                  <a:cubicBezTo>
                    <a:pt x="134" y="205"/>
                    <a:pt x="133" y="205"/>
                    <a:pt x="133" y="205"/>
                  </a:cubicBezTo>
                  <a:cubicBezTo>
                    <a:pt x="133" y="205"/>
                    <a:pt x="133" y="205"/>
                    <a:pt x="133" y="205"/>
                  </a:cubicBezTo>
                  <a:cubicBezTo>
                    <a:pt x="130" y="208"/>
                    <a:pt x="128" y="214"/>
                    <a:pt x="128" y="220"/>
                  </a:cubicBezTo>
                  <a:cubicBezTo>
                    <a:pt x="128" y="224"/>
                    <a:pt x="127" y="224"/>
                    <a:pt x="125" y="224"/>
                  </a:cubicBezTo>
                  <a:cubicBezTo>
                    <a:pt x="124" y="224"/>
                    <a:pt x="124" y="224"/>
                    <a:pt x="124" y="224"/>
                  </a:cubicBezTo>
                  <a:cubicBezTo>
                    <a:pt x="123" y="224"/>
                    <a:pt x="123" y="224"/>
                    <a:pt x="123" y="224"/>
                  </a:cubicBezTo>
                  <a:cubicBezTo>
                    <a:pt x="122" y="224"/>
                    <a:pt x="121" y="224"/>
                    <a:pt x="120" y="220"/>
                  </a:cubicBezTo>
                  <a:cubicBezTo>
                    <a:pt x="119" y="216"/>
                    <a:pt x="116" y="208"/>
                    <a:pt x="111" y="207"/>
                  </a:cubicBezTo>
                  <a:cubicBezTo>
                    <a:pt x="111" y="207"/>
                    <a:pt x="110" y="206"/>
                    <a:pt x="110" y="206"/>
                  </a:cubicBezTo>
                  <a:cubicBezTo>
                    <a:pt x="110" y="206"/>
                    <a:pt x="110" y="206"/>
                    <a:pt x="110" y="206"/>
                  </a:cubicBezTo>
                  <a:cubicBezTo>
                    <a:pt x="109" y="206"/>
                    <a:pt x="109" y="206"/>
                    <a:pt x="109" y="207"/>
                  </a:cubicBezTo>
                  <a:cubicBezTo>
                    <a:pt x="109" y="207"/>
                    <a:pt x="109" y="207"/>
                    <a:pt x="108" y="207"/>
                  </a:cubicBezTo>
                  <a:cubicBezTo>
                    <a:pt x="105" y="209"/>
                    <a:pt x="102" y="215"/>
                    <a:pt x="100" y="219"/>
                  </a:cubicBezTo>
                  <a:cubicBezTo>
                    <a:pt x="99" y="223"/>
                    <a:pt x="98" y="223"/>
                    <a:pt x="98" y="223"/>
                  </a:cubicBezTo>
                  <a:cubicBezTo>
                    <a:pt x="97" y="223"/>
                    <a:pt x="97" y="223"/>
                    <a:pt x="96" y="223"/>
                  </a:cubicBezTo>
                  <a:cubicBezTo>
                    <a:pt x="95" y="223"/>
                    <a:pt x="95" y="223"/>
                    <a:pt x="95" y="223"/>
                  </a:cubicBezTo>
                  <a:cubicBezTo>
                    <a:pt x="93" y="222"/>
                    <a:pt x="92" y="222"/>
                    <a:pt x="92" y="218"/>
                  </a:cubicBezTo>
                  <a:cubicBezTo>
                    <a:pt x="92" y="214"/>
                    <a:pt x="91" y="206"/>
                    <a:pt x="88" y="203"/>
                  </a:cubicBezTo>
                  <a:cubicBezTo>
                    <a:pt x="87" y="202"/>
                    <a:pt x="87" y="202"/>
                    <a:pt x="87" y="202"/>
                  </a:cubicBezTo>
                  <a:cubicBezTo>
                    <a:pt x="86" y="202"/>
                    <a:pt x="86" y="202"/>
                    <a:pt x="86" y="202"/>
                  </a:cubicBezTo>
                  <a:cubicBezTo>
                    <a:pt x="85" y="202"/>
                    <a:pt x="85" y="202"/>
                    <a:pt x="85" y="202"/>
                  </a:cubicBezTo>
                  <a:cubicBezTo>
                    <a:pt x="85" y="202"/>
                    <a:pt x="85" y="202"/>
                    <a:pt x="85" y="202"/>
                  </a:cubicBezTo>
                  <a:cubicBezTo>
                    <a:pt x="81" y="203"/>
                    <a:pt x="77" y="208"/>
                    <a:pt x="74" y="212"/>
                  </a:cubicBezTo>
                  <a:cubicBezTo>
                    <a:pt x="73" y="213"/>
                    <a:pt x="72" y="215"/>
                    <a:pt x="71" y="215"/>
                  </a:cubicBezTo>
                  <a:cubicBezTo>
                    <a:pt x="70" y="215"/>
                    <a:pt x="70" y="215"/>
                    <a:pt x="69" y="214"/>
                  </a:cubicBezTo>
                  <a:cubicBezTo>
                    <a:pt x="68" y="214"/>
                    <a:pt x="68" y="214"/>
                    <a:pt x="68" y="214"/>
                  </a:cubicBezTo>
                  <a:cubicBezTo>
                    <a:pt x="66" y="213"/>
                    <a:pt x="65" y="213"/>
                    <a:pt x="66" y="209"/>
                  </a:cubicBezTo>
                  <a:cubicBezTo>
                    <a:pt x="68" y="204"/>
                    <a:pt x="69" y="196"/>
                    <a:pt x="66" y="193"/>
                  </a:cubicBezTo>
                  <a:cubicBezTo>
                    <a:pt x="66" y="192"/>
                    <a:pt x="65" y="192"/>
                    <a:pt x="65" y="192"/>
                  </a:cubicBezTo>
                  <a:cubicBezTo>
                    <a:pt x="65" y="191"/>
                    <a:pt x="64" y="191"/>
                    <a:pt x="64" y="191"/>
                  </a:cubicBezTo>
                  <a:cubicBezTo>
                    <a:pt x="64" y="191"/>
                    <a:pt x="64" y="191"/>
                    <a:pt x="63" y="191"/>
                  </a:cubicBezTo>
                  <a:cubicBezTo>
                    <a:pt x="63" y="191"/>
                    <a:pt x="63" y="191"/>
                    <a:pt x="63" y="191"/>
                  </a:cubicBezTo>
                  <a:cubicBezTo>
                    <a:pt x="59" y="191"/>
                    <a:pt x="54" y="195"/>
                    <a:pt x="50" y="198"/>
                  </a:cubicBezTo>
                  <a:cubicBezTo>
                    <a:pt x="48" y="200"/>
                    <a:pt x="47" y="200"/>
                    <a:pt x="47" y="200"/>
                  </a:cubicBezTo>
                  <a:cubicBezTo>
                    <a:pt x="46" y="200"/>
                    <a:pt x="45" y="200"/>
                    <a:pt x="45" y="199"/>
                  </a:cubicBezTo>
                  <a:cubicBezTo>
                    <a:pt x="44" y="198"/>
                    <a:pt x="44" y="198"/>
                    <a:pt x="44" y="198"/>
                  </a:cubicBezTo>
                  <a:cubicBezTo>
                    <a:pt x="42" y="197"/>
                    <a:pt x="42" y="197"/>
                    <a:pt x="44" y="193"/>
                  </a:cubicBezTo>
                  <a:cubicBezTo>
                    <a:pt x="46" y="189"/>
                    <a:pt x="49" y="182"/>
                    <a:pt x="47" y="177"/>
                  </a:cubicBezTo>
                  <a:cubicBezTo>
                    <a:pt x="47" y="177"/>
                    <a:pt x="47" y="177"/>
                    <a:pt x="47" y="176"/>
                  </a:cubicBezTo>
                  <a:cubicBezTo>
                    <a:pt x="46" y="176"/>
                    <a:pt x="46" y="176"/>
                    <a:pt x="46" y="175"/>
                  </a:cubicBezTo>
                  <a:cubicBezTo>
                    <a:pt x="46" y="175"/>
                    <a:pt x="45" y="175"/>
                    <a:pt x="45" y="175"/>
                  </a:cubicBezTo>
                  <a:cubicBezTo>
                    <a:pt x="45" y="175"/>
                    <a:pt x="44" y="175"/>
                    <a:pt x="43" y="175"/>
                  </a:cubicBezTo>
                  <a:cubicBezTo>
                    <a:pt x="40" y="175"/>
                    <a:pt x="35" y="176"/>
                    <a:pt x="31" y="178"/>
                  </a:cubicBezTo>
                  <a:cubicBezTo>
                    <a:pt x="29" y="179"/>
                    <a:pt x="28" y="180"/>
                    <a:pt x="27" y="180"/>
                  </a:cubicBezTo>
                  <a:cubicBezTo>
                    <a:pt x="26" y="180"/>
                    <a:pt x="26" y="179"/>
                    <a:pt x="25" y="178"/>
                  </a:cubicBezTo>
                  <a:cubicBezTo>
                    <a:pt x="25" y="177"/>
                    <a:pt x="25" y="177"/>
                    <a:pt x="25" y="177"/>
                  </a:cubicBezTo>
                  <a:cubicBezTo>
                    <a:pt x="23" y="175"/>
                    <a:pt x="23" y="175"/>
                    <a:pt x="26" y="172"/>
                  </a:cubicBezTo>
                  <a:cubicBezTo>
                    <a:pt x="29" y="169"/>
                    <a:pt x="34" y="162"/>
                    <a:pt x="33" y="158"/>
                  </a:cubicBezTo>
                  <a:cubicBezTo>
                    <a:pt x="33" y="157"/>
                    <a:pt x="33" y="157"/>
                    <a:pt x="33" y="156"/>
                  </a:cubicBezTo>
                  <a:cubicBezTo>
                    <a:pt x="33" y="156"/>
                    <a:pt x="33" y="156"/>
                    <a:pt x="32" y="155"/>
                  </a:cubicBezTo>
                  <a:cubicBezTo>
                    <a:pt x="32" y="155"/>
                    <a:pt x="32" y="155"/>
                    <a:pt x="32" y="155"/>
                  </a:cubicBezTo>
                  <a:cubicBezTo>
                    <a:pt x="30" y="154"/>
                    <a:pt x="27" y="154"/>
                    <a:pt x="24" y="154"/>
                  </a:cubicBezTo>
                  <a:cubicBezTo>
                    <a:pt x="22" y="154"/>
                    <a:pt x="19" y="154"/>
                    <a:pt x="17" y="154"/>
                  </a:cubicBezTo>
                  <a:cubicBezTo>
                    <a:pt x="16" y="155"/>
                    <a:pt x="15" y="155"/>
                    <a:pt x="14" y="155"/>
                  </a:cubicBezTo>
                  <a:cubicBezTo>
                    <a:pt x="13" y="155"/>
                    <a:pt x="13" y="154"/>
                    <a:pt x="12" y="152"/>
                  </a:cubicBezTo>
                  <a:cubicBezTo>
                    <a:pt x="12" y="152"/>
                    <a:pt x="12" y="152"/>
                    <a:pt x="12" y="152"/>
                  </a:cubicBezTo>
                  <a:cubicBezTo>
                    <a:pt x="11" y="150"/>
                    <a:pt x="10" y="149"/>
                    <a:pt x="14" y="147"/>
                  </a:cubicBezTo>
                  <a:cubicBezTo>
                    <a:pt x="18" y="145"/>
                    <a:pt x="24" y="140"/>
                    <a:pt x="25" y="135"/>
                  </a:cubicBezTo>
                  <a:cubicBezTo>
                    <a:pt x="25" y="135"/>
                    <a:pt x="25" y="134"/>
                    <a:pt x="25" y="134"/>
                  </a:cubicBezTo>
                  <a:cubicBezTo>
                    <a:pt x="25" y="134"/>
                    <a:pt x="25" y="133"/>
                    <a:pt x="25" y="133"/>
                  </a:cubicBezTo>
                  <a:cubicBezTo>
                    <a:pt x="25" y="133"/>
                    <a:pt x="25" y="133"/>
                    <a:pt x="24" y="133"/>
                  </a:cubicBezTo>
                  <a:cubicBezTo>
                    <a:pt x="22" y="130"/>
                    <a:pt x="15" y="128"/>
                    <a:pt x="10" y="128"/>
                  </a:cubicBezTo>
                  <a:cubicBezTo>
                    <a:pt x="6" y="128"/>
                    <a:pt x="6" y="127"/>
                    <a:pt x="6" y="125"/>
                  </a:cubicBezTo>
                  <a:cubicBezTo>
                    <a:pt x="6" y="124"/>
                    <a:pt x="6" y="124"/>
                    <a:pt x="6" y="124"/>
                  </a:cubicBezTo>
                  <a:cubicBezTo>
                    <a:pt x="5" y="122"/>
                    <a:pt x="5" y="121"/>
                    <a:pt x="9" y="120"/>
                  </a:cubicBezTo>
                  <a:cubicBezTo>
                    <a:pt x="14" y="119"/>
                    <a:pt x="21" y="115"/>
                    <a:pt x="23" y="111"/>
                  </a:cubicBezTo>
                  <a:cubicBezTo>
                    <a:pt x="23" y="111"/>
                    <a:pt x="23" y="110"/>
                    <a:pt x="23" y="110"/>
                  </a:cubicBezTo>
                  <a:cubicBezTo>
                    <a:pt x="23" y="109"/>
                    <a:pt x="23" y="109"/>
                    <a:pt x="23" y="109"/>
                  </a:cubicBezTo>
                  <a:cubicBezTo>
                    <a:pt x="23" y="108"/>
                    <a:pt x="23" y="108"/>
                    <a:pt x="23" y="108"/>
                  </a:cubicBezTo>
                  <a:cubicBezTo>
                    <a:pt x="21" y="105"/>
                    <a:pt x="15" y="102"/>
                    <a:pt x="10" y="100"/>
                  </a:cubicBezTo>
                  <a:cubicBezTo>
                    <a:pt x="6" y="99"/>
                    <a:pt x="6" y="98"/>
                    <a:pt x="7" y="96"/>
                  </a:cubicBezTo>
                  <a:cubicBezTo>
                    <a:pt x="7" y="95"/>
                    <a:pt x="7" y="95"/>
                    <a:pt x="7" y="95"/>
                  </a:cubicBezTo>
                  <a:cubicBezTo>
                    <a:pt x="7" y="93"/>
                    <a:pt x="7" y="92"/>
                    <a:pt x="11" y="92"/>
                  </a:cubicBezTo>
                  <a:cubicBezTo>
                    <a:pt x="12" y="92"/>
                    <a:pt x="12" y="92"/>
                    <a:pt x="12" y="92"/>
                  </a:cubicBezTo>
                  <a:cubicBezTo>
                    <a:pt x="16" y="92"/>
                    <a:pt x="24" y="91"/>
                    <a:pt x="27" y="88"/>
                  </a:cubicBezTo>
                  <a:cubicBezTo>
                    <a:pt x="27" y="87"/>
                    <a:pt x="27" y="87"/>
                    <a:pt x="28" y="86"/>
                  </a:cubicBezTo>
                  <a:cubicBezTo>
                    <a:pt x="28" y="86"/>
                    <a:pt x="28" y="85"/>
                    <a:pt x="28" y="85"/>
                  </a:cubicBezTo>
                  <a:cubicBezTo>
                    <a:pt x="28" y="85"/>
                    <a:pt x="28" y="85"/>
                    <a:pt x="28" y="85"/>
                  </a:cubicBezTo>
                  <a:cubicBezTo>
                    <a:pt x="27" y="81"/>
                    <a:pt x="22" y="76"/>
                    <a:pt x="18" y="74"/>
                  </a:cubicBezTo>
                  <a:cubicBezTo>
                    <a:pt x="14" y="71"/>
                    <a:pt x="14" y="71"/>
                    <a:pt x="15" y="69"/>
                  </a:cubicBezTo>
                  <a:cubicBezTo>
                    <a:pt x="16" y="68"/>
                    <a:pt x="16" y="68"/>
                    <a:pt x="16" y="68"/>
                  </a:cubicBezTo>
                  <a:cubicBezTo>
                    <a:pt x="16" y="66"/>
                    <a:pt x="17" y="66"/>
                    <a:pt x="18" y="66"/>
                  </a:cubicBezTo>
                  <a:cubicBezTo>
                    <a:pt x="19" y="66"/>
                    <a:pt x="20" y="66"/>
                    <a:pt x="21" y="66"/>
                  </a:cubicBezTo>
                  <a:cubicBezTo>
                    <a:pt x="24" y="67"/>
                    <a:pt x="27" y="67"/>
                    <a:pt x="30" y="67"/>
                  </a:cubicBezTo>
                  <a:cubicBezTo>
                    <a:pt x="33" y="67"/>
                    <a:pt x="35" y="67"/>
                    <a:pt x="37" y="66"/>
                  </a:cubicBezTo>
                  <a:cubicBezTo>
                    <a:pt x="37" y="65"/>
                    <a:pt x="38" y="65"/>
                    <a:pt x="38" y="65"/>
                  </a:cubicBezTo>
                  <a:cubicBezTo>
                    <a:pt x="38" y="64"/>
                    <a:pt x="38" y="64"/>
                    <a:pt x="38" y="63"/>
                  </a:cubicBezTo>
                  <a:cubicBezTo>
                    <a:pt x="38" y="63"/>
                    <a:pt x="38" y="63"/>
                    <a:pt x="38" y="63"/>
                  </a:cubicBezTo>
                  <a:cubicBezTo>
                    <a:pt x="38" y="59"/>
                    <a:pt x="35" y="54"/>
                    <a:pt x="32" y="50"/>
                  </a:cubicBezTo>
                  <a:cubicBezTo>
                    <a:pt x="29" y="47"/>
                    <a:pt x="29" y="46"/>
                    <a:pt x="31" y="44"/>
                  </a:cubicBezTo>
                  <a:cubicBezTo>
                    <a:pt x="31" y="44"/>
                    <a:pt x="31" y="44"/>
                    <a:pt x="31" y="44"/>
                  </a:cubicBezTo>
                  <a:cubicBezTo>
                    <a:pt x="32" y="42"/>
                    <a:pt x="33" y="42"/>
                    <a:pt x="33" y="42"/>
                  </a:cubicBezTo>
                  <a:cubicBezTo>
                    <a:pt x="34" y="42"/>
                    <a:pt x="35" y="42"/>
                    <a:pt x="37" y="44"/>
                  </a:cubicBezTo>
                  <a:cubicBezTo>
                    <a:pt x="41" y="46"/>
                    <a:pt x="46" y="48"/>
                    <a:pt x="49" y="48"/>
                  </a:cubicBezTo>
                  <a:cubicBezTo>
                    <a:pt x="51" y="48"/>
                    <a:pt x="52" y="47"/>
                    <a:pt x="52" y="47"/>
                  </a:cubicBezTo>
                  <a:cubicBezTo>
                    <a:pt x="52" y="47"/>
                    <a:pt x="52" y="47"/>
                    <a:pt x="53" y="47"/>
                  </a:cubicBezTo>
                  <a:cubicBezTo>
                    <a:pt x="53" y="47"/>
                    <a:pt x="53" y="46"/>
                    <a:pt x="54" y="46"/>
                  </a:cubicBezTo>
                  <a:cubicBezTo>
                    <a:pt x="54" y="46"/>
                    <a:pt x="54" y="46"/>
                    <a:pt x="54" y="46"/>
                  </a:cubicBezTo>
                  <a:cubicBezTo>
                    <a:pt x="56" y="42"/>
                    <a:pt x="53" y="34"/>
                    <a:pt x="52" y="30"/>
                  </a:cubicBezTo>
                  <a:cubicBezTo>
                    <a:pt x="50" y="26"/>
                    <a:pt x="51" y="26"/>
                    <a:pt x="52" y="25"/>
                  </a:cubicBezTo>
                  <a:cubicBezTo>
                    <a:pt x="53" y="24"/>
                    <a:pt x="53" y="24"/>
                    <a:pt x="53" y="24"/>
                  </a:cubicBezTo>
                  <a:cubicBezTo>
                    <a:pt x="54" y="24"/>
                    <a:pt x="55" y="23"/>
                    <a:pt x="55" y="23"/>
                  </a:cubicBezTo>
                  <a:cubicBezTo>
                    <a:pt x="56" y="23"/>
                    <a:pt x="57" y="24"/>
                    <a:pt x="58" y="26"/>
                  </a:cubicBezTo>
                  <a:cubicBezTo>
                    <a:pt x="62" y="29"/>
                    <a:pt x="67" y="33"/>
                    <a:pt x="71" y="34"/>
                  </a:cubicBezTo>
                  <a:cubicBezTo>
                    <a:pt x="71" y="34"/>
                    <a:pt x="71" y="34"/>
                    <a:pt x="71" y="34"/>
                  </a:cubicBezTo>
                  <a:cubicBezTo>
                    <a:pt x="71" y="34"/>
                    <a:pt x="71" y="34"/>
                    <a:pt x="71" y="34"/>
                  </a:cubicBezTo>
                  <a:cubicBezTo>
                    <a:pt x="72" y="34"/>
                    <a:pt x="72" y="33"/>
                    <a:pt x="73" y="33"/>
                  </a:cubicBezTo>
                  <a:cubicBezTo>
                    <a:pt x="73" y="33"/>
                    <a:pt x="73" y="33"/>
                    <a:pt x="74" y="32"/>
                  </a:cubicBezTo>
                  <a:cubicBezTo>
                    <a:pt x="77" y="29"/>
                    <a:pt x="77" y="21"/>
                    <a:pt x="76" y="16"/>
                  </a:cubicBezTo>
                  <a:cubicBezTo>
                    <a:pt x="75" y="12"/>
                    <a:pt x="76" y="12"/>
                    <a:pt x="78" y="11"/>
                  </a:cubicBezTo>
                  <a:cubicBezTo>
                    <a:pt x="79" y="11"/>
                    <a:pt x="79" y="11"/>
                    <a:pt x="79" y="11"/>
                  </a:cubicBezTo>
                  <a:cubicBezTo>
                    <a:pt x="79" y="11"/>
                    <a:pt x="80" y="11"/>
                    <a:pt x="81" y="11"/>
                  </a:cubicBezTo>
                  <a:cubicBezTo>
                    <a:pt x="82" y="11"/>
                    <a:pt x="83" y="12"/>
                    <a:pt x="83" y="14"/>
                  </a:cubicBezTo>
                  <a:cubicBezTo>
                    <a:pt x="86" y="18"/>
                    <a:pt x="90" y="24"/>
                    <a:pt x="93" y="25"/>
                  </a:cubicBezTo>
                  <a:cubicBezTo>
                    <a:pt x="94" y="25"/>
                    <a:pt x="94" y="25"/>
                    <a:pt x="94" y="25"/>
                  </a:cubicBezTo>
                  <a:cubicBezTo>
                    <a:pt x="94" y="25"/>
                    <a:pt x="94" y="25"/>
                    <a:pt x="94" y="25"/>
                  </a:cubicBezTo>
                  <a:cubicBezTo>
                    <a:pt x="95" y="25"/>
                    <a:pt x="95" y="25"/>
                    <a:pt x="95" y="25"/>
                  </a:cubicBezTo>
                  <a:cubicBezTo>
                    <a:pt x="95" y="25"/>
                    <a:pt x="96" y="25"/>
                    <a:pt x="96" y="25"/>
                  </a:cubicBezTo>
                  <a:moveTo>
                    <a:pt x="108" y="0"/>
                  </a:moveTo>
                  <a:cubicBezTo>
                    <a:pt x="107" y="0"/>
                    <a:pt x="107" y="0"/>
                    <a:pt x="106" y="0"/>
                  </a:cubicBezTo>
                  <a:cubicBezTo>
                    <a:pt x="106" y="0"/>
                    <a:pt x="106" y="0"/>
                    <a:pt x="106" y="0"/>
                  </a:cubicBezTo>
                  <a:cubicBezTo>
                    <a:pt x="102" y="1"/>
                    <a:pt x="98" y="2"/>
                    <a:pt x="98" y="9"/>
                  </a:cubicBezTo>
                  <a:cubicBezTo>
                    <a:pt x="97" y="14"/>
                    <a:pt x="95" y="18"/>
                    <a:pt x="94" y="20"/>
                  </a:cubicBezTo>
                  <a:cubicBezTo>
                    <a:pt x="92" y="18"/>
                    <a:pt x="90" y="15"/>
                    <a:pt x="88" y="12"/>
                  </a:cubicBezTo>
                  <a:cubicBezTo>
                    <a:pt x="86" y="8"/>
                    <a:pt x="84" y="6"/>
                    <a:pt x="81" y="6"/>
                  </a:cubicBezTo>
                  <a:cubicBezTo>
                    <a:pt x="79" y="6"/>
                    <a:pt x="78" y="6"/>
                    <a:pt x="77" y="6"/>
                  </a:cubicBezTo>
                  <a:cubicBezTo>
                    <a:pt x="76" y="7"/>
                    <a:pt x="76" y="7"/>
                    <a:pt x="76" y="7"/>
                  </a:cubicBezTo>
                  <a:cubicBezTo>
                    <a:pt x="73" y="8"/>
                    <a:pt x="69" y="10"/>
                    <a:pt x="71" y="17"/>
                  </a:cubicBezTo>
                  <a:cubicBezTo>
                    <a:pt x="72" y="22"/>
                    <a:pt x="71" y="27"/>
                    <a:pt x="70" y="28"/>
                  </a:cubicBezTo>
                  <a:cubicBezTo>
                    <a:pt x="68" y="27"/>
                    <a:pt x="65" y="25"/>
                    <a:pt x="62" y="22"/>
                  </a:cubicBezTo>
                  <a:cubicBezTo>
                    <a:pt x="60" y="19"/>
                    <a:pt x="57" y="18"/>
                    <a:pt x="55" y="18"/>
                  </a:cubicBezTo>
                  <a:cubicBezTo>
                    <a:pt x="53" y="18"/>
                    <a:pt x="51" y="19"/>
                    <a:pt x="50" y="20"/>
                  </a:cubicBezTo>
                  <a:cubicBezTo>
                    <a:pt x="50" y="20"/>
                    <a:pt x="50" y="20"/>
                    <a:pt x="50" y="20"/>
                  </a:cubicBezTo>
                  <a:cubicBezTo>
                    <a:pt x="46" y="22"/>
                    <a:pt x="44" y="25"/>
                    <a:pt x="47" y="32"/>
                  </a:cubicBezTo>
                  <a:cubicBezTo>
                    <a:pt x="49" y="36"/>
                    <a:pt x="50" y="41"/>
                    <a:pt x="50" y="43"/>
                  </a:cubicBezTo>
                  <a:cubicBezTo>
                    <a:pt x="49" y="43"/>
                    <a:pt x="49" y="43"/>
                    <a:pt x="49" y="43"/>
                  </a:cubicBezTo>
                  <a:cubicBezTo>
                    <a:pt x="47" y="43"/>
                    <a:pt x="43" y="41"/>
                    <a:pt x="39" y="39"/>
                  </a:cubicBezTo>
                  <a:cubicBezTo>
                    <a:pt x="37" y="38"/>
                    <a:pt x="35" y="37"/>
                    <a:pt x="33" y="37"/>
                  </a:cubicBezTo>
                  <a:cubicBezTo>
                    <a:pt x="30" y="37"/>
                    <a:pt x="28" y="39"/>
                    <a:pt x="27" y="41"/>
                  </a:cubicBezTo>
                  <a:cubicBezTo>
                    <a:pt x="27" y="41"/>
                    <a:pt x="27" y="41"/>
                    <a:pt x="27" y="41"/>
                  </a:cubicBezTo>
                  <a:cubicBezTo>
                    <a:pt x="25" y="43"/>
                    <a:pt x="22" y="47"/>
                    <a:pt x="28" y="53"/>
                  </a:cubicBezTo>
                  <a:cubicBezTo>
                    <a:pt x="31" y="56"/>
                    <a:pt x="33" y="60"/>
                    <a:pt x="33" y="62"/>
                  </a:cubicBezTo>
                  <a:cubicBezTo>
                    <a:pt x="33" y="62"/>
                    <a:pt x="31" y="62"/>
                    <a:pt x="30" y="62"/>
                  </a:cubicBezTo>
                  <a:cubicBezTo>
                    <a:pt x="27" y="62"/>
                    <a:pt x="25" y="62"/>
                    <a:pt x="22" y="61"/>
                  </a:cubicBezTo>
                  <a:cubicBezTo>
                    <a:pt x="21" y="61"/>
                    <a:pt x="19" y="61"/>
                    <a:pt x="18" y="61"/>
                  </a:cubicBezTo>
                  <a:cubicBezTo>
                    <a:pt x="13" y="61"/>
                    <a:pt x="12" y="64"/>
                    <a:pt x="11" y="66"/>
                  </a:cubicBezTo>
                  <a:cubicBezTo>
                    <a:pt x="11" y="66"/>
                    <a:pt x="11" y="66"/>
                    <a:pt x="11" y="66"/>
                  </a:cubicBezTo>
                  <a:cubicBezTo>
                    <a:pt x="10" y="69"/>
                    <a:pt x="8" y="73"/>
                    <a:pt x="15" y="78"/>
                  </a:cubicBezTo>
                  <a:cubicBezTo>
                    <a:pt x="18" y="80"/>
                    <a:pt x="21" y="83"/>
                    <a:pt x="22" y="85"/>
                  </a:cubicBezTo>
                  <a:cubicBezTo>
                    <a:pt x="21" y="86"/>
                    <a:pt x="17" y="87"/>
                    <a:pt x="12" y="87"/>
                  </a:cubicBezTo>
                  <a:cubicBezTo>
                    <a:pt x="11" y="87"/>
                    <a:pt x="11" y="87"/>
                    <a:pt x="11" y="87"/>
                  </a:cubicBezTo>
                  <a:cubicBezTo>
                    <a:pt x="3" y="87"/>
                    <a:pt x="2" y="92"/>
                    <a:pt x="2" y="94"/>
                  </a:cubicBezTo>
                  <a:cubicBezTo>
                    <a:pt x="2" y="95"/>
                    <a:pt x="2" y="95"/>
                    <a:pt x="2" y="95"/>
                  </a:cubicBezTo>
                  <a:cubicBezTo>
                    <a:pt x="1" y="98"/>
                    <a:pt x="1" y="103"/>
                    <a:pt x="9" y="105"/>
                  </a:cubicBezTo>
                  <a:cubicBezTo>
                    <a:pt x="13" y="106"/>
                    <a:pt x="16" y="108"/>
                    <a:pt x="18" y="110"/>
                  </a:cubicBezTo>
                  <a:cubicBezTo>
                    <a:pt x="17" y="111"/>
                    <a:pt x="13" y="114"/>
                    <a:pt x="8" y="115"/>
                  </a:cubicBezTo>
                  <a:cubicBezTo>
                    <a:pt x="1" y="117"/>
                    <a:pt x="0" y="120"/>
                    <a:pt x="1" y="124"/>
                  </a:cubicBezTo>
                  <a:cubicBezTo>
                    <a:pt x="1" y="125"/>
                    <a:pt x="1" y="125"/>
                    <a:pt x="1" y="125"/>
                  </a:cubicBezTo>
                  <a:cubicBezTo>
                    <a:pt x="1" y="128"/>
                    <a:pt x="1" y="133"/>
                    <a:pt x="10" y="133"/>
                  </a:cubicBezTo>
                  <a:cubicBezTo>
                    <a:pt x="14" y="133"/>
                    <a:pt x="18" y="134"/>
                    <a:pt x="20" y="135"/>
                  </a:cubicBezTo>
                  <a:cubicBezTo>
                    <a:pt x="19" y="137"/>
                    <a:pt x="16" y="140"/>
                    <a:pt x="12" y="142"/>
                  </a:cubicBezTo>
                  <a:cubicBezTo>
                    <a:pt x="5" y="146"/>
                    <a:pt x="5" y="150"/>
                    <a:pt x="7" y="154"/>
                  </a:cubicBezTo>
                  <a:cubicBezTo>
                    <a:pt x="7" y="154"/>
                    <a:pt x="7" y="154"/>
                    <a:pt x="7" y="154"/>
                  </a:cubicBezTo>
                  <a:cubicBezTo>
                    <a:pt x="8" y="156"/>
                    <a:pt x="9" y="160"/>
                    <a:pt x="14" y="160"/>
                  </a:cubicBezTo>
                  <a:cubicBezTo>
                    <a:pt x="16" y="160"/>
                    <a:pt x="17" y="160"/>
                    <a:pt x="18" y="159"/>
                  </a:cubicBezTo>
                  <a:cubicBezTo>
                    <a:pt x="20" y="159"/>
                    <a:pt x="22" y="159"/>
                    <a:pt x="24" y="159"/>
                  </a:cubicBezTo>
                  <a:cubicBezTo>
                    <a:pt x="26" y="159"/>
                    <a:pt x="28" y="159"/>
                    <a:pt x="28" y="159"/>
                  </a:cubicBezTo>
                  <a:cubicBezTo>
                    <a:pt x="28" y="161"/>
                    <a:pt x="26" y="165"/>
                    <a:pt x="23" y="168"/>
                  </a:cubicBezTo>
                  <a:cubicBezTo>
                    <a:pt x="16" y="174"/>
                    <a:pt x="19" y="178"/>
                    <a:pt x="21" y="180"/>
                  </a:cubicBezTo>
                  <a:cubicBezTo>
                    <a:pt x="21" y="181"/>
                    <a:pt x="21" y="181"/>
                    <a:pt x="21" y="181"/>
                  </a:cubicBezTo>
                  <a:cubicBezTo>
                    <a:pt x="22" y="182"/>
                    <a:pt x="24" y="185"/>
                    <a:pt x="27" y="185"/>
                  </a:cubicBezTo>
                  <a:cubicBezTo>
                    <a:pt x="29" y="185"/>
                    <a:pt x="31" y="184"/>
                    <a:pt x="33" y="183"/>
                  </a:cubicBezTo>
                  <a:cubicBezTo>
                    <a:pt x="36" y="181"/>
                    <a:pt x="40" y="180"/>
                    <a:pt x="43" y="180"/>
                  </a:cubicBezTo>
                  <a:cubicBezTo>
                    <a:pt x="43" y="182"/>
                    <a:pt x="42" y="186"/>
                    <a:pt x="40" y="190"/>
                  </a:cubicBezTo>
                  <a:cubicBezTo>
                    <a:pt x="35" y="197"/>
                    <a:pt x="38" y="200"/>
                    <a:pt x="41" y="202"/>
                  </a:cubicBezTo>
                  <a:cubicBezTo>
                    <a:pt x="41" y="203"/>
                    <a:pt x="41" y="203"/>
                    <a:pt x="41" y="203"/>
                  </a:cubicBezTo>
                  <a:cubicBezTo>
                    <a:pt x="43" y="204"/>
                    <a:pt x="44" y="205"/>
                    <a:pt x="47" y="205"/>
                  </a:cubicBezTo>
                  <a:cubicBezTo>
                    <a:pt x="49" y="205"/>
                    <a:pt x="51" y="204"/>
                    <a:pt x="53" y="202"/>
                  </a:cubicBezTo>
                  <a:cubicBezTo>
                    <a:pt x="57" y="199"/>
                    <a:pt x="60" y="197"/>
                    <a:pt x="62" y="196"/>
                  </a:cubicBezTo>
                  <a:cubicBezTo>
                    <a:pt x="63" y="198"/>
                    <a:pt x="63" y="202"/>
                    <a:pt x="62" y="207"/>
                  </a:cubicBezTo>
                  <a:cubicBezTo>
                    <a:pt x="59" y="215"/>
                    <a:pt x="62" y="217"/>
                    <a:pt x="66" y="219"/>
                  </a:cubicBezTo>
                  <a:cubicBezTo>
                    <a:pt x="67" y="219"/>
                    <a:pt x="67" y="219"/>
                    <a:pt x="67" y="219"/>
                  </a:cubicBezTo>
                  <a:cubicBezTo>
                    <a:pt x="68" y="219"/>
                    <a:pt x="69" y="220"/>
                    <a:pt x="71" y="220"/>
                  </a:cubicBezTo>
                  <a:cubicBezTo>
                    <a:pt x="73" y="220"/>
                    <a:pt x="76" y="218"/>
                    <a:pt x="78" y="215"/>
                  </a:cubicBezTo>
                  <a:cubicBezTo>
                    <a:pt x="80" y="211"/>
                    <a:pt x="83" y="208"/>
                    <a:pt x="85" y="207"/>
                  </a:cubicBezTo>
                  <a:cubicBezTo>
                    <a:pt x="86" y="209"/>
                    <a:pt x="87" y="213"/>
                    <a:pt x="87" y="218"/>
                  </a:cubicBezTo>
                  <a:cubicBezTo>
                    <a:pt x="87" y="226"/>
                    <a:pt x="91" y="227"/>
                    <a:pt x="95" y="228"/>
                  </a:cubicBezTo>
                  <a:cubicBezTo>
                    <a:pt x="95" y="228"/>
                    <a:pt x="95" y="228"/>
                    <a:pt x="95" y="228"/>
                  </a:cubicBezTo>
                  <a:cubicBezTo>
                    <a:pt x="96" y="228"/>
                    <a:pt x="97" y="228"/>
                    <a:pt x="98" y="228"/>
                  </a:cubicBezTo>
                  <a:cubicBezTo>
                    <a:pt x="103" y="228"/>
                    <a:pt x="105" y="223"/>
                    <a:pt x="105" y="221"/>
                  </a:cubicBezTo>
                  <a:cubicBezTo>
                    <a:pt x="106" y="217"/>
                    <a:pt x="109" y="213"/>
                    <a:pt x="110" y="212"/>
                  </a:cubicBezTo>
                  <a:cubicBezTo>
                    <a:pt x="111" y="213"/>
                    <a:pt x="114" y="217"/>
                    <a:pt x="115" y="221"/>
                  </a:cubicBezTo>
                  <a:cubicBezTo>
                    <a:pt x="116" y="227"/>
                    <a:pt x="119" y="229"/>
                    <a:pt x="123" y="229"/>
                  </a:cubicBezTo>
                  <a:cubicBezTo>
                    <a:pt x="123" y="229"/>
                    <a:pt x="124" y="229"/>
                    <a:pt x="124" y="229"/>
                  </a:cubicBezTo>
                  <a:cubicBezTo>
                    <a:pt x="125" y="229"/>
                    <a:pt x="125" y="229"/>
                    <a:pt x="125" y="229"/>
                  </a:cubicBezTo>
                  <a:cubicBezTo>
                    <a:pt x="128" y="229"/>
                    <a:pt x="133" y="228"/>
                    <a:pt x="133" y="220"/>
                  </a:cubicBezTo>
                  <a:cubicBezTo>
                    <a:pt x="133" y="215"/>
                    <a:pt x="134" y="212"/>
                    <a:pt x="135" y="210"/>
                  </a:cubicBezTo>
                  <a:cubicBezTo>
                    <a:pt x="137" y="211"/>
                    <a:pt x="140" y="214"/>
                    <a:pt x="143" y="218"/>
                  </a:cubicBezTo>
                  <a:cubicBezTo>
                    <a:pt x="145" y="222"/>
                    <a:pt x="147" y="224"/>
                    <a:pt x="150" y="224"/>
                  </a:cubicBezTo>
                  <a:cubicBezTo>
                    <a:pt x="151" y="224"/>
                    <a:pt x="153" y="223"/>
                    <a:pt x="154" y="223"/>
                  </a:cubicBezTo>
                  <a:cubicBezTo>
                    <a:pt x="154" y="222"/>
                    <a:pt x="154" y="222"/>
                    <a:pt x="154" y="222"/>
                  </a:cubicBezTo>
                  <a:cubicBezTo>
                    <a:pt x="157" y="222"/>
                    <a:pt x="162" y="220"/>
                    <a:pt x="160" y="212"/>
                  </a:cubicBezTo>
                  <a:cubicBezTo>
                    <a:pt x="159" y="207"/>
                    <a:pt x="159" y="203"/>
                    <a:pt x="159" y="201"/>
                  </a:cubicBezTo>
                  <a:cubicBezTo>
                    <a:pt x="161" y="202"/>
                    <a:pt x="165" y="204"/>
                    <a:pt x="168" y="207"/>
                  </a:cubicBezTo>
                  <a:cubicBezTo>
                    <a:pt x="171" y="210"/>
                    <a:pt x="173" y="211"/>
                    <a:pt x="175" y="211"/>
                  </a:cubicBezTo>
                  <a:cubicBezTo>
                    <a:pt x="178" y="211"/>
                    <a:pt x="179" y="210"/>
                    <a:pt x="180" y="209"/>
                  </a:cubicBezTo>
                  <a:cubicBezTo>
                    <a:pt x="181" y="209"/>
                    <a:pt x="181" y="209"/>
                    <a:pt x="181" y="209"/>
                  </a:cubicBezTo>
                  <a:cubicBezTo>
                    <a:pt x="183" y="207"/>
                    <a:pt x="187" y="204"/>
                    <a:pt x="183" y="197"/>
                  </a:cubicBezTo>
                  <a:cubicBezTo>
                    <a:pt x="181" y="193"/>
                    <a:pt x="180" y="189"/>
                    <a:pt x="180" y="187"/>
                  </a:cubicBezTo>
                  <a:cubicBezTo>
                    <a:pt x="183" y="187"/>
                    <a:pt x="187" y="188"/>
                    <a:pt x="190" y="190"/>
                  </a:cubicBezTo>
                  <a:cubicBezTo>
                    <a:pt x="192" y="192"/>
                    <a:pt x="194" y="193"/>
                    <a:pt x="196" y="193"/>
                  </a:cubicBezTo>
                  <a:cubicBezTo>
                    <a:pt x="199" y="193"/>
                    <a:pt x="201" y="191"/>
                    <a:pt x="202" y="190"/>
                  </a:cubicBezTo>
                  <a:cubicBezTo>
                    <a:pt x="202" y="189"/>
                    <a:pt x="202" y="189"/>
                    <a:pt x="202" y="189"/>
                  </a:cubicBezTo>
                  <a:cubicBezTo>
                    <a:pt x="205" y="186"/>
                    <a:pt x="207" y="183"/>
                    <a:pt x="202" y="177"/>
                  </a:cubicBezTo>
                  <a:cubicBezTo>
                    <a:pt x="199" y="173"/>
                    <a:pt x="197" y="169"/>
                    <a:pt x="197" y="167"/>
                  </a:cubicBezTo>
                  <a:cubicBezTo>
                    <a:pt x="197" y="167"/>
                    <a:pt x="198" y="167"/>
                    <a:pt x="199" y="167"/>
                  </a:cubicBezTo>
                  <a:cubicBezTo>
                    <a:pt x="201" y="167"/>
                    <a:pt x="204" y="168"/>
                    <a:pt x="207" y="168"/>
                  </a:cubicBezTo>
                  <a:cubicBezTo>
                    <a:pt x="209" y="169"/>
                    <a:pt x="210" y="169"/>
                    <a:pt x="212" y="169"/>
                  </a:cubicBezTo>
                  <a:cubicBezTo>
                    <a:pt x="216" y="169"/>
                    <a:pt x="218" y="166"/>
                    <a:pt x="218" y="164"/>
                  </a:cubicBezTo>
                  <a:cubicBezTo>
                    <a:pt x="219" y="164"/>
                    <a:pt x="219" y="164"/>
                    <a:pt x="219" y="164"/>
                  </a:cubicBezTo>
                  <a:cubicBezTo>
                    <a:pt x="220" y="160"/>
                    <a:pt x="221" y="157"/>
                    <a:pt x="215" y="152"/>
                  </a:cubicBezTo>
                  <a:cubicBezTo>
                    <a:pt x="211" y="149"/>
                    <a:pt x="208" y="146"/>
                    <a:pt x="208" y="144"/>
                  </a:cubicBezTo>
                  <a:cubicBezTo>
                    <a:pt x="209" y="144"/>
                    <a:pt x="213" y="143"/>
                    <a:pt x="217" y="143"/>
                  </a:cubicBezTo>
                  <a:cubicBezTo>
                    <a:pt x="217" y="143"/>
                    <a:pt x="217" y="143"/>
                    <a:pt x="218" y="143"/>
                  </a:cubicBezTo>
                  <a:cubicBezTo>
                    <a:pt x="218" y="143"/>
                    <a:pt x="219" y="143"/>
                    <a:pt x="219" y="143"/>
                  </a:cubicBezTo>
                  <a:cubicBezTo>
                    <a:pt x="226" y="143"/>
                    <a:pt x="227" y="138"/>
                    <a:pt x="228" y="136"/>
                  </a:cubicBezTo>
                  <a:cubicBezTo>
                    <a:pt x="228" y="135"/>
                    <a:pt x="228" y="135"/>
                    <a:pt x="228" y="135"/>
                  </a:cubicBezTo>
                  <a:cubicBezTo>
                    <a:pt x="229" y="132"/>
                    <a:pt x="228" y="128"/>
                    <a:pt x="221" y="125"/>
                  </a:cubicBezTo>
                  <a:cubicBezTo>
                    <a:pt x="217" y="123"/>
                    <a:pt x="213" y="121"/>
                    <a:pt x="212" y="119"/>
                  </a:cubicBezTo>
                  <a:cubicBezTo>
                    <a:pt x="214" y="118"/>
                    <a:pt x="217" y="116"/>
                    <a:pt x="221" y="115"/>
                  </a:cubicBezTo>
                  <a:cubicBezTo>
                    <a:pt x="230" y="114"/>
                    <a:pt x="230" y="109"/>
                    <a:pt x="229" y="106"/>
                  </a:cubicBezTo>
                  <a:cubicBezTo>
                    <a:pt x="229" y="105"/>
                    <a:pt x="229" y="105"/>
                    <a:pt x="229" y="105"/>
                  </a:cubicBezTo>
                  <a:cubicBezTo>
                    <a:pt x="229" y="101"/>
                    <a:pt x="228" y="98"/>
                    <a:pt x="220" y="97"/>
                  </a:cubicBezTo>
                  <a:cubicBezTo>
                    <a:pt x="215" y="97"/>
                    <a:pt x="211" y="95"/>
                    <a:pt x="210" y="94"/>
                  </a:cubicBezTo>
                  <a:cubicBezTo>
                    <a:pt x="211" y="92"/>
                    <a:pt x="214" y="90"/>
                    <a:pt x="218" y="88"/>
                  </a:cubicBezTo>
                  <a:cubicBezTo>
                    <a:pt x="226" y="84"/>
                    <a:pt x="224" y="79"/>
                    <a:pt x="223" y="77"/>
                  </a:cubicBezTo>
                  <a:cubicBezTo>
                    <a:pt x="223" y="76"/>
                    <a:pt x="223" y="76"/>
                    <a:pt x="223" y="76"/>
                  </a:cubicBezTo>
                  <a:cubicBezTo>
                    <a:pt x="222" y="74"/>
                    <a:pt x="221" y="70"/>
                    <a:pt x="216" y="70"/>
                  </a:cubicBezTo>
                  <a:cubicBezTo>
                    <a:pt x="215" y="70"/>
                    <a:pt x="213" y="70"/>
                    <a:pt x="212" y="71"/>
                  </a:cubicBezTo>
                  <a:cubicBezTo>
                    <a:pt x="211" y="71"/>
                    <a:pt x="209" y="71"/>
                    <a:pt x="207" y="71"/>
                  </a:cubicBezTo>
                  <a:cubicBezTo>
                    <a:pt x="204" y="71"/>
                    <a:pt x="202" y="71"/>
                    <a:pt x="201" y="70"/>
                  </a:cubicBezTo>
                  <a:cubicBezTo>
                    <a:pt x="202" y="68"/>
                    <a:pt x="204" y="65"/>
                    <a:pt x="207" y="62"/>
                  </a:cubicBezTo>
                  <a:cubicBezTo>
                    <a:pt x="214" y="56"/>
                    <a:pt x="211" y="52"/>
                    <a:pt x="210" y="50"/>
                  </a:cubicBezTo>
                  <a:cubicBezTo>
                    <a:pt x="209" y="49"/>
                    <a:pt x="209" y="49"/>
                    <a:pt x="209" y="49"/>
                  </a:cubicBezTo>
                  <a:cubicBezTo>
                    <a:pt x="208" y="48"/>
                    <a:pt x="207" y="45"/>
                    <a:pt x="203" y="45"/>
                  </a:cubicBezTo>
                  <a:cubicBezTo>
                    <a:pt x="201" y="45"/>
                    <a:pt x="200" y="46"/>
                    <a:pt x="198" y="47"/>
                  </a:cubicBezTo>
                  <a:cubicBezTo>
                    <a:pt x="194" y="48"/>
                    <a:pt x="190" y="49"/>
                    <a:pt x="188" y="49"/>
                  </a:cubicBezTo>
                  <a:cubicBezTo>
                    <a:pt x="187" y="49"/>
                    <a:pt x="187" y="49"/>
                    <a:pt x="187" y="49"/>
                  </a:cubicBezTo>
                  <a:cubicBezTo>
                    <a:pt x="187" y="47"/>
                    <a:pt x="188" y="43"/>
                    <a:pt x="191" y="40"/>
                  </a:cubicBezTo>
                  <a:cubicBezTo>
                    <a:pt x="196" y="33"/>
                    <a:pt x="192" y="29"/>
                    <a:pt x="190" y="28"/>
                  </a:cubicBezTo>
                  <a:cubicBezTo>
                    <a:pt x="189" y="27"/>
                    <a:pt x="189" y="27"/>
                    <a:pt x="189" y="27"/>
                  </a:cubicBezTo>
                  <a:cubicBezTo>
                    <a:pt x="188" y="26"/>
                    <a:pt x="186" y="25"/>
                    <a:pt x="184" y="25"/>
                  </a:cubicBezTo>
                  <a:cubicBezTo>
                    <a:pt x="182" y="25"/>
                    <a:pt x="180" y="26"/>
                    <a:pt x="177" y="28"/>
                  </a:cubicBezTo>
                  <a:cubicBezTo>
                    <a:pt x="174" y="30"/>
                    <a:pt x="170" y="33"/>
                    <a:pt x="168" y="33"/>
                  </a:cubicBezTo>
                  <a:cubicBezTo>
                    <a:pt x="167" y="31"/>
                    <a:pt x="167" y="27"/>
                    <a:pt x="169" y="23"/>
                  </a:cubicBezTo>
                  <a:cubicBezTo>
                    <a:pt x="172" y="15"/>
                    <a:pt x="167" y="12"/>
                    <a:pt x="165" y="11"/>
                  </a:cubicBezTo>
                  <a:cubicBezTo>
                    <a:pt x="164" y="11"/>
                    <a:pt x="164" y="11"/>
                    <a:pt x="164" y="11"/>
                  </a:cubicBezTo>
                  <a:cubicBezTo>
                    <a:pt x="163" y="10"/>
                    <a:pt x="162" y="10"/>
                    <a:pt x="160" y="10"/>
                  </a:cubicBezTo>
                  <a:cubicBezTo>
                    <a:pt x="157" y="10"/>
                    <a:pt x="155" y="11"/>
                    <a:pt x="153" y="15"/>
                  </a:cubicBezTo>
                  <a:cubicBezTo>
                    <a:pt x="150" y="19"/>
                    <a:pt x="146" y="21"/>
                    <a:pt x="145" y="22"/>
                  </a:cubicBezTo>
                  <a:cubicBezTo>
                    <a:pt x="144" y="20"/>
                    <a:pt x="143" y="16"/>
                    <a:pt x="143" y="12"/>
                  </a:cubicBezTo>
                  <a:cubicBezTo>
                    <a:pt x="144" y="3"/>
                    <a:pt x="139" y="2"/>
                    <a:pt x="136" y="2"/>
                  </a:cubicBezTo>
                  <a:cubicBezTo>
                    <a:pt x="136" y="2"/>
                    <a:pt x="136" y="2"/>
                    <a:pt x="136" y="2"/>
                  </a:cubicBezTo>
                  <a:cubicBezTo>
                    <a:pt x="135" y="2"/>
                    <a:pt x="134" y="1"/>
                    <a:pt x="133" y="1"/>
                  </a:cubicBezTo>
                  <a:cubicBezTo>
                    <a:pt x="128" y="1"/>
                    <a:pt x="126" y="7"/>
                    <a:pt x="125" y="8"/>
                  </a:cubicBezTo>
                  <a:cubicBezTo>
                    <a:pt x="124" y="13"/>
                    <a:pt x="121" y="16"/>
                    <a:pt x="120" y="18"/>
                  </a:cubicBezTo>
                  <a:cubicBezTo>
                    <a:pt x="118" y="16"/>
                    <a:pt x="116" y="12"/>
                    <a:pt x="116" y="8"/>
                  </a:cubicBezTo>
                  <a:cubicBezTo>
                    <a:pt x="114" y="3"/>
                    <a:pt x="112" y="0"/>
                    <a:pt x="10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4" name="Freeform 21323">
              <a:extLst>
                <a:ext uri="{FF2B5EF4-FFF2-40B4-BE49-F238E27FC236}">
                  <a16:creationId xmlns:a16="http://schemas.microsoft.com/office/drawing/2014/main" id="{832D3815-B49D-4D99-B5C4-291D1E7DFD44}"/>
                </a:ext>
              </a:extLst>
            </p:cNvPr>
            <p:cNvSpPr>
              <a:spLocks noEditPoints="1"/>
            </p:cNvSpPr>
            <p:nvPr userDrawn="1"/>
          </p:nvSpPr>
          <p:spPr bwMode="auto">
            <a:xfrm>
              <a:off x="10510203" y="3502978"/>
              <a:ext cx="193675" cy="182563"/>
            </a:xfrm>
            <a:custGeom>
              <a:avLst/>
              <a:gdLst>
                <a:gd name="T0" fmla="*/ 46 w 96"/>
                <a:gd name="T1" fmla="*/ 69 h 90"/>
                <a:gd name="T2" fmla="*/ 30 w 96"/>
                <a:gd name="T3" fmla="*/ 63 h 90"/>
                <a:gd name="T4" fmla="*/ 28 w 96"/>
                <a:gd name="T5" fmla="*/ 29 h 90"/>
                <a:gd name="T6" fmla="*/ 46 w 96"/>
                <a:gd name="T7" fmla="*/ 21 h 90"/>
                <a:gd name="T8" fmla="*/ 61 w 96"/>
                <a:gd name="T9" fmla="*/ 26 h 90"/>
                <a:gd name="T10" fmla="*/ 64 w 96"/>
                <a:gd name="T11" fmla="*/ 60 h 90"/>
                <a:gd name="T12" fmla="*/ 46 w 96"/>
                <a:gd name="T13" fmla="*/ 69 h 90"/>
                <a:gd name="T14" fmla="*/ 46 w 96"/>
                <a:gd name="T15" fmla="*/ 16 h 90"/>
                <a:gd name="T16" fmla="*/ 24 w 96"/>
                <a:gd name="T17" fmla="*/ 26 h 90"/>
                <a:gd name="T18" fmla="*/ 27 w 96"/>
                <a:gd name="T19" fmla="*/ 67 h 90"/>
                <a:gd name="T20" fmla="*/ 46 w 96"/>
                <a:gd name="T21" fmla="*/ 74 h 90"/>
                <a:gd name="T22" fmla="*/ 68 w 96"/>
                <a:gd name="T23" fmla="*/ 63 h 90"/>
                <a:gd name="T24" fmla="*/ 65 w 96"/>
                <a:gd name="T25" fmla="*/ 23 h 90"/>
                <a:gd name="T26" fmla="*/ 46 w 96"/>
                <a:gd name="T27" fmla="*/ 16 h 90"/>
                <a:gd name="T28" fmla="*/ 46 w 96"/>
                <a:gd name="T29" fmla="*/ 85 h 90"/>
                <a:gd name="T30" fmla="*/ 20 w 96"/>
                <a:gd name="T31" fmla="*/ 75 h 90"/>
                <a:gd name="T32" fmla="*/ 6 w 96"/>
                <a:gd name="T33" fmla="*/ 48 h 90"/>
                <a:gd name="T34" fmla="*/ 15 w 96"/>
                <a:gd name="T35" fmla="*/ 19 h 90"/>
                <a:gd name="T36" fmla="*/ 46 w 96"/>
                <a:gd name="T37" fmla="*/ 5 h 90"/>
                <a:gd name="T38" fmla="*/ 72 w 96"/>
                <a:gd name="T39" fmla="*/ 14 h 90"/>
                <a:gd name="T40" fmla="*/ 77 w 96"/>
                <a:gd name="T41" fmla="*/ 71 h 90"/>
                <a:gd name="T42" fmla="*/ 46 w 96"/>
                <a:gd name="T43" fmla="*/ 85 h 90"/>
                <a:gd name="T44" fmla="*/ 46 w 96"/>
                <a:gd name="T45" fmla="*/ 0 h 90"/>
                <a:gd name="T46" fmla="*/ 12 w 96"/>
                <a:gd name="T47" fmla="*/ 16 h 90"/>
                <a:gd name="T48" fmla="*/ 1 w 96"/>
                <a:gd name="T49" fmla="*/ 48 h 90"/>
                <a:gd name="T50" fmla="*/ 17 w 96"/>
                <a:gd name="T51" fmla="*/ 79 h 90"/>
                <a:gd name="T52" fmla="*/ 46 w 96"/>
                <a:gd name="T53" fmla="*/ 90 h 90"/>
                <a:gd name="T54" fmla="*/ 80 w 96"/>
                <a:gd name="T55" fmla="*/ 74 h 90"/>
                <a:gd name="T56" fmla="*/ 75 w 96"/>
                <a:gd name="T57" fmla="*/ 10 h 90"/>
                <a:gd name="T58" fmla="*/ 46 w 96"/>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90">
                  <a:moveTo>
                    <a:pt x="46" y="69"/>
                  </a:moveTo>
                  <a:cubicBezTo>
                    <a:pt x="40" y="69"/>
                    <a:pt x="35" y="67"/>
                    <a:pt x="30" y="63"/>
                  </a:cubicBezTo>
                  <a:cubicBezTo>
                    <a:pt x="20" y="54"/>
                    <a:pt x="19" y="39"/>
                    <a:pt x="28" y="29"/>
                  </a:cubicBezTo>
                  <a:cubicBezTo>
                    <a:pt x="32" y="24"/>
                    <a:pt x="39" y="21"/>
                    <a:pt x="46" y="21"/>
                  </a:cubicBezTo>
                  <a:cubicBezTo>
                    <a:pt x="52" y="21"/>
                    <a:pt x="57" y="23"/>
                    <a:pt x="61" y="26"/>
                  </a:cubicBezTo>
                  <a:cubicBezTo>
                    <a:pt x="71" y="35"/>
                    <a:pt x="73" y="50"/>
                    <a:pt x="64" y="60"/>
                  </a:cubicBezTo>
                  <a:cubicBezTo>
                    <a:pt x="60" y="66"/>
                    <a:pt x="53" y="69"/>
                    <a:pt x="46" y="69"/>
                  </a:cubicBezTo>
                  <a:moveTo>
                    <a:pt x="46" y="16"/>
                  </a:moveTo>
                  <a:cubicBezTo>
                    <a:pt x="37" y="16"/>
                    <a:pt x="29" y="19"/>
                    <a:pt x="24" y="26"/>
                  </a:cubicBezTo>
                  <a:cubicBezTo>
                    <a:pt x="14" y="38"/>
                    <a:pt x="15" y="56"/>
                    <a:pt x="27" y="67"/>
                  </a:cubicBezTo>
                  <a:cubicBezTo>
                    <a:pt x="32" y="71"/>
                    <a:pt x="39" y="74"/>
                    <a:pt x="46" y="74"/>
                  </a:cubicBezTo>
                  <a:cubicBezTo>
                    <a:pt x="54" y="74"/>
                    <a:pt x="63" y="70"/>
                    <a:pt x="68" y="63"/>
                  </a:cubicBezTo>
                  <a:cubicBezTo>
                    <a:pt x="78" y="51"/>
                    <a:pt x="77" y="33"/>
                    <a:pt x="65" y="23"/>
                  </a:cubicBezTo>
                  <a:cubicBezTo>
                    <a:pt x="59" y="18"/>
                    <a:pt x="53" y="16"/>
                    <a:pt x="46" y="16"/>
                  </a:cubicBezTo>
                  <a:moveTo>
                    <a:pt x="46" y="85"/>
                  </a:moveTo>
                  <a:cubicBezTo>
                    <a:pt x="36" y="85"/>
                    <a:pt x="27" y="81"/>
                    <a:pt x="20" y="75"/>
                  </a:cubicBezTo>
                  <a:cubicBezTo>
                    <a:pt x="12" y="68"/>
                    <a:pt x="7" y="59"/>
                    <a:pt x="6" y="48"/>
                  </a:cubicBezTo>
                  <a:cubicBezTo>
                    <a:pt x="5" y="37"/>
                    <a:pt x="8" y="27"/>
                    <a:pt x="15" y="19"/>
                  </a:cubicBezTo>
                  <a:cubicBezTo>
                    <a:pt x="23" y="10"/>
                    <a:pt x="34" y="5"/>
                    <a:pt x="46" y="5"/>
                  </a:cubicBezTo>
                  <a:cubicBezTo>
                    <a:pt x="55" y="5"/>
                    <a:pt x="65" y="8"/>
                    <a:pt x="72" y="14"/>
                  </a:cubicBezTo>
                  <a:cubicBezTo>
                    <a:pt x="89" y="28"/>
                    <a:pt x="91" y="54"/>
                    <a:pt x="77" y="71"/>
                  </a:cubicBezTo>
                  <a:cubicBezTo>
                    <a:pt x="69" y="80"/>
                    <a:pt x="58" y="85"/>
                    <a:pt x="46" y="85"/>
                  </a:cubicBezTo>
                  <a:moveTo>
                    <a:pt x="46" y="0"/>
                  </a:moveTo>
                  <a:cubicBezTo>
                    <a:pt x="33" y="0"/>
                    <a:pt x="20" y="5"/>
                    <a:pt x="12" y="16"/>
                  </a:cubicBezTo>
                  <a:cubicBezTo>
                    <a:pt x="4" y="25"/>
                    <a:pt x="0" y="36"/>
                    <a:pt x="1" y="48"/>
                  </a:cubicBezTo>
                  <a:cubicBezTo>
                    <a:pt x="2" y="60"/>
                    <a:pt x="8" y="71"/>
                    <a:pt x="17" y="79"/>
                  </a:cubicBezTo>
                  <a:cubicBezTo>
                    <a:pt x="25" y="86"/>
                    <a:pt x="35" y="90"/>
                    <a:pt x="46" y="90"/>
                  </a:cubicBezTo>
                  <a:cubicBezTo>
                    <a:pt x="59" y="90"/>
                    <a:pt x="72" y="84"/>
                    <a:pt x="80" y="74"/>
                  </a:cubicBezTo>
                  <a:cubicBezTo>
                    <a:pt x="96" y="55"/>
                    <a:pt x="94" y="26"/>
                    <a:pt x="75" y="10"/>
                  </a:cubicBezTo>
                  <a:cubicBezTo>
                    <a:pt x="67" y="3"/>
                    <a:pt x="57"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5" name="Freeform 21324">
              <a:extLst>
                <a:ext uri="{FF2B5EF4-FFF2-40B4-BE49-F238E27FC236}">
                  <a16:creationId xmlns:a16="http://schemas.microsoft.com/office/drawing/2014/main" id="{11A828CF-58DB-4163-BD88-D866A50984DC}"/>
                </a:ext>
              </a:extLst>
            </p:cNvPr>
            <p:cNvSpPr>
              <a:spLocks noEditPoints="1"/>
            </p:cNvSpPr>
            <p:nvPr userDrawn="1"/>
          </p:nvSpPr>
          <p:spPr bwMode="auto">
            <a:xfrm>
              <a:off x="11392853" y="3577590"/>
              <a:ext cx="854075" cy="847725"/>
            </a:xfrm>
            <a:custGeom>
              <a:avLst/>
              <a:gdLst>
                <a:gd name="T0" fmla="*/ 295 w 422"/>
                <a:gd name="T1" fmla="*/ 96 h 420"/>
                <a:gd name="T2" fmla="*/ 67 w 422"/>
                <a:gd name="T3" fmla="*/ 232 h 420"/>
                <a:gd name="T4" fmla="*/ 211 w 422"/>
                <a:gd name="T5" fmla="*/ 64 h 420"/>
                <a:gd name="T6" fmla="*/ 235 w 422"/>
                <a:gd name="T7" fmla="*/ 5 h 420"/>
                <a:gd name="T8" fmla="*/ 274 w 422"/>
                <a:gd name="T9" fmla="*/ 24 h 420"/>
                <a:gd name="T10" fmla="*/ 294 w 422"/>
                <a:gd name="T11" fmla="*/ 58 h 420"/>
                <a:gd name="T12" fmla="*/ 334 w 422"/>
                <a:gd name="T13" fmla="*/ 45 h 420"/>
                <a:gd name="T14" fmla="*/ 367 w 422"/>
                <a:gd name="T15" fmla="*/ 78 h 420"/>
                <a:gd name="T16" fmla="*/ 373 w 422"/>
                <a:gd name="T17" fmla="*/ 125 h 420"/>
                <a:gd name="T18" fmla="*/ 377 w 422"/>
                <a:gd name="T19" fmla="*/ 160 h 420"/>
                <a:gd name="T20" fmla="*/ 384 w 422"/>
                <a:gd name="T21" fmla="*/ 205 h 420"/>
                <a:gd name="T22" fmla="*/ 380 w 422"/>
                <a:gd name="T23" fmla="*/ 249 h 420"/>
                <a:gd name="T24" fmla="*/ 390 w 422"/>
                <a:gd name="T25" fmla="*/ 291 h 420"/>
                <a:gd name="T26" fmla="*/ 376 w 422"/>
                <a:gd name="T27" fmla="*/ 333 h 420"/>
                <a:gd name="T28" fmla="*/ 341 w 422"/>
                <a:gd name="T29" fmla="*/ 357 h 420"/>
                <a:gd name="T30" fmla="*/ 300 w 422"/>
                <a:gd name="T31" fmla="*/ 358 h 420"/>
                <a:gd name="T32" fmla="*/ 281 w 422"/>
                <a:gd name="T33" fmla="*/ 394 h 420"/>
                <a:gd name="T34" fmla="*/ 242 w 422"/>
                <a:gd name="T35" fmla="*/ 414 h 420"/>
                <a:gd name="T36" fmla="*/ 199 w 422"/>
                <a:gd name="T37" fmla="*/ 406 h 420"/>
                <a:gd name="T38" fmla="*/ 168 w 422"/>
                <a:gd name="T39" fmla="*/ 377 h 420"/>
                <a:gd name="T40" fmla="*/ 131 w 422"/>
                <a:gd name="T41" fmla="*/ 390 h 420"/>
                <a:gd name="T42" fmla="*/ 90 w 422"/>
                <a:gd name="T43" fmla="*/ 377 h 420"/>
                <a:gd name="T44" fmla="*/ 64 w 422"/>
                <a:gd name="T45" fmla="*/ 341 h 420"/>
                <a:gd name="T46" fmla="*/ 62 w 422"/>
                <a:gd name="T47" fmla="*/ 297 h 420"/>
                <a:gd name="T48" fmla="*/ 27 w 422"/>
                <a:gd name="T49" fmla="*/ 281 h 420"/>
                <a:gd name="T50" fmla="*/ 7 w 422"/>
                <a:gd name="T51" fmla="*/ 242 h 420"/>
                <a:gd name="T52" fmla="*/ 6 w 422"/>
                <a:gd name="T53" fmla="*/ 189 h 420"/>
                <a:gd name="T54" fmla="*/ 19 w 422"/>
                <a:gd name="T55" fmla="*/ 136 h 420"/>
                <a:gd name="T56" fmla="*/ 60 w 422"/>
                <a:gd name="T57" fmla="*/ 124 h 420"/>
                <a:gd name="T58" fmla="*/ 79 w 422"/>
                <a:gd name="T59" fmla="*/ 92 h 420"/>
                <a:gd name="T60" fmla="*/ 89 w 422"/>
                <a:gd name="T61" fmla="*/ 46 h 420"/>
                <a:gd name="T62" fmla="*/ 128 w 422"/>
                <a:gd name="T63" fmla="*/ 21 h 420"/>
                <a:gd name="T64" fmla="*/ 162 w 422"/>
                <a:gd name="T65" fmla="*/ 44 h 420"/>
                <a:gd name="T66" fmla="*/ 205 w 422"/>
                <a:gd name="T67" fmla="*/ 37 h 420"/>
                <a:gd name="T68" fmla="*/ 185 w 422"/>
                <a:gd name="T69" fmla="*/ 1 h 420"/>
                <a:gd name="T70" fmla="*/ 134 w 422"/>
                <a:gd name="T71" fmla="*/ 14 h 420"/>
                <a:gd name="T72" fmla="*/ 89 w 422"/>
                <a:gd name="T73" fmla="*/ 41 h 420"/>
                <a:gd name="T74" fmla="*/ 60 w 422"/>
                <a:gd name="T75" fmla="*/ 82 h 420"/>
                <a:gd name="T76" fmla="*/ 43 w 422"/>
                <a:gd name="T77" fmla="*/ 126 h 420"/>
                <a:gd name="T78" fmla="*/ 22 w 422"/>
                <a:gd name="T79" fmla="*/ 152 h 420"/>
                <a:gd name="T80" fmla="*/ 33 w 422"/>
                <a:gd name="T81" fmla="*/ 213 h 420"/>
                <a:gd name="T82" fmla="*/ 19 w 422"/>
                <a:gd name="T83" fmla="*/ 255 h 420"/>
                <a:gd name="T84" fmla="*/ 37 w 422"/>
                <a:gd name="T85" fmla="*/ 303 h 420"/>
                <a:gd name="T86" fmla="*/ 56 w 422"/>
                <a:gd name="T87" fmla="*/ 349 h 420"/>
                <a:gd name="T88" fmla="*/ 87 w 422"/>
                <a:gd name="T89" fmla="*/ 381 h 420"/>
                <a:gd name="T90" fmla="*/ 135 w 422"/>
                <a:gd name="T91" fmla="*/ 407 h 420"/>
                <a:gd name="T92" fmla="*/ 189 w 422"/>
                <a:gd name="T93" fmla="*/ 420 h 420"/>
                <a:gd name="T94" fmla="*/ 243 w 422"/>
                <a:gd name="T95" fmla="*/ 419 h 420"/>
                <a:gd name="T96" fmla="*/ 296 w 422"/>
                <a:gd name="T97" fmla="*/ 403 h 420"/>
                <a:gd name="T98" fmla="*/ 335 w 422"/>
                <a:gd name="T99" fmla="*/ 379 h 420"/>
                <a:gd name="T100" fmla="*/ 360 w 422"/>
                <a:gd name="T101" fmla="*/ 339 h 420"/>
                <a:gd name="T102" fmla="*/ 376 w 422"/>
                <a:gd name="T103" fmla="*/ 294 h 420"/>
                <a:gd name="T104" fmla="*/ 384 w 422"/>
                <a:gd name="T105" fmla="*/ 252 h 420"/>
                <a:gd name="T106" fmla="*/ 408 w 422"/>
                <a:gd name="T107" fmla="*/ 196 h 420"/>
                <a:gd name="T108" fmla="*/ 397 w 422"/>
                <a:gd name="T109" fmla="*/ 145 h 420"/>
                <a:gd name="T110" fmla="*/ 363 w 422"/>
                <a:gd name="T111" fmla="*/ 118 h 420"/>
                <a:gd name="T112" fmla="*/ 337 w 422"/>
                <a:gd name="T113" fmla="*/ 82 h 420"/>
                <a:gd name="T114" fmla="*/ 317 w 422"/>
                <a:gd name="T115" fmla="*/ 43 h 420"/>
                <a:gd name="T116" fmla="*/ 282 w 422"/>
                <a:gd name="T117" fmla="*/ 12 h 420"/>
                <a:gd name="T118" fmla="*/ 231 w 422"/>
                <a:gd name="T1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2" h="420">
                  <a:moveTo>
                    <a:pt x="211" y="351"/>
                  </a:moveTo>
                  <a:cubicBezTo>
                    <a:pt x="181" y="351"/>
                    <a:pt x="152" y="342"/>
                    <a:pt x="127" y="324"/>
                  </a:cubicBezTo>
                  <a:cubicBezTo>
                    <a:pt x="97" y="301"/>
                    <a:pt x="77" y="268"/>
                    <a:pt x="72" y="231"/>
                  </a:cubicBezTo>
                  <a:cubicBezTo>
                    <a:pt x="66" y="194"/>
                    <a:pt x="75" y="157"/>
                    <a:pt x="97" y="126"/>
                  </a:cubicBezTo>
                  <a:cubicBezTo>
                    <a:pt x="124" y="90"/>
                    <a:pt x="166" y="69"/>
                    <a:pt x="211" y="69"/>
                  </a:cubicBezTo>
                  <a:cubicBezTo>
                    <a:pt x="241" y="69"/>
                    <a:pt x="270" y="79"/>
                    <a:pt x="295" y="96"/>
                  </a:cubicBezTo>
                  <a:cubicBezTo>
                    <a:pt x="325" y="119"/>
                    <a:pt x="345" y="152"/>
                    <a:pt x="350" y="189"/>
                  </a:cubicBezTo>
                  <a:cubicBezTo>
                    <a:pt x="356" y="226"/>
                    <a:pt x="347" y="263"/>
                    <a:pt x="324" y="294"/>
                  </a:cubicBezTo>
                  <a:cubicBezTo>
                    <a:pt x="298" y="330"/>
                    <a:pt x="256" y="351"/>
                    <a:pt x="211" y="351"/>
                  </a:cubicBezTo>
                  <a:moveTo>
                    <a:pt x="211" y="64"/>
                  </a:moveTo>
                  <a:cubicBezTo>
                    <a:pt x="165" y="64"/>
                    <a:pt x="121" y="86"/>
                    <a:pt x="93" y="123"/>
                  </a:cubicBezTo>
                  <a:cubicBezTo>
                    <a:pt x="70" y="155"/>
                    <a:pt x="61" y="193"/>
                    <a:pt x="67" y="232"/>
                  </a:cubicBezTo>
                  <a:cubicBezTo>
                    <a:pt x="72" y="270"/>
                    <a:pt x="93" y="304"/>
                    <a:pt x="124" y="328"/>
                  </a:cubicBezTo>
                  <a:cubicBezTo>
                    <a:pt x="150" y="346"/>
                    <a:pt x="180" y="356"/>
                    <a:pt x="211" y="356"/>
                  </a:cubicBezTo>
                  <a:cubicBezTo>
                    <a:pt x="257" y="356"/>
                    <a:pt x="301" y="334"/>
                    <a:pt x="329" y="297"/>
                  </a:cubicBezTo>
                  <a:cubicBezTo>
                    <a:pt x="352" y="265"/>
                    <a:pt x="361" y="227"/>
                    <a:pt x="355" y="188"/>
                  </a:cubicBezTo>
                  <a:cubicBezTo>
                    <a:pt x="349" y="150"/>
                    <a:pt x="329" y="116"/>
                    <a:pt x="298" y="92"/>
                  </a:cubicBezTo>
                  <a:cubicBezTo>
                    <a:pt x="272" y="74"/>
                    <a:pt x="242" y="64"/>
                    <a:pt x="211" y="64"/>
                  </a:cubicBezTo>
                  <a:moveTo>
                    <a:pt x="207" y="37"/>
                  </a:moveTo>
                  <a:cubicBezTo>
                    <a:pt x="207" y="37"/>
                    <a:pt x="207" y="37"/>
                    <a:pt x="207" y="37"/>
                  </a:cubicBezTo>
                  <a:cubicBezTo>
                    <a:pt x="214" y="36"/>
                    <a:pt x="221" y="22"/>
                    <a:pt x="224" y="14"/>
                  </a:cubicBezTo>
                  <a:cubicBezTo>
                    <a:pt x="226" y="5"/>
                    <a:pt x="229" y="5"/>
                    <a:pt x="231" y="5"/>
                  </a:cubicBezTo>
                  <a:cubicBezTo>
                    <a:pt x="232" y="5"/>
                    <a:pt x="233" y="5"/>
                    <a:pt x="234" y="5"/>
                  </a:cubicBezTo>
                  <a:cubicBezTo>
                    <a:pt x="235" y="5"/>
                    <a:pt x="235" y="5"/>
                    <a:pt x="235" y="5"/>
                  </a:cubicBezTo>
                  <a:cubicBezTo>
                    <a:pt x="240" y="6"/>
                    <a:pt x="243" y="6"/>
                    <a:pt x="243" y="16"/>
                  </a:cubicBezTo>
                  <a:cubicBezTo>
                    <a:pt x="243" y="25"/>
                    <a:pt x="246" y="37"/>
                    <a:pt x="250" y="41"/>
                  </a:cubicBezTo>
                  <a:cubicBezTo>
                    <a:pt x="251" y="42"/>
                    <a:pt x="251" y="42"/>
                    <a:pt x="252" y="42"/>
                  </a:cubicBezTo>
                  <a:cubicBezTo>
                    <a:pt x="252" y="42"/>
                    <a:pt x="252" y="42"/>
                    <a:pt x="252" y="42"/>
                  </a:cubicBezTo>
                  <a:cubicBezTo>
                    <a:pt x="252" y="42"/>
                    <a:pt x="253" y="42"/>
                    <a:pt x="253" y="42"/>
                  </a:cubicBezTo>
                  <a:cubicBezTo>
                    <a:pt x="260" y="42"/>
                    <a:pt x="270" y="31"/>
                    <a:pt x="274" y="24"/>
                  </a:cubicBezTo>
                  <a:cubicBezTo>
                    <a:pt x="278" y="17"/>
                    <a:pt x="281" y="17"/>
                    <a:pt x="282" y="17"/>
                  </a:cubicBezTo>
                  <a:cubicBezTo>
                    <a:pt x="283" y="17"/>
                    <a:pt x="284" y="17"/>
                    <a:pt x="286" y="18"/>
                  </a:cubicBezTo>
                  <a:cubicBezTo>
                    <a:pt x="287" y="19"/>
                    <a:pt x="287" y="19"/>
                    <a:pt x="287" y="19"/>
                  </a:cubicBezTo>
                  <a:cubicBezTo>
                    <a:pt x="292" y="20"/>
                    <a:pt x="295" y="22"/>
                    <a:pt x="292" y="31"/>
                  </a:cubicBezTo>
                  <a:cubicBezTo>
                    <a:pt x="290" y="40"/>
                    <a:pt x="289" y="51"/>
                    <a:pt x="293" y="57"/>
                  </a:cubicBezTo>
                  <a:cubicBezTo>
                    <a:pt x="293" y="58"/>
                    <a:pt x="293" y="58"/>
                    <a:pt x="294" y="58"/>
                  </a:cubicBezTo>
                  <a:cubicBezTo>
                    <a:pt x="295" y="59"/>
                    <a:pt x="296" y="59"/>
                    <a:pt x="297" y="59"/>
                  </a:cubicBezTo>
                  <a:cubicBezTo>
                    <a:pt x="297" y="59"/>
                    <a:pt x="297" y="59"/>
                    <a:pt x="297" y="59"/>
                  </a:cubicBezTo>
                  <a:cubicBezTo>
                    <a:pt x="303" y="59"/>
                    <a:pt x="314" y="53"/>
                    <a:pt x="320" y="46"/>
                  </a:cubicBezTo>
                  <a:cubicBezTo>
                    <a:pt x="324" y="43"/>
                    <a:pt x="326" y="42"/>
                    <a:pt x="328" y="42"/>
                  </a:cubicBezTo>
                  <a:cubicBezTo>
                    <a:pt x="330" y="42"/>
                    <a:pt x="331" y="43"/>
                    <a:pt x="333" y="44"/>
                  </a:cubicBezTo>
                  <a:cubicBezTo>
                    <a:pt x="334" y="45"/>
                    <a:pt x="334" y="45"/>
                    <a:pt x="334" y="45"/>
                  </a:cubicBezTo>
                  <a:cubicBezTo>
                    <a:pt x="338" y="48"/>
                    <a:pt x="341" y="50"/>
                    <a:pt x="336" y="58"/>
                  </a:cubicBezTo>
                  <a:cubicBezTo>
                    <a:pt x="331" y="66"/>
                    <a:pt x="328" y="77"/>
                    <a:pt x="329" y="84"/>
                  </a:cubicBezTo>
                  <a:cubicBezTo>
                    <a:pt x="329" y="84"/>
                    <a:pt x="330" y="85"/>
                    <a:pt x="330" y="85"/>
                  </a:cubicBezTo>
                  <a:cubicBezTo>
                    <a:pt x="332" y="86"/>
                    <a:pt x="334" y="87"/>
                    <a:pt x="337" y="87"/>
                  </a:cubicBezTo>
                  <a:cubicBezTo>
                    <a:pt x="343" y="87"/>
                    <a:pt x="351" y="84"/>
                    <a:pt x="359" y="80"/>
                  </a:cubicBezTo>
                  <a:cubicBezTo>
                    <a:pt x="362" y="78"/>
                    <a:pt x="365" y="78"/>
                    <a:pt x="367" y="78"/>
                  </a:cubicBezTo>
                  <a:cubicBezTo>
                    <a:pt x="369" y="78"/>
                    <a:pt x="370" y="79"/>
                    <a:pt x="372" y="81"/>
                  </a:cubicBezTo>
                  <a:cubicBezTo>
                    <a:pt x="373" y="83"/>
                    <a:pt x="373" y="83"/>
                    <a:pt x="373" y="83"/>
                  </a:cubicBezTo>
                  <a:cubicBezTo>
                    <a:pt x="376" y="86"/>
                    <a:pt x="378" y="89"/>
                    <a:pt x="371" y="96"/>
                  </a:cubicBezTo>
                  <a:cubicBezTo>
                    <a:pt x="365" y="102"/>
                    <a:pt x="358" y="112"/>
                    <a:pt x="358" y="119"/>
                  </a:cubicBezTo>
                  <a:cubicBezTo>
                    <a:pt x="358" y="119"/>
                    <a:pt x="358" y="120"/>
                    <a:pt x="358" y="120"/>
                  </a:cubicBezTo>
                  <a:cubicBezTo>
                    <a:pt x="361" y="124"/>
                    <a:pt x="368" y="125"/>
                    <a:pt x="373" y="125"/>
                  </a:cubicBezTo>
                  <a:cubicBezTo>
                    <a:pt x="378" y="125"/>
                    <a:pt x="383" y="124"/>
                    <a:pt x="388" y="123"/>
                  </a:cubicBezTo>
                  <a:cubicBezTo>
                    <a:pt x="390" y="122"/>
                    <a:pt x="392" y="122"/>
                    <a:pt x="393" y="122"/>
                  </a:cubicBezTo>
                  <a:cubicBezTo>
                    <a:pt x="398" y="122"/>
                    <a:pt x="398" y="124"/>
                    <a:pt x="400" y="127"/>
                  </a:cubicBezTo>
                  <a:cubicBezTo>
                    <a:pt x="400" y="129"/>
                    <a:pt x="400" y="129"/>
                    <a:pt x="400" y="129"/>
                  </a:cubicBezTo>
                  <a:cubicBezTo>
                    <a:pt x="402" y="133"/>
                    <a:pt x="403" y="136"/>
                    <a:pt x="395" y="141"/>
                  </a:cubicBezTo>
                  <a:cubicBezTo>
                    <a:pt x="388" y="145"/>
                    <a:pt x="379" y="153"/>
                    <a:pt x="377" y="160"/>
                  </a:cubicBezTo>
                  <a:cubicBezTo>
                    <a:pt x="376" y="160"/>
                    <a:pt x="376" y="161"/>
                    <a:pt x="377" y="161"/>
                  </a:cubicBezTo>
                  <a:cubicBezTo>
                    <a:pt x="379" y="168"/>
                    <a:pt x="395" y="171"/>
                    <a:pt x="404" y="172"/>
                  </a:cubicBezTo>
                  <a:cubicBezTo>
                    <a:pt x="414" y="172"/>
                    <a:pt x="414" y="175"/>
                    <a:pt x="415" y="179"/>
                  </a:cubicBezTo>
                  <a:cubicBezTo>
                    <a:pt x="415" y="181"/>
                    <a:pt x="415" y="181"/>
                    <a:pt x="415" y="181"/>
                  </a:cubicBezTo>
                  <a:cubicBezTo>
                    <a:pt x="415" y="185"/>
                    <a:pt x="416" y="188"/>
                    <a:pt x="406" y="191"/>
                  </a:cubicBezTo>
                  <a:cubicBezTo>
                    <a:pt x="398" y="193"/>
                    <a:pt x="387" y="199"/>
                    <a:pt x="384" y="205"/>
                  </a:cubicBezTo>
                  <a:cubicBezTo>
                    <a:pt x="384" y="205"/>
                    <a:pt x="384" y="206"/>
                    <a:pt x="384" y="206"/>
                  </a:cubicBezTo>
                  <a:cubicBezTo>
                    <a:pt x="385" y="214"/>
                    <a:pt x="399" y="220"/>
                    <a:pt x="407" y="223"/>
                  </a:cubicBezTo>
                  <a:cubicBezTo>
                    <a:pt x="417" y="225"/>
                    <a:pt x="416" y="229"/>
                    <a:pt x="416" y="233"/>
                  </a:cubicBezTo>
                  <a:cubicBezTo>
                    <a:pt x="416" y="234"/>
                    <a:pt x="416" y="234"/>
                    <a:pt x="416" y="234"/>
                  </a:cubicBezTo>
                  <a:cubicBezTo>
                    <a:pt x="415" y="239"/>
                    <a:pt x="415" y="242"/>
                    <a:pt x="405" y="242"/>
                  </a:cubicBezTo>
                  <a:cubicBezTo>
                    <a:pt x="396" y="242"/>
                    <a:pt x="384" y="245"/>
                    <a:pt x="380" y="249"/>
                  </a:cubicBezTo>
                  <a:cubicBezTo>
                    <a:pt x="379" y="250"/>
                    <a:pt x="379" y="250"/>
                    <a:pt x="379" y="251"/>
                  </a:cubicBezTo>
                  <a:cubicBezTo>
                    <a:pt x="378" y="258"/>
                    <a:pt x="390" y="269"/>
                    <a:pt x="397" y="273"/>
                  </a:cubicBezTo>
                  <a:cubicBezTo>
                    <a:pt x="406" y="278"/>
                    <a:pt x="405" y="281"/>
                    <a:pt x="403" y="285"/>
                  </a:cubicBezTo>
                  <a:cubicBezTo>
                    <a:pt x="402" y="287"/>
                    <a:pt x="402" y="287"/>
                    <a:pt x="402" y="287"/>
                  </a:cubicBezTo>
                  <a:cubicBezTo>
                    <a:pt x="401" y="290"/>
                    <a:pt x="400" y="292"/>
                    <a:pt x="396" y="292"/>
                  </a:cubicBezTo>
                  <a:cubicBezTo>
                    <a:pt x="394" y="292"/>
                    <a:pt x="392" y="292"/>
                    <a:pt x="390" y="291"/>
                  </a:cubicBezTo>
                  <a:cubicBezTo>
                    <a:pt x="385" y="290"/>
                    <a:pt x="380" y="289"/>
                    <a:pt x="376" y="289"/>
                  </a:cubicBezTo>
                  <a:cubicBezTo>
                    <a:pt x="372" y="289"/>
                    <a:pt x="367" y="290"/>
                    <a:pt x="364" y="292"/>
                  </a:cubicBezTo>
                  <a:cubicBezTo>
                    <a:pt x="363" y="292"/>
                    <a:pt x="363" y="292"/>
                    <a:pt x="363" y="293"/>
                  </a:cubicBezTo>
                  <a:cubicBezTo>
                    <a:pt x="359" y="300"/>
                    <a:pt x="368" y="313"/>
                    <a:pt x="375" y="319"/>
                  </a:cubicBezTo>
                  <a:cubicBezTo>
                    <a:pt x="382" y="326"/>
                    <a:pt x="380" y="329"/>
                    <a:pt x="377" y="332"/>
                  </a:cubicBezTo>
                  <a:cubicBezTo>
                    <a:pt x="376" y="333"/>
                    <a:pt x="376" y="333"/>
                    <a:pt x="376" y="333"/>
                  </a:cubicBezTo>
                  <a:cubicBezTo>
                    <a:pt x="374" y="336"/>
                    <a:pt x="373" y="337"/>
                    <a:pt x="370" y="337"/>
                  </a:cubicBezTo>
                  <a:cubicBezTo>
                    <a:pt x="368" y="337"/>
                    <a:pt x="366" y="336"/>
                    <a:pt x="363" y="335"/>
                  </a:cubicBezTo>
                  <a:cubicBezTo>
                    <a:pt x="355" y="331"/>
                    <a:pt x="347" y="328"/>
                    <a:pt x="341" y="328"/>
                  </a:cubicBezTo>
                  <a:cubicBezTo>
                    <a:pt x="339" y="328"/>
                    <a:pt x="337" y="328"/>
                    <a:pt x="336" y="329"/>
                  </a:cubicBezTo>
                  <a:cubicBezTo>
                    <a:pt x="335" y="329"/>
                    <a:pt x="335" y="330"/>
                    <a:pt x="335" y="330"/>
                  </a:cubicBezTo>
                  <a:cubicBezTo>
                    <a:pt x="332" y="336"/>
                    <a:pt x="336" y="348"/>
                    <a:pt x="341" y="357"/>
                  </a:cubicBezTo>
                  <a:cubicBezTo>
                    <a:pt x="347" y="365"/>
                    <a:pt x="344" y="367"/>
                    <a:pt x="341" y="370"/>
                  </a:cubicBezTo>
                  <a:cubicBezTo>
                    <a:pt x="339" y="371"/>
                    <a:pt x="339" y="371"/>
                    <a:pt x="339" y="371"/>
                  </a:cubicBezTo>
                  <a:cubicBezTo>
                    <a:pt x="338" y="372"/>
                    <a:pt x="336" y="374"/>
                    <a:pt x="335" y="374"/>
                  </a:cubicBezTo>
                  <a:cubicBezTo>
                    <a:pt x="332" y="374"/>
                    <a:pt x="330" y="372"/>
                    <a:pt x="327" y="369"/>
                  </a:cubicBezTo>
                  <a:cubicBezTo>
                    <a:pt x="320" y="364"/>
                    <a:pt x="310" y="358"/>
                    <a:pt x="303" y="358"/>
                  </a:cubicBezTo>
                  <a:cubicBezTo>
                    <a:pt x="302" y="358"/>
                    <a:pt x="301" y="358"/>
                    <a:pt x="300" y="358"/>
                  </a:cubicBezTo>
                  <a:cubicBezTo>
                    <a:pt x="299" y="359"/>
                    <a:pt x="299" y="359"/>
                    <a:pt x="298" y="359"/>
                  </a:cubicBezTo>
                  <a:cubicBezTo>
                    <a:pt x="295" y="365"/>
                    <a:pt x="297" y="377"/>
                    <a:pt x="299" y="386"/>
                  </a:cubicBezTo>
                  <a:cubicBezTo>
                    <a:pt x="302" y="395"/>
                    <a:pt x="299" y="396"/>
                    <a:pt x="295" y="398"/>
                  </a:cubicBezTo>
                  <a:cubicBezTo>
                    <a:pt x="293" y="399"/>
                    <a:pt x="293" y="399"/>
                    <a:pt x="293" y="399"/>
                  </a:cubicBezTo>
                  <a:cubicBezTo>
                    <a:pt x="292" y="400"/>
                    <a:pt x="290" y="400"/>
                    <a:pt x="289" y="400"/>
                  </a:cubicBezTo>
                  <a:cubicBezTo>
                    <a:pt x="288" y="400"/>
                    <a:pt x="286" y="400"/>
                    <a:pt x="281" y="394"/>
                  </a:cubicBezTo>
                  <a:cubicBezTo>
                    <a:pt x="277" y="387"/>
                    <a:pt x="267" y="376"/>
                    <a:pt x="259" y="376"/>
                  </a:cubicBezTo>
                  <a:cubicBezTo>
                    <a:pt x="258" y="376"/>
                    <a:pt x="258" y="376"/>
                    <a:pt x="258" y="376"/>
                  </a:cubicBezTo>
                  <a:cubicBezTo>
                    <a:pt x="258" y="376"/>
                    <a:pt x="257" y="376"/>
                    <a:pt x="257" y="377"/>
                  </a:cubicBezTo>
                  <a:cubicBezTo>
                    <a:pt x="252" y="382"/>
                    <a:pt x="250" y="394"/>
                    <a:pt x="250" y="403"/>
                  </a:cubicBezTo>
                  <a:cubicBezTo>
                    <a:pt x="251" y="412"/>
                    <a:pt x="248" y="413"/>
                    <a:pt x="243" y="413"/>
                  </a:cubicBezTo>
                  <a:cubicBezTo>
                    <a:pt x="242" y="414"/>
                    <a:pt x="242" y="414"/>
                    <a:pt x="242" y="414"/>
                  </a:cubicBezTo>
                  <a:cubicBezTo>
                    <a:pt x="241" y="414"/>
                    <a:pt x="240" y="414"/>
                    <a:pt x="239" y="414"/>
                  </a:cubicBezTo>
                  <a:cubicBezTo>
                    <a:pt x="237" y="414"/>
                    <a:pt x="234" y="414"/>
                    <a:pt x="232" y="406"/>
                  </a:cubicBezTo>
                  <a:cubicBezTo>
                    <a:pt x="228" y="397"/>
                    <a:pt x="221" y="383"/>
                    <a:pt x="213" y="383"/>
                  </a:cubicBezTo>
                  <a:cubicBezTo>
                    <a:pt x="213" y="383"/>
                    <a:pt x="213" y="383"/>
                    <a:pt x="213" y="383"/>
                  </a:cubicBezTo>
                  <a:cubicBezTo>
                    <a:pt x="213" y="383"/>
                    <a:pt x="212" y="383"/>
                    <a:pt x="212" y="383"/>
                  </a:cubicBezTo>
                  <a:cubicBezTo>
                    <a:pt x="206" y="387"/>
                    <a:pt x="201" y="398"/>
                    <a:pt x="199" y="406"/>
                  </a:cubicBezTo>
                  <a:cubicBezTo>
                    <a:pt x="197" y="415"/>
                    <a:pt x="194" y="415"/>
                    <a:pt x="192" y="415"/>
                  </a:cubicBezTo>
                  <a:cubicBezTo>
                    <a:pt x="191" y="415"/>
                    <a:pt x="190" y="415"/>
                    <a:pt x="190" y="415"/>
                  </a:cubicBezTo>
                  <a:cubicBezTo>
                    <a:pt x="188" y="415"/>
                    <a:pt x="188" y="415"/>
                    <a:pt x="188" y="415"/>
                  </a:cubicBezTo>
                  <a:cubicBezTo>
                    <a:pt x="184" y="414"/>
                    <a:pt x="180" y="414"/>
                    <a:pt x="180" y="404"/>
                  </a:cubicBezTo>
                  <a:cubicBezTo>
                    <a:pt x="180" y="395"/>
                    <a:pt x="176" y="380"/>
                    <a:pt x="169" y="378"/>
                  </a:cubicBezTo>
                  <a:cubicBezTo>
                    <a:pt x="168" y="377"/>
                    <a:pt x="168" y="377"/>
                    <a:pt x="168" y="377"/>
                  </a:cubicBezTo>
                  <a:cubicBezTo>
                    <a:pt x="167" y="378"/>
                    <a:pt x="167" y="378"/>
                    <a:pt x="167" y="378"/>
                  </a:cubicBezTo>
                  <a:cubicBezTo>
                    <a:pt x="161" y="380"/>
                    <a:pt x="153" y="389"/>
                    <a:pt x="149" y="397"/>
                  </a:cubicBezTo>
                  <a:cubicBezTo>
                    <a:pt x="145" y="404"/>
                    <a:pt x="142" y="404"/>
                    <a:pt x="142" y="404"/>
                  </a:cubicBezTo>
                  <a:cubicBezTo>
                    <a:pt x="140" y="404"/>
                    <a:pt x="139" y="403"/>
                    <a:pt x="137" y="402"/>
                  </a:cubicBezTo>
                  <a:cubicBezTo>
                    <a:pt x="136" y="402"/>
                    <a:pt x="136" y="402"/>
                    <a:pt x="136" y="402"/>
                  </a:cubicBezTo>
                  <a:cubicBezTo>
                    <a:pt x="132" y="400"/>
                    <a:pt x="129" y="399"/>
                    <a:pt x="131" y="390"/>
                  </a:cubicBezTo>
                  <a:cubicBezTo>
                    <a:pt x="133" y="381"/>
                    <a:pt x="133" y="365"/>
                    <a:pt x="127" y="361"/>
                  </a:cubicBezTo>
                  <a:cubicBezTo>
                    <a:pt x="126" y="361"/>
                    <a:pt x="126" y="360"/>
                    <a:pt x="125" y="360"/>
                  </a:cubicBezTo>
                  <a:cubicBezTo>
                    <a:pt x="125" y="360"/>
                    <a:pt x="125" y="360"/>
                    <a:pt x="125" y="360"/>
                  </a:cubicBezTo>
                  <a:cubicBezTo>
                    <a:pt x="119" y="361"/>
                    <a:pt x="109" y="368"/>
                    <a:pt x="103" y="374"/>
                  </a:cubicBezTo>
                  <a:cubicBezTo>
                    <a:pt x="100" y="377"/>
                    <a:pt x="97" y="379"/>
                    <a:pt x="95" y="379"/>
                  </a:cubicBezTo>
                  <a:cubicBezTo>
                    <a:pt x="93" y="379"/>
                    <a:pt x="92" y="378"/>
                    <a:pt x="90" y="377"/>
                  </a:cubicBezTo>
                  <a:cubicBezTo>
                    <a:pt x="89" y="376"/>
                    <a:pt x="89" y="376"/>
                    <a:pt x="89" y="376"/>
                  </a:cubicBezTo>
                  <a:cubicBezTo>
                    <a:pt x="85" y="373"/>
                    <a:pt x="82" y="372"/>
                    <a:pt x="87" y="363"/>
                  </a:cubicBezTo>
                  <a:cubicBezTo>
                    <a:pt x="91" y="355"/>
                    <a:pt x="96" y="340"/>
                    <a:pt x="91" y="334"/>
                  </a:cubicBezTo>
                  <a:cubicBezTo>
                    <a:pt x="90" y="334"/>
                    <a:pt x="90" y="333"/>
                    <a:pt x="89" y="333"/>
                  </a:cubicBezTo>
                  <a:cubicBezTo>
                    <a:pt x="88" y="333"/>
                    <a:pt x="88" y="333"/>
                    <a:pt x="87" y="333"/>
                  </a:cubicBezTo>
                  <a:cubicBezTo>
                    <a:pt x="80" y="333"/>
                    <a:pt x="70" y="337"/>
                    <a:pt x="64" y="341"/>
                  </a:cubicBezTo>
                  <a:cubicBezTo>
                    <a:pt x="61" y="343"/>
                    <a:pt x="58" y="344"/>
                    <a:pt x="56" y="344"/>
                  </a:cubicBezTo>
                  <a:cubicBezTo>
                    <a:pt x="54" y="344"/>
                    <a:pt x="53" y="342"/>
                    <a:pt x="51" y="340"/>
                  </a:cubicBezTo>
                  <a:cubicBezTo>
                    <a:pt x="50" y="339"/>
                    <a:pt x="50" y="339"/>
                    <a:pt x="50" y="339"/>
                  </a:cubicBezTo>
                  <a:cubicBezTo>
                    <a:pt x="47" y="335"/>
                    <a:pt x="45" y="333"/>
                    <a:pt x="52" y="326"/>
                  </a:cubicBezTo>
                  <a:cubicBezTo>
                    <a:pt x="58" y="319"/>
                    <a:pt x="66" y="305"/>
                    <a:pt x="63" y="299"/>
                  </a:cubicBezTo>
                  <a:cubicBezTo>
                    <a:pt x="62" y="298"/>
                    <a:pt x="62" y="298"/>
                    <a:pt x="62" y="297"/>
                  </a:cubicBezTo>
                  <a:cubicBezTo>
                    <a:pt x="59" y="296"/>
                    <a:pt x="56" y="296"/>
                    <a:pt x="51" y="296"/>
                  </a:cubicBezTo>
                  <a:cubicBezTo>
                    <a:pt x="46" y="296"/>
                    <a:pt x="41" y="297"/>
                    <a:pt x="35" y="298"/>
                  </a:cubicBezTo>
                  <a:cubicBezTo>
                    <a:pt x="33" y="299"/>
                    <a:pt x="31" y="299"/>
                    <a:pt x="29" y="299"/>
                  </a:cubicBezTo>
                  <a:cubicBezTo>
                    <a:pt x="25" y="299"/>
                    <a:pt x="24" y="297"/>
                    <a:pt x="23" y="294"/>
                  </a:cubicBezTo>
                  <a:cubicBezTo>
                    <a:pt x="22" y="293"/>
                    <a:pt x="22" y="293"/>
                    <a:pt x="22" y="293"/>
                  </a:cubicBezTo>
                  <a:cubicBezTo>
                    <a:pt x="20" y="289"/>
                    <a:pt x="19" y="286"/>
                    <a:pt x="27" y="281"/>
                  </a:cubicBezTo>
                  <a:cubicBezTo>
                    <a:pt x="35" y="276"/>
                    <a:pt x="46" y="265"/>
                    <a:pt x="45" y="258"/>
                  </a:cubicBezTo>
                  <a:cubicBezTo>
                    <a:pt x="45" y="257"/>
                    <a:pt x="44" y="256"/>
                    <a:pt x="44" y="256"/>
                  </a:cubicBezTo>
                  <a:cubicBezTo>
                    <a:pt x="39" y="252"/>
                    <a:pt x="28" y="250"/>
                    <a:pt x="19" y="250"/>
                  </a:cubicBezTo>
                  <a:cubicBezTo>
                    <a:pt x="18" y="250"/>
                    <a:pt x="18" y="250"/>
                    <a:pt x="18" y="250"/>
                  </a:cubicBezTo>
                  <a:cubicBezTo>
                    <a:pt x="18" y="250"/>
                    <a:pt x="17" y="250"/>
                    <a:pt x="17" y="250"/>
                  </a:cubicBezTo>
                  <a:cubicBezTo>
                    <a:pt x="9" y="250"/>
                    <a:pt x="8" y="247"/>
                    <a:pt x="7" y="242"/>
                  </a:cubicBezTo>
                  <a:cubicBezTo>
                    <a:pt x="7" y="241"/>
                    <a:pt x="7" y="241"/>
                    <a:pt x="7" y="241"/>
                  </a:cubicBezTo>
                  <a:cubicBezTo>
                    <a:pt x="6" y="237"/>
                    <a:pt x="6" y="233"/>
                    <a:pt x="15" y="231"/>
                  </a:cubicBezTo>
                  <a:cubicBezTo>
                    <a:pt x="24" y="228"/>
                    <a:pt x="38" y="220"/>
                    <a:pt x="38" y="212"/>
                  </a:cubicBezTo>
                  <a:cubicBezTo>
                    <a:pt x="38" y="212"/>
                    <a:pt x="38" y="211"/>
                    <a:pt x="38" y="211"/>
                  </a:cubicBezTo>
                  <a:cubicBezTo>
                    <a:pt x="34" y="205"/>
                    <a:pt x="23" y="201"/>
                    <a:pt x="15" y="198"/>
                  </a:cubicBezTo>
                  <a:cubicBezTo>
                    <a:pt x="5" y="196"/>
                    <a:pt x="6" y="193"/>
                    <a:pt x="6" y="189"/>
                  </a:cubicBezTo>
                  <a:cubicBezTo>
                    <a:pt x="6" y="187"/>
                    <a:pt x="6" y="187"/>
                    <a:pt x="6" y="187"/>
                  </a:cubicBezTo>
                  <a:cubicBezTo>
                    <a:pt x="7" y="183"/>
                    <a:pt x="7" y="180"/>
                    <a:pt x="17" y="179"/>
                  </a:cubicBezTo>
                  <a:cubicBezTo>
                    <a:pt x="26" y="179"/>
                    <a:pt x="41" y="175"/>
                    <a:pt x="43" y="168"/>
                  </a:cubicBezTo>
                  <a:cubicBezTo>
                    <a:pt x="44" y="167"/>
                    <a:pt x="44" y="167"/>
                    <a:pt x="43" y="166"/>
                  </a:cubicBezTo>
                  <a:cubicBezTo>
                    <a:pt x="41" y="160"/>
                    <a:pt x="32" y="152"/>
                    <a:pt x="24" y="148"/>
                  </a:cubicBezTo>
                  <a:cubicBezTo>
                    <a:pt x="16" y="143"/>
                    <a:pt x="17" y="140"/>
                    <a:pt x="19" y="136"/>
                  </a:cubicBezTo>
                  <a:cubicBezTo>
                    <a:pt x="19" y="135"/>
                    <a:pt x="19" y="135"/>
                    <a:pt x="19" y="135"/>
                  </a:cubicBezTo>
                  <a:cubicBezTo>
                    <a:pt x="20" y="131"/>
                    <a:pt x="21" y="129"/>
                    <a:pt x="26" y="129"/>
                  </a:cubicBezTo>
                  <a:cubicBezTo>
                    <a:pt x="27" y="129"/>
                    <a:pt x="29" y="129"/>
                    <a:pt x="31" y="130"/>
                  </a:cubicBezTo>
                  <a:cubicBezTo>
                    <a:pt x="35" y="131"/>
                    <a:pt x="39" y="131"/>
                    <a:pt x="43" y="131"/>
                  </a:cubicBezTo>
                  <a:cubicBezTo>
                    <a:pt x="48" y="131"/>
                    <a:pt x="57" y="130"/>
                    <a:pt x="60" y="126"/>
                  </a:cubicBezTo>
                  <a:cubicBezTo>
                    <a:pt x="60" y="125"/>
                    <a:pt x="61" y="125"/>
                    <a:pt x="60" y="124"/>
                  </a:cubicBezTo>
                  <a:cubicBezTo>
                    <a:pt x="60" y="118"/>
                    <a:pt x="53" y="108"/>
                    <a:pt x="47" y="102"/>
                  </a:cubicBezTo>
                  <a:cubicBezTo>
                    <a:pt x="40" y="95"/>
                    <a:pt x="42" y="93"/>
                    <a:pt x="44" y="89"/>
                  </a:cubicBezTo>
                  <a:cubicBezTo>
                    <a:pt x="45" y="88"/>
                    <a:pt x="45" y="88"/>
                    <a:pt x="45" y="88"/>
                  </a:cubicBezTo>
                  <a:cubicBezTo>
                    <a:pt x="47" y="85"/>
                    <a:pt x="48" y="84"/>
                    <a:pt x="51" y="84"/>
                  </a:cubicBezTo>
                  <a:cubicBezTo>
                    <a:pt x="52" y="84"/>
                    <a:pt x="55" y="85"/>
                    <a:pt x="58" y="86"/>
                  </a:cubicBezTo>
                  <a:cubicBezTo>
                    <a:pt x="65" y="90"/>
                    <a:pt x="74" y="92"/>
                    <a:pt x="79" y="92"/>
                  </a:cubicBezTo>
                  <a:cubicBezTo>
                    <a:pt x="82" y="92"/>
                    <a:pt x="84" y="91"/>
                    <a:pt x="86" y="91"/>
                  </a:cubicBezTo>
                  <a:cubicBezTo>
                    <a:pt x="86" y="90"/>
                    <a:pt x="87" y="90"/>
                    <a:pt x="87" y="90"/>
                  </a:cubicBezTo>
                  <a:cubicBezTo>
                    <a:pt x="90" y="83"/>
                    <a:pt x="85" y="69"/>
                    <a:pt x="81" y="62"/>
                  </a:cubicBezTo>
                  <a:cubicBezTo>
                    <a:pt x="76" y="54"/>
                    <a:pt x="79" y="52"/>
                    <a:pt x="82" y="49"/>
                  </a:cubicBezTo>
                  <a:cubicBezTo>
                    <a:pt x="84" y="48"/>
                    <a:pt x="84" y="48"/>
                    <a:pt x="84" y="48"/>
                  </a:cubicBezTo>
                  <a:cubicBezTo>
                    <a:pt x="85" y="47"/>
                    <a:pt x="87" y="46"/>
                    <a:pt x="89" y="46"/>
                  </a:cubicBezTo>
                  <a:cubicBezTo>
                    <a:pt x="91" y="46"/>
                    <a:pt x="93" y="47"/>
                    <a:pt x="96" y="50"/>
                  </a:cubicBezTo>
                  <a:cubicBezTo>
                    <a:pt x="103" y="56"/>
                    <a:pt x="113" y="63"/>
                    <a:pt x="119" y="63"/>
                  </a:cubicBezTo>
                  <a:cubicBezTo>
                    <a:pt x="120" y="63"/>
                    <a:pt x="120" y="63"/>
                    <a:pt x="120" y="63"/>
                  </a:cubicBezTo>
                  <a:cubicBezTo>
                    <a:pt x="120" y="63"/>
                    <a:pt x="121" y="63"/>
                    <a:pt x="121" y="63"/>
                  </a:cubicBezTo>
                  <a:cubicBezTo>
                    <a:pt x="127" y="58"/>
                    <a:pt x="126" y="42"/>
                    <a:pt x="124" y="33"/>
                  </a:cubicBezTo>
                  <a:cubicBezTo>
                    <a:pt x="121" y="24"/>
                    <a:pt x="124" y="23"/>
                    <a:pt x="128" y="21"/>
                  </a:cubicBezTo>
                  <a:cubicBezTo>
                    <a:pt x="130" y="21"/>
                    <a:pt x="130" y="21"/>
                    <a:pt x="130" y="21"/>
                  </a:cubicBezTo>
                  <a:cubicBezTo>
                    <a:pt x="131" y="20"/>
                    <a:pt x="133" y="19"/>
                    <a:pt x="134" y="19"/>
                  </a:cubicBezTo>
                  <a:cubicBezTo>
                    <a:pt x="135" y="19"/>
                    <a:pt x="138" y="19"/>
                    <a:pt x="142" y="26"/>
                  </a:cubicBezTo>
                  <a:cubicBezTo>
                    <a:pt x="146" y="33"/>
                    <a:pt x="154" y="42"/>
                    <a:pt x="160" y="44"/>
                  </a:cubicBezTo>
                  <a:cubicBezTo>
                    <a:pt x="161" y="44"/>
                    <a:pt x="161" y="44"/>
                    <a:pt x="161" y="44"/>
                  </a:cubicBezTo>
                  <a:cubicBezTo>
                    <a:pt x="161" y="44"/>
                    <a:pt x="162" y="44"/>
                    <a:pt x="162" y="44"/>
                  </a:cubicBezTo>
                  <a:cubicBezTo>
                    <a:pt x="169" y="42"/>
                    <a:pt x="172" y="26"/>
                    <a:pt x="173" y="17"/>
                  </a:cubicBezTo>
                  <a:cubicBezTo>
                    <a:pt x="173" y="7"/>
                    <a:pt x="176" y="7"/>
                    <a:pt x="180" y="6"/>
                  </a:cubicBezTo>
                  <a:cubicBezTo>
                    <a:pt x="182" y="6"/>
                    <a:pt x="182" y="6"/>
                    <a:pt x="182" y="6"/>
                  </a:cubicBezTo>
                  <a:cubicBezTo>
                    <a:pt x="183" y="6"/>
                    <a:pt x="184" y="6"/>
                    <a:pt x="185" y="6"/>
                  </a:cubicBezTo>
                  <a:cubicBezTo>
                    <a:pt x="186" y="6"/>
                    <a:pt x="189" y="6"/>
                    <a:pt x="192" y="14"/>
                  </a:cubicBezTo>
                  <a:cubicBezTo>
                    <a:pt x="194" y="23"/>
                    <a:pt x="200" y="34"/>
                    <a:pt x="205" y="37"/>
                  </a:cubicBezTo>
                  <a:cubicBezTo>
                    <a:pt x="206" y="37"/>
                    <a:pt x="206" y="37"/>
                    <a:pt x="207" y="37"/>
                  </a:cubicBezTo>
                  <a:moveTo>
                    <a:pt x="231" y="0"/>
                  </a:moveTo>
                  <a:cubicBezTo>
                    <a:pt x="225" y="0"/>
                    <a:pt x="221" y="4"/>
                    <a:pt x="219" y="12"/>
                  </a:cubicBezTo>
                  <a:cubicBezTo>
                    <a:pt x="216" y="22"/>
                    <a:pt x="211" y="31"/>
                    <a:pt x="207" y="32"/>
                  </a:cubicBezTo>
                  <a:cubicBezTo>
                    <a:pt x="203" y="29"/>
                    <a:pt x="199" y="21"/>
                    <a:pt x="196" y="13"/>
                  </a:cubicBezTo>
                  <a:cubicBezTo>
                    <a:pt x="194" y="5"/>
                    <a:pt x="190" y="1"/>
                    <a:pt x="185" y="1"/>
                  </a:cubicBezTo>
                  <a:cubicBezTo>
                    <a:pt x="183" y="1"/>
                    <a:pt x="182" y="1"/>
                    <a:pt x="181" y="1"/>
                  </a:cubicBezTo>
                  <a:cubicBezTo>
                    <a:pt x="179" y="1"/>
                    <a:pt x="179" y="1"/>
                    <a:pt x="179" y="1"/>
                  </a:cubicBezTo>
                  <a:cubicBezTo>
                    <a:pt x="173" y="2"/>
                    <a:pt x="168" y="4"/>
                    <a:pt x="168" y="17"/>
                  </a:cubicBezTo>
                  <a:cubicBezTo>
                    <a:pt x="167" y="27"/>
                    <a:pt x="164" y="37"/>
                    <a:pt x="161" y="39"/>
                  </a:cubicBezTo>
                  <a:cubicBezTo>
                    <a:pt x="157" y="37"/>
                    <a:pt x="150" y="31"/>
                    <a:pt x="146" y="24"/>
                  </a:cubicBezTo>
                  <a:cubicBezTo>
                    <a:pt x="142" y="17"/>
                    <a:pt x="139" y="14"/>
                    <a:pt x="134" y="14"/>
                  </a:cubicBezTo>
                  <a:cubicBezTo>
                    <a:pt x="132" y="14"/>
                    <a:pt x="130" y="15"/>
                    <a:pt x="128" y="16"/>
                  </a:cubicBezTo>
                  <a:cubicBezTo>
                    <a:pt x="126" y="17"/>
                    <a:pt x="126" y="17"/>
                    <a:pt x="126" y="17"/>
                  </a:cubicBezTo>
                  <a:cubicBezTo>
                    <a:pt x="121" y="19"/>
                    <a:pt x="116" y="22"/>
                    <a:pt x="119" y="35"/>
                  </a:cubicBezTo>
                  <a:cubicBezTo>
                    <a:pt x="121" y="45"/>
                    <a:pt x="121" y="55"/>
                    <a:pt x="119" y="58"/>
                  </a:cubicBezTo>
                  <a:cubicBezTo>
                    <a:pt x="114" y="57"/>
                    <a:pt x="106" y="52"/>
                    <a:pt x="100" y="47"/>
                  </a:cubicBezTo>
                  <a:cubicBezTo>
                    <a:pt x="96" y="43"/>
                    <a:pt x="92" y="41"/>
                    <a:pt x="89" y="41"/>
                  </a:cubicBezTo>
                  <a:cubicBezTo>
                    <a:pt x="85" y="41"/>
                    <a:pt x="82" y="43"/>
                    <a:pt x="80" y="44"/>
                  </a:cubicBezTo>
                  <a:cubicBezTo>
                    <a:pt x="79" y="45"/>
                    <a:pt x="79" y="45"/>
                    <a:pt x="79" y="45"/>
                  </a:cubicBezTo>
                  <a:cubicBezTo>
                    <a:pt x="74" y="49"/>
                    <a:pt x="70" y="53"/>
                    <a:pt x="77" y="64"/>
                  </a:cubicBezTo>
                  <a:cubicBezTo>
                    <a:pt x="81" y="72"/>
                    <a:pt x="84" y="82"/>
                    <a:pt x="83" y="87"/>
                  </a:cubicBezTo>
                  <a:cubicBezTo>
                    <a:pt x="82" y="87"/>
                    <a:pt x="81" y="87"/>
                    <a:pt x="79" y="87"/>
                  </a:cubicBezTo>
                  <a:cubicBezTo>
                    <a:pt x="74" y="87"/>
                    <a:pt x="67" y="85"/>
                    <a:pt x="60" y="82"/>
                  </a:cubicBezTo>
                  <a:cubicBezTo>
                    <a:pt x="56" y="80"/>
                    <a:pt x="53" y="79"/>
                    <a:pt x="51" y="79"/>
                  </a:cubicBezTo>
                  <a:cubicBezTo>
                    <a:pt x="45" y="79"/>
                    <a:pt x="43" y="82"/>
                    <a:pt x="41" y="85"/>
                  </a:cubicBezTo>
                  <a:cubicBezTo>
                    <a:pt x="40" y="86"/>
                    <a:pt x="40" y="86"/>
                    <a:pt x="40" y="86"/>
                  </a:cubicBezTo>
                  <a:cubicBezTo>
                    <a:pt x="37" y="91"/>
                    <a:pt x="34" y="97"/>
                    <a:pt x="43" y="105"/>
                  </a:cubicBezTo>
                  <a:cubicBezTo>
                    <a:pt x="49" y="111"/>
                    <a:pt x="54" y="119"/>
                    <a:pt x="55" y="124"/>
                  </a:cubicBezTo>
                  <a:cubicBezTo>
                    <a:pt x="54" y="125"/>
                    <a:pt x="50" y="126"/>
                    <a:pt x="43" y="126"/>
                  </a:cubicBezTo>
                  <a:cubicBezTo>
                    <a:pt x="43" y="126"/>
                    <a:pt x="43" y="126"/>
                    <a:pt x="43" y="126"/>
                  </a:cubicBezTo>
                  <a:cubicBezTo>
                    <a:pt x="39" y="126"/>
                    <a:pt x="36" y="126"/>
                    <a:pt x="32" y="125"/>
                  </a:cubicBezTo>
                  <a:cubicBezTo>
                    <a:pt x="30" y="125"/>
                    <a:pt x="28" y="124"/>
                    <a:pt x="26" y="124"/>
                  </a:cubicBezTo>
                  <a:cubicBezTo>
                    <a:pt x="17" y="124"/>
                    <a:pt x="16" y="130"/>
                    <a:pt x="14" y="133"/>
                  </a:cubicBezTo>
                  <a:cubicBezTo>
                    <a:pt x="14" y="134"/>
                    <a:pt x="14" y="134"/>
                    <a:pt x="14" y="134"/>
                  </a:cubicBezTo>
                  <a:cubicBezTo>
                    <a:pt x="12" y="140"/>
                    <a:pt x="10" y="146"/>
                    <a:pt x="22" y="152"/>
                  </a:cubicBezTo>
                  <a:cubicBezTo>
                    <a:pt x="29" y="157"/>
                    <a:pt x="36" y="163"/>
                    <a:pt x="38" y="167"/>
                  </a:cubicBezTo>
                  <a:cubicBezTo>
                    <a:pt x="36" y="170"/>
                    <a:pt x="27" y="174"/>
                    <a:pt x="16" y="174"/>
                  </a:cubicBezTo>
                  <a:cubicBezTo>
                    <a:pt x="3" y="175"/>
                    <a:pt x="2" y="181"/>
                    <a:pt x="1" y="187"/>
                  </a:cubicBezTo>
                  <a:cubicBezTo>
                    <a:pt x="1" y="188"/>
                    <a:pt x="1" y="188"/>
                    <a:pt x="1" y="188"/>
                  </a:cubicBezTo>
                  <a:cubicBezTo>
                    <a:pt x="0" y="194"/>
                    <a:pt x="1" y="200"/>
                    <a:pt x="14" y="203"/>
                  </a:cubicBezTo>
                  <a:cubicBezTo>
                    <a:pt x="22" y="205"/>
                    <a:pt x="30" y="209"/>
                    <a:pt x="33" y="213"/>
                  </a:cubicBezTo>
                  <a:cubicBezTo>
                    <a:pt x="32" y="216"/>
                    <a:pt x="24" y="222"/>
                    <a:pt x="14" y="226"/>
                  </a:cubicBezTo>
                  <a:cubicBezTo>
                    <a:pt x="1" y="230"/>
                    <a:pt x="1" y="236"/>
                    <a:pt x="2" y="242"/>
                  </a:cubicBezTo>
                  <a:cubicBezTo>
                    <a:pt x="3" y="243"/>
                    <a:pt x="3" y="243"/>
                    <a:pt x="3" y="243"/>
                  </a:cubicBezTo>
                  <a:cubicBezTo>
                    <a:pt x="3" y="248"/>
                    <a:pt x="4" y="255"/>
                    <a:pt x="17" y="255"/>
                  </a:cubicBezTo>
                  <a:cubicBezTo>
                    <a:pt x="17" y="255"/>
                    <a:pt x="18" y="255"/>
                    <a:pt x="19" y="255"/>
                  </a:cubicBezTo>
                  <a:cubicBezTo>
                    <a:pt x="19" y="255"/>
                    <a:pt x="19" y="255"/>
                    <a:pt x="19" y="255"/>
                  </a:cubicBezTo>
                  <a:cubicBezTo>
                    <a:pt x="27" y="255"/>
                    <a:pt x="36" y="257"/>
                    <a:pt x="40" y="259"/>
                  </a:cubicBezTo>
                  <a:cubicBezTo>
                    <a:pt x="39" y="263"/>
                    <a:pt x="33" y="271"/>
                    <a:pt x="24" y="276"/>
                  </a:cubicBezTo>
                  <a:cubicBezTo>
                    <a:pt x="13" y="283"/>
                    <a:pt x="15" y="289"/>
                    <a:pt x="18" y="295"/>
                  </a:cubicBezTo>
                  <a:cubicBezTo>
                    <a:pt x="18" y="296"/>
                    <a:pt x="18" y="296"/>
                    <a:pt x="18" y="296"/>
                  </a:cubicBezTo>
                  <a:cubicBezTo>
                    <a:pt x="20" y="299"/>
                    <a:pt x="22" y="304"/>
                    <a:pt x="29" y="304"/>
                  </a:cubicBezTo>
                  <a:cubicBezTo>
                    <a:pt x="31" y="304"/>
                    <a:pt x="34" y="304"/>
                    <a:pt x="37" y="303"/>
                  </a:cubicBezTo>
                  <a:cubicBezTo>
                    <a:pt x="41" y="302"/>
                    <a:pt x="47" y="301"/>
                    <a:pt x="52" y="301"/>
                  </a:cubicBezTo>
                  <a:cubicBezTo>
                    <a:pt x="54" y="301"/>
                    <a:pt x="57" y="301"/>
                    <a:pt x="58" y="302"/>
                  </a:cubicBezTo>
                  <a:cubicBezTo>
                    <a:pt x="59" y="305"/>
                    <a:pt x="55" y="314"/>
                    <a:pt x="48" y="322"/>
                  </a:cubicBezTo>
                  <a:cubicBezTo>
                    <a:pt x="39" y="332"/>
                    <a:pt x="42" y="337"/>
                    <a:pt x="46" y="342"/>
                  </a:cubicBezTo>
                  <a:cubicBezTo>
                    <a:pt x="47" y="343"/>
                    <a:pt x="47" y="343"/>
                    <a:pt x="47" y="343"/>
                  </a:cubicBezTo>
                  <a:cubicBezTo>
                    <a:pt x="49" y="345"/>
                    <a:pt x="52" y="349"/>
                    <a:pt x="56" y="349"/>
                  </a:cubicBezTo>
                  <a:cubicBezTo>
                    <a:pt x="59" y="349"/>
                    <a:pt x="63" y="347"/>
                    <a:pt x="67" y="345"/>
                  </a:cubicBezTo>
                  <a:cubicBezTo>
                    <a:pt x="73" y="341"/>
                    <a:pt x="82" y="338"/>
                    <a:pt x="87" y="338"/>
                  </a:cubicBezTo>
                  <a:cubicBezTo>
                    <a:pt x="87" y="338"/>
                    <a:pt x="87" y="338"/>
                    <a:pt x="87" y="338"/>
                  </a:cubicBezTo>
                  <a:cubicBezTo>
                    <a:pt x="89" y="341"/>
                    <a:pt x="87" y="351"/>
                    <a:pt x="83" y="361"/>
                  </a:cubicBezTo>
                  <a:cubicBezTo>
                    <a:pt x="76" y="372"/>
                    <a:pt x="81" y="377"/>
                    <a:pt x="86" y="380"/>
                  </a:cubicBezTo>
                  <a:cubicBezTo>
                    <a:pt x="87" y="381"/>
                    <a:pt x="87" y="381"/>
                    <a:pt x="87" y="381"/>
                  </a:cubicBezTo>
                  <a:cubicBezTo>
                    <a:pt x="89" y="382"/>
                    <a:pt x="92" y="384"/>
                    <a:pt x="95" y="384"/>
                  </a:cubicBezTo>
                  <a:cubicBezTo>
                    <a:pt x="99" y="384"/>
                    <a:pt x="102" y="382"/>
                    <a:pt x="106" y="378"/>
                  </a:cubicBezTo>
                  <a:cubicBezTo>
                    <a:pt x="112" y="372"/>
                    <a:pt x="120" y="367"/>
                    <a:pt x="125" y="366"/>
                  </a:cubicBezTo>
                  <a:cubicBezTo>
                    <a:pt x="127" y="368"/>
                    <a:pt x="128" y="378"/>
                    <a:pt x="126" y="389"/>
                  </a:cubicBezTo>
                  <a:cubicBezTo>
                    <a:pt x="123" y="402"/>
                    <a:pt x="128" y="405"/>
                    <a:pt x="134" y="407"/>
                  </a:cubicBezTo>
                  <a:cubicBezTo>
                    <a:pt x="135" y="407"/>
                    <a:pt x="135" y="407"/>
                    <a:pt x="135" y="407"/>
                  </a:cubicBezTo>
                  <a:cubicBezTo>
                    <a:pt x="137" y="408"/>
                    <a:pt x="139" y="409"/>
                    <a:pt x="142" y="409"/>
                  </a:cubicBezTo>
                  <a:cubicBezTo>
                    <a:pt x="146" y="409"/>
                    <a:pt x="150" y="405"/>
                    <a:pt x="153" y="399"/>
                  </a:cubicBezTo>
                  <a:cubicBezTo>
                    <a:pt x="157" y="392"/>
                    <a:pt x="164" y="385"/>
                    <a:pt x="168" y="383"/>
                  </a:cubicBezTo>
                  <a:cubicBezTo>
                    <a:pt x="171" y="385"/>
                    <a:pt x="174" y="394"/>
                    <a:pt x="175" y="405"/>
                  </a:cubicBezTo>
                  <a:cubicBezTo>
                    <a:pt x="176" y="418"/>
                    <a:pt x="182" y="419"/>
                    <a:pt x="188" y="420"/>
                  </a:cubicBezTo>
                  <a:cubicBezTo>
                    <a:pt x="189" y="420"/>
                    <a:pt x="189" y="420"/>
                    <a:pt x="189" y="420"/>
                  </a:cubicBezTo>
                  <a:cubicBezTo>
                    <a:pt x="190" y="420"/>
                    <a:pt x="191" y="420"/>
                    <a:pt x="192" y="420"/>
                  </a:cubicBezTo>
                  <a:cubicBezTo>
                    <a:pt x="198" y="420"/>
                    <a:pt x="202" y="416"/>
                    <a:pt x="204" y="407"/>
                  </a:cubicBezTo>
                  <a:cubicBezTo>
                    <a:pt x="206" y="399"/>
                    <a:pt x="210" y="391"/>
                    <a:pt x="214" y="388"/>
                  </a:cubicBezTo>
                  <a:cubicBezTo>
                    <a:pt x="217" y="389"/>
                    <a:pt x="223" y="397"/>
                    <a:pt x="227" y="407"/>
                  </a:cubicBezTo>
                  <a:cubicBezTo>
                    <a:pt x="229" y="415"/>
                    <a:pt x="233" y="419"/>
                    <a:pt x="239" y="419"/>
                  </a:cubicBezTo>
                  <a:cubicBezTo>
                    <a:pt x="240" y="419"/>
                    <a:pt x="241" y="419"/>
                    <a:pt x="243" y="419"/>
                  </a:cubicBezTo>
                  <a:cubicBezTo>
                    <a:pt x="244" y="418"/>
                    <a:pt x="244" y="418"/>
                    <a:pt x="244" y="418"/>
                  </a:cubicBezTo>
                  <a:cubicBezTo>
                    <a:pt x="250" y="417"/>
                    <a:pt x="256" y="415"/>
                    <a:pt x="255" y="402"/>
                  </a:cubicBezTo>
                  <a:cubicBezTo>
                    <a:pt x="255" y="394"/>
                    <a:pt x="257" y="385"/>
                    <a:pt x="260" y="381"/>
                  </a:cubicBezTo>
                  <a:cubicBezTo>
                    <a:pt x="264" y="382"/>
                    <a:pt x="272" y="389"/>
                    <a:pt x="277" y="397"/>
                  </a:cubicBezTo>
                  <a:cubicBezTo>
                    <a:pt x="281" y="403"/>
                    <a:pt x="285" y="405"/>
                    <a:pt x="289" y="405"/>
                  </a:cubicBezTo>
                  <a:cubicBezTo>
                    <a:pt x="292" y="405"/>
                    <a:pt x="294" y="404"/>
                    <a:pt x="296" y="403"/>
                  </a:cubicBezTo>
                  <a:cubicBezTo>
                    <a:pt x="297" y="403"/>
                    <a:pt x="297" y="403"/>
                    <a:pt x="297" y="403"/>
                  </a:cubicBezTo>
                  <a:cubicBezTo>
                    <a:pt x="303" y="400"/>
                    <a:pt x="308" y="397"/>
                    <a:pt x="304" y="384"/>
                  </a:cubicBezTo>
                  <a:cubicBezTo>
                    <a:pt x="302" y="376"/>
                    <a:pt x="301" y="367"/>
                    <a:pt x="303" y="363"/>
                  </a:cubicBezTo>
                  <a:cubicBezTo>
                    <a:pt x="303" y="363"/>
                    <a:pt x="303" y="363"/>
                    <a:pt x="303" y="363"/>
                  </a:cubicBezTo>
                  <a:cubicBezTo>
                    <a:pt x="308" y="363"/>
                    <a:pt x="317" y="367"/>
                    <a:pt x="323" y="373"/>
                  </a:cubicBezTo>
                  <a:cubicBezTo>
                    <a:pt x="327" y="377"/>
                    <a:pt x="331" y="379"/>
                    <a:pt x="335" y="379"/>
                  </a:cubicBezTo>
                  <a:cubicBezTo>
                    <a:pt x="338" y="379"/>
                    <a:pt x="341" y="377"/>
                    <a:pt x="343" y="375"/>
                  </a:cubicBezTo>
                  <a:cubicBezTo>
                    <a:pt x="344" y="374"/>
                    <a:pt x="344" y="374"/>
                    <a:pt x="344" y="374"/>
                  </a:cubicBezTo>
                  <a:cubicBezTo>
                    <a:pt x="349" y="370"/>
                    <a:pt x="353" y="365"/>
                    <a:pt x="346" y="354"/>
                  </a:cubicBezTo>
                  <a:cubicBezTo>
                    <a:pt x="341" y="347"/>
                    <a:pt x="338" y="338"/>
                    <a:pt x="339" y="333"/>
                  </a:cubicBezTo>
                  <a:cubicBezTo>
                    <a:pt x="339" y="333"/>
                    <a:pt x="340" y="333"/>
                    <a:pt x="341" y="333"/>
                  </a:cubicBezTo>
                  <a:cubicBezTo>
                    <a:pt x="346" y="333"/>
                    <a:pt x="354" y="335"/>
                    <a:pt x="360" y="339"/>
                  </a:cubicBezTo>
                  <a:cubicBezTo>
                    <a:pt x="364" y="341"/>
                    <a:pt x="368" y="342"/>
                    <a:pt x="370" y="342"/>
                  </a:cubicBezTo>
                  <a:cubicBezTo>
                    <a:pt x="376" y="342"/>
                    <a:pt x="378" y="339"/>
                    <a:pt x="380" y="336"/>
                  </a:cubicBezTo>
                  <a:cubicBezTo>
                    <a:pt x="381" y="335"/>
                    <a:pt x="381" y="335"/>
                    <a:pt x="381" y="335"/>
                  </a:cubicBezTo>
                  <a:cubicBezTo>
                    <a:pt x="385" y="331"/>
                    <a:pt x="387" y="325"/>
                    <a:pt x="378" y="316"/>
                  </a:cubicBezTo>
                  <a:cubicBezTo>
                    <a:pt x="371" y="308"/>
                    <a:pt x="367" y="299"/>
                    <a:pt x="367" y="296"/>
                  </a:cubicBezTo>
                  <a:cubicBezTo>
                    <a:pt x="369" y="295"/>
                    <a:pt x="372" y="294"/>
                    <a:pt x="376" y="294"/>
                  </a:cubicBezTo>
                  <a:cubicBezTo>
                    <a:pt x="380" y="294"/>
                    <a:pt x="384" y="295"/>
                    <a:pt x="389" y="296"/>
                  </a:cubicBezTo>
                  <a:cubicBezTo>
                    <a:pt x="391" y="297"/>
                    <a:pt x="394" y="297"/>
                    <a:pt x="396" y="297"/>
                  </a:cubicBezTo>
                  <a:cubicBezTo>
                    <a:pt x="403" y="297"/>
                    <a:pt x="406" y="292"/>
                    <a:pt x="407" y="288"/>
                  </a:cubicBezTo>
                  <a:cubicBezTo>
                    <a:pt x="407" y="287"/>
                    <a:pt x="407" y="287"/>
                    <a:pt x="407" y="287"/>
                  </a:cubicBezTo>
                  <a:cubicBezTo>
                    <a:pt x="410" y="282"/>
                    <a:pt x="411" y="276"/>
                    <a:pt x="400" y="269"/>
                  </a:cubicBezTo>
                  <a:cubicBezTo>
                    <a:pt x="391" y="263"/>
                    <a:pt x="384" y="256"/>
                    <a:pt x="384" y="252"/>
                  </a:cubicBezTo>
                  <a:cubicBezTo>
                    <a:pt x="388" y="250"/>
                    <a:pt x="396" y="247"/>
                    <a:pt x="405" y="247"/>
                  </a:cubicBezTo>
                  <a:cubicBezTo>
                    <a:pt x="418" y="247"/>
                    <a:pt x="420" y="241"/>
                    <a:pt x="420" y="235"/>
                  </a:cubicBezTo>
                  <a:cubicBezTo>
                    <a:pt x="421" y="234"/>
                    <a:pt x="421" y="234"/>
                    <a:pt x="421" y="234"/>
                  </a:cubicBezTo>
                  <a:cubicBezTo>
                    <a:pt x="422" y="228"/>
                    <a:pt x="421" y="221"/>
                    <a:pt x="409" y="218"/>
                  </a:cubicBezTo>
                  <a:cubicBezTo>
                    <a:pt x="399" y="215"/>
                    <a:pt x="390" y="210"/>
                    <a:pt x="389" y="206"/>
                  </a:cubicBezTo>
                  <a:cubicBezTo>
                    <a:pt x="392" y="203"/>
                    <a:pt x="400" y="198"/>
                    <a:pt x="408" y="196"/>
                  </a:cubicBezTo>
                  <a:cubicBezTo>
                    <a:pt x="421" y="192"/>
                    <a:pt x="421" y="186"/>
                    <a:pt x="420" y="180"/>
                  </a:cubicBezTo>
                  <a:cubicBezTo>
                    <a:pt x="420" y="179"/>
                    <a:pt x="420" y="179"/>
                    <a:pt x="420" y="179"/>
                  </a:cubicBezTo>
                  <a:cubicBezTo>
                    <a:pt x="419" y="173"/>
                    <a:pt x="417" y="167"/>
                    <a:pt x="404" y="167"/>
                  </a:cubicBezTo>
                  <a:cubicBezTo>
                    <a:pt x="404" y="167"/>
                    <a:pt x="404" y="167"/>
                    <a:pt x="404" y="167"/>
                  </a:cubicBezTo>
                  <a:cubicBezTo>
                    <a:pt x="394" y="166"/>
                    <a:pt x="384" y="163"/>
                    <a:pt x="382" y="160"/>
                  </a:cubicBezTo>
                  <a:cubicBezTo>
                    <a:pt x="384" y="156"/>
                    <a:pt x="390" y="150"/>
                    <a:pt x="397" y="145"/>
                  </a:cubicBezTo>
                  <a:cubicBezTo>
                    <a:pt x="409" y="139"/>
                    <a:pt x="407" y="133"/>
                    <a:pt x="405" y="127"/>
                  </a:cubicBezTo>
                  <a:cubicBezTo>
                    <a:pt x="404" y="126"/>
                    <a:pt x="404" y="126"/>
                    <a:pt x="404" y="126"/>
                  </a:cubicBezTo>
                  <a:cubicBezTo>
                    <a:pt x="403" y="122"/>
                    <a:pt x="401" y="117"/>
                    <a:pt x="393" y="117"/>
                  </a:cubicBezTo>
                  <a:cubicBezTo>
                    <a:pt x="391" y="117"/>
                    <a:pt x="389" y="117"/>
                    <a:pt x="386" y="118"/>
                  </a:cubicBezTo>
                  <a:cubicBezTo>
                    <a:pt x="382" y="119"/>
                    <a:pt x="378" y="120"/>
                    <a:pt x="373" y="120"/>
                  </a:cubicBezTo>
                  <a:cubicBezTo>
                    <a:pt x="368" y="120"/>
                    <a:pt x="364" y="119"/>
                    <a:pt x="363" y="118"/>
                  </a:cubicBezTo>
                  <a:cubicBezTo>
                    <a:pt x="364" y="113"/>
                    <a:pt x="368" y="105"/>
                    <a:pt x="374" y="99"/>
                  </a:cubicBezTo>
                  <a:cubicBezTo>
                    <a:pt x="384" y="90"/>
                    <a:pt x="381" y="84"/>
                    <a:pt x="377" y="79"/>
                  </a:cubicBezTo>
                  <a:cubicBezTo>
                    <a:pt x="376" y="78"/>
                    <a:pt x="376" y="78"/>
                    <a:pt x="376" y="78"/>
                  </a:cubicBezTo>
                  <a:cubicBezTo>
                    <a:pt x="374" y="76"/>
                    <a:pt x="372" y="73"/>
                    <a:pt x="367" y="73"/>
                  </a:cubicBezTo>
                  <a:cubicBezTo>
                    <a:pt x="364" y="73"/>
                    <a:pt x="360" y="74"/>
                    <a:pt x="357" y="76"/>
                  </a:cubicBezTo>
                  <a:cubicBezTo>
                    <a:pt x="350" y="79"/>
                    <a:pt x="342" y="82"/>
                    <a:pt x="337" y="82"/>
                  </a:cubicBezTo>
                  <a:cubicBezTo>
                    <a:pt x="335" y="82"/>
                    <a:pt x="335" y="82"/>
                    <a:pt x="334" y="81"/>
                  </a:cubicBezTo>
                  <a:cubicBezTo>
                    <a:pt x="333" y="77"/>
                    <a:pt x="336" y="68"/>
                    <a:pt x="340" y="61"/>
                  </a:cubicBezTo>
                  <a:cubicBezTo>
                    <a:pt x="347" y="49"/>
                    <a:pt x="342" y="45"/>
                    <a:pt x="337" y="41"/>
                  </a:cubicBezTo>
                  <a:cubicBezTo>
                    <a:pt x="336" y="40"/>
                    <a:pt x="336" y="40"/>
                    <a:pt x="336" y="40"/>
                  </a:cubicBezTo>
                  <a:cubicBezTo>
                    <a:pt x="334" y="39"/>
                    <a:pt x="332" y="37"/>
                    <a:pt x="328" y="37"/>
                  </a:cubicBezTo>
                  <a:cubicBezTo>
                    <a:pt x="325" y="37"/>
                    <a:pt x="321" y="39"/>
                    <a:pt x="317" y="43"/>
                  </a:cubicBezTo>
                  <a:cubicBezTo>
                    <a:pt x="310" y="49"/>
                    <a:pt x="301" y="54"/>
                    <a:pt x="297" y="54"/>
                  </a:cubicBezTo>
                  <a:cubicBezTo>
                    <a:pt x="297" y="54"/>
                    <a:pt x="297" y="54"/>
                    <a:pt x="297" y="54"/>
                  </a:cubicBezTo>
                  <a:cubicBezTo>
                    <a:pt x="295" y="50"/>
                    <a:pt x="295" y="40"/>
                    <a:pt x="297" y="32"/>
                  </a:cubicBezTo>
                  <a:cubicBezTo>
                    <a:pt x="300" y="20"/>
                    <a:pt x="295" y="16"/>
                    <a:pt x="289" y="14"/>
                  </a:cubicBezTo>
                  <a:cubicBezTo>
                    <a:pt x="288" y="14"/>
                    <a:pt x="288" y="14"/>
                    <a:pt x="288" y="14"/>
                  </a:cubicBezTo>
                  <a:cubicBezTo>
                    <a:pt x="286" y="13"/>
                    <a:pt x="284" y="12"/>
                    <a:pt x="282" y="12"/>
                  </a:cubicBezTo>
                  <a:cubicBezTo>
                    <a:pt x="277" y="12"/>
                    <a:pt x="274" y="15"/>
                    <a:pt x="270" y="21"/>
                  </a:cubicBezTo>
                  <a:cubicBezTo>
                    <a:pt x="265" y="30"/>
                    <a:pt x="257" y="37"/>
                    <a:pt x="253" y="37"/>
                  </a:cubicBezTo>
                  <a:cubicBezTo>
                    <a:pt x="250" y="33"/>
                    <a:pt x="248" y="24"/>
                    <a:pt x="248" y="16"/>
                  </a:cubicBezTo>
                  <a:cubicBezTo>
                    <a:pt x="248" y="3"/>
                    <a:pt x="242" y="1"/>
                    <a:pt x="236" y="0"/>
                  </a:cubicBezTo>
                  <a:cubicBezTo>
                    <a:pt x="235" y="0"/>
                    <a:pt x="235" y="0"/>
                    <a:pt x="235" y="0"/>
                  </a:cubicBezTo>
                  <a:cubicBezTo>
                    <a:pt x="233" y="0"/>
                    <a:pt x="232" y="0"/>
                    <a:pt x="2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6" name="Freeform 21325">
              <a:extLst>
                <a:ext uri="{FF2B5EF4-FFF2-40B4-BE49-F238E27FC236}">
                  <a16:creationId xmlns:a16="http://schemas.microsoft.com/office/drawing/2014/main" id="{193474A6-6471-4473-9762-56AEB4BF3ACE}"/>
                </a:ext>
              </a:extLst>
            </p:cNvPr>
            <p:cNvSpPr>
              <a:spLocks noEditPoints="1"/>
            </p:cNvSpPr>
            <p:nvPr userDrawn="1"/>
          </p:nvSpPr>
          <p:spPr bwMode="auto">
            <a:xfrm>
              <a:off x="10762615" y="5119053"/>
              <a:ext cx="847725" cy="836613"/>
            </a:xfrm>
            <a:custGeom>
              <a:avLst/>
              <a:gdLst>
                <a:gd name="T0" fmla="*/ 94 w 419"/>
                <a:gd name="T1" fmla="*/ 122 h 415"/>
                <a:gd name="T2" fmla="*/ 325 w 419"/>
                <a:gd name="T3" fmla="*/ 292 h 415"/>
                <a:gd name="T4" fmla="*/ 220 w 419"/>
                <a:gd name="T5" fmla="*/ 10 h 415"/>
                <a:gd name="T6" fmla="*/ 183 w 419"/>
                <a:gd name="T7" fmla="*/ 1 h 415"/>
                <a:gd name="T8" fmla="*/ 160 w 419"/>
                <a:gd name="T9" fmla="*/ 39 h 415"/>
                <a:gd name="T10" fmla="*/ 127 w 419"/>
                <a:gd name="T11" fmla="*/ 16 h 415"/>
                <a:gd name="T12" fmla="*/ 97 w 419"/>
                <a:gd name="T13" fmla="*/ 46 h 415"/>
                <a:gd name="T14" fmla="*/ 78 w 419"/>
                <a:gd name="T15" fmla="*/ 60 h 415"/>
                <a:gd name="T16" fmla="*/ 58 w 419"/>
                <a:gd name="T17" fmla="*/ 81 h 415"/>
                <a:gd name="T18" fmla="*/ 44 w 419"/>
                <a:gd name="T19" fmla="*/ 101 h 415"/>
                <a:gd name="T20" fmla="*/ 30 w 419"/>
                <a:gd name="T21" fmla="*/ 125 h 415"/>
                <a:gd name="T22" fmla="*/ 22 w 419"/>
                <a:gd name="T23" fmla="*/ 147 h 415"/>
                <a:gd name="T24" fmla="*/ 2 w 419"/>
                <a:gd name="T25" fmla="*/ 185 h 415"/>
                <a:gd name="T26" fmla="*/ 13 w 419"/>
                <a:gd name="T27" fmla="*/ 225 h 415"/>
                <a:gd name="T28" fmla="*/ 17 w 419"/>
                <a:gd name="T29" fmla="*/ 249 h 415"/>
                <a:gd name="T30" fmla="*/ 24 w 419"/>
                <a:gd name="T31" fmla="*/ 276 h 415"/>
                <a:gd name="T32" fmla="*/ 35 w 419"/>
                <a:gd name="T33" fmla="*/ 298 h 415"/>
                <a:gd name="T34" fmla="*/ 48 w 419"/>
                <a:gd name="T35" fmla="*/ 321 h 415"/>
                <a:gd name="T36" fmla="*/ 64 w 419"/>
                <a:gd name="T37" fmla="*/ 340 h 415"/>
                <a:gd name="T38" fmla="*/ 83 w 419"/>
                <a:gd name="T39" fmla="*/ 359 h 415"/>
                <a:gd name="T40" fmla="*/ 103 w 419"/>
                <a:gd name="T41" fmla="*/ 373 h 415"/>
                <a:gd name="T42" fmla="*/ 126 w 419"/>
                <a:gd name="T43" fmla="*/ 392 h 415"/>
                <a:gd name="T44" fmla="*/ 167 w 419"/>
                <a:gd name="T45" fmla="*/ 377 h 415"/>
                <a:gd name="T46" fmla="*/ 191 w 419"/>
                <a:gd name="T47" fmla="*/ 415 h 415"/>
                <a:gd name="T48" fmla="*/ 228 w 419"/>
                <a:gd name="T49" fmla="*/ 404 h 415"/>
                <a:gd name="T50" fmla="*/ 252 w 419"/>
                <a:gd name="T51" fmla="*/ 400 h 415"/>
                <a:gd name="T52" fmla="*/ 278 w 419"/>
                <a:gd name="T53" fmla="*/ 392 h 415"/>
                <a:gd name="T54" fmla="*/ 300 w 419"/>
                <a:gd name="T55" fmla="*/ 382 h 415"/>
                <a:gd name="T56" fmla="*/ 324 w 419"/>
                <a:gd name="T57" fmla="*/ 368 h 415"/>
                <a:gd name="T58" fmla="*/ 342 w 419"/>
                <a:gd name="T59" fmla="*/ 353 h 415"/>
                <a:gd name="T60" fmla="*/ 360 w 419"/>
                <a:gd name="T61" fmla="*/ 334 h 415"/>
                <a:gd name="T62" fmla="*/ 375 w 419"/>
                <a:gd name="T63" fmla="*/ 315 h 415"/>
                <a:gd name="T64" fmla="*/ 388 w 419"/>
                <a:gd name="T65" fmla="*/ 291 h 415"/>
                <a:gd name="T66" fmla="*/ 397 w 419"/>
                <a:gd name="T67" fmla="*/ 268 h 415"/>
                <a:gd name="T68" fmla="*/ 404 w 419"/>
                <a:gd name="T69" fmla="*/ 242 h 415"/>
                <a:gd name="T70" fmla="*/ 385 w 419"/>
                <a:gd name="T71" fmla="*/ 203 h 415"/>
                <a:gd name="T72" fmla="*/ 403 w 419"/>
                <a:gd name="T73" fmla="*/ 166 h 415"/>
                <a:gd name="T74" fmla="*/ 395 w 419"/>
                <a:gd name="T75" fmla="*/ 140 h 415"/>
                <a:gd name="T76" fmla="*/ 386 w 419"/>
                <a:gd name="T77" fmla="*/ 118 h 415"/>
                <a:gd name="T78" fmla="*/ 371 w 419"/>
                <a:gd name="T79" fmla="*/ 94 h 415"/>
                <a:gd name="T80" fmla="*/ 356 w 419"/>
                <a:gd name="T81" fmla="*/ 75 h 415"/>
                <a:gd name="T82" fmla="*/ 336 w 419"/>
                <a:gd name="T83" fmla="*/ 57 h 415"/>
                <a:gd name="T84" fmla="*/ 317 w 419"/>
                <a:gd name="T85" fmla="*/ 42 h 415"/>
                <a:gd name="T86" fmla="*/ 293 w 419"/>
                <a:gd name="T87" fmla="*/ 29 h 415"/>
                <a:gd name="T88" fmla="*/ 271 w 419"/>
                <a:gd name="T89" fmla="*/ 20 h 415"/>
                <a:gd name="T90" fmla="*/ 244 w 419"/>
                <a:gd name="T91" fmla="*/ 1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9" h="415">
                  <a:moveTo>
                    <a:pt x="209" y="351"/>
                  </a:moveTo>
                  <a:cubicBezTo>
                    <a:pt x="180" y="351"/>
                    <a:pt x="150" y="342"/>
                    <a:pt x="124" y="323"/>
                  </a:cubicBezTo>
                  <a:cubicBezTo>
                    <a:pt x="61" y="276"/>
                    <a:pt x="47" y="186"/>
                    <a:pt x="94" y="122"/>
                  </a:cubicBezTo>
                  <a:cubicBezTo>
                    <a:pt x="122" y="84"/>
                    <a:pt x="166" y="64"/>
                    <a:pt x="210" y="64"/>
                  </a:cubicBezTo>
                  <a:cubicBezTo>
                    <a:pt x="239" y="64"/>
                    <a:pt x="269" y="73"/>
                    <a:pt x="295" y="92"/>
                  </a:cubicBezTo>
                  <a:cubicBezTo>
                    <a:pt x="359" y="139"/>
                    <a:pt x="372" y="229"/>
                    <a:pt x="325" y="292"/>
                  </a:cubicBezTo>
                  <a:cubicBezTo>
                    <a:pt x="297" y="331"/>
                    <a:pt x="254" y="351"/>
                    <a:pt x="209" y="351"/>
                  </a:cubicBezTo>
                  <a:moveTo>
                    <a:pt x="229" y="0"/>
                  </a:moveTo>
                  <a:cubicBezTo>
                    <a:pt x="226" y="0"/>
                    <a:pt x="222" y="1"/>
                    <a:pt x="220" y="10"/>
                  </a:cubicBezTo>
                  <a:cubicBezTo>
                    <a:pt x="217" y="20"/>
                    <a:pt x="211" y="31"/>
                    <a:pt x="205" y="32"/>
                  </a:cubicBezTo>
                  <a:cubicBezTo>
                    <a:pt x="201" y="29"/>
                    <a:pt x="195" y="20"/>
                    <a:pt x="193" y="11"/>
                  </a:cubicBezTo>
                  <a:cubicBezTo>
                    <a:pt x="190" y="2"/>
                    <a:pt x="187" y="1"/>
                    <a:pt x="183" y="1"/>
                  </a:cubicBezTo>
                  <a:cubicBezTo>
                    <a:pt x="182" y="1"/>
                    <a:pt x="180" y="1"/>
                    <a:pt x="179" y="1"/>
                  </a:cubicBezTo>
                  <a:cubicBezTo>
                    <a:pt x="174" y="2"/>
                    <a:pt x="169" y="1"/>
                    <a:pt x="169" y="14"/>
                  </a:cubicBezTo>
                  <a:cubicBezTo>
                    <a:pt x="168" y="25"/>
                    <a:pt x="165" y="37"/>
                    <a:pt x="160" y="39"/>
                  </a:cubicBezTo>
                  <a:cubicBezTo>
                    <a:pt x="155" y="37"/>
                    <a:pt x="147" y="30"/>
                    <a:pt x="142" y="22"/>
                  </a:cubicBezTo>
                  <a:cubicBezTo>
                    <a:pt x="139" y="16"/>
                    <a:pt x="136" y="14"/>
                    <a:pt x="133" y="14"/>
                  </a:cubicBezTo>
                  <a:cubicBezTo>
                    <a:pt x="131" y="14"/>
                    <a:pt x="129" y="15"/>
                    <a:pt x="127" y="16"/>
                  </a:cubicBezTo>
                  <a:cubicBezTo>
                    <a:pt x="122" y="18"/>
                    <a:pt x="117" y="19"/>
                    <a:pt x="120" y="31"/>
                  </a:cubicBezTo>
                  <a:cubicBezTo>
                    <a:pt x="123" y="42"/>
                    <a:pt x="122" y="55"/>
                    <a:pt x="118" y="58"/>
                  </a:cubicBezTo>
                  <a:cubicBezTo>
                    <a:pt x="113" y="58"/>
                    <a:pt x="103" y="52"/>
                    <a:pt x="97" y="46"/>
                  </a:cubicBezTo>
                  <a:cubicBezTo>
                    <a:pt x="93" y="42"/>
                    <a:pt x="90" y="40"/>
                    <a:pt x="87" y="40"/>
                  </a:cubicBezTo>
                  <a:cubicBezTo>
                    <a:pt x="84" y="40"/>
                    <a:pt x="82" y="42"/>
                    <a:pt x="80" y="44"/>
                  </a:cubicBezTo>
                  <a:cubicBezTo>
                    <a:pt x="76" y="47"/>
                    <a:pt x="71" y="49"/>
                    <a:pt x="78" y="60"/>
                  </a:cubicBezTo>
                  <a:cubicBezTo>
                    <a:pt x="82" y="69"/>
                    <a:pt x="86" y="81"/>
                    <a:pt x="83" y="86"/>
                  </a:cubicBezTo>
                  <a:cubicBezTo>
                    <a:pt x="82" y="86"/>
                    <a:pt x="80" y="87"/>
                    <a:pt x="78" y="87"/>
                  </a:cubicBezTo>
                  <a:cubicBezTo>
                    <a:pt x="72" y="87"/>
                    <a:pt x="64" y="84"/>
                    <a:pt x="58" y="81"/>
                  </a:cubicBezTo>
                  <a:cubicBezTo>
                    <a:pt x="54" y="79"/>
                    <a:pt x="51" y="78"/>
                    <a:pt x="49" y="78"/>
                  </a:cubicBezTo>
                  <a:cubicBezTo>
                    <a:pt x="45" y="78"/>
                    <a:pt x="43" y="82"/>
                    <a:pt x="41" y="84"/>
                  </a:cubicBezTo>
                  <a:cubicBezTo>
                    <a:pt x="38" y="88"/>
                    <a:pt x="34" y="92"/>
                    <a:pt x="44" y="101"/>
                  </a:cubicBezTo>
                  <a:cubicBezTo>
                    <a:pt x="50" y="107"/>
                    <a:pt x="56" y="116"/>
                    <a:pt x="57" y="122"/>
                  </a:cubicBezTo>
                  <a:cubicBezTo>
                    <a:pt x="55" y="125"/>
                    <a:pt x="49" y="126"/>
                    <a:pt x="42" y="126"/>
                  </a:cubicBezTo>
                  <a:cubicBezTo>
                    <a:pt x="38" y="126"/>
                    <a:pt x="34" y="125"/>
                    <a:pt x="30" y="125"/>
                  </a:cubicBezTo>
                  <a:cubicBezTo>
                    <a:pt x="28" y="124"/>
                    <a:pt x="26" y="124"/>
                    <a:pt x="24" y="124"/>
                  </a:cubicBezTo>
                  <a:cubicBezTo>
                    <a:pt x="17" y="124"/>
                    <a:pt x="16" y="128"/>
                    <a:pt x="15" y="132"/>
                  </a:cubicBezTo>
                  <a:cubicBezTo>
                    <a:pt x="13" y="136"/>
                    <a:pt x="11" y="142"/>
                    <a:pt x="22" y="147"/>
                  </a:cubicBezTo>
                  <a:cubicBezTo>
                    <a:pt x="30" y="152"/>
                    <a:pt x="38" y="159"/>
                    <a:pt x="40" y="164"/>
                  </a:cubicBezTo>
                  <a:cubicBezTo>
                    <a:pt x="38" y="169"/>
                    <a:pt x="26" y="173"/>
                    <a:pt x="15" y="174"/>
                  </a:cubicBezTo>
                  <a:cubicBezTo>
                    <a:pt x="2" y="174"/>
                    <a:pt x="3" y="180"/>
                    <a:pt x="2" y="185"/>
                  </a:cubicBezTo>
                  <a:cubicBezTo>
                    <a:pt x="2" y="190"/>
                    <a:pt x="0" y="195"/>
                    <a:pt x="13" y="198"/>
                  </a:cubicBezTo>
                  <a:cubicBezTo>
                    <a:pt x="21" y="200"/>
                    <a:pt x="31" y="205"/>
                    <a:pt x="34" y="210"/>
                  </a:cubicBezTo>
                  <a:cubicBezTo>
                    <a:pt x="34" y="215"/>
                    <a:pt x="23" y="222"/>
                    <a:pt x="13" y="225"/>
                  </a:cubicBezTo>
                  <a:cubicBezTo>
                    <a:pt x="1" y="229"/>
                    <a:pt x="3" y="235"/>
                    <a:pt x="4" y="239"/>
                  </a:cubicBezTo>
                  <a:cubicBezTo>
                    <a:pt x="4" y="244"/>
                    <a:pt x="5" y="249"/>
                    <a:pt x="16" y="249"/>
                  </a:cubicBezTo>
                  <a:cubicBezTo>
                    <a:pt x="16" y="249"/>
                    <a:pt x="17" y="249"/>
                    <a:pt x="17" y="249"/>
                  </a:cubicBezTo>
                  <a:cubicBezTo>
                    <a:pt x="17" y="249"/>
                    <a:pt x="17" y="249"/>
                    <a:pt x="18" y="249"/>
                  </a:cubicBezTo>
                  <a:cubicBezTo>
                    <a:pt x="27" y="249"/>
                    <a:pt x="37" y="251"/>
                    <a:pt x="41" y="255"/>
                  </a:cubicBezTo>
                  <a:cubicBezTo>
                    <a:pt x="42" y="260"/>
                    <a:pt x="33" y="270"/>
                    <a:pt x="24" y="276"/>
                  </a:cubicBezTo>
                  <a:cubicBezTo>
                    <a:pt x="14" y="282"/>
                    <a:pt x="17" y="287"/>
                    <a:pt x="19" y="292"/>
                  </a:cubicBezTo>
                  <a:cubicBezTo>
                    <a:pt x="20" y="295"/>
                    <a:pt x="22" y="299"/>
                    <a:pt x="28" y="299"/>
                  </a:cubicBezTo>
                  <a:cubicBezTo>
                    <a:pt x="30" y="299"/>
                    <a:pt x="32" y="299"/>
                    <a:pt x="35" y="298"/>
                  </a:cubicBezTo>
                  <a:cubicBezTo>
                    <a:pt x="40" y="296"/>
                    <a:pt x="45" y="295"/>
                    <a:pt x="50" y="295"/>
                  </a:cubicBezTo>
                  <a:cubicBezTo>
                    <a:pt x="54" y="295"/>
                    <a:pt x="57" y="296"/>
                    <a:pt x="59" y="297"/>
                  </a:cubicBezTo>
                  <a:cubicBezTo>
                    <a:pt x="61" y="302"/>
                    <a:pt x="55" y="313"/>
                    <a:pt x="48" y="321"/>
                  </a:cubicBezTo>
                  <a:cubicBezTo>
                    <a:pt x="40" y="331"/>
                    <a:pt x="44" y="334"/>
                    <a:pt x="47" y="338"/>
                  </a:cubicBezTo>
                  <a:cubicBezTo>
                    <a:pt x="49" y="340"/>
                    <a:pt x="51" y="343"/>
                    <a:pt x="55" y="343"/>
                  </a:cubicBezTo>
                  <a:cubicBezTo>
                    <a:pt x="57" y="343"/>
                    <a:pt x="60" y="342"/>
                    <a:pt x="64" y="340"/>
                  </a:cubicBezTo>
                  <a:cubicBezTo>
                    <a:pt x="71" y="336"/>
                    <a:pt x="80" y="333"/>
                    <a:pt x="85" y="333"/>
                  </a:cubicBezTo>
                  <a:cubicBezTo>
                    <a:pt x="86" y="333"/>
                    <a:pt x="87" y="333"/>
                    <a:pt x="87" y="333"/>
                  </a:cubicBezTo>
                  <a:cubicBezTo>
                    <a:pt x="91" y="337"/>
                    <a:pt x="88" y="350"/>
                    <a:pt x="83" y="359"/>
                  </a:cubicBezTo>
                  <a:cubicBezTo>
                    <a:pt x="78" y="370"/>
                    <a:pt x="83" y="373"/>
                    <a:pt x="86" y="375"/>
                  </a:cubicBezTo>
                  <a:cubicBezTo>
                    <a:pt x="89" y="377"/>
                    <a:pt x="92" y="378"/>
                    <a:pt x="95" y="379"/>
                  </a:cubicBezTo>
                  <a:cubicBezTo>
                    <a:pt x="97" y="378"/>
                    <a:pt x="100" y="377"/>
                    <a:pt x="103" y="373"/>
                  </a:cubicBezTo>
                  <a:cubicBezTo>
                    <a:pt x="110" y="367"/>
                    <a:pt x="119" y="361"/>
                    <a:pt x="124" y="360"/>
                  </a:cubicBezTo>
                  <a:cubicBezTo>
                    <a:pt x="128" y="363"/>
                    <a:pt x="129" y="376"/>
                    <a:pt x="127" y="387"/>
                  </a:cubicBezTo>
                  <a:cubicBezTo>
                    <a:pt x="127" y="389"/>
                    <a:pt x="126" y="390"/>
                    <a:pt x="126" y="392"/>
                  </a:cubicBezTo>
                  <a:cubicBezTo>
                    <a:pt x="133" y="395"/>
                    <a:pt x="139" y="398"/>
                    <a:pt x="146" y="401"/>
                  </a:cubicBezTo>
                  <a:cubicBezTo>
                    <a:pt x="147" y="399"/>
                    <a:pt x="148" y="398"/>
                    <a:pt x="150" y="395"/>
                  </a:cubicBezTo>
                  <a:cubicBezTo>
                    <a:pt x="154" y="387"/>
                    <a:pt x="161" y="379"/>
                    <a:pt x="167" y="377"/>
                  </a:cubicBezTo>
                  <a:cubicBezTo>
                    <a:pt x="172" y="379"/>
                    <a:pt x="176" y="391"/>
                    <a:pt x="176" y="402"/>
                  </a:cubicBezTo>
                  <a:cubicBezTo>
                    <a:pt x="177" y="414"/>
                    <a:pt x="182" y="414"/>
                    <a:pt x="187" y="415"/>
                  </a:cubicBezTo>
                  <a:cubicBezTo>
                    <a:pt x="188" y="415"/>
                    <a:pt x="190" y="415"/>
                    <a:pt x="191" y="415"/>
                  </a:cubicBezTo>
                  <a:cubicBezTo>
                    <a:pt x="195" y="415"/>
                    <a:pt x="198" y="413"/>
                    <a:pt x="200" y="404"/>
                  </a:cubicBezTo>
                  <a:cubicBezTo>
                    <a:pt x="203" y="395"/>
                    <a:pt x="207" y="386"/>
                    <a:pt x="212" y="383"/>
                  </a:cubicBezTo>
                  <a:cubicBezTo>
                    <a:pt x="217" y="383"/>
                    <a:pt x="224" y="394"/>
                    <a:pt x="228" y="404"/>
                  </a:cubicBezTo>
                  <a:cubicBezTo>
                    <a:pt x="230" y="412"/>
                    <a:pt x="234" y="414"/>
                    <a:pt x="237" y="414"/>
                  </a:cubicBezTo>
                  <a:cubicBezTo>
                    <a:pt x="239" y="414"/>
                    <a:pt x="240" y="414"/>
                    <a:pt x="242" y="413"/>
                  </a:cubicBezTo>
                  <a:cubicBezTo>
                    <a:pt x="246" y="413"/>
                    <a:pt x="252" y="412"/>
                    <a:pt x="252" y="400"/>
                  </a:cubicBezTo>
                  <a:cubicBezTo>
                    <a:pt x="252" y="391"/>
                    <a:pt x="254" y="380"/>
                    <a:pt x="257" y="376"/>
                  </a:cubicBezTo>
                  <a:cubicBezTo>
                    <a:pt x="258" y="376"/>
                    <a:pt x="258" y="376"/>
                    <a:pt x="258" y="376"/>
                  </a:cubicBezTo>
                  <a:cubicBezTo>
                    <a:pt x="263" y="376"/>
                    <a:pt x="272" y="384"/>
                    <a:pt x="278" y="392"/>
                  </a:cubicBezTo>
                  <a:cubicBezTo>
                    <a:pt x="282" y="398"/>
                    <a:pt x="285" y="400"/>
                    <a:pt x="288" y="400"/>
                  </a:cubicBezTo>
                  <a:cubicBezTo>
                    <a:pt x="290" y="400"/>
                    <a:pt x="292" y="399"/>
                    <a:pt x="294" y="398"/>
                  </a:cubicBezTo>
                  <a:cubicBezTo>
                    <a:pt x="298" y="396"/>
                    <a:pt x="304" y="394"/>
                    <a:pt x="300" y="382"/>
                  </a:cubicBezTo>
                  <a:cubicBezTo>
                    <a:pt x="298" y="374"/>
                    <a:pt x="297" y="363"/>
                    <a:pt x="299" y="358"/>
                  </a:cubicBezTo>
                  <a:cubicBezTo>
                    <a:pt x="300" y="357"/>
                    <a:pt x="301" y="357"/>
                    <a:pt x="302" y="357"/>
                  </a:cubicBezTo>
                  <a:cubicBezTo>
                    <a:pt x="307" y="357"/>
                    <a:pt x="317" y="362"/>
                    <a:pt x="324" y="368"/>
                  </a:cubicBezTo>
                  <a:cubicBezTo>
                    <a:pt x="328" y="372"/>
                    <a:pt x="331" y="373"/>
                    <a:pt x="333" y="373"/>
                  </a:cubicBezTo>
                  <a:cubicBezTo>
                    <a:pt x="336" y="373"/>
                    <a:pt x="338" y="371"/>
                    <a:pt x="340" y="370"/>
                  </a:cubicBezTo>
                  <a:cubicBezTo>
                    <a:pt x="344" y="367"/>
                    <a:pt x="349" y="364"/>
                    <a:pt x="342" y="353"/>
                  </a:cubicBezTo>
                  <a:cubicBezTo>
                    <a:pt x="337" y="345"/>
                    <a:pt x="334" y="333"/>
                    <a:pt x="336" y="328"/>
                  </a:cubicBezTo>
                  <a:cubicBezTo>
                    <a:pt x="337" y="328"/>
                    <a:pt x="338" y="328"/>
                    <a:pt x="339" y="328"/>
                  </a:cubicBezTo>
                  <a:cubicBezTo>
                    <a:pt x="345" y="328"/>
                    <a:pt x="354" y="330"/>
                    <a:pt x="360" y="334"/>
                  </a:cubicBezTo>
                  <a:cubicBezTo>
                    <a:pt x="364" y="336"/>
                    <a:pt x="367" y="337"/>
                    <a:pt x="369" y="337"/>
                  </a:cubicBezTo>
                  <a:cubicBezTo>
                    <a:pt x="373" y="337"/>
                    <a:pt x="375" y="334"/>
                    <a:pt x="377" y="332"/>
                  </a:cubicBezTo>
                  <a:cubicBezTo>
                    <a:pt x="380" y="328"/>
                    <a:pt x="384" y="324"/>
                    <a:pt x="375" y="315"/>
                  </a:cubicBezTo>
                  <a:cubicBezTo>
                    <a:pt x="368" y="307"/>
                    <a:pt x="361" y="296"/>
                    <a:pt x="363" y="291"/>
                  </a:cubicBezTo>
                  <a:cubicBezTo>
                    <a:pt x="366" y="290"/>
                    <a:pt x="370" y="289"/>
                    <a:pt x="374" y="289"/>
                  </a:cubicBezTo>
                  <a:cubicBezTo>
                    <a:pt x="379" y="289"/>
                    <a:pt x="384" y="290"/>
                    <a:pt x="388" y="291"/>
                  </a:cubicBezTo>
                  <a:cubicBezTo>
                    <a:pt x="391" y="291"/>
                    <a:pt x="393" y="292"/>
                    <a:pt x="394" y="292"/>
                  </a:cubicBezTo>
                  <a:cubicBezTo>
                    <a:pt x="401" y="292"/>
                    <a:pt x="402" y="287"/>
                    <a:pt x="403" y="284"/>
                  </a:cubicBezTo>
                  <a:cubicBezTo>
                    <a:pt x="405" y="280"/>
                    <a:pt x="408" y="275"/>
                    <a:pt x="397" y="268"/>
                  </a:cubicBezTo>
                  <a:cubicBezTo>
                    <a:pt x="388" y="263"/>
                    <a:pt x="379" y="254"/>
                    <a:pt x="380" y="248"/>
                  </a:cubicBezTo>
                  <a:cubicBezTo>
                    <a:pt x="384" y="245"/>
                    <a:pt x="395" y="242"/>
                    <a:pt x="404" y="242"/>
                  </a:cubicBezTo>
                  <a:cubicBezTo>
                    <a:pt x="404" y="242"/>
                    <a:pt x="404" y="242"/>
                    <a:pt x="404" y="242"/>
                  </a:cubicBezTo>
                  <a:cubicBezTo>
                    <a:pt x="416" y="242"/>
                    <a:pt x="416" y="236"/>
                    <a:pt x="417" y="231"/>
                  </a:cubicBezTo>
                  <a:cubicBezTo>
                    <a:pt x="417" y="226"/>
                    <a:pt x="419" y="221"/>
                    <a:pt x="407" y="218"/>
                  </a:cubicBezTo>
                  <a:cubicBezTo>
                    <a:pt x="397" y="215"/>
                    <a:pt x="386" y="208"/>
                    <a:pt x="385" y="203"/>
                  </a:cubicBezTo>
                  <a:cubicBezTo>
                    <a:pt x="388" y="198"/>
                    <a:pt x="397" y="193"/>
                    <a:pt x="406" y="190"/>
                  </a:cubicBezTo>
                  <a:cubicBezTo>
                    <a:pt x="418" y="187"/>
                    <a:pt x="417" y="181"/>
                    <a:pt x="416" y="177"/>
                  </a:cubicBezTo>
                  <a:cubicBezTo>
                    <a:pt x="415" y="172"/>
                    <a:pt x="415" y="166"/>
                    <a:pt x="403" y="166"/>
                  </a:cubicBezTo>
                  <a:cubicBezTo>
                    <a:pt x="403" y="166"/>
                    <a:pt x="403" y="166"/>
                    <a:pt x="403" y="166"/>
                  </a:cubicBezTo>
                  <a:cubicBezTo>
                    <a:pt x="392" y="166"/>
                    <a:pt x="379" y="162"/>
                    <a:pt x="378" y="158"/>
                  </a:cubicBezTo>
                  <a:cubicBezTo>
                    <a:pt x="379" y="152"/>
                    <a:pt x="387" y="145"/>
                    <a:pt x="395" y="140"/>
                  </a:cubicBezTo>
                  <a:cubicBezTo>
                    <a:pt x="406" y="134"/>
                    <a:pt x="403" y="129"/>
                    <a:pt x="401" y="124"/>
                  </a:cubicBezTo>
                  <a:cubicBezTo>
                    <a:pt x="400" y="121"/>
                    <a:pt x="398" y="117"/>
                    <a:pt x="392" y="117"/>
                  </a:cubicBezTo>
                  <a:cubicBezTo>
                    <a:pt x="390" y="117"/>
                    <a:pt x="388" y="117"/>
                    <a:pt x="386" y="118"/>
                  </a:cubicBezTo>
                  <a:cubicBezTo>
                    <a:pt x="381" y="119"/>
                    <a:pt x="376" y="119"/>
                    <a:pt x="372" y="119"/>
                  </a:cubicBezTo>
                  <a:cubicBezTo>
                    <a:pt x="366" y="119"/>
                    <a:pt x="361" y="118"/>
                    <a:pt x="359" y="116"/>
                  </a:cubicBezTo>
                  <a:cubicBezTo>
                    <a:pt x="359" y="110"/>
                    <a:pt x="365" y="101"/>
                    <a:pt x="371" y="94"/>
                  </a:cubicBezTo>
                  <a:cubicBezTo>
                    <a:pt x="380" y="86"/>
                    <a:pt x="376" y="81"/>
                    <a:pt x="373" y="78"/>
                  </a:cubicBezTo>
                  <a:cubicBezTo>
                    <a:pt x="371" y="75"/>
                    <a:pt x="369" y="72"/>
                    <a:pt x="365" y="72"/>
                  </a:cubicBezTo>
                  <a:cubicBezTo>
                    <a:pt x="363" y="72"/>
                    <a:pt x="360" y="73"/>
                    <a:pt x="356" y="75"/>
                  </a:cubicBezTo>
                  <a:cubicBezTo>
                    <a:pt x="350" y="79"/>
                    <a:pt x="341" y="82"/>
                    <a:pt x="336" y="82"/>
                  </a:cubicBezTo>
                  <a:cubicBezTo>
                    <a:pt x="333" y="82"/>
                    <a:pt x="331" y="81"/>
                    <a:pt x="330" y="80"/>
                  </a:cubicBezTo>
                  <a:cubicBezTo>
                    <a:pt x="329" y="75"/>
                    <a:pt x="332" y="65"/>
                    <a:pt x="336" y="57"/>
                  </a:cubicBezTo>
                  <a:cubicBezTo>
                    <a:pt x="343" y="46"/>
                    <a:pt x="338" y="43"/>
                    <a:pt x="334" y="40"/>
                  </a:cubicBezTo>
                  <a:cubicBezTo>
                    <a:pt x="332" y="38"/>
                    <a:pt x="330" y="36"/>
                    <a:pt x="327" y="36"/>
                  </a:cubicBezTo>
                  <a:cubicBezTo>
                    <a:pt x="324" y="36"/>
                    <a:pt x="321" y="38"/>
                    <a:pt x="317" y="42"/>
                  </a:cubicBezTo>
                  <a:cubicBezTo>
                    <a:pt x="311" y="48"/>
                    <a:pt x="301" y="54"/>
                    <a:pt x="296" y="54"/>
                  </a:cubicBezTo>
                  <a:cubicBezTo>
                    <a:pt x="295" y="54"/>
                    <a:pt x="294" y="54"/>
                    <a:pt x="293" y="53"/>
                  </a:cubicBezTo>
                  <a:cubicBezTo>
                    <a:pt x="291" y="49"/>
                    <a:pt x="291" y="38"/>
                    <a:pt x="293" y="29"/>
                  </a:cubicBezTo>
                  <a:cubicBezTo>
                    <a:pt x="296" y="17"/>
                    <a:pt x="291" y="15"/>
                    <a:pt x="286" y="13"/>
                  </a:cubicBezTo>
                  <a:cubicBezTo>
                    <a:pt x="284" y="13"/>
                    <a:pt x="282" y="12"/>
                    <a:pt x="280" y="12"/>
                  </a:cubicBezTo>
                  <a:cubicBezTo>
                    <a:pt x="277" y="12"/>
                    <a:pt x="274" y="13"/>
                    <a:pt x="271" y="20"/>
                  </a:cubicBezTo>
                  <a:cubicBezTo>
                    <a:pt x="265" y="28"/>
                    <a:pt x="257" y="37"/>
                    <a:pt x="251" y="37"/>
                  </a:cubicBezTo>
                  <a:cubicBezTo>
                    <a:pt x="251" y="37"/>
                    <a:pt x="251" y="37"/>
                    <a:pt x="251" y="37"/>
                  </a:cubicBezTo>
                  <a:cubicBezTo>
                    <a:pt x="247" y="33"/>
                    <a:pt x="244" y="22"/>
                    <a:pt x="244" y="13"/>
                  </a:cubicBezTo>
                  <a:cubicBezTo>
                    <a:pt x="244" y="1"/>
                    <a:pt x="238" y="1"/>
                    <a:pt x="234" y="0"/>
                  </a:cubicBezTo>
                  <a:cubicBezTo>
                    <a:pt x="232" y="0"/>
                    <a:pt x="231" y="0"/>
                    <a:pt x="22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7" name="Freeform 21326">
              <a:extLst>
                <a:ext uri="{FF2B5EF4-FFF2-40B4-BE49-F238E27FC236}">
                  <a16:creationId xmlns:a16="http://schemas.microsoft.com/office/drawing/2014/main" id="{447B73E9-9A24-4A87-B39D-FEBBA585C059}"/>
                </a:ext>
              </a:extLst>
            </p:cNvPr>
            <p:cNvSpPr>
              <a:spLocks noEditPoints="1"/>
            </p:cNvSpPr>
            <p:nvPr userDrawn="1"/>
          </p:nvSpPr>
          <p:spPr bwMode="auto">
            <a:xfrm>
              <a:off x="11064240" y="4376103"/>
              <a:ext cx="777875" cy="768350"/>
            </a:xfrm>
            <a:custGeom>
              <a:avLst/>
              <a:gdLst>
                <a:gd name="T0" fmla="*/ 86 w 385"/>
                <a:gd name="T1" fmla="*/ 112 h 381"/>
                <a:gd name="T2" fmla="*/ 298 w 385"/>
                <a:gd name="T3" fmla="*/ 269 h 381"/>
                <a:gd name="T4" fmla="*/ 202 w 385"/>
                <a:gd name="T5" fmla="*/ 9 h 381"/>
                <a:gd name="T6" fmla="*/ 168 w 385"/>
                <a:gd name="T7" fmla="*/ 0 h 381"/>
                <a:gd name="T8" fmla="*/ 146 w 385"/>
                <a:gd name="T9" fmla="*/ 36 h 381"/>
                <a:gd name="T10" fmla="*/ 116 w 385"/>
                <a:gd name="T11" fmla="*/ 15 h 381"/>
                <a:gd name="T12" fmla="*/ 89 w 385"/>
                <a:gd name="T13" fmla="*/ 42 h 381"/>
                <a:gd name="T14" fmla="*/ 71 w 385"/>
                <a:gd name="T15" fmla="*/ 56 h 381"/>
                <a:gd name="T16" fmla="*/ 53 w 385"/>
                <a:gd name="T17" fmla="*/ 75 h 381"/>
                <a:gd name="T18" fmla="*/ 40 w 385"/>
                <a:gd name="T19" fmla="*/ 93 h 381"/>
                <a:gd name="T20" fmla="*/ 27 w 385"/>
                <a:gd name="T21" fmla="*/ 115 h 381"/>
                <a:gd name="T22" fmla="*/ 20 w 385"/>
                <a:gd name="T23" fmla="*/ 136 h 381"/>
                <a:gd name="T24" fmla="*/ 2 w 385"/>
                <a:gd name="T25" fmla="*/ 170 h 381"/>
                <a:gd name="T26" fmla="*/ 11 w 385"/>
                <a:gd name="T27" fmla="*/ 207 h 381"/>
                <a:gd name="T28" fmla="*/ 15 w 385"/>
                <a:gd name="T29" fmla="*/ 229 h 381"/>
                <a:gd name="T30" fmla="*/ 22 w 385"/>
                <a:gd name="T31" fmla="*/ 254 h 381"/>
                <a:gd name="T32" fmla="*/ 31 w 385"/>
                <a:gd name="T33" fmla="*/ 274 h 381"/>
                <a:gd name="T34" fmla="*/ 44 w 385"/>
                <a:gd name="T35" fmla="*/ 295 h 381"/>
                <a:gd name="T36" fmla="*/ 58 w 385"/>
                <a:gd name="T37" fmla="*/ 313 h 381"/>
                <a:gd name="T38" fmla="*/ 76 w 385"/>
                <a:gd name="T39" fmla="*/ 330 h 381"/>
                <a:gd name="T40" fmla="*/ 94 w 385"/>
                <a:gd name="T41" fmla="*/ 343 h 381"/>
                <a:gd name="T42" fmla="*/ 123 w 385"/>
                <a:gd name="T43" fmla="*/ 369 h 381"/>
                <a:gd name="T44" fmla="*/ 153 w 385"/>
                <a:gd name="T45" fmla="*/ 347 h 381"/>
                <a:gd name="T46" fmla="*/ 175 w 385"/>
                <a:gd name="T47" fmla="*/ 381 h 381"/>
                <a:gd name="T48" fmla="*/ 209 w 385"/>
                <a:gd name="T49" fmla="*/ 371 h 381"/>
                <a:gd name="T50" fmla="*/ 231 w 385"/>
                <a:gd name="T51" fmla="*/ 368 h 381"/>
                <a:gd name="T52" fmla="*/ 255 w 385"/>
                <a:gd name="T53" fmla="*/ 361 h 381"/>
                <a:gd name="T54" fmla="*/ 270 w 385"/>
                <a:gd name="T55" fmla="*/ 366 h 381"/>
                <a:gd name="T56" fmla="*/ 275 w 385"/>
                <a:gd name="T57" fmla="*/ 329 h 381"/>
                <a:gd name="T58" fmla="*/ 306 w 385"/>
                <a:gd name="T59" fmla="*/ 343 h 381"/>
                <a:gd name="T60" fmla="*/ 308 w 385"/>
                <a:gd name="T61" fmla="*/ 302 h 381"/>
                <a:gd name="T62" fmla="*/ 339 w 385"/>
                <a:gd name="T63" fmla="*/ 310 h 381"/>
                <a:gd name="T64" fmla="*/ 334 w 385"/>
                <a:gd name="T65" fmla="*/ 268 h 381"/>
                <a:gd name="T66" fmla="*/ 362 w 385"/>
                <a:gd name="T67" fmla="*/ 268 h 381"/>
                <a:gd name="T68" fmla="*/ 349 w 385"/>
                <a:gd name="T69" fmla="*/ 228 h 381"/>
                <a:gd name="T70" fmla="*/ 383 w 385"/>
                <a:gd name="T71" fmla="*/ 213 h 381"/>
                <a:gd name="T72" fmla="*/ 373 w 385"/>
                <a:gd name="T73" fmla="*/ 175 h 381"/>
                <a:gd name="T74" fmla="*/ 370 w 385"/>
                <a:gd name="T75" fmla="*/ 153 h 381"/>
                <a:gd name="T76" fmla="*/ 368 w 385"/>
                <a:gd name="T77" fmla="*/ 114 h 381"/>
                <a:gd name="T78" fmla="*/ 342 w 385"/>
                <a:gd name="T79" fmla="*/ 110 h 381"/>
                <a:gd name="T80" fmla="*/ 342 w 385"/>
                <a:gd name="T81" fmla="*/ 71 h 381"/>
                <a:gd name="T82" fmla="*/ 308 w 385"/>
                <a:gd name="T83" fmla="*/ 75 h 381"/>
                <a:gd name="T84" fmla="*/ 307 w 385"/>
                <a:gd name="T85" fmla="*/ 37 h 381"/>
                <a:gd name="T86" fmla="*/ 271 w 385"/>
                <a:gd name="T87" fmla="*/ 49 h 381"/>
                <a:gd name="T88" fmla="*/ 263 w 385"/>
                <a:gd name="T89" fmla="*/ 12 h 381"/>
                <a:gd name="T90" fmla="*/ 231 w 385"/>
                <a:gd name="T91" fmla="*/ 34 h 381"/>
                <a:gd name="T92" fmla="*/ 214 w 385"/>
                <a:gd name="T9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381">
                  <a:moveTo>
                    <a:pt x="192" y="323"/>
                  </a:moveTo>
                  <a:cubicBezTo>
                    <a:pt x="165" y="323"/>
                    <a:pt x="138" y="314"/>
                    <a:pt x="114" y="297"/>
                  </a:cubicBezTo>
                  <a:cubicBezTo>
                    <a:pt x="55" y="254"/>
                    <a:pt x="43" y="171"/>
                    <a:pt x="86" y="112"/>
                  </a:cubicBezTo>
                  <a:cubicBezTo>
                    <a:pt x="112" y="77"/>
                    <a:pt x="152" y="59"/>
                    <a:pt x="192" y="59"/>
                  </a:cubicBezTo>
                  <a:cubicBezTo>
                    <a:pt x="220" y="59"/>
                    <a:pt x="247" y="67"/>
                    <a:pt x="270" y="84"/>
                  </a:cubicBezTo>
                  <a:cubicBezTo>
                    <a:pt x="329" y="128"/>
                    <a:pt x="342" y="210"/>
                    <a:pt x="298" y="269"/>
                  </a:cubicBezTo>
                  <a:cubicBezTo>
                    <a:pt x="273" y="304"/>
                    <a:pt x="233" y="323"/>
                    <a:pt x="192" y="323"/>
                  </a:cubicBezTo>
                  <a:moveTo>
                    <a:pt x="210" y="0"/>
                  </a:moveTo>
                  <a:cubicBezTo>
                    <a:pt x="207" y="0"/>
                    <a:pt x="204" y="1"/>
                    <a:pt x="202" y="9"/>
                  </a:cubicBezTo>
                  <a:cubicBezTo>
                    <a:pt x="199" y="19"/>
                    <a:pt x="193" y="29"/>
                    <a:pt x="188" y="30"/>
                  </a:cubicBezTo>
                  <a:cubicBezTo>
                    <a:pt x="184" y="27"/>
                    <a:pt x="179" y="18"/>
                    <a:pt x="177" y="10"/>
                  </a:cubicBezTo>
                  <a:cubicBezTo>
                    <a:pt x="175" y="2"/>
                    <a:pt x="171" y="0"/>
                    <a:pt x="168" y="0"/>
                  </a:cubicBezTo>
                  <a:cubicBezTo>
                    <a:pt x="167" y="0"/>
                    <a:pt x="165" y="1"/>
                    <a:pt x="164" y="1"/>
                  </a:cubicBezTo>
                  <a:cubicBezTo>
                    <a:pt x="160" y="1"/>
                    <a:pt x="155" y="1"/>
                    <a:pt x="155" y="13"/>
                  </a:cubicBezTo>
                  <a:cubicBezTo>
                    <a:pt x="154" y="23"/>
                    <a:pt x="151" y="34"/>
                    <a:pt x="146" y="36"/>
                  </a:cubicBezTo>
                  <a:cubicBezTo>
                    <a:pt x="142" y="34"/>
                    <a:pt x="135" y="27"/>
                    <a:pt x="131" y="20"/>
                  </a:cubicBezTo>
                  <a:cubicBezTo>
                    <a:pt x="127" y="15"/>
                    <a:pt x="124" y="13"/>
                    <a:pt x="122" y="13"/>
                  </a:cubicBezTo>
                  <a:cubicBezTo>
                    <a:pt x="120" y="13"/>
                    <a:pt x="118" y="14"/>
                    <a:pt x="116" y="15"/>
                  </a:cubicBezTo>
                  <a:cubicBezTo>
                    <a:pt x="112" y="16"/>
                    <a:pt x="107" y="18"/>
                    <a:pt x="110" y="29"/>
                  </a:cubicBezTo>
                  <a:cubicBezTo>
                    <a:pt x="112" y="38"/>
                    <a:pt x="112" y="50"/>
                    <a:pt x="108" y="53"/>
                  </a:cubicBezTo>
                  <a:cubicBezTo>
                    <a:pt x="103" y="53"/>
                    <a:pt x="95" y="48"/>
                    <a:pt x="89" y="42"/>
                  </a:cubicBezTo>
                  <a:cubicBezTo>
                    <a:pt x="85" y="38"/>
                    <a:pt x="82" y="37"/>
                    <a:pt x="80" y="37"/>
                  </a:cubicBezTo>
                  <a:cubicBezTo>
                    <a:pt x="77" y="37"/>
                    <a:pt x="75" y="39"/>
                    <a:pt x="73" y="40"/>
                  </a:cubicBezTo>
                  <a:cubicBezTo>
                    <a:pt x="70" y="43"/>
                    <a:pt x="65" y="46"/>
                    <a:pt x="71" y="56"/>
                  </a:cubicBezTo>
                  <a:cubicBezTo>
                    <a:pt x="75" y="64"/>
                    <a:pt x="78" y="74"/>
                    <a:pt x="76" y="79"/>
                  </a:cubicBezTo>
                  <a:cubicBezTo>
                    <a:pt x="75" y="79"/>
                    <a:pt x="73" y="80"/>
                    <a:pt x="71" y="80"/>
                  </a:cubicBezTo>
                  <a:cubicBezTo>
                    <a:pt x="66" y="80"/>
                    <a:pt x="59" y="78"/>
                    <a:pt x="53" y="75"/>
                  </a:cubicBezTo>
                  <a:cubicBezTo>
                    <a:pt x="49" y="73"/>
                    <a:pt x="47" y="72"/>
                    <a:pt x="45" y="72"/>
                  </a:cubicBezTo>
                  <a:cubicBezTo>
                    <a:pt x="41" y="72"/>
                    <a:pt x="39" y="75"/>
                    <a:pt x="37" y="77"/>
                  </a:cubicBezTo>
                  <a:cubicBezTo>
                    <a:pt x="35" y="81"/>
                    <a:pt x="31" y="85"/>
                    <a:pt x="40" y="93"/>
                  </a:cubicBezTo>
                  <a:cubicBezTo>
                    <a:pt x="46" y="99"/>
                    <a:pt x="51" y="107"/>
                    <a:pt x="52" y="112"/>
                  </a:cubicBezTo>
                  <a:cubicBezTo>
                    <a:pt x="50" y="115"/>
                    <a:pt x="44" y="116"/>
                    <a:pt x="38" y="116"/>
                  </a:cubicBezTo>
                  <a:cubicBezTo>
                    <a:pt x="34" y="116"/>
                    <a:pt x="31" y="115"/>
                    <a:pt x="27" y="115"/>
                  </a:cubicBezTo>
                  <a:cubicBezTo>
                    <a:pt x="25" y="114"/>
                    <a:pt x="23" y="114"/>
                    <a:pt x="22" y="114"/>
                  </a:cubicBezTo>
                  <a:cubicBezTo>
                    <a:pt x="16" y="114"/>
                    <a:pt x="15" y="118"/>
                    <a:pt x="13" y="121"/>
                  </a:cubicBezTo>
                  <a:cubicBezTo>
                    <a:pt x="12" y="125"/>
                    <a:pt x="9" y="130"/>
                    <a:pt x="20" y="136"/>
                  </a:cubicBezTo>
                  <a:cubicBezTo>
                    <a:pt x="27" y="140"/>
                    <a:pt x="34" y="146"/>
                    <a:pt x="36" y="151"/>
                  </a:cubicBezTo>
                  <a:cubicBezTo>
                    <a:pt x="34" y="156"/>
                    <a:pt x="23" y="159"/>
                    <a:pt x="13" y="160"/>
                  </a:cubicBezTo>
                  <a:cubicBezTo>
                    <a:pt x="2" y="160"/>
                    <a:pt x="2" y="166"/>
                    <a:pt x="2" y="170"/>
                  </a:cubicBezTo>
                  <a:cubicBezTo>
                    <a:pt x="1" y="174"/>
                    <a:pt x="0" y="180"/>
                    <a:pt x="11" y="182"/>
                  </a:cubicBezTo>
                  <a:cubicBezTo>
                    <a:pt x="19" y="184"/>
                    <a:pt x="28" y="189"/>
                    <a:pt x="31" y="193"/>
                  </a:cubicBezTo>
                  <a:cubicBezTo>
                    <a:pt x="31" y="198"/>
                    <a:pt x="21" y="204"/>
                    <a:pt x="11" y="207"/>
                  </a:cubicBezTo>
                  <a:cubicBezTo>
                    <a:pt x="0" y="211"/>
                    <a:pt x="2" y="216"/>
                    <a:pt x="3" y="220"/>
                  </a:cubicBezTo>
                  <a:cubicBezTo>
                    <a:pt x="3" y="224"/>
                    <a:pt x="4" y="229"/>
                    <a:pt x="14" y="229"/>
                  </a:cubicBezTo>
                  <a:cubicBezTo>
                    <a:pt x="14" y="229"/>
                    <a:pt x="15" y="229"/>
                    <a:pt x="15" y="229"/>
                  </a:cubicBezTo>
                  <a:cubicBezTo>
                    <a:pt x="15" y="229"/>
                    <a:pt x="16" y="229"/>
                    <a:pt x="16" y="229"/>
                  </a:cubicBezTo>
                  <a:cubicBezTo>
                    <a:pt x="24" y="229"/>
                    <a:pt x="34" y="231"/>
                    <a:pt x="37" y="235"/>
                  </a:cubicBezTo>
                  <a:cubicBezTo>
                    <a:pt x="38" y="239"/>
                    <a:pt x="30" y="248"/>
                    <a:pt x="22" y="254"/>
                  </a:cubicBezTo>
                  <a:cubicBezTo>
                    <a:pt x="12" y="260"/>
                    <a:pt x="15" y="264"/>
                    <a:pt x="17" y="268"/>
                  </a:cubicBezTo>
                  <a:cubicBezTo>
                    <a:pt x="18" y="271"/>
                    <a:pt x="19" y="275"/>
                    <a:pt x="25" y="275"/>
                  </a:cubicBezTo>
                  <a:cubicBezTo>
                    <a:pt x="27" y="275"/>
                    <a:pt x="29" y="275"/>
                    <a:pt x="31" y="274"/>
                  </a:cubicBezTo>
                  <a:cubicBezTo>
                    <a:pt x="36" y="272"/>
                    <a:pt x="41" y="272"/>
                    <a:pt x="46" y="272"/>
                  </a:cubicBezTo>
                  <a:cubicBezTo>
                    <a:pt x="49" y="272"/>
                    <a:pt x="52" y="272"/>
                    <a:pt x="54" y="273"/>
                  </a:cubicBezTo>
                  <a:cubicBezTo>
                    <a:pt x="56" y="277"/>
                    <a:pt x="50" y="288"/>
                    <a:pt x="44" y="295"/>
                  </a:cubicBezTo>
                  <a:cubicBezTo>
                    <a:pt x="36" y="304"/>
                    <a:pt x="40" y="307"/>
                    <a:pt x="43" y="311"/>
                  </a:cubicBezTo>
                  <a:cubicBezTo>
                    <a:pt x="45" y="313"/>
                    <a:pt x="46" y="316"/>
                    <a:pt x="50" y="316"/>
                  </a:cubicBezTo>
                  <a:cubicBezTo>
                    <a:pt x="52" y="316"/>
                    <a:pt x="55" y="315"/>
                    <a:pt x="58" y="313"/>
                  </a:cubicBezTo>
                  <a:cubicBezTo>
                    <a:pt x="65" y="309"/>
                    <a:pt x="73" y="306"/>
                    <a:pt x="78" y="306"/>
                  </a:cubicBezTo>
                  <a:cubicBezTo>
                    <a:pt x="79" y="306"/>
                    <a:pt x="79" y="306"/>
                    <a:pt x="80" y="306"/>
                  </a:cubicBezTo>
                  <a:cubicBezTo>
                    <a:pt x="83" y="310"/>
                    <a:pt x="81" y="322"/>
                    <a:pt x="76" y="330"/>
                  </a:cubicBezTo>
                  <a:cubicBezTo>
                    <a:pt x="71" y="340"/>
                    <a:pt x="76" y="343"/>
                    <a:pt x="79" y="345"/>
                  </a:cubicBezTo>
                  <a:cubicBezTo>
                    <a:pt x="81" y="347"/>
                    <a:pt x="83" y="348"/>
                    <a:pt x="86" y="348"/>
                  </a:cubicBezTo>
                  <a:cubicBezTo>
                    <a:pt x="88" y="348"/>
                    <a:pt x="91" y="347"/>
                    <a:pt x="94" y="343"/>
                  </a:cubicBezTo>
                  <a:cubicBezTo>
                    <a:pt x="100" y="337"/>
                    <a:pt x="109" y="332"/>
                    <a:pt x="114" y="331"/>
                  </a:cubicBezTo>
                  <a:cubicBezTo>
                    <a:pt x="118" y="334"/>
                    <a:pt x="118" y="346"/>
                    <a:pt x="116" y="355"/>
                  </a:cubicBezTo>
                  <a:cubicBezTo>
                    <a:pt x="114" y="367"/>
                    <a:pt x="119" y="368"/>
                    <a:pt x="123" y="369"/>
                  </a:cubicBezTo>
                  <a:cubicBezTo>
                    <a:pt x="125" y="370"/>
                    <a:pt x="126" y="371"/>
                    <a:pt x="128" y="371"/>
                  </a:cubicBezTo>
                  <a:cubicBezTo>
                    <a:pt x="131" y="371"/>
                    <a:pt x="134" y="369"/>
                    <a:pt x="137" y="363"/>
                  </a:cubicBezTo>
                  <a:cubicBezTo>
                    <a:pt x="141" y="356"/>
                    <a:pt x="148" y="348"/>
                    <a:pt x="153" y="347"/>
                  </a:cubicBezTo>
                  <a:cubicBezTo>
                    <a:pt x="157" y="348"/>
                    <a:pt x="161" y="360"/>
                    <a:pt x="162" y="369"/>
                  </a:cubicBezTo>
                  <a:cubicBezTo>
                    <a:pt x="162" y="381"/>
                    <a:pt x="167" y="381"/>
                    <a:pt x="172" y="381"/>
                  </a:cubicBezTo>
                  <a:cubicBezTo>
                    <a:pt x="173" y="381"/>
                    <a:pt x="174" y="381"/>
                    <a:pt x="175" y="381"/>
                  </a:cubicBezTo>
                  <a:cubicBezTo>
                    <a:pt x="178" y="381"/>
                    <a:pt x="182" y="380"/>
                    <a:pt x="184" y="372"/>
                  </a:cubicBezTo>
                  <a:cubicBezTo>
                    <a:pt x="186" y="364"/>
                    <a:pt x="190" y="355"/>
                    <a:pt x="194" y="352"/>
                  </a:cubicBezTo>
                  <a:cubicBezTo>
                    <a:pt x="199" y="352"/>
                    <a:pt x="206" y="362"/>
                    <a:pt x="209" y="371"/>
                  </a:cubicBezTo>
                  <a:cubicBezTo>
                    <a:pt x="211" y="379"/>
                    <a:pt x="214" y="381"/>
                    <a:pt x="218" y="381"/>
                  </a:cubicBezTo>
                  <a:cubicBezTo>
                    <a:pt x="219" y="381"/>
                    <a:pt x="220" y="380"/>
                    <a:pt x="222" y="380"/>
                  </a:cubicBezTo>
                  <a:cubicBezTo>
                    <a:pt x="226" y="379"/>
                    <a:pt x="231" y="379"/>
                    <a:pt x="231" y="368"/>
                  </a:cubicBezTo>
                  <a:cubicBezTo>
                    <a:pt x="231" y="359"/>
                    <a:pt x="233" y="349"/>
                    <a:pt x="236" y="346"/>
                  </a:cubicBezTo>
                  <a:cubicBezTo>
                    <a:pt x="236" y="346"/>
                    <a:pt x="237" y="345"/>
                    <a:pt x="237" y="345"/>
                  </a:cubicBezTo>
                  <a:cubicBezTo>
                    <a:pt x="242" y="345"/>
                    <a:pt x="250" y="353"/>
                    <a:pt x="255" y="361"/>
                  </a:cubicBezTo>
                  <a:cubicBezTo>
                    <a:pt x="257" y="364"/>
                    <a:pt x="259" y="366"/>
                    <a:pt x="260" y="367"/>
                  </a:cubicBezTo>
                  <a:cubicBezTo>
                    <a:pt x="262" y="367"/>
                    <a:pt x="263" y="368"/>
                    <a:pt x="264" y="368"/>
                  </a:cubicBezTo>
                  <a:cubicBezTo>
                    <a:pt x="266" y="368"/>
                    <a:pt x="268" y="367"/>
                    <a:pt x="270" y="366"/>
                  </a:cubicBezTo>
                  <a:cubicBezTo>
                    <a:pt x="273" y="365"/>
                    <a:pt x="276" y="363"/>
                    <a:pt x="276" y="359"/>
                  </a:cubicBezTo>
                  <a:cubicBezTo>
                    <a:pt x="277" y="357"/>
                    <a:pt x="276" y="355"/>
                    <a:pt x="275" y="352"/>
                  </a:cubicBezTo>
                  <a:cubicBezTo>
                    <a:pt x="273" y="343"/>
                    <a:pt x="272" y="334"/>
                    <a:pt x="275" y="329"/>
                  </a:cubicBezTo>
                  <a:cubicBezTo>
                    <a:pt x="275" y="329"/>
                    <a:pt x="276" y="328"/>
                    <a:pt x="277" y="328"/>
                  </a:cubicBezTo>
                  <a:cubicBezTo>
                    <a:pt x="282" y="328"/>
                    <a:pt x="291" y="333"/>
                    <a:pt x="297" y="339"/>
                  </a:cubicBezTo>
                  <a:cubicBezTo>
                    <a:pt x="301" y="342"/>
                    <a:pt x="304" y="343"/>
                    <a:pt x="306" y="343"/>
                  </a:cubicBezTo>
                  <a:cubicBezTo>
                    <a:pt x="309" y="343"/>
                    <a:pt x="311" y="341"/>
                    <a:pt x="312" y="340"/>
                  </a:cubicBezTo>
                  <a:cubicBezTo>
                    <a:pt x="316" y="337"/>
                    <a:pt x="320" y="334"/>
                    <a:pt x="314" y="324"/>
                  </a:cubicBezTo>
                  <a:cubicBezTo>
                    <a:pt x="310" y="317"/>
                    <a:pt x="306" y="307"/>
                    <a:pt x="308" y="302"/>
                  </a:cubicBezTo>
                  <a:cubicBezTo>
                    <a:pt x="309" y="302"/>
                    <a:pt x="310" y="301"/>
                    <a:pt x="312" y="301"/>
                  </a:cubicBezTo>
                  <a:cubicBezTo>
                    <a:pt x="317" y="301"/>
                    <a:pt x="325" y="304"/>
                    <a:pt x="331" y="307"/>
                  </a:cubicBezTo>
                  <a:cubicBezTo>
                    <a:pt x="334" y="309"/>
                    <a:pt x="337" y="310"/>
                    <a:pt x="339" y="310"/>
                  </a:cubicBezTo>
                  <a:cubicBezTo>
                    <a:pt x="343" y="310"/>
                    <a:pt x="344" y="307"/>
                    <a:pt x="346" y="305"/>
                  </a:cubicBezTo>
                  <a:cubicBezTo>
                    <a:pt x="349" y="301"/>
                    <a:pt x="353" y="298"/>
                    <a:pt x="344" y="290"/>
                  </a:cubicBezTo>
                  <a:cubicBezTo>
                    <a:pt x="338" y="283"/>
                    <a:pt x="332" y="272"/>
                    <a:pt x="334" y="268"/>
                  </a:cubicBezTo>
                  <a:cubicBezTo>
                    <a:pt x="336" y="266"/>
                    <a:pt x="340" y="266"/>
                    <a:pt x="344" y="266"/>
                  </a:cubicBezTo>
                  <a:cubicBezTo>
                    <a:pt x="348" y="266"/>
                    <a:pt x="352" y="266"/>
                    <a:pt x="356" y="267"/>
                  </a:cubicBezTo>
                  <a:cubicBezTo>
                    <a:pt x="359" y="268"/>
                    <a:pt x="361" y="268"/>
                    <a:pt x="362" y="268"/>
                  </a:cubicBezTo>
                  <a:cubicBezTo>
                    <a:pt x="368" y="268"/>
                    <a:pt x="369" y="264"/>
                    <a:pt x="370" y="261"/>
                  </a:cubicBezTo>
                  <a:cubicBezTo>
                    <a:pt x="372" y="257"/>
                    <a:pt x="375" y="253"/>
                    <a:pt x="365" y="247"/>
                  </a:cubicBezTo>
                  <a:cubicBezTo>
                    <a:pt x="357" y="242"/>
                    <a:pt x="348" y="233"/>
                    <a:pt x="349" y="228"/>
                  </a:cubicBezTo>
                  <a:cubicBezTo>
                    <a:pt x="353" y="225"/>
                    <a:pt x="362" y="223"/>
                    <a:pt x="371" y="222"/>
                  </a:cubicBezTo>
                  <a:cubicBezTo>
                    <a:pt x="371" y="222"/>
                    <a:pt x="371" y="222"/>
                    <a:pt x="371" y="222"/>
                  </a:cubicBezTo>
                  <a:cubicBezTo>
                    <a:pt x="382" y="222"/>
                    <a:pt x="382" y="217"/>
                    <a:pt x="383" y="213"/>
                  </a:cubicBezTo>
                  <a:cubicBezTo>
                    <a:pt x="383" y="208"/>
                    <a:pt x="385" y="203"/>
                    <a:pt x="373" y="200"/>
                  </a:cubicBezTo>
                  <a:cubicBezTo>
                    <a:pt x="364" y="197"/>
                    <a:pt x="354" y="191"/>
                    <a:pt x="353" y="187"/>
                  </a:cubicBezTo>
                  <a:cubicBezTo>
                    <a:pt x="356" y="182"/>
                    <a:pt x="365" y="177"/>
                    <a:pt x="373" y="175"/>
                  </a:cubicBezTo>
                  <a:cubicBezTo>
                    <a:pt x="384" y="172"/>
                    <a:pt x="383" y="167"/>
                    <a:pt x="382" y="163"/>
                  </a:cubicBezTo>
                  <a:cubicBezTo>
                    <a:pt x="381" y="158"/>
                    <a:pt x="381" y="153"/>
                    <a:pt x="370" y="153"/>
                  </a:cubicBezTo>
                  <a:cubicBezTo>
                    <a:pt x="370" y="153"/>
                    <a:pt x="370" y="153"/>
                    <a:pt x="370" y="153"/>
                  </a:cubicBezTo>
                  <a:cubicBezTo>
                    <a:pt x="360" y="153"/>
                    <a:pt x="348" y="149"/>
                    <a:pt x="347" y="145"/>
                  </a:cubicBezTo>
                  <a:cubicBezTo>
                    <a:pt x="348" y="140"/>
                    <a:pt x="356" y="133"/>
                    <a:pt x="363" y="129"/>
                  </a:cubicBezTo>
                  <a:cubicBezTo>
                    <a:pt x="373" y="123"/>
                    <a:pt x="370" y="118"/>
                    <a:pt x="368" y="114"/>
                  </a:cubicBezTo>
                  <a:cubicBezTo>
                    <a:pt x="367" y="111"/>
                    <a:pt x="366" y="107"/>
                    <a:pt x="360" y="107"/>
                  </a:cubicBezTo>
                  <a:cubicBezTo>
                    <a:pt x="358" y="107"/>
                    <a:pt x="356" y="108"/>
                    <a:pt x="354" y="108"/>
                  </a:cubicBezTo>
                  <a:cubicBezTo>
                    <a:pt x="350" y="109"/>
                    <a:pt x="346" y="110"/>
                    <a:pt x="342" y="110"/>
                  </a:cubicBezTo>
                  <a:cubicBezTo>
                    <a:pt x="336" y="110"/>
                    <a:pt x="331" y="109"/>
                    <a:pt x="330" y="107"/>
                  </a:cubicBezTo>
                  <a:cubicBezTo>
                    <a:pt x="330" y="101"/>
                    <a:pt x="335" y="93"/>
                    <a:pt x="341" y="87"/>
                  </a:cubicBezTo>
                  <a:cubicBezTo>
                    <a:pt x="349" y="79"/>
                    <a:pt x="345" y="75"/>
                    <a:pt x="342" y="71"/>
                  </a:cubicBezTo>
                  <a:cubicBezTo>
                    <a:pt x="341" y="69"/>
                    <a:pt x="339" y="66"/>
                    <a:pt x="335" y="66"/>
                  </a:cubicBezTo>
                  <a:cubicBezTo>
                    <a:pt x="333" y="66"/>
                    <a:pt x="331" y="67"/>
                    <a:pt x="327" y="69"/>
                  </a:cubicBezTo>
                  <a:cubicBezTo>
                    <a:pt x="321" y="73"/>
                    <a:pt x="313" y="75"/>
                    <a:pt x="308" y="75"/>
                  </a:cubicBezTo>
                  <a:cubicBezTo>
                    <a:pt x="306" y="75"/>
                    <a:pt x="304" y="75"/>
                    <a:pt x="303" y="74"/>
                  </a:cubicBezTo>
                  <a:cubicBezTo>
                    <a:pt x="302" y="69"/>
                    <a:pt x="305" y="59"/>
                    <a:pt x="309" y="52"/>
                  </a:cubicBezTo>
                  <a:cubicBezTo>
                    <a:pt x="315" y="42"/>
                    <a:pt x="310" y="39"/>
                    <a:pt x="307" y="37"/>
                  </a:cubicBezTo>
                  <a:cubicBezTo>
                    <a:pt x="305" y="35"/>
                    <a:pt x="303" y="33"/>
                    <a:pt x="300" y="33"/>
                  </a:cubicBezTo>
                  <a:cubicBezTo>
                    <a:pt x="298" y="33"/>
                    <a:pt x="295" y="35"/>
                    <a:pt x="291" y="38"/>
                  </a:cubicBezTo>
                  <a:cubicBezTo>
                    <a:pt x="285" y="44"/>
                    <a:pt x="276" y="49"/>
                    <a:pt x="271" y="49"/>
                  </a:cubicBezTo>
                  <a:cubicBezTo>
                    <a:pt x="271" y="49"/>
                    <a:pt x="270" y="49"/>
                    <a:pt x="269" y="49"/>
                  </a:cubicBezTo>
                  <a:cubicBezTo>
                    <a:pt x="267" y="45"/>
                    <a:pt x="267" y="35"/>
                    <a:pt x="269" y="27"/>
                  </a:cubicBezTo>
                  <a:cubicBezTo>
                    <a:pt x="272" y="15"/>
                    <a:pt x="267" y="14"/>
                    <a:pt x="263" y="12"/>
                  </a:cubicBezTo>
                  <a:cubicBezTo>
                    <a:pt x="261" y="12"/>
                    <a:pt x="259" y="11"/>
                    <a:pt x="257" y="11"/>
                  </a:cubicBezTo>
                  <a:cubicBezTo>
                    <a:pt x="255" y="11"/>
                    <a:pt x="252" y="12"/>
                    <a:pt x="248" y="18"/>
                  </a:cubicBezTo>
                  <a:cubicBezTo>
                    <a:pt x="244" y="26"/>
                    <a:pt x="235" y="34"/>
                    <a:pt x="231" y="34"/>
                  </a:cubicBezTo>
                  <a:cubicBezTo>
                    <a:pt x="230" y="34"/>
                    <a:pt x="230" y="34"/>
                    <a:pt x="230" y="34"/>
                  </a:cubicBezTo>
                  <a:cubicBezTo>
                    <a:pt x="227" y="30"/>
                    <a:pt x="224" y="21"/>
                    <a:pt x="224" y="12"/>
                  </a:cubicBezTo>
                  <a:cubicBezTo>
                    <a:pt x="224" y="1"/>
                    <a:pt x="219" y="1"/>
                    <a:pt x="214" y="0"/>
                  </a:cubicBezTo>
                  <a:cubicBezTo>
                    <a:pt x="213" y="0"/>
                    <a:pt x="212" y="0"/>
                    <a:pt x="2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8" name="Freeform 21327">
              <a:extLst>
                <a:ext uri="{FF2B5EF4-FFF2-40B4-BE49-F238E27FC236}">
                  <a16:creationId xmlns:a16="http://schemas.microsoft.com/office/drawing/2014/main" id="{4E1365B3-AA59-46CD-A537-B2603065B285}"/>
                </a:ext>
              </a:extLst>
            </p:cNvPr>
            <p:cNvSpPr>
              <a:spLocks noEditPoints="1"/>
            </p:cNvSpPr>
            <p:nvPr userDrawn="1"/>
          </p:nvSpPr>
          <p:spPr bwMode="auto">
            <a:xfrm>
              <a:off x="11654790" y="3839528"/>
              <a:ext cx="339725" cy="331788"/>
            </a:xfrm>
            <a:custGeom>
              <a:avLst/>
              <a:gdLst>
                <a:gd name="T0" fmla="*/ 84 w 168"/>
                <a:gd name="T1" fmla="*/ 129 h 164"/>
                <a:gd name="T2" fmla="*/ 56 w 168"/>
                <a:gd name="T3" fmla="*/ 120 h 164"/>
                <a:gd name="T4" fmla="*/ 37 w 168"/>
                <a:gd name="T5" fmla="*/ 89 h 164"/>
                <a:gd name="T6" fmla="*/ 46 w 168"/>
                <a:gd name="T7" fmla="*/ 54 h 164"/>
                <a:gd name="T8" fmla="*/ 84 w 168"/>
                <a:gd name="T9" fmla="*/ 35 h 164"/>
                <a:gd name="T10" fmla="*/ 111 w 168"/>
                <a:gd name="T11" fmla="*/ 44 h 164"/>
                <a:gd name="T12" fmla="*/ 121 w 168"/>
                <a:gd name="T13" fmla="*/ 110 h 164"/>
                <a:gd name="T14" fmla="*/ 84 w 168"/>
                <a:gd name="T15" fmla="*/ 129 h 164"/>
                <a:gd name="T16" fmla="*/ 84 w 168"/>
                <a:gd name="T17" fmla="*/ 30 h 164"/>
                <a:gd name="T18" fmla="*/ 42 w 168"/>
                <a:gd name="T19" fmla="*/ 51 h 164"/>
                <a:gd name="T20" fmla="*/ 32 w 168"/>
                <a:gd name="T21" fmla="*/ 90 h 164"/>
                <a:gd name="T22" fmla="*/ 53 w 168"/>
                <a:gd name="T23" fmla="*/ 124 h 164"/>
                <a:gd name="T24" fmla="*/ 84 w 168"/>
                <a:gd name="T25" fmla="*/ 134 h 164"/>
                <a:gd name="T26" fmla="*/ 125 w 168"/>
                <a:gd name="T27" fmla="*/ 113 h 164"/>
                <a:gd name="T28" fmla="*/ 114 w 168"/>
                <a:gd name="T29" fmla="*/ 40 h 164"/>
                <a:gd name="T30" fmla="*/ 84 w 168"/>
                <a:gd name="T31" fmla="*/ 30 h 164"/>
                <a:gd name="T32" fmla="*/ 84 w 168"/>
                <a:gd name="T33" fmla="*/ 159 h 164"/>
                <a:gd name="T34" fmla="*/ 38 w 168"/>
                <a:gd name="T35" fmla="*/ 144 h 164"/>
                <a:gd name="T36" fmla="*/ 8 w 168"/>
                <a:gd name="T37" fmla="*/ 93 h 164"/>
                <a:gd name="T38" fmla="*/ 22 w 168"/>
                <a:gd name="T39" fmla="*/ 37 h 164"/>
                <a:gd name="T40" fmla="*/ 84 w 168"/>
                <a:gd name="T41" fmla="*/ 5 h 164"/>
                <a:gd name="T42" fmla="*/ 129 w 168"/>
                <a:gd name="T43" fmla="*/ 20 h 164"/>
                <a:gd name="T44" fmla="*/ 159 w 168"/>
                <a:gd name="T45" fmla="*/ 70 h 164"/>
                <a:gd name="T46" fmla="*/ 145 w 168"/>
                <a:gd name="T47" fmla="*/ 127 h 164"/>
                <a:gd name="T48" fmla="*/ 84 w 168"/>
                <a:gd name="T49" fmla="*/ 159 h 164"/>
                <a:gd name="T50" fmla="*/ 84 w 168"/>
                <a:gd name="T51" fmla="*/ 159 h 164"/>
                <a:gd name="T52" fmla="*/ 84 w 168"/>
                <a:gd name="T53" fmla="*/ 0 h 164"/>
                <a:gd name="T54" fmla="*/ 18 w 168"/>
                <a:gd name="T55" fmla="*/ 34 h 164"/>
                <a:gd name="T56" fmla="*/ 3 w 168"/>
                <a:gd name="T57" fmla="*/ 94 h 164"/>
                <a:gd name="T58" fmla="*/ 35 w 168"/>
                <a:gd name="T59" fmla="*/ 148 h 164"/>
                <a:gd name="T60" fmla="*/ 84 w 168"/>
                <a:gd name="T61" fmla="*/ 164 h 164"/>
                <a:gd name="T62" fmla="*/ 84 w 168"/>
                <a:gd name="T63" fmla="*/ 164 h 164"/>
                <a:gd name="T64" fmla="*/ 149 w 168"/>
                <a:gd name="T65" fmla="*/ 130 h 164"/>
                <a:gd name="T66" fmla="*/ 164 w 168"/>
                <a:gd name="T67" fmla="*/ 70 h 164"/>
                <a:gd name="T68" fmla="*/ 132 w 168"/>
                <a:gd name="T69" fmla="*/ 16 h 164"/>
                <a:gd name="T70" fmla="*/ 84 w 168"/>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64">
                  <a:moveTo>
                    <a:pt x="84" y="129"/>
                  </a:moveTo>
                  <a:cubicBezTo>
                    <a:pt x="74" y="129"/>
                    <a:pt x="64" y="125"/>
                    <a:pt x="56" y="120"/>
                  </a:cubicBezTo>
                  <a:cubicBezTo>
                    <a:pt x="46" y="112"/>
                    <a:pt x="39" y="101"/>
                    <a:pt x="37" y="89"/>
                  </a:cubicBezTo>
                  <a:cubicBezTo>
                    <a:pt x="36" y="77"/>
                    <a:pt x="39" y="64"/>
                    <a:pt x="46" y="54"/>
                  </a:cubicBezTo>
                  <a:cubicBezTo>
                    <a:pt x="55" y="42"/>
                    <a:pt x="69" y="35"/>
                    <a:pt x="84" y="35"/>
                  </a:cubicBezTo>
                  <a:cubicBezTo>
                    <a:pt x="94" y="35"/>
                    <a:pt x="103" y="38"/>
                    <a:pt x="111" y="44"/>
                  </a:cubicBezTo>
                  <a:cubicBezTo>
                    <a:pt x="132" y="60"/>
                    <a:pt x="136" y="89"/>
                    <a:pt x="121" y="110"/>
                  </a:cubicBezTo>
                  <a:cubicBezTo>
                    <a:pt x="112" y="122"/>
                    <a:pt x="98" y="129"/>
                    <a:pt x="84" y="129"/>
                  </a:cubicBezTo>
                  <a:moveTo>
                    <a:pt x="84" y="30"/>
                  </a:moveTo>
                  <a:cubicBezTo>
                    <a:pt x="67" y="30"/>
                    <a:pt x="52" y="38"/>
                    <a:pt x="42" y="51"/>
                  </a:cubicBezTo>
                  <a:cubicBezTo>
                    <a:pt x="34" y="62"/>
                    <a:pt x="30" y="76"/>
                    <a:pt x="32" y="90"/>
                  </a:cubicBezTo>
                  <a:cubicBezTo>
                    <a:pt x="35" y="103"/>
                    <a:pt x="42" y="115"/>
                    <a:pt x="53" y="124"/>
                  </a:cubicBezTo>
                  <a:cubicBezTo>
                    <a:pt x="62" y="130"/>
                    <a:pt x="72" y="134"/>
                    <a:pt x="84" y="134"/>
                  </a:cubicBezTo>
                  <a:cubicBezTo>
                    <a:pt x="100" y="134"/>
                    <a:pt x="115" y="126"/>
                    <a:pt x="125" y="113"/>
                  </a:cubicBezTo>
                  <a:cubicBezTo>
                    <a:pt x="142" y="90"/>
                    <a:pt x="137" y="57"/>
                    <a:pt x="114" y="40"/>
                  </a:cubicBezTo>
                  <a:cubicBezTo>
                    <a:pt x="105" y="34"/>
                    <a:pt x="95" y="30"/>
                    <a:pt x="84" y="30"/>
                  </a:cubicBezTo>
                  <a:moveTo>
                    <a:pt x="84" y="159"/>
                  </a:moveTo>
                  <a:cubicBezTo>
                    <a:pt x="67" y="159"/>
                    <a:pt x="51" y="153"/>
                    <a:pt x="38" y="144"/>
                  </a:cubicBezTo>
                  <a:cubicBezTo>
                    <a:pt x="22" y="132"/>
                    <a:pt x="11" y="114"/>
                    <a:pt x="8" y="93"/>
                  </a:cubicBezTo>
                  <a:cubicBezTo>
                    <a:pt x="5" y="73"/>
                    <a:pt x="10" y="53"/>
                    <a:pt x="22" y="37"/>
                  </a:cubicBezTo>
                  <a:cubicBezTo>
                    <a:pt x="36" y="17"/>
                    <a:pt x="59" y="5"/>
                    <a:pt x="84" y="5"/>
                  </a:cubicBezTo>
                  <a:cubicBezTo>
                    <a:pt x="100" y="5"/>
                    <a:pt x="116" y="10"/>
                    <a:pt x="129" y="20"/>
                  </a:cubicBezTo>
                  <a:cubicBezTo>
                    <a:pt x="146" y="32"/>
                    <a:pt x="156" y="50"/>
                    <a:pt x="159" y="70"/>
                  </a:cubicBezTo>
                  <a:cubicBezTo>
                    <a:pt x="162" y="91"/>
                    <a:pt x="157" y="111"/>
                    <a:pt x="145" y="127"/>
                  </a:cubicBezTo>
                  <a:cubicBezTo>
                    <a:pt x="131" y="147"/>
                    <a:pt x="108" y="159"/>
                    <a:pt x="84" y="159"/>
                  </a:cubicBezTo>
                  <a:cubicBezTo>
                    <a:pt x="84" y="159"/>
                    <a:pt x="84" y="159"/>
                    <a:pt x="84" y="159"/>
                  </a:cubicBezTo>
                  <a:moveTo>
                    <a:pt x="84" y="0"/>
                  </a:moveTo>
                  <a:cubicBezTo>
                    <a:pt x="58" y="0"/>
                    <a:pt x="33" y="13"/>
                    <a:pt x="18" y="34"/>
                  </a:cubicBezTo>
                  <a:cubicBezTo>
                    <a:pt x="5" y="51"/>
                    <a:pt x="0" y="73"/>
                    <a:pt x="3" y="94"/>
                  </a:cubicBezTo>
                  <a:cubicBezTo>
                    <a:pt x="6" y="116"/>
                    <a:pt x="18" y="135"/>
                    <a:pt x="35" y="148"/>
                  </a:cubicBezTo>
                  <a:cubicBezTo>
                    <a:pt x="49" y="158"/>
                    <a:pt x="66" y="164"/>
                    <a:pt x="84" y="164"/>
                  </a:cubicBezTo>
                  <a:cubicBezTo>
                    <a:pt x="84" y="164"/>
                    <a:pt x="84" y="164"/>
                    <a:pt x="84" y="164"/>
                  </a:cubicBezTo>
                  <a:cubicBezTo>
                    <a:pt x="109" y="164"/>
                    <a:pt x="134" y="151"/>
                    <a:pt x="149" y="130"/>
                  </a:cubicBezTo>
                  <a:cubicBezTo>
                    <a:pt x="162" y="113"/>
                    <a:pt x="168" y="91"/>
                    <a:pt x="164" y="70"/>
                  </a:cubicBezTo>
                  <a:cubicBezTo>
                    <a:pt x="161" y="48"/>
                    <a:pt x="150" y="29"/>
                    <a:pt x="132" y="16"/>
                  </a:cubicBezTo>
                  <a:cubicBezTo>
                    <a:pt x="118" y="6"/>
                    <a:pt x="101" y="0"/>
                    <a:pt x="84"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9" name="Freeform 21328">
              <a:extLst>
                <a:ext uri="{FF2B5EF4-FFF2-40B4-BE49-F238E27FC236}">
                  <a16:creationId xmlns:a16="http://schemas.microsoft.com/office/drawing/2014/main" id="{9416F5B4-1859-40DF-AA35-E7D8D6AE8818}"/>
                </a:ext>
              </a:extLst>
            </p:cNvPr>
            <p:cNvSpPr>
              <a:spLocks noEditPoints="1"/>
            </p:cNvSpPr>
            <p:nvPr userDrawn="1"/>
          </p:nvSpPr>
          <p:spPr bwMode="auto">
            <a:xfrm>
              <a:off x="10730865" y="3749040"/>
              <a:ext cx="579438" cy="541338"/>
            </a:xfrm>
            <a:custGeom>
              <a:avLst/>
              <a:gdLst>
                <a:gd name="T0" fmla="*/ 137 w 287"/>
                <a:gd name="T1" fmla="*/ 179 h 268"/>
                <a:gd name="T2" fmla="*/ 108 w 287"/>
                <a:gd name="T3" fmla="*/ 169 h 268"/>
                <a:gd name="T4" fmla="*/ 102 w 287"/>
                <a:gd name="T5" fmla="*/ 106 h 268"/>
                <a:gd name="T6" fmla="*/ 137 w 287"/>
                <a:gd name="T7" fmla="*/ 89 h 268"/>
                <a:gd name="T8" fmla="*/ 165 w 287"/>
                <a:gd name="T9" fmla="*/ 99 h 268"/>
                <a:gd name="T10" fmla="*/ 172 w 287"/>
                <a:gd name="T11" fmla="*/ 162 h 268"/>
                <a:gd name="T12" fmla="*/ 137 w 287"/>
                <a:gd name="T13" fmla="*/ 179 h 268"/>
                <a:gd name="T14" fmla="*/ 137 w 287"/>
                <a:gd name="T15" fmla="*/ 84 h 268"/>
                <a:gd name="T16" fmla="*/ 98 w 287"/>
                <a:gd name="T17" fmla="*/ 103 h 268"/>
                <a:gd name="T18" fmla="*/ 105 w 287"/>
                <a:gd name="T19" fmla="*/ 173 h 268"/>
                <a:gd name="T20" fmla="*/ 137 w 287"/>
                <a:gd name="T21" fmla="*/ 184 h 268"/>
                <a:gd name="T22" fmla="*/ 175 w 287"/>
                <a:gd name="T23" fmla="*/ 166 h 268"/>
                <a:gd name="T24" fmla="*/ 168 w 287"/>
                <a:gd name="T25" fmla="*/ 95 h 268"/>
                <a:gd name="T26" fmla="*/ 137 w 287"/>
                <a:gd name="T27" fmla="*/ 84 h 268"/>
                <a:gd name="T28" fmla="*/ 137 w 287"/>
                <a:gd name="T29" fmla="*/ 263 h 268"/>
                <a:gd name="T30" fmla="*/ 55 w 287"/>
                <a:gd name="T31" fmla="*/ 234 h 268"/>
                <a:gd name="T32" fmla="*/ 8 w 287"/>
                <a:gd name="T33" fmla="*/ 148 h 268"/>
                <a:gd name="T34" fmla="*/ 36 w 287"/>
                <a:gd name="T35" fmla="*/ 53 h 268"/>
                <a:gd name="T36" fmla="*/ 137 w 287"/>
                <a:gd name="T37" fmla="*/ 5 h 268"/>
                <a:gd name="T38" fmla="*/ 218 w 287"/>
                <a:gd name="T39" fmla="*/ 34 h 268"/>
                <a:gd name="T40" fmla="*/ 237 w 287"/>
                <a:gd name="T41" fmla="*/ 215 h 268"/>
                <a:gd name="T42" fmla="*/ 137 w 287"/>
                <a:gd name="T43" fmla="*/ 263 h 268"/>
                <a:gd name="T44" fmla="*/ 137 w 287"/>
                <a:gd name="T45" fmla="*/ 263 h 268"/>
                <a:gd name="T46" fmla="*/ 137 w 287"/>
                <a:gd name="T47" fmla="*/ 0 h 268"/>
                <a:gd name="T48" fmla="*/ 33 w 287"/>
                <a:gd name="T49" fmla="*/ 50 h 268"/>
                <a:gd name="T50" fmla="*/ 3 w 287"/>
                <a:gd name="T51" fmla="*/ 148 h 268"/>
                <a:gd name="T52" fmla="*/ 52 w 287"/>
                <a:gd name="T53" fmla="*/ 238 h 268"/>
                <a:gd name="T54" fmla="*/ 137 w 287"/>
                <a:gd name="T55" fmla="*/ 268 h 268"/>
                <a:gd name="T56" fmla="*/ 137 w 287"/>
                <a:gd name="T57" fmla="*/ 268 h 268"/>
                <a:gd name="T58" fmla="*/ 241 w 287"/>
                <a:gd name="T59" fmla="*/ 219 h 268"/>
                <a:gd name="T60" fmla="*/ 221 w 287"/>
                <a:gd name="T61" fmla="*/ 30 h 268"/>
                <a:gd name="T62" fmla="*/ 137 w 287"/>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7" y="179"/>
                  </a:moveTo>
                  <a:cubicBezTo>
                    <a:pt x="126" y="179"/>
                    <a:pt x="116" y="176"/>
                    <a:pt x="108" y="169"/>
                  </a:cubicBezTo>
                  <a:cubicBezTo>
                    <a:pt x="89" y="153"/>
                    <a:pt x="86" y="125"/>
                    <a:pt x="102" y="106"/>
                  </a:cubicBezTo>
                  <a:cubicBezTo>
                    <a:pt x="110" y="95"/>
                    <a:pt x="123" y="89"/>
                    <a:pt x="137" y="89"/>
                  </a:cubicBezTo>
                  <a:cubicBezTo>
                    <a:pt x="147" y="89"/>
                    <a:pt x="157" y="93"/>
                    <a:pt x="165" y="99"/>
                  </a:cubicBezTo>
                  <a:cubicBezTo>
                    <a:pt x="184" y="115"/>
                    <a:pt x="187" y="143"/>
                    <a:pt x="172" y="162"/>
                  </a:cubicBezTo>
                  <a:cubicBezTo>
                    <a:pt x="163" y="173"/>
                    <a:pt x="150" y="179"/>
                    <a:pt x="137" y="179"/>
                  </a:cubicBezTo>
                  <a:moveTo>
                    <a:pt x="137" y="84"/>
                  </a:moveTo>
                  <a:cubicBezTo>
                    <a:pt x="122" y="84"/>
                    <a:pt x="107" y="91"/>
                    <a:pt x="98" y="103"/>
                  </a:cubicBezTo>
                  <a:cubicBezTo>
                    <a:pt x="80" y="124"/>
                    <a:pt x="84" y="156"/>
                    <a:pt x="105" y="173"/>
                  </a:cubicBezTo>
                  <a:cubicBezTo>
                    <a:pt x="114" y="180"/>
                    <a:pt x="125" y="184"/>
                    <a:pt x="137" y="184"/>
                  </a:cubicBezTo>
                  <a:cubicBezTo>
                    <a:pt x="152" y="184"/>
                    <a:pt x="166" y="177"/>
                    <a:pt x="175" y="166"/>
                  </a:cubicBezTo>
                  <a:cubicBezTo>
                    <a:pt x="193" y="144"/>
                    <a:pt x="189" y="113"/>
                    <a:pt x="168" y="95"/>
                  </a:cubicBezTo>
                  <a:cubicBezTo>
                    <a:pt x="159" y="88"/>
                    <a:pt x="148" y="84"/>
                    <a:pt x="137" y="84"/>
                  </a:cubicBezTo>
                  <a:moveTo>
                    <a:pt x="137" y="263"/>
                  </a:moveTo>
                  <a:cubicBezTo>
                    <a:pt x="107" y="263"/>
                    <a:pt x="78" y="253"/>
                    <a:pt x="55" y="234"/>
                  </a:cubicBezTo>
                  <a:cubicBezTo>
                    <a:pt x="29" y="213"/>
                    <a:pt x="12" y="182"/>
                    <a:pt x="8" y="148"/>
                  </a:cubicBezTo>
                  <a:cubicBezTo>
                    <a:pt x="5" y="113"/>
                    <a:pt x="15" y="80"/>
                    <a:pt x="36" y="53"/>
                  </a:cubicBezTo>
                  <a:cubicBezTo>
                    <a:pt x="61" y="23"/>
                    <a:pt x="98" y="5"/>
                    <a:pt x="137" y="5"/>
                  </a:cubicBezTo>
                  <a:cubicBezTo>
                    <a:pt x="166" y="5"/>
                    <a:pt x="195" y="15"/>
                    <a:pt x="218" y="34"/>
                  </a:cubicBezTo>
                  <a:cubicBezTo>
                    <a:pt x="273" y="79"/>
                    <a:pt x="282" y="160"/>
                    <a:pt x="237" y="215"/>
                  </a:cubicBezTo>
                  <a:cubicBezTo>
                    <a:pt x="212" y="246"/>
                    <a:pt x="176" y="263"/>
                    <a:pt x="137" y="263"/>
                  </a:cubicBezTo>
                  <a:cubicBezTo>
                    <a:pt x="137" y="263"/>
                    <a:pt x="137" y="263"/>
                    <a:pt x="137" y="263"/>
                  </a:cubicBezTo>
                  <a:moveTo>
                    <a:pt x="137" y="0"/>
                  </a:moveTo>
                  <a:cubicBezTo>
                    <a:pt x="96" y="0"/>
                    <a:pt x="58" y="18"/>
                    <a:pt x="33" y="50"/>
                  </a:cubicBezTo>
                  <a:cubicBezTo>
                    <a:pt x="10" y="78"/>
                    <a:pt x="0" y="112"/>
                    <a:pt x="3" y="148"/>
                  </a:cubicBezTo>
                  <a:cubicBezTo>
                    <a:pt x="7" y="184"/>
                    <a:pt x="24" y="216"/>
                    <a:pt x="52" y="238"/>
                  </a:cubicBezTo>
                  <a:cubicBezTo>
                    <a:pt x="76" y="257"/>
                    <a:pt x="106" y="268"/>
                    <a:pt x="137" y="268"/>
                  </a:cubicBezTo>
                  <a:cubicBezTo>
                    <a:pt x="137" y="268"/>
                    <a:pt x="137" y="268"/>
                    <a:pt x="137" y="268"/>
                  </a:cubicBezTo>
                  <a:cubicBezTo>
                    <a:pt x="177" y="268"/>
                    <a:pt x="215" y="250"/>
                    <a:pt x="241" y="219"/>
                  </a:cubicBezTo>
                  <a:cubicBezTo>
                    <a:pt x="287" y="161"/>
                    <a:pt x="278" y="77"/>
                    <a:pt x="221" y="30"/>
                  </a:cubicBezTo>
                  <a:cubicBezTo>
                    <a:pt x="197" y="11"/>
                    <a:pt x="167"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0" name="Freeform 21329">
              <a:extLst>
                <a:ext uri="{FF2B5EF4-FFF2-40B4-BE49-F238E27FC236}">
                  <a16:creationId xmlns:a16="http://schemas.microsoft.com/office/drawing/2014/main" id="{44E1131A-A422-40CE-8F77-06BD9C74F5BE}"/>
                </a:ext>
              </a:extLst>
            </p:cNvPr>
            <p:cNvSpPr>
              <a:spLocks noEditPoints="1"/>
            </p:cNvSpPr>
            <p:nvPr userDrawn="1"/>
          </p:nvSpPr>
          <p:spPr bwMode="auto">
            <a:xfrm>
              <a:off x="10645140" y="3660140"/>
              <a:ext cx="722313" cy="719138"/>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1 w 357"/>
                <a:gd name="T19" fmla="*/ 129 h 356"/>
                <a:gd name="T20" fmla="*/ 339 w 357"/>
                <a:gd name="T21" fmla="*/ 148 h 356"/>
                <a:gd name="T22" fmla="*/ 351 w 357"/>
                <a:gd name="T23" fmla="*/ 190 h 356"/>
                <a:gd name="T24" fmla="*/ 340 w 357"/>
                <a:gd name="T25" fmla="*/ 241 h 356"/>
                <a:gd name="T26" fmla="*/ 301 w 357"/>
                <a:gd name="T27" fmla="*/ 247 h 356"/>
                <a:gd name="T28" fmla="*/ 307 w 357"/>
                <a:gd name="T29" fmla="*/ 292 h 356"/>
                <a:gd name="T30" fmla="*/ 270 w 357"/>
                <a:gd name="T31" fmla="*/ 325 h 356"/>
                <a:gd name="T32" fmla="*/ 232 w 357"/>
                <a:gd name="T33" fmla="*/ 308 h 356"/>
                <a:gd name="T34" fmla="*/ 215 w 357"/>
                <a:gd name="T35" fmla="*/ 347 h 356"/>
                <a:gd name="T36" fmla="*/ 176 w 357"/>
                <a:gd name="T37" fmla="*/ 342 h 356"/>
                <a:gd name="T38" fmla="*/ 147 w 357"/>
                <a:gd name="T39" fmla="*/ 315 h 356"/>
                <a:gd name="T40" fmla="*/ 115 w 357"/>
                <a:gd name="T41" fmla="*/ 339 h 356"/>
                <a:gd name="T42" fmla="*/ 104 w 357"/>
                <a:gd name="T43" fmla="*/ 298 h 356"/>
                <a:gd name="T44" fmla="*/ 67 w 357"/>
                <a:gd name="T45" fmla="*/ 298 h 356"/>
                <a:gd name="T46" fmla="*/ 39 w 357"/>
                <a:gd name="T47" fmla="*/ 276 h 356"/>
                <a:gd name="T48" fmla="*/ 48 w 357"/>
                <a:gd name="T49" fmla="*/ 232 h 356"/>
                <a:gd name="T50" fmla="*/ 11 w 357"/>
                <a:gd name="T51" fmla="*/ 221 h 356"/>
                <a:gd name="T52" fmla="*/ 6 w 357"/>
                <a:gd name="T53" fmla="*/ 169 h 356"/>
                <a:gd name="T54" fmla="*/ 23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1 w 357"/>
                <a:gd name="T67" fmla="*/ 17 h 356"/>
                <a:gd name="T68" fmla="*/ 167 w 357"/>
                <a:gd name="T69" fmla="*/ 33 h 356"/>
                <a:gd name="T70" fmla="*/ 127 w 357"/>
                <a:gd name="T71" fmla="*/ 21 h 356"/>
                <a:gd name="T72" fmla="*/ 86 w 357"/>
                <a:gd name="T73" fmla="*/ 26 h 356"/>
                <a:gd name="T74" fmla="*/ 83 w 357"/>
                <a:gd name="T75" fmla="*/ 69 h 356"/>
                <a:gd name="T76" fmla="*/ 39 w 357"/>
                <a:gd name="T77" fmla="*/ 67 h 356"/>
                <a:gd name="T78" fmla="*/ 24 w 357"/>
                <a:gd name="T79" fmla="*/ 105 h 356"/>
                <a:gd name="T80" fmla="*/ 15 w 357"/>
                <a:gd name="T81" fmla="*/ 154 h 356"/>
                <a:gd name="T82" fmla="*/ 16 w 357"/>
                <a:gd name="T83" fmla="*/ 206 h 356"/>
                <a:gd name="T84" fmla="*/ 30 w 357"/>
                <a:gd name="T85" fmla="*/ 233 h 356"/>
                <a:gd name="T86" fmla="*/ 39 w 357"/>
                <a:gd name="T87" fmla="*/ 281 h 356"/>
                <a:gd name="T88" fmla="*/ 64 w 357"/>
                <a:gd name="T89" fmla="*/ 315 h 356"/>
                <a:gd name="T90" fmla="*/ 104 w 357"/>
                <a:gd name="T91" fmla="*/ 325 h 356"/>
                <a:gd name="T92" fmla="*/ 145 w 357"/>
                <a:gd name="T93" fmla="*/ 320 h 356"/>
                <a:gd name="T94" fmla="*/ 181 w 357"/>
                <a:gd name="T95" fmla="*/ 343 h 356"/>
                <a:gd name="T96" fmla="*/ 222 w 357"/>
                <a:gd name="T97" fmla="*/ 351 h 356"/>
                <a:gd name="T98" fmla="*/ 271 w 357"/>
                <a:gd name="T99" fmla="*/ 330 h 356"/>
                <a:gd name="T100" fmla="*/ 296 w 357"/>
                <a:gd name="T101" fmla="*/ 293 h 356"/>
                <a:gd name="T102" fmla="*/ 305 w 357"/>
                <a:gd name="T103" fmla="*/ 251 h 356"/>
                <a:gd name="T104" fmla="*/ 345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4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9" y="290"/>
                  </a:moveTo>
                  <a:cubicBezTo>
                    <a:pt x="153" y="290"/>
                    <a:pt x="128" y="281"/>
                    <a:pt x="108" y="265"/>
                  </a:cubicBezTo>
                  <a:cubicBezTo>
                    <a:pt x="60" y="226"/>
                    <a:pt x="53" y="156"/>
                    <a:pt x="92" y="108"/>
                  </a:cubicBezTo>
                  <a:cubicBezTo>
                    <a:pt x="113" y="81"/>
                    <a:pt x="145" y="66"/>
                    <a:pt x="179" y="66"/>
                  </a:cubicBezTo>
                  <a:cubicBezTo>
                    <a:pt x="204" y="66"/>
                    <a:pt x="229" y="75"/>
                    <a:pt x="249" y="91"/>
                  </a:cubicBezTo>
                  <a:cubicBezTo>
                    <a:pt x="272" y="110"/>
                    <a:pt x="287" y="137"/>
                    <a:pt x="290" y="167"/>
                  </a:cubicBezTo>
                  <a:cubicBezTo>
                    <a:pt x="293" y="196"/>
                    <a:pt x="284" y="225"/>
                    <a:pt x="265" y="249"/>
                  </a:cubicBezTo>
                  <a:cubicBezTo>
                    <a:pt x="244" y="275"/>
                    <a:pt x="212" y="290"/>
                    <a:pt x="179" y="290"/>
                  </a:cubicBezTo>
                  <a:moveTo>
                    <a:pt x="179" y="61"/>
                  </a:moveTo>
                  <a:cubicBezTo>
                    <a:pt x="143" y="61"/>
                    <a:pt x="110" y="77"/>
                    <a:pt x="88" y="105"/>
                  </a:cubicBezTo>
                  <a:cubicBezTo>
                    <a:pt x="47" y="155"/>
                    <a:pt x="55" y="228"/>
                    <a:pt x="105" y="269"/>
                  </a:cubicBezTo>
                  <a:cubicBezTo>
                    <a:pt x="126" y="286"/>
                    <a:pt x="152" y="295"/>
                    <a:pt x="179" y="295"/>
                  </a:cubicBezTo>
                  <a:cubicBezTo>
                    <a:pt x="214" y="295"/>
                    <a:pt x="247" y="279"/>
                    <a:pt x="269" y="252"/>
                  </a:cubicBezTo>
                  <a:cubicBezTo>
                    <a:pt x="289" y="228"/>
                    <a:pt x="298" y="197"/>
                    <a:pt x="295" y="166"/>
                  </a:cubicBezTo>
                  <a:cubicBezTo>
                    <a:pt x="292" y="135"/>
                    <a:pt x="276" y="107"/>
                    <a:pt x="252" y="87"/>
                  </a:cubicBezTo>
                  <a:cubicBezTo>
                    <a:pt x="231" y="71"/>
                    <a:pt x="205" y="61"/>
                    <a:pt x="179" y="61"/>
                  </a:cubicBezTo>
                  <a:moveTo>
                    <a:pt x="167" y="38"/>
                  </a:moveTo>
                  <a:cubicBezTo>
                    <a:pt x="167" y="38"/>
                    <a:pt x="167" y="38"/>
                    <a:pt x="168" y="38"/>
                  </a:cubicBezTo>
                  <a:cubicBezTo>
                    <a:pt x="174" y="35"/>
                    <a:pt x="179" y="24"/>
                    <a:pt x="182" y="14"/>
                  </a:cubicBezTo>
                  <a:cubicBezTo>
                    <a:pt x="184" y="5"/>
                    <a:pt x="187" y="5"/>
                    <a:pt x="189" y="5"/>
                  </a:cubicBezTo>
                  <a:cubicBezTo>
                    <a:pt x="190" y="5"/>
                    <a:pt x="191" y="5"/>
                    <a:pt x="192" y="6"/>
                  </a:cubicBezTo>
                  <a:cubicBezTo>
                    <a:pt x="193" y="6"/>
                    <a:pt x="193" y="6"/>
                    <a:pt x="193" y="6"/>
                  </a:cubicBezTo>
                  <a:cubicBezTo>
                    <a:pt x="197" y="6"/>
                    <a:pt x="201" y="6"/>
                    <a:pt x="201" y="16"/>
                  </a:cubicBezTo>
                  <a:cubicBezTo>
                    <a:pt x="202" y="24"/>
                    <a:pt x="204" y="36"/>
                    <a:pt x="209" y="41"/>
                  </a:cubicBezTo>
                  <a:cubicBezTo>
                    <a:pt x="209" y="41"/>
                    <a:pt x="210" y="41"/>
                    <a:pt x="211" y="41"/>
                  </a:cubicBezTo>
                  <a:cubicBezTo>
                    <a:pt x="211" y="41"/>
                    <a:pt x="211" y="41"/>
                    <a:pt x="211" y="41"/>
                  </a:cubicBezTo>
                  <a:cubicBezTo>
                    <a:pt x="218" y="41"/>
                    <a:pt x="227" y="32"/>
                    <a:pt x="232" y="23"/>
                  </a:cubicBezTo>
                  <a:cubicBezTo>
                    <a:pt x="236" y="16"/>
                    <a:pt x="239" y="16"/>
                    <a:pt x="240" y="16"/>
                  </a:cubicBezTo>
                  <a:cubicBezTo>
                    <a:pt x="241" y="16"/>
                    <a:pt x="242" y="17"/>
                    <a:pt x="244" y="18"/>
                  </a:cubicBezTo>
                  <a:cubicBezTo>
                    <a:pt x="245" y="18"/>
                    <a:pt x="245" y="18"/>
                    <a:pt x="245" y="18"/>
                  </a:cubicBezTo>
                  <a:cubicBezTo>
                    <a:pt x="249" y="20"/>
                    <a:pt x="252" y="21"/>
                    <a:pt x="250" y="31"/>
                  </a:cubicBezTo>
                  <a:cubicBezTo>
                    <a:pt x="248" y="39"/>
                    <a:pt x="247" y="50"/>
                    <a:pt x="250" y="57"/>
                  </a:cubicBezTo>
                  <a:cubicBezTo>
                    <a:pt x="250" y="57"/>
                    <a:pt x="251" y="58"/>
                    <a:pt x="251" y="58"/>
                  </a:cubicBezTo>
                  <a:cubicBezTo>
                    <a:pt x="252" y="58"/>
                    <a:pt x="253" y="58"/>
                    <a:pt x="253" y="58"/>
                  </a:cubicBezTo>
                  <a:cubicBezTo>
                    <a:pt x="260" y="58"/>
                    <a:pt x="270" y="52"/>
                    <a:pt x="277" y="47"/>
                  </a:cubicBezTo>
                  <a:cubicBezTo>
                    <a:pt x="280" y="44"/>
                    <a:pt x="283" y="43"/>
                    <a:pt x="285" y="43"/>
                  </a:cubicBezTo>
                  <a:cubicBezTo>
                    <a:pt x="287" y="43"/>
                    <a:pt x="288" y="44"/>
                    <a:pt x="290" y="45"/>
                  </a:cubicBezTo>
                  <a:cubicBezTo>
                    <a:pt x="291" y="46"/>
                    <a:pt x="291" y="46"/>
                    <a:pt x="291" y="46"/>
                  </a:cubicBezTo>
                  <a:cubicBezTo>
                    <a:pt x="294" y="49"/>
                    <a:pt x="297" y="51"/>
                    <a:pt x="291" y="60"/>
                  </a:cubicBezTo>
                  <a:cubicBezTo>
                    <a:pt x="287" y="67"/>
                    <a:pt x="283" y="77"/>
                    <a:pt x="283" y="84"/>
                  </a:cubicBezTo>
                  <a:cubicBezTo>
                    <a:pt x="283" y="85"/>
                    <a:pt x="284" y="86"/>
                    <a:pt x="285" y="86"/>
                  </a:cubicBezTo>
                  <a:cubicBezTo>
                    <a:pt x="286" y="87"/>
                    <a:pt x="289" y="88"/>
                    <a:pt x="292" y="88"/>
                  </a:cubicBezTo>
                  <a:cubicBezTo>
                    <a:pt x="298" y="88"/>
                    <a:pt x="306" y="86"/>
                    <a:pt x="312" y="83"/>
                  </a:cubicBezTo>
                  <a:cubicBezTo>
                    <a:pt x="315" y="82"/>
                    <a:pt x="318"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3" y="129"/>
                    <a:pt x="331" y="129"/>
                  </a:cubicBezTo>
                  <a:cubicBezTo>
                    <a:pt x="332" y="129"/>
                    <a:pt x="334" y="129"/>
                    <a:pt x="335" y="129"/>
                  </a:cubicBezTo>
                  <a:cubicBezTo>
                    <a:pt x="336" y="129"/>
                    <a:pt x="337" y="129"/>
                    <a:pt x="338" y="129"/>
                  </a:cubicBezTo>
                  <a:cubicBezTo>
                    <a:pt x="345" y="129"/>
                    <a:pt x="345" y="131"/>
                    <a:pt x="346" y="135"/>
                  </a:cubicBezTo>
                  <a:cubicBezTo>
                    <a:pt x="347" y="137"/>
                    <a:pt x="347" y="137"/>
                    <a:pt x="347" y="137"/>
                  </a:cubicBezTo>
                  <a:cubicBezTo>
                    <a:pt x="348" y="141"/>
                    <a:pt x="349" y="144"/>
                    <a:pt x="339" y="148"/>
                  </a:cubicBezTo>
                  <a:cubicBezTo>
                    <a:pt x="332" y="151"/>
                    <a:pt x="322" y="157"/>
                    <a:pt x="319" y="163"/>
                  </a:cubicBezTo>
                  <a:cubicBezTo>
                    <a:pt x="318" y="164"/>
                    <a:pt x="318" y="164"/>
                    <a:pt x="319" y="165"/>
                  </a:cubicBezTo>
                  <a:cubicBezTo>
                    <a:pt x="321" y="171"/>
                    <a:pt x="333" y="177"/>
                    <a:pt x="343" y="179"/>
                  </a:cubicBezTo>
                  <a:cubicBezTo>
                    <a:pt x="352" y="181"/>
                    <a:pt x="352" y="184"/>
                    <a:pt x="351" y="188"/>
                  </a:cubicBezTo>
                  <a:cubicBezTo>
                    <a:pt x="351" y="190"/>
                    <a:pt x="351" y="190"/>
                    <a:pt x="351" y="190"/>
                  </a:cubicBezTo>
                  <a:cubicBezTo>
                    <a:pt x="351" y="194"/>
                    <a:pt x="351" y="198"/>
                    <a:pt x="341" y="198"/>
                  </a:cubicBezTo>
                  <a:cubicBezTo>
                    <a:pt x="333" y="199"/>
                    <a:pt x="322" y="202"/>
                    <a:pt x="317" y="206"/>
                  </a:cubicBezTo>
                  <a:cubicBezTo>
                    <a:pt x="316" y="207"/>
                    <a:pt x="316" y="208"/>
                    <a:pt x="316" y="208"/>
                  </a:cubicBezTo>
                  <a:cubicBezTo>
                    <a:pt x="317" y="215"/>
                    <a:pt x="326" y="224"/>
                    <a:pt x="335" y="229"/>
                  </a:cubicBezTo>
                  <a:cubicBezTo>
                    <a:pt x="343" y="234"/>
                    <a:pt x="342" y="237"/>
                    <a:pt x="340" y="241"/>
                  </a:cubicBezTo>
                  <a:cubicBezTo>
                    <a:pt x="339" y="242"/>
                    <a:pt x="339" y="242"/>
                    <a:pt x="339" y="242"/>
                  </a:cubicBezTo>
                  <a:cubicBezTo>
                    <a:pt x="338" y="246"/>
                    <a:pt x="337" y="248"/>
                    <a:pt x="333" y="248"/>
                  </a:cubicBezTo>
                  <a:cubicBezTo>
                    <a:pt x="331" y="248"/>
                    <a:pt x="329" y="248"/>
                    <a:pt x="327" y="247"/>
                  </a:cubicBezTo>
                  <a:cubicBezTo>
                    <a:pt x="323" y="246"/>
                    <a:pt x="318" y="245"/>
                    <a:pt x="313" y="245"/>
                  </a:cubicBezTo>
                  <a:cubicBezTo>
                    <a:pt x="310" y="245"/>
                    <a:pt x="305" y="246"/>
                    <a:pt x="301" y="247"/>
                  </a:cubicBezTo>
                  <a:cubicBezTo>
                    <a:pt x="301" y="248"/>
                    <a:pt x="300" y="248"/>
                    <a:pt x="300" y="249"/>
                  </a:cubicBezTo>
                  <a:cubicBezTo>
                    <a:pt x="299" y="255"/>
                    <a:pt x="305" y="267"/>
                    <a:pt x="311" y="274"/>
                  </a:cubicBezTo>
                  <a:cubicBezTo>
                    <a:pt x="318" y="282"/>
                    <a:pt x="316" y="284"/>
                    <a:pt x="313" y="287"/>
                  </a:cubicBezTo>
                  <a:cubicBezTo>
                    <a:pt x="312" y="288"/>
                    <a:pt x="312" y="288"/>
                    <a:pt x="312" y="288"/>
                  </a:cubicBezTo>
                  <a:cubicBezTo>
                    <a:pt x="310" y="291"/>
                    <a:pt x="309" y="292"/>
                    <a:pt x="307" y="292"/>
                  </a:cubicBezTo>
                  <a:cubicBezTo>
                    <a:pt x="305" y="292"/>
                    <a:pt x="302" y="291"/>
                    <a:pt x="299" y="289"/>
                  </a:cubicBezTo>
                  <a:cubicBezTo>
                    <a:pt x="293" y="285"/>
                    <a:pt x="283" y="281"/>
                    <a:pt x="276" y="281"/>
                  </a:cubicBezTo>
                  <a:cubicBezTo>
                    <a:pt x="274" y="281"/>
                    <a:pt x="272" y="282"/>
                    <a:pt x="271" y="283"/>
                  </a:cubicBezTo>
                  <a:cubicBezTo>
                    <a:pt x="265" y="287"/>
                    <a:pt x="268" y="303"/>
                    <a:pt x="272" y="313"/>
                  </a:cubicBezTo>
                  <a:cubicBezTo>
                    <a:pt x="276" y="321"/>
                    <a:pt x="274" y="323"/>
                    <a:pt x="270" y="325"/>
                  </a:cubicBezTo>
                  <a:cubicBezTo>
                    <a:pt x="268" y="326"/>
                    <a:pt x="268" y="326"/>
                    <a:pt x="268" y="326"/>
                  </a:cubicBezTo>
                  <a:cubicBezTo>
                    <a:pt x="267" y="327"/>
                    <a:pt x="265" y="328"/>
                    <a:pt x="264" y="328"/>
                  </a:cubicBezTo>
                  <a:cubicBezTo>
                    <a:pt x="262" y="328"/>
                    <a:pt x="259" y="326"/>
                    <a:pt x="256" y="323"/>
                  </a:cubicBezTo>
                  <a:cubicBezTo>
                    <a:pt x="249" y="315"/>
                    <a:pt x="239" y="308"/>
                    <a:pt x="233" y="308"/>
                  </a:cubicBezTo>
                  <a:cubicBezTo>
                    <a:pt x="233" y="308"/>
                    <a:pt x="233" y="308"/>
                    <a:pt x="232" y="308"/>
                  </a:cubicBezTo>
                  <a:cubicBezTo>
                    <a:pt x="232" y="308"/>
                    <a:pt x="231" y="309"/>
                    <a:pt x="230" y="309"/>
                  </a:cubicBezTo>
                  <a:cubicBezTo>
                    <a:pt x="227" y="315"/>
                    <a:pt x="226" y="326"/>
                    <a:pt x="227" y="335"/>
                  </a:cubicBezTo>
                  <a:cubicBezTo>
                    <a:pt x="228" y="344"/>
                    <a:pt x="225" y="345"/>
                    <a:pt x="220" y="346"/>
                  </a:cubicBezTo>
                  <a:cubicBezTo>
                    <a:pt x="219" y="347"/>
                    <a:pt x="219" y="347"/>
                    <a:pt x="219" y="347"/>
                  </a:cubicBezTo>
                  <a:cubicBezTo>
                    <a:pt x="218" y="347"/>
                    <a:pt x="216" y="347"/>
                    <a:pt x="215" y="347"/>
                  </a:cubicBezTo>
                  <a:cubicBezTo>
                    <a:pt x="214" y="347"/>
                    <a:pt x="211" y="347"/>
                    <a:pt x="208" y="340"/>
                  </a:cubicBezTo>
                  <a:cubicBezTo>
                    <a:pt x="204" y="330"/>
                    <a:pt x="196" y="320"/>
                    <a:pt x="190" y="318"/>
                  </a:cubicBezTo>
                  <a:cubicBezTo>
                    <a:pt x="190" y="318"/>
                    <a:pt x="190" y="318"/>
                    <a:pt x="189" y="318"/>
                  </a:cubicBezTo>
                  <a:cubicBezTo>
                    <a:pt x="189" y="318"/>
                    <a:pt x="188" y="318"/>
                    <a:pt x="188" y="319"/>
                  </a:cubicBezTo>
                  <a:cubicBezTo>
                    <a:pt x="183" y="323"/>
                    <a:pt x="178" y="334"/>
                    <a:pt x="176" y="342"/>
                  </a:cubicBezTo>
                  <a:cubicBezTo>
                    <a:pt x="175" y="351"/>
                    <a:pt x="171" y="351"/>
                    <a:pt x="169" y="351"/>
                  </a:cubicBezTo>
                  <a:cubicBezTo>
                    <a:pt x="168" y="351"/>
                    <a:pt x="168" y="351"/>
                    <a:pt x="167" y="351"/>
                  </a:cubicBezTo>
                  <a:cubicBezTo>
                    <a:pt x="165" y="351"/>
                    <a:pt x="165" y="351"/>
                    <a:pt x="165" y="351"/>
                  </a:cubicBezTo>
                  <a:cubicBezTo>
                    <a:pt x="161" y="351"/>
                    <a:pt x="158" y="351"/>
                    <a:pt x="157" y="341"/>
                  </a:cubicBezTo>
                  <a:cubicBezTo>
                    <a:pt x="156" y="331"/>
                    <a:pt x="152" y="318"/>
                    <a:pt x="147" y="315"/>
                  </a:cubicBezTo>
                  <a:cubicBezTo>
                    <a:pt x="146" y="315"/>
                    <a:pt x="146" y="315"/>
                    <a:pt x="145" y="315"/>
                  </a:cubicBezTo>
                  <a:cubicBezTo>
                    <a:pt x="144" y="315"/>
                    <a:pt x="144" y="315"/>
                    <a:pt x="144" y="315"/>
                  </a:cubicBezTo>
                  <a:cubicBezTo>
                    <a:pt x="138" y="317"/>
                    <a:pt x="131" y="326"/>
                    <a:pt x="126" y="333"/>
                  </a:cubicBezTo>
                  <a:cubicBezTo>
                    <a:pt x="123" y="340"/>
                    <a:pt x="120" y="340"/>
                    <a:pt x="119" y="340"/>
                  </a:cubicBezTo>
                  <a:cubicBezTo>
                    <a:pt x="118" y="340"/>
                    <a:pt x="116" y="340"/>
                    <a:pt x="115" y="339"/>
                  </a:cubicBezTo>
                  <a:cubicBezTo>
                    <a:pt x="113" y="339"/>
                    <a:pt x="113" y="339"/>
                    <a:pt x="113" y="339"/>
                  </a:cubicBezTo>
                  <a:cubicBezTo>
                    <a:pt x="109" y="337"/>
                    <a:pt x="106" y="336"/>
                    <a:pt x="109" y="326"/>
                  </a:cubicBezTo>
                  <a:cubicBezTo>
                    <a:pt x="111" y="316"/>
                    <a:pt x="111" y="304"/>
                    <a:pt x="106" y="299"/>
                  </a:cubicBezTo>
                  <a:cubicBezTo>
                    <a:pt x="106" y="298"/>
                    <a:pt x="105" y="298"/>
                    <a:pt x="104" y="298"/>
                  </a:cubicBezTo>
                  <a:cubicBezTo>
                    <a:pt x="104" y="298"/>
                    <a:pt x="104" y="298"/>
                    <a:pt x="104" y="298"/>
                  </a:cubicBezTo>
                  <a:cubicBezTo>
                    <a:pt x="98" y="298"/>
                    <a:pt x="88" y="304"/>
                    <a:pt x="81" y="310"/>
                  </a:cubicBezTo>
                  <a:cubicBezTo>
                    <a:pt x="78" y="313"/>
                    <a:pt x="76" y="315"/>
                    <a:pt x="74" y="315"/>
                  </a:cubicBezTo>
                  <a:cubicBezTo>
                    <a:pt x="72" y="315"/>
                    <a:pt x="70" y="313"/>
                    <a:pt x="69" y="312"/>
                  </a:cubicBezTo>
                  <a:cubicBezTo>
                    <a:pt x="67" y="311"/>
                    <a:pt x="67" y="311"/>
                    <a:pt x="67" y="311"/>
                  </a:cubicBezTo>
                  <a:cubicBezTo>
                    <a:pt x="64" y="308"/>
                    <a:pt x="61" y="306"/>
                    <a:pt x="67" y="298"/>
                  </a:cubicBezTo>
                  <a:cubicBezTo>
                    <a:pt x="72" y="289"/>
                    <a:pt x="75" y="277"/>
                    <a:pt x="73" y="271"/>
                  </a:cubicBezTo>
                  <a:cubicBezTo>
                    <a:pt x="73" y="270"/>
                    <a:pt x="72" y="270"/>
                    <a:pt x="71" y="269"/>
                  </a:cubicBezTo>
                  <a:cubicBezTo>
                    <a:pt x="70" y="269"/>
                    <a:pt x="68" y="269"/>
                    <a:pt x="67" y="269"/>
                  </a:cubicBezTo>
                  <a:cubicBezTo>
                    <a:pt x="61" y="269"/>
                    <a:pt x="53" y="271"/>
                    <a:pt x="46" y="274"/>
                  </a:cubicBezTo>
                  <a:cubicBezTo>
                    <a:pt x="43" y="275"/>
                    <a:pt x="40" y="276"/>
                    <a:pt x="39" y="276"/>
                  </a:cubicBezTo>
                  <a:cubicBezTo>
                    <a:pt x="36" y="276"/>
                    <a:pt x="35" y="274"/>
                    <a:pt x="33" y="272"/>
                  </a:cubicBezTo>
                  <a:cubicBezTo>
                    <a:pt x="32" y="270"/>
                    <a:pt x="32" y="270"/>
                    <a:pt x="32" y="270"/>
                  </a:cubicBezTo>
                  <a:cubicBezTo>
                    <a:pt x="30" y="267"/>
                    <a:pt x="28" y="264"/>
                    <a:pt x="35" y="258"/>
                  </a:cubicBezTo>
                  <a:cubicBezTo>
                    <a:pt x="43" y="251"/>
                    <a:pt x="50" y="241"/>
                    <a:pt x="50" y="234"/>
                  </a:cubicBezTo>
                  <a:cubicBezTo>
                    <a:pt x="50" y="233"/>
                    <a:pt x="49" y="233"/>
                    <a:pt x="48" y="232"/>
                  </a:cubicBezTo>
                  <a:cubicBezTo>
                    <a:pt x="43" y="229"/>
                    <a:pt x="34" y="228"/>
                    <a:pt x="30" y="228"/>
                  </a:cubicBezTo>
                  <a:cubicBezTo>
                    <a:pt x="28" y="228"/>
                    <a:pt x="25" y="228"/>
                    <a:pt x="23" y="229"/>
                  </a:cubicBezTo>
                  <a:cubicBezTo>
                    <a:pt x="21" y="229"/>
                    <a:pt x="20" y="229"/>
                    <a:pt x="19" y="229"/>
                  </a:cubicBezTo>
                  <a:cubicBezTo>
                    <a:pt x="13" y="229"/>
                    <a:pt x="12" y="227"/>
                    <a:pt x="11" y="223"/>
                  </a:cubicBezTo>
                  <a:cubicBezTo>
                    <a:pt x="11" y="221"/>
                    <a:pt x="11" y="221"/>
                    <a:pt x="11" y="221"/>
                  </a:cubicBezTo>
                  <a:cubicBezTo>
                    <a:pt x="10" y="217"/>
                    <a:pt x="9" y="214"/>
                    <a:pt x="18" y="210"/>
                  </a:cubicBezTo>
                  <a:cubicBezTo>
                    <a:pt x="27" y="206"/>
                    <a:pt x="37" y="198"/>
                    <a:pt x="39" y="192"/>
                  </a:cubicBezTo>
                  <a:cubicBezTo>
                    <a:pt x="39" y="191"/>
                    <a:pt x="39" y="190"/>
                    <a:pt x="38" y="190"/>
                  </a:cubicBezTo>
                  <a:cubicBezTo>
                    <a:pt x="34" y="185"/>
                    <a:pt x="23" y="180"/>
                    <a:pt x="15" y="179"/>
                  </a:cubicBezTo>
                  <a:cubicBezTo>
                    <a:pt x="5" y="177"/>
                    <a:pt x="5" y="174"/>
                    <a:pt x="6" y="169"/>
                  </a:cubicBezTo>
                  <a:cubicBezTo>
                    <a:pt x="6" y="168"/>
                    <a:pt x="6" y="168"/>
                    <a:pt x="6" y="168"/>
                  </a:cubicBezTo>
                  <a:cubicBezTo>
                    <a:pt x="6" y="163"/>
                    <a:pt x="6" y="160"/>
                    <a:pt x="16" y="159"/>
                  </a:cubicBezTo>
                  <a:cubicBezTo>
                    <a:pt x="26" y="158"/>
                    <a:pt x="38" y="154"/>
                    <a:pt x="41" y="148"/>
                  </a:cubicBezTo>
                  <a:cubicBezTo>
                    <a:pt x="42" y="148"/>
                    <a:pt x="42" y="147"/>
                    <a:pt x="41" y="146"/>
                  </a:cubicBezTo>
                  <a:cubicBezTo>
                    <a:pt x="39" y="140"/>
                    <a:pt x="30" y="133"/>
                    <a:pt x="23" y="129"/>
                  </a:cubicBezTo>
                  <a:cubicBezTo>
                    <a:pt x="14" y="124"/>
                    <a:pt x="15" y="121"/>
                    <a:pt x="17"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8"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5" y="72"/>
                    <a:pt x="73" y="75"/>
                    <a:pt x="79" y="75"/>
                  </a:cubicBezTo>
                  <a:cubicBezTo>
                    <a:pt x="82" y="75"/>
                    <a:pt x="85" y="74"/>
                    <a:pt x="86" y="73"/>
                  </a:cubicBezTo>
                  <a:cubicBezTo>
                    <a:pt x="86" y="73"/>
                    <a:pt x="86" y="73"/>
                    <a:pt x="86" y="73"/>
                  </a:cubicBezTo>
                  <a:cubicBezTo>
                    <a:pt x="86" y="73"/>
                    <a:pt x="86" y="73"/>
                    <a:pt x="86" y="73"/>
                  </a:cubicBezTo>
                  <a:cubicBezTo>
                    <a:pt x="87" y="72"/>
                    <a:pt x="87" y="72"/>
                    <a:pt x="87" y="72"/>
                  </a:cubicBezTo>
                  <a:cubicBezTo>
                    <a:pt x="92" y="68"/>
                    <a:pt x="89" y="52"/>
                    <a:pt x="86" y="43"/>
                  </a:cubicBezTo>
                  <a:cubicBezTo>
                    <a:pt x="82" y="34"/>
                    <a:pt x="85" y="32"/>
                    <a:pt x="89" y="30"/>
                  </a:cubicBezTo>
                  <a:cubicBezTo>
                    <a:pt x="90" y="29"/>
                    <a:pt x="90" y="29"/>
                    <a:pt x="90" y="29"/>
                  </a:cubicBezTo>
                  <a:cubicBezTo>
                    <a:pt x="92" y="28"/>
                    <a:pt x="93" y="28"/>
                    <a:pt x="95" y="28"/>
                  </a:cubicBezTo>
                  <a:cubicBezTo>
                    <a:pt x="97" y="28"/>
                    <a:pt x="100" y="29"/>
                    <a:pt x="103" y="33"/>
                  </a:cubicBezTo>
                  <a:cubicBezTo>
                    <a:pt x="108" y="40"/>
                    <a:pt x="117" y="47"/>
                    <a:pt x="123" y="49"/>
                  </a:cubicBezTo>
                  <a:cubicBezTo>
                    <a:pt x="123" y="49"/>
                    <a:pt x="123" y="49"/>
                    <a:pt x="124" y="49"/>
                  </a:cubicBezTo>
                  <a:cubicBezTo>
                    <a:pt x="124" y="49"/>
                    <a:pt x="125" y="49"/>
                    <a:pt x="125" y="48"/>
                  </a:cubicBezTo>
                  <a:cubicBezTo>
                    <a:pt x="130" y="44"/>
                    <a:pt x="132" y="31"/>
                    <a:pt x="132" y="21"/>
                  </a:cubicBezTo>
                  <a:cubicBezTo>
                    <a:pt x="131" y="11"/>
                    <a:pt x="134" y="11"/>
                    <a:pt x="138" y="10"/>
                  </a:cubicBezTo>
                  <a:cubicBezTo>
                    <a:pt x="140" y="9"/>
                    <a:pt x="140" y="9"/>
                    <a:pt x="140" y="9"/>
                  </a:cubicBezTo>
                  <a:cubicBezTo>
                    <a:pt x="141" y="9"/>
                    <a:pt x="142" y="9"/>
                    <a:pt x="143" y="9"/>
                  </a:cubicBezTo>
                  <a:cubicBezTo>
                    <a:pt x="145" y="9"/>
                    <a:pt x="148" y="9"/>
                    <a:pt x="151" y="17"/>
                  </a:cubicBezTo>
                  <a:cubicBezTo>
                    <a:pt x="154" y="25"/>
                    <a:pt x="160" y="35"/>
                    <a:pt x="166" y="38"/>
                  </a:cubicBezTo>
                  <a:cubicBezTo>
                    <a:pt x="166" y="38"/>
                    <a:pt x="166" y="38"/>
                    <a:pt x="167" y="38"/>
                  </a:cubicBezTo>
                  <a:moveTo>
                    <a:pt x="189" y="0"/>
                  </a:moveTo>
                  <a:cubicBezTo>
                    <a:pt x="183" y="0"/>
                    <a:pt x="179" y="4"/>
                    <a:pt x="177" y="13"/>
                  </a:cubicBezTo>
                  <a:cubicBezTo>
                    <a:pt x="175" y="22"/>
                    <a:pt x="170" y="30"/>
                    <a:pt x="167" y="33"/>
                  </a:cubicBezTo>
                  <a:cubicBezTo>
                    <a:pt x="163" y="30"/>
                    <a:pt x="158" y="23"/>
                    <a:pt x="155" y="15"/>
                  </a:cubicBezTo>
                  <a:cubicBezTo>
                    <a:pt x="152" y="7"/>
                    <a:pt x="149" y="4"/>
                    <a:pt x="143" y="4"/>
                  </a:cubicBezTo>
                  <a:cubicBezTo>
                    <a:pt x="142" y="4"/>
                    <a:pt x="140" y="4"/>
                    <a:pt x="139" y="5"/>
                  </a:cubicBezTo>
                  <a:cubicBezTo>
                    <a:pt x="137" y="5"/>
                    <a:pt x="137" y="5"/>
                    <a:pt x="137" y="5"/>
                  </a:cubicBezTo>
                  <a:cubicBezTo>
                    <a:pt x="131" y="6"/>
                    <a:pt x="126" y="8"/>
                    <a:pt x="127" y="21"/>
                  </a:cubicBezTo>
                  <a:cubicBezTo>
                    <a:pt x="127" y="30"/>
                    <a:pt x="125" y="40"/>
                    <a:pt x="123" y="43"/>
                  </a:cubicBezTo>
                  <a:cubicBezTo>
                    <a:pt x="118" y="42"/>
                    <a:pt x="112" y="36"/>
                    <a:pt x="106" y="30"/>
                  </a:cubicBezTo>
                  <a:cubicBezTo>
                    <a:pt x="103" y="25"/>
                    <a:pt x="99" y="23"/>
                    <a:pt x="95" y="23"/>
                  </a:cubicBezTo>
                  <a:cubicBezTo>
                    <a:pt x="92" y="23"/>
                    <a:pt x="89" y="24"/>
                    <a:pt x="87" y="25"/>
                  </a:cubicBezTo>
                  <a:cubicBezTo>
                    <a:pt x="86" y="26"/>
                    <a:pt x="86" y="26"/>
                    <a:pt x="86" y="26"/>
                  </a:cubicBezTo>
                  <a:cubicBezTo>
                    <a:pt x="81" y="29"/>
                    <a:pt x="76" y="33"/>
                    <a:pt x="81" y="45"/>
                  </a:cubicBezTo>
                  <a:cubicBezTo>
                    <a:pt x="85" y="55"/>
                    <a:pt x="86" y="66"/>
                    <a:pt x="83" y="68"/>
                  </a:cubicBezTo>
                  <a:cubicBezTo>
                    <a:pt x="83" y="69"/>
                    <a:pt x="83" y="69"/>
                    <a:pt x="83" y="69"/>
                  </a:cubicBezTo>
                  <a:cubicBezTo>
                    <a:pt x="83" y="69"/>
                    <a:pt x="83" y="69"/>
                    <a:pt x="83" y="69"/>
                  </a:cubicBezTo>
                  <a:cubicBezTo>
                    <a:pt x="83" y="69"/>
                    <a:pt x="83" y="69"/>
                    <a:pt x="83" y="69"/>
                  </a:cubicBezTo>
                  <a:cubicBezTo>
                    <a:pt x="82" y="69"/>
                    <a:pt x="81" y="70"/>
                    <a:pt x="79" y="70"/>
                  </a:cubicBezTo>
                  <a:cubicBezTo>
                    <a:pt x="74" y="70"/>
                    <a:pt x="66" y="67"/>
                    <a:pt x="60" y="64"/>
                  </a:cubicBezTo>
                  <a:cubicBezTo>
                    <a:pt x="56" y="61"/>
                    <a:pt x="52" y="60"/>
                    <a:pt x="49" y="60"/>
                  </a:cubicBezTo>
                  <a:cubicBezTo>
                    <a:pt x="45" y="60"/>
                    <a:pt x="42" y="64"/>
                    <a:pt x="40" y="66"/>
                  </a:cubicBezTo>
                  <a:cubicBezTo>
                    <a:pt x="39" y="67"/>
                    <a:pt x="39" y="67"/>
                    <a:pt x="39" y="67"/>
                  </a:cubicBezTo>
                  <a:cubicBezTo>
                    <a:pt x="35" y="72"/>
                    <a:pt x="32" y="77"/>
                    <a:pt x="42" y="87"/>
                  </a:cubicBezTo>
                  <a:cubicBezTo>
                    <a:pt x="47" y="93"/>
                    <a:pt x="52" y="100"/>
                    <a:pt x="53" y="105"/>
                  </a:cubicBezTo>
                  <a:cubicBezTo>
                    <a:pt x="51" y="106"/>
                    <a:pt x="47" y="107"/>
                    <a:pt x="41" y="107"/>
                  </a:cubicBezTo>
                  <a:cubicBezTo>
                    <a:pt x="37" y="107"/>
                    <a:pt x="34" y="106"/>
                    <a:pt x="30" y="106"/>
                  </a:cubicBezTo>
                  <a:cubicBezTo>
                    <a:pt x="28" y="105"/>
                    <a:pt x="26" y="105"/>
                    <a:pt x="24" y="105"/>
                  </a:cubicBezTo>
                  <a:cubicBezTo>
                    <a:pt x="16" y="105"/>
                    <a:pt x="14" y="110"/>
                    <a:pt x="12" y="114"/>
                  </a:cubicBezTo>
                  <a:cubicBezTo>
                    <a:pt x="12" y="115"/>
                    <a:pt x="12" y="115"/>
                    <a:pt x="12" y="115"/>
                  </a:cubicBezTo>
                  <a:cubicBezTo>
                    <a:pt x="10" y="121"/>
                    <a:pt x="9" y="127"/>
                    <a:pt x="20" y="133"/>
                  </a:cubicBezTo>
                  <a:cubicBezTo>
                    <a:pt x="27" y="137"/>
                    <a:pt x="34" y="143"/>
                    <a:pt x="36" y="147"/>
                  </a:cubicBezTo>
                  <a:cubicBezTo>
                    <a:pt x="33" y="150"/>
                    <a:pt x="24" y="153"/>
                    <a:pt x="15" y="154"/>
                  </a:cubicBezTo>
                  <a:cubicBezTo>
                    <a:pt x="2" y="156"/>
                    <a:pt x="1" y="162"/>
                    <a:pt x="1" y="168"/>
                  </a:cubicBezTo>
                  <a:cubicBezTo>
                    <a:pt x="1" y="169"/>
                    <a:pt x="1" y="169"/>
                    <a:pt x="1" y="169"/>
                  </a:cubicBezTo>
                  <a:cubicBezTo>
                    <a:pt x="0" y="175"/>
                    <a:pt x="1" y="181"/>
                    <a:pt x="14" y="184"/>
                  </a:cubicBezTo>
                  <a:cubicBezTo>
                    <a:pt x="22" y="185"/>
                    <a:pt x="30" y="189"/>
                    <a:pt x="33" y="192"/>
                  </a:cubicBezTo>
                  <a:cubicBezTo>
                    <a:pt x="31" y="196"/>
                    <a:pt x="24" y="202"/>
                    <a:pt x="16" y="206"/>
                  </a:cubicBezTo>
                  <a:cubicBezTo>
                    <a:pt x="4" y="211"/>
                    <a:pt x="4" y="217"/>
                    <a:pt x="6" y="223"/>
                  </a:cubicBezTo>
                  <a:cubicBezTo>
                    <a:pt x="6" y="224"/>
                    <a:pt x="6" y="224"/>
                    <a:pt x="6" y="224"/>
                  </a:cubicBezTo>
                  <a:cubicBezTo>
                    <a:pt x="7" y="228"/>
                    <a:pt x="9" y="234"/>
                    <a:pt x="19" y="234"/>
                  </a:cubicBezTo>
                  <a:cubicBezTo>
                    <a:pt x="20" y="234"/>
                    <a:pt x="22" y="234"/>
                    <a:pt x="23" y="234"/>
                  </a:cubicBezTo>
                  <a:cubicBezTo>
                    <a:pt x="26" y="233"/>
                    <a:pt x="28" y="233"/>
                    <a:pt x="30" y="233"/>
                  </a:cubicBezTo>
                  <a:cubicBezTo>
                    <a:pt x="36" y="233"/>
                    <a:pt x="41" y="234"/>
                    <a:pt x="45" y="236"/>
                  </a:cubicBezTo>
                  <a:cubicBezTo>
                    <a:pt x="44" y="240"/>
                    <a:pt x="38" y="248"/>
                    <a:pt x="32" y="254"/>
                  </a:cubicBezTo>
                  <a:cubicBezTo>
                    <a:pt x="22" y="263"/>
                    <a:pt x="24" y="268"/>
                    <a:pt x="28" y="273"/>
                  </a:cubicBezTo>
                  <a:cubicBezTo>
                    <a:pt x="29" y="274"/>
                    <a:pt x="29" y="274"/>
                    <a:pt x="29" y="274"/>
                  </a:cubicBezTo>
                  <a:cubicBezTo>
                    <a:pt x="30" y="277"/>
                    <a:pt x="33" y="281"/>
                    <a:pt x="39" y="281"/>
                  </a:cubicBezTo>
                  <a:cubicBezTo>
                    <a:pt x="41" y="281"/>
                    <a:pt x="44" y="280"/>
                    <a:pt x="48" y="279"/>
                  </a:cubicBezTo>
                  <a:cubicBezTo>
                    <a:pt x="54" y="276"/>
                    <a:pt x="62" y="274"/>
                    <a:pt x="67" y="274"/>
                  </a:cubicBezTo>
                  <a:cubicBezTo>
                    <a:pt x="67" y="274"/>
                    <a:pt x="68" y="274"/>
                    <a:pt x="69" y="274"/>
                  </a:cubicBezTo>
                  <a:cubicBezTo>
                    <a:pt x="69" y="278"/>
                    <a:pt x="67" y="288"/>
                    <a:pt x="62" y="295"/>
                  </a:cubicBezTo>
                  <a:cubicBezTo>
                    <a:pt x="55" y="307"/>
                    <a:pt x="59" y="311"/>
                    <a:pt x="64" y="315"/>
                  </a:cubicBezTo>
                  <a:cubicBezTo>
                    <a:pt x="65" y="316"/>
                    <a:pt x="65" y="316"/>
                    <a:pt x="65" y="316"/>
                  </a:cubicBezTo>
                  <a:cubicBezTo>
                    <a:pt x="67" y="317"/>
                    <a:pt x="70" y="320"/>
                    <a:pt x="74" y="320"/>
                  </a:cubicBezTo>
                  <a:cubicBezTo>
                    <a:pt x="77" y="320"/>
                    <a:pt x="81" y="318"/>
                    <a:pt x="85" y="314"/>
                  </a:cubicBezTo>
                  <a:cubicBezTo>
                    <a:pt x="91" y="308"/>
                    <a:pt x="98" y="304"/>
                    <a:pt x="103" y="303"/>
                  </a:cubicBezTo>
                  <a:cubicBezTo>
                    <a:pt x="105" y="307"/>
                    <a:pt x="105" y="317"/>
                    <a:pt x="104" y="325"/>
                  </a:cubicBezTo>
                  <a:cubicBezTo>
                    <a:pt x="101" y="338"/>
                    <a:pt x="106" y="341"/>
                    <a:pt x="112" y="343"/>
                  </a:cubicBezTo>
                  <a:cubicBezTo>
                    <a:pt x="113" y="344"/>
                    <a:pt x="113" y="344"/>
                    <a:pt x="113" y="344"/>
                  </a:cubicBezTo>
                  <a:cubicBezTo>
                    <a:pt x="115" y="344"/>
                    <a:pt x="117" y="345"/>
                    <a:pt x="119" y="345"/>
                  </a:cubicBezTo>
                  <a:cubicBezTo>
                    <a:pt x="124" y="345"/>
                    <a:pt x="127" y="342"/>
                    <a:pt x="131" y="336"/>
                  </a:cubicBezTo>
                  <a:cubicBezTo>
                    <a:pt x="135" y="329"/>
                    <a:pt x="141" y="322"/>
                    <a:pt x="145" y="320"/>
                  </a:cubicBezTo>
                  <a:cubicBezTo>
                    <a:pt x="148" y="323"/>
                    <a:pt x="151" y="332"/>
                    <a:pt x="152" y="341"/>
                  </a:cubicBezTo>
                  <a:cubicBezTo>
                    <a:pt x="153" y="354"/>
                    <a:pt x="159" y="356"/>
                    <a:pt x="165" y="356"/>
                  </a:cubicBezTo>
                  <a:cubicBezTo>
                    <a:pt x="167" y="356"/>
                    <a:pt x="167" y="356"/>
                    <a:pt x="167" y="356"/>
                  </a:cubicBezTo>
                  <a:cubicBezTo>
                    <a:pt x="167" y="356"/>
                    <a:pt x="168" y="356"/>
                    <a:pt x="169" y="356"/>
                  </a:cubicBezTo>
                  <a:cubicBezTo>
                    <a:pt x="176" y="356"/>
                    <a:pt x="180" y="352"/>
                    <a:pt x="181" y="343"/>
                  </a:cubicBezTo>
                  <a:cubicBezTo>
                    <a:pt x="183" y="335"/>
                    <a:pt x="187" y="327"/>
                    <a:pt x="190" y="324"/>
                  </a:cubicBezTo>
                  <a:cubicBezTo>
                    <a:pt x="194" y="326"/>
                    <a:pt x="200" y="333"/>
                    <a:pt x="203" y="341"/>
                  </a:cubicBezTo>
                  <a:cubicBezTo>
                    <a:pt x="206" y="349"/>
                    <a:pt x="210" y="352"/>
                    <a:pt x="215" y="352"/>
                  </a:cubicBezTo>
                  <a:cubicBezTo>
                    <a:pt x="217" y="352"/>
                    <a:pt x="219" y="352"/>
                    <a:pt x="220" y="351"/>
                  </a:cubicBezTo>
                  <a:cubicBezTo>
                    <a:pt x="222" y="351"/>
                    <a:pt x="222" y="351"/>
                    <a:pt x="222" y="351"/>
                  </a:cubicBezTo>
                  <a:cubicBezTo>
                    <a:pt x="228" y="350"/>
                    <a:pt x="233" y="347"/>
                    <a:pt x="232" y="334"/>
                  </a:cubicBezTo>
                  <a:cubicBezTo>
                    <a:pt x="231" y="326"/>
                    <a:pt x="232" y="318"/>
                    <a:pt x="234" y="313"/>
                  </a:cubicBezTo>
                  <a:cubicBezTo>
                    <a:pt x="238" y="314"/>
                    <a:pt x="246" y="319"/>
                    <a:pt x="252" y="326"/>
                  </a:cubicBezTo>
                  <a:cubicBezTo>
                    <a:pt x="256" y="331"/>
                    <a:pt x="260" y="333"/>
                    <a:pt x="264" y="333"/>
                  </a:cubicBezTo>
                  <a:cubicBezTo>
                    <a:pt x="267" y="333"/>
                    <a:pt x="269" y="332"/>
                    <a:pt x="271" y="330"/>
                  </a:cubicBezTo>
                  <a:cubicBezTo>
                    <a:pt x="272" y="330"/>
                    <a:pt x="272" y="330"/>
                    <a:pt x="272" y="330"/>
                  </a:cubicBezTo>
                  <a:cubicBezTo>
                    <a:pt x="278" y="326"/>
                    <a:pt x="282" y="322"/>
                    <a:pt x="277" y="311"/>
                  </a:cubicBezTo>
                  <a:cubicBezTo>
                    <a:pt x="272" y="300"/>
                    <a:pt x="271" y="289"/>
                    <a:pt x="274" y="287"/>
                  </a:cubicBezTo>
                  <a:cubicBezTo>
                    <a:pt x="274" y="287"/>
                    <a:pt x="275" y="286"/>
                    <a:pt x="276" y="286"/>
                  </a:cubicBezTo>
                  <a:cubicBezTo>
                    <a:pt x="281" y="286"/>
                    <a:pt x="290" y="289"/>
                    <a:pt x="296" y="293"/>
                  </a:cubicBezTo>
                  <a:cubicBezTo>
                    <a:pt x="300" y="296"/>
                    <a:pt x="304" y="297"/>
                    <a:pt x="307"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10" y="250"/>
                    <a:pt x="313" y="250"/>
                  </a:cubicBezTo>
                  <a:cubicBezTo>
                    <a:pt x="317" y="250"/>
                    <a:pt x="322" y="251"/>
                    <a:pt x="326" y="252"/>
                  </a:cubicBezTo>
                  <a:cubicBezTo>
                    <a:pt x="329" y="252"/>
                    <a:pt x="331" y="253"/>
                    <a:pt x="333" y="253"/>
                  </a:cubicBezTo>
                  <a:cubicBezTo>
                    <a:pt x="341" y="253"/>
                    <a:pt x="343" y="248"/>
                    <a:pt x="344" y="244"/>
                  </a:cubicBezTo>
                  <a:cubicBezTo>
                    <a:pt x="345" y="243"/>
                    <a:pt x="345" y="243"/>
                    <a:pt x="345" y="243"/>
                  </a:cubicBezTo>
                  <a:cubicBezTo>
                    <a:pt x="347" y="237"/>
                    <a:pt x="348" y="231"/>
                    <a:pt x="337" y="225"/>
                  </a:cubicBezTo>
                  <a:cubicBezTo>
                    <a:pt x="330" y="220"/>
                    <a:pt x="323" y="213"/>
                    <a:pt x="321" y="209"/>
                  </a:cubicBezTo>
                  <a:cubicBezTo>
                    <a:pt x="325" y="206"/>
                    <a:pt x="333" y="204"/>
                    <a:pt x="341" y="203"/>
                  </a:cubicBezTo>
                  <a:cubicBezTo>
                    <a:pt x="354" y="203"/>
                    <a:pt x="356" y="196"/>
                    <a:pt x="356" y="190"/>
                  </a:cubicBezTo>
                  <a:cubicBezTo>
                    <a:pt x="356" y="189"/>
                    <a:pt x="356" y="189"/>
                    <a:pt x="356" y="189"/>
                  </a:cubicBezTo>
                  <a:cubicBezTo>
                    <a:pt x="357" y="183"/>
                    <a:pt x="357" y="177"/>
                    <a:pt x="344" y="174"/>
                  </a:cubicBezTo>
                  <a:cubicBezTo>
                    <a:pt x="335" y="172"/>
                    <a:pt x="327" y="168"/>
                    <a:pt x="324" y="164"/>
                  </a:cubicBezTo>
                  <a:cubicBezTo>
                    <a:pt x="327" y="160"/>
                    <a:pt x="334" y="155"/>
                    <a:pt x="341" y="152"/>
                  </a:cubicBezTo>
                  <a:cubicBezTo>
                    <a:pt x="353" y="148"/>
                    <a:pt x="353" y="141"/>
                    <a:pt x="352" y="135"/>
                  </a:cubicBezTo>
                  <a:cubicBezTo>
                    <a:pt x="351" y="134"/>
                    <a:pt x="351" y="134"/>
                    <a:pt x="351" y="134"/>
                  </a:cubicBezTo>
                  <a:cubicBezTo>
                    <a:pt x="350" y="130"/>
                    <a:pt x="349" y="124"/>
                    <a:pt x="338" y="124"/>
                  </a:cubicBezTo>
                  <a:cubicBezTo>
                    <a:pt x="337" y="124"/>
                    <a:pt x="336" y="124"/>
                    <a:pt x="335" y="124"/>
                  </a:cubicBezTo>
                  <a:cubicBezTo>
                    <a:pt x="333" y="124"/>
                    <a:pt x="332" y="124"/>
                    <a:pt x="331" y="124"/>
                  </a:cubicBezTo>
                  <a:cubicBezTo>
                    <a:pt x="323" y="124"/>
                    <a:pt x="316" y="122"/>
                    <a:pt x="312" y="120"/>
                  </a:cubicBezTo>
                  <a:cubicBezTo>
                    <a:pt x="314" y="116"/>
                    <a:pt x="319" y="109"/>
                    <a:pt x="325" y="104"/>
                  </a:cubicBezTo>
                  <a:cubicBezTo>
                    <a:pt x="336" y="96"/>
                    <a:pt x="333" y="90"/>
                    <a:pt x="330" y="85"/>
                  </a:cubicBezTo>
                  <a:cubicBezTo>
                    <a:pt x="329" y="83"/>
                    <a:pt x="329" y="83"/>
                    <a:pt x="329" y="83"/>
                  </a:cubicBezTo>
                  <a:cubicBezTo>
                    <a:pt x="328" y="81"/>
                    <a:pt x="325" y="76"/>
                    <a:pt x="319" y="76"/>
                  </a:cubicBezTo>
                  <a:cubicBezTo>
                    <a:pt x="317" y="76"/>
                    <a:pt x="314" y="77"/>
                    <a:pt x="310" y="79"/>
                  </a:cubicBezTo>
                  <a:cubicBezTo>
                    <a:pt x="304" y="81"/>
                    <a:pt x="298" y="83"/>
                    <a:pt x="292" y="83"/>
                  </a:cubicBezTo>
                  <a:cubicBezTo>
                    <a:pt x="291" y="83"/>
                    <a:pt x="289" y="82"/>
                    <a:pt x="288" y="82"/>
                  </a:cubicBezTo>
                  <a:cubicBezTo>
                    <a:pt x="288" y="77"/>
                    <a:pt x="291" y="69"/>
                    <a:pt x="296" y="62"/>
                  </a:cubicBezTo>
                  <a:cubicBezTo>
                    <a:pt x="303" y="51"/>
                    <a:pt x="299" y="47"/>
                    <a:pt x="294" y="43"/>
                  </a:cubicBezTo>
                  <a:cubicBezTo>
                    <a:pt x="293" y="42"/>
                    <a:pt x="293" y="42"/>
                    <a:pt x="293" y="42"/>
                  </a:cubicBezTo>
                  <a:cubicBezTo>
                    <a:pt x="291" y="40"/>
                    <a:pt x="289" y="38"/>
                    <a:pt x="285" y="38"/>
                  </a:cubicBezTo>
                  <a:cubicBezTo>
                    <a:pt x="281" y="38"/>
                    <a:pt x="278" y="39"/>
                    <a:pt x="274" y="43"/>
                  </a:cubicBezTo>
                  <a:cubicBezTo>
                    <a:pt x="267" y="49"/>
                    <a:pt x="258" y="53"/>
                    <a:pt x="254" y="53"/>
                  </a:cubicBezTo>
                  <a:cubicBezTo>
                    <a:pt x="252" y="48"/>
                    <a:pt x="253" y="40"/>
                    <a:pt x="255" y="32"/>
                  </a:cubicBezTo>
                  <a:cubicBezTo>
                    <a:pt x="258" y="19"/>
                    <a:pt x="253" y="16"/>
                    <a:pt x="247" y="14"/>
                  </a:cubicBezTo>
                  <a:cubicBezTo>
                    <a:pt x="246" y="13"/>
                    <a:pt x="246" y="13"/>
                    <a:pt x="246" y="13"/>
                  </a:cubicBezTo>
                  <a:cubicBezTo>
                    <a:pt x="244" y="12"/>
                    <a:pt x="242" y="11"/>
                    <a:pt x="240" y="11"/>
                  </a:cubicBezTo>
                  <a:cubicBezTo>
                    <a:pt x="235" y="11"/>
                    <a:pt x="231" y="14"/>
                    <a:pt x="228" y="20"/>
                  </a:cubicBezTo>
                  <a:cubicBezTo>
                    <a:pt x="223" y="28"/>
                    <a:pt x="216" y="35"/>
                    <a:pt x="212" y="36"/>
                  </a:cubicBezTo>
                  <a:cubicBezTo>
                    <a:pt x="209" y="32"/>
                    <a:pt x="207" y="24"/>
                    <a:pt x="206" y="16"/>
                  </a:cubicBezTo>
                  <a:cubicBezTo>
                    <a:pt x="206" y="3"/>
                    <a:pt x="200" y="1"/>
                    <a:pt x="194" y="1"/>
                  </a:cubicBezTo>
                  <a:cubicBezTo>
                    <a:pt x="192" y="1"/>
                    <a:pt x="192" y="1"/>
                    <a:pt x="192" y="1"/>
                  </a:cubicBezTo>
                  <a:cubicBezTo>
                    <a:pt x="191" y="0"/>
                    <a:pt x="190" y="0"/>
                    <a:pt x="18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1" name="Freeform 21330">
              <a:extLst>
                <a:ext uri="{FF2B5EF4-FFF2-40B4-BE49-F238E27FC236}">
                  <a16:creationId xmlns:a16="http://schemas.microsoft.com/office/drawing/2014/main" id="{1009D096-ECB5-4231-BA79-92D163CA8352}"/>
                </a:ext>
              </a:extLst>
            </p:cNvPr>
            <p:cNvSpPr>
              <a:spLocks noEditPoints="1"/>
            </p:cNvSpPr>
            <p:nvPr userDrawn="1"/>
          </p:nvSpPr>
          <p:spPr bwMode="auto">
            <a:xfrm>
              <a:off x="10864215" y="3895090"/>
              <a:ext cx="284163" cy="250825"/>
            </a:xfrm>
            <a:custGeom>
              <a:avLst/>
              <a:gdLst>
                <a:gd name="T0" fmla="*/ 71 w 141"/>
                <a:gd name="T1" fmla="*/ 97 h 125"/>
                <a:gd name="T2" fmla="*/ 49 w 141"/>
                <a:gd name="T3" fmla="*/ 89 h 125"/>
                <a:gd name="T4" fmla="*/ 44 w 141"/>
                <a:gd name="T5" fmla="*/ 40 h 125"/>
                <a:gd name="T6" fmla="*/ 71 w 141"/>
                <a:gd name="T7" fmla="*/ 27 h 125"/>
                <a:gd name="T8" fmla="*/ 93 w 141"/>
                <a:gd name="T9" fmla="*/ 35 h 125"/>
                <a:gd name="T10" fmla="*/ 98 w 141"/>
                <a:gd name="T11" fmla="*/ 84 h 125"/>
                <a:gd name="T12" fmla="*/ 71 w 141"/>
                <a:gd name="T13" fmla="*/ 97 h 125"/>
                <a:gd name="T14" fmla="*/ 71 w 141"/>
                <a:gd name="T15" fmla="*/ 22 h 125"/>
                <a:gd name="T16" fmla="*/ 40 w 141"/>
                <a:gd name="T17" fmla="*/ 37 h 125"/>
                <a:gd name="T18" fmla="*/ 46 w 141"/>
                <a:gd name="T19" fmla="*/ 93 h 125"/>
                <a:gd name="T20" fmla="*/ 71 w 141"/>
                <a:gd name="T21" fmla="*/ 102 h 125"/>
                <a:gd name="T22" fmla="*/ 102 w 141"/>
                <a:gd name="T23" fmla="*/ 87 h 125"/>
                <a:gd name="T24" fmla="*/ 96 w 141"/>
                <a:gd name="T25" fmla="*/ 31 h 125"/>
                <a:gd name="T26" fmla="*/ 71 w 141"/>
                <a:gd name="T27" fmla="*/ 22 h 125"/>
                <a:gd name="T28" fmla="*/ 71 w 141"/>
                <a:gd name="T29" fmla="*/ 120 h 125"/>
                <a:gd name="T30" fmla="*/ 34 w 141"/>
                <a:gd name="T31" fmla="*/ 107 h 125"/>
                <a:gd name="T32" fmla="*/ 26 w 141"/>
                <a:gd name="T33" fmla="*/ 26 h 125"/>
                <a:gd name="T34" fmla="*/ 71 w 141"/>
                <a:gd name="T35" fmla="*/ 5 h 125"/>
                <a:gd name="T36" fmla="*/ 107 w 141"/>
                <a:gd name="T37" fmla="*/ 17 h 125"/>
                <a:gd name="T38" fmla="*/ 115 w 141"/>
                <a:gd name="T39" fmla="*/ 98 h 125"/>
                <a:gd name="T40" fmla="*/ 71 w 141"/>
                <a:gd name="T41" fmla="*/ 120 h 125"/>
                <a:gd name="T42" fmla="*/ 71 w 141"/>
                <a:gd name="T43" fmla="*/ 120 h 125"/>
                <a:gd name="T44" fmla="*/ 71 w 141"/>
                <a:gd name="T45" fmla="*/ 0 h 125"/>
                <a:gd name="T46" fmla="*/ 22 w 141"/>
                <a:gd name="T47" fmla="*/ 23 h 125"/>
                <a:gd name="T48" fmla="*/ 31 w 141"/>
                <a:gd name="T49" fmla="*/ 111 h 125"/>
                <a:gd name="T50" fmla="*/ 71 w 141"/>
                <a:gd name="T51" fmla="*/ 125 h 125"/>
                <a:gd name="T52" fmla="*/ 71 w 141"/>
                <a:gd name="T53" fmla="*/ 125 h 125"/>
                <a:gd name="T54" fmla="*/ 119 w 141"/>
                <a:gd name="T55" fmla="*/ 102 h 125"/>
                <a:gd name="T56" fmla="*/ 110 w 141"/>
                <a:gd name="T57" fmla="*/ 14 h 125"/>
                <a:gd name="T58" fmla="*/ 71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1" y="97"/>
                  </a:moveTo>
                  <a:cubicBezTo>
                    <a:pt x="63" y="97"/>
                    <a:pt x="55" y="94"/>
                    <a:pt x="49" y="89"/>
                  </a:cubicBezTo>
                  <a:cubicBezTo>
                    <a:pt x="34" y="77"/>
                    <a:pt x="31" y="55"/>
                    <a:pt x="44" y="40"/>
                  </a:cubicBezTo>
                  <a:cubicBezTo>
                    <a:pt x="50" y="32"/>
                    <a:pt x="60" y="27"/>
                    <a:pt x="71" y="27"/>
                  </a:cubicBezTo>
                  <a:cubicBezTo>
                    <a:pt x="79" y="27"/>
                    <a:pt x="86" y="30"/>
                    <a:pt x="93" y="35"/>
                  </a:cubicBezTo>
                  <a:cubicBezTo>
                    <a:pt x="108" y="47"/>
                    <a:pt x="110" y="69"/>
                    <a:pt x="98" y="84"/>
                  </a:cubicBezTo>
                  <a:cubicBezTo>
                    <a:pt x="91" y="92"/>
                    <a:pt x="81" y="97"/>
                    <a:pt x="71" y="97"/>
                  </a:cubicBezTo>
                  <a:moveTo>
                    <a:pt x="71" y="22"/>
                  </a:moveTo>
                  <a:cubicBezTo>
                    <a:pt x="59" y="22"/>
                    <a:pt x="47" y="28"/>
                    <a:pt x="40" y="37"/>
                  </a:cubicBezTo>
                  <a:cubicBezTo>
                    <a:pt x="26" y="54"/>
                    <a:pt x="28" y="79"/>
                    <a:pt x="46" y="93"/>
                  </a:cubicBezTo>
                  <a:cubicBezTo>
                    <a:pt x="53" y="99"/>
                    <a:pt x="62" y="102"/>
                    <a:pt x="71" y="102"/>
                  </a:cubicBezTo>
                  <a:cubicBezTo>
                    <a:pt x="83" y="102"/>
                    <a:pt x="94" y="97"/>
                    <a:pt x="102" y="87"/>
                  </a:cubicBezTo>
                  <a:cubicBezTo>
                    <a:pt x="115" y="70"/>
                    <a:pt x="113" y="45"/>
                    <a:pt x="96" y="31"/>
                  </a:cubicBezTo>
                  <a:cubicBezTo>
                    <a:pt x="89" y="25"/>
                    <a:pt x="80" y="22"/>
                    <a:pt x="71" y="22"/>
                  </a:cubicBezTo>
                  <a:moveTo>
                    <a:pt x="71" y="120"/>
                  </a:moveTo>
                  <a:cubicBezTo>
                    <a:pt x="57" y="120"/>
                    <a:pt x="45" y="115"/>
                    <a:pt x="34" y="107"/>
                  </a:cubicBezTo>
                  <a:cubicBezTo>
                    <a:pt x="10" y="87"/>
                    <a:pt x="6" y="51"/>
                    <a:pt x="26" y="26"/>
                  </a:cubicBezTo>
                  <a:cubicBezTo>
                    <a:pt x="37" y="12"/>
                    <a:pt x="53" y="5"/>
                    <a:pt x="71" y="5"/>
                  </a:cubicBezTo>
                  <a:cubicBezTo>
                    <a:pt x="84" y="5"/>
                    <a:pt x="97" y="9"/>
                    <a:pt x="107" y="17"/>
                  </a:cubicBezTo>
                  <a:cubicBezTo>
                    <a:pt x="132" y="37"/>
                    <a:pt x="135" y="74"/>
                    <a:pt x="115" y="98"/>
                  </a:cubicBezTo>
                  <a:cubicBezTo>
                    <a:pt x="104" y="112"/>
                    <a:pt x="88" y="120"/>
                    <a:pt x="71" y="120"/>
                  </a:cubicBezTo>
                  <a:cubicBezTo>
                    <a:pt x="71" y="120"/>
                    <a:pt x="71" y="120"/>
                    <a:pt x="71" y="120"/>
                  </a:cubicBezTo>
                  <a:moveTo>
                    <a:pt x="71" y="0"/>
                  </a:moveTo>
                  <a:cubicBezTo>
                    <a:pt x="52" y="0"/>
                    <a:pt x="34" y="8"/>
                    <a:pt x="22" y="23"/>
                  </a:cubicBezTo>
                  <a:cubicBezTo>
                    <a:pt x="0" y="50"/>
                    <a:pt x="4" y="89"/>
                    <a:pt x="31" y="111"/>
                  </a:cubicBezTo>
                  <a:cubicBezTo>
                    <a:pt x="42" y="120"/>
                    <a:pt x="56" y="125"/>
                    <a:pt x="71" y="125"/>
                  </a:cubicBezTo>
                  <a:cubicBezTo>
                    <a:pt x="71" y="125"/>
                    <a:pt x="71" y="125"/>
                    <a:pt x="71" y="125"/>
                  </a:cubicBezTo>
                  <a:cubicBezTo>
                    <a:pt x="90" y="125"/>
                    <a:pt x="107" y="116"/>
                    <a:pt x="119" y="102"/>
                  </a:cubicBezTo>
                  <a:cubicBezTo>
                    <a:pt x="141" y="75"/>
                    <a:pt x="137" y="35"/>
                    <a:pt x="110" y="14"/>
                  </a:cubicBezTo>
                  <a:cubicBezTo>
                    <a:pt x="99" y="4"/>
                    <a:pt x="85" y="0"/>
                    <a:pt x="7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2" name="Freeform 21331">
              <a:extLst>
                <a:ext uri="{FF2B5EF4-FFF2-40B4-BE49-F238E27FC236}">
                  <a16:creationId xmlns:a16="http://schemas.microsoft.com/office/drawing/2014/main" id="{4BD9E9BD-A821-4D05-B7A3-2523F8941B56}"/>
                </a:ext>
              </a:extLst>
            </p:cNvPr>
            <p:cNvSpPr>
              <a:spLocks noEditPoints="1"/>
            </p:cNvSpPr>
            <p:nvPr userDrawn="1"/>
          </p:nvSpPr>
          <p:spPr bwMode="auto">
            <a:xfrm>
              <a:off x="6682740" y="3491865"/>
              <a:ext cx="582613" cy="539750"/>
            </a:xfrm>
            <a:custGeom>
              <a:avLst/>
              <a:gdLst>
                <a:gd name="T0" fmla="*/ 137 w 288"/>
                <a:gd name="T1" fmla="*/ 179 h 268"/>
                <a:gd name="T2" fmla="*/ 109 w 288"/>
                <a:gd name="T3" fmla="*/ 169 h 268"/>
                <a:gd name="T4" fmla="*/ 102 w 288"/>
                <a:gd name="T5" fmla="*/ 106 h 268"/>
                <a:gd name="T6" fmla="*/ 137 w 288"/>
                <a:gd name="T7" fmla="*/ 89 h 268"/>
                <a:gd name="T8" fmla="*/ 166 w 288"/>
                <a:gd name="T9" fmla="*/ 99 h 268"/>
                <a:gd name="T10" fmla="*/ 172 w 288"/>
                <a:gd name="T11" fmla="*/ 162 h 268"/>
                <a:gd name="T12" fmla="*/ 137 w 288"/>
                <a:gd name="T13" fmla="*/ 179 h 268"/>
                <a:gd name="T14" fmla="*/ 137 w 288"/>
                <a:gd name="T15" fmla="*/ 84 h 268"/>
                <a:gd name="T16" fmla="*/ 99 w 288"/>
                <a:gd name="T17" fmla="*/ 103 h 268"/>
                <a:gd name="T18" fmla="*/ 106 w 288"/>
                <a:gd name="T19" fmla="*/ 173 h 268"/>
                <a:gd name="T20" fmla="*/ 137 w 288"/>
                <a:gd name="T21" fmla="*/ 184 h 268"/>
                <a:gd name="T22" fmla="*/ 176 w 288"/>
                <a:gd name="T23" fmla="*/ 166 h 268"/>
                <a:gd name="T24" fmla="*/ 169 w 288"/>
                <a:gd name="T25" fmla="*/ 95 h 268"/>
                <a:gd name="T26" fmla="*/ 137 w 288"/>
                <a:gd name="T27" fmla="*/ 84 h 268"/>
                <a:gd name="T28" fmla="*/ 137 w 288"/>
                <a:gd name="T29" fmla="*/ 263 h 268"/>
                <a:gd name="T30" fmla="*/ 56 w 288"/>
                <a:gd name="T31" fmla="*/ 234 h 268"/>
                <a:gd name="T32" fmla="*/ 9 w 288"/>
                <a:gd name="T33" fmla="*/ 148 h 268"/>
                <a:gd name="T34" fmla="*/ 37 w 288"/>
                <a:gd name="T35" fmla="*/ 53 h 268"/>
                <a:gd name="T36" fmla="*/ 137 w 288"/>
                <a:gd name="T37" fmla="*/ 5 h 268"/>
                <a:gd name="T38" fmla="*/ 219 w 288"/>
                <a:gd name="T39" fmla="*/ 34 h 268"/>
                <a:gd name="T40" fmla="*/ 237 w 288"/>
                <a:gd name="T41" fmla="*/ 215 h 268"/>
                <a:gd name="T42" fmla="*/ 137 w 288"/>
                <a:gd name="T43" fmla="*/ 263 h 268"/>
                <a:gd name="T44" fmla="*/ 137 w 288"/>
                <a:gd name="T45" fmla="*/ 263 h 268"/>
                <a:gd name="T46" fmla="*/ 137 w 288"/>
                <a:gd name="T47" fmla="*/ 0 h 268"/>
                <a:gd name="T48" fmla="*/ 33 w 288"/>
                <a:gd name="T49" fmla="*/ 50 h 268"/>
                <a:gd name="T50" fmla="*/ 4 w 288"/>
                <a:gd name="T51" fmla="*/ 148 h 268"/>
                <a:gd name="T52" fmla="*/ 53 w 288"/>
                <a:gd name="T53" fmla="*/ 238 h 268"/>
                <a:gd name="T54" fmla="*/ 137 w 288"/>
                <a:gd name="T55" fmla="*/ 268 h 268"/>
                <a:gd name="T56" fmla="*/ 137 w 288"/>
                <a:gd name="T57" fmla="*/ 268 h 268"/>
                <a:gd name="T58" fmla="*/ 241 w 288"/>
                <a:gd name="T59" fmla="*/ 219 h 268"/>
                <a:gd name="T60" fmla="*/ 222 w 288"/>
                <a:gd name="T61" fmla="*/ 30 h 268"/>
                <a:gd name="T62" fmla="*/ 137 w 288"/>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68">
                  <a:moveTo>
                    <a:pt x="137" y="179"/>
                  </a:moveTo>
                  <a:cubicBezTo>
                    <a:pt x="127" y="179"/>
                    <a:pt x="117" y="176"/>
                    <a:pt x="109" y="169"/>
                  </a:cubicBezTo>
                  <a:cubicBezTo>
                    <a:pt x="90" y="153"/>
                    <a:pt x="87" y="125"/>
                    <a:pt x="102" y="106"/>
                  </a:cubicBezTo>
                  <a:cubicBezTo>
                    <a:pt x="111" y="95"/>
                    <a:pt x="124" y="89"/>
                    <a:pt x="137" y="89"/>
                  </a:cubicBezTo>
                  <a:cubicBezTo>
                    <a:pt x="148" y="89"/>
                    <a:pt x="158" y="93"/>
                    <a:pt x="166" y="99"/>
                  </a:cubicBezTo>
                  <a:cubicBezTo>
                    <a:pt x="185" y="115"/>
                    <a:pt x="188" y="143"/>
                    <a:pt x="172" y="162"/>
                  </a:cubicBezTo>
                  <a:cubicBezTo>
                    <a:pt x="164" y="173"/>
                    <a:pt x="151" y="179"/>
                    <a:pt x="137" y="179"/>
                  </a:cubicBezTo>
                  <a:moveTo>
                    <a:pt x="137" y="84"/>
                  </a:moveTo>
                  <a:cubicBezTo>
                    <a:pt x="122" y="84"/>
                    <a:pt x="108" y="91"/>
                    <a:pt x="99" y="103"/>
                  </a:cubicBezTo>
                  <a:cubicBezTo>
                    <a:pt x="81" y="124"/>
                    <a:pt x="84" y="156"/>
                    <a:pt x="106" y="173"/>
                  </a:cubicBezTo>
                  <a:cubicBezTo>
                    <a:pt x="115" y="180"/>
                    <a:pt x="126" y="184"/>
                    <a:pt x="137" y="184"/>
                  </a:cubicBezTo>
                  <a:cubicBezTo>
                    <a:pt x="152" y="184"/>
                    <a:pt x="167" y="177"/>
                    <a:pt x="176" y="166"/>
                  </a:cubicBezTo>
                  <a:cubicBezTo>
                    <a:pt x="193" y="144"/>
                    <a:pt x="190" y="113"/>
                    <a:pt x="169" y="95"/>
                  </a:cubicBezTo>
                  <a:cubicBezTo>
                    <a:pt x="160" y="88"/>
                    <a:pt x="149" y="84"/>
                    <a:pt x="137" y="84"/>
                  </a:cubicBezTo>
                  <a:moveTo>
                    <a:pt x="137" y="263"/>
                  </a:moveTo>
                  <a:cubicBezTo>
                    <a:pt x="108" y="263"/>
                    <a:pt x="79" y="253"/>
                    <a:pt x="56" y="234"/>
                  </a:cubicBezTo>
                  <a:cubicBezTo>
                    <a:pt x="29" y="213"/>
                    <a:pt x="13" y="182"/>
                    <a:pt x="9" y="148"/>
                  </a:cubicBezTo>
                  <a:cubicBezTo>
                    <a:pt x="6" y="113"/>
                    <a:pt x="16" y="80"/>
                    <a:pt x="37" y="53"/>
                  </a:cubicBezTo>
                  <a:cubicBezTo>
                    <a:pt x="62" y="23"/>
                    <a:pt x="98" y="5"/>
                    <a:pt x="137" y="5"/>
                  </a:cubicBezTo>
                  <a:cubicBezTo>
                    <a:pt x="167" y="5"/>
                    <a:pt x="196" y="15"/>
                    <a:pt x="219" y="34"/>
                  </a:cubicBezTo>
                  <a:cubicBezTo>
                    <a:pt x="274" y="79"/>
                    <a:pt x="282" y="160"/>
                    <a:pt x="237" y="215"/>
                  </a:cubicBezTo>
                  <a:cubicBezTo>
                    <a:pt x="213" y="246"/>
                    <a:pt x="176" y="263"/>
                    <a:pt x="137" y="263"/>
                  </a:cubicBezTo>
                  <a:cubicBezTo>
                    <a:pt x="137" y="263"/>
                    <a:pt x="137" y="263"/>
                    <a:pt x="137" y="263"/>
                  </a:cubicBezTo>
                  <a:moveTo>
                    <a:pt x="137" y="0"/>
                  </a:moveTo>
                  <a:cubicBezTo>
                    <a:pt x="97" y="0"/>
                    <a:pt x="59" y="18"/>
                    <a:pt x="33" y="50"/>
                  </a:cubicBezTo>
                  <a:cubicBezTo>
                    <a:pt x="11" y="78"/>
                    <a:pt x="0" y="112"/>
                    <a:pt x="4" y="148"/>
                  </a:cubicBezTo>
                  <a:cubicBezTo>
                    <a:pt x="8" y="184"/>
                    <a:pt x="25" y="216"/>
                    <a:pt x="53" y="238"/>
                  </a:cubicBezTo>
                  <a:cubicBezTo>
                    <a:pt x="77" y="257"/>
                    <a:pt x="107" y="268"/>
                    <a:pt x="137" y="268"/>
                  </a:cubicBezTo>
                  <a:cubicBezTo>
                    <a:pt x="137" y="268"/>
                    <a:pt x="137" y="268"/>
                    <a:pt x="137" y="268"/>
                  </a:cubicBezTo>
                  <a:cubicBezTo>
                    <a:pt x="178" y="268"/>
                    <a:pt x="216" y="250"/>
                    <a:pt x="241" y="219"/>
                  </a:cubicBezTo>
                  <a:cubicBezTo>
                    <a:pt x="288" y="161"/>
                    <a:pt x="279" y="77"/>
                    <a:pt x="222" y="30"/>
                  </a:cubicBezTo>
                  <a:cubicBezTo>
                    <a:pt x="198" y="11"/>
                    <a:pt x="168"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3" name="Freeform 21332">
              <a:extLst>
                <a:ext uri="{FF2B5EF4-FFF2-40B4-BE49-F238E27FC236}">
                  <a16:creationId xmlns:a16="http://schemas.microsoft.com/office/drawing/2014/main" id="{B6D604CF-8438-42C8-84DC-F95D73112ED6}"/>
                </a:ext>
              </a:extLst>
            </p:cNvPr>
            <p:cNvSpPr>
              <a:spLocks noEditPoints="1"/>
            </p:cNvSpPr>
            <p:nvPr userDrawn="1"/>
          </p:nvSpPr>
          <p:spPr bwMode="auto">
            <a:xfrm>
              <a:off x="6600190" y="3402965"/>
              <a:ext cx="722313" cy="717550"/>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0 w 357"/>
                <a:gd name="T19" fmla="*/ 129 h 356"/>
                <a:gd name="T20" fmla="*/ 339 w 357"/>
                <a:gd name="T21" fmla="*/ 148 h 356"/>
                <a:gd name="T22" fmla="*/ 351 w 357"/>
                <a:gd name="T23" fmla="*/ 190 h 356"/>
                <a:gd name="T24" fmla="*/ 340 w 357"/>
                <a:gd name="T25" fmla="*/ 241 h 356"/>
                <a:gd name="T26" fmla="*/ 301 w 357"/>
                <a:gd name="T27" fmla="*/ 247 h 356"/>
                <a:gd name="T28" fmla="*/ 306 w 357"/>
                <a:gd name="T29" fmla="*/ 292 h 356"/>
                <a:gd name="T30" fmla="*/ 270 w 357"/>
                <a:gd name="T31" fmla="*/ 325 h 356"/>
                <a:gd name="T32" fmla="*/ 232 w 357"/>
                <a:gd name="T33" fmla="*/ 308 h 356"/>
                <a:gd name="T34" fmla="*/ 215 w 357"/>
                <a:gd name="T35" fmla="*/ 347 h 356"/>
                <a:gd name="T36" fmla="*/ 176 w 357"/>
                <a:gd name="T37" fmla="*/ 342 h 356"/>
                <a:gd name="T38" fmla="*/ 146 w 357"/>
                <a:gd name="T39" fmla="*/ 315 h 356"/>
                <a:gd name="T40" fmla="*/ 114 w 357"/>
                <a:gd name="T41" fmla="*/ 339 h 356"/>
                <a:gd name="T42" fmla="*/ 104 w 357"/>
                <a:gd name="T43" fmla="*/ 298 h 356"/>
                <a:gd name="T44" fmla="*/ 66 w 357"/>
                <a:gd name="T45" fmla="*/ 298 h 356"/>
                <a:gd name="T46" fmla="*/ 38 w 357"/>
                <a:gd name="T47" fmla="*/ 276 h 356"/>
                <a:gd name="T48" fmla="*/ 48 w 357"/>
                <a:gd name="T49" fmla="*/ 232 h 356"/>
                <a:gd name="T50" fmla="*/ 11 w 357"/>
                <a:gd name="T51" fmla="*/ 221 h 356"/>
                <a:gd name="T52" fmla="*/ 5 w 357"/>
                <a:gd name="T53" fmla="*/ 169 h 356"/>
                <a:gd name="T54" fmla="*/ 22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0 w 357"/>
                <a:gd name="T67" fmla="*/ 17 h 356"/>
                <a:gd name="T68" fmla="*/ 167 w 357"/>
                <a:gd name="T69" fmla="*/ 33 h 356"/>
                <a:gd name="T70" fmla="*/ 126 w 357"/>
                <a:gd name="T71" fmla="*/ 21 h 356"/>
                <a:gd name="T72" fmla="*/ 86 w 357"/>
                <a:gd name="T73" fmla="*/ 26 h 356"/>
                <a:gd name="T74" fmla="*/ 82 w 357"/>
                <a:gd name="T75" fmla="*/ 69 h 356"/>
                <a:gd name="T76" fmla="*/ 39 w 357"/>
                <a:gd name="T77" fmla="*/ 67 h 356"/>
                <a:gd name="T78" fmla="*/ 24 w 357"/>
                <a:gd name="T79" fmla="*/ 105 h 356"/>
                <a:gd name="T80" fmla="*/ 15 w 357"/>
                <a:gd name="T81" fmla="*/ 154 h 356"/>
                <a:gd name="T82" fmla="*/ 15 w 357"/>
                <a:gd name="T83" fmla="*/ 206 h 356"/>
                <a:gd name="T84" fmla="*/ 30 w 357"/>
                <a:gd name="T85" fmla="*/ 233 h 356"/>
                <a:gd name="T86" fmla="*/ 38 w 357"/>
                <a:gd name="T87" fmla="*/ 281 h 356"/>
                <a:gd name="T88" fmla="*/ 64 w 357"/>
                <a:gd name="T89" fmla="*/ 315 h 356"/>
                <a:gd name="T90" fmla="*/ 103 w 357"/>
                <a:gd name="T91" fmla="*/ 325 h 356"/>
                <a:gd name="T92" fmla="*/ 145 w 357"/>
                <a:gd name="T93" fmla="*/ 320 h 356"/>
                <a:gd name="T94" fmla="*/ 181 w 357"/>
                <a:gd name="T95" fmla="*/ 343 h 356"/>
                <a:gd name="T96" fmla="*/ 221 w 357"/>
                <a:gd name="T97" fmla="*/ 351 h 356"/>
                <a:gd name="T98" fmla="*/ 271 w 357"/>
                <a:gd name="T99" fmla="*/ 330 h 356"/>
                <a:gd name="T100" fmla="*/ 296 w 357"/>
                <a:gd name="T101" fmla="*/ 293 h 356"/>
                <a:gd name="T102" fmla="*/ 305 w 357"/>
                <a:gd name="T103" fmla="*/ 251 h 356"/>
                <a:gd name="T104" fmla="*/ 344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3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8" y="290"/>
                  </a:moveTo>
                  <a:cubicBezTo>
                    <a:pt x="153" y="290"/>
                    <a:pt x="128" y="281"/>
                    <a:pt x="108" y="265"/>
                  </a:cubicBezTo>
                  <a:cubicBezTo>
                    <a:pt x="60" y="226"/>
                    <a:pt x="53" y="156"/>
                    <a:pt x="92" y="108"/>
                  </a:cubicBezTo>
                  <a:cubicBezTo>
                    <a:pt x="113" y="81"/>
                    <a:pt x="145" y="66"/>
                    <a:pt x="178" y="66"/>
                  </a:cubicBezTo>
                  <a:cubicBezTo>
                    <a:pt x="204" y="66"/>
                    <a:pt x="229" y="75"/>
                    <a:pt x="249" y="91"/>
                  </a:cubicBezTo>
                  <a:cubicBezTo>
                    <a:pt x="272" y="110"/>
                    <a:pt x="286" y="137"/>
                    <a:pt x="290" y="167"/>
                  </a:cubicBezTo>
                  <a:cubicBezTo>
                    <a:pt x="293" y="196"/>
                    <a:pt x="284" y="225"/>
                    <a:pt x="265" y="249"/>
                  </a:cubicBezTo>
                  <a:cubicBezTo>
                    <a:pt x="244" y="275"/>
                    <a:pt x="212" y="290"/>
                    <a:pt x="178" y="290"/>
                  </a:cubicBezTo>
                  <a:moveTo>
                    <a:pt x="178" y="61"/>
                  </a:moveTo>
                  <a:cubicBezTo>
                    <a:pt x="143" y="61"/>
                    <a:pt x="110" y="77"/>
                    <a:pt x="88" y="105"/>
                  </a:cubicBezTo>
                  <a:cubicBezTo>
                    <a:pt x="47" y="155"/>
                    <a:pt x="55" y="228"/>
                    <a:pt x="105" y="269"/>
                  </a:cubicBezTo>
                  <a:cubicBezTo>
                    <a:pt x="126" y="286"/>
                    <a:pt x="152" y="295"/>
                    <a:pt x="178" y="295"/>
                  </a:cubicBezTo>
                  <a:cubicBezTo>
                    <a:pt x="214" y="295"/>
                    <a:pt x="247" y="279"/>
                    <a:pt x="269" y="252"/>
                  </a:cubicBezTo>
                  <a:cubicBezTo>
                    <a:pt x="289" y="228"/>
                    <a:pt x="298" y="197"/>
                    <a:pt x="295" y="166"/>
                  </a:cubicBezTo>
                  <a:cubicBezTo>
                    <a:pt x="291" y="135"/>
                    <a:pt x="276" y="107"/>
                    <a:pt x="252" y="87"/>
                  </a:cubicBezTo>
                  <a:cubicBezTo>
                    <a:pt x="231" y="71"/>
                    <a:pt x="205" y="61"/>
                    <a:pt x="178" y="61"/>
                  </a:cubicBezTo>
                  <a:moveTo>
                    <a:pt x="166" y="38"/>
                  </a:moveTo>
                  <a:cubicBezTo>
                    <a:pt x="167" y="38"/>
                    <a:pt x="167" y="38"/>
                    <a:pt x="167" y="38"/>
                  </a:cubicBezTo>
                  <a:cubicBezTo>
                    <a:pt x="173" y="35"/>
                    <a:pt x="179" y="24"/>
                    <a:pt x="182" y="14"/>
                  </a:cubicBezTo>
                  <a:cubicBezTo>
                    <a:pt x="184" y="5"/>
                    <a:pt x="187" y="5"/>
                    <a:pt x="189" y="5"/>
                  </a:cubicBezTo>
                  <a:cubicBezTo>
                    <a:pt x="190" y="5"/>
                    <a:pt x="191" y="5"/>
                    <a:pt x="191" y="6"/>
                  </a:cubicBezTo>
                  <a:cubicBezTo>
                    <a:pt x="193" y="6"/>
                    <a:pt x="193" y="6"/>
                    <a:pt x="193" y="6"/>
                  </a:cubicBezTo>
                  <a:cubicBezTo>
                    <a:pt x="197" y="6"/>
                    <a:pt x="201" y="6"/>
                    <a:pt x="201" y="16"/>
                  </a:cubicBezTo>
                  <a:cubicBezTo>
                    <a:pt x="201" y="24"/>
                    <a:pt x="204" y="36"/>
                    <a:pt x="209" y="41"/>
                  </a:cubicBezTo>
                  <a:cubicBezTo>
                    <a:pt x="209" y="41"/>
                    <a:pt x="210" y="41"/>
                    <a:pt x="211" y="41"/>
                  </a:cubicBezTo>
                  <a:cubicBezTo>
                    <a:pt x="211" y="41"/>
                    <a:pt x="211" y="41"/>
                    <a:pt x="211" y="41"/>
                  </a:cubicBezTo>
                  <a:cubicBezTo>
                    <a:pt x="217" y="41"/>
                    <a:pt x="226" y="32"/>
                    <a:pt x="232" y="23"/>
                  </a:cubicBezTo>
                  <a:cubicBezTo>
                    <a:pt x="236" y="16"/>
                    <a:pt x="238" y="16"/>
                    <a:pt x="239" y="16"/>
                  </a:cubicBezTo>
                  <a:cubicBezTo>
                    <a:pt x="241" y="16"/>
                    <a:pt x="242" y="17"/>
                    <a:pt x="244" y="18"/>
                  </a:cubicBezTo>
                  <a:cubicBezTo>
                    <a:pt x="245" y="18"/>
                    <a:pt x="245" y="18"/>
                    <a:pt x="245" y="18"/>
                  </a:cubicBezTo>
                  <a:cubicBezTo>
                    <a:pt x="249" y="20"/>
                    <a:pt x="252" y="21"/>
                    <a:pt x="249" y="31"/>
                  </a:cubicBezTo>
                  <a:cubicBezTo>
                    <a:pt x="247" y="39"/>
                    <a:pt x="247" y="50"/>
                    <a:pt x="249" y="57"/>
                  </a:cubicBezTo>
                  <a:cubicBezTo>
                    <a:pt x="250" y="57"/>
                    <a:pt x="250" y="58"/>
                    <a:pt x="251" y="58"/>
                  </a:cubicBezTo>
                  <a:cubicBezTo>
                    <a:pt x="252" y="58"/>
                    <a:pt x="252" y="58"/>
                    <a:pt x="253" y="58"/>
                  </a:cubicBezTo>
                  <a:cubicBezTo>
                    <a:pt x="260" y="58"/>
                    <a:pt x="270" y="52"/>
                    <a:pt x="277" y="47"/>
                  </a:cubicBezTo>
                  <a:cubicBezTo>
                    <a:pt x="280" y="44"/>
                    <a:pt x="283" y="43"/>
                    <a:pt x="285" y="43"/>
                  </a:cubicBezTo>
                  <a:cubicBezTo>
                    <a:pt x="286" y="43"/>
                    <a:pt x="288" y="44"/>
                    <a:pt x="290" y="45"/>
                  </a:cubicBezTo>
                  <a:cubicBezTo>
                    <a:pt x="291" y="46"/>
                    <a:pt x="291" y="46"/>
                    <a:pt x="291" y="46"/>
                  </a:cubicBezTo>
                  <a:cubicBezTo>
                    <a:pt x="294" y="49"/>
                    <a:pt x="297" y="51"/>
                    <a:pt x="291" y="60"/>
                  </a:cubicBezTo>
                  <a:cubicBezTo>
                    <a:pt x="287" y="67"/>
                    <a:pt x="282" y="77"/>
                    <a:pt x="283" y="84"/>
                  </a:cubicBezTo>
                  <a:cubicBezTo>
                    <a:pt x="283" y="85"/>
                    <a:pt x="284" y="86"/>
                    <a:pt x="284" y="86"/>
                  </a:cubicBezTo>
                  <a:cubicBezTo>
                    <a:pt x="286" y="87"/>
                    <a:pt x="289" y="88"/>
                    <a:pt x="292" y="88"/>
                  </a:cubicBezTo>
                  <a:cubicBezTo>
                    <a:pt x="298" y="88"/>
                    <a:pt x="306" y="86"/>
                    <a:pt x="312" y="83"/>
                  </a:cubicBezTo>
                  <a:cubicBezTo>
                    <a:pt x="315" y="82"/>
                    <a:pt x="317"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2" y="129"/>
                    <a:pt x="330" y="129"/>
                  </a:cubicBezTo>
                  <a:cubicBezTo>
                    <a:pt x="332" y="129"/>
                    <a:pt x="333" y="129"/>
                    <a:pt x="335" y="129"/>
                  </a:cubicBezTo>
                  <a:cubicBezTo>
                    <a:pt x="336" y="129"/>
                    <a:pt x="337" y="129"/>
                    <a:pt x="338" y="129"/>
                  </a:cubicBezTo>
                  <a:cubicBezTo>
                    <a:pt x="345" y="129"/>
                    <a:pt x="345" y="131"/>
                    <a:pt x="346" y="135"/>
                  </a:cubicBezTo>
                  <a:cubicBezTo>
                    <a:pt x="346" y="137"/>
                    <a:pt x="346" y="137"/>
                    <a:pt x="346" y="137"/>
                  </a:cubicBezTo>
                  <a:cubicBezTo>
                    <a:pt x="347" y="141"/>
                    <a:pt x="348" y="144"/>
                    <a:pt x="339" y="148"/>
                  </a:cubicBezTo>
                  <a:cubicBezTo>
                    <a:pt x="331" y="151"/>
                    <a:pt x="322" y="157"/>
                    <a:pt x="318" y="163"/>
                  </a:cubicBezTo>
                  <a:cubicBezTo>
                    <a:pt x="318" y="164"/>
                    <a:pt x="318" y="164"/>
                    <a:pt x="318" y="165"/>
                  </a:cubicBezTo>
                  <a:cubicBezTo>
                    <a:pt x="321" y="171"/>
                    <a:pt x="332" y="177"/>
                    <a:pt x="342" y="179"/>
                  </a:cubicBezTo>
                  <a:cubicBezTo>
                    <a:pt x="352" y="181"/>
                    <a:pt x="352" y="184"/>
                    <a:pt x="351" y="188"/>
                  </a:cubicBezTo>
                  <a:cubicBezTo>
                    <a:pt x="351" y="190"/>
                    <a:pt x="351" y="190"/>
                    <a:pt x="351" y="190"/>
                  </a:cubicBezTo>
                  <a:cubicBezTo>
                    <a:pt x="351" y="194"/>
                    <a:pt x="351" y="198"/>
                    <a:pt x="341" y="198"/>
                  </a:cubicBezTo>
                  <a:cubicBezTo>
                    <a:pt x="332" y="199"/>
                    <a:pt x="321" y="202"/>
                    <a:pt x="316" y="206"/>
                  </a:cubicBezTo>
                  <a:cubicBezTo>
                    <a:pt x="316" y="207"/>
                    <a:pt x="316" y="208"/>
                    <a:pt x="316" y="208"/>
                  </a:cubicBezTo>
                  <a:cubicBezTo>
                    <a:pt x="316" y="215"/>
                    <a:pt x="325" y="224"/>
                    <a:pt x="334" y="229"/>
                  </a:cubicBezTo>
                  <a:cubicBezTo>
                    <a:pt x="343" y="234"/>
                    <a:pt x="341" y="237"/>
                    <a:pt x="340" y="241"/>
                  </a:cubicBezTo>
                  <a:cubicBezTo>
                    <a:pt x="339" y="242"/>
                    <a:pt x="339" y="242"/>
                    <a:pt x="339" y="242"/>
                  </a:cubicBezTo>
                  <a:cubicBezTo>
                    <a:pt x="338" y="246"/>
                    <a:pt x="337" y="248"/>
                    <a:pt x="333" y="248"/>
                  </a:cubicBezTo>
                  <a:cubicBezTo>
                    <a:pt x="331" y="248"/>
                    <a:pt x="329" y="248"/>
                    <a:pt x="327" y="247"/>
                  </a:cubicBezTo>
                  <a:cubicBezTo>
                    <a:pt x="322" y="246"/>
                    <a:pt x="317" y="245"/>
                    <a:pt x="313" y="245"/>
                  </a:cubicBezTo>
                  <a:cubicBezTo>
                    <a:pt x="309" y="245"/>
                    <a:pt x="305" y="246"/>
                    <a:pt x="301" y="247"/>
                  </a:cubicBezTo>
                  <a:cubicBezTo>
                    <a:pt x="300" y="248"/>
                    <a:pt x="300" y="248"/>
                    <a:pt x="300" y="249"/>
                  </a:cubicBezTo>
                  <a:cubicBezTo>
                    <a:pt x="298" y="255"/>
                    <a:pt x="304" y="267"/>
                    <a:pt x="311" y="274"/>
                  </a:cubicBezTo>
                  <a:cubicBezTo>
                    <a:pt x="318" y="282"/>
                    <a:pt x="316" y="284"/>
                    <a:pt x="313" y="287"/>
                  </a:cubicBezTo>
                  <a:cubicBezTo>
                    <a:pt x="312" y="288"/>
                    <a:pt x="312" y="288"/>
                    <a:pt x="312" y="288"/>
                  </a:cubicBezTo>
                  <a:cubicBezTo>
                    <a:pt x="310" y="291"/>
                    <a:pt x="309" y="292"/>
                    <a:pt x="306" y="292"/>
                  </a:cubicBezTo>
                  <a:cubicBezTo>
                    <a:pt x="304" y="292"/>
                    <a:pt x="302" y="291"/>
                    <a:pt x="299" y="289"/>
                  </a:cubicBezTo>
                  <a:cubicBezTo>
                    <a:pt x="292" y="285"/>
                    <a:pt x="283" y="281"/>
                    <a:pt x="276" y="281"/>
                  </a:cubicBezTo>
                  <a:cubicBezTo>
                    <a:pt x="274" y="281"/>
                    <a:pt x="272" y="282"/>
                    <a:pt x="270" y="283"/>
                  </a:cubicBezTo>
                  <a:cubicBezTo>
                    <a:pt x="264" y="287"/>
                    <a:pt x="268" y="303"/>
                    <a:pt x="272" y="313"/>
                  </a:cubicBezTo>
                  <a:cubicBezTo>
                    <a:pt x="276" y="321"/>
                    <a:pt x="273" y="323"/>
                    <a:pt x="270" y="325"/>
                  </a:cubicBezTo>
                  <a:cubicBezTo>
                    <a:pt x="268" y="326"/>
                    <a:pt x="268" y="326"/>
                    <a:pt x="268" y="326"/>
                  </a:cubicBezTo>
                  <a:cubicBezTo>
                    <a:pt x="267" y="327"/>
                    <a:pt x="265" y="328"/>
                    <a:pt x="263" y="328"/>
                  </a:cubicBezTo>
                  <a:cubicBezTo>
                    <a:pt x="261" y="328"/>
                    <a:pt x="259" y="326"/>
                    <a:pt x="256" y="323"/>
                  </a:cubicBezTo>
                  <a:cubicBezTo>
                    <a:pt x="249" y="315"/>
                    <a:pt x="239" y="308"/>
                    <a:pt x="233" y="308"/>
                  </a:cubicBezTo>
                  <a:cubicBezTo>
                    <a:pt x="232" y="308"/>
                    <a:pt x="232" y="308"/>
                    <a:pt x="232" y="308"/>
                  </a:cubicBezTo>
                  <a:cubicBezTo>
                    <a:pt x="231" y="308"/>
                    <a:pt x="231" y="309"/>
                    <a:pt x="230" y="309"/>
                  </a:cubicBezTo>
                  <a:cubicBezTo>
                    <a:pt x="226" y="315"/>
                    <a:pt x="226" y="326"/>
                    <a:pt x="226" y="335"/>
                  </a:cubicBezTo>
                  <a:cubicBezTo>
                    <a:pt x="228" y="344"/>
                    <a:pt x="224" y="345"/>
                    <a:pt x="220" y="346"/>
                  </a:cubicBezTo>
                  <a:cubicBezTo>
                    <a:pt x="219" y="347"/>
                    <a:pt x="219" y="347"/>
                    <a:pt x="219" y="347"/>
                  </a:cubicBezTo>
                  <a:cubicBezTo>
                    <a:pt x="217" y="347"/>
                    <a:pt x="216" y="347"/>
                    <a:pt x="215" y="347"/>
                  </a:cubicBezTo>
                  <a:cubicBezTo>
                    <a:pt x="214" y="347"/>
                    <a:pt x="211" y="347"/>
                    <a:pt x="208" y="340"/>
                  </a:cubicBezTo>
                  <a:cubicBezTo>
                    <a:pt x="204" y="330"/>
                    <a:pt x="196" y="320"/>
                    <a:pt x="190" y="318"/>
                  </a:cubicBezTo>
                  <a:cubicBezTo>
                    <a:pt x="190" y="318"/>
                    <a:pt x="189" y="318"/>
                    <a:pt x="189" y="318"/>
                  </a:cubicBezTo>
                  <a:cubicBezTo>
                    <a:pt x="189" y="318"/>
                    <a:pt x="188" y="318"/>
                    <a:pt x="188" y="319"/>
                  </a:cubicBezTo>
                  <a:cubicBezTo>
                    <a:pt x="182" y="323"/>
                    <a:pt x="178" y="334"/>
                    <a:pt x="176" y="342"/>
                  </a:cubicBezTo>
                  <a:cubicBezTo>
                    <a:pt x="174" y="351"/>
                    <a:pt x="171" y="351"/>
                    <a:pt x="169" y="351"/>
                  </a:cubicBezTo>
                  <a:cubicBezTo>
                    <a:pt x="168" y="351"/>
                    <a:pt x="167" y="351"/>
                    <a:pt x="167" y="351"/>
                  </a:cubicBezTo>
                  <a:cubicBezTo>
                    <a:pt x="165" y="351"/>
                    <a:pt x="165" y="351"/>
                    <a:pt x="165" y="351"/>
                  </a:cubicBezTo>
                  <a:cubicBezTo>
                    <a:pt x="161" y="351"/>
                    <a:pt x="158" y="351"/>
                    <a:pt x="157" y="341"/>
                  </a:cubicBezTo>
                  <a:cubicBezTo>
                    <a:pt x="156" y="331"/>
                    <a:pt x="152" y="318"/>
                    <a:pt x="146" y="315"/>
                  </a:cubicBezTo>
                  <a:cubicBezTo>
                    <a:pt x="146" y="315"/>
                    <a:pt x="145" y="315"/>
                    <a:pt x="145" y="315"/>
                  </a:cubicBezTo>
                  <a:cubicBezTo>
                    <a:pt x="144" y="315"/>
                    <a:pt x="144" y="315"/>
                    <a:pt x="144" y="315"/>
                  </a:cubicBezTo>
                  <a:cubicBezTo>
                    <a:pt x="138" y="317"/>
                    <a:pt x="130" y="326"/>
                    <a:pt x="126" y="333"/>
                  </a:cubicBezTo>
                  <a:cubicBezTo>
                    <a:pt x="122" y="340"/>
                    <a:pt x="120" y="340"/>
                    <a:pt x="119" y="340"/>
                  </a:cubicBezTo>
                  <a:cubicBezTo>
                    <a:pt x="117" y="340"/>
                    <a:pt x="116" y="340"/>
                    <a:pt x="114" y="339"/>
                  </a:cubicBezTo>
                  <a:cubicBezTo>
                    <a:pt x="113" y="339"/>
                    <a:pt x="113" y="339"/>
                    <a:pt x="113" y="339"/>
                  </a:cubicBezTo>
                  <a:cubicBezTo>
                    <a:pt x="109" y="337"/>
                    <a:pt x="106" y="336"/>
                    <a:pt x="108" y="326"/>
                  </a:cubicBezTo>
                  <a:cubicBezTo>
                    <a:pt x="110" y="316"/>
                    <a:pt x="110" y="304"/>
                    <a:pt x="106" y="299"/>
                  </a:cubicBezTo>
                  <a:cubicBezTo>
                    <a:pt x="106" y="298"/>
                    <a:pt x="105" y="298"/>
                    <a:pt x="104" y="298"/>
                  </a:cubicBezTo>
                  <a:cubicBezTo>
                    <a:pt x="104" y="298"/>
                    <a:pt x="104" y="298"/>
                    <a:pt x="104" y="298"/>
                  </a:cubicBezTo>
                  <a:cubicBezTo>
                    <a:pt x="97" y="298"/>
                    <a:pt x="87" y="304"/>
                    <a:pt x="81" y="310"/>
                  </a:cubicBezTo>
                  <a:cubicBezTo>
                    <a:pt x="78" y="313"/>
                    <a:pt x="75" y="315"/>
                    <a:pt x="73" y="315"/>
                  </a:cubicBezTo>
                  <a:cubicBezTo>
                    <a:pt x="71" y="315"/>
                    <a:pt x="70" y="313"/>
                    <a:pt x="68" y="312"/>
                  </a:cubicBezTo>
                  <a:cubicBezTo>
                    <a:pt x="67" y="311"/>
                    <a:pt x="67" y="311"/>
                    <a:pt x="67" y="311"/>
                  </a:cubicBezTo>
                  <a:cubicBezTo>
                    <a:pt x="64" y="308"/>
                    <a:pt x="61" y="306"/>
                    <a:pt x="66" y="298"/>
                  </a:cubicBezTo>
                  <a:cubicBezTo>
                    <a:pt x="71" y="289"/>
                    <a:pt x="75" y="277"/>
                    <a:pt x="73" y="271"/>
                  </a:cubicBezTo>
                  <a:cubicBezTo>
                    <a:pt x="72" y="270"/>
                    <a:pt x="72" y="270"/>
                    <a:pt x="71" y="269"/>
                  </a:cubicBezTo>
                  <a:cubicBezTo>
                    <a:pt x="70" y="269"/>
                    <a:pt x="68" y="269"/>
                    <a:pt x="67" y="269"/>
                  </a:cubicBezTo>
                  <a:cubicBezTo>
                    <a:pt x="61" y="269"/>
                    <a:pt x="53" y="271"/>
                    <a:pt x="46" y="274"/>
                  </a:cubicBezTo>
                  <a:cubicBezTo>
                    <a:pt x="43" y="275"/>
                    <a:pt x="40" y="276"/>
                    <a:pt x="38" y="276"/>
                  </a:cubicBezTo>
                  <a:cubicBezTo>
                    <a:pt x="36" y="276"/>
                    <a:pt x="34" y="274"/>
                    <a:pt x="33" y="272"/>
                  </a:cubicBezTo>
                  <a:cubicBezTo>
                    <a:pt x="32" y="270"/>
                    <a:pt x="32" y="270"/>
                    <a:pt x="32" y="270"/>
                  </a:cubicBezTo>
                  <a:cubicBezTo>
                    <a:pt x="29" y="267"/>
                    <a:pt x="28" y="264"/>
                    <a:pt x="35" y="258"/>
                  </a:cubicBezTo>
                  <a:cubicBezTo>
                    <a:pt x="43" y="251"/>
                    <a:pt x="50" y="241"/>
                    <a:pt x="49" y="234"/>
                  </a:cubicBezTo>
                  <a:cubicBezTo>
                    <a:pt x="49" y="233"/>
                    <a:pt x="49" y="233"/>
                    <a:pt x="48" y="232"/>
                  </a:cubicBezTo>
                  <a:cubicBezTo>
                    <a:pt x="43" y="229"/>
                    <a:pt x="33" y="228"/>
                    <a:pt x="30" y="228"/>
                  </a:cubicBezTo>
                  <a:cubicBezTo>
                    <a:pt x="27" y="228"/>
                    <a:pt x="25" y="228"/>
                    <a:pt x="23" y="229"/>
                  </a:cubicBezTo>
                  <a:cubicBezTo>
                    <a:pt x="21" y="229"/>
                    <a:pt x="20" y="229"/>
                    <a:pt x="19" y="229"/>
                  </a:cubicBezTo>
                  <a:cubicBezTo>
                    <a:pt x="13" y="229"/>
                    <a:pt x="12" y="227"/>
                    <a:pt x="11" y="223"/>
                  </a:cubicBezTo>
                  <a:cubicBezTo>
                    <a:pt x="11" y="221"/>
                    <a:pt x="11" y="221"/>
                    <a:pt x="11" y="221"/>
                  </a:cubicBezTo>
                  <a:cubicBezTo>
                    <a:pt x="9" y="217"/>
                    <a:pt x="8" y="214"/>
                    <a:pt x="18" y="210"/>
                  </a:cubicBezTo>
                  <a:cubicBezTo>
                    <a:pt x="27" y="206"/>
                    <a:pt x="37" y="198"/>
                    <a:pt x="38" y="192"/>
                  </a:cubicBezTo>
                  <a:cubicBezTo>
                    <a:pt x="39" y="191"/>
                    <a:pt x="38" y="190"/>
                    <a:pt x="38" y="190"/>
                  </a:cubicBezTo>
                  <a:cubicBezTo>
                    <a:pt x="34" y="185"/>
                    <a:pt x="23" y="180"/>
                    <a:pt x="15" y="179"/>
                  </a:cubicBezTo>
                  <a:cubicBezTo>
                    <a:pt x="5" y="177"/>
                    <a:pt x="5" y="174"/>
                    <a:pt x="5" y="169"/>
                  </a:cubicBezTo>
                  <a:cubicBezTo>
                    <a:pt x="5" y="168"/>
                    <a:pt x="5" y="168"/>
                    <a:pt x="5" y="168"/>
                  </a:cubicBezTo>
                  <a:cubicBezTo>
                    <a:pt x="6" y="163"/>
                    <a:pt x="6" y="160"/>
                    <a:pt x="15" y="159"/>
                  </a:cubicBezTo>
                  <a:cubicBezTo>
                    <a:pt x="26" y="158"/>
                    <a:pt x="38" y="154"/>
                    <a:pt x="41" y="148"/>
                  </a:cubicBezTo>
                  <a:cubicBezTo>
                    <a:pt x="41" y="148"/>
                    <a:pt x="41" y="147"/>
                    <a:pt x="41" y="146"/>
                  </a:cubicBezTo>
                  <a:cubicBezTo>
                    <a:pt x="39" y="140"/>
                    <a:pt x="30" y="133"/>
                    <a:pt x="22" y="129"/>
                  </a:cubicBezTo>
                  <a:cubicBezTo>
                    <a:pt x="14" y="124"/>
                    <a:pt x="15" y="121"/>
                    <a:pt x="16"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7"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4" y="72"/>
                    <a:pt x="73" y="75"/>
                    <a:pt x="79" y="75"/>
                  </a:cubicBezTo>
                  <a:cubicBezTo>
                    <a:pt x="82" y="75"/>
                    <a:pt x="84" y="74"/>
                    <a:pt x="86" y="73"/>
                  </a:cubicBezTo>
                  <a:cubicBezTo>
                    <a:pt x="86" y="73"/>
                    <a:pt x="86" y="73"/>
                    <a:pt x="86" y="73"/>
                  </a:cubicBezTo>
                  <a:cubicBezTo>
                    <a:pt x="86" y="72"/>
                    <a:pt x="86" y="72"/>
                    <a:pt x="86" y="72"/>
                  </a:cubicBezTo>
                  <a:cubicBezTo>
                    <a:pt x="86" y="72"/>
                    <a:pt x="86" y="72"/>
                    <a:pt x="86" y="72"/>
                  </a:cubicBezTo>
                  <a:cubicBezTo>
                    <a:pt x="92" y="68"/>
                    <a:pt x="89" y="52"/>
                    <a:pt x="86" y="43"/>
                  </a:cubicBezTo>
                  <a:cubicBezTo>
                    <a:pt x="82" y="34"/>
                    <a:pt x="85" y="32"/>
                    <a:pt x="88" y="30"/>
                  </a:cubicBezTo>
                  <a:cubicBezTo>
                    <a:pt x="90" y="29"/>
                    <a:pt x="90" y="29"/>
                    <a:pt x="90" y="29"/>
                  </a:cubicBezTo>
                  <a:cubicBezTo>
                    <a:pt x="91" y="28"/>
                    <a:pt x="93" y="28"/>
                    <a:pt x="95" y="28"/>
                  </a:cubicBezTo>
                  <a:cubicBezTo>
                    <a:pt x="97" y="28"/>
                    <a:pt x="99" y="29"/>
                    <a:pt x="102" y="33"/>
                  </a:cubicBezTo>
                  <a:cubicBezTo>
                    <a:pt x="108" y="40"/>
                    <a:pt x="116" y="47"/>
                    <a:pt x="123" y="49"/>
                  </a:cubicBezTo>
                  <a:cubicBezTo>
                    <a:pt x="123" y="49"/>
                    <a:pt x="123" y="49"/>
                    <a:pt x="123" y="49"/>
                  </a:cubicBezTo>
                  <a:cubicBezTo>
                    <a:pt x="124" y="49"/>
                    <a:pt x="125" y="49"/>
                    <a:pt x="125" y="48"/>
                  </a:cubicBezTo>
                  <a:cubicBezTo>
                    <a:pt x="130" y="44"/>
                    <a:pt x="132" y="31"/>
                    <a:pt x="131" y="21"/>
                  </a:cubicBezTo>
                  <a:cubicBezTo>
                    <a:pt x="131" y="11"/>
                    <a:pt x="134" y="11"/>
                    <a:pt x="138" y="10"/>
                  </a:cubicBezTo>
                  <a:cubicBezTo>
                    <a:pt x="139" y="9"/>
                    <a:pt x="139" y="9"/>
                    <a:pt x="139" y="9"/>
                  </a:cubicBezTo>
                  <a:cubicBezTo>
                    <a:pt x="141" y="9"/>
                    <a:pt x="142" y="9"/>
                    <a:pt x="143" y="9"/>
                  </a:cubicBezTo>
                  <a:cubicBezTo>
                    <a:pt x="144" y="9"/>
                    <a:pt x="147" y="9"/>
                    <a:pt x="150" y="17"/>
                  </a:cubicBezTo>
                  <a:cubicBezTo>
                    <a:pt x="153" y="25"/>
                    <a:pt x="159" y="35"/>
                    <a:pt x="165" y="38"/>
                  </a:cubicBezTo>
                  <a:cubicBezTo>
                    <a:pt x="166" y="38"/>
                    <a:pt x="166" y="38"/>
                    <a:pt x="166" y="38"/>
                  </a:cubicBezTo>
                  <a:moveTo>
                    <a:pt x="189" y="0"/>
                  </a:moveTo>
                  <a:cubicBezTo>
                    <a:pt x="183" y="0"/>
                    <a:pt x="179" y="4"/>
                    <a:pt x="177" y="13"/>
                  </a:cubicBezTo>
                  <a:cubicBezTo>
                    <a:pt x="175" y="22"/>
                    <a:pt x="170" y="30"/>
                    <a:pt x="167" y="33"/>
                  </a:cubicBezTo>
                  <a:cubicBezTo>
                    <a:pt x="163" y="30"/>
                    <a:pt x="158" y="23"/>
                    <a:pt x="155" y="15"/>
                  </a:cubicBezTo>
                  <a:cubicBezTo>
                    <a:pt x="152" y="7"/>
                    <a:pt x="148" y="4"/>
                    <a:pt x="143" y="4"/>
                  </a:cubicBezTo>
                  <a:cubicBezTo>
                    <a:pt x="141" y="4"/>
                    <a:pt x="140" y="4"/>
                    <a:pt x="138" y="5"/>
                  </a:cubicBezTo>
                  <a:cubicBezTo>
                    <a:pt x="137" y="5"/>
                    <a:pt x="137" y="5"/>
                    <a:pt x="137" y="5"/>
                  </a:cubicBezTo>
                  <a:cubicBezTo>
                    <a:pt x="131" y="6"/>
                    <a:pt x="125" y="8"/>
                    <a:pt x="126" y="21"/>
                  </a:cubicBezTo>
                  <a:cubicBezTo>
                    <a:pt x="127" y="30"/>
                    <a:pt x="125" y="40"/>
                    <a:pt x="123" y="43"/>
                  </a:cubicBezTo>
                  <a:cubicBezTo>
                    <a:pt x="118" y="42"/>
                    <a:pt x="111" y="36"/>
                    <a:pt x="106" y="30"/>
                  </a:cubicBezTo>
                  <a:cubicBezTo>
                    <a:pt x="102" y="25"/>
                    <a:pt x="98" y="23"/>
                    <a:pt x="95" y="23"/>
                  </a:cubicBezTo>
                  <a:cubicBezTo>
                    <a:pt x="92" y="23"/>
                    <a:pt x="89" y="24"/>
                    <a:pt x="87" y="25"/>
                  </a:cubicBezTo>
                  <a:cubicBezTo>
                    <a:pt x="86" y="26"/>
                    <a:pt x="86" y="26"/>
                    <a:pt x="86" y="26"/>
                  </a:cubicBezTo>
                  <a:cubicBezTo>
                    <a:pt x="81" y="29"/>
                    <a:pt x="76" y="33"/>
                    <a:pt x="81" y="45"/>
                  </a:cubicBezTo>
                  <a:cubicBezTo>
                    <a:pt x="85" y="55"/>
                    <a:pt x="85" y="66"/>
                    <a:pt x="83" y="68"/>
                  </a:cubicBezTo>
                  <a:cubicBezTo>
                    <a:pt x="83" y="69"/>
                    <a:pt x="83" y="69"/>
                    <a:pt x="83" y="69"/>
                  </a:cubicBezTo>
                  <a:cubicBezTo>
                    <a:pt x="83" y="69"/>
                    <a:pt x="83" y="69"/>
                    <a:pt x="83" y="69"/>
                  </a:cubicBezTo>
                  <a:cubicBezTo>
                    <a:pt x="82" y="69"/>
                    <a:pt x="82" y="69"/>
                    <a:pt x="82" y="69"/>
                  </a:cubicBezTo>
                  <a:cubicBezTo>
                    <a:pt x="82" y="69"/>
                    <a:pt x="81" y="70"/>
                    <a:pt x="79" y="70"/>
                  </a:cubicBezTo>
                  <a:cubicBezTo>
                    <a:pt x="74" y="70"/>
                    <a:pt x="66" y="67"/>
                    <a:pt x="59" y="64"/>
                  </a:cubicBezTo>
                  <a:cubicBezTo>
                    <a:pt x="55" y="61"/>
                    <a:pt x="52" y="60"/>
                    <a:pt x="49" y="60"/>
                  </a:cubicBezTo>
                  <a:cubicBezTo>
                    <a:pt x="44" y="60"/>
                    <a:pt x="42" y="64"/>
                    <a:pt x="40" y="66"/>
                  </a:cubicBezTo>
                  <a:cubicBezTo>
                    <a:pt x="39" y="67"/>
                    <a:pt x="39" y="67"/>
                    <a:pt x="39" y="67"/>
                  </a:cubicBezTo>
                  <a:cubicBezTo>
                    <a:pt x="35" y="72"/>
                    <a:pt x="32" y="77"/>
                    <a:pt x="41" y="87"/>
                  </a:cubicBezTo>
                  <a:cubicBezTo>
                    <a:pt x="47" y="93"/>
                    <a:pt x="51" y="100"/>
                    <a:pt x="52" y="105"/>
                  </a:cubicBezTo>
                  <a:cubicBezTo>
                    <a:pt x="50" y="106"/>
                    <a:pt x="47" y="107"/>
                    <a:pt x="41" y="107"/>
                  </a:cubicBezTo>
                  <a:cubicBezTo>
                    <a:pt x="37" y="107"/>
                    <a:pt x="33" y="106"/>
                    <a:pt x="30" y="106"/>
                  </a:cubicBezTo>
                  <a:cubicBezTo>
                    <a:pt x="28" y="105"/>
                    <a:pt x="25" y="105"/>
                    <a:pt x="24" y="105"/>
                  </a:cubicBezTo>
                  <a:cubicBezTo>
                    <a:pt x="15" y="105"/>
                    <a:pt x="13" y="110"/>
                    <a:pt x="12" y="114"/>
                  </a:cubicBezTo>
                  <a:cubicBezTo>
                    <a:pt x="12" y="115"/>
                    <a:pt x="12" y="115"/>
                    <a:pt x="12" y="115"/>
                  </a:cubicBezTo>
                  <a:cubicBezTo>
                    <a:pt x="10" y="121"/>
                    <a:pt x="8" y="127"/>
                    <a:pt x="20" y="133"/>
                  </a:cubicBezTo>
                  <a:cubicBezTo>
                    <a:pt x="27" y="137"/>
                    <a:pt x="33" y="143"/>
                    <a:pt x="36" y="147"/>
                  </a:cubicBezTo>
                  <a:cubicBezTo>
                    <a:pt x="33" y="150"/>
                    <a:pt x="24" y="153"/>
                    <a:pt x="15" y="154"/>
                  </a:cubicBezTo>
                  <a:cubicBezTo>
                    <a:pt x="2" y="156"/>
                    <a:pt x="1" y="162"/>
                    <a:pt x="0" y="168"/>
                  </a:cubicBezTo>
                  <a:cubicBezTo>
                    <a:pt x="0" y="169"/>
                    <a:pt x="0" y="169"/>
                    <a:pt x="0" y="169"/>
                  </a:cubicBezTo>
                  <a:cubicBezTo>
                    <a:pt x="0" y="175"/>
                    <a:pt x="1" y="181"/>
                    <a:pt x="14" y="184"/>
                  </a:cubicBezTo>
                  <a:cubicBezTo>
                    <a:pt x="22" y="185"/>
                    <a:pt x="30" y="189"/>
                    <a:pt x="33" y="192"/>
                  </a:cubicBezTo>
                  <a:cubicBezTo>
                    <a:pt x="31" y="196"/>
                    <a:pt x="24" y="202"/>
                    <a:pt x="15" y="206"/>
                  </a:cubicBezTo>
                  <a:cubicBezTo>
                    <a:pt x="3" y="211"/>
                    <a:pt x="4" y="217"/>
                    <a:pt x="6" y="223"/>
                  </a:cubicBezTo>
                  <a:cubicBezTo>
                    <a:pt x="6" y="224"/>
                    <a:pt x="6" y="224"/>
                    <a:pt x="6" y="224"/>
                  </a:cubicBezTo>
                  <a:cubicBezTo>
                    <a:pt x="7" y="228"/>
                    <a:pt x="9" y="234"/>
                    <a:pt x="19" y="234"/>
                  </a:cubicBezTo>
                  <a:cubicBezTo>
                    <a:pt x="20" y="234"/>
                    <a:pt x="22" y="234"/>
                    <a:pt x="23" y="234"/>
                  </a:cubicBezTo>
                  <a:cubicBezTo>
                    <a:pt x="25" y="233"/>
                    <a:pt x="27" y="233"/>
                    <a:pt x="30" y="233"/>
                  </a:cubicBezTo>
                  <a:cubicBezTo>
                    <a:pt x="36" y="233"/>
                    <a:pt x="41" y="234"/>
                    <a:pt x="44" y="236"/>
                  </a:cubicBezTo>
                  <a:cubicBezTo>
                    <a:pt x="44" y="240"/>
                    <a:pt x="38" y="248"/>
                    <a:pt x="32" y="254"/>
                  </a:cubicBezTo>
                  <a:cubicBezTo>
                    <a:pt x="22" y="263"/>
                    <a:pt x="24" y="268"/>
                    <a:pt x="28" y="273"/>
                  </a:cubicBezTo>
                  <a:cubicBezTo>
                    <a:pt x="28" y="274"/>
                    <a:pt x="28" y="274"/>
                    <a:pt x="28" y="274"/>
                  </a:cubicBezTo>
                  <a:cubicBezTo>
                    <a:pt x="30" y="277"/>
                    <a:pt x="33" y="281"/>
                    <a:pt x="38" y="281"/>
                  </a:cubicBezTo>
                  <a:cubicBezTo>
                    <a:pt x="41" y="281"/>
                    <a:pt x="44" y="280"/>
                    <a:pt x="48" y="279"/>
                  </a:cubicBezTo>
                  <a:cubicBezTo>
                    <a:pt x="54" y="276"/>
                    <a:pt x="62" y="274"/>
                    <a:pt x="67" y="274"/>
                  </a:cubicBezTo>
                  <a:cubicBezTo>
                    <a:pt x="67" y="274"/>
                    <a:pt x="68" y="274"/>
                    <a:pt x="68" y="274"/>
                  </a:cubicBezTo>
                  <a:cubicBezTo>
                    <a:pt x="69" y="278"/>
                    <a:pt x="66" y="288"/>
                    <a:pt x="62" y="295"/>
                  </a:cubicBezTo>
                  <a:cubicBezTo>
                    <a:pt x="55" y="307"/>
                    <a:pt x="59" y="311"/>
                    <a:pt x="64" y="315"/>
                  </a:cubicBezTo>
                  <a:cubicBezTo>
                    <a:pt x="65" y="316"/>
                    <a:pt x="65" y="316"/>
                    <a:pt x="65" y="316"/>
                  </a:cubicBezTo>
                  <a:cubicBezTo>
                    <a:pt x="67" y="317"/>
                    <a:pt x="70" y="320"/>
                    <a:pt x="73" y="320"/>
                  </a:cubicBezTo>
                  <a:cubicBezTo>
                    <a:pt x="77" y="320"/>
                    <a:pt x="81" y="318"/>
                    <a:pt x="85" y="314"/>
                  </a:cubicBezTo>
                  <a:cubicBezTo>
                    <a:pt x="91" y="308"/>
                    <a:pt x="98" y="304"/>
                    <a:pt x="103" y="303"/>
                  </a:cubicBezTo>
                  <a:cubicBezTo>
                    <a:pt x="105" y="307"/>
                    <a:pt x="105" y="317"/>
                    <a:pt x="103" y="325"/>
                  </a:cubicBezTo>
                  <a:cubicBezTo>
                    <a:pt x="100" y="338"/>
                    <a:pt x="106" y="341"/>
                    <a:pt x="111" y="343"/>
                  </a:cubicBezTo>
                  <a:cubicBezTo>
                    <a:pt x="113" y="344"/>
                    <a:pt x="113" y="344"/>
                    <a:pt x="113" y="344"/>
                  </a:cubicBezTo>
                  <a:cubicBezTo>
                    <a:pt x="114" y="344"/>
                    <a:pt x="116" y="345"/>
                    <a:pt x="119" y="345"/>
                  </a:cubicBezTo>
                  <a:cubicBezTo>
                    <a:pt x="123" y="345"/>
                    <a:pt x="127" y="342"/>
                    <a:pt x="131" y="336"/>
                  </a:cubicBezTo>
                  <a:cubicBezTo>
                    <a:pt x="135" y="329"/>
                    <a:pt x="140" y="322"/>
                    <a:pt x="145" y="320"/>
                  </a:cubicBezTo>
                  <a:cubicBezTo>
                    <a:pt x="148" y="323"/>
                    <a:pt x="151" y="332"/>
                    <a:pt x="152" y="341"/>
                  </a:cubicBezTo>
                  <a:cubicBezTo>
                    <a:pt x="153" y="354"/>
                    <a:pt x="159" y="356"/>
                    <a:pt x="165" y="356"/>
                  </a:cubicBezTo>
                  <a:cubicBezTo>
                    <a:pt x="166" y="356"/>
                    <a:pt x="166" y="356"/>
                    <a:pt x="166" y="356"/>
                  </a:cubicBezTo>
                  <a:cubicBezTo>
                    <a:pt x="167" y="356"/>
                    <a:pt x="168" y="356"/>
                    <a:pt x="169" y="356"/>
                  </a:cubicBezTo>
                  <a:cubicBezTo>
                    <a:pt x="176" y="356"/>
                    <a:pt x="179" y="352"/>
                    <a:pt x="181" y="343"/>
                  </a:cubicBezTo>
                  <a:cubicBezTo>
                    <a:pt x="183" y="335"/>
                    <a:pt x="186" y="327"/>
                    <a:pt x="190" y="324"/>
                  </a:cubicBezTo>
                  <a:cubicBezTo>
                    <a:pt x="194" y="326"/>
                    <a:pt x="200" y="333"/>
                    <a:pt x="203" y="341"/>
                  </a:cubicBezTo>
                  <a:cubicBezTo>
                    <a:pt x="206" y="349"/>
                    <a:pt x="210" y="352"/>
                    <a:pt x="215" y="352"/>
                  </a:cubicBezTo>
                  <a:cubicBezTo>
                    <a:pt x="217" y="352"/>
                    <a:pt x="218" y="352"/>
                    <a:pt x="220" y="351"/>
                  </a:cubicBezTo>
                  <a:cubicBezTo>
                    <a:pt x="221" y="351"/>
                    <a:pt x="221" y="351"/>
                    <a:pt x="221" y="351"/>
                  </a:cubicBezTo>
                  <a:cubicBezTo>
                    <a:pt x="227" y="350"/>
                    <a:pt x="233" y="347"/>
                    <a:pt x="231" y="334"/>
                  </a:cubicBezTo>
                  <a:cubicBezTo>
                    <a:pt x="231" y="326"/>
                    <a:pt x="232" y="318"/>
                    <a:pt x="234" y="313"/>
                  </a:cubicBezTo>
                  <a:cubicBezTo>
                    <a:pt x="238" y="314"/>
                    <a:pt x="246" y="319"/>
                    <a:pt x="252" y="326"/>
                  </a:cubicBezTo>
                  <a:cubicBezTo>
                    <a:pt x="256" y="331"/>
                    <a:pt x="260" y="333"/>
                    <a:pt x="263" y="333"/>
                  </a:cubicBezTo>
                  <a:cubicBezTo>
                    <a:pt x="267" y="333"/>
                    <a:pt x="269" y="332"/>
                    <a:pt x="271" y="330"/>
                  </a:cubicBezTo>
                  <a:cubicBezTo>
                    <a:pt x="272" y="330"/>
                    <a:pt x="272" y="330"/>
                    <a:pt x="272" y="330"/>
                  </a:cubicBezTo>
                  <a:cubicBezTo>
                    <a:pt x="277" y="326"/>
                    <a:pt x="282" y="322"/>
                    <a:pt x="277" y="311"/>
                  </a:cubicBezTo>
                  <a:cubicBezTo>
                    <a:pt x="272" y="300"/>
                    <a:pt x="271" y="289"/>
                    <a:pt x="273" y="287"/>
                  </a:cubicBezTo>
                  <a:cubicBezTo>
                    <a:pt x="274" y="287"/>
                    <a:pt x="274" y="286"/>
                    <a:pt x="276" y="286"/>
                  </a:cubicBezTo>
                  <a:cubicBezTo>
                    <a:pt x="281" y="286"/>
                    <a:pt x="289" y="289"/>
                    <a:pt x="296" y="293"/>
                  </a:cubicBezTo>
                  <a:cubicBezTo>
                    <a:pt x="300" y="296"/>
                    <a:pt x="303" y="297"/>
                    <a:pt x="306"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09" y="250"/>
                    <a:pt x="313" y="250"/>
                  </a:cubicBezTo>
                  <a:cubicBezTo>
                    <a:pt x="317" y="250"/>
                    <a:pt x="321" y="251"/>
                    <a:pt x="326" y="252"/>
                  </a:cubicBezTo>
                  <a:cubicBezTo>
                    <a:pt x="328" y="252"/>
                    <a:pt x="331" y="253"/>
                    <a:pt x="333" y="253"/>
                  </a:cubicBezTo>
                  <a:cubicBezTo>
                    <a:pt x="340" y="253"/>
                    <a:pt x="342" y="248"/>
                    <a:pt x="344" y="244"/>
                  </a:cubicBezTo>
                  <a:cubicBezTo>
                    <a:pt x="344" y="243"/>
                    <a:pt x="344" y="243"/>
                    <a:pt x="344" y="243"/>
                  </a:cubicBezTo>
                  <a:cubicBezTo>
                    <a:pt x="347" y="237"/>
                    <a:pt x="348" y="231"/>
                    <a:pt x="337" y="225"/>
                  </a:cubicBezTo>
                  <a:cubicBezTo>
                    <a:pt x="329" y="220"/>
                    <a:pt x="322" y="213"/>
                    <a:pt x="321" y="209"/>
                  </a:cubicBezTo>
                  <a:cubicBezTo>
                    <a:pt x="325" y="206"/>
                    <a:pt x="333" y="204"/>
                    <a:pt x="341" y="203"/>
                  </a:cubicBezTo>
                  <a:cubicBezTo>
                    <a:pt x="354" y="203"/>
                    <a:pt x="356" y="196"/>
                    <a:pt x="356" y="190"/>
                  </a:cubicBezTo>
                  <a:cubicBezTo>
                    <a:pt x="356" y="189"/>
                    <a:pt x="356" y="189"/>
                    <a:pt x="356" y="189"/>
                  </a:cubicBezTo>
                  <a:cubicBezTo>
                    <a:pt x="357" y="183"/>
                    <a:pt x="356" y="177"/>
                    <a:pt x="344" y="174"/>
                  </a:cubicBezTo>
                  <a:cubicBezTo>
                    <a:pt x="335" y="172"/>
                    <a:pt x="326" y="168"/>
                    <a:pt x="324" y="164"/>
                  </a:cubicBezTo>
                  <a:cubicBezTo>
                    <a:pt x="326" y="160"/>
                    <a:pt x="334" y="155"/>
                    <a:pt x="341" y="152"/>
                  </a:cubicBezTo>
                  <a:cubicBezTo>
                    <a:pt x="353" y="148"/>
                    <a:pt x="353" y="141"/>
                    <a:pt x="351" y="135"/>
                  </a:cubicBezTo>
                  <a:cubicBezTo>
                    <a:pt x="351" y="134"/>
                    <a:pt x="351" y="134"/>
                    <a:pt x="351" y="134"/>
                  </a:cubicBezTo>
                  <a:cubicBezTo>
                    <a:pt x="350" y="130"/>
                    <a:pt x="349" y="124"/>
                    <a:pt x="338" y="124"/>
                  </a:cubicBezTo>
                  <a:cubicBezTo>
                    <a:pt x="337" y="124"/>
                    <a:pt x="336" y="124"/>
                    <a:pt x="334" y="124"/>
                  </a:cubicBezTo>
                  <a:cubicBezTo>
                    <a:pt x="333" y="124"/>
                    <a:pt x="332" y="124"/>
                    <a:pt x="330" y="124"/>
                  </a:cubicBezTo>
                  <a:cubicBezTo>
                    <a:pt x="323" y="124"/>
                    <a:pt x="315" y="122"/>
                    <a:pt x="312" y="120"/>
                  </a:cubicBezTo>
                  <a:cubicBezTo>
                    <a:pt x="314" y="116"/>
                    <a:pt x="319" y="109"/>
                    <a:pt x="325" y="104"/>
                  </a:cubicBezTo>
                  <a:cubicBezTo>
                    <a:pt x="335" y="96"/>
                    <a:pt x="333" y="90"/>
                    <a:pt x="330" y="85"/>
                  </a:cubicBezTo>
                  <a:cubicBezTo>
                    <a:pt x="329" y="83"/>
                    <a:pt x="329" y="83"/>
                    <a:pt x="329" y="83"/>
                  </a:cubicBezTo>
                  <a:cubicBezTo>
                    <a:pt x="328" y="81"/>
                    <a:pt x="325" y="76"/>
                    <a:pt x="319" y="76"/>
                  </a:cubicBezTo>
                  <a:cubicBezTo>
                    <a:pt x="317" y="76"/>
                    <a:pt x="314" y="77"/>
                    <a:pt x="310" y="79"/>
                  </a:cubicBezTo>
                  <a:cubicBezTo>
                    <a:pt x="304" y="81"/>
                    <a:pt x="297" y="83"/>
                    <a:pt x="292" y="83"/>
                  </a:cubicBezTo>
                  <a:cubicBezTo>
                    <a:pt x="290" y="83"/>
                    <a:pt x="289" y="82"/>
                    <a:pt x="288" y="82"/>
                  </a:cubicBezTo>
                  <a:cubicBezTo>
                    <a:pt x="288" y="77"/>
                    <a:pt x="291" y="69"/>
                    <a:pt x="295" y="62"/>
                  </a:cubicBezTo>
                  <a:cubicBezTo>
                    <a:pt x="303" y="51"/>
                    <a:pt x="299" y="47"/>
                    <a:pt x="294" y="43"/>
                  </a:cubicBezTo>
                  <a:cubicBezTo>
                    <a:pt x="293" y="42"/>
                    <a:pt x="293" y="42"/>
                    <a:pt x="293" y="42"/>
                  </a:cubicBezTo>
                  <a:cubicBezTo>
                    <a:pt x="291" y="40"/>
                    <a:pt x="288" y="38"/>
                    <a:pt x="285" y="38"/>
                  </a:cubicBezTo>
                  <a:cubicBezTo>
                    <a:pt x="281" y="38"/>
                    <a:pt x="278" y="39"/>
                    <a:pt x="273" y="43"/>
                  </a:cubicBezTo>
                  <a:cubicBezTo>
                    <a:pt x="267" y="49"/>
                    <a:pt x="258" y="53"/>
                    <a:pt x="253" y="53"/>
                  </a:cubicBezTo>
                  <a:cubicBezTo>
                    <a:pt x="252" y="48"/>
                    <a:pt x="252" y="40"/>
                    <a:pt x="254" y="32"/>
                  </a:cubicBezTo>
                  <a:cubicBezTo>
                    <a:pt x="258" y="19"/>
                    <a:pt x="253" y="16"/>
                    <a:pt x="247" y="14"/>
                  </a:cubicBezTo>
                  <a:cubicBezTo>
                    <a:pt x="246" y="13"/>
                    <a:pt x="246" y="13"/>
                    <a:pt x="246" y="13"/>
                  </a:cubicBezTo>
                  <a:cubicBezTo>
                    <a:pt x="244" y="12"/>
                    <a:pt x="242" y="11"/>
                    <a:pt x="239" y="11"/>
                  </a:cubicBezTo>
                  <a:cubicBezTo>
                    <a:pt x="235" y="11"/>
                    <a:pt x="231" y="14"/>
                    <a:pt x="228" y="20"/>
                  </a:cubicBezTo>
                  <a:cubicBezTo>
                    <a:pt x="223" y="28"/>
                    <a:pt x="216" y="35"/>
                    <a:pt x="212" y="36"/>
                  </a:cubicBezTo>
                  <a:cubicBezTo>
                    <a:pt x="209" y="32"/>
                    <a:pt x="206" y="24"/>
                    <a:pt x="206" y="16"/>
                  </a:cubicBezTo>
                  <a:cubicBezTo>
                    <a:pt x="206" y="3"/>
                    <a:pt x="199" y="1"/>
                    <a:pt x="193" y="1"/>
                  </a:cubicBezTo>
                  <a:cubicBezTo>
                    <a:pt x="192" y="1"/>
                    <a:pt x="192" y="1"/>
                    <a:pt x="192" y="1"/>
                  </a:cubicBezTo>
                  <a:cubicBezTo>
                    <a:pt x="191" y="0"/>
                    <a:pt x="190" y="0"/>
                    <a:pt x="18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4" name="Freeform 21333">
              <a:extLst>
                <a:ext uri="{FF2B5EF4-FFF2-40B4-BE49-F238E27FC236}">
                  <a16:creationId xmlns:a16="http://schemas.microsoft.com/office/drawing/2014/main" id="{B5DDF345-B8FA-4CC0-B7C3-8A4E5C6317DB}"/>
                </a:ext>
              </a:extLst>
            </p:cNvPr>
            <p:cNvSpPr>
              <a:spLocks noEditPoints="1"/>
            </p:cNvSpPr>
            <p:nvPr userDrawn="1"/>
          </p:nvSpPr>
          <p:spPr bwMode="auto">
            <a:xfrm>
              <a:off x="6817678" y="3636328"/>
              <a:ext cx="285750" cy="252413"/>
            </a:xfrm>
            <a:custGeom>
              <a:avLst/>
              <a:gdLst>
                <a:gd name="T0" fmla="*/ 70 w 141"/>
                <a:gd name="T1" fmla="*/ 97 h 125"/>
                <a:gd name="T2" fmla="*/ 48 w 141"/>
                <a:gd name="T3" fmla="*/ 89 h 125"/>
                <a:gd name="T4" fmla="*/ 43 w 141"/>
                <a:gd name="T5" fmla="*/ 40 h 125"/>
                <a:gd name="T6" fmla="*/ 70 w 141"/>
                <a:gd name="T7" fmla="*/ 27 h 125"/>
                <a:gd name="T8" fmla="*/ 92 w 141"/>
                <a:gd name="T9" fmla="*/ 35 h 125"/>
                <a:gd name="T10" fmla="*/ 97 w 141"/>
                <a:gd name="T11" fmla="*/ 84 h 125"/>
                <a:gd name="T12" fmla="*/ 70 w 141"/>
                <a:gd name="T13" fmla="*/ 97 h 125"/>
                <a:gd name="T14" fmla="*/ 70 w 141"/>
                <a:gd name="T15" fmla="*/ 22 h 125"/>
                <a:gd name="T16" fmla="*/ 39 w 141"/>
                <a:gd name="T17" fmla="*/ 37 h 125"/>
                <a:gd name="T18" fmla="*/ 45 w 141"/>
                <a:gd name="T19" fmla="*/ 93 h 125"/>
                <a:gd name="T20" fmla="*/ 70 w 141"/>
                <a:gd name="T21" fmla="*/ 102 h 125"/>
                <a:gd name="T22" fmla="*/ 101 w 141"/>
                <a:gd name="T23" fmla="*/ 87 h 125"/>
                <a:gd name="T24" fmla="*/ 95 w 141"/>
                <a:gd name="T25" fmla="*/ 31 h 125"/>
                <a:gd name="T26" fmla="*/ 70 w 141"/>
                <a:gd name="T27" fmla="*/ 22 h 125"/>
                <a:gd name="T28" fmla="*/ 70 w 141"/>
                <a:gd name="T29" fmla="*/ 120 h 125"/>
                <a:gd name="T30" fmla="*/ 34 w 141"/>
                <a:gd name="T31" fmla="*/ 107 h 125"/>
                <a:gd name="T32" fmla="*/ 26 w 141"/>
                <a:gd name="T33" fmla="*/ 26 h 125"/>
                <a:gd name="T34" fmla="*/ 70 w 141"/>
                <a:gd name="T35" fmla="*/ 5 h 125"/>
                <a:gd name="T36" fmla="*/ 107 w 141"/>
                <a:gd name="T37" fmla="*/ 17 h 125"/>
                <a:gd name="T38" fmla="*/ 115 w 141"/>
                <a:gd name="T39" fmla="*/ 98 h 125"/>
                <a:gd name="T40" fmla="*/ 70 w 141"/>
                <a:gd name="T41" fmla="*/ 120 h 125"/>
                <a:gd name="T42" fmla="*/ 70 w 141"/>
                <a:gd name="T43" fmla="*/ 120 h 125"/>
                <a:gd name="T44" fmla="*/ 70 w 141"/>
                <a:gd name="T45" fmla="*/ 0 h 125"/>
                <a:gd name="T46" fmla="*/ 22 w 141"/>
                <a:gd name="T47" fmla="*/ 23 h 125"/>
                <a:gd name="T48" fmla="*/ 31 w 141"/>
                <a:gd name="T49" fmla="*/ 111 h 125"/>
                <a:gd name="T50" fmla="*/ 70 w 141"/>
                <a:gd name="T51" fmla="*/ 125 h 125"/>
                <a:gd name="T52" fmla="*/ 70 w 141"/>
                <a:gd name="T53" fmla="*/ 125 h 125"/>
                <a:gd name="T54" fmla="*/ 119 w 141"/>
                <a:gd name="T55" fmla="*/ 102 h 125"/>
                <a:gd name="T56" fmla="*/ 110 w 141"/>
                <a:gd name="T57" fmla="*/ 14 h 125"/>
                <a:gd name="T58" fmla="*/ 70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97"/>
                  </a:moveTo>
                  <a:cubicBezTo>
                    <a:pt x="62" y="97"/>
                    <a:pt x="55" y="94"/>
                    <a:pt x="48" y="89"/>
                  </a:cubicBezTo>
                  <a:cubicBezTo>
                    <a:pt x="33" y="77"/>
                    <a:pt x="31" y="55"/>
                    <a:pt x="43" y="40"/>
                  </a:cubicBezTo>
                  <a:cubicBezTo>
                    <a:pt x="50" y="32"/>
                    <a:pt x="60" y="27"/>
                    <a:pt x="70" y="27"/>
                  </a:cubicBezTo>
                  <a:cubicBezTo>
                    <a:pt x="78" y="27"/>
                    <a:pt x="86" y="30"/>
                    <a:pt x="92" y="35"/>
                  </a:cubicBezTo>
                  <a:cubicBezTo>
                    <a:pt x="107" y="47"/>
                    <a:pt x="110" y="69"/>
                    <a:pt x="97" y="84"/>
                  </a:cubicBezTo>
                  <a:cubicBezTo>
                    <a:pt x="91" y="92"/>
                    <a:pt x="81" y="97"/>
                    <a:pt x="70" y="97"/>
                  </a:cubicBezTo>
                  <a:moveTo>
                    <a:pt x="70" y="22"/>
                  </a:moveTo>
                  <a:cubicBezTo>
                    <a:pt x="58" y="22"/>
                    <a:pt x="47" y="28"/>
                    <a:pt x="39" y="37"/>
                  </a:cubicBezTo>
                  <a:cubicBezTo>
                    <a:pt x="26" y="54"/>
                    <a:pt x="28" y="79"/>
                    <a:pt x="45" y="93"/>
                  </a:cubicBezTo>
                  <a:cubicBezTo>
                    <a:pt x="52" y="99"/>
                    <a:pt x="61" y="102"/>
                    <a:pt x="70" y="102"/>
                  </a:cubicBezTo>
                  <a:cubicBezTo>
                    <a:pt x="82" y="102"/>
                    <a:pt x="94" y="97"/>
                    <a:pt x="101" y="87"/>
                  </a:cubicBezTo>
                  <a:cubicBezTo>
                    <a:pt x="115" y="70"/>
                    <a:pt x="113" y="45"/>
                    <a:pt x="95" y="31"/>
                  </a:cubicBezTo>
                  <a:cubicBezTo>
                    <a:pt x="88" y="25"/>
                    <a:pt x="79" y="22"/>
                    <a:pt x="70" y="22"/>
                  </a:cubicBezTo>
                  <a:moveTo>
                    <a:pt x="70" y="120"/>
                  </a:moveTo>
                  <a:cubicBezTo>
                    <a:pt x="57" y="120"/>
                    <a:pt x="44" y="115"/>
                    <a:pt x="34" y="107"/>
                  </a:cubicBezTo>
                  <a:cubicBezTo>
                    <a:pt x="9" y="87"/>
                    <a:pt x="6" y="51"/>
                    <a:pt x="26" y="26"/>
                  </a:cubicBezTo>
                  <a:cubicBezTo>
                    <a:pt x="37" y="12"/>
                    <a:pt x="53" y="5"/>
                    <a:pt x="70" y="5"/>
                  </a:cubicBezTo>
                  <a:cubicBezTo>
                    <a:pt x="84" y="5"/>
                    <a:pt x="96" y="9"/>
                    <a:pt x="107" y="17"/>
                  </a:cubicBezTo>
                  <a:cubicBezTo>
                    <a:pt x="131" y="37"/>
                    <a:pt x="135" y="74"/>
                    <a:pt x="115" y="98"/>
                  </a:cubicBezTo>
                  <a:cubicBezTo>
                    <a:pt x="104" y="112"/>
                    <a:pt x="88" y="120"/>
                    <a:pt x="70" y="120"/>
                  </a:cubicBezTo>
                  <a:cubicBezTo>
                    <a:pt x="70" y="120"/>
                    <a:pt x="70" y="120"/>
                    <a:pt x="70" y="120"/>
                  </a:cubicBezTo>
                  <a:moveTo>
                    <a:pt x="70" y="0"/>
                  </a:moveTo>
                  <a:cubicBezTo>
                    <a:pt x="51" y="0"/>
                    <a:pt x="34" y="8"/>
                    <a:pt x="22" y="23"/>
                  </a:cubicBezTo>
                  <a:cubicBezTo>
                    <a:pt x="0" y="50"/>
                    <a:pt x="4" y="89"/>
                    <a:pt x="31" y="111"/>
                  </a:cubicBezTo>
                  <a:cubicBezTo>
                    <a:pt x="42" y="120"/>
                    <a:pt x="56" y="125"/>
                    <a:pt x="70" y="125"/>
                  </a:cubicBezTo>
                  <a:cubicBezTo>
                    <a:pt x="70" y="125"/>
                    <a:pt x="70" y="125"/>
                    <a:pt x="70" y="125"/>
                  </a:cubicBezTo>
                  <a:cubicBezTo>
                    <a:pt x="89" y="125"/>
                    <a:pt x="107" y="116"/>
                    <a:pt x="119" y="102"/>
                  </a:cubicBezTo>
                  <a:cubicBezTo>
                    <a:pt x="141" y="75"/>
                    <a:pt x="137" y="35"/>
                    <a:pt x="110" y="14"/>
                  </a:cubicBezTo>
                  <a:cubicBezTo>
                    <a:pt x="99" y="4"/>
                    <a:pt x="85" y="0"/>
                    <a:pt x="7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5" name="Freeform 21334">
              <a:extLst>
                <a:ext uri="{FF2B5EF4-FFF2-40B4-BE49-F238E27FC236}">
                  <a16:creationId xmlns:a16="http://schemas.microsoft.com/office/drawing/2014/main" id="{C3B84CCB-9D02-4954-8BFC-D9552B732689}"/>
                </a:ext>
              </a:extLst>
            </p:cNvPr>
            <p:cNvSpPr>
              <a:spLocks noEditPoints="1"/>
            </p:cNvSpPr>
            <p:nvPr userDrawn="1"/>
          </p:nvSpPr>
          <p:spPr bwMode="auto">
            <a:xfrm>
              <a:off x="10180003" y="4172903"/>
              <a:ext cx="869950" cy="1274763"/>
            </a:xfrm>
            <a:custGeom>
              <a:avLst/>
              <a:gdLst>
                <a:gd name="T0" fmla="*/ 37 w 430"/>
                <a:gd name="T1" fmla="*/ 559 h 632"/>
                <a:gd name="T2" fmla="*/ 135 w 430"/>
                <a:gd name="T3" fmla="*/ 0 h 632"/>
                <a:gd name="T4" fmla="*/ 157 w 430"/>
                <a:gd name="T5" fmla="*/ 35 h 632"/>
                <a:gd name="T6" fmla="*/ 189 w 430"/>
                <a:gd name="T7" fmla="*/ 42 h 632"/>
                <a:gd name="T8" fmla="*/ 225 w 430"/>
                <a:gd name="T9" fmla="*/ 25 h 632"/>
                <a:gd name="T10" fmla="*/ 241 w 430"/>
                <a:gd name="T11" fmla="*/ 62 h 632"/>
                <a:gd name="T12" fmla="*/ 270 w 430"/>
                <a:gd name="T13" fmla="*/ 79 h 632"/>
                <a:gd name="T14" fmla="*/ 310 w 430"/>
                <a:gd name="T15" fmla="*/ 74 h 632"/>
                <a:gd name="T16" fmla="*/ 333 w 430"/>
                <a:gd name="T17" fmla="*/ 106 h 632"/>
                <a:gd name="T18" fmla="*/ 336 w 430"/>
                <a:gd name="T19" fmla="*/ 140 h 632"/>
                <a:gd name="T20" fmla="*/ 375 w 430"/>
                <a:gd name="T21" fmla="*/ 147 h 632"/>
                <a:gd name="T22" fmla="*/ 387 w 430"/>
                <a:gd name="T23" fmla="*/ 184 h 632"/>
                <a:gd name="T24" fmla="*/ 382 w 430"/>
                <a:gd name="T25" fmla="*/ 225 h 632"/>
                <a:gd name="T26" fmla="*/ 408 w 430"/>
                <a:gd name="T27" fmla="*/ 246 h 632"/>
                <a:gd name="T28" fmla="*/ 423 w 430"/>
                <a:gd name="T29" fmla="*/ 282 h 632"/>
                <a:gd name="T30" fmla="*/ 397 w 430"/>
                <a:gd name="T31" fmla="*/ 315 h 632"/>
                <a:gd name="T32" fmla="*/ 393 w 430"/>
                <a:gd name="T33" fmla="*/ 357 h 632"/>
                <a:gd name="T34" fmla="*/ 404 w 430"/>
                <a:gd name="T35" fmla="*/ 387 h 632"/>
                <a:gd name="T36" fmla="*/ 403 w 430"/>
                <a:gd name="T37" fmla="*/ 428 h 632"/>
                <a:gd name="T38" fmla="*/ 367 w 430"/>
                <a:gd name="T39" fmla="*/ 442 h 632"/>
                <a:gd name="T40" fmla="*/ 353 w 430"/>
                <a:gd name="T41" fmla="*/ 471 h 632"/>
                <a:gd name="T42" fmla="*/ 354 w 430"/>
                <a:gd name="T43" fmla="*/ 512 h 632"/>
                <a:gd name="T44" fmla="*/ 322 w 430"/>
                <a:gd name="T45" fmla="*/ 535 h 632"/>
                <a:gd name="T46" fmla="*/ 289 w 430"/>
                <a:gd name="T47" fmla="*/ 538 h 632"/>
                <a:gd name="T48" fmla="*/ 271 w 430"/>
                <a:gd name="T49" fmla="*/ 575 h 632"/>
                <a:gd name="T50" fmla="*/ 240 w 430"/>
                <a:gd name="T51" fmla="*/ 600 h 632"/>
                <a:gd name="T52" fmla="*/ 203 w 430"/>
                <a:gd name="T53" fmla="*/ 584 h 632"/>
                <a:gd name="T54" fmla="*/ 171 w 430"/>
                <a:gd name="T55" fmla="*/ 594 h 632"/>
                <a:gd name="T56" fmla="*/ 146 w 430"/>
                <a:gd name="T57" fmla="*/ 625 h 632"/>
                <a:gd name="T58" fmla="*/ 124 w 430"/>
                <a:gd name="T59" fmla="*/ 599 h 632"/>
                <a:gd name="T60" fmla="*/ 88 w 430"/>
                <a:gd name="T61" fmla="*/ 618 h 632"/>
                <a:gd name="T62" fmla="*/ 52 w 430"/>
                <a:gd name="T63" fmla="*/ 621 h 632"/>
                <a:gd name="T64" fmla="*/ 27 w 430"/>
                <a:gd name="T65" fmla="*/ 586 h 632"/>
                <a:gd name="T66" fmla="*/ 6 w 430"/>
                <a:gd name="T67" fmla="*/ 612 h 632"/>
                <a:gd name="T68" fmla="*/ 52 w 430"/>
                <a:gd name="T69" fmla="*/ 626 h 632"/>
                <a:gd name="T70" fmla="*/ 99 w 430"/>
                <a:gd name="T71" fmla="*/ 632 h 632"/>
                <a:gd name="T72" fmla="*/ 146 w 430"/>
                <a:gd name="T73" fmla="*/ 630 h 632"/>
                <a:gd name="T74" fmla="*/ 194 w 430"/>
                <a:gd name="T75" fmla="*/ 621 h 632"/>
                <a:gd name="T76" fmla="*/ 241 w 430"/>
                <a:gd name="T77" fmla="*/ 605 h 632"/>
                <a:gd name="T78" fmla="*/ 285 w 430"/>
                <a:gd name="T79" fmla="*/ 581 h 632"/>
                <a:gd name="T80" fmla="*/ 324 w 430"/>
                <a:gd name="T81" fmla="*/ 551 h 632"/>
                <a:gd name="T82" fmla="*/ 358 w 430"/>
                <a:gd name="T83" fmla="*/ 515 h 632"/>
                <a:gd name="T84" fmla="*/ 377 w 430"/>
                <a:gd name="T85" fmla="*/ 481 h 632"/>
                <a:gd name="T86" fmla="*/ 392 w 430"/>
                <a:gd name="T87" fmla="*/ 438 h 632"/>
                <a:gd name="T88" fmla="*/ 404 w 430"/>
                <a:gd name="T89" fmla="*/ 392 h 632"/>
                <a:gd name="T90" fmla="*/ 399 w 430"/>
                <a:gd name="T91" fmla="*/ 350 h 632"/>
                <a:gd name="T92" fmla="*/ 417 w 430"/>
                <a:gd name="T93" fmla="*/ 298 h 632"/>
                <a:gd name="T94" fmla="*/ 410 w 430"/>
                <a:gd name="T95" fmla="*/ 250 h 632"/>
                <a:gd name="T96" fmla="*/ 384 w 430"/>
                <a:gd name="T97" fmla="*/ 216 h 632"/>
                <a:gd name="T98" fmla="*/ 368 w 430"/>
                <a:gd name="T99" fmla="*/ 181 h 632"/>
                <a:gd name="T100" fmla="*/ 344 w 430"/>
                <a:gd name="T101" fmla="*/ 143 h 632"/>
                <a:gd name="T102" fmla="*/ 330 w 430"/>
                <a:gd name="T103" fmla="*/ 102 h 632"/>
                <a:gd name="T104" fmla="*/ 294 w 430"/>
                <a:gd name="T105" fmla="*/ 71 h 632"/>
                <a:gd name="T106" fmla="*/ 253 w 430"/>
                <a:gd name="T107" fmla="*/ 45 h 632"/>
                <a:gd name="T108" fmla="*/ 220 w 430"/>
                <a:gd name="T109" fmla="*/ 18 h 632"/>
                <a:gd name="T110" fmla="*/ 174 w 430"/>
                <a:gd name="T111" fmla="*/ 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0" h="632">
                  <a:moveTo>
                    <a:pt x="142" y="57"/>
                  </a:moveTo>
                  <a:cubicBezTo>
                    <a:pt x="142" y="59"/>
                    <a:pt x="142" y="60"/>
                    <a:pt x="142" y="62"/>
                  </a:cubicBezTo>
                  <a:cubicBezTo>
                    <a:pt x="190" y="68"/>
                    <a:pt x="236" y="87"/>
                    <a:pt x="274" y="117"/>
                  </a:cubicBezTo>
                  <a:cubicBezTo>
                    <a:pt x="327" y="160"/>
                    <a:pt x="360" y="221"/>
                    <a:pt x="367" y="289"/>
                  </a:cubicBezTo>
                  <a:cubicBezTo>
                    <a:pt x="374" y="357"/>
                    <a:pt x="354" y="423"/>
                    <a:pt x="311" y="476"/>
                  </a:cubicBezTo>
                  <a:cubicBezTo>
                    <a:pt x="262" y="536"/>
                    <a:pt x="190" y="570"/>
                    <a:pt x="113" y="570"/>
                  </a:cubicBezTo>
                  <a:cubicBezTo>
                    <a:pt x="87" y="570"/>
                    <a:pt x="61" y="566"/>
                    <a:pt x="37" y="559"/>
                  </a:cubicBezTo>
                  <a:cubicBezTo>
                    <a:pt x="36" y="560"/>
                    <a:pt x="35" y="562"/>
                    <a:pt x="34" y="563"/>
                  </a:cubicBezTo>
                  <a:cubicBezTo>
                    <a:pt x="59" y="571"/>
                    <a:pt x="86" y="575"/>
                    <a:pt x="113" y="575"/>
                  </a:cubicBezTo>
                  <a:cubicBezTo>
                    <a:pt x="192" y="575"/>
                    <a:pt x="265" y="540"/>
                    <a:pt x="315" y="479"/>
                  </a:cubicBezTo>
                  <a:cubicBezTo>
                    <a:pt x="359" y="425"/>
                    <a:pt x="379" y="358"/>
                    <a:pt x="372" y="289"/>
                  </a:cubicBezTo>
                  <a:cubicBezTo>
                    <a:pt x="364" y="219"/>
                    <a:pt x="331" y="157"/>
                    <a:pt x="277" y="114"/>
                  </a:cubicBezTo>
                  <a:cubicBezTo>
                    <a:pt x="238" y="82"/>
                    <a:pt x="191" y="63"/>
                    <a:pt x="142" y="57"/>
                  </a:cubicBezTo>
                  <a:moveTo>
                    <a:pt x="135" y="0"/>
                  </a:moveTo>
                  <a:cubicBezTo>
                    <a:pt x="135" y="2"/>
                    <a:pt x="135" y="4"/>
                    <a:pt x="136" y="6"/>
                  </a:cubicBezTo>
                  <a:cubicBezTo>
                    <a:pt x="137" y="7"/>
                    <a:pt x="138" y="9"/>
                    <a:pt x="138" y="13"/>
                  </a:cubicBezTo>
                  <a:cubicBezTo>
                    <a:pt x="139" y="20"/>
                    <a:pt x="141" y="28"/>
                    <a:pt x="144" y="33"/>
                  </a:cubicBezTo>
                  <a:cubicBezTo>
                    <a:pt x="144" y="33"/>
                    <a:pt x="145" y="34"/>
                    <a:pt x="146" y="34"/>
                  </a:cubicBezTo>
                  <a:cubicBezTo>
                    <a:pt x="149" y="34"/>
                    <a:pt x="152" y="35"/>
                    <a:pt x="155" y="35"/>
                  </a:cubicBezTo>
                  <a:cubicBezTo>
                    <a:pt x="155" y="35"/>
                    <a:pt x="155" y="35"/>
                    <a:pt x="155" y="35"/>
                  </a:cubicBezTo>
                  <a:cubicBezTo>
                    <a:pt x="156" y="35"/>
                    <a:pt x="156" y="35"/>
                    <a:pt x="157" y="35"/>
                  </a:cubicBezTo>
                  <a:cubicBezTo>
                    <a:pt x="161" y="31"/>
                    <a:pt x="165" y="23"/>
                    <a:pt x="168" y="17"/>
                  </a:cubicBezTo>
                  <a:cubicBezTo>
                    <a:pt x="170" y="10"/>
                    <a:pt x="173" y="10"/>
                    <a:pt x="174" y="10"/>
                  </a:cubicBezTo>
                  <a:cubicBezTo>
                    <a:pt x="175" y="10"/>
                    <a:pt x="176" y="11"/>
                    <a:pt x="177" y="11"/>
                  </a:cubicBezTo>
                  <a:cubicBezTo>
                    <a:pt x="179" y="11"/>
                    <a:pt x="179" y="11"/>
                    <a:pt x="179" y="11"/>
                  </a:cubicBezTo>
                  <a:cubicBezTo>
                    <a:pt x="183" y="12"/>
                    <a:pt x="186" y="12"/>
                    <a:pt x="185" y="21"/>
                  </a:cubicBezTo>
                  <a:cubicBezTo>
                    <a:pt x="185" y="27"/>
                    <a:pt x="185" y="36"/>
                    <a:pt x="188" y="41"/>
                  </a:cubicBezTo>
                  <a:cubicBezTo>
                    <a:pt x="188" y="42"/>
                    <a:pt x="189" y="42"/>
                    <a:pt x="189" y="42"/>
                  </a:cubicBezTo>
                  <a:cubicBezTo>
                    <a:pt x="192" y="43"/>
                    <a:pt x="195" y="44"/>
                    <a:pt x="198" y="45"/>
                  </a:cubicBezTo>
                  <a:cubicBezTo>
                    <a:pt x="198" y="45"/>
                    <a:pt x="199" y="45"/>
                    <a:pt x="199" y="45"/>
                  </a:cubicBezTo>
                  <a:cubicBezTo>
                    <a:pt x="199" y="45"/>
                    <a:pt x="200" y="45"/>
                    <a:pt x="200" y="45"/>
                  </a:cubicBezTo>
                  <a:cubicBezTo>
                    <a:pt x="205" y="42"/>
                    <a:pt x="210" y="35"/>
                    <a:pt x="214" y="29"/>
                  </a:cubicBezTo>
                  <a:cubicBezTo>
                    <a:pt x="217" y="23"/>
                    <a:pt x="219" y="23"/>
                    <a:pt x="220" y="23"/>
                  </a:cubicBezTo>
                  <a:cubicBezTo>
                    <a:pt x="221" y="23"/>
                    <a:pt x="223" y="24"/>
                    <a:pt x="224" y="25"/>
                  </a:cubicBezTo>
                  <a:cubicBezTo>
                    <a:pt x="225" y="25"/>
                    <a:pt x="225" y="25"/>
                    <a:pt x="225" y="25"/>
                  </a:cubicBezTo>
                  <a:cubicBezTo>
                    <a:pt x="229" y="26"/>
                    <a:pt x="232" y="28"/>
                    <a:pt x="230" y="36"/>
                  </a:cubicBezTo>
                  <a:cubicBezTo>
                    <a:pt x="229" y="42"/>
                    <a:pt x="228" y="51"/>
                    <a:pt x="230" y="56"/>
                  </a:cubicBezTo>
                  <a:cubicBezTo>
                    <a:pt x="230" y="57"/>
                    <a:pt x="230" y="57"/>
                    <a:pt x="231" y="58"/>
                  </a:cubicBezTo>
                  <a:cubicBezTo>
                    <a:pt x="233" y="59"/>
                    <a:pt x="236" y="60"/>
                    <a:pt x="238" y="61"/>
                  </a:cubicBezTo>
                  <a:cubicBezTo>
                    <a:pt x="239" y="62"/>
                    <a:pt x="239" y="62"/>
                    <a:pt x="239" y="62"/>
                  </a:cubicBezTo>
                  <a:cubicBezTo>
                    <a:pt x="240" y="62"/>
                    <a:pt x="240" y="62"/>
                    <a:pt x="241" y="62"/>
                  </a:cubicBezTo>
                  <a:cubicBezTo>
                    <a:pt x="241" y="62"/>
                    <a:pt x="241" y="62"/>
                    <a:pt x="241" y="62"/>
                  </a:cubicBezTo>
                  <a:cubicBezTo>
                    <a:pt x="247" y="60"/>
                    <a:pt x="253" y="54"/>
                    <a:pt x="257" y="48"/>
                  </a:cubicBezTo>
                  <a:cubicBezTo>
                    <a:pt x="260" y="45"/>
                    <a:pt x="262" y="44"/>
                    <a:pt x="264" y="44"/>
                  </a:cubicBezTo>
                  <a:cubicBezTo>
                    <a:pt x="265" y="44"/>
                    <a:pt x="267" y="45"/>
                    <a:pt x="268" y="46"/>
                  </a:cubicBezTo>
                  <a:cubicBezTo>
                    <a:pt x="270" y="46"/>
                    <a:pt x="270" y="46"/>
                    <a:pt x="270" y="46"/>
                  </a:cubicBezTo>
                  <a:cubicBezTo>
                    <a:pt x="273" y="48"/>
                    <a:pt x="276" y="50"/>
                    <a:pt x="273" y="57"/>
                  </a:cubicBezTo>
                  <a:cubicBezTo>
                    <a:pt x="270" y="63"/>
                    <a:pt x="268" y="72"/>
                    <a:pt x="269" y="78"/>
                  </a:cubicBezTo>
                  <a:cubicBezTo>
                    <a:pt x="269" y="78"/>
                    <a:pt x="269" y="79"/>
                    <a:pt x="270" y="79"/>
                  </a:cubicBezTo>
                  <a:cubicBezTo>
                    <a:pt x="273" y="81"/>
                    <a:pt x="275" y="83"/>
                    <a:pt x="278" y="85"/>
                  </a:cubicBezTo>
                  <a:cubicBezTo>
                    <a:pt x="278" y="85"/>
                    <a:pt x="278" y="85"/>
                    <a:pt x="279" y="85"/>
                  </a:cubicBezTo>
                  <a:cubicBezTo>
                    <a:pt x="279" y="85"/>
                    <a:pt x="279" y="85"/>
                    <a:pt x="280" y="85"/>
                  </a:cubicBezTo>
                  <a:cubicBezTo>
                    <a:pt x="285" y="84"/>
                    <a:pt x="292" y="79"/>
                    <a:pt x="297" y="74"/>
                  </a:cubicBezTo>
                  <a:cubicBezTo>
                    <a:pt x="300" y="72"/>
                    <a:pt x="302" y="71"/>
                    <a:pt x="304" y="71"/>
                  </a:cubicBezTo>
                  <a:cubicBezTo>
                    <a:pt x="306" y="71"/>
                    <a:pt x="307" y="72"/>
                    <a:pt x="309" y="73"/>
                  </a:cubicBezTo>
                  <a:cubicBezTo>
                    <a:pt x="310" y="74"/>
                    <a:pt x="310" y="74"/>
                    <a:pt x="310" y="74"/>
                  </a:cubicBezTo>
                  <a:cubicBezTo>
                    <a:pt x="313" y="77"/>
                    <a:pt x="315" y="78"/>
                    <a:pt x="311" y="85"/>
                  </a:cubicBezTo>
                  <a:cubicBezTo>
                    <a:pt x="308" y="91"/>
                    <a:pt x="304" y="99"/>
                    <a:pt x="304" y="105"/>
                  </a:cubicBezTo>
                  <a:cubicBezTo>
                    <a:pt x="304" y="106"/>
                    <a:pt x="304" y="106"/>
                    <a:pt x="305" y="107"/>
                  </a:cubicBezTo>
                  <a:cubicBezTo>
                    <a:pt x="307" y="109"/>
                    <a:pt x="309" y="111"/>
                    <a:pt x="312" y="113"/>
                  </a:cubicBezTo>
                  <a:cubicBezTo>
                    <a:pt x="312" y="114"/>
                    <a:pt x="313" y="114"/>
                    <a:pt x="313" y="114"/>
                  </a:cubicBezTo>
                  <a:cubicBezTo>
                    <a:pt x="313" y="114"/>
                    <a:pt x="314" y="114"/>
                    <a:pt x="314" y="114"/>
                  </a:cubicBezTo>
                  <a:cubicBezTo>
                    <a:pt x="319" y="114"/>
                    <a:pt x="327" y="110"/>
                    <a:pt x="333" y="106"/>
                  </a:cubicBezTo>
                  <a:cubicBezTo>
                    <a:pt x="335" y="104"/>
                    <a:pt x="337" y="103"/>
                    <a:pt x="339" y="103"/>
                  </a:cubicBezTo>
                  <a:cubicBezTo>
                    <a:pt x="341" y="103"/>
                    <a:pt x="342" y="105"/>
                    <a:pt x="344" y="107"/>
                  </a:cubicBezTo>
                  <a:cubicBezTo>
                    <a:pt x="345" y="108"/>
                    <a:pt x="345" y="108"/>
                    <a:pt x="345" y="108"/>
                  </a:cubicBezTo>
                  <a:cubicBezTo>
                    <a:pt x="348" y="111"/>
                    <a:pt x="350" y="113"/>
                    <a:pt x="345" y="119"/>
                  </a:cubicBezTo>
                  <a:cubicBezTo>
                    <a:pt x="340" y="124"/>
                    <a:pt x="336" y="132"/>
                    <a:pt x="335" y="137"/>
                  </a:cubicBezTo>
                  <a:cubicBezTo>
                    <a:pt x="335" y="138"/>
                    <a:pt x="335" y="139"/>
                    <a:pt x="335" y="139"/>
                  </a:cubicBezTo>
                  <a:cubicBezTo>
                    <a:pt x="336" y="140"/>
                    <a:pt x="336" y="140"/>
                    <a:pt x="336" y="140"/>
                  </a:cubicBezTo>
                  <a:cubicBezTo>
                    <a:pt x="338" y="143"/>
                    <a:pt x="339" y="145"/>
                    <a:pt x="341" y="147"/>
                  </a:cubicBezTo>
                  <a:cubicBezTo>
                    <a:pt x="341" y="147"/>
                    <a:pt x="342" y="148"/>
                    <a:pt x="343" y="148"/>
                  </a:cubicBezTo>
                  <a:cubicBezTo>
                    <a:pt x="343" y="148"/>
                    <a:pt x="344" y="148"/>
                    <a:pt x="344" y="148"/>
                  </a:cubicBezTo>
                  <a:cubicBezTo>
                    <a:pt x="349" y="148"/>
                    <a:pt x="356" y="146"/>
                    <a:pt x="363" y="143"/>
                  </a:cubicBezTo>
                  <a:cubicBezTo>
                    <a:pt x="365" y="142"/>
                    <a:pt x="367" y="141"/>
                    <a:pt x="369" y="141"/>
                  </a:cubicBezTo>
                  <a:cubicBezTo>
                    <a:pt x="371" y="141"/>
                    <a:pt x="372" y="143"/>
                    <a:pt x="374" y="146"/>
                  </a:cubicBezTo>
                  <a:cubicBezTo>
                    <a:pt x="375" y="147"/>
                    <a:pt x="375" y="147"/>
                    <a:pt x="375" y="147"/>
                  </a:cubicBezTo>
                  <a:cubicBezTo>
                    <a:pt x="377" y="150"/>
                    <a:pt x="379" y="153"/>
                    <a:pt x="372" y="158"/>
                  </a:cubicBezTo>
                  <a:cubicBezTo>
                    <a:pt x="368" y="162"/>
                    <a:pt x="362" y="169"/>
                    <a:pt x="360" y="174"/>
                  </a:cubicBezTo>
                  <a:cubicBezTo>
                    <a:pt x="360" y="175"/>
                    <a:pt x="360" y="176"/>
                    <a:pt x="360" y="176"/>
                  </a:cubicBezTo>
                  <a:cubicBezTo>
                    <a:pt x="362" y="179"/>
                    <a:pt x="363" y="182"/>
                    <a:pt x="365" y="184"/>
                  </a:cubicBezTo>
                  <a:cubicBezTo>
                    <a:pt x="365" y="185"/>
                    <a:pt x="365" y="186"/>
                    <a:pt x="366" y="186"/>
                  </a:cubicBezTo>
                  <a:cubicBezTo>
                    <a:pt x="368" y="186"/>
                    <a:pt x="370" y="186"/>
                    <a:pt x="372" y="186"/>
                  </a:cubicBezTo>
                  <a:cubicBezTo>
                    <a:pt x="376" y="186"/>
                    <a:pt x="382" y="186"/>
                    <a:pt x="387" y="184"/>
                  </a:cubicBezTo>
                  <a:cubicBezTo>
                    <a:pt x="389" y="184"/>
                    <a:pt x="390" y="183"/>
                    <a:pt x="391" y="183"/>
                  </a:cubicBezTo>
                  <a:cubicBezTo>
                    <a:pt x="395" y="183"/>
                    <a:pt x="396" y="185"/>
                    <a:pt x="397" y="188"/>
                  </a:cubicBezTo>
                  <a:cubicBezTo>
                    <a:pt x="398" y="190"/>
                    <a:pt x="398" y="190"/>
                    <a:pt x="398" y="190"/>
                  </a:cubicBezTo>
                  <a:cubicBezTo>
                    <a:pt x="400" y="193"/>
                    <a:pt x="401" y="196"/>
                    <a:pt x="394" y="200"/>
                  </a:cubicBezTo>
                  <a:cubicBezTo>
                    <a:pt x="388" y="204"/>
                    <a:pt x="381" y="210"/>
                    <a:pt x="379" y="215"/>
                  </a:cubicBezTo>
                  <a:cubicBezTo>
                    <a:pt x="379" y="215"/>
                    <a:pt x="379" y="216"/>
                    <a:pt x="379" y="217"/>
                  </a:cubicBezTo>
                  <a:cubicBezTo>
                    <a:pt x="380" y="220"/>
                    <a:pt x="381" y="222"/>
                    <a:pt x="382" y="225"/>
                  </a:cubicBezTo>
                  <a:cubicBezTo>
                    <a:pt x="382" y="226"/>
                    <a:pt x="383" y="227"/>
                    <a:pt x="383" y="227"/>
                  </a:cubicBezTo>
                  <a:cubicBezTo>
                    <a:pt x="387" y="229"/>
                    <a:pt x="393" y="229"/>
                    <a:pt x="397" y="229"/>
                  </a:cubicBezTo>
                  <a:cubicBezTo>
                    <a:pt x="399" y="229"/>
                    <a:pt x="402" y="229"/>
                    <a:pt x="404" y="229"/>
                  </a:cubicBezTo>
                  <a:cubicBezTo>
                    <a:pt x="405" y="229"/>
                    <a:pt x="406" y="228"/>
                    <a:pt x="407" y="228"/>
                  </a:cubicBezTo>
                  <a:cubicBezTo>
                    <a:pt x="412" y="228"/>
                    <a:pt x="413" y="231"/>
                    <a:pt x="414" y="234"/>
                  </a:cubicBezTo>
                  <a:cubicBezTo>
                    <a:pt x="414" y="236"/>
                    <a:pt x="414" y="236"/>
                    <a:pt x="414" y="236"/>
                  </a:cubicBezTo>
                  <a:cubicBezTo>
                    <a:pt x="415" y="240"/>
                    <a:pt x="416" y="243"/>
                    <a:pt x="408" y="246"/>
                  </a:cubicBezTo>
                  <a:cubicBezTo>
                    <a:pt x="402" y="248"/>
                    <a:pt x="395" y="253"/>
                    <a:pt x="391" y="258"/>
                  </a:cubicBezTo>
                  <a:cubicBezTo>
                    <a:pt x="391" y="258"/>
                    <a:pt x="391" y="259"/>
                    <a:pt x="391" y="259"/>
                  </a:cubicBezTo>
                  <a:cubicBezTo>
                    <a:pt x="391" y="262"/>
                    <a:pt x="392" y="265"/>
                    <a:pt x="392" y="267"/>
                  </a:cubicBezTo>
                  <a:cubicBezTo>
                    <a:pt x="393" y="269"/>
                    <a:pt x="393" y="269"/>
                    <a:pt x="393" y="269"/>
                  </a:cubicBezTo>
                  <a:cubicBezTo>
                    <a:pt x="393" y="269"/>
                    <a:pt x="393" y="270"/>
                    <a:pt x="394" y="270"/>
                  </a:cubicBezTo>
                  <a:cubicBezTo>
                    <a:pt x="398" y="273"/>
                    <a:pt x="407" y="275"/>
                    <a:pt x="414" y="275"/>
                  </a:cubicBezTo>
                  <a:cubicBezTo>
                    <a:pt x="422" y="275"/>
                    <a:pt x="422" y="279"/>
                    <a:pt x="423" y="282"/>
                  </a:cubicBezTo>
                  <a:cubicBezTo>
                    <a:pt x="423" y="284"/>
                    <a:pt x="423" y="284"/>
                    <a:pt x="423" y="284"/>
                  </a:cubicBezTo>
                  <a:cubicBezTo>
                    <a:pt x="423" y="288"/>
                    <a:pt x="424" y="291"/>
                    <a:pt x="416" y="293"/>
                  </a:cubicBezTo>
                  <a:cubicBezTo>
                    <a:pt x="409" y="295"/>
                    <a:pt x="401" y="298"/>
                    <a:pt x="397" y="302"/>
                  </a:cubicBezTo>
                  <a:cubicBezTo>
                    <a:pt x="396" y="302"/>
                    <a:pt x="396" y="303"/>
                    <a:pt x="396" y="304"/>
                  </a:cubicBezTo>
                  <a:cubicBezTo>
                    <a:pt x="396" y="305"/>
                    <a:pt x="396" y="305"/>
                    <a:pt x="396" y="305"/>
                  </a:cubicBezTo>
                  <a:cubicBezTo>
                    <a:pt x="396" y="307"/>
                    <a:pt x="397" y="310"/>
                    <a:pt x="397" y="313"/>
                  </a:cubicBezTo>
                  <a:cubicBezTo>
                    <a:pt x="397" y="314"/>
                    <a:pt x="397" y="314"/>
                    <a:pt x="397" y="315"/>
                  </a:cubicBezTo>
                  <a:cubicBezTo>
                    <a:pt x="402" y="318"/>
                    <a:pt x="410" y="321"/>
                    <a:pt x="417" y="323"/>
                  </a:cubicBezTo>
                  <a:cubicBezTo>
                    <a:pt x="425" y="324"/>
                    <a:pt x="424" y="327"/>
                    <a:pt x="424" y="331"/>
                  </a:cubicBezTo>
                  <a:cubicBezTo>
                    <a:pt x="424" y="333"/>
                    <a:pt x="424" y="333"/>
                    <a:pt x="424" y="333"/>
                  </a:cubicBezTo>
                  <a:cubicBezTo>
                    <a:pt x="424" y="337"/>
                    <a:pt x="424" y="340"/>
                    <a:pt x="415" y="340"/>
                  </a:cubicBezTo>
                  <a:cubicBezTo>
                    <a:pt x="409" y="341"/>
                    <a:pt x="400" y="343"/>
                    <a:pt x="396" y="346"/>
                  </a:cubicBezTo>
                  <a:cubicBezTo>
                    <a:pt x="395" y="347"/>
                    <a:pt x="395" y="347"/>
                    <a:pt x="395" y="348"/>
                  </a:cubicBezTo>
                  <a:cubicBezTo>
                    <a:pt x="394" y="351"/>
                    <a:pt x="394" y="354"/>
                    <a:pt x="393" y="357"/>
                  </a:cubicBezTo>
                  <a:cubicBezTo>
                    <a:pt x="393" y="358"/>
                    <a:pt x="394" y="359"/>
                    <a:pt x="394" y="359"/>
                  </a:cubicBezTo>
                  <a:cubicBezTo>
                    <a:pt x="398" y="364"/>
                    <a:pt x="405" y="368"/>
                    <a:pt x="412" y="370"/>
                  </a:cubicBezTo>
                  <a:cubicBezTo>
                    <a:pt x="419" y="373"/>
                    <a:pt x="419" y="376"/>
                    <a:pt x="418" y="380"/>
                  </a:cubicBezTo>
                  <a:cubicBezTo>
                    <a:pt x="417" y="381"/>
                    <a:pt x="417" y="381"/>
                    <a:pt x="417" y="381"/>
                  </a:cubicBezTo>
                  <a:cubicBezTo>
                    <a:pt x="417" y="385"/>
                    <a:pt x="416" y="388"/>
                    <a:pt x="410" y="388"/>
                  </a:cubicBezTo>
                  <a:cubicBezTo>
                    <a:pt x="409" y="388"/>
                    <a:pt x="409" y="387"/>
                    <a:pt x="408" y="387"/>
                  </a:cubicBezTo>
                  <a:cubicBezTo>
                    <a:pt x="407" y="387"/>
                    <a:pt x="406" y="387"/>
                    <a:pt x="404" y="387"/>
                  </a:cubicBezTo>
                  <a:cubicBezTo>
                    <a:pt x="401" y="387"/>
                    <a:pt x="393" y="388"/>
                    <a:pt x="387" y="390"/>
                  </a:cubicBezTo>
                  <a:cubicBezTo>
                    <a:pt x="387" y="390"/>
                    <a:pt x="386" y="391"/>
                    <a:pt x="386" y="392"/>
                  </a:cubicBezTo>
                  <a:cubicBezTo>
                    <a:pt x="385" y="395"/>
                    <a:pt x="384" y="398"/>
                    <a:pt x="383" y="401"/>
                  </a:cubicBezTo>
                  <a:cubicBezTo>
                    <a:pt x="383" y="401"/>
                    <a:pt x="383" y="402"/>
                    <a:pt x="384" y="403"/>
                  </a:cubicBezTo>
                  <a:cubicBezTo>
                    <a:pt x="387" y="408"/>
                    <a:pt x="394" y="413"/>
                    <a:pt x="399" y="416"/>
                  </a:cubicBezTo>
                  <a:cubicBezTo>
                    <a:pt x="407" y="420"/>
                    <a:pt x="405" y="423"/>
                    <a:pt x="404" y="427"/>
                  </a:cubicBezTo>
                  <a:cubicBezTo>
                    <a:pt x="403" y="428"/>
                    <a:pt x="403" y="428"/>
                    <a:pt x="403" y="428"/>
                  </a:cubicBezTo>
                  <a:cubicBezTo>
                    <a:pt x="402" y="431"/>
                    <a:pt x="401" y="433"/>
                    <a:pt x="397" y="433"/>
                  </a:cubicBezTo>
                  <a:cubicBezTo>
                    <a:pt x="396" y="433"/>
                    <a:pt x="395" y="433"/>
                    <a:pt x="393" y="433"/>
                  </a:cubicBezTo>
                  <a:cubicBezTo>
                    <a:pt x="389" y="432"/>
                    <a:pt x="384" y="431"/>
                    <a:pt x="380" y="431"/>
                  </a:cubicBezTo>
                  <a:cubicBezTo>
                    <a:pt x="377" y="431"/>
                    <a:pt x="374" y="432"/>
                    <a:pt x="372" y="432"/>
                  </a:cubicBezTo>
                  <a:cubicBezTo>
                    <a:pt x="372" y="432"/>
                    <a:pt x="371" y="433"/>
                    <a:pt x="371" y="434"/>
                  </a:cubicBezTo>
                  <a:cubicBezTo>
                    <a:pt x="370" y="436"/>
                    <a:pt x="368" y="439"/>
                    <a:pt x="367" y="442"/>
                  </a:cubicBezTo>
                  <a:cubicBezTo>
                    <a:pt x="367" y="442"/>
                    <a:pt x="367" y="442"/>
                    <a:pt x="367" y="442"/>
                  </a:cubicBezTo>
                  <a:cubicBezTo>
                    <a:pt x="366" y="443"/>
                    <a:pt x="366" y="443"/>
                    <a:pt x="367" y="444"/>
                  </a:cubicBezTo>
                  <a:cubicBezTo>
                    <a:pt x="369" y="449"/>
                    <a:pt x="375" y="456"/>
                    <a:pt x="380" y="460"/>
                  </a:cubicBezTo>
                  <a:cubicBezTo>
                    <a:pt x="387" y="465"/>
                    <a:pt x="385" y="467"/>
                    <a:pt x="383" y="471"/>
                  </a:cubicBezTo>
                  <a:cubicBezTo>
                    <a:pt x="382" y="472"/>
                    <a:pt x="382" y="472"/>
                    <a:pt x="382" y="472"/>
                  </a:cubicBezTo>
                  <a:cubicBezTo>
                    <a:pt x="381" y="475"/>
                    <a:pt x="380" y="476"/>
                    <a:pt x="377" y="476"/>
                  </a:cubicBezTo>
                  <a:cubicBezTo>
                    <a:pt x="375" y="476"/>
                    <a:pt x="373" y="476"/>
                    <a:pt x="371" y="475"/>
                  </a:cubicBezTo>
                  <a:cubicBezTo>
                    <a:pt x="365" y="473"/>
                    <a:pt x="358" y="471"/>
                    <a:pt x="353" y="471"/>
                  </a:cubicBezTo>
                  <a:cubicBezTo>
                    <a:pt x="353" y="471"/>
                    <a:pt x="352" y="471"/>
                    <a:pt x="351" y="471"/>
                  </a:cubicBezTo>
                  <a:cubicBezTo>
                    <a:pt x="350" y="471"/>
                    <a:pt x="350" y="472"/>
                    <a:pt x="349" y="472"/>
                  </a:cubicBezTo>
                  <a:cubicBezTo>
                    <a:pt x="347" y="475"/>
                    <a:pt x="346" y="477"/>
                    <a:pt x="344" y="480"/>
                  </a:cubicBezTo>
                  <a:cubicBezTo>
                    <a:pt x="343" y="481"/>
                    <a:pt x="343" y="481"/>
                    <a:pt x="343" y="482"/>
                  </a:cubicBezTo>
                  <a:cubicBezTo>
                    <a:pt x="345" y="487"/>
                    <a:pt x="350" y="495"/>
                    <a:pt x="354" y="500"/>
                  </a:cubicBezTo>
                  <a:cubicBezTo>
                    <a:pt x="360" y="506"/>
                    <a:pt x="358" y="508"/>
                    <a:pt x="355" y="511"/>
                  </a:cubicBezTo>
                  <a:cubicBezTo>
                    <a:pt x="354" y="512"/>
                    <a:pt x="354" y="512"/>
                    <a:pt x="354" y="512"/>
                  </a:cubicBezTo>
                  <a:cubicBezTo>
                    <a:pt x="353" y="514"/>
                    <a:pt x="351" y="516"/>
                    <a:pt x="349" y="516"/>
                  </a:cubicBezTo>
                  <a:cubicBezTo>
                    <a:pt x="348" y="516"/>
                    <a:pt x="346" y="515"/>
                    <a:pt x="343" y="513"/>
                  </a:cubicBezTo>
                  <a:cubicBezTo>
                    <a:pt x="337" y="510"/>
                    <a:pt x="329" y="507"/>
                    <a:pt x="323" y="507"/>
                  </a:cubicBezTo>
                  <a:cubicBezTo>
                    <a:pt x="323" y="507"/>
                    <a:pt x="322" y="507"/>
                    <a:pt x="322" y="507"/>
                  </a:cubicBezTo>
                  <a:cubicBezTo>
                    <a:pt x="320" y="510"/>
                    <a:pt x="317" y="512"/>
                    <a:pt x="315" y="514"/>
                  </a:cubicBezTo>
                  <a:cubicBezTo>
                    <a:pt x="315" y="515"/>
                    <a:pt x="315" y="515"/>
                    <a:pt x="315" y="516"/>
                  </a:cubicBezTo>
                  <a:cubicBezTo>
                    <a:pt x="315" y="522"/>
                    <a:pt x="319" y="530"/>
                    <a:pt x="322" y="535"/>
                  </a:cubicBezTo>
                  <a:cubicBezTo>
                    <a:pt x="327" y="542"/>
                    <a:pt x="325" y="544"/>
                    <a:pt x="322" y="547"/>
                  </a:cubicBezTo>
                  <a:cubicBezTo>
                    <a:pt x="321" y="547"/>
                    <a:pt x="321" y="547"/>
                    <a:pt x="321" y="547"/>
                  </a:cubicBezTo>
                  <a:cubicBezTo>
                    <a:pt x="319" y="549"/>
                    <a:pt x="318" y="550"/>
                    <a:pt x="316" y="550"/>
                  </a:cubicBezTo>
                  <a:cubicBezTo>
                    <a:pt x="314" y="550"/>
                    <a:pt x="312" y="549"/>
                    <a:pt x="309" y="547"/>
                  </a:cubicBezTo>
                  <a:cubicBezTo>
                    <a:pt x="304" y="543"/>
                    <a:pt x="297" y="538"/>
                    <a:pt x="291" y="537"/>
                  </a:cubicBezTo>
                  <a:cubicBezTo>
                    <a:pt x="291" y="537"/>
                    <a:pt x="291" y="537"/>
                    <a:pt x="291" y="537"/>
                  </a:cubicBezTo>
                  <a:cubicBezTo>
                    <a:pt x="290" y="537"/>
                    <a:pt x="290" y="537"/>
                    <a:pt x="289" y="538"/>
                  </a:cubicBezTo>
                  <a:cubicBezTo>
                    <a:pt x="287" y="540"/>
                    <a:pt x="284" y="542"/>
                    <a:pt x="282" y="543"/>
                  </a:cubicBezTo>
                  <a:cubicBezTo>
                    <a:pt x="281" y="544"/>
                    <a:pt x="281" y="545"/>
                    <a:pt x="281" y="545"/>
                  </a:cubicBezTo>
                  <a:cubicBezTo>
                    <a:pt x="280" y="551"/>
                    <a:pt x="283" y="559"/>
                    <a:pt x="286" y="565"/>
                  </a:cubicBezTo>
                  <a:cubicBezTo>
                    <a:pt x="289" y="573"/>
                    <a:pt x="286" y="574"/>
                    <a:pt x="283" y="576"/>
                  </a:cubicBezTo>
                  <a:cubicBezTo>
                    <a:pt x="282" y="577"/>
                    <a:pt x="282" y="577"/>
                    <a:pt x="282" y="577"/>
                  </a:cubicBezTo>
                  <a:cubicBezTo>
                    <a:pt x="280" y="578"/>
                    <a:pt x="279" y="579"/>
                    <a:pt x="277" y="579"/>
                  </a:cubicBezTo>
                  <a:cubicBezTo>
                    <a:pt x="275" y="579"/>
                    <a:pt x="273" y="578"/>
                    <a:pt x="271" y="575"/>
                  </a:cubicBezTo>
                  <a:cubicBezTo>
                    <a:pt x="266" y="570"/>
                    <a:pt x="260" y="564"/>
                    <a:pt x="254" y="562"/>
                  </a:cubicBezTo>
                  <a:cubicBezTo>
                    <a:pt x="254" y="562"/>
                    <a:pt x="254" y="562"/>
                    <a:pt x="254" y="562"/>
                  </a:cubicBezTo>
                  <a:cubicBezTo>
                    <a:pt x="253" y="562"/>
                    <a:pt x="252" y="562"/>
                    <a:pt x="252" y="563"/>
                  </a:cubicBezTo>
                  <a:cubicBezTo>
                    <a:pt x="249" y="564"/>
                    <a:pt x="247" y="566"/>
                    <a:pt x="244" y="567"/>
                  </a:cubicBezTo>
                  <a:cubicBezTo>
                    <a:pt x="243" y="567"/>
                    <a:pt x="243" y="568"/>
                    <a:pt x="243" y="569"/>
                  </a:cubicBezTo>
                  <a:cubicBezTo>
                    <a:pt x="241" y="574"/>
                    <a:pt x="243" y="583"/>
                    <a:pt x="244" y="589"/>
                  </a:cubicBezTo>
                  <a:cubicBezTo>
                    <a:pt x="247" y="597"/>
                    <a:pt x="244" y="598"/>
                    <a:pt x="240" y="600"/>
                  </a:cubicBezTo>
                  <a:cubicBezTo>
                    <a:pt x="239" y="600"/>
                    <a:pt x="239" y="600"/>
                    <a:pt x="239" y="600"/>
                  </a:cubicBezTo>
                  <a:cubicBezTo>
                    <a:pt x="237" y="601"/>
                    <a:pt x="236" y="602"/>
                    <a:pt x="235" y="602"/>
                  </a:cubicBezTo>
                  <a:cubicBezTo>
                    <a:pt x="234" y="602"/>
                    <a:pt x="231" y="602"/>
                    <a:pt x="228" y="596"/>
                  </a:cubicBezTo>
                  <a:cubicBezTo>
                    <a:pt x="224" y="591"/>
                    <a:pt x="219" y="584"/>
                    <a:pt x="214" y="581"/>
                  </a:cubicBezTo>
                  <a:cubicBezTo>
                    <a:pt x="213" y="581"/>
                    <a:pt x="213" y="581"/>
                    <a:pt x="213" y="581"/>
                  </a:cubicBezTo>
                  <a:cubicBezTo>
                    <a:pt x="212" y="581"/>
                    <a:pt x="212" y="581"/>
                    <a:pt x="212" y="581"/>
                  </a:cubicBezTo>
                  <a:cubicBezTo>
                    <a:pt x="209" y="582"/>
                    <a:pt x="206" y="583"/>
                    <a:pt x="203" y="584"/>
                  </a:cubicBezTo>
                  <a:cubicBezTo>
                    <a:pt x="202" y="584"/>
                    <a:pt x="202" y="585"/>
                    <a:pt x="202" y="586"/>
                  </a:cubicBezTo>
                  <a:cubicBezTo>
                    <a:pt x="199" y="591"/>
                    <a:pt x="199" y="600"/>
                    <a:pt x="200" y="606"/>
                  </a:cubicBezTo>
                  <a:cubicBezTo>
                    <a:pt x="201" y="614"/>
                    <a:pt x="198" y="615"/>
                    <a:pt x="194" y="616"/>
                  </a:cubicBezTo>
                  <a:cubicBezTo>
                    <a:pt x="193" y="616"/>
                    <a:pt x="193" y="616"/>
                    <a:pt x="193" y="616"/>
                  </a:cubicBezTo>
                  <a:cubicBezTo>
                    <a:pt x="192" y="617"/>
                    <a:pt x="190" y="617"/>
                    <a:pt x="189" y="617"/>
                  </a:cubicBezTo>
                  <a:cubicBezTo>
                    <a:pt x="188" y="617"/>
                    <a:pt x="185" y="617"/>
                    <a:pt x="183" y="611"/>
                  </a:cubicBezTo>
                  <a:cubicBezTo>
                    <a:pt x="180" y="605"/>
                    <a:pt x="176" y="597"/>
                    <a:pt x="171" y="594"/>
                  </a:cubicBezTo>
                  <a:cubicBezTo>
                    <a:pt x="171" y="594"/>
                    <a:pt x="170" y="593"/>
                    <a:pt x="170" y="593"/>
                  </a:cubicBezTo>
                  <a:cubicBezTo>
                    <a:pt x="169" y="593"/>
                    <a:pt x="169" y="593"/>
                    <a:pt x="169" y="593"/>
                  </a:cubicBezTo>
                  <a:cubicBezTo>
                    <a:pt x="166" y="594"/>
                    <a:pt x="164" y="594"/>
                    <a:pt x="161" y="595"/>
                  </a:cubicBezTo>
                  <a:cubicBezTo>
                    <a:pt x="160" y="595"/>
                    <a:pt x="160" y="595"/>
                    <a:pt x="160" y="595"/>
                  </a:cubicBezTo>
                  <a:cubicBezTo>
                    <a:pt x="159" y="595"/>
                    <a:pt x="159" y="596"/>
                    <a:pt x="158" y="596"/>
                  </a:cubicBezTo>
                  <a:cubicBezTo>
                    <a:pt x="155" y="601"/>
                    <a:pt x="154" y="610"/>
                    <a:pt x="153" y="616"/>
                  </a:cubicBezTo>
                  <a:cubicBezTo>
                    <a:pt x="153" y="625"/>
                    <a:pt x="150" y="625"/>
                    <a:pt x="146" y="625"/>
                  </a:cubicBezTo>
                  <a:cubicBezTo>
                    <a:pt x="145" y="625"/>
                    <a:pt x="145" y="625"/>
                    <a:pt x="145" y="625"/>
                  </a:cubicBezTo>
                  <a:cubicBezTo>
                    <a:pt x="144" y="625"/>
                    <a:pt x="143" y="625"/>
                    <a:pt x="142" y="625"/>
                  </a:cubicBezTo>
                  <a:cubicBezTo>
                    <a:pt x="140" y="625"/>
                    <a:pt x="137" y="625"/>
                    <a:pt x="136" y="618"/>
                  </a:cubicBezTo>
                  <a:cubicBezTo>
                    <a:pt x="134" y="612"/>
                    <a:pt x="131" y="603"/>
                    <a:pt x="127" y="599"/>
                  </a:cubicBezTo>
                  <a:cubicBezTo>
                    <a:pt x="126" y="599"/>
                    <a:pt x="126" y="599"/>
                    <a:pt x="125" y="599"/>
                  </a:cubicBezTo>
                  <a:cubicBezTo>
                    <a:pt x="125" y="599"/>
                    <a:pt x="125" y="599"/>
                    <a:pt x="125" y="599"/>
                  </a:cubicBezTo>
                  <a:cubicBezTo>
                    <a:pt x="124" y="599"/>
                    <a:pt x="124" y="599"/>
                    <a:pt x="124" y="599"/>
                  </a:cubicBezTo>
                  <a:cubicBezTo>
                    <a:pt x="121" y="599"/>
                    <a:pt x="118" y="599"/>
                    <a:pt x="116" y="599"/>
                  </a:cubicBezTo>
                  <a:cubicBezTo>
                    <a:pt x="115" y="599"/>
                    <a:pt x="114" y="599"/>
                    <a:pt x="114" y="600"/>
                  </a:cubicBezTo>
                  <a:cubicBezTo>
                    <a:pt x="110" y="604"/>
                    <a:pt x="107" y="612"/>
                    <a:pt x="106" y="619"/>
                  </a:cubicBezTo>
                  <a:cubicBezTo>
                    <a:pt x="104" y="627"/>
                    <a:pt x="101" y="627"/>
                    <a:pt x="99" y="627"/>
                  </a:cubicBezTo>
                  <a:cubicBezTo>
                    <a:pt x="98" y="627"/>
                    <a:pt x="98" y="626"/>
                    <a:pt x="97" y="626"/>
                  </a:cubicBezTo>
                  <a:cubicBezTo>
                    <a:pt x="96" y="626"/>
                    <a:pt x="96" y="626"/>
                    <a:pt x="96" y="626"/>
                  </a:cubicBezTo>
                  <a:cubicBezTo>
                    <a:pt x="92" y="626"/>
                    <a:pt x="89" y="626"/>
                    <a:pt x="88" y="618"/>
                  </a:cubicBezTo>
                  <a:cubicBezTo>
                    <a:pt x="87" y="611"/>
                    <a:pt x="85" y="603"/>
                    <a:pt x="82" y="598"/>
                  </a:cubicBezTo>
                  <a:cubicBezTo>
                    <a:pt x="82" y="598"/>
                    <a:pt x="81" y="597"/>
                    <a:pt x="80" y="597"/>
                  </a:cubicBezTo>
                  <a:cubicBezTo>
                    <a:pt x="77" y="597"/>
                    <a:pt x="74" y="596"/>
                    <a:pt x="71" y="596"/>
                  </a:cubicBezTo>
                  <a:cubicBezTo>
                    <a:pt x="71" y="596"/>
                    <a:pt x="71" y="596"/>
                    <a:pt x="71" y="596"/>
                  </a:cubicBezTo>
                  <a:cubicBezTo>
                    <a:pt x="70" y="596"/>
                    <a:pt x="70" y="596"/>
                    <a:pt x="69" y="596"/>
                  </a:cubicBezTo>
                  <a:cubicBezTo>
                    <a:pt x="65" y="600"/>
                    <a:pt x="61" y="608"/>
                    <a:pt x="58" y="614"/>
                  </a:cubicBezTo>
                  <a:cubicBezTo>
                    <a:pt x="56" y="621"/>
                    <a:pt x="53" y="621"/>
                    <a:pt x="52" y="621"/>
                  </a:cubicBezTo>
                  <a:cubicBezTo>
                    <a:pt x="51" y="621"/>
                    <a:pt x="50" y="620"/>
                    <a:pt x="49" y="620"/>
                  </a:cubicBezTo>
                  <a:cubicBezTo>
                    <a:pt x="47" y="620"/>
                    <a:pt x="47" y="620"/>
                    <a:pt x="47" y="620"/>
                  </a:cubicBezTo>
                  <a:cubicBezTo>
                    <a:pt x="43" y="619"/>
                    <a:pt x="40" y="618"/>
                    <a:pt x="41" y="610"/>
                  </a:cubicBezTo>
                  <a:cubicBezTo>
                    <a:pt x="41" y="604"/>
                    <a:pt x="41" y="595"/>
                    <a:pt x="38" y="590"/>
                  </a:cubicBezTo>
                  <a:cubicBezTo>
                    <a:pt x="38" y="589"/>
                    <a:pt x="37" y="589"/>
                    <a:pt x="37" y="589"/>
                  </a:cubicBezTo>
                  <a:cubicBezTo>
                    <a:pt x="34" y="588"/>
                    <a:pt x="31" y="587"/>
                    <a:pt x="28" y="586"/>
                  </a:cubicBezTo>
                  <a:cubicBezTo>
                    <a:pt x="28" y="586"/>
                    <a:pt x="27" y="586"/>
                    <a:pt x="27" y="586"/>
                  </a:cubicBezTo>
                  <a:cubicBezTo>
                    <a:pt x="27" y="586"/>
                    <a:pt x="26" y="586"/>
                    <a:pt x="26" y="586"/>
                  </a:cubicBezTo>
                  <a:cubicBezTo>
                    <a:pt x="21" y="589"/>
                    <a:pt x="16" y="596"/>
                    <a:pt x="12" y="602"/>
                  </a:cubicBezTo>
                  <a:cubicBezTo>
                    <a:pt x="9" y="607"/>
                    <a:pt x="7" y="607"/>
                    <a:pt x="6" y="607"/>
                  </a:cubicBezTo>
                  <a:cubicBezTo>
                    <a:pt x="5" y="607"/>
                    <a:pt x="4" y="607"/>
                    <a:pt x="3" y="607"/>
                  </a:cubicBezTo>
                  <a:cubicBezTo>
                    <a:pt x="2" y="608"/>
                    <a:pt x="1" y="610"/>
                    <a:pt x="0" y="611"/>
                  </a:cubicBezTo>
                  <a:cubicBezTo>
                    <a:pt x="0" y="611"/>
                    <a:pt x="0" y="611"/>
                    <a:pt x="0" y="611"/>
                  </a:cubicBezTo>
                  <a:cubicBezTo>
                    <a:pt x="2" y="612"/>
                    <a:pt x="4" y="612"/>
                    <a:pt x="6" y="612"/>
                  </a:cubicBezTo>
                  <a:cubicBezTo>
                    <a:pt x="10" y="612"/>
                    <a:pt x="14" y="610"/>
                    <a:pt x="17" y="604"/>
                  </a:cubicBezTo>
                  <a:cubicBezTo>
                    <a:pt x="20" y="598"/>
                    <a:pt x="24" y="593"/>
                    <a:pt x="27" y="591"/>
                  </a:cubicBezTo>
                  <a:cubicBezTo>
                    <a:pt x="30" y="592"/>
                    <a:pt x="32" y="592"/>
                    <a:pt x="34" y="593"/>
                  </a:cubicBezTo>
                  <a:cubicBezTo>
                    <a:pt x="36" y="597"/>
                    <a:pt x="36" y="603"/>
                    <a:pt x="36" y="610"/>
                  </a:cubicBezTo>
                  <a:cubicBezTo>
                    <a:pt x="35" y="623"/>
                    <a:pt x="42" y="624"/>
                    <a:pt x="46" y="625"/>
                  </a:cubicBezTo>
                  <a:cubicBezTo>
                    <a:pt x="48" y="625"/>
                    <a:pt x="48" y="625"/>
                    <a:pt x="48" y="625"/>
                  </a:cubicBezTo>
                  <a:cubicBezTo>
                    <a:pt x="49" y="625"/>
                    <a:pt x="50" y="626"/>
                    <a:pt x="52" y="626"/>
                  </a:cubicBezTo>
                  <a:cubicBezTo>
                    <a:pt x="57" y="626"/>
                    <a:pt x="61" y="622"/>
                    <a:pt x="63" y="616"/>
                  </a:cubicBezTo>
                  <a:cubicBezTo>
                    <a:pt x="66" y="609"/>
                    <a:pt x="69" y="604"/>
                    <a:pt x="72" y="601"/>
                  </a:cubicBezTo>
                  <a:cubicBezTo>
                    <a:pt x="74" y="601"/>
                    <a:pt x="76" y="602"/>
                    <a:pt x="79" y="602"/>
                  </a:cubicBezTo>
                  <a:cubicBezTo>
                    <a:pt x="81" y="605"/>
                    <a:pt x="82" y="612"/>
                    <a:pt x="83" y="618"/>
                  </a:cubicBezTo>
                  <a:cubicBezTo>
                    <a:pt x="84" y="631"/>
                    <a:pt x="92" y="631"/>
                    <a:pt x="96" y="631"/>
                  </a:cubicBezTo>
                  <a:cubicBezTo>
                    <a:pt x="97" y="631"/>
                    <a:pt x="97" y="631"/>
                    <a:pt x="97" y="631"/>
                  </a:cubicBezTo>
                  <a:cubicBezTo>
                    <a:pt x="98" y="632"/>
                    <a:pt x="98" y="632"/>
                    <a:pt x="99" y="632"/>
                  </a:cubicBezTo>
                  <a:cubicBezTo>
                    <a:pt x="105" y="632"/>
                    <a:pt x="109" y="628"/>
                    <a:pt x="111" y="620"/>
                  </a:cubicBezTo>
                  <a:cubicBezTo>
                    <a:pt x="112" y="613"/>
                    <a:pt x="114" y="607"/>
                    <a:pt x="117" y="604"/>
                  </a:cubicBezTo>
                  <a:cubicBezTo>
                    <a:pt x="119" y="604"/>
                    <a:pt x="121" y="604"/>
                    <a:pt x="124" y="604"/>
                  </a:cubicBezTo>
                  <a:cubicBezTo>
                    <a:pt x="126" y="607"/>
                    <a:pt x="129" y="613"/>
                    <a:pt x="131" y="619"/>
                  </a:cubicBezTo>
                  <a:cubicBezTo>
                    <a:pt x="133" y="627"/>
                    <a:pt x="136" y="630"/>
                    <a:pt x="142" y="630"/>
                  </a:cubicBezTo>
                  <a:cubicBezTo>
                    <a:pt x="143" y="630"/>
                    <a:pt x="144" y="630"/>
                    <a:pt x="145" y="630"/>
                  </a:cubicBezTo>
                  <a:cubicBezTo>
                    <a:pt x="146" y="630"/>
                    <a:pt x="146" y="630"/>
                    <a:pt x="146" y="630"/>
                  </a:cubicBezTo>
                  <a:cubicBezTo>
                    <a:pt x="150" y="630"/>
                    <a:pt x="158" y="629"/>
                    <a:pt x="158" y="617"/>
                  </a:cubicBezTo>
                  <a:cubicBezTo>
                    <a:pt x="159" y="610"/>
                    <a:pt x="160" y="603"/>
                    <a:pt x="162" y="600"/>
                  </a:cubicBezTo>
                  <a:cubicBezTo>
                    <a:pt x="162" y="600"/>
                    <a:pt x="162" y="600"/>
                    <a:pt x="162" y="600"/>
                  </a:cubicBezTo>
                  <a:cubicBezTo>
                    <a:pt x="164" y="599"/>
                    <a:pt x="167" y="599"/>
                    <a:pt x="169" y="599"/>
                  </a:cubicBezTo>
                  <a:cubicBezTo>
                    <a:pt x="172" y="601"/>
                    <a:pt x="175" y="607"/>
                    <a:pt x="178" y="613"/>
                  </a:cubicBezTo>
                  <a:cubicBezTo>
                    <a:pt x="181" y="619"/>
                    <a:pt x="184" y="622"/>
                    <a:pt x="189" y="622"/>
                  </a:cubicBezTo>
                  <a:cubicBezTo>
                    <a:pt x="191" y="622"/>
                    <a:pt x="193" y="622"/>
                    <a:pt x="194" y="621"/>
                  </a:cubicBezTo>
                  <a:cubicBezTo>
                    <a:pt x="195" y="621"/>
                    <a:pt x="195" y="621"/>
                    <a:pt x="195" y="621"/>
                  </a:cubicBezTo>
                  <a:cubicBezTo>
                    <a:pt x="199" y="620"/>
                    <a:pt x="207" y="618"/>
                    <a:pt x="205" y="606"/>
                  </a:cubicBezTo>
                  <a:cubicBezTo>
                    <a:pt x="204" y="599"/>
                    <a:pt x="205" y="592"/>
                    <a:pt x="206" y="589"/>
                  </a:cubicBezTo>
                  <a:cubicBezTo>
                    <a:pt x="208" y="588"/>
                    <a:pt x="210" y="587"/>
                    <a:pt x="212" y="586"/>
                  </a:cubicBezTo>
                  <a:cubicBezTo>
                    <a:pt x="216" y="588"/>
                    <a:pt x="220" y="593"/>
                    <a:pt x="224" y="599"/>
                  </a:cubicBezTo>
                  <a:cubicBezTo>
                    <a:pt x="227" y="604"/>
                    <a:pt x="231" y="607"/>
                    <a:pt x="235" y="607"/>
                  </a:cubicBezTo>
                  <a:cubicBezTo>
                    <a:pt x="237" y="607"/>
                    <a:pt x="239" y="606"/>
                    <a:pt x="241" y="605"/>
                  </a:cubicBezTo>
                  <a:cubicBezTo>
                    <a:pt x="242" y="604"/>
                    <a:pt x="242" y="604"/>
                    <a:pt x="242" y="604"/>
                  </a:cubicBezTo>
                  <a:cubicBezTo>
                    <a:pt x="246" y="603"/>
                    <a:pt x="253" y="600"/>
                    <a:pt x="249" y="588"/>
                  </a:cubicBezTo>
                  <a:cubicBezTo>
                    <a:pt x="247" y="581"/>
                    <a:pt x="247" y="575"/>
                    <a:pt x="247" y="571"/>
                  </a:cubicBezTo>
                  <a:cubicBezTo>
                    <a:pt x="249" y="570"/>
                    <a:pt x="251" y="569"/>
                    <a:pt x="254" y="567"/>
                  </a:cubicBezTo>
                  <a:cubicBezTo>
                    <a:pt x="257" y="569"/>
                    <a:pt x="262" y="573"/>
                    <a:pt x="267" y="578"/>
                  </a:cubicBezTo>
                  <a:cubicBezTo>
                    <a:pt x="270" y="582"/>
                    <a:pt x="274" y="584"/>
                    <a:pt x="277" y="584"/>
                  </a:cubicBezTo>
                  <a:cubicBezTo>
                    <a:pt x="280" y="584"/>
                    <a:pt x="283" y="582"/>
                    <a:pt x="285" y="581"/>
                  </a:cubicBezTo>
                  <a:cubicBezTo>
                    <a:pt x="286" y="581"/>
                    <a:pt x="286" y="581"/>
                    <a:pt x="286" y="581"/>
                  </a:cubicBezTo>
                  <a:cubicBezTo>
                    <a:pt x="289" y="579"/>
                    <a:pt x="295" y="575"/>
                    <a:pt x="290" y="563"/>
                  </a:cubicBezTo>
                  <a:cubicBezTo>
                    <a:pt x="287" y="557"/>
                    <a:pt x="286" y="551"/>
                    <a:pt x="286" y="547"/>
                  </a:cubicBezTo>
                  <a:cubicBezTo>
                    <a:pt x="288" y="545"/>
                    <a:pt x="289" y="544"/>
                    <a:pt x="291" y="542"/>
                  </a:cubicBezTo>
                  <a:cubicBezTo>
                    <a:pt x="295" y="543"/>
                    <a:pt x="301" y="547"/>
                    <a:pt x="306" y="551"/>
                  </a:cubicBezTo>
                  <a:cubicBezTo>
                    <a:pt x="310" y="554"/>
                    <a:pt x="313" y="555"/>
                    <a:pt x="316" y="555"/>
                  </a:cubicBezTo>
                  <a:cubicBezTo>
                    <a:pt x="320" y="555"/>
                    <a:pt x="322" y="553"/>
                    <a:pt x="324" y="551"/>
                  </a:cubicBezTo>
                  <a:cubicBezTo>
                    <a:pt x="325" y="550"/>
                    <a:pt x="325" y="550"/>
                    <a:pt x="325" y="550"/>
                  </a:cubicBezTo>
                  <a:cubicBezTo>
                    <a:pt x="328" y="548"/>
                    <a:pt x="334" y="543"/>
                    <a:pt x="327" y="532"/>
                  </a:cubicBezTo>
                  <a:cubicBezTo>
                    <a:pt x="323" y="527"/>
                    <a:pt x="320" y="521"/>
                    <a:pt x="320" y="517"/>
                  </a:cubicBezTo>
                  <a:cubicBezTo>
                    <a:pt x="321" y="515"/>
                    <a:pt x="323" y="513"/>
                    <a:pt x="325" y="512"/>
                  </a:cubicBezTo>
                  <a:cubicBezTo>
                    <a:pt x="328" y="512"/>
                    <a:pt x="335" y="514"/>
                    <a:pt x="341" y="518"/>
                  </a:cubicBezTo>
                  <a:cubicBezTo>
                    <a:pt x="344" y="520"/>
                    <a:pt x="347" y="521"/>
                    <a:pt x="349" y="521"/>
                  </a:cubicBezTo>
                  <a:cubicBezTo>
                    <a:pt x="354" y="521"/>
                    <a:pt x="357" y="517"/>
                    <a:pt x="358" y="515"/>
                  </a:cubicBezTo>
                  <a:cubicBezTo>
                    <a:pt x="359" y="514"/>
                    <a:pt x="359" y="514"/>
                    <a:pt x="359" y="514"/>
                  </a:cubicBezTo>
                  <a:cubicBezTo>
                    <a:pt x="362" y="511"/>
                    <a:pt x="367" y="505"/>
                    <a:pt x="358" y="496"/>
                  </a:cubicBezTo>
                  <a:cubicBezTo>
                    <a:pt x="353" y="491"/>
                    <a:pt x="350" y="486"/>
                    <a:pt x="349" y="482"/>
                  </a:cubicBezTo>
                  <a:cubicBezTo>
                    <a:pt x="350" y="480"/>
                    <a:pt x="351" y="478"/>
                    <a:pt x="353" y="476"/>
                  </a:cubicBezTo>
                  <a:cubicBezTo>
                    <a:pt x="353" y="476"/>
                    <a:pt x="353" y="476"/>
                    <a:pt x="354" y="476"/>
                  </a:cubicBezTo>
                  <a:cubicBezTo>
                    <a:pt x="358" y="476"/>
                    <a:pt x="364" y="477"/>
                    <a:pt x="369" y="480"/>
                  </a:cubicBezTo>
                  <a:cubicBezTo>
                    <a:pt x="372" y="481"/>
                    <a:pt x="375" y="481"/>
                    <a:pt x="377" y="481"/>
                  </a:cubicBezTo>
                  <a:cubicBezTo>
                    <a:pt x="383" y="481"/>
                    <a:pt x="385" y="477"/>
                    <a:pt x="387" y="474"/>
                  </a:cubicBezTo>
                  <a:cubicBezTo>
                    <a:pt x="387" y="473"/>
                    <a:pt x="387" y="473"/>
                    <a:pt x="387" y="473"/>
                  </a:cubicBezTo>
                  <a:cubicBezTo>
                    <a:pt x="389" y="470"/>
                    <a:pt x="393" y="463"/>
                    <a:pt x="383" y="456"/>
                  </a:cubicBezTo>
                  <a:cubicBezTo>
                    <a:pt x="378" y="452"/>
                    <a:pt x="374" y="447"/>
                    <a:pt x="372" y="443"/>
                  </a:cubicBezTo>
                  <a:cubicBezTo>
                    <a:pt x="373" y="441"/>
                    <a:pt x="374" y="439"/>
                    <a:pt x="375" y="437"/>
                  </a:cubicBezTo>
                  <a:cubicBezTo>
                    <a:pt x="376" y="436"/>
                    <a:pt x="378" y="436"/>
                    <a:pt x="380" y="436"/>
                  </a:cubicBezTo>
                  <a:cubicBezTo>
                    <a:pt x="384" y="436"/>
                    <a:pt x="388" y="437"/>
                    <a:pt x="392" y="438"/>
                  </a:cubicBezTo>
                  <a:cubicBezTo>
                    <a:pt x="394" y="438"/>
                    <a:pt x="396" y="438"/>
                    <a:pt x="397" y="438"/>
                  </a:cubicBezTo>
                  <a:cubicBezTo>
                    <a:pt x="405" y="438"/>
                    <a:pt x="407" y="433"/>
                    <a:pt x="408" y="430"/>
                  </a:cubicBezTo>
                  <a:cubicBezTo>
                    <a:pt x="409" y="429"/>
                    <a:pt x="409" y="429"/>
                    <a:pt x="409" y="429"/>
                  </a:cubicBezTo>
                  <a:cubicBezTo>
                    <a:pt x="410" y="425"/>
                    <a:pt x="413" y="418"/>
                    <a:pt x="402" y="412"/>
                  </a:cubicBezTo>
                  <a:cubicBezTo>
                    <a:pt x="396" y="408"/>
                    <a:pt x="391" y="404"/>
                    <a:pt x="389" y="401"/>
                  </a:cubicBezTo>
                  <a:cubicBezTo>
                    <a:pt x="389" y="399"/>
                    <a:pt x="390" y="396"/>
                    <a:pt x="391" y="394"/>
                  </a:cubicBezTo>
                  <a:cubicBezTo>
                    <a:pt x="394" y="393"/>
                    <a:pt x="399" y="392"/>
                    <a:pt x="404" y="392"/>
                  </a:cubicBezTo>
                  <a:cubicBezTo>
                    <a:pt x="405" y="392"/>
                    <a:pt x="407" y="392"/>
                    <a:pt x="408" y="392"/>
                  </a:cubicBezTo>
                  <a:cubicBezTo>
                    <a:pt x="408" y="392"/>
                    <a:pt x="409" y="393"/>
                    <a:pt x="410" y="393"/>
                  </a:cubicBezTo>
                  <a:cubicBezTo>
                    <a:pt x="420" y="393"/>
                    <a:pt x="422" y="386"/>
                    <a:pt x="422" y="382"/>
                  </a:cubicBezTo>
                  <a:cubicBezTo>
                    <a:pt x="423" y="381"/>
                    <a:pt x="423" y="381"/>
                    <a:pt x="423" y="381"/>
                  </a:cubicBezTo>
                  <a:cubicBezTo>
                    <a:pt x="423" y="377"/>
                    <a:pt x="425" y="370"/>
                    <a:pt x="413" y="365"/>
                  </a:cubicBezTo>
                  <a:cubicBezTo>
                    <a:pt x="407" y="363"/>
                    <a:pt x="401" y="360"/>
                    <a:pt x="399" y="357"/>
                  </a:cubicBezTo>
                  <a:cubicBezTo>
                    <a:pt x="399" y="355"/>
                    <a:pt x="399" y="352"/>
                    <a:pt x="399" y="350"/>
                  </a:cubicBezTo>
                  <a:cubicBezTo>
                    <a:pt x="403" y="348"/>
                    <a:pt x="409" y="346"/>
                    <a:pt x="416" y="345"/>
                  </a:cubicBezTo>
                  <a:cubicBezTo>
                    <a:pt x="429" y="344"/>
                    <a:pt x="429" y="337"/>
                    <a:pt x="429" y="333"/>
                  </a:cubicBezTo>
                  <a:cubicBezTo>
                    <a:pt x="429" y="332"/>
                    <a:pt x="429" y="332"/>
                    <a:pt x="429" y="332"/>
                  </a:cubicBezTo>
                  <a:cubicBezTo>
                    <a:pt x="429" y="328"/>
                    <a:pt x="430" y="320"/>
                    <a:pt x="418" y="318"/>
                  </a:cubicBezTo>
                  <a:cubicBezTo>
                    <a:pt x="411" y="316"/>
                    <a:pt x="405" y="314"/>
                    <a:pt x="402" y="312"/>
                  </a:cubicBezTo>
                  <a:cubicBezTo>
                    <a:pt x="401" y="309"/>
                    <a:pt x="401" y="307"/>
                    <a:pt x="401" y="305"/>
                  </a:cubicBezTo>
                  <a:cubicBezTo>
                    <a:pt x="404" y="302"/>
                    <a:pt x="410" y="299"/>
                    <a:pt x="417" y="298"/>
                  </a:cubicBezTo>
                  <a:cubicBezTo>
                    <a:pt x="429" y="295"/>
                    <a:pt x="428" y="287"/>
                    <a:pt x="428" y="283"/>
                  </a:cubicBezTo>
                  <a:cubicBezTo>
                    <a:pt x="428" y="282"/>
                    <a:pt x="428" y="282"/>
                    <a:pt x="428" y="282"/>
                  </a:cubicBezTo>
                  <a:cubicBezTo>
                    <a:pt x="427" y="278"/>
                    <a:pt x="427" y="271"/>
                    <a:pt x="414" y="270"/>
                  </a:cubicBezTo>
                  <a:cubicBezTo>
                    <a:pt x="407" y="270"/>
                    <a:pt x="401" y="268"/>
                    <a:pt x="397" y="267"/>
                  </a:cubicBezTo>
                  <a:cubicBezTo>
                    <a:pt x="397" y="266"/>
                    <a:pt x="397" y="266"/>
                    <a:pt x="397" y="266"/>
                  </a:cubicBezTo>
                  <a:cubicBezTo>
                    <a:pt x="397" y="264"/>
                    <a:pt x="397" y="262"/>
                    <a:pt x="396" y="260"/>
                  </a:cubicBezTo>
                  <a:cubicBezTo>
                    <a:pt x="399" y="257"/>
                    <a:pt x="404" y="253"/>
                    <a:pt x="410" y="250"/>
                  </a:cubicBezTo>
                  <a:cubicBezTo>
                    <a:pt x="422" y="246"/>
                    <a:pt x="420" y="238"/>
                    <a:pt x="419" y="234"/>
                  </a:cubicBezTo>
                  <a:cubicBezTo>
                    <a:pt x="419" y="233"/>
                    <a:pt x="419" y="233"/>
                    <a:pt x="419" y="233"/>
                  </a:cubicBezTo>
                  <a:cubicBezTo>
                    <a:pt x="418" y="230"/>
                    <a:pt x="416" y="223"/>
                    <a:pt x="407" y="223"/>
                  </a:cubicBezTo>
                  <a:cubicBezTo>
                    <a:pt x="406" y="223"/>
                    <a:pt x="405" y="224"/>
                    <a:pt x="403" y="224"/>
                  </a:cubicBezTo>
                  <a:cubicBezTo>
                    <a:pt x="401" y="224"/>
                    <a:pt x="399" y="224"/>
                    <a:pt x="397" y="224"/>
                  </a:cubicBezTo>
                  <a:cubicBezTo>
                    <a:pt x="393" y="224"/>
                    <a:pt x="389" y="224"/>
                    <a:pt x="386" y="223"/>
                  </a:cubicBezTo>
                  <a:cubicBezTo>
                    <a:pt x="385" y="220"/>
                    <a:pt x="385" y="218"/>
                    <a:pt x="384" y="216"/>
                  </a:cubicBezTo>
                  <a:cubicBezTo>
                    <a:pt x="386" y="213"/>
                    <a:pt x="391" y="208"/>
                    <a:pt x="397" y="205"/>
                  </a:cubicBezTo>
                  <a:cubicBezTo>
                    <a:pt x="407" y="198"/>
                    <a:pt x="404" y="191"/>
                    <a:pt x="402" y="188"/>
                  </a:cubicBezTo>
                  <a:cubicBezTo>
                    <a:pt x="402" y="186"/>
                    <a:pt x="402" y="186"/>
                    <a:pt x="402" y="186"/>
                  </a:cubicBezTo>
                  <a:cubicBezTo>
                    <a:pt x="401" y="183"/>
                    <a:pt x="399" y="178"/>
                    <a:pt x="391" y="178"/>
                  </a:cubicBezTo>
                  <a:cubicBezTo>
                    <a:pt x="390" y="178"/>
                    <a:pt x="388" y="179"/>
                    <a:pt x="385" y="179"/>
                  </a:cubicBezTo>
                  <a:cubicBezTo>
                    <a:pt x="381" y="181"/>
                    <a:pt x="376" y="181"/>
                    <a:pt x="372" y="181"/>
                  </a:cubicBezTo>
                  <a:cubicBezTo>
                    <a:pt x="370" y="181"/>
                    <a:pt x="369" y="181"/>
                    <a:pt x="368" y="181"/>
                  </a:cubicBezTo>
                  <a:cubicBezTo>
                    <a:pt x="367" y="179"/>
                    <a:pt x="366" y="177"/>
                    <a:pt x="365" y="175"/>
                  </a:cubicBezTo>
                  <a:cubicBezTo>
                    <a:pt x="367" y="171"/>
                    <a:pt x="371" y="166"/>
                    <a:pt x="376" y="162"/>
                  </a:cubicBezTo>
                  <a:cubicBezTo>
                    <a:pt x="385" y="153"/>
                    <a:pt x="381" y="147"/>
                    <a:pt x="379" y="144"/>
                  </a:cubicBezTo>
                  <a:cubicBezTo>
                    <a:pt x="378" y="143"/>
                    <a:pt x="378" y="143"/>
                    <a:pt x="378" y="143"/>
                  </a:cubicBezTo>
                  <a:cubicBezTo>
                    <a:pt x="377" y="140"/>
                    <a:pt x="374" y="136"/>
                    <a:pt x="369" y="136"/>
                  </a:cubicBezTo>
                  <a:cubicBezTo>
                    <a:pt x="366" y="136"/>
                    <a:pt x="364" y="137"/>
                    <a:pt x="361" y="138"/>
                  </a:cubicBezTo>
                  <a:cubicBezTo>
                    <a:pt x="355" y="141"/>
                    <a:pt x="348" y="143"/>
                    <a:pt x="344" y="143"/>
                  </a:cubicBezTo>
                  <a:cubicBezTo>
                    <a:pt x="343" y="141"/>
                    <a:pt x="341" y="139"/>
                    <a:pt x="340" y="137"/>
                  </a:cubicBezTo>
                  <a:cubicBezTo>
                    <a:pt x="340" y="137"/>
                    <a:pt x="340" y="137"/>
                    <a:pt x="340" y="137"/>
                  </a:cubicBezTo>
                  <a:cubicBezTo>
                    <a:pt x="341" y="133"/>
                    <a:pt x="344" y="128"/>
                    <a:pt x="348" y="122"/>
                  </a:cubicBezTo>
                  <a:cubicBezTo>
                    <a:pt x="357" y="113"/>
                    <a:pt x="351" y="107"/>
                    <a:pt x="349" y="104"/>
                  </a:cubicBezTo>
                  <a:cubicBezTo>
                    <a:pt x="348" y="104"/>
                    <a:pt x="348" y="104"/>
                    <a:pt x="348" y="104"/>
                  </a:cubicBezTo>
                  <a:cubicBezTo>
                    <a:pt x="346" y="102"/>
                    <a:pt x="344" y="98"/>
                    <a:pt x="339" y="98"/>
                  </a:cubicBezTo>
                  <a:cubicBezTo>
                    <a:pt x="336" y="98"/>
                    <a:pt x="333" y="100"/>
                    <a:pt x="330" y="102"/>
                  </a:cubicBezTo>
                  <a:cubicBezTo>
                    <a:pt x="324" y="106"/>
                    <a:pt x="318" y="108"/>
                    <a:pt x="314" y="109"/>
                  </a:cubicBezTo>
                  <a:cubicBezTo>
                    <a:pt x="313" y="107"/>
                    <a:pt x="311" y="106"/>
                    <a:pt x="309" y="104"/>
                  </a:cubicBezTo>
                  <a:cubicBezTo>
                    <a:pt x="310" y="100"/>
                    <a:pt x="312" y="94"/>
                    <a:pt x="315" y="88"/>
                  </a:cubicBezTo>
                  <a:cubicBezTo>
                    <a:pt x="322" y="77"/>
                    <a:pt x="316" y="73"/>
                    <a:pt x="313" y="70"/>
                  </a:cubicBezTo>
                  <a:cubicBezTo>
                    <a:pt x="312" y="69"/>
                    <a:pt x="312" y="69"/>
                    <a:pt x="312" y="69"/>
                  </a:cubicBezTo>
                  <a:cubicBezTo>
                    <a:pt x="310" y="68"/>
                    <a:pt x="307" y="66"/>
                    <a:pt x="304" y="66"/>
                  </a:cubicBezTo>
                  <a:cubicBezTo>
                    <a:pt x="301" y="66"/>
                    <a:pt x="297" y="67"/>
                    <a:pt x="294" y="71"/>
                  </a:cubicBezTo>
                  <a:cubicBezTo>
                    <a:pt x="289" y="75"/>
                    <a:pt x="283" y="79"/>
                    <a:pt x="279" y="80"/>
                  </a:cubicBezTo>
                  <a:cubicBezTo>
                    <a:pt x="278" y="78"/>
                    <a:pt x="276" y="77"/>
                    <a:pt x="274" y="76"/>
                  </a:cubicBezTo>
                  <a:cubicBezTo>
                    <a:pt x="273" y="72"/>
                    <a:pt x="275" y="65"/>
                    <a:pt x="277" y="59"/>
                  </a:cubicBezTo>
                  <a:cubicBezTo>
                    <a:pt x="282" y="48"/>
                    <a:pt x="276" y="44"/>
                    <a:pt x="272" y="42"/>
                  </a:cubicBezTo>
                  <a:cubicBezTo>
                    <a:pt x="271" y="41"/>
                    <a:pt x="271" y="41"/>
                    <a:pt x="271" y="41"/>
                  </a:cubicBezTo>
                  <a:cubicBezTo>
                    <a:pt x="269" y="40"/>
                    <a:pt x="267" y="39"/>
                    <a:pt x="264" y="39"/>
                  </a:cubicBezTo>
                  <a:cubicBezTo>
                    <a:pt x="260" y="39"/>
                    <a:pt x="257" y="41"/>
                    <a:pt x="253" y="45"/>
                  </a:cubicBezTo>
                  <a:cubicBezTo>
                    <a:pt x="249" y="50"/>
                    <a:pt x="244" y="55"/>
                    <a:pt x="241" y="57"/>
                  </a:cubicBezTo>
                  <a:cubicBezTo>
                    <a:pt x="240" y="56"/>
                    <a:pt x="240" y="56"/>
                    <a:pt x="240" y="56"/>
                  </a:cubicBezTo>
                  <a:cubicBezTo>
                    <a:pt x="238" y="55"/>
                    <a:pt x="236" y="54"/>
                    <a:pt x="234" y="54"/>
                  </a:cubicBezTo>
                  <a:cubicBezTo>
                    <a:pt x="233" y="50"/>
                    <a:pt x="234" y="43"/>
                    <a:pt x="235" y="37"/>
                  </a:cubicBezTo>
                  <a:cubicBezTo>
                    <a:pt x="238" y="24"/>
                    <a:pt x="231" y="22"/>
                    <a:pt x="227" y="20"/>
                  </a:cubicBezTo>
                  <a:cubicBezTo>
                    <a:pt x="226" y="20"/>
                    <a:pt x="226" y="20"/>
                    <a:pt x="226" y="20"/>
                  </a:cubicBezTo>
                  <a:cubicBezTo>
                    <a:pt x="224" y="19"/>
                    <a:pt x="222" y="18"/>
                    <a:pt x="220" y="18"/>
                  </a:cubicBezTo>
                  <a:cubicBezTo>
                    <a:pt x="216" y="18"/>
                    <a:pt x="212" y="21"/>
                    <a:pt x="209" y="27"/>
                  </a:cubicBezTo>
                  <a:cubicBezTo>
                    <a:pt x="206" y="32"/>
                    <a:pt x="202" y="38"/>
                    <a:pt x="199" y="40"/>
                  </a:cubicBezTo>
                  <a:cubicBezTo>
                    <a:pt x="196" y="39"/>
                    <a:pt x="194" y="39"/>
                    <a:pt x="192" y="38"/>
                  </a:cubicBezTo>
                  <a:cubicBezTo>
                    <a:pt x="190" y="34"/>
                    <a:pt x="190" y="28"/>
                    <a:pt x="190" y="21"/>
                  </a:cubicBezTo>
                  <a:cubicBezTo>
                    <a:pt x="191" y="8"/>
                    <a:pt x="184" y="7"/>
                    <a:pt x="180" y="6"/>
                  </a:cubicBezTo>
                  <a:cubicBezTo>
                    <a:pt x="179" y="6"/>
                    <a:pt x="179" y="6"/>
                    <a:pt x="179" y="6"/>
                  </a:cubicBezTo>
                  <a:cubicBezTo>
                    <a:pt x="177" y="6"/>
                    <a:pt x="176" y="5"/>
                    <a:pt x="174" y="5"/>
                  </a:cubicBezTo>
                  <a:cubicBezTo>
                    <a:pt x="169" y="5"/>
                    <a:pt x="165" y="9"/>
                    <a:pt x="163" y="15"/>
                  </a:cubicBezTo>
                  <a:cubicBezTo>
                    <a:pt x="161" y="21"/>
                    <a:pt x="157" y="27"/>
                    <a:pt x="154" y="30"/>
                  </a:cubicBezTo>
                  <a:cubicBezTo>
                    <a:pt x="152" y="30"/>
                    <a:pt x="150" y="29"/>
                    <a:pt x="147" y="29"/>
                  </a:cubicBezTo>
                  <a:cubicBezTo>
                    <a:pt x="145" y="26"/>
                    <a:pt x="144" y="19"/>
                    <a:pt x="143" y="13"/>
                  </a:cubicBezTo>
                  <a:cubicBezTo>
                    <a:pt x="142" y="4"/>
                    <a:pt x="138" y="1"/>
                    <a:pt x="13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6" name="Freeform 21335">
              <a:extLst>
                <a:ext uri="{FF2B5EF4-FFF2-40B4-BE49-F238E27FC236}">
                  <a16:creationId xmlns:a16="http://schemas.microsoft.com/office/drawing/2014/main" id="{B05EBB31-E9D6-4319-9E03-8784AEC940A4}"/>
                </a:ext>
              </a:extLst>
            </p:cNvPr>
            <p:cNvSpPr>
              <a:spLocks noEditPoints="1"/>
            </p:cNvSpPr>
            <p:nvPr userDrawn="1"/>
          </p:nvSpPr>
          <p:spPr bwMode="auto">
            <a:xfrm>
              <a:off x="7543165" y="5433481"/>
              <a:ext cx="1258888" cy="1254125"/>
            </a:xfrm>
            <a:custGeom>
              <a:avLst/>
              <a:gdLst>
                <a:gd name="T0" fmla="*/ 509 w 623"/>
                <a:gd name="T1" fmla="*/ 471 h 622"/>
                <a:gd name="T2" fmla="*/ 300 w 623"/>
                <a:gd name="T3" fmla="*/ 28 h 622"/>
                <a:gd name="T4" fmla="*/ 266 w 623"/>
                <a:gd name="T5" fmla="*/ 30 h 622"/>
                <a:gd name="T6" fmla="*/ 235 w 623"/>
                <a:gd name="T7" fmla="*/ 9 h 622"/>
                <a:gd name="T8" fmla="*/ 212 w 623"/>
                <a:gd name="T9" fmla="*/ 45 h 622"/>
                <a:gd name="T10" fmla="*/ 182 w 623"/>
                <a:gd name="T11" fmla="*/ 58 h 622"/>
                <a:gd name="T12" fmla="*/ 143 w 623"/>
                <a:gd name="T13" fmla="*/ 49 h 622"/>
                <a:gd name="T14" fmla="*/ 134 w 623"/>
                <a:gd name="T15" fmla="*/ 89 h 622"/>
                <a:gd name="T16" fmla="*/ 110 w 623"/>
                <a:gd name="T17" fmla="*/ 110 h 622"/>
                <a:gd name="T18" fmla="*/ 70 w 623"/>
                <a:gd name="T19" fmla="*/ 114 h 622"/>
                <a:gd name="T20" fmla="*/ 71 w 623"/>
                <a:gd name="T21" fmla="*/ 155 h 622"/>
                <a:gd name="T22" fmla="*/ 58 w 623"/>
                <a:gd name="T23" fmla="*/ 184 h 622"/>
                <a:gd name="T24" fmla="*/ 21 w 623"/>
                <a:gd name="T25" fmla="*/ 198 h 622"/>
                <a:gd name="T26" fmla="*/ 20 w 623"/>
                <a:gd name="T27" fmla="*/ 239 h 622"/>
                <a:gd name="T28" fmla="*/ 31 w 623"/>
                <a:gd name="T29" fmla="*/ 269 h 622"/>
                <a:gd name="T30" fmla="*/ 27 w 623"/>
                <a:gd name="T31" fmla="*/ 312 h 622"/>
                <a:gd name="T32" fmla="*/ 2 w 623"/>
                <a:gd name="T33" fmla="*/ 344 h 622"/>
                <a:gd name="T34" fmla="*/ 16 w 623"/>
                <a:gd name="T35" fmla="*/ 381 h 622"/>
                <a:gd name="T36" fmla="*/ 43 w 623"/>
                <a:gd name="T37" fmla="*/ 401 h 622"/>
                <a:gd name="T38" fmla="*/ 38 w 623"/>
                <a:gd name="T39" fmla="*/ 442 h 622"/>
                <a:gd name="T40" fmla="*/ 50 w 623"/>
                <a:gd name="T41" fmla="*/ 480 h 622"/>
                <a:gd name="T42" fmla="*/ 88 w 623"/>
                <a:gd name="T43" fmla="*/ 486 h 622"/>
                <a:gd name="T44" fmla="*/ 92 w 623"/>
                <a:gd name="T45" fmla="*/ 520 h 622"/>
                <a:gd name="T46" fmla="*/ 115 w 623"/>
                <a:gd name="T47" fmla="*/ 552 h 622"/>
                <a:gd name="T48" fmla="*/ 154 w 623"/>
                <a:gd name="T49" fmla="*/ 547 h 622"/>
                <a:gd name="T50" fmla="*/ 183 w 623"/>
                <a:gd name="T51" fmla="*/ 565 h 622"/>
                <a:gd name="T52" fmla="*/ 199 w 623"/>
                <a:gd name="T53" fmla="*/ 601 h 622"/>
                <a:gd name="T54" fmla="*/ 235 w 623"/>
                <a:gd name="T55" fmla="*/ 584 h 622"/>
                <a:gd name="T56" fmla="*/ 268 w 623"/>
                <a:gd name="T57" fmla="*/ 592 h 622"/>
                <a:gd name="T58" fmla="*/ 296 w 623"/>
                <a:gd name="T59" fmla="*/ 622 h 622"/>
                <a:gd name="T60" fmla="*/ 323 w 623"/>
                <a:gd name="T61" fmla="*/ 594 h 622"/>
                <a:gd name="T62" fmla="*/ 357 w 623"/>
                <a:gd name="T63" fmla="*/ 592 h 622"/>
                <a:gd name="T64" fmla="*/ 387 w 623"/>
                <a:gd name="T65" fmla="*/ 613 h 622"/>
                <a:gd name="T66" fmla="*/ 411 w 623"/>
                <a:gd name="T67" fmla="*/ 576 h 622"/>
                <a:gd name="T68" fmla="*/ 441 w 623"/>
                <a:gd name="T69" fmla="*/ 564 h 622"/>
                <a:gd name="T70" fmla="*/ 480 w 623"/>
                <a:gd name="T71" fmla="*/ 573 h 622"/>
                <a:gd name="T72" fmla="*/ 489 w 623"/>
                <a:gd name="T73" fmla="*/ 533 h 622"/>
                <a:gd name="T74" fmla="*/ 513 w 623"/>
                <a:gd name="T75" fmla="*/ 511 h 622"/>
                <a:gd name="T76" fmla="*/ 554 w 623"/>
                <a:gd name="T77" fmla="*/ 507 h 622"/>
                <a:gd name="T78" fmla="*/ 570 w 623"/>
                <a:gd name="T79" fmla="*/ 470 h 622"/>
                <a:gd name="T80" fmla="*/ 569 w 623"/>
                <a:gd name="T81" fmla="*/ 429 h 622"/>
                <a:gd name="T82" fmla="*/ 598 w 623"/>
                <a:gd name="T83" fmla="*/ 412 h 622"/>
                <a:gd name="T84" fmla="*/ 608 w 623"/>
                <a:gd name="T85" fmla="*/ 383 h 622"/>
                <a:gd name="T86" fmla="*/ 594 w 623"/>
                <a:gd name="T87" fmla="*/ 342 h 622"/>
                <a:gd name="T88" fmla="*/ 595 w 623"/>
                <a:gd name="T89" fmla="*/ 300 h 622"/>
                <a:gd name="T90" fmla="*/ 592 w 623"/>
                <a:gd name="T91" fmla="*/ 266 h 622"/>
                <a:gd name="T92" fmla="*/ 612 w 623"/>
                <a:gd name="T93" fmla="*/ 230 h 622"/>
                <a:gd name="T94" fmla="*/ 577 w 623"/>
                <a:gd name="T95" fmla="*/ 210 h 622"/>
                <a:gd name="T96" fmla="*/ 564 w 623"/>
                <a:gd name="T97" fmla="*/ 181 h 622"/>
                <a:gd name="T98" fmla="*/ 567 w 623"/>
                <a:gd name="T99" fmla="*/ 137 h 622"/>
                <a:gd name="T100" fmla="*/ 533 w 623"/>
                <a:gd name="T101" fmla="*/ 133 h 622"/>
                <a:gd name="T102" fmla="*/ 512 w 623"/>
                <a:gd name="T103" fmla="*/ 109 h 622"/>
                <a:gd name="T104" fmla="*/ 502 w 623"/>
                <a:gd name="T105" fmla="*/ 66 h 622"/>
                <a:gd name="T106" fmla="*/ 471 w 623"/>
                <a:gd name="T107" fmla="*/ 53 h 622"/>
                <a:gd name="T108" fmla="*/ 438 w 623"/>
                <a:gd name="T109" fmla="*/ 57 h 622"/>
                <a:gd name="T110" fmla="*/ 418 w 623"/>
                <a:gd name="T111" fmla="*/ 19 h 622"/>
                <a:gd name="T112" fmla="*/ 383 w 623"/>
                <a:gd name="T113" fmla="*/ 16 h 622"/>
                <a:gd name="T114" fmla="*/ 353 w 623"/>
                <a:gd name="T115" fmla="*/ 3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3" h="622">
                  <a:moveTo>
                    <a:pt x="311" y="566"/>
                  </a:moveTo>
                  <a:cubicBezTo>
                    <a:pt x="253" y="566"/>
                    <a:pt x="196" y="546"/>
                    <a:pt x="151" y="509"/>
                  </a:cubicBezTo>
                  <a:cubicBezTo>
                    <a:pt x="42" y="420"/>
                    <a:pt x="25" y="259"/>
                    <a:pt x="113" y="150"/>
                  </a:cubicBezTo>
                  <a:cubicBezTo>
                    <a:pt x="162" y="90"/>
                    <a:pt x="234" y="56"/>
                    <a:pt x="312" y="56"/>
                  </a:cubicBezTo>
                  <a:cubicBezTo>
                    <a:pt x="370" y="56"/>
                    <a:pt x="427" y="76"/>
                    <a:pt x="472" y="113"/>
                  </a:cubicBezTo>
                  <a:cubicBezTo>
                    <a:pt x="525" y="156"/>
                    <a:pt x="558" y="217"/>
                    <a:pt x="565" y="284"/>
                  </a:cubicBezTo>
                  <a:cubicBezTo>
                    <a:pt x="572" y="352"/>
                    <a:pt x="552" y="419"/>
                    <a:pt x="509" y="471"/>
                  </a:cubicBezTo>
                  <a:cubicBezTo>
                    <a:pt x="461" y="531"/>
                    <a:pt x="389" y="566"/>
                    <a:pt x="311" y="566"/>
                  </a:cubicBezTo>
                  <a:moveTo>
                    <a:pt x="325" y="0"/>
                  </a:moveTo>
                  <a:cubicBezTo>
                    <a:pt x="323" y="0"/>
                    <a:pt x="320" y="0"/>
                    <a:pt x="319" y="7"/>
                  </a:cubicBezTo>
                  <a:cubicBezTo>
                    <a:pt x="317" y="14"/>
                    <a:pt x="314" y="22"/>
                    <a:pt x="311" y="27"/>
                  </a:cubicBezTo>
                  <a:cubicBezTo>
                    <a:pt x="310" y="27"/>
                    <a:pt x="310" y="27"/>
                    <a:pt x="309" y="27"/>
                  </a:cubicBezTo>
                  <a:cubicBezTo>
                    <a:pt x="306" y="27"/>
                    <a:pt x="303" y="28"/>
                    <a:pt x="300" y="28"/>
                  </a:cubicBezTo>
                  <a:cubicBezTo>
                    <a:pt x="300" y="28"/>
                    <a:pt x="300" y="28"/>
                    <a:pt x="300" y="28"/>
                  </a:cubicBezTo>
                  <a:cubicBezTo>
                    <a:pt x="299" y="28"/>
                    <a:pt x="298" y="27"/>
                    <a:pt x="298" y="27"/>
                  </a:cubicBezTo>
                  <a:cubicBezTo>
                    <a:pt x="294" y="23"/>
                    <a:pt x="290" y="15"/>
                    <a:pt x="289" y="8"/>
                  </a:cubicBezTo>
                  <a:cubicBezTo>
                    <a:pt x="287" y="1"/>
                    <a:pt x="284" y="1"/>
                    <a:pt x="282" y="1"/>
                  </a:cubicBezTo>
                  <a:cubicBezTo>
                    <a:pt x="282" y="1"/>
                    <a:pt x="281" y="1"/>
                    <a:pt x="280" y="1"/>
                  </a:cubicBezTo>
                  <a:cubicBezTo>
                    <a:pt x="278" y="1"/>
                    <a:pt x="278" y="1"/>
                    <a:pt x="278" y="1"/>
                  </a:cubicBezTo>
                  <a:cubicBezTo>
                    <a:pt x="274" y="2"/>
                    <a:pt x="271" y="2"/>
                    <a:pt x="271" y="10"/>
                  </a:cubicBezTo>
                  <a:cubicBezTo>
                    <a:pt x="271" y="17"/>
                    <a:pt x="269" y="25"/>
                    <a:pt x="266" y="30"/>
                  </a:cubicBezTo>
                  <a:cubicBezTo>
                    <a:pt x="266" y="31"/>
                    <a:pt x="265" y="31"/>
                    <a:pt x="264" y="31"/>
                  </a:cubicBezTo>
                  <a:cubicBezTo>
                    <a:pt x="263" y="32"/>
                    <a:pt x="263" y="32"/>
                    <a:pt x="263" y="32"/>
                  </a:cubicBezTo>
                  <a:cubicBezTo>
                    <a:pt x="260" y="32"/>
                    <a:pt x="258" y="32"/>
                    <a:pt x="255" y="33"/>
                  </a:cubicBezTo>
                  <a:cubicBezTo>
                    <a:pt x="255" y="33"/>
                    <a:pt x="255" y="33"/>
                    <a:pt x="255" y="33"/>
                  </a:cubicBezTo>
                  <a:cubicBezTo>
                    <a:pt x="254" y="33"/>
                    <a:pt x="254" y="33"/>
                    <a:pt x="253" y="32"/>
                  </a:cubicBezTo>
                  <a:cubicBezTo>
                    <a:pt x="249" y="29"/>
                    <a:pt x="244" y="22"/>
                    <a:pt x="242" y="15"/>
                  </a:cubicBezTo>
                  <a:cubicBezTo>
                    <a:pt x="239" y="9"/>
                    <a:pt x="236" y="9"/>
                    <a:pt x="235" y="9"/>
                  </a:cubicBezTo>
                  <a:cubicBezTo>
                    <a:pt x="234" y="9"/>
                    <a:pt x="233" y="10"/>
                    <a:pt x="232" y="10"/>
                  </a:cubicBezTo>
                  <a:cubicBezTo>
                    <a:pt x="230" y="10"/>
                    <a:pt x="230" y="10"/>
                    <a:pt x="230" y="10"/>
                  </a:cubicBezTo>
                  <a:cubicBezTo>
                    <a:pt x="227" y="11"/>
                    <a:pt x="223" y="12"/>
                    <a:pt x="225" y="20"/>
                  </a:cubicBezTo>
                  <a:cubicBezTo>
                    <a:pt x="225" y="27"/>
                    <a:pt x="225" y="36"/>
                    <a:pt x="223" y="41"/>
                  </a:cubicBezTo>
                  <a:cubicBezTo>
                    <a:pt x="223" y="41"/>
                    <a:pt x="222" y="42"/>
                    <a:pt x="221" y="42"/>
                  </a:cubicBezTo>
                  <a:cubicBezTo>
                    <a:pt x="218" y="43"/>
                    <a:pt x="215" y="44"/>
                    <a:pt x="213" y="45"/>
                  </a:cubicBezTo>
                  <a:cubicBezTo>
                    <a:pt x="212" y="45"/>
                    <a:pt x="212" y="45"/>
                    <a:pt x="212" y="45"/>
                  </a:cubicBezTo>
                  <a:cubicBezTo>
                    <a:pt x="211" y="45"/>
                    <a:pt x="211" y="45"/>
                    <a:pt x="211" y="45"/>
                  </a:cubicBezTo>
                  <a:cubicBezTo>
                    <a:pt x="206" y="42"/>
                    <a:pt x="200" y="36"/>
                    <a:pt x="196" y="30"/>
                  </a:cubicBezTo>
                  <a:cubicBezTo>
                    <a:pt x="193" y="25"/>
                    <a:pt x="191" y="25"/>
                    <a:pt x="190" y="25"/>
                  </a:cubicBezTo>
                  <a:cubicBezTo>
                    <a:pt x="188" y="25"/>
                    <a:pt x="187" y="25"/>
                    <a:pt x="186" y="26"/>
                  </a:cubicBezTo>
                  <a:cubicBezTo>
                    <a:pt x="184" y="27"/>
                    <a:pt x="184" y="27"/>
                    <a:pt x="184" y="27"/>
                  </a:cubicBezTo>
                  <a:cubicBezTo>
                    <a:pt x="181" y="28"/>
                    <a:pt x="178" y="29"/>
                    <a:pt x="180" y="37"/>
                  </a:cubicBezTo>
                  <a:cubicBezTo>
                    <a:pt x="182" y="44"/>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2"/>
                  </a:cubicBezTo>
                  <a:cubicBezTo>
                    <a:pt x="151" y="49"/>
                    <a:pt x="149" y="47"/>
                    <a:pt x="147" y="47"/>
                  </a:cubicBezTo>
                  <a:cubicBezTo>
                    <a:pt x="146" y="47"/>
                    <a:pt x="144" y="48"/>
                    <a:pt x="143" y="49"/>
                  </a:cubicBezTo>
                  <a:cubicBezTo>
                    <a:pt x="141" y="50"/>
                    <a:pt x="141" y="50"/>
                    <a:pt x="141" y="50"/>
                  </a:cubicBezTo>
                  <a:cubicBezTo>
                    <a:pt x="138" y="52"/>
                    <a:pt x="135" y="54"/>
                    <a:pt x="139" y="61"/>
                  </a:cubicBezTo>
                  <a:cubicBezTo>
                    <a:pt x="142" y="67"/>
                    <a:pt x="144" y="76"/>
                    <a:pt x="144" y="81"/>
                  </a:cubicBezTo>
                  <a:cubicBezTo>
                    <a:pt x="144" y="82"/>
                    <a:pt x="143" y="83"/>
                    <a:pt x="143" y="83"/>
                  </a:cubicBezTo>
                  <a:cubicBezTo>
                    <a:pt x="141" y="84"/>
                    <a:pt x="139" y="86"/>
                    <a:pt x="137" y="88"/>
                  </a:cubicBezTo>
                  <a:cubicBezTo>
                    <a:pt x="135" y="89"/>
                    <a:pt x="135" y="89"/>
                    <a:pt x="135" y="89"/>
                  </a:cubicBezTo>
                  <a:cubicBezTo>
                    <a:pt x="135" y="89"/>
                    <a:pt x="134" y="89"/>
                    <a:pt x="134" y="89"/>
                  </a:cubicBezTo>
                  <a:cubicBezTo>
                    <a:pt x="134" y="89"/>
                    <a:pt x="133" y="89"/>
                    <a:pt x="133" y="89"/>
                  </a:cubicBezTo>
                  <a:cubicBezTo>
                    <a:pt x="128" y="88"/>
                    <a:pt x="120" y="83"/>
                    <a:pt x="115" y="79"/>
                  </a:cubicBezTo>
                  <a:cubicBezTo>
                    <a:pt x="113" y="77"/>
                    <a:pt x="110" y="76"/>
                    <a:pt x="109" y="76"/>
                  </a:cubicBezTo>
                  <a:cubicBezTo>
                    <a:pt x="107" y="76"/>
                    <a:pt x="105" y="77"/>
                    <a:pt x="104" y="79"/>
                  </a:cubicBezTo>
                  <a:cubicBezTo>
                    <a:pt x="103" y="80"/>
                    <a:pt x="103" y="80"/>
                    <a:pt x="103" y="80"/>
                  </a:cubicBezTo>
                  <a:cubicBezTo>
                    <a:pt x="100" y="82"/>
                    <a:pt x="97" y="84"/>
                    <a:pt x="102" y="91"/>
                  </a:cubicBezTo>
                  <a:cubicBezTo>
                    <a:pt x="106" y="97"/>
                    <a:pt x="110" y="105"/>
                    <a:pt x="110" y="110"/>
                  </a:cubicBezTo>
                  <a:cubicBezTo>
                    <a:pt x="110" y="111"/>
                    <a:pt x="110" y="112"/>
                    <a:pt x="109" y="112"/>
                  </a:cubicBezTo>
                  <a:cubicBezTo>
                    <a:pt x="107" y="114"/>
                    <a:pt x="105" y="117"/>
                    <a:pt x="103" y="119"/>
                  </a:cubicBezTo>
                  <a:cubicBezTo>
                    <a:pt x="102" y="119"/>
                    <a:pt x="102" y="120"/>
                    <a:pt x="101" y="120"/>
                  </a:cubicBezTo>
                  <a:cubicBezTo>
                    <a:pt x="101" y="120"/>
                    <a:pt x="101" y="120"/>
                    <a:pt x="101" y="120"/>
                  </a:cubicBezTo>
                  <a:cubicBezTo>
                    <a:pt x="95" y="120"/>
                    <a:pt x="87" y="116"/>
                    <a:pt x="81" y="113"/>
                  </a:cubicBezTo>
                  <a:cubicBezTo>
                    <a:pt x="79" y="111"/>
                    <a:pt x="77" y="111"/>
                    <a:pt x="75" y="111"/>
                  </a:cubicBezTo>
                  <a:cubicBezTo>
                    <a:pt x="73" y="111"/>
                    <a:pt x="72" y="112"/>
                    <a:pt x="70" y="114"/>
                  </a:cubicBezTo>
                  <a:cubicBezTo>
                    <a:pt x="69" y="115"/>
                    <a:pt x="69" y="115"/>
                    <a:pt x="69" y="115"/>
                  </a:cubicBezTo>
                  <a:cubicBezTo>
                    <a:pt x="67" y="118"/>
                    <a:pt x="65" y="121"/>
                    <a:pt x="70" y="127"/>
                  </a:cubicBezTo>
                  <a:cubicBezTo>
                    <a:pt x="75" y="132"/>
                    <a:pt x="80" y="139"/>
                    <a:pt x="81" y="144"/>
                  </a:cubicBezTo>
                  <a:cubicBezTo>
                    <a:pt x="81" y="145"/>
                    <a:pt x="81" y="146"/>
                    <a:pt x="81" y="146"/>
                  </a:cubicBezTo>
                  <a:cubicBezTo>
                    <a:pt x="79" y="149"/>
                    <a:pt x="77" y="151"/>
                    <a:pt x="75" y="154"/>
                  </a:cubicBezTo>
                  <a:cubicBezTo>
                    <a:pt x="75" y="155"/>
                    <a:pt x="74" y="155"/>
                    <a:pt x="74" y="155"/>
                  </a:cubicBezTo>
                  <a:cubicBezTo>
                    <a:pt x="73" y="155"/>
                    <a:pt x="72" y="155"/>
                    <a:pt x="71" y="155"/>
                  </a:cubicBezTo>
                  <a:cubicBezTo>
                    <a:pt x="66" y="155"/>
                    <a:pt x="60" y="154"/>
                    <a:pt x="53" y="151"/>
                  </a:cubicBezTo>
                  <a:cubicBezTo>
                    <a:pt x="51" y="150"/>
                    <a:pt x="49" y="150"/>
                    <a:pt x="48" y="150"/>
                  </a:cubicBezTo>
                  <a:cubicBezTo>
                    <a:pt x="45" y="150"/>
                    <a:pt x="44" y="152"/>
                    <a:pt x="42" y="154"/>
                  </a:cubicBezTo>
                  <a:cubicBezTo>
                    <a:pt x="41" y="156"/>
                    <a:pt x="41" y="156"/>
                    <a:pt x="41" y="156"/>
                  </a:cubicBezTo>
                  <a:cubicBezTo>
                    <a:pt x="39" y="159"/>
                    <a:pt x="38" y="162"/>
                    <a:pt x="44" y="167"/>
                  </a:cubicBezTo>
                  <a:cubicBezTo>
                    <a:pt x="49" y="171"/>
                    <a:pt x="56" y="177"/>
                    <a:pt x="58" y="182"/>
                  </a:cubicBezTo>
                  <a:cubicBezTo>
                    <a:pt x="58" y="183"/>
                    <a:pt x="58" y="184"/>
                    <a:pt x="58" y="184"/>
                  </a:cubicBezTo>
                  <a:cubicBezTo>
                    <a:pt x="57" y="185"/>
                    <a:pt x="57" y="185"/>
                    <a:pt x="57" y="185"/>
                  </a:cubicBezTo>
                  <a:cubicBezTo>
                    <a:pt x="56" y="188"/>
                    <a:pt x="55" y="190"/>
                    <a:pt x="54" y="193"/>
                  </a:cubicBezTo>
                  <a:cubicBezTo>
                    <a:pt x="53" y="193"/>
                    <a:pt x="53" y="194"/>
                    <a:pt x="52" y="194"/>
                  </a:cubicBezTo>
                  <a:cubicBezTo>
                    <a:pt x="50" y="195"/>
                    <a:pt x="47" y="195"/>
                    <a:pt x="44" y="195"/>
                  </a:cubicBezTo>
                  <a:cubicBezTo>
                    <a:pt x="40" y="195"/>
                    <a:pt x="36" y="195"/>
                    <a:pt x="31" y="194"/>
                  </a:cubicBezTo>
                  <a:cubicBezTo>
                    <a:pt x="30" y="193"/>
                    <a:pt x="28" y="193"/>
                    <a:pt x="27" y="193"/>
                  </a:cubicBezTo>
                  <a:cubicBezTo>
                    <a:pt x="23" y="193"/>
                    <a:pt x="22" y="195"/>
                    <a:pt x="21" y="198"/>
                  </a:cubicBezTo>
                  <a:cubicBezTo>
                    <a:pt x="21" y="200"/>
                    <a:pt x="21" y="200"/>
                    <a:pt x="21" y="200"/>
                  </a:cubicBezTo>
                  <a:cubicBezTo>
                    <a:pt x="19" y="203"/>
                    <a:pt x="18" y="206"/>
                    <a:pt x="25" y="210"/>
                  </a:cubicBezTo>
                  <a:cubicBezTo>
                    <a:pt x="31" y="214"/>
                    <a:pt x="38" y="219"/>
                    <a:pt x="41" y="224"/>
                  </a:cubicBezTo>
                  <a:cubicBezTo>
                    <a:pt x="41" y="224"/>
                    <a:pt x="41" y="225"/>
                    <a:pt x="41" y="226"/>
                  </a:cubicBezTo>
                  <a:cubicBezTo>
                    <a:pt x="40" y="229"/>
                    <a:pt x="39" y="232"/>
                    <a:pt x="38" y="235"/>
                  </a:cubicBezTo>
                  <a:cubicBezTo>
                    <a:pt x="38" y="235"/>
                    <a:pt x="38" y="236"/>
                    <a:pt x="37" y="236"/>
                  </a:cubicBezTo>
                  <a:cubicBezTo>
                    <a:pt x="32" y="239"/>
                    <a:pt x="23" y="239"/>
                    <a:pt x="20" y="239"/>
                  </a:cubicBezTo>
                  <a:cubicBezTo>
                    <a:pt x="19" y="239"/>
                    <a:pt x="18" y="239"/>
                    <a:pt x="17" y="239"/>
                  </a:cubicBezTo>
                  <a:cubicBezTo>
                    <a:pt x="16" y="239"/>
                    <a:pt x="15" y="239"/>
                    <a:pt x="15" y="239"/>
                  </a:cubicBezTo>
                  <a:cubicBezTo>
                    <a:pt x="8" y="239"/>
                    <a:pt x="8" y="242"/>
                    <a:pt x="7" y="245"/>
                  </a:cubicBezTo>
                  <a:cubicBezTo>
                    <a:pt x="7" y="247"/>
                    <a:pt x="7" y="247"/>
                    <a:pt x="7" y="247"/>
                  </a:cubicBezTo>
                  <a:cubicBezTo>
                    <a:pt x="6" y="250"/>
                    <a:pt x="5" y="253"/>
                    <a:pt x="13" y="256"/>
                  </a:cubicBezTo>
                  <a:cubicBezTo>
                    <a:pt x="19" y="259"/>
                    <a:pt x="27" y="263"/>
                    <a:pt x="30" y="267"/>
                  </a:cubicBezTo>
                  <a:cubicBezTo>
                    <a:pt x="31" y="268"/>
                    <a:pt x="31" y="268"/>
                    <a:pt x="31" y="269"/>
                  </a:cubicBezTo>
                  <a:cubicBezTo>
                    <a:pt x="31" y="272"/>
                    <a:pt x="30" y="275"/>
                    <a:pt x="30" y="278"/>
                  </a:cubicBezTo>
                  <a:cubicBezTo>
                    <a:pt x="30" y="279"/>
                    <a:pt x="29" y="280"/>
                    <a:pt x="29" y="280"/>
                  </a:cubicBezTo>
                  <a:cubicBezTo>
                    <a:pt x="24" y="283"/>
                    <a:pt x="15" y="285"/>
                    <a:pt x="9" y="286"/>
                  </a:cubicBezTo>
                  <a:cubicBezTo>
                    <a:pt x="1" y="287"/>
                    <a:pt x="1" y="290"/>
                    <a:pt x="0" y="294"/>
                  </a:cubicBezTo>
                  <a:cubicBezTo>
                    <a:pt x="0" y="295"/>
                    <a:pt x="0" y="295"/>
                    <a:pt x="0" y="295"/>
                  </a:cubicBezTo>
                  <a:cubicBezTo>
                    <a:pt x="0" y="299"/>
                    <a:pt x="0" y="302"/>
                    <a:pt x="8" y="304"/>
                  </a:cubicBezTo>
                  <a:cubicBezTo>
                    <a:pt x="14" y="305"/>
                    <a:pt x="23" y="308"/>
                    <a:pt x="27" y="312"/>
                  </a:cubicBezTo>
                  <a:cubicBezTo>
                    <a:pt x="28" y="312"/>
                    <a:pt x="28" y="313"/>
                    <a:pt x="28" y="313"/>
                  </a:cubicBezTo>
                  <a:cubicBezTo>
                    <a:pt x="28" y="316"/>
                    <a:pt x="28" y="319"/>
                    <a:pt x="28" y="322"/>
                  </a:cubicBezTo>
                  <a:cubicBezTo>
                    <a:pt x="28" y="323"/>
                    <a:pt x="28" y="323"/>
                    <a:pt x="28" y="323"/>
                  </a:cubicBezTo>
                  <a:cubicBezTo>
                    <a:pt x="28" y="323"/>
                    <a:pt x="28" y="324"/>
                    <a:pt x="27" y="325"/>
                  </a:cubicBezTo>
                  <a:cubicBezTo>
                    <a:pt x="23" y="329"/>
                    <a:pt x="15" y="332"/>
                    <a:pt x="9" y="334"/>
                  </a:cubicBezTo>
                  <a:cubicBezTo>
                    <a:pt x="1" y="335"/>
                    <a:pt x="1" y="339"/>
                    <a:pt x="2" y="343"/>
                  </a:cubicBezTo>
                  <a:cubicBezTo>
                    <a:pt x="2" y="344"/>
                    <a:pt x="2" y="344"/>
                    <a:pt x="2" y="344"/>
                  </a:cubicBezTo>
                  <a:cubicBezTo>
                    <a:pt x="2" y="348"/>
                    <a:pt x="2" y="351"/>
                    <a:pt x="10" y="351"/>
                  </a:cubicBezTo>
                  <a:cubicBezTo>
                    <a:pt x="17" y="352"/>
                    <a:pt x="26" y="353"/>
                    <a:pt x="31" y="356"/>
                  </a:cubicBezTo>
                  <a:cubicBezTo>
                    <a:pt x="31" y="357"/>
                    <a:pt x="32" y="357"/>
                    <a:pt x="32" y="358"/>
                  </a:cubicBezTo>
                  <a:cubicBezTo>
                    <a:pt x="32" y="358"/>
                    <a:pt x="32" y="358"/>
                    <a:pt x="32" y="358"/>
                  </a:cubicBezTo>
                  <a:cubicBezTo>
                    <a:pt x="32" y="361"/>
                    <a:pt x="33" y="364"/>
                    <a:pt x="33" y="367"/>
                  </a:cubicBezTo>
                  <a:cubicBezTo>
                    <a:pt x="34" y="368"/>
                    <a:pt x="33" y="368"/>
                    <a:pt x="33" y="369"/>
                  </a:cubicBezTo>
                  <a:cubicBezTo>
                    <a:pt x="30" y="373"/>
                    <a:pt x="22" y="378"/>
                    <a:pt x="16" y="381"/>
                  </a:cubicBezTo>
                  <a:cubicBezTo>
                    <a:pt x="8" y="384"/>
                    <a:pt x="9" y="387"/>
                    <a:pt x="10" y="391"/>
                  </a:cubicBezTo>
                  <a:cubicBezTo>
                    <a:pt x="11" y="392"/>
                    <a:pt x="11" y="392"/>
                    <a:pt x="11" y="392"/>
                  </a:cubicBezTo>
                  <a:cubicBezTo>
                    <a:pt x="12" y="395"/>
                    <a:pt x="12" y="398"/>
                    <a:pt x="18" y="398"/>
                  </a:cubicBezTo>
                  <a:cubicBezTo>
                    <a:pt x="19" y="398"/>
                    <a:pt x="19" y="398"/>
                    <a:pt x="20" y="398"/>
                  </a:cubicBezTo>
                  <a:cubicBezTo>
                    <a:pt x="23" y="397"/>
                    <a:pt x="25" y="397"/>
                    <a:pt x="28" y="397"/>
                  </a:cubicBezTo>
                  <a:cubicBezTo>
                    <a:pt x="32" y="397"/>
                    <a:pt x="37" y="398"/>
                    <a:pt x="41" y="399"/>
                  </a:cubicBezTo>
                  <a:cubicBezTo>
                    <a:pt x="42" y="400"/>
                    <a:pt x="42" y="400"/>
                    <a:pt x="43" y="401"/>
                  </a:cubicBezTo>
                  <a:cubicBezTo>
                    <a:pt x="44" y="404"/>
                    <a:pt x="45" y="407"/>
                    <a:pt x="46" y="410"/>
                  </a:cubicBezTo>
                  <a:cubicBezTo>
                    <a:pt x="46" y="410"/>
                    <a:pt x="46" y="411"/>
                    <a:pt x="46" y="412"/>
                  </a:cubicBezTo>
                  <a:cubicBezTo>
                    <a:pt x="43" y="417"/>
                    <a:pt x="36" y="422"/>
                    <a:pt x="31" y="426"/>
                  </a:cubicBezTo>
                  <a:cubicBezTo>
                    <a:pt x="24" y="430"/>
                    <a:pt x="25" y="433"/>
                    <a:pt x="27"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1"/>
                  </a:cubicBezTo>
                  <a:cubicBezTo>
                    <a:pt x="59" y="441"/>
                    <a:pt x="60" y="441"/>
                    <a:pt x="60" y="442"/>
                  </a:cubicBezTo>
                  <a:cubicBezTo>
                    <a:pt x="61" y="445"/>
                    <a:pt x="63" y="447"/>
                    <a:pt x="64" y="450"/>
                  </a:cubicBezTo>
                  <a:cubicBezTo>
                    <a:pt x="65" y="451"/>
                    <a:pt x="65" y="451"/>
                    <a:pt x="65" y="452"/>
                  </a:cubicBezTo>
                  <a:cubicBezTo>
                    <a:pt x="63" y="457"/>
                    <a:pt x="57" y="464"/>
                    <a:pt x="52" y="469"/>
                  </a:cubicBezTo>
                  <a:cubicBezTo>
                    <a:pt x="46" y="474"/>
                    <a:pt x="47" y="476"/>
                    <a:pt x="50" y="480"/>
                  </a:cubicBezTo>
                  <a:cubicBezTo>
                    <a:pt x="50" y="481"/>
                    <a:pt x="50" y="481"/>
                    <a:pt x="50" y="481"/>
                  </a:cubicBezTo>
                  <a:cubicBezTo>
                    <a:pt x="52" y="483"/>
                    <a:pt x="53" y="485"/>
                    <a:pt x="56" y="485"/>
                  </a:cubicBezTo>
                  <a:cubicBezTo>
                    <a:pt x="57" y="485"/>
                    <a:pt x="59" y="484"/>
                    <a:pt x="62" y="483"/>
                  </a:cubicBezTo>
                  <a:cubicBezTo>
                    <a:pt x="68" y="480"/>
                    <a:pt x="75" y="479"/>
                    <a:pt x="80" y="479"/>
                  </a:cubicBezTo>
                  <a:cubicBezTo>
                    <a:pt x="81" y="479"/>
                    <a:pt x="81" y="479"/>
                    <a:pt x="82" y="479"/>
                  </a:cubicBezTo>
                  <a:cubicBezTo>
                    <a:pt x="82" y="479"/>
                    <a:pt x="83" y="479"/>
                    <a:pt x="83" y="480"/>
                  </a:cubicBezTo>
                  <a:cubicBezTo>
                    <a:pt x="85" y="482"/>
                    <a:pt x="86" y="484"/>
                    <a:pt x="88" y="486"/>
                  </a:cubicBezTo>
                  <a:cubicBezTo>
                    <a:pt x="89" y="487"/>
                    <a:pt x="89" y="487"/>
                    <a:pt x="89" y="487"/>
                  </a:cubicBezTo>
                  <a:cubicBezTo>
                    <a:pt x="90" y="488"/>
                    <a:pt x="90" y="488"/>
                    <a:pt x="90" y="489"/>
                  </a:cubicBezTo>
                  <a:cubicBezTo>
                    <a:pt x="89" y="494"/>
                    <a:pt x="84" y="502"/>
                    <a:pt x="80" y="507"/>
                  </a:cubicBezTo>
                  <a:cubicBezTo>
                    <a:pt x="74" y="513"/>
                    <a:pt x="77" y="516"/>
                    <a:pt x="79" y="519"/>
                  </a:cubicBezTo>
                  <a:cubicBezTo>
                    <a:pt x="80" y="520"/>
                    <a:pt x="80" y="520"/>
                    <a:pt x="80" y="520"/>
                  </a:cubicBezTo>
                  <a:cubicBezTo>
                    <a:pt x="82" y="522"/>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1"/>
                    <a:pt x="120" y="521"/>
                  </a:cubicBezTo>
                  <a:cubicBezTo>
                    <a:pt x="120" y="527"/>
                    <a:pt x="117" y="535"/>
                    <a:pt x="113" y="541"/>
                  </a:cubicBezTo>
                  <a:cubicBezTo>
                    <a:pt x="109" y="548"/>
                    <a:pt x="112" y="550"/>
                    <a:pt x="115" y="552"/>
                  </a:cubicBezTo>
                  <a:cubicBezTo>
                    <a:pt x="116" y="553"/>
                    <a:pt x="116" y="553"/>
                    <a:pt x="116" y="553"/>
                  </a:cubicBezTo>
                  <a:cubicBezTo>
                    <a:pt x="117" y="554"/>
                    <a:pt x="119" y="556"/>
                    <a:pt x="121" y="556"/>
                  </a:cubicBezTo>
                  <a:cubicBezTo>
                    <a:pt x="122" y="556"/>
                    <a:pt x="125" y="555"/>
                    <a:pt x="127" y="552"/>
                  </a:cubicBezTo>
                  <a:cubicBezTo>
                    <a:pt x="132" y="548"/>
                    <a:pt x="139" y="542"/>
                    <a:pt x="145" y="541"/>
                  </a:cubicBezTo>
                  <a:cubicBezTo>
                    <a:pt x="145" y="541"/>
                    <a:pt x="145" y="541"/>
                    <a:pt x="145" y="541"/>
                  </a:cubicBezTo>
                  <a:cubicBezTo>
                    <a:pt x="146" y="541"/>
                    <a:pt x="146" y="541"/>
                    <a:pt x="147" y="542"/>
                  </a:cubicBezTo>
                  <a:cubicBezTo>
                    <a:pt x="149" y="544"/>
                    <a:pt x="152" y="545"/>
                    <a:pt x="154" y="547"/>
                  </a:cubicBezTo>
                  <a:cubicBezTo>
                    <a:pt x="155" y="547"/>
                    <a:pt x="155" y="548"/>
                    <a:pt x="156" y="549"/>
                  </a:cubicBezTo>
                  <a:cubicBezTo>
                    <a:pt x="156" y="554"/>
                    <a:pt x="154" y="563"/>
                    <a:pt x="152" y="569"/>
                  </a:cubicBezTo>
                  <a:cubicBezTo>
                    <a:pt x="149" y="577"/>
                    <a:pt x="151" y="578"/>
                    <a:pt x="155" y="580"/>
                  </a:cubicBezTo>
                  <a:cubicBezTo>
                    <a:pt x="156" y="581"/>
                    <a:pt x="156" y="581"/>
                    <a:pt x="156" y="581"/>
                  </a:cubicBezTo>
                  <a:cubicBezTo>
                    <a:pt x="158" y="582"/>
                    <a:pt x="159" y="583"/>
                    <a:pt x="161" y="583"/>
                  </a:cubicBezTo>
                  <a:cubicBezTo>
                    <a:pt x="163" y="583"/>
                    <a:pt x="165" y="581"/>
                    <a:pt x="167" y="578"/>
                  </a:cubicBezTo>
                  <a:cubicBezTo>
                    <a:pt x="171" y="573"/>
                    <a:pt x="178" y="567"/>
                    <a:pt x="183" y="565"/>
                  </a:cubicBezTo>
                  <a:cubicBezTo>
                    <a:pt x="183" y="564"/>
                    <a:pt x="184" y="564"/>
                    <a:pt x="184" y="564"/>
                  </a:cubicBezTo>
                  <a:cubicBezTo>
                    <a:pt x="184" y="564"/>
                    <a:pt x="185" y="564"/>
                    <a:pt x="185" y="565"/>
                  </a:cubicBezTo>
                  <a:cubicBezTo>
                    <a:pt x="186" y="565"/>
                    <a:pt x="186" y="565"/>
                    <a:pt x="186" y="565"/>
                  </a:cubicBezTo>
                  <a:cubicBezTo>
                    <a:pt x="189" y="566"/>
                    <a:pt x="191" y="568"/>
                    <a:pt x="193" y="569"/>
                  </a:cubicBezTo>
                  <a:cubicBezTo>
                    <a:pt x="194" y="569"/>
                    <a:pt x="194" y="570"/>
                    <a:pt x="195" y="570"/>
                  </a:cubicBezTo>
                  <a:cubicBezTo>
                    <a:pt x="196" y="576"/>
                    <a:pt x="196" y="584"/>
                    <a:pt x="194" y="591"/>
                  </a:cubicBezTo>
                  <a:cubicBezTo>
                    <a:pt x="192" y="599"/>
                    <a:pt x="195" y="600"/>
                    <a:pt x="199" y="601"/>
                  </a:cubicBezTo>
                  <a:cubicBezTo>
                    <a:pt x="200" y="602"/>
                    <a:pt x="200" y="602"/>
                    <a:pt x="200" y="602"/>
                  </a:cubicBezTo>
                  <a:cubicBezTo>
                    <a:pt x="202" y="602"/>
                    <a:pt x="203" y="603"/>
                    <a:pt x="204" y="603"/>
                  </a:cubicBezTo>
                  <a:cubicBezTo>
                    <a:pt x="205" y="603"/>
                    <a:pt x="208" y="603"/>
                    <a:pt x="211" y="597"/>
                  </a:cubicBezTo>
                  <a:cubicBezTo>
                    <a:pt x="214" y="592"/>
                    <a:pt x="219" y="584"/>
                    <a:pt x="224" y="582"/>
                  </a:cubicBezTo>
                  <a:cubicBezTo>
                    <a:pt x="225" y="581"/>
                    <a:pt x="225" y="581"/>
                    <a:pt x="225" y="581"/>
                  </a:cubicBezTo>
                  <a:cubicBezTo>
                    <a:pt x="226" y="581"/>
                    <a:pt x="226" y="581"/>
                    <a:pt x="226" y="581"/>
                  </a:cubicBezTo>
                  <a:cubicBezTo>
                    <a:pt x="229" y="582"/>
                    <a:pt x="232" y="583"/>
                    <a:pt x="235" y="584"/>
                  </a:cubicBezTo>
                  <a:cubicBezTo>
                    <a:pt x="236" y="584"/>
                    <a:pt x="236" y="585"/>
                    <a:pt x="237" y="585"/>
                  </a:cubicBezTo>
                  <a:cubicBezTo>
                    <a:pt x="239" y="590"/>
                    <a:pt x="240" y="599"/>
                    <a:pt x="239" y="606"/>
                  </a:cubicBezTo>
                  <a:cubicBezTo>
                    <a:pt x="239" y="614"/>
                    <a:pt x="242" y="615"/>
                    <a:pt x="246" y="615"/>
                  </a:cubicBezTo>
                  <a:cubicBezTo>
                    <a:pt x="247" y="616"/>
                    <a:pt x="247" y="616"/>
                    <a:pt x="247" y="616"/>
                  </a:cubicBezTo>
                  <a:cubicBezTo>
                    <a:pt x="248" y="616"/>
                    <a:pt x="249" y="616"/>
                    <a:pt x="250" y="616"/>
                  </a:cubicBezTo>
                  <a:cubicBezTo>
                    <a:pt x="252" y="616"/>
                    <a:pt x="254" y="616"/>
                    <a:pt x="257" y="610"/>
                  </a:cubicBezTo>
                  <a:cubicBezTo>
                    <a:pt x="259" y="603"/>
                    <a:pt x="263" y="595"/>
                    <a:pt x="268" y="592"/>
                  </a:cubicBezTo>
                  <a:cubicBezTo>
                    <a:pt x="268" y="591"/>
                    <a:pt x="269" y="591"/>
                    <a:pt x="269" y="591"/>
                  </a:cubicBezTo>
                  <a:cubicBezTo>
                    <a:pt x="270" y="591"/>
                    <a:pt x="270" y="591"/>
                    <a:pt x="270" y="591"/>
                  </a:cubicBezTo>
                  <a:cubicBezTo>
                    <a:pt x="273" y="592"/>
                    <a:pt x="276" y="592"/>
                    <a:pt x="279" y="592"/>
                  </a:cubicBezTo>
                  <a:cubicBezTo>
                    <a:pt x="279" y="593"/>
                    <a:pt x="280" y="593"/>
                    <a:pt x="280" y="594"/>
                  </a:cubicBezTo>
                  <a:cubicBezTo>
                    <a:pt x="284" y="598"/>
                    <a:pt x="286" y="607"/>
                    <a:pt x="286" y="613"/>
                  </a:cubicBezTo>
                  <a:cubicBezTo>
                    <a:pt x="287" y="622"/>
                    <a:pt x="290" y="622"/>
                    <a:pt x="294" y="622"/>
                  </a:cubicBezTo>
                  <a:cubicBezTo>
                    <a:pt x="296" y="622"/>
                    <a:pt x="296" y="622"/>
                    <a:pt x="296" y="622"/>
                  </a:cubicBezTo>
                  <a:cubicBezTo>
                    <a:pt x="296" y="622"/>
                    <a:pt x="297" y="622"/>
                    <a:pt x="297" y="622"/>
                  </a:cubicBezTo>
                  <a:cubicBezTo>
                    <a:pt x="300"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5" y="594"/>
                    <a:pt x="325" y="595"/>
                  </a:cubicBezTo>
                  <a:cubicBezTo>
                    <a:pt x="329" y="599"/>
                    <a:pt x="332" y="607"/>
                    <a:pt x="334" y="614"/>
                  </a:cubicBezTo>
                  <a:cubicBezTo>
                    <a:pt x="336" y="621"/>
                    <a:pt x="339" y="621"/>
                    <a:pt x="340" y="621"/>
                  </a:cubicBezTo>
                  <a:cubicBezTo>
                    <a:pt x="341" y="621"/>
                    <a:pt x="342" y="621"/>
                    <a:pt x="343" y="621"/>
                  </a:cubicBezTo>
                  <a:cubicBezTo>
                    <a:pt x="344" y="621"/>
                    <a:pt x="344" y="621"/>
                    <a:pt x="344" y="621"/>
                  </a:cubicBezTo>
                  <a:cubicBezTo>
                    <a:pt x="348" y="620"/>
                    <a:pt x="351" y="620"/>
                    <a:pt x="352" y="612"/>
                  </a:cubicBezTo>
                  <a:cubicBezTo>
                    <a:pt x="352" y="605"/>
                    <a:pt x="354" y="596"/>
                    <a:pt x="357" y="592"/>
                  </a:cubicBezTo>
                  <a:cubicBezTo>
                    <a:pt x="357" y="591"/>
                    <a:pt x="358" y="591"/>
                    <a:pt x="358" y="590"/>
                  </a:cubicBezTo>
                  <a:cubicBezTo>
                    <a:pt x="360" y="590"/>
                    <a:pt x="360" y="590"/>
                    <a:pt x="360" y="590"/>
                  </a:cubicBezTo>
                  <a:cubicBezTo>
                    <a:pt x="362" y="590"/>
                    <a:pt x="365" y="589"/>
                    <a:pt x="367" y="589"/>
                  </a:cubicBezTo>
                  <a:cubicBezTo>
                    <a:pt x="368" y="589"/>
                    <a:pt x="368" y="589"/>
                    <a:pt x="368" y="589"/>
                  </a:cubicBezTo>
                  <a:cubicBezTo>
                    <a:pt x="368" y="589"/>
                    <a:pt x="369" y="589"/>
                    <a:pt x="369" y="589"/>
                  </a:cubicBezTo>
                  <a:cubicBezTo>
                    <a:pt x="374" y="593"/>
                    <a:pt x="378" y="600"/>
                    <a:pt x="381" y="606"/>
                  </a:cubicBezTo>
                  <a:cubicBezTo>
                    <a:pt x="384" y="613"/>
                    <a:pt x="386" y="613"/>
                    <a:pt x="387" y="613"/>
                  </a:cubicBezTo>
                  <a:cubicBezTo>
                    <a:pt x="389" y="613"/>
                    <a:pt x="390" y="612"/>
                    <a:pt x="391" y="612"/>
                  </a:cubicBezTo>
                  <a:cubicBezTo>
                    <a:pt x="392" y="612"/>
                    <a:pt x="392" y="612"/>
                    <a:pt x="392" y="612"/>
                  </a:cubicBezTo>
                  <a:cubicBezTo>
                    <a:pt x="396" y="611"/>
                    <a:pt x="399" y="610"/>
                    <a:pt x="398" y="602"/>
                  </a:cubicBezTo>
                  <a:cubicBezTo>
                    <a:pt x="398" y="595"/>
                    <a:pt x="398" y="586"/>
                    <a:pt x="400" y="581"/>
                  </a:cubicBezTo>
                  <a:cubicBezTo>
                    <a:pt x="400" y="580"/>
                    <a:pt x="401" y="580"/>
                    <a:pt x="401" y="580"/>
                  </a:cubicBezTo>
                  <a:cubicBezTo>
                    <a:pt x="404" y="579"/>
                    <a:pt x="407" y="578"/>
                    <a:pt x="410" y="577"/>
                  </a:cubicBezTo>
                  <a:cubicBezTo>
                    <a:pt x="410" y="577"/>
                    <a:pt x="411" y="576"/>
                    <a:pt x="411" y="576"/>
                  </a:cubicBezTo>
                  <a:cubicBezTo>
                    <a:pt x="411" y="576"/>
                    <a:pt x="412" y="577"/>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4"/>
                    <a:pt x="445" y="592"/>
                    <a:pt x="443" y="585"/>
                  </a:cubicBezTo>
                  <a:cubicBezTo>
                    <a:pt x="441" y="578"/>
                    <a:pt x="440" y="569"/>
                    <a:pt x="441" y="564"/>
                  </a:cubicBezTo>
                  <a:cubicBezTo>
                    <a:pt x="441" y="563"/>
                    <a:pt x="442" y="563"/>
                    <a:pt x="442" y="562"/>
                  </a:cubicBezTo>
                  <a:cubicBezTo>
                    <a:pt x="445" y="561"/>
                    <a:pt x="448" y="559"/>
                    <a:pt x="450" y="558"/>
                  </a:cubicBezTo>
                  <a:cubicBezTo>
                    <a:pt x="451" y="558"/>
                    <a:pt x="451" y="558"/>
                    <a:pt x="452" y="558"/>
                  </a:cubicBezTo>
                  <a:cubicBezTo>
                    <a:pt x="452" y="558"/>
                    <a:pt x="452" y="558"/>
                    <a:pt x="453" y="558"/>
                  </a:cubicBezTo>
                  <a:cubicBezTo>
                    <a:pt x="458" y="560"/>
                    <a:pt x="465" y="565"/>
                    <a:pt x="469" y="570"/>
                  </a:cubicBezTo>
                  <a:cubicBezTo>
                    <a:pt x="471" y="573"/>
                    <a:pt x="474" y="575"/>
                    <a:pt x="476" y="575"/>
                  </a:cubicBezTo>
                  <a:cubicBezTo>
                    <a:pt x="477" y="575"/>
                    <a:pt x="479" y="574"/>
                    <a:pt x="480" y="573"/>
                  </a:cubicBezTo>
                  <a:cubicBezTo>
                    <a:pt x="481" y="572"/>
                    <a:pt x="481" y="572"/>
                    <a:pt x="481" y="572"/>
                  </a:cubicBezTo>
                  <a:cubicBezTo>
                    <a:pt x="485" y="570"/>
                    <a:pt x="487" y="568"/>
                    <a:pt x="484" y="561"/>
                  </a:cubicBezTo>
                  <a:cubicBezTo>
                    <a:pt x="481" y="555"/>
                    <a:pt x="479" y="546"/>
                    <a:pt x="479" y="541"/>
                  </a:cubicBezTo>
                  <a:cubicBezTo>
                    <a:pt x="479" y="540"/>
                    <a:pt x="479" y="539"/>
                    <a:pt x="480" y="539"/>
                  </a:cubicBezTo>
                  <a:cubicBezTo>
                    <a:pt x="482" y="537"/>
                    <a:pt x="485" y="535"/>
                    <a:pt x="487" y="533"/>
                  </a:cubicBezTo>
                  <a:cubicBezTo>
                    <a:pt x="487" y="533"/>
                    <a:pt x="487" y="533"/>
                    <a:pt x="487" y="533"/>
                  </a:cubicBezTo>
                  <a:cubicBezTo>
                    <a:pt x="488" y="533"/>
                    <a:pt x="488" y="533"/>
                    <a:pt x="489" y="533"/>
                  </a:cubicBezTo>
                  <a:cubicBezTo>
                    <a:pt x="489" y="533"/>
                    <a:pt x="489" y="533"/>
                    <a:pt x="489" y="533"/>
                  </a:cubicBezTo>
                  <a:cubicBezTo>
                    <a:pt x="495" y="534"/>
                    <a:pt x="502" y="538"/>
                    <a:pt x="508" y="542"/>
                  </a:cubicBezTo>
                  <a:cubicBezTo>
                    <a:pt x="510" y="545"/>
                    <a:pt x="512" y="546"/>
                    <a:pt x="514" y="546"/>
                  </a:cubicBezTo>
                  <a:cubicBezTo>
                    <a:pt x="516" y="546"/>
                    <a:pt x="518" y="544"/>
                    <a:pt x="519" y="543"/>
                  </a:cubicBezTo>
                  <a:cubicBezTo>
                    <a:pt x="520" y="542"/>
                    <a:pt x="520" y="542"/>
                    <a:pt x="520" y="542"/>
                  </a:cubicBezTo>
                  <a:cubicBezTo>
                    <a:pt x="523" y="539"/>
                    <a:pt x="525" y="537"/>
                    <a:pt x="521" y="531"/>
                  </a:cubicBezTo>
                  <a:cubicBezTo>
                    <a:pt x="517" y="525"/>
                    <a:pt x="513" y="517"/>
                    <a:pt x="513" y="511"/>
                  </a:cubicBezTo>
                  <a:cubicBezTo>
                    <a:pt x="513" y="511"/>
                    <a:pt x="513" y="510"/>
                    <a:pt x="514" y="510"/>
                  </a:cubicBezTo>
                  <a:cubicBezTo>
                    <a:pt x="516" y="507"/>
                    <a:pt x="518" y="505"/>
                    <a:pt x="520" y="503"/>
                  </a:cubicBezTo>
                  <a:cubicBezTo>
                    <a:pt x="520" y="502"/>
                    <a:pt x="521" y="502"/>
                    <a:pt x="522" y="502"/>
                  </a:cubicBezTo>
                  <a:cubicBezTo>
                    <a:pt x="527" y="502"/>
                    <a:pt x="536" y="506"/>
                    <a:pt x="541" y="509"/>
                  </a:cubicBezTo>
                  <a:cubicBezTo>
                    <a:pt x="544" y="510"/>
                    <a:pt x="546" y="511"/>
                    <a:pt x="548" y="511"/>
                  </a:cubicBezTo>
                  <a:cubicBezTo>
                    <a:pt x="550" y="511"/>
                    <a:pt x="551" y="510"/>
                    <a:pt x="553" y="508"/>
                  </a:cubicBezTo>
                  <a:cubicBezTo>
                    <a:pt x="554" y="507"/>
                    <a:pt x="554" y="507"/>
                    <a:pt x="554" y="507"/>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9" y="467"/>
                    <a:pt x="549" y="467"/>
                  </a:cubicBezTo>
                  <a:cubicBezTo>
                    <a:pt x="550" y="467"/>
                    <a:pt x="551" y="467"/>
                    <a:pt x="552" y="467"/>
                  </a:cubicBezTo>
                  <a:cubicBezTo>
                    <a:pt x="557" y="467"/>
                    <a:pt x="563" y="468"/>
                    <a:pt x="570"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5"/>
                    <a:pt x="565" y="439"/>
                  </a:cubicBezTo>
                  <a:cubicBezTo>
                    <a:pt x="565" y="439"/>
                    <a:pt x="565" y="438"/>
                    <a:pt x="565" y="437"/>
                  </a:cubicBezTo>
                  <a:cubicBezTo>
                    <a:pt x="566" y="435"/>
                    <a:pt x="568" y="432"/>
                    <a:pt x="569" y="429"/>
                  </a:cubicBezTo>
                  <a:cubicBezTo>
                    <a:pt x="570" y="428"/>
                    <a:pt x="570" y="428"/>
                    <a:pt x="571" y="428"/>
                  </a:cubicBezTo>
                  <a:cubicBezTo>
                    <a:pt x="573" y="427"/>
                    <a:pt x="575" y="427"/>
                    <a:pt x="578" y="427"/>
                  </a:cubicBezTo>
                  <a:cubicBezTo>
                    <a:pt x="582" y="427"/>
                    <a:pt x="587" y="427"/>
                    <a:pt x="591" y="428"/>
                  </a:cubicBezTo>
                  <a:cubicBezTo>
                    <a:pt x="593" y="428"/>
                    <a:pt x="594" y="429"/>
                    <a:pt x="596" y="429"/>
                  </a:cubicBezTo>
                  <a:cubicBezTo>
                    <a:pt x="600" y="429"/>
                    <a:pt x="601" y="427"/>
                    <a:pt x="602" y="423"/>
                  </a:cubicBezTo>
                  <a:cubicBezTo>
                    <a:pt x="602" y="422"/>
                    <a:pt x="602" y="422"/>
                    <a:pt x="602" y="422"/>
                  </a:cubicBezTo>
                  <a:cubicBezTo>
                    <a:pt x="604" y="418"/>
                    <a:pt x="605" y="415"/>
                    <a:pt x="598" y="412"/>
                  </a:cubicBezTo>
                  <a:cubicBezTo>
                    <a:pt x="592" y="408"/>
                    <a:pt x="585" y="403"/>
                    <a:pt x="582" y="398"/>
                  </a:cubicBezTo>
                  <a:cubicBezTo>
                    <a:pt x="582" y="397"/>
                    <a:pt x="582" y="397"/>
                    <a:pt x="582" y="396"/>
                  </a:cubicBezTo>
                  <a:cubicBezTo>
                    <a:pt x="583" y="393"/>
                    <a:pt x="584" y="390"/>
                    <a:pt x="584" y="387"/>
                  </a:cubicBezTo>
                  <a:cubicBezTo>
                    <a:pt x="585" y="386"/>
                    <a:pt x="585" y="386"/>
                    <a:pt x="586" y="386"/>
                  </a:cubicBezTo>
                  <a:cubicBezTo>
                    <a:pt x="591" y="383"/>
                    <a:pt x="599" y="383"/>
                    <a:pt x="603" y="383"/>
                  </a:cubicBezTo>
                  <a:cubicBezTo>
                    <a:pt x="604" y="383"/>
                    <a:pt x="605" y="383"/>
                    <a:pt x="606" y="383"/>
                  </a:cubicBezTo>
                  <a:cubicBezTo>
                    <a:pt x="607" y="383"/>
                    <a:pt x="608" y="383"/>
                    <a:pt x="608" y="383"/>
                  </a:cubicBezTo>
                  <a:cubicBezTo>
                    <a:pt x="615" y="383"/>
                    <a:pt x="615" y="380"/>
                    <a:pt x="616" y="377"/>
                  </a:cubicBezTo>
                  <a:cubicBezTo>
                    <a:pt x="616" y="375"/>
                    <a:pt x="616" y="375"/>
                    <a:pt x="616" y="375"/>
                  </a:cubicBezTo>
                  <a:cubicBezTo>
                    <a:pt x="617" y="371"/>
                    <a:pt x="618" y="368"/>
                    <a:pt x="610" y="366"/>
                  </a:cubicBezTo>
                  <a:cubicBezTo>
                    <a:pt x="604" y="363"/>
                    <a:pt x="596" y="359"/>
                    <a:pt x="592" y="355"/>
                  </a:cubicBezTo>
                  <a:cubicBezTo>
                    <a:pt x="592" y="354"/>
                    <a:pt x="592" y="353"/>
                    <a:pt x="592" y="353"/>
                  </a:cubicBezTo>
                  <a:cubicBezTo>
                    <a:pt x="592" y="350"/>
                    <a:pt x="593" y="347"/>
                    <a:pt x="593" y="344"/>
                  </a:cubicBezTo>
                  <a:cubicBezTo>
                    <a:pt x="593" y="343"/>
                    <a:pt x="593" y="342"/>
                    <a:pt x="594" y="342"/>
                  </a:cubicBezTo>
                  <a:cubicBezTo>
                    <a:pt x="599" y="339"/>
                    <a:pt x="607" y="337"/>
                    <a:pt x="614" y="336"/>
                  </a:cubicBezTo>
                  <a:cubicBezTo>
                    <a:pt x="622" y="335"/>
                    <a:pt x="622" y="332"/>
                    <a:pt x="622" y="328"/>
                  </a:cubicBezTo>
                  <a:cubicBezTo>
                    <a:pt x="622" y="327"/>
                    <a:pt x="622" y="327"/>
                    <a:pt x="622" y="327"/>
                  </a:cubicBezTo>
                  <a:cubicBezTo>
                    <a:pt x="623" y="323"/>
                    <a:pt x="623" y="320"/>
                    <a:pt x="615" y="318"/>
                  </a:cubicBezTo>
                  <a:cubicBezTo>
                    <a:pt x="608" y="317"/>
                    <a:pt x="600" y="314"/>
                    <a:pt x="596" y="310"/>
                  </a:cubicBezTo>
                  <a:cubicBezTo>
                    <a:pt x="595" y="310"/>
                    <a:pt x="595" y="309"/>
                    <a:pt x="595" y="308"/>
                  </a:cubicBezTo>
                  <a:cubicBezTo>
                    <a:pt x="595" y="306"/>
                    <a:pt x="595" y="303"/>
                    <a:pt x="595" y="300"/>
                  </a:cubicBezTo>
                  <a:cubicBezTo>
                    <a:pt x="595" y="299"/>
                    <a:pt x="595" y="299"/>
                    <a:pt x="595" y="299"/>
                  </a:cubicBezTo>
                  <a:cubicBezTo>
                    <a:pt x="595" y="298"/>
                    <a:pt x="595" y="298"/>
                    <a:pt x="595" y="297"/>
                  </a:cubicBezTo>
                  <a:cubicBezTo>
                    <a:pt x="599" y="293"/>
                    <a:pt x="608" y="290"/>
                    <a:pt x="614" y="288"/>
                  </a:cubicBezTo>
                  <a:cubicBezTo>
                    <a:pt x="622" y="286"/>
                    <a:pt x="622" y="283"/>
                    <a:pt x="621" y="279"/>
                  </a:cubicBezTo>
                  <a:cubicBezTo>
                    <a:pt x="621" y="278"/>
                    <a:pt x="621" y="278"/>
                    <a:pt x="621" y="278"/>
                  </a:cubicBezTo>
                  <a:cubicBezTo>
                    <a:pt x="621" y="274"/>
                    <a:pt x="620" y="271"/>
                    <a:pt x="612" y="271"/>
                  </a:cubicBezTo>
                  <a:cubicBezTo>
                    <a:pt x="606" y="270"/>
                    <a:pt x="597" y="269"/>
                    <a:pt x="592" y="266"/>
                  </a:cubicBezTo>
                  <a:cubicBezTo>
                    <a:pt x="591" y="265"/>
                    <a:pt x="591" y="265"/>
                    <a:pt x="591" y="264"/>
                  </a:cubicBezTo>
                  <a:cubicBezTo>
                    <a:pt x="591" y="263"/>
                    <a:pt x="591" y="263"/>
                    <a:pt x="591" y="263"/>
                  </a:cubicBezTo>
                  <a:cubicBezTo>
                    <a:pt x="590" y="260"/>
                    <a:pt x="590" y="258"/>
                    <a:pt x="589" y="255"/>
                  </a:cubicBezTo>
                  <a:cubicBezTo>
                    <a:pt x="589" y="254"/>
                    <a:pt x="589" y="254"/>
                    <a:pt x="590" y="253"/>
                  </a:cubicBezTo>
                  <a:cubicBezTo>
                    <a:pt x="593" y="248"/>
                    <a:pt x="601" y="244"/>
                    <a:pt x="607" y="241"/>
                  </a:cubicBezTo>
                  <a:cubicBezTo>
                    <a:pt x="614" y="238"/>
                    <a:pt x="613" y="235"/>
                    <a:pt x="612" y="231"/>
                  </a:cubicBezTo>
                  <a:cubicBezTo>
                    <a:pt x="612" y="230"/>
                    <a:pt x="612" y="230"/>
                    <a:pt x="612" y="230"/>
                  </a:cubicBezTo>
                  <a:cubicBezTo>
                    <a:pt x="611" y="227"/>
                    <a:pt x="611" y="224"/>
                    <a:pt x="605" y="224"/>
                  </a:cubicBezTo>
                  <a:cubicBezTo>
                    <a:pt x="604" y="224"/>
                    <a:pt x="603" y="224"/>
                    <a:pt x="602" y="224"/>
                  </a:cubicBezTo>
                  <a:cubicBezTo>
                    <a:pt x="600" y="224"/>
                    <a:pt x="598" y="224"/>
                    <a:pt x="595" y="224"/>
                  </a:cubicBezTo>
                  <a:cubicBezTo>
                    <a:pt x="591" y="224"/>
                    <a:pt x="585" y="224"/>
                    <a:pt x="582" y="222"/>
                  </a:cubicBezTo>
                  <a:cubicBezTo>
                    <a:pt x="581" y="222"/>
                    <a:pt x="580" y="221"/>
                    <a:pt x="580" y="221"/>
                  </a:cubicBezTo>
                  <a:cubicBezTo>
                    <a:pt x="579" y="218"/>
                    <a:pt x="578" y="215"/>
                    <a:pt x="577" y="212"/>
                  </a:cubicBezTo>
                  <a:cubicBezTo>
                    <a:pt x="577" y="211"/>
                    <a:pt x="577" y="211"/>
                    <a:pt x="577" y="210"/>
                  </a:cubicBezTo>
                  <a:cubicBezTo>
                    <a:pt x="580" y="205"/>
                    <a:pt x="587" y="199"/>
                    <a:pt x="592" y="196"/>
                  </a:cubicBezTo>
                  <a:cubicBezTo>
                    <a:pt x="599" y="192"/>
                    <a:pt x="598" y="189"/>
                    <a:pt x="596" y="185"/>
                  </a:cubicBezTo>
                  <a:cubicBezTo>
                    <a:pt x="596" y="184"/>
                    <a:pt x="596" y="184"/>
                    <a:pt x="596" y="184"/>
                  </a:cubicBezTo>
                  <a:cubicBezTo>
                    <a:pt x="594" y="181"/>
                    <a:pt x="593" y="179"/>
                    <a:pt x="590" y="179"/>
                  </a:cubicBezTo>
                  <a:cubicBezTo>
                    <a:pt x="588" y="179"/>
                    <a:pt x="587" y="179"/>
                    <a:pt x="585" y="180"/>
                  </a:cubicBezTo>
                  <a:cubicBezTo>
                    <a:pt x="580" y="181"/>
                    <a:pt x="574" y="182"/>
                    <a:pt x="570" y="182"/>
                  </a:cubicBezTo>
                  <a:cubicBezTo>
                    <a:pt x="568" y="182"/>
                    <a:pt x="566" y="182"/>
                    <a:pt x="564" y="181"/>
                  </a:cubicBezTo>
                  <a:cubicBezTo>
                    <a:pt x="564" y="181"/>
                    <a:pt x="563" y="181"/>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70"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4"/>
                    <a:pt x="533" y="133"/>
                  </a:cubicBezTo>
                  <a:cubicBezTo>
                    <a:pt x="534" y="127"/>
                    <a:pt x="539" y="120"/>
                    <a:pt x="543" y="115"/>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9"/>
                  </a:cubicBezTo>
                  <a:cubicBezTo>
                    <a:pt x="508" y="106"/>
                    <a:pt x="506" y="104"/>
                    <a:pt x="503" y="102"/>
                  </a:cubicBezTo>
                  <a:cubicBezTo>
                    <a:pt x="503" y="102"/>
                    <a:pt x="502" y="101"/>
                    <a:pt x="502" y="100"/>
                  </a:cubicBezTo>
                  <a:cubicBezTo>
                    <a:pt x="503" y="95"/>
                    <a:pt x="506" y="87"/>
                    <a:pt x="509" y="81"/>
                  </a:cubicBezTo>
                  <a:cubicBezTo>
                    <a:pt x="514" y="74"/>
                    <a:pt x="511" y="72"/>
                    <a:pt x="508" y="69"/>
                  </a:cubicBezTo>
                  <a:cubicBezTo>
                    <a:pt x="507" y="69"/>
                    <a:pt x="507" y="69"/>
                    <a:pt x="507" y="69"/>
                  </a:cubicBezTo>
                  <a:cubicBezTo>
                    <a:pt x="506" y="67"/>
                    <a:pt x="504" y="66"/>
                    <a:pt x="502" y="66"/>
                  </a:cubicBezTo>
                  <a:cubicBezTo>
                    <a:pt x="500" y="66"/>
                    <a:pt x="498" y="67"/>
                    <a:pt x="496" y="70"/>
                  </a:cubicBezTo>
                  <a:cubicBezTo>
                    <a:pt x="491" y="74"/>
                    <a:pt x="483" y="79"/>
                    <a:pt x="478" y="80"/>
                  </a:cubicBezTo>
                  <a:cubicBezTo>
                    <a:pt x="478" y="80"/>
                    <a:pt x="478" y="81"/>
                    <a:pt x="477" y="81"/>
                  </a:cubicBezTo>
                  <a:cubicBezTo>
                    <a:pt x="477" y="81"/>
                    <a:pt x="476" y="80"/>
                    <a:pt x="476" y="80"/>
                  </a:cubicBezTo>
                  <a:cubicBezTo>
                    <a:pt x="473" y="78"/>
                    <a:pt x="471" y="76"/>
                    <a:pt x="468" y="75"/>
                  </a:cubicBezTo>
                  <a:cubicBezTo>
                    <a:pt x="468" y="74"/>
                    <a:pt x="467" y="74"/>
                    <a:pt x="467" y="73"/>
                  </a:cubicBezTo>
                  <a:cubicBezTo>
                    <a:pt x="466" y="67"/>
                    <a:pt x="469" y="59"/>
                    <a:pt x="471" y="53"/>
                  </a:cubicBezTo>
                  <a:cubicBezTo>
                    <a:pt x="474" y="45"/>
                    <a:pt x="471" y="44"/>
                    <a:pt x="468" y="42"/>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40" y="57"/>
                    <a:pt x="439" y="57"/>
                    <a:pt x="439" y="57"/>
                  </a:cubicBezTo>
                  <a:cubicBezTo>
                    <a:pt x="439"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1" y="23"/>
                    <a:pt x="428" y="22"/>
                    <a:pt x="424" y="21"/>
                  </a:cubicBezTo>
                  <a:cubicBezTo>
                    <a:pt x="423" y="20"/>
                    <a:pt x="423" y="20"/>
                    <a:pt x="423" y="20"/>
                  </a:cubicBezTo>
                  <a:cubicBezTo>
                    <a:pt x="421" y="19"/>
                    <a:pt x="420" y="19"/>
                    <a:pt x="418" y="19"/>
                  </a:cubicBezTo>
                  <a:cubicBezTo>
                    <a:pt x="418" y="19"/>
                    <a:pt x="415" y="19"/>
                    <a:pt x="412" y="25"/>
                  </a:cubicBezTo>
                  <a:cubicBezTo>
                    <a:pt x="409" y="30"/>
                    <a:pt x="403" y="37"/>
                    <a:pt x="399" y="40"/>
                  </a:cubicBezTo>
                  <a:cubicBezTo>
                    <a:pt x="398" y="40"/>
                    <a:pt x="398" y="41"/>
                    <a:pt x="397" y="41"/>
                  </a:cubicBezTo>
                  <a:cubicBezTo>
                    <a:pt x="397" y="41"/>
                    <a:pt x="397" y="41"/>
                    <a:pt x="397" y="40"/>
                  </a:cubicBezTo>
                  <a:cubicBezTo>
                    <a:pt x="394" y="40"/>
                    <a:pt x="391" y="39"/>
                    <a:pt x="388" y="38"/>
                  </a:cubicBezTo>
                  <a:cubicBezTo>
                    <a:pt x="387" y="38"/>
                    <a:pt x="386" y="37"/>
                    <a:pt x="386" y="36"/>
                  </a:cubicBezTo>
                  <a:cubicBezTo>
                    <a:pt x="384" y="31"/>
                    <a:pt x="383" y="23"/>
                    <a:pt x="383" y="16"/>
                  </a:cubicBezTo>
                  <a:cubicBezTo>
                    <a:pt x="384" y="8"/>
                    <a:pt x="381" y="7"/>
                    <a:pt x="377" y="6"/>
                  </a:cubicBezTo>
                  <a:cubicBezTo>
                    <a:pt x="376" y="6"/>
                    <a:pt x="376" y="6"/>
                    <a:pt x="376" y="6"/>
                  </a:cubicBezTo>
                  <a:cubicBezTo>
                    <a:pt x="375" y="6"/>
                    <a:pt x="373" y="6"/>
                    <a:pt x="372" y="6"/>
                  </a:cubicBezTo>
                  <a:cubicBezTo>
                    <a:pt x="371" y="6"/>
                    <a:pt x="368" y="6"/>
                    <a:pt x="366" y="12"/>
                  </a:cubicBezTo>
                  <a:cubicBezTo>
                    <a:pt x="364" y="18"/>
                    <a:pt x="360" y="26"/>
                    <a:pt x="355" y="30"/>
                  </a:cubicBezTo>
                  <a:cubicBezTo>
                    <a:pt x="355" y="30"/>
                    <a:pt x="354" y="31"/>
                    <a:pt x="354" y="31"/>
                  </a:cubicBezTo>
                  <a:cubicBezTo>
                    <a:pt x="353" y="31"/>
                    <a:pt x="353" y="30"/>
                    <a:pt x="353" y="30"/>
                  </a:cubicBezTo>
                  <a:cubicBezTo>
                    <a:pt x="350" y="30"/>
                    <a:pt x="347" y="30"/>
                    <a:pt x="344" y="29"/>
                  </a:cubicBezTo>
                  <a:cubicBezTo>
                    <a:pt x="343" y="29"/>
                    <a:pt x="343" y="29"/>
                    <a:pt x="342" y="28"/>
                  </a:cubicBezTo>
                  <a:cubicBezTo>
                    <a:pt x="339" y="24"/>
                    <a:pt x="337" y="15"/>
                    <a:pt x="336" y="8"/>
                  </a:cubicBezTo>
                  <a:cubicBezTo>
                    <a:pt x="336" y="0"/>
                    <a:pt x="333" y="0"/>
                    <a:pt x="329" y="0"/>
                  </a:cubicBezTo>
                  <a:cubicBezTo>
                    <a:pt x="327" y="0"/>
                    <a:pt x="327" y="0"/>
                    <a:pt x="327" y="0"/>
                  </a:cubicBezTo>
                  <a:cubicBezTo>
                    <a:pt x="327" y="0"/>
                    <a:pt x="326" y="0"/>
                    <a:pt x="3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7" name="Freeform 21336">
              <a:extLst>
                <a:ext uri="{FF2B5EF4-FFF2-40B4-BE49-F238E27FC236}">
                  <a16:creationId xmlns:a16="http://schemas.microsoft.com/office/drawing/2014/main" id="{D1759881-B3AA-4724-8849-64599A4B0525}"/>
                </a:ext>
              </a:extLst>
            </p:cNvPr>
            <p:cNvSpPr>
              <a:spLocks noEditPoints="1"/>
            </p:cNvSpPr>
            <p:nvPr userDrawn="1"/>
          </p:nvSpPr>
          <p:spPr bwMode="auto">
            <a:xfrm>
              <a:off x="10665778" y="2420303"/>
              <a:ext cx="1258888" cy="1254125"/>
            </a:xfrm>
            <a:custGeom>
              <a:avLst/>
              <a:gdLst>
                <a:gd name="T0" fmla="*/ 509 w 623"/>
                <a:gd name="T1" fmla="*/ 471 h 622"/>
                <a:gd name="T2" fmla="*/ 300 w 623"/>
                <a:gd name="T3" fmla="*/ 27 h 622"/>
                <a:gd name="T4" fmla="*/ 266 w 623"/>
                <a:gd name="T5" fmla="*/ 30 h 622"/>
                <a:gd name="T6" fmla="*/ 235 w 623"/>
                <a:gd name="T7" fmla="*/ 9 h 622"/>
                <a:gd name="T8" fmla="*/ 212 w 623"/>
                <a:gd name="T9" fmla="*/ 45 h 622"/>
                <a:gd name="T10" fmla="*/ 182 w 623"/>
                <a:gd name="T11" fmla="*/ 58 h 622"/>
                <a:gd name="T12" fmla="*/ 143 w 623"/>
                <a:gd name="T13" fmla="*/ 49 h 622"/>
                <a:gd name="T14" fmla="*/ 134 w 623"/>
                <a:gd name="T15" fmla="*/ 89 h 622"/>
                <a:gd name="T16" fmla="*/ 110 w 623"/>
                <a:gd name="T17" fmla="*/ 110 h 622"/>
                <a:gd name="T18" fmla="*/ 70 w 623"/>
                <a:gd name="T19" fmla="*/ 114 h 622"/>
                <a:gd name="T20" fmla="*/ 71 w 623"/>
                <a:gd name="T21" fmla="*/ 155 h 622"/>
                <a:gd name="T22" fmla="*/ 58 w 623"/>
                <a:gd name="T23" fmla="*/ 184 h 622"/>
                <a:gd name="T24" fmla="*/ 21 w 623"/>
                <a:gd name="T25" fmla="*/ 198 h 622"/>
                <a:gd name="T26" fmla="*/ 20 w 623"/>
                <a:gd name="T27" fmla="*/ 239 h 622"/>
                <a:gd name="T28" fmla="*/ 31 w 623"/>
                <a:gd name="T29" fmla="*/ 269 h 622"/>
                <a:gd name="T30" fmla="*/ 27 w 623"/>
                <a:gd name="T31" fmla="*/ 311 h 622"/>
                <a:gd name="T32" fmla="*/ 2 w 623"/>
                <a:gd name="T33" fmla="*/ 344 h 622"/>
                <a:gd name="T34" fmla="*/ 16 w 623"/>
                <a:gd name="T35" fmla="*/ 380 h 622"/>
                <a:gd name="T36" fmla="*/ 43 w 623"/>
                <a:gd name="T37" fmla="*/ 401 h 622"/>
                <a:gd name="T38" fmla="*/ 38 w 623"/>
                <a:gd name="T39" fmla="*/ 442 h 622"/>
                <a:gd name="T40" fmla="*/ 50 w 623"/>
                <a:gd name="T41" fmla="*/ 480 h 622"/>
                <a:gd name="T42" fmla="*/ 88 w 623"/>
                <a:gd name="T43" fmla="*/ 485 h 622"/>
                <a:gd name="T44" fmla="*/ 92 w 623"/>
                <a:gd name="T45" fmla="*/ 520 h 622"/>
                <a:gd name="T46" fmla="*/ 115 w 623"/>
                <a:gd name="T47" fmla="*/ 552 h 622"/>
                <a:gd name="T48" fmla="*/ 154 w 623"/>
                <a:gd name="T49" fmla="*/ 547 h 622"/>
                <a:gd name="T50" fmla="*/ 183 w 623"/>
                <a:gd name="T51" fmla="*/ 564 h 622"/>
                <a:gd name="T52" fmla="*/ 199 w 623"/>
                <a:gd name="T53" fmla="*/ 601 h 622"/>
                <a:gd name="T54" fmla="*/ 235 w 623"/>
                <a:gd name="T55" fmla="*/ 584 h 622"/>
                <a:gd name="T56" fmla="*/ 268 w 623"/>
                <a:gd name="T57" fmla="*/ 592 h 622"/>
                <a:gd name="T58" fmla="*/ 295 w 623"/>
                <a:gd name="T59" fmla="*/ 622 h 622"/>
                <a:gd name="T60" fmla="*/ 323 w 623"/>
                <a:gd name="T61" fmla="*/ 594 h 622"/>
                <a:gd name="T62" fmla="*/ 357 w 623"/>
                <a:gd name="T63" fmla="*/ 591 h 622"/>
                <a:gd name="T64" fmla="*/ 387 w 623"/>
                <a:gd name="T65" fmla="*/ 612 h 622"/>
                <a:gd name="T66" fmla="*/ 411 w 623"/>
                <a:gd name="T67" fmla="*/ 576 h 622"/>
                <a:gd name="T68" fmla="*/ 441 w 623"/>
                <a:gd name="T69" fmla="*/ 564 h 622"/>
                <a:gd name="T70" fmla="*/ 480 w 623"/>
                <a:gd name="T71" fmla="*/ 572 h 622"/>
                <a:gd name="T72" fmla="*/ 489 w 623"/>
                <a:gd name="T73" fmla="*/ 532 h 622"/>
                <a:gd name="T74" fmla="*/ 513 w 623"/>
                <a:gd name="T75" fmla="*/ 511 h 622"/>
                <a:gd name="T76" fmla="*/ 554 w 623"/>
                <a:gd name="T77" fmla="*/ 506 h 622"/>
                <a:gd name="T78" fmla="*/ 569 w 623"/>
                <a:gd name="T79" fmla="*/ 470 h 622"/>
                <a:gd name="T80" fmla="*/ 569 w 623"/>
                <a:gd name="T81" fmla="*/ 429 h 622"/>
                <a:gd name="T82" fmla="*/ 598 w 623"/>
                <a:gd name="T83" fmla="*/ 411 h 622"/>
                <a:gd name="T84" fmla="*/ 608 w 623"/>
                <a:gd name="T85" fmla="*/ 383 h 622"/>
                <a:gd name="T86" fmla="*/ 594 w 623"/>
                <a:gd name="T87" fmla="*/ 342 h 622"/>
                <a:gd name="T88" fmla="*/ 595 w 623"/>
                <a:gd name="T89" fmla="*/ 300 h 622"/>
                <a:gd name="T90" fmla="*/ 592 w 623"/>
                <a:gd name="T91" fmla="*/ 265 h 622"/>
                <a:gd name="T92" fmla="*/ 612 w 623"/>
                <a:gd name="T93" fmla="*/ 230 h 622"/>
                <a:gd name="T94" fmla="*/ 577 w 623"/>
                <a:gd name="T95" fmla="*/ 210 h 622"/>
                <a:gd name="T96" fmla="*/ 564 w 623"/>
                <a:gd name="T97" fmla="*/ 181 h 622"/>
                <a:gd name="T98" fmla="*/ 567 w 623"/>
                <a:gd name="T99" fmla="*/ 137 h 622"/>
                <a:gd name="T100" fmla="*/ 533 w 623"/>
                <a:gd name="T101" fmla="*/ 133 h 622"/>
                <a:gd name="T102" fmla="*/ 512 w 623"/>
                <a:gd name="T103" fmla="*/ 109 h 622"/>
                <a:gd name="T104" fmla="*/ 502 w 623"/>
                <a:gd name="T105" fmla="*/ 66 h 622"/>
                <a:gd name="T106" fmla="*/ 471 w 623"/>
                <a:gd name="T107" fmla="*/ 53 h 622"/>
                <a:gd name="T108" fmla="*/ 438 w 623"/>
                <a:gd name="T109" fmla="*/ 57 h 622"/>
                <a:gd name="T110" fmla="*/ 418 w 623"/>
                <a:gd name="T111" fmla="*/ 19 h 622"/>
                <a:gd name="T112" fmla="*/ 383 w 623"/>
                <a:gd name="T113" fmla="*/ 16 h 622"/>
                <a:gd name="T114" fmla="*/ 353 w 623"/>
                <a:gd name="T115" fmla="*/ 3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3" h="622">
                  <a:moveTo>
                    <a:pt x="311" y="566"/>
                  </a:moveTo>
                  <a:cubicBezTo>
                    <a:pt x="253" y="566"/>
                    <a:pt x="196" y="545"/>
                    <a:pt x="151" y="509"/>
                  </a:cubicBezTo>
                  <a:cubicBezTo>
                    <a:pt x="42" y="420"/>
                    <a:pt x="25" y="259"/>
                    <a:pt x="113" y="150"/>
                  </a:cubicBezTo>
                  <a:cubicBezTo>
                    <a:pt x="162" y="90"/>
                    <a:pt x="234" y="56"/>
                    <a:pt x="311" y="56"/>
                  </a:cubicBezTo>
                  <a:cubicBezTo>
                    <a:pt x="370" y="56"/>
                    <a:pt x="427" y="76"/>
                    <a:pt x="472" y="113"/>
                  </a:cubicBezTo>
                  <a:cubicBezTo>
                    <a:pt x="525" y="156"/>
                    <a:pt x="558" y="217"/>
                    <a:pt x="565" y="284"/>
                  </a:cubicBezTo>
                  <a:cubicBezTo>
                    <a:pt x="572" y="352"/>
                    <a:pt x="552" y="418"/>
                    <a:pt x="509" y="471"/>
                  </a:cubicBezTo>
                  <a:cubicBezTo>
                    <a:pt x="461" y="531"/>
                    <a:pt x="388" y="566"/>
                    <a:pt x="311" y="566"/>
                  </a:cubicBezTo>
                  <a:moveTo>
                    <a:pt x="325" y="0"/>
                  </a:moveTo>
                  <a:cubicBezTo>
                    <a:pt x="323" y="0"/>
                    <a:pt x="320" y="0"/>
                    <a:pt x="319" y="7"/>
                  </a:cubicBezTo>
                  <a:cubicBezTo>
                    <a:pt x="317" y="14"/>
                    <a:pt x="314" y="22"/>
                    <a:pt x="311" y="26"/>
                  </a:cubicBezTo>
                  <a:cubicBezTo>
                    <a:pt x="310" y="27"/>
                    <a:pt x="309" y="27"/>
                    <a:pt x="309" y="27"/>
                  </a:cubicBezTo>
                  <a:cubicBezTo>
                    <a:pt x="306" y="27"/>
                    <a:pt x="303" y="27"/>
                    <a:pt x="300" y="27"/>
                  </a:cubicBezTo>
                  <a:cubicBezTo>
                    <a:pt x="300" y="27"/>
                    <a:pt x="300" y="27"/>
                    <a:pt x="300" y="27"/>
                  </a:cubicBezTo>
                  <a:cubicBezTo>
                    <a:pt x="299" y="27"/>
                    <a:pt x="298" y="27"/>
                    <a:pt x="298" y="27"/>
                  </a:cubicBezTo>
                  <a:cubicBezTo>
                    <a:pt x="294" y="23"/>
                    <a:pt x="290" y="14"/>
                    <a:pt x="289" y="8"/>
                  </a:cubicBezTo>
                  <a:cubicBezTo>
                    <a:pt x="287" y="1"/>
                    <a:pt x="284" y="1"/>
                    <a:pt x="282" y="1"/>
                  </a:cubicBezTo>
                  <a:cubicBezTo>
                    <a:pt x="281" y="1"/>
                    <a:pt x="281" y="1"/>
                    <a:pt x="280" y="1"/>
                  </a:cubicBezTo>
                  <a:cubicBezTo>
                    <a:pt x="278" y="1"/>
                    <a:pt x="278" y="1"/>
                    <a:pt x="278" y="1"/>
                  </a:cubicBezTo>
                  <a:cubicBezTo>
                    <a:pt x="274" y="1"/>
                    <a:pt x="271" y="2"/>
                    <a:pt x="271" y="10"/>
                  </a:cubicBezTo>
                  <a:cubicBezTo>
                    <a:pt x="271" y="17"/>
                    <a:pt x="269" y="25"/>
                    <a:pt x="266" y="30"/>
                  </a:cubicBezTo>
                  <a:cubicBezTo>
                    <a:pt x="266" y="31"/>
                    <a:pt x="265" y="31"/>
                    <a:pt x="264" y="31"/>
                  </a:cubicBezTo>
                  <a:cubicBezTo>
                    <a:pt x="263" y="31"/>
                    <a:pt x="263" y="31"/>
                    <a:pt x="263" y="31"/>
                  </a:cubicBezTo>
                  <a:cubicBezTo>
                    <a:pt x="260" y="32"/>
                    <a:pt x="258" y="32"/>
                    <a:pt x="255" y="33"/>
                  </a:cubicBezTo>
                  <a:cubicBezTo>
                    <a:pt x="255" y="33"/>
                    <a:pt x="255" y="33"/>
                    <a:pt x="255" y="33"/>
                  </a:cubicBezTo>
                  <a:cubicBezTo>
                    <a:pt x="254" y="33"/>
                    <a:pt x="254" y="33"/>
                    <a:pt x="253" y="32"/>
                  </a:cubicBezTo>
                  <a:cubicBezTo>
                    <a:pt x="249" y="29"/>
                    <a:pt x="244" y="21"/>
                    <a:pt x="242" y="15"/>
                  </a:cubicBezTo>
                  <a:cubicBezTo>
                    <a:pt x="239" y="9"/>
                    <a:pt x="236" y="9"/>
                    <a:pt x="235" y="9"/>
                  </a:cubicBezTo>
                  <a:cubicBezTo>
                    <a:pt x="234" y="9"/>
                    <a:pt x="233" y="9"/>
                    <a:pt x="232" y="10"/>
                  </a:cubicBezTo>
                  <a:cubicBezTo>
                    <a:pt x="230" y="10"/>
                    <a:pt x="230" y="10"/>
                    <a:pt x="230" y="10"/>
                  </a:cubicBezTo>
                  <a:cubicBezTo>
                    <a:pt x="226" y="11"/>
                    <a:pt x="223" y="12"/>
                    <a:pt x="224" y="20"/>
                  </a:cubicBezTo>
                  <a:cubicBezTo>
                    <a:pt x="225" y="26"/>
                    <a:pt x="225" y="35"/>
                    <a:pt x="223" y="41"/>
                  </a:cubicBezTo>
                  <a:cubicBezTo>
                    <a:pt x="222" y="41"/>
                    <a:pt x="222" y="42"/>
                    <a:pt x="221" y="42"/>
                  </a:cubicBezTo>
                  <a:cubicBezTo>
                    <a:pt x="218" y="43"/>
                    <a:pt x="215" y="44"/>
                    <a:pt x="213" y="45"/>
                  </a:cubicBezTo>
                  <a:cubicBezTo>
                    <a:pt x="212" y="45"/>
                    <a:pt x="212" y="45"/>
                    <a:pt x="212" y="45"/>
                  </a:cubicBezTo>
                  <a:cubicBezTo>
                    <a:pt x="211" y="45"/>
                    <a:pt x="211" y="45"/>
                    <a:pt x="211" y="45"/>
                  </a:cubicBezTo>
                  <a:cubicBezTo>
                    <a:pt x="205" y="42"/>
                    <a:pt x="200" y="35"/>
                    <a:pt x="196" y="30"/>
                  </a:cubicBezTo>
                  <a:cubicBezTo>
                    <a:pt x="193" y="25"/>
                    <a:pt x="191" y="25"/>
                    <a:pt x="190" y="25"/>
                  </a:cubicBezTo>
                  <a:cubicBezTo>
                    <a:pt x="188" y="25"/>
                    <a:pt x="187" y="25"/>
                    <a:pt x="186" y="26"/>
                  </a:cubicBezTo>
                  <a:cubicBezTo>
                    <a:pt x="184" y="26"/>
                    <a:pt x="184" y="26"/>
                    <a:pt x="184" y="26"/>
                  </a:cubicBezTo>
                  <a:cubicBezTo>
                    <a:pt x="181" y="28"/>
                    <a:pt x="178" y="29"/>
                    <a:pt x="180" y="37"/>
                  </a:cubicBezTo>
                  <a:cubicBezTo>
                    <a:pt x="182" y="43"/>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1"/>
                  </a:cubicBezTo>
                  <a:cubicBezTo>
                    <a:pt x="151" y="48"/>
                    <a:pt x="149" y="47"/>
                    <a:pt x="147" y="47"/>
                  </a:cubicBezTo>
                  <a:cubicBezTo>
                    <a:pt x="146" y="47"/>
                    <a:pt x="144" y="48"/>
                    <a:pt x="143" y="49"/>
                  </a:cubicBezTo>
                  <a:cubicBezTo>
                    <a:pt x="141" y="50"/>
                    <a:pt x="141" y="50"/>
                    <a:pt x="141" y="50"/>
                  </a:cubicBezTo>
                  <a:cubicBezTo>
                    <a:pt x="138" y="52"/>
                    <a:pt x="135" y="54"/>
                    <a:pt x="139" y="61"/>
                  </a:cubicBezTo>
                  <a:cubicBezTo>
                    <a:pt x="141" y="67"/>
                    <a:pt x="144" y="75"/>
                    <a:pt x="144" y="81"/>
                  </a:cubicBezTo>
                  <a:cubicBezTo>
                    <a:pt x="144" y="82"/>
                    <a:pt x="143" y="82"/>
                    <a:pt x="143" y="83"/>
                  </a:cubicBezTo>
                  <a:cubicBezTo>
                    <a:pt x="141" y="84"/>
                    <a:pt x="139" y="86"/>
                    <a:pt x="136" y="87"/>
                  </a:cubicBezTo>
                  <a:cubicBezTo>
                    <a:pt x="135" y="88"/>
                    <a:pt x="135" y="88"/>
                    <a:pt x="135" y="88"/>
                  </a:cubicBezTo>
                  <a:cubicBezTo>
                    <a:pt x="135" y="89"/>
                    <a:pt x="134" y="89"/>
                    <a:pt x="134" y="89"/>
                  </a:cubicBezTo>
                  <a:cubicBezTo>
                    <a:pt x="134" y="89"/>
                    <a:pt x="133" y="89"/>
                    <a:pt x="133" y="89"/>
                  </a:cubicBezTo>
                  <a:cubicBezTo>
                    <a:pt x="128" y="88"/>
                    <a:pt x="120" y="83"/>
                    <a:pt x="115" y="79"/>
                  </a:cubicBezTo>
                  <a:cubicBezTo>
                    <a:pt x="112" y="77"/>
                    <a:pt x="110" y="76"/>
                    <a:pt x="109" y="76"/>
                  </a:cubicBezTo>
                  <a:cubicBezTo>
                    <a:pt x="107" y="76"/>
                    <a:pt x="105" y="77"/>
                    <a:pt x="104" y="79"/>
                  </a:cubicBezTo>
                  <a:cubicBezTo>
                    <a:pt x="103" y="80"/>
                    <a:pt x="103" y="80"/>
                    <a:pt x="103" y="80"/>
                  </a:cubicBezTo>
                  <a:cubicBezTo>
                    <a:pt x="100" y="82"/>
                    <a:pt x="97" y="84"/>
                    <a:pt x="102" y="91"/>
                  </a:cubicBezTo>
                  <a:cubicBezTo>
                    <a:pt x="106" y="97"/>
                    <a:pt x="109" y="105"/>
                    <a:pt x="110" y="110"/>
                  </a:cubicBezTo>
                  <a:cubicBezTo>
                    <a:pt x="110" y="111"/>
                    <a:pt x="110" y="112"/>
                    <a:pt x="109" y="112"/>
                  </a:cubicBezTo>
                  <a:cubicBezTo>
                    <a:pt x="107" y="114"/>
                    <a:pt x="105" y="116"/>
                    <a:pt x="103" y="119"/>
                  </a:cubicBezTo>
                  <a:cubicBezTo>
                    <a:pt x="102" y="119"/>
                    <a:pt x="102" y="120"/>
                    <a:pt x="101" y="120"/>
                  </a:cubicBezTo>
                  <a:cubicBezTo>
                    <a:pt x="101" y="120"/>
                    <a:pt x="101" y="120"/>
                    <a:pt x="101" y="120"/>
                  </a:cubicBezTo>
                  <a:cubicBezTo>
                    <a:pt x="95" y="120"/>
                    <a:pt x="87" y="116"/>
                    <a:pt x="81" y="113"/>
                  </a:cubicBezTo>
                  <a:cubicBezTo>
                    <a:pt x="79" y="111"/>
                    <a:pt x="77" y="110"/>
                    <a:pt x="75" y="110"/>
                  </a:cubicBezTo>
                  <a:cubicBezTo>
                    <a:pt x="73" y="110"/>
                    <a:pt x="72" y="112"/>
                    <a:pt x="70" y="114"/>
                  </a:cubicBezTo>
                  <a:cubicBezTo>
                    <a:pt x="69" y="115"/>
                    <a:pt x="69" y="115"/>
                    <a:pt x="69" y="115"/>
                  </a:cubicBezTo>
                  <a:cubicBezTo>
                    <a:pt x="66" y="118"/>
                    <a:pt x="64" y="121"/>
                    <a:pt x="70" y="126"/>
                  </a:cubicBezTo>
                  <a:cubicBezTo>
                    <a:pt x="75" y="131"/>
                    <a:pt x="80" y="139"/>
                    <a:pt x="81" y="144"/>
                  </a:cubicBezTo>
                  <a:cubicBezTo>
                    <a:pt x="81" y="145"/>
                    <a:pt x="81" y="146"/>
                    <a:pt x="80" y="146"/>
                  </a:cubicBezTo>
                  <a:cubicBezTo>
                    <a:pt x="79" y="149"/>
                    <a:pt x="77" y="151"/>
                    <a:pt x="75" y="154"/>
                  </a:cubicBezTo>
                  <a:cubicBezTo>
                    <a:pt x="75" y="154"/>
                    <a:pt x="74" y="155"/>
                    <a:pt x="74" y="155"/>
                  </a:cubicBezTo>
                  <a:cubicBezTo>
                    <a:pt x="73" y="155"/>
                    <a:pt x="72" y="155"/>
                    <a:pt x="71" y="155"/>
                  </a:cubicBezTo>
                  <a:cubicBezTo>
                    <a:pt x="66" y="155"/>
                    <a:pt x="60" y="154"/>
                    <a:pt x="53" y="151"/>
                  </a:cubicBezTo>
                  <a:cubicBezTo>
                    <a:pt x="51" y="150"/>
                    <a:pt x="49" y="150"/>
                    <a:pt x="48" y="150"/>
                  </a:cubicBezTo>
                  <a:cubicBezTo>
                    <a:pt x="45" y="150"/>
                    <a:pt x="44" y="151"/>
                    <a:pt x="42" y="154"/>
                  </a:cubicBezTo>
                  <a:cubicBezTo>
                    <a:pt x="41" y="155"/>
                    <a:pt x="41" y="155"/>
                    <a:pt x="41" y="155"/>
                  </a:cubicBezTo>
                  <a:cubicBezTo>
                    <a:pt x="39" y="159"/>
                    <a:pt x="38" y="161"/>
                    <a:pt x="44" y="166"/>
                  </a:cubicBezTo>
                  <a:cubicBezTo>
                    <a:pt x="49" y="171"/>
                    <a:pt x="56" y="177"/>
                    <a:pt x="58" y="182"/>
                  </a:cubicBezTo>
                  <a:cubicBezTo>
                    <a:pt x="58" y="183"/>
                    <a:pt x="58" y="184"/>
                    <a:pt x="58" y="184"/>
                  </a:cubicBezTo>
                  <a:cubicBezTo>
                    <a:pt x="57" y="185"/>
                    <a:pt x="57" y="185"/>
                    <a:pt x="57" y="185"/>
                  </a:cubicBezTo>
                  <a:cubicBezTo>
                    <a:pt x="56" y="187"/>
                    <a:pt x="55" y="190"/>
                    <a:pt x="53" y="193"/>
                  </a:cubicBezTo>
                  <a:cubicBezTo>
                    <a:pt x="53" y="193"/>
                    <a:pt x="53" y="194"/>
                    <a:pt x="52" y="194"/>
                  </a:cubicBezTo>
                  <a:cubicBezTo>
                    <a:pt x="50" y="195"/>
                    <a:pt x="47" y="195"/>
                    <a:pt x="44" y="195"/>
                  </a:cubicBezTo>
                  <a:cubicBezTo>
                    <a:pt x="40" y="195"/>
                    <a:pt x="36" y="194"/>
                    <a:pt x="31" y="193"/>
                  </a:cubicBezTo>
                  <a:cubicBezTo>
                    <a:pt x="30" y="193"/>
                    <a:pt x="28" y="193"/>
                    <a:pt x="27" y="193"/>
                  </a:cubicBezTo>
                  <a:cubicBezTo>
                    <a:pt x="23" y="193"/>
                    <a:pt x="22" y="195"/>
                    <a:pt x="21" y="198"/>
                  </a:cubicBezTo>
                  <a:cubicBezTo>
                    <a:pt x="20" y="199"/>
                    <a:pt x="20" y="199"/>
                    <a:pt x="20" y="199"/>
                  </a:cubicBezTo>
                  <a:cubicBezTo>
                    <a:pt x="19" y="203"/>
                    <a:pt x="18" y="206"/>
                    <a:pt x="25" y="210"/>
                  </a:cubicBezTo>
                  <a:cubicBezTo>
                    <a:pt x="31" y="213"/>
                    <a:pt x="38" y="219"/>
                    <a:pt x="41" y="223"/>
                  </a:cubicBezTo>
                  <a:cubicBezTo>
                    <a:pt x="41" y="224"/>
                    <a:pt x="41" y="225"/>
                    <a:pt x="41" y="226"/>
                  </a:cubicBezTo>
                  <a:cubicBezTo>
                    <a:pt x="40" y="228"/>
                    <a:pt x="39" y="231"/>
                    <a:pt x="38" y="234"/>
                  </a:cubicBezTo>
                  <a:cubicBezTo>
                    <a:pt x="38" y="235"/>
                    <a:pt x="38" y="236"/>
                    <a:pt x="37" y="236"/>
                  </a:cubicBezTo>
                  <a:cubicBezTo>
                    <a:pt x="32" y="239"/>
                    <a:pt x="23" y="239"/>
                    <a:pt x="20" y="239"/>
                  </a:cubicBezTo>
                  <a:cubicBezTo>
                    <a:pt x="19" y="239"/>
                    <a:pt x="18" y="239"/>
                    <a:pt x="16" y="239"/>
                  </a:cubicBezTo>
                  <a:cubicBezTo>
                    <a:pt x="16" y="239"/>
                    <a:pt x="15" y="239"/>
                    <a:pt x="14" y="239"/>
                  </a:cubicBezTo>
                  <a:cubicBezTo>
                    <a:pt x="8" y="239"/>
                    <a:pt x="8" y="241"/>
                    <a:pt x="7" y="245"/>
                  </a:cubicBezTo>
                  <a:cubicBezTo>
                    <a:pt x="7" y="246"/>
                    <a:pt x="7" y="246"/>
                    <a:pt x="7" y="246"/>
                  </a:cubicBezTo>
                  <a:cubicBezTo>
                    <a:pt x="6" y="250"/>
                    <a:pt x="5" y="253"/>
                    <a:pt x="13" y="256"/>
                  </a:cubicBezTo>
                  <a:cubicBezTo>
                    <a:pt x="19" y="258"/>
                    <a:pt x="27" y="263"/>
                    <a:pt x="30" y="267"/>
                  </a:cubicBezTo>
                  <a:cubicBezTo>
                    <a:pt x="31" y="267"/>
                    <a:pt x="31" y="268"/>
                    <a:pt x="31" y="269"/>
                  </a:cubicBezTo>
                  <a:cubicBezTo>
                    <a:pt x="30" y="272"/>
                    <a:pt x="30" y="275"/>
                    <a:pt x="30" y="278"/>
                  </a:cubicBezTo>
                  <a:cubicBezTo>
                    <a:pt x="30" y="279"/>
                    <a:pt x="29" y="279"/>
                    <a:pt x="29" y="280"/>
                  </a:cubicBezTo>
                  <a:cubicBezTo>
                    <a:pt x="24" y="283"/>
                    <a:pt x="15" y="285"/>
                    <a:pt x="9" y="286"/>
                  </a:cubicBezTo>
                  <a:cubicBezTo>
                    <a:pt x="1" y="286"/>
                    <a:pt x="1" y="289"/>
                    <a:pt x="0" y="293"/>
                  </a:cubicBezTo>
                  <a:cubicBezTo>
                    <a:pt x="0" y="295"/>
                    <a:pt x="0" y="295"/>
                    <a:pt x="0" y="295"/>
                  </a:cubicBezTo>
                  <a:cubicBezTo>
                    <a:pt x="0" y="299"/>
                    <a:pt x="0" y="302"/>
                    <a:pt x="8" y="303"/>
                  </a:cubicBezTo>
                  <a:cubicBezTo>
                    <a:pt x="14" y="305"/>
                    <a:pt x="23" y="308"/>
                    <a:pt x="27" y="311"/>
                  </a:cubicBezTo>
                  <a:cubicBezTo>
                    <a:pt x="27" y="312"/>
                    <a:pt x="28" y="313"/>
                    <a:pt x="28" y="313"/>
                  </a:cubicBezTo>
                  <a:cubicBezTo>
                    <a:pt x="28" y="316"/>
                    <a:pt x="28" y="319"/>
                    <a:pt x="28" y="322"/>
                  </a:cubicBezTo>
                  <a:cubicBezTo>
                    <a:pt x="28" y="322"/>
                    <a:pt x="28" y="322"/>
                    <a:pt x="28" y="322"/>
                  </a:cubicBezTo>
                  <a:cubicBezTo>
                    <a:pt x="28" y="323"/>
                    <a:pt x="28" y="324"/>
                    <a:pt x="27" y="324"/>
                  </a:cubicBezTo>
                  <a:cubicBezTo>
                    <a:pt x="23" y="328"/>
                    <a:pt x="15" y="332"/>
                    <a:pt x="9" y="333"/>
                  </a:cubicBezTo>
                  <a:cubicBezTo>
                    <a:pt x="1" y="335"/>
                    <a:pt x="1" y="338"/>
                    <a:pt x="2" y="342"/>
                  </a:cubicBezTo>
                  <a:cubicBezTo>
                    <a:pt x="2" y="344"/>
                    <a:pt x="2" y="344"/>
                    <a:pt x="2" y="344"/>
                  </a:cubicBezTo>
                  <a:cubicBezTo>
                    <a:pt x="2" y="348"/>
                    <a:pt x="2" y="351"/>
                    <a:pt x="10" y="351"/>
                  </a:cubicBezTo>
                  <a:cubicBezTo>
                    <a:pt x="17" y="351"/>
                    <a:pt x="26" y="353"/>
                    <a:pt x="31" y="356"/>
                  </a:cubicBezTo>
                  <a:cubicBezTo>
                    <a:pt x="31" y="356"/>
                    <a:pt x="32" y="357"/>
                    <a:pt x="32" y="358"/>
                  </a:cubicBezTo>
                  <a:cubicBezTo>
                    <a:pt x="32" y="358"/>
                    <a:pt x="32" y="358"/>
                    <a:pt x="32" y="358"/>
                  </a:cubicBezTo>
                  <a:cubicBezTo>
                    <a:pt x="32" y="361"/>
                    <a:pt x="33" y="364"/>
                    <a:pt x="33" y="367"/>
                  </a:cubicBezTo>
                  <a:cubicBezTo>
                    <a:pt x="33" y="367"/>
                    <a:pt x="33" y="368"/>
                    <a:pt x="33" y="369"/>
                  </a:cubicBezTo>
                  <a:cubicBezTo>
                    <a:pt x="30" y="373"/>
                    <a:pt x="22" y="378"/>
                    <a:pt x="16" y="380"/>
                  </a:cubicBezTo>
                  <a:cubicBezTo>
                    <a:pt x="8" y="384"/>
                    <a:pt x="9" y="387"/>
                    <a:pt x="10" y="390"/>
                  </a:cubicBezTo>
                  <a:cubicBezTo>
                    <a:pt x="11" y="392"/>
                    <a:pt x="11" y="392"/>
                    <a:pt x="11" y="392"/>
                  </a:cubicBezTo>
                  <a:cubicBezTo>
                    <a:pt x="11" y="395"/>
                    <a:pt x="12" y="398"/>
                    <a:pt x="18" y="398"/>
                  </a:cubicBezTo>
                  <a:cubicBezTo>
                    <a:pt x="18" y="398"/>
                    <a:pt x="19" y="398"/>
                    <a:pt x="20" y="398"/>
                  </a:cubicBezTo>
                  <a:cubicBezTo>
                    <a:pt x="23" y="397"/>
                    <a:pt x="25" y="397"/>
                    <a:pt x="28" y="397"/>
                  </a:cubicBezTo>
                  <a:cubicBezTo>
                    <a:pt x="32" y="397"/>
                    <a:pt x="37" y="398"/>
                    <a:pt x="41" y="399"/>
                  </a:cubicBezTo>
                  <a:cubicBezTo>
                    <a:pt x="42" y="400"/>
                    <a:pt x="42" y="400"/>
                    <a:pt x="43" y="401"/>
                  </a:cubicBezTo>
                  <a:cubicBezTo>
                    <a:pt x="43" y="404"/>
                    <a:pt x="44" y="407"/>
                    <a:pt x="46" y="409"/>
                  </a:cubicBezTo>
                  <a:cubicBezTo>
                    <a:pt x="46" y="410"/>
                    <a:pt x="46" y="411"/>
                    <a:pt x="45" y="411"/>
                  </a:cubicBezTo>
                  <a:cubicBezTo>
                    <a:pt x="43" y="417"/>
                    <a:pt x="36" y="422"/>
                    <a:pt x="30" y="426"/>
                  </a:cubicBezTo>
                  <a:cubicBezTo>
                    <a:pt x="23" y="430"/>
                    <a:pt x="25" y="433"/>
                    <a:pt x="26"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0"/>
                  </a:cubicBezTo>
                  <a:cubicBezTo>
                    <a:pt x="59" y="441"/>
                    <a:pt x="59" y="441"/>
                    <a:pt x="60" y="442"/>
                  </a:cubicBezTo>
                  <a:cubicBezTo>
                    <a:pt x="61" y="444"/>
                    <a:pt x="63" y="447"/>
                    <a:pt x="64" y="450"/>
                  </a:cubicBezTo>
                  <a:cubicBezTo>
                    <a:pt x="65" y="450"/>
                    <a:pt x="65" y="451"/>
                    <a:pt x="64" y="452"/>
                  </a:cubicBezTo>
                  <a:cubicBezTo>
                    <a:pt x="63" y="457"/>
                    <a:pt x="57" y="464"/>
                    <a:pt x="52" y="468"/>
                  </a:cubicBezTo>
                  <a:cubicBezTo>
                    <a:pt x="46" y="474"/>
                    <a:pt x="47" y="476"/>
                    <a:pt x="50" y="480"/>
                  </a:cubicBezTo>
                  <a:cubicBezTo>
                    <a:pt x="50" y="481"/>
                    <a:pt x="50" y="481"/>
                    <a:pt x="50" y="481"/>
                  </a:cubicBezTo>
                  <a:cubicBezTo>
                    <a:pt x="52" y="483"/>
                    <a:pt x="53" y="485"/>
                    <a:pt x="56" y="485"/>
                  </a:cubicBezTo>
                  <a:cubicBezTo>
                    <a:pt x="57" y="485"/>
                    <a:pt x="59" y="484"/>
                    <a:pt x="61" y="483"/>
                  </a:cubicBezTo>
                  <a:cubicBezTo>
                    <a:pt x="68" y="480"/>
                    <a:pt x="75" y="478"/>
                    <a:pt x="80" y="478"/>
                  </a:cubicBezTo>
                  <a:cubicBezTo>
                    <a:pt x="81" y="478"/>
                    <a:pt x="81" y="478"/>
                    <a:pt x="82" y="478"/>
                  </a:cubicBezTo>
                  <a:cubicBezTo>
                    <a:pt x="82" y="478"/>
                    <a:pt x="83" y="479"/>
                    <a:pt x="83" y="479"/>
                  </a:cubicBezTo>
                  <a:cubicBezTo>
                    <a:pt x="85" y="481"/>
                    <a:pt x="86" y="483"/>
                    <a:pt x="88" y="485"/>
                  </a:cubicBezTo>
                  <a:cubicBezTo>
                    <a:pt x="89" y="487"/>
                    <a:pt x="89" y="487"/>
                    <a:pt x="89" y="487"/>
                  </a:cubicBezTo>
                  <a:cubicBezTo>
                    <a:pt x="90" y="487"/>
                    <a:pt x="90" y="488"/>
                    <a:pt x="90" y="489"/>
                  </a:cubicBezTo>
                  <a:cubicBezTo>
                    <a:pt x="89" y="494"/>
                    <a:pt x="84" y="502"/>
                    <a:pt x="80" y="507"/>
                  </a:cubicBezTo>
                  <a:cubicBezTo>
                    <a:pt x="74" y="513"/>
                    <a:pt x="77" y="515"/>
                    <a:pt x="79" y="518"/>
                  </a:cubicBezTo>
                  <a:cubicBezTo>
                    <a:pt x="80" y="519"/>
                    <a:pt x="80" y="519"/>
                    <a:pt x="80" y="519"/>
                  </a:cubicBezTo>
                  <a:cubicBezTo>
                    <a:pt x="82" y="521"/>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0"/>
                    <a:pt x="120" y="521"/>
                  </a:cubicBezTo>
                  <a:cubicBezTo>
                    <a:pt x="120" y="527"/>
                    <a:pt x="117" y="535"/>
                    <a:pt x="113" y="541"/>
                  </a:cubicBezTo>
                  <a:cubicBezTo>
                    <a:pt x="109" y="548"/>
                    <a:pt x="111" y="550"/>
                    <a:pt x="115" y="552"/>
                  </a:cubicBezTo>
                  <a:cubicBezTo>
                    <a:pt x="116" y="553"/>
                    <a:pt x="116" y="553"/>
                    <a:pt x="116" y="553"/>
                  </a:cubicBezTo>
                  <a:cubicBezTo>
                    <a:pt x="117" y="554"/>
                    <a:pt x="119" y="556"/>
                    <a:pt x="121" y="556"/>
                  </a:cubicBezTo>
                  <a:cubicBezTo>
                    <a:pt x="122" y="556"/>
                    <a:pt x="124" y="554"/>
                    <a:pt x="127" y="552"/>
                  </a:cubicBezTo>
                  <a:cubicBezTo>
                    <a:pt x="132" y="547"/>
                    <a:pt x="139" y="542"/>
                    <a:pt x="145" y="541"/>
                  </a:cubicBezTo>
                  <a:cubicBezTo>
                    <a:pt x="145" y="541"/>
                    <a:pt x="145" y="541"/>
                    <a:pt x="145" y="541"/>
                  </a:cubicBezTo>
                  <a:cubicBezTo>
                    <a:pt x="146" y="541"/>
                    <a:pt x="146" y="541"/>
                    <a:pt x="147" y="542"/>
                  </a:cubicBezTo>
                  <a:cubicBezTo>
                    <a:pt x="149" y="543"/>
                    <a:pt x="152" y="545"/>
                    <a:pt x="154" y="547"/>
                  </a:cubicBezTo>
                  <a:cubicBezTo>
                    <a:pt x="155" y="547"/>
                    <a:pt x="155" y="548"/>
                    <a:pt x="155" y="549"/>
                  </a:cubicBezTo>
                  <a:cubicBezTo>
                    <a:pt x="156" y="554"/>
                    <a:pt x="154" y="563"/>
                    <a:pt x="152" y="569"/>
                  </a:cubicBezTo>
                  <a:cubicBezTo>
                    <a:pt x="149" y="576"/>
                    <a:pt x="151" y="578"/>
                    <a:pt x="155" y="580"/>
                  </a:cubicBezTo>
                  <a:cubicBezTo>
                    <a:pt x="156" y="581"/>
                    <a:pt x="156" y="581"/>
                    <a:pt x="156" y="581"/>
                  </a:cubicBezTo>
                  <a:cubicBezTo>
                    <a:pt x="157" y="581"/>
                    <a:pt x="159" y="582"/>
                    <a:pt x="161" y="582"/>
                  </a:cubicBezTo>
                  <a:cubicBezTo>
                    <a:pt x="162" y="582"/>
                    <a:pt x="165" y="581"/>
                    <a:pt x="167" y="578"/>
                  </a:cubicBezTo>
                  <a:cubicBezTo>
                    <a:pt x="171" y="573"/>
                    <a:pt x="178" y="566"/>
                    <a:pt x="183" y="564"/>
                  </a:cubicBezTo>
                  <a:cubicBezTo>
                    <a:pt x="183" y="564"/>
                    <a:pt x="183" y="564"/>
                    <a:pt x="184" y="564"/>
                  </a:cubicBezTo>
                  <a:cubicBezTo>
                    <a:pt x="184" y="564"/>
                    <a:pt x="185" y="564"/>
                    <a:pt x="185" y="564"/>
                  </a:cubicBezTo>
                  <a:cubicBezTo>
                    <a:pt x="186" y="565"/>
                    <a:pt x="186" y="565"/>
                    <a:pt x="186" y="565"/>
                  </a:cubicBezTo>
                  <a:cubicBezTo>
                    <a:pt x="188" y="566"/>
                    <a:pt x="191" y="567"/>
                    <a:pt x="193" y="569"/>
                  </a:cubicBezTo>
                  <a:cubicBezTo>
                    <a:pt x="194" y="569"/>
                    <a:pt x="194" y="569"/>
                    <a:pt x="195" y="570"/>
                  </a:cubicBezTo>
                  <a:cubicBezTo>
                    <a:pt x="196" y="575"/>
                    <a:pt x="195" y="584"/>
                    <a:pt x="194" y="591"/>
                  </a:cubicBezTo>
                  <a:cubicBezTo>
                    <a:pt x="192" y="599"/>
                    <a:pt x="195" y="600"/>
                    <a:pt x="199" y="601"/>
                  </a:cubicBezTo>
                  <a:cubicBezTo>
                    <a:pt x="200" y="602"/>
                    <a:pt x="200" y="602"/>
                    <a:pt x="200" y="602"/>
                  </a:cubicBezTo>
                  <a:cubicBezTo>
                    <a:pt x="201" y="602"/>
                    <a:pt x="203" y="603"/>
                    <a:pt x="204" y="603"/>
                  </a:cubicBezTo>
                  <a:cubicBezTo>
                    <a:pt x="205" y="603"/>
                    <a:pt x="208" y="603"/>
                    <a:pt x="211" y="597"/>
                  </a:cubicBezTo>
                  <a:cubicBezTo>
                    <a:pt x="214" y="591"/>
                    <a:pt x="219" y="584"/>
                    <a:pt x="224" y="581"/>
                  </a:cubicBezTo>
                  <a:cubicBezTo>
                    <a:pt x="224" y="581"/>
                    <a:pt x="225" y="581"/>
                    <a:pt x="225" y="581"/>
                  </a:cubicBezTo>
                  <a:cubicBezTo>
                    <a:pt x="226" y="581"/>
                    <a:pt x="226" y="581"/>
                    <a:pt x="226" y="581"/>
                  </a:cubicBezTo>
                  <a:cubicBezTo>
                    <a:pt x="229" y="582"/>
                    <a:pt x="232" y="583"/>
                    <a:pt x="235" y="584"/>
                  </a:cubicBezTo>
                  <a:cubicBezTo>
                    <a:pt x="236" y="584"/>
                    <a:pt x="236" y="584"/>
                    <a:pt x="237" y="585"/>
                  </a:cubicBezTo>
                  <a:cubicBezTo>
                    <a:pt x="239" y="590"/>
                    <a:pt x="240" y="599"/>
                    <a:pt x="239" y="606"/>
                  </a:cubicBezTo>
                  <a:cubicBezTo>
                    <a:pt x="239" y="614"/>
                    <a:pt x="242" y="614"/>
                    <a:pt x="246" y="615"/>
                  </a:cubicBezTo>
                  <a:cubicBezTo>
                    <a:pt x="247" y="615"/>
                    <a:pt x="247" y="615"/>
                    <a:pt x="247" y="615"/>
                  </a:cubicBezTo>
                  <a:cubicBezTo>
                    <a:pt x="248" y="616"/>
                    <a:pt x="249" y="616"/>
                    <a:pt x="250" y="616"/>
                  </a:cubicBezTo>
                  <a:cubicBezTo>
                    <a:pt x="252" y="616"/>
                    <a:pt x="254" y="616"/>
                    <a:pt x="257" y="609"/>
                  </a:cubicBezTo>
                  <a:cubicBezTo>
                    <a:pt x="259" y="603"/>
                    <a:pt x="263" y="595"/>
                    <a:pt x="268" y="592"/>
                  </a:cubicBezTo>
                  <a:cubicBezTo>
                    <a:pt x="268" y="591"/>
                    <a:pt x="269" y="591"/>
                    <a:pt x="269" y="591"/>
                  </a:cubicBezTo>
                  <a:cubicBezTo>
                    <a:pt x="269" y="591"/>
                    <a:pt x="269" y="591"/>
                    <a:pt x="269" y="591"/>
                  </a:cubicBezTo>
                  <a:cubicBezTo>
                    <a:pt x="273" y="592"/>
                    <a:pt x="276" y="592"/>
                    <a:pt x="279" y="592"/>
                  </a:cubicBezTo>
                  <a:cubicBezTo>
                    <a:pt x="279" y="592"/>
                    <a:pt x="280" y="593"/>
                    <a:pt x="280" y="593"/>
                  </a:cubicBezTo>
                  <a:cubicBezTo>
                    <a:pt x="284" y="598"/>
                    <a:pt x="286" y="607"/>
                    <a:pt x="286" y="613"/>
                  </a:cubicBezTo>
                  <a:cubicBezTo>
                    <a:pt x="287" y="621"/>
                    <a:pt x="290" y="621"/>
                    <a:pt x="294" y="622"/>
                  </a:cubicBezTo>
                  <a:cubicBezTo>
                    <a:pt x="295" y="622"/>
                    <a:pt x="295" y="622"/>
                    <a:pt x="295" y="622"/>
                  </a:cubicBezTo>
                  <a:cubicBezTo>
                    <a:pt x="296" y="622"/>
                    <a:pt x="297" y="622"/>
                    <a:pt x="297" y="622"/>
                  </a:cubicBezTo>
                  <a:cubicBezTo>
                    <a:pt x="299"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4" y="594"/>
                    <a:pt x="325" y="595"/>
                  </a:cubicBezTo>
                  <a:cubicBezTo>
                    <a:pt x="329" y="599"/>
                    <a:pt x="332" y="607"/>
                    <a:pt x="334" y="613"/>
                  </a:cubicBezTo>
                  <a:cubicBezTo>
                    <a:pt x="336" y="621"/>
                    <a:pt x="339" y="621"/>
                    <a:pt x="340" y="621"/>
                  </a:cubicBezTo>
                  <a:cubicBezTo>
                    <a:pt x="341" y="621"/>
                    <a:pt x="342" y="621"/>
                    <a:pt x="343" y="620"/>
                  </a:cubicBezTo>
                  <a:cubicBezTo>
                    <a:pt x="344" y="620"/>
                    <a:pt x="344" y="620"/>
                    <a:pt x="344" y="620"/>
                  </a:cubicBezTo>
                  <a:cubicBezTo>
                    <a:pt x="348" y="620"/>
                    <a:pt x="351" y="620"/>
                    <a:pt x="352" y="612"/>
                  </a:cubicBezTo>
                  <a:cubicBezTo>
                    <a:pt x="352" y="605"/>
                    <a:pt x="353" y="596"/>
                    <a:pt x="357" y="591"/>
                  </a:cubicBezTo>
                  <a:cubicBezTo>
                    <a:pt x="357" y="591"/>
                    <a:pt x="358" y="590"/>
                    <a:pt x="358" y="590"/>
                  </a:cubicBezTo>
                  <a:cubicBezTo>
                    <a:pt x="360" y="590"/>
                    <a:pt x="360" y="590"/>
                    <a:pt x="360" y="590"/>
                  </a:cubicBezTo>
                  <a:cubicBezTo>
                    <a:pt x="362" y="590"/>
                    <a:pt x="365" y="589"/>
                    <a:pt x="367" y="589"/>
                  </a:cubicBezTo>
                  <a:cubicBezTo>
                    <a:pt x="367" y="589"/>
                    <a:pt x="368" y="589"/>
                    <a:pt x="368" y="589"/>
                  </a:cubicBezTo>
                  <a:cubicBezTo>
                    <a:pt x="368" y="589"/>
                    <a:pt x="369" y="589"/>
                    <a:pt x="369" y="589"/>
                  </a:cubicBezTo>
                  <a:cubicBezTo>
                    <a:pt x="374" y="592"/>
                    <a:pt x="378" y="600"/>
                    <a:pt x="381" y="606"/>
                  </a:cubicBezTo>
                  <a:cubicBezTo>
                    <a:pt x="384" y="612"/>
                    <a:pt x="386" y="612"/>
                    <a:pt x="387" y="612"/>
                  </a:cubicBezTo>
                  <a:cubicBezTo>
                    <a:pt x="389" y="612"/>
                    <a:pt x="390" y="612"/>
                    <a:pt x="391" y="612"/>
                  </a:cubicBezTo>
                  <a:cubicBezTo>
                    <a:pt x="392" y="611"/>
                    <a:pt x="392" y="611"/>
                    <a:pt x="392" y="611"/>
                  </a:cubicBezTo>
                  <a:cubicBezTo>
                    <a:pt x="396" y="610"/>
                    <a:pt x="399" y="610"/>
                    <a:pt x="398" y="602"/>
                  </a:cubicBezTo>
                  <a:cubicBezTo>
                    <a:pt x="397" y="595"/>
                    <a:pt x="398" y="586"/>
                    <a:pt x="400" y="581"/>
                  </a:cubicBezTo>
                  <a:cubicBezTo>
                    <a:pt x="400" y="580"/>
                    <a:pt x="401" y="580"/>
                    <a:pt x="401" y="579"/>
                  </a:cubicBezTo>
                  <a:cubicBezTo>
                    <a:pt x="404" y="579"/>
                    <a:pt x="407" y="578"/>
                    <a:pt x="410" y="576"/>
                  </a:cubicBezTo>
                  <a:cubicBezTo>
                    <a:pt x="410" y="576"/>
                    <a:pt x="411" y="576"/>
                    <a:pt x="411" y="576"/>
                  </a:cubicBezTo>
                  <a:cubicBezTo>
                    <a:pt x="411" y="576"/>
                    <a:pt x="412" y="576"/>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3"/>
                    <a:pt x="445" y="592"/>
                    <a:pt x="443" y="584"/>
                  </a:cubicBezTo>
                  <a:cubicBezTo>
                    <a:pt x="441" y="578"/>
                    <a:pt x="440" y="569"/>
                    <a:pt x="441" y="564"/>
                  </a:cubicBezTo>
                  <a:cubicBezTo>
                    <a:pt x="441" y="563"/>
                    <a:pt x="442" y="563"/>
                    <a:pt x="442" y="562"/>
                  </a:cubicBezTo>
                  <a:cubicBezTo>
                    <a:pt x="445" y="561"/>
                    <a:pt x="448" y="559"/>
                    <a:pt x="450" y="558"/>
                  </a:cubicBezTo>
                  <a:cubicBezTo>
                    <a:pt x="451" y="558"/>
                    <a:pt x="451" y="557"/>
                    <a:pt x="452" y="557"/>
                  </a:cubicBezTo>
                  <a:cubicBezTo>
                    <a:pt x="452" y="557"/>
                    <a:pt x="452" y="557"/>
                    <a:pt x="452" y="558"/>
                  </a:cubicBezTo>
                  <a:cubicBezTo>
                    <a:pt x="458" y="559"/>
                    <a:pt x="464" y="565"/>
                    <a:pt x="469" y="570"/>
                  </a:cubicBezTo>
                  <a:cubicBezTo>
                    <a:pt x="471" y="573"/>
                    <a:pt x="474" y="574"/>
                    <a:pt x="475" y="574"/>
                  </a:cubicBezTo>
                  <a:cubicBezTo>
                    <a:pt x="477" y="574"/>
                    <a:pt x="479" y="573"/>
                    <a:pt x="480" y="572"/>
                  </a:cubicBezTo>
                  <a:cubicBezTo>
                    <a:pt x="481" y="572"/>
                    <a:pt x="481" y="572"/>
                    <a:pt x="481" y="572"/>
                  </a:cubicBezTo>
                  <a:cubicBezTo>
                    <a:pt x="485" y="570"/>
                    <a:pt x="487" y="568"/>
                    <a:pt x="484" y="561"/>
                  </a:cubicBezTo>
                  <a:cubicBezTo>
                    <a:pt x="481" y="554"/>
                    <a:pt x="478" y="546"/>
                    <a:pt x="479" y="540"/>
                  </a:cubicBezTo>
                  <a:cubicBezTo>
                    <a:pt x="479" y="540"/>
                    <a:pt x="479" y="539"/>
                    <a:pt x="480" y="539"/>
                  </a:cubicBezTo>
                  <a:cubicBezTo>
                    <a:pt x="482" y="537"/>
                    <a:pt x="485" y="535"/>
                    <a:pt x="487" y="533"/>
                  </a:cubicBezTo>
                  <a:cubicBezTo>
                    <a:pt x="487" y="533"/>
                    <a:pt x="487" y="533"/>
                    <a:pt x="487" y="533"/>
                  </a:cubicBezTo>
                  <a:cubicBezTo>
                    <a:pt x="488" y="533"/>
                    <a:pt x="488" y="532"/>
                    <a:pt x="489" y="532"/>
                  </a:cubicBezTo>
                  <a:cubicBezTo>
                    <a:pt x="489" y="532"/>
                    <a:pt x="489" y="532"/>
                    <a:pt x="489" y="532"/>
                  </a:cubicBezTo>
                  <a:cubicBezTo>
                    <a:pt x="495" y="533"/>
                    <a:pt x="502" y="538"/>
                    <a:pt x="508" y="542"/>
                  </a:cubicBezTo>
                  <a:cubicBezTo>
                    <a:pt x="510" y="544"/>
                    <a:pt x="512" y="546"/>
                    <a:pt x="514" y="546"/>
                  </a:cubicBezTo>
                  <a:cubicBezTo>
                    <a:pt x="516" y="546"/>
                    <a:pt x="517" y="544"/>
                    <a:pt x="519" y="543"/>
                  </a:cubicBezTo>
                  <a:cubicBezTo>
                    <a:pt x="520" y="542"/>
                    <a:pt x="520" y="542"/>
                    <a:pt x="520" y="542"/>
                  </a:cubicBezTo>
                  <a:cubicBezTo>
                    <a:pt x="523" y="539"/>
                    <a:pt x="525" y="537"/>
                    <a:pt x="521" y="530"/>
                  </a:cubicBezTo>
                  <a:cubicBezTo>
                    <a:pt x="517" y="525"/>
                    <a:pt x="513" y="517"/>
                    <a:pt x="513" y="511"/>
                  </a:cubicBezTo>
                  <a:cubicBezTo>
                    <a:pt x="513" y="511"/>
                    <a:pt x="513" y="510"/>
                    <a:pt x="514" y="509"/>
                  </a:cubicBezTo>
                  <a:cubicBezTo>
                    <a:pt x="516" y="507"/>
                    <a:pt x="518" y="505"/>
                    <a:pt x="520" y="503"/>
                  </a:cubicBezTo>
                  <a:cubicBezTo>
                    <a:pt x="520" y="502"/>
                    <a:pt x="521" y="502"/>
                    <a:pt x="522" y="502"/>
                  </a:cubicBezTo>
                  <a:cubicBezTo>
                    <a:pt x="527" y="502"/>
                    <a:pt x="536" y="505"/>
                    <a:pt x="541" y="509"/>
                  </a:cubicBezTo>
                  <a:cubicBezTo>
                    <a:pt x="544" y="510"/>
                    <a:pt x="546" y="511"/>
                    <a:pt x="548" y="511"/>
                  </a:cubicBezTo>
                  <a:cubicBezTo>
                    <a:pt x="550" y="511"/>
                    <a:pt x="551" y="510"/>
                    <a:pt x="553" y="507"/>
                  </a:cubicBezTo>
                  <a:cubicBezTo>
                    <a:pt x="554" y="506"/>
                    <a:pt x="554" y="506"/>
                    <a:pt x="554" y="506"/>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8" y="467"/>
                    <a:pt x="549" y="467"/>
                  </a:cubicBezTo>
                  <a:cubicBezTo>
                    <a:pt x="550" y="466"/>
                    <a:pt x="551" y="466"/>
                    <a:pt x="552" y="466"/>
                  </a:cubicBezTo>
                  <a:cubicBezTo>
                    <a:pt x="557" y="466"/>
                    <a:pt x="563" y="468"/>
                    <a:pt x="569"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4"/>
                    <a:pt x="565" y="439"/>
                  </a:cubicBezTo>
                  <a:cubicBezTo>
                    <a:pt x="565" y="438"/>
                    <a:pt x="565" y="438"/>
                    <a:pt x="565" y="437"/>
                  </a:cubicBezTo>
                  <a:cubicBezTo>
                    <a:pt x="566" y="435"/>
                    <a:pt x="568" y="432"/>
                    <a:pt x="569" y="429"/>
                  </a:cubicBezTo>
                  <a:cubicBezTo>
                    <a:pt x="569" y="428"/>
                    <a:pt x="570" y="428"/>
                    <a:pt x="571" y="427"/>
                  </a:cubicBezTo>
                  <a:cubicBezTo>
                    <a:pt x="573" y="427"/>
                    <a:pt x="575" y="426"/>
                    <a:pt x="578" y="426"/>
                  </a:cubicBezTo>
                  <a:cubicBezTo>
                    <a:pt x="582" y="426"/>
                    <a:pt x="587" y="427"/>
                    <a:pt x="591" y="428"/>
                  </a:cubicBezTo>
                  <a:cubicBezTo>
                    <a:pt x="593" y="428"/>
                    <a:pt x="594" y="428"/>
                    <a:pt x="596" y="428"/>
                  </a:cubicBezTo>
                  <a:cubicBezTo>
                    <a:pt x="600" y="428"/>
                    <a:pt x="600" y="426"/>
                    <a:pt x="602" y="423"/>
                  </a:cubicBezTo>
                  <a:cubicBezTo>
                    <a:pt x="602" y="422"/>
                    <a:pt x="602" y="422"/>
                    <a:pt x="602" y="422"/>
                  </a:cubicBezTo>
                  <a:cubicBezTo>
                    <a:pt x="604" y="418"/>
                    <a:pt x="605" y="415"/>
                    <a:pt x="598" y="411"/>
                  </a:cubicBezTo>
                  <a:cubicBezTo>
                    <a:pt x="592" y="408"/>
                    <a:pt x="585" y="403"/>
                    <a:pt x="582" y="398"/>
                  </a:cubicBezTo>
                  <a:cubicBezTo>
                    <a:pt x="582" y="397"/>
                    <a:pt x="582" y="397"/>
                    <a:pt x="582" y="396"/>
                  </a:cubicBezTo>
                  <a:cubicBezTo>
                    <a:pt x="583" y="393"/>
                    <a:pt x="584" y="390"/>
                    <a:pt x="584" y="387"/>
                  </a:cubicBezTo>
                  <a:cubicBezTo>
                    <a:pt x="585" y="386"/>
                    <a:pt x="585" y="386"/>
                    <a:pt x="586" y="385"/>
                  </a:cubicBezTo>
                  <a:cubicBezTo>
                    <a:pt x="591" y="383"/>
                    <a:pt x="599" y="383"/>
                    <a:pt x="603" y="383"/>
                  </a:cubicBezTo>
                  <a:cubicBezTo>
                    <a:pt x="604" y="383"/>
                    <a:pt x="605" y="383"/>
                    <a:pt x="606" y="383"/>
                  </a:cubicBezTo>
                  <a:cubicBezTo>
                    <a:pt x="607" y="383"/>
                    <a:pt x="608" y="383"/>
                    <a:pt x="608" y="383"/>
                  </a:cubicBezTo>
                  <a:cubicBezTo>
                    <a:pt x="614" y="383"/>
                    <a:pt x="615" y="380"/>
                    <a:pt x="616" y="376"/>
                  </a:cubicBezTo>
                  <a:cubicBezTo>
                    <a:pt x="616" y="375"/>
                    <a:pt x="616" y="375"/>
                    <a:pt x="616" y="375"/>
                  </a:cubicBezTo>
                  <a:cubicBezTo>
                    <a:pt x="617" y="371"/>
                    <a:pt x="618" y="368"/>
                    <a:pt x="610" y="365"/>
                  </a:cubicBezTo>
                  <a:cubicBezTo>
                    <a:pt x="604" y="363"/>
                    <a:pt x="596" y="359"/>
                    <a:pt x="592" y="354"/>
                  </a:cubicBezTo>
                  <a:cubicBezTo>
                    <a:pt x="592" y="354"/>
                    <a:pt x="592" y="353"/>
                    <a:pt x="592" y="353"/>
                  </a:cubicBezTo>
                  <a:cubicBezTo>
                    <a:pt x="592" y="349"/>
                    <a:pt x="593" y="346"/>
                    <a:pt x="593" y="343"/>
                  </a:cubicBezTo>
                  <a:cubicBezTo>
                    <a:pt x="593" y="343"/>
                    <a:pt x="593" y="342"/>
                    <a:pt x="594" y="342"/>
                  </a:cubicBezTo>
                  <a:cubicBezTo>
                    <a:pt x="599" y="338"/>
                    <a:pt x="607" y="336"/>
                    <a:pt x="614" y="336"/>
                  </a:cubicBezTo>
                  <a:cubicBezTo>
                    <a:pt x="622" y="335"/>
                    <a:pt x="622" y="332"/>
                    <a:pt x="622" y="328"/>
                  </a:cubicBezTo>
                  <a:cubicBezTo>
                    <a:pt x="622" y="327"/>
                    <a:pt x="622" y="327"/>
                    <a:pt x="622" y="327"/>
                  </a:cubicBezTo>
                  <a:cubicBezTo>
                    <a:pt x="623" y="323"/>
                    <a:pt x="623" y="319"/>
                    <a:pt x="615" y="318"/>
                  </a:cubicBezTo>
                  <a:cubicBezTo>
                    <a:pt x="608" y="317"/>
                    <a:pt x="600" y="314"/>
                    <a:pt x="596" y="310"/>
                  </a:cubicBezTo>
                  <a:cubicBezTo>
                    <a:pt x="595" y="309"/>
                    <a:pt x="595" y="309"/>
                    <a:pt x="595" y="308"/>
                  </a:cubicBezTo>
                  <a:cubicBezTo>
                    <a:pt x="595" y="305"/>
                    <a:pt x="595" y="303"/>
                    <a:pt x="595" y="300"/>
                  </a:cubicBezTo>
                  <a:cubicBezTo>
                    <a:pt x="595" y="299"/>
                    <a:pt x="595" y="299"/>
                    <a:pt x="595" y="299"/>
                  </a:cubicBezTo>
                  <a:cubicBezTo>
                    <a:pt x="595" y="298"/>
                    <a:pt x="595" y="298"/>
                    <a:pt x="595" y="297"/>
                  </a:cubicBezTo>
                  <a:cubicBezTo>
                    <a:pt x="599" y="293"/>
                    <a:pt x="608" y="290"/>
                    <a:pt x="614" y="288"/>
                  </a:cubicBezTo>
                  <a:cubicBezTo>
                    <a:pt x="622" y="286"/>
                    <a:pt x="622" y="283"/>
                    <a:pt x="621" y="279"/>
                  </a:cubicBezTo>
                  <a:cubicBezTo>
                    <a:pt x="621" y="278"/>
                    <a:pt x="621" y="278"/>
                    <a:pt x="621" y="278"/>
                  </a:cubicBezTo>
                  <a:cubicBezTo>
                    <a:pt x="621" y="274"/>
                    <a:pt x="620" y="271"/>
                    <a:pt x="612" y="270"/>
                  </a:cubicBezTo>
                  <a:cubicBezTo>
                    <a:pt x="605" y="270"/>
                    <a:pt x="597" y="269"/>
                    <a:pt x="592" y="265"/>
                  </a:cubicBezTo>
                  <a:cubicBezTo>
                    <a:pt x="591" y="265"/>
                    <a:pt x="591" y="264"/>
                    <a:pt x="591" y="264"/>
                  </a:cubicBezTo>
                  <a:cubicBezTo>
                    <a:pt x="591" y="263"/>
                    <a:pt x="591" y="263"/>
                    <a:pt x="591" y="263"/>
                  </a:cubicBezTo>
                  <a:cubicBezTo>
                    <a:pt x="590" y="260"/>
                    <a:pt x="590" y="257"/>
                    <a:pt x="589" y="255"/>
                  </a:cubicBezTo>
                  <a:cubicBezTo>
                    <a:pt x="589" y="254"/>
                    <a:pt x="589" y="253"/>
                    <a:pt x="590" y="253"/>
                  </a:cubicBezTo>
                  <a:cubicBezTo>
                    <a:pt x="593" y="248"/>
                    <a:pt x="601" y="244"/>
                    <a:pt x="607" y="241"/>
                  </a:cubicBezTo>
                  <a:cubicBezTo>
                    <a:pt x="614" y="238"/>
                    <a:pt x="613" y="235"/>
                    <a:pt x="612" y="231"/>
                  </a:cubicBezTo>
                  <a:cubicBezTo>
                    <a:pt x="612" y="230"/>
                    <a:pt x="612" y="230"/>
                    <a:pt x="612" y="230"/>
                  </a:cubicBezTo>
                  <a:cubicBezTo>
                    <a:pt x="611" y="226"/>
                    <a:pt x="610" y="224"/>
                    <a:pt x="605" y="224"/>
                  </a:cubicBezTo>
                  <a:cubicBezTo>
                    <a:pt x="604" y="224"/>
                    <a:pt x="603" y="224"/>
                    <a:pt x="602" y="224"/>
                  </a:cubicBezTo>
                  <a:cubicBezTo>
                    <a:pt x="600" y="224"/>
                    <a:pt x="597" y="224"/>
                    <a:pt x="595" y="224"/>
                  </a:cubicBezTo>
                  <a:cubicBezTo>
                    <a:pt x="591" y="224"/>
                    <a:pt x="585" y="224"/>
                    <a:pt x="581" y="222"/>
                  </a:cubicBezTo>
                  <a:cubicBezTo>
                    <a:pt x="581" y="222"/>
                    <a:pt x="580" y="221"/>
                    <a:pt x="580" y="221"/>
                  </a:cubicBezTo>
                  <a:cubicBezTo>
                    <a:pt x="579" y="218"/>
                    <a:pt x="578" y="215"/>
                    <a:pt x="577" y="212"/>
                  </a:cubicBezTo>
                  <a:cubicBezTo>
                    <a:pt x="577" y="211"/>
                    <a:pt x="577" y="211"/>
                    <a:pt x="577" y="210"/>
                  </a:cubicBezTo>
                  <a:cubicBezTo>
                    <a:pt x="580" y="205"/>
                    <a:pt x="587" y="199"/>
                    <a:pt x="592" y="196"/>
                  </a:cubicBezTo>
                  <a:cubicBezTo>
                    <a:pt x="599" y="191"/>
                    <a:pt x="598" y="188"/>
                    <a:pt x="596" y="185"/>
                  </a:cubicBezTo>
                  <a:cubicBezTo>
                    <a:pt x="596" y="184"/>
                    <a:pt x="596" y="184"/>
                    <a:pt x="596" y="184"/>
                  </a:cubicBezTo>
                  <a:cubicBezTo>
                    <a:pt x="594" y="181"/>
                    <a:pt x="593" y="179"/>
                    <a:pt x="590" y="179"/>
                  </a:cubicBezTo>
                  <a:cubicBezTo>
                    <a:pt x="588" y="179"/>
                    <a:pt x="587" y="179"/>
                    <a:pt x="585" y="179"/>
                  </a:cubicBezTo>
                  <a:cubicBezTo>
                    <a:pt x="580" y="181"/>
                    <a:pt x="574" y="182"/>
                    <a:pt x="570" y="182"/>
                  </a:cubicBezTo>
                  <a:cubicBezTo>
                    <a:pt x="568" y="182"/>
                    <a:pt x="566" y="181"/>
                    <a:pt x="564" y="181"/>
                  </a:cubicBezTo>
                  <a:cubicBezTo>
                    <a:pt x="564" y="181"/>
                    <a:pt x="563" y="180"/>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69"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3"/>
                    <a:pt x="533" y="133"/>
                  </a:cubicBezTo>
                  <a:cubicBezTo>
                    <a:pt x="534" y="127"/>
                    <a:pt x="539" y="120"/>
                    <a:pt x="543" y="114"/>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8"/>
                  </a:cubicBezTo>
                  <a:cubicBezTo>
                    <a:pt x="508" y="106"/>
                    <a:pt x="506" y="104"/>
                    <a:pt x="503" y="102"/>
                  </a:cubicBezTo>
                  <a:cubicBezTo>
                    <a:pt x="503" y="102"/>
                    <a:pt x="502" y="101"/>
                    <a:pt x="502" y="100"/>
                  </a:cubicBezTo>
                  <a:cubicBezTo>
                    <a:pt x="502" y="95"/>
                    <a:pt x="506" y="86"/>
                    <a:pt x="509" y="81"/>
                  </a:cubicBezTo>
                  <a:cubicBezTo>
                    <a:pt x="514" y="74"/>
                    <a:pt x="511" y="72"/>
                    <a:pt x="508" y="69"/>
                  </a:cubicBezTo>
                  <a:cubicBezTo>
                    <a:pt x="507" y="68"/>
                    <a:pt x="507" y="68"/>
                    <a:pt x="507" y="68"/>
                  </a:cubicBezTo>
                  <a:cubicBezTo>
                    <a:pt x="505" y="67"/>
                    <a:pt x="504" y="66"/>
                    <a:pt x="502" y="66"/>
                  </a:cubicBezTo>
                  <a:cubicBezTo>
                    <a:pt x="500" y="66"/>
                    <a:pt x="498" y="67"/>
                    <a:pt x="496" y="69"/>
                  </a:cubicBezTo>
                  <a:cubicBezTo>
                    <a:pt x="491" y="74"/>
                    <a:pt x="483" y="79"/>
                    <a:pt x="478" y="80"/>
                  </a:cubicBezTo>
                  <a:cubicBezTo>
                    <a:pt x="478" y="80"/>
                    <a:pt x="477" y="80"/>
                    <a:pt x="477" y="80"/>
                  </a:cubicBezTo>
                  <a:cubicBezTo>
                    <a:pt x="477" y="80"/>
                    <a:pt x="476" y="80"/>
                    <a:pt x="476" y="80"/>
                  </a:cubicBezTo>
                  <a:cubicBezTo>
                    <a:pt x="473" y="78"/>
                    <a:pt x="471" y="76"/>
                    <a:pt x="468" y="75"/>
                  </a:cubicBezTo>
                  <a:cubicBezTo>
                    <a:pt x="468" y="74"/>
                    <a:pt x="467" y="74"/>
                    <a:pt x="467" y="73"/>
                  </a:cubicBezTo>
                  <a:cubicBezTo>
                    <a:pt x="466" y="67"/>
                    <a:pt x="469" y="59"/>
                    <a:pt x="471" y="53"/>
                  </a:cubicBezTo>
                  <a:cubicBezTo>
                    <a:pt x="474" y="45"/>
                    <a:pt x="471" y="43"/>
                    <a:pt x="468" y="41"/>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39" y="57"/>
                    <a:pt x="439" y="57"/>
                    <a:pt x="439" y="57"/>
                  </a:cubicBezTo>
                  <a:cubicBezTo>
                    <a:pt x="438"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0" y="23"/>
                    <a:pt x="427" y="22"/>
                    <a:pt x="424" y="20"/>
                  </a:cubicBezTo>
                  <a:cubicBezTo>
                    <a:pt x="422" y="20"/>
                    <a:pt x="422" y="20"/>
                    <a:pt x="422" y="20"/>
                  </a:cubicBezTo>
                  <a:cubicBezTo>
                    <a:pt x="421" y="19"/>
                    <a:pt x="420" y="19"/>
                    <a:pt x="418" y="19"/>
                  </a:cubicBezTo>
                  <a:cubicBezTo>
                    <a:pt x="418" y="19"/>
                    <a:pt x="415" y="19"/>
                    <a:pt x="412" y="24"/>
                  </a:cubicBezTo>
                  <a:cubicBezTo>
                    <a:pt x="409" y="30"/>
                    <a:pt x="403" y="37"/>
                    <a:pt x="399" y="40"/>
                  </a:cubicBezTo>
                  <a:cubicBezTo>
                    <a:pt x="398" y="40"/>
                    <a:pt x="398" y="40"/>
                    <a:pt x="397" y="40"/>
                  </a:cubicBezTo>
                  <a:cubicBezTo>
                    <a:pt x="397" y="40"/>
                    <a:pt x="397" y="40"/>
                    <a:pt x="396" y="40"/>
                  </a:cubicBezTo>
                  <a:cubicBezTo>
                    <a:pt x="394" y="39"/>
                    <a:pt x="391" y="38"/>
                    <a:pt x="388" y="38"/>
                  </a:cubicBezTo>
                  <a:cubicBezTo>
                    <a:pt x="387" y="37"/>
                    <a:pt x="386" y="37"/>
                    <a:pt x="386" y="36"/>
                  </a:cubicBezTo>
                  <a:cubicBezTo>
                    <a:pt x="383" y="31"/>
                    <a:pt x="383" y="22"/>
                    <a:pt x="383" y="16"/>
                  </a:cubicBezTo>
                  <a:cubicBezTo>
                    <a:pt x="384" y="8"/>
                    <a:pt x="381" y="7"/>
                    <a:pt x="377" y="6"/>
                  </a:cubicBezTo>
                  <a:cubicBezTo>
                    <a:pt x="376" y="6"/>
                    <a:pt x="376" y="6"/>
                    <a:pt x="376" y="6"/>
                  </a:cubicBezTo>
                  <a:cubicBezTo>
                    <a:pt x="375" y="6"/>
                    <a:pt x="373" y="5"/>
                    <a:pt x="372" y="5"/>
                  </a:cubicBezTo>
                  <a:cubicBezTo>
                    <a:pt x="371" y="5"/>
                    <a:pt x="368" y="5"/>
                    <a:pt x="366" y="12"/>
                  </a:cubicBezTo>
                  <a:cubicBezTo>
                    <a:pt x="364" y="18"/>
                    <a:pt x="359" y="26"/>
                    <a:pt x="355" y="30"/>
                  </a:cubicBezTo>
                  <a:cubicBezTo>
                    <a:pt x="355" y="30"/>
                    <a:pt x="354" y="30"/>
                    <a:pt x="353" y="30"/>
                  </a:cubicBezTo>
                  <a:cubicBezTo>
                    <a:pt x="353" y="30"/>
                    <a:pt x="353" y="30"/>
                    <a:pt x="353" y="30"/>
                  </a:cubicBezTo>
                  <a:cubicBezTo>
                    <a:pt x="350" y="30"/>
                    <a:pt x="347" y="29"/>
                    <a:pt x="344" y="29"/>
                  </a:cubicBezTo>
                  <a:cubicBezTo>
                    <a:pt x="343" y="29"/>
                    <a:pt x="343" y="29"/>
                    <a:pt x="342" y="28"/>
                  </a:cubicBezTo>
                  <a:cubicBezTo>
                    <a:pt x="339" y="23"/>
                    <a:pt x="337" y="15"/>
                    <a:pt x="336" y="8"/>
                  </a:cubicBezTo>
                  <a:cubicBezTo>
                    <a:pt x="336" y="0"/>
                    <a:pt x="333" y="0"/>
                    <a:pt x="329" y="0"/>
                  </a:cubicBezTo>
                  <a:cubicBezTo>
                    <a:pt x="327" y="0"/>
                    <a:pt x="327" y="0"/>
                    <a:pt x="327" y="0"/>
                  </a:cubicBezTo>
                  <a:cubicBezTo>
                    <a:pt x="327" y="0"/>
                    <a:pt x="326" y="0"/>
                    <a:pt x="3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8" name="Freeform 21337">
              <a:extLst>
                <a:ext uri="{FF2B5EF4-FFF2-40B4-BE49-F238E27FC236}">
                  <a16:creationId xmlns:a16="http://schemas.microsoft.com/office/drawing/2014/main" id="{9D0C89BD-EFA5-47C9-A677-6891C28B7942}"/>
                </a:ext>
              </a:extLst>
            </p:cNvPr>
            <p:cNvSpPr>
              <a:spLocks noEditPoints="1"/>
            </p:cNvSpPr>
            <p:nvPr userDrawn="1"/>
          </p:nvSpPr>
          <p:spPr bwMode="auto">
            <a:xfrm>
              <a:off x="11294428" y="3709353"/>
              <a:ext cx="95250" cy="96838"/>
            </a:xfrm>
            <a:custGeom>
              <a:avLst/>
              <a:gdLst>
                <a:gd name="T0" fmla="*/ 24 w 47"/>
                <a:gd name="T1" fmla="*/ 41 h 48"/>
                <a:gd name="T2" fmla="*/ 7 w 47"/>
                <a:gd name="T3" fmla="*/ 24 h 48"/>
                <a:gd name="T4" fmla="*/ 24 w 47"/>
                <a:gd name="T5" fmla="*/ 7 h 48"/>
                <a:gd name="T6" fmla="*/ 41 w 47"/>
                <a:gd name="T7" fmla="*/ 24 h 48"/>
                <a:gd name="T8" fmla="*/ 24 w 47"/>
                <a:gd name="T9" fmla="*/ 41 h 48"/>
                <a:gd name="T10" fmla="*/ 24 w 47"/>
                <a:gd name="T11" fmla="*/ 5 h 48"/>
                <a:gd name="T12" fmla="*/ 5 w 47"/>
                <a:gd name="T13" fmla="*/ 24 h 48"/>
                <a:gd name="T14" fmla="*/ 24 w 47"/>
                <a:gd name="T15" fmla="*/ 43 h 48"/>
                <a:gd name="T16" fmla="*/ 42 w 47"/>
                <a:gd name="T17" fmla="*/ 24 h 48"/>
                <a:gd name="T18" fmla="*/ 24 w 47"/>
                <a:gd name="T19" fmla="*/ 5 h 48"/>
                <a:gd name="T20" fmla="*/ 24 w 47"/>
                <a:gd name="T21" fmla="*/ 46 h 48"/>
                <a:gd name="T22" fmla="*/ 2 w 47"/>
                <a:gd name="T23" fmla="*/ 24 h 48"/>
                <a:gd name="T24" fmla="*/ 24 w 47"/>
                <a:gd name="T25" fmla="*/ 2 h 48"/>
                <a:gd name="T26" fmla="*/ 46 w 47"/>
                <a:gd name="T27" fmla="*/ 24 h 48"/>
                <a:gd name="T28" fmla="*/ 24 w 47"/>
                <a:gd name="T29" fmla="*/ 46 h 48"/>
                <a:gd name="T30" fmla="*/ 24 w 47"/>
                <a:gd name="T31" fmla="*/ 0 h 48"/>
                <a:gd name="T32" fmla="*/ 0 w 47"/>
                <a:gd name="T33" fmla="*/ 24 h 48"/>
                <a:gd name="T34" fmla="*/ 24 w 47"/>
                <a:gd name="T35" fmla="*/ 48 h 48"/>
                <a:gd name="T36" fmla="*/ 47 w 47"/>
                <a:gd name="T37" fmla="*/ 24 h 48"/>
                <a:gd name="T38" fmla="*/ 24 w 47"/>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8">
                  <a:moveTo>
                    <a:pt x="24" y="41"/>
                  </a:moveTo>
                  <a:cubicBezTo>
                    <a:pt x="14" y="41"/>
                    <a:pt x="7" y="34"/>
                    <a:pt x="7" y="24"/>
                  </a:cubicBezTo>
                  <a:cubicBezTo>
                    <a:pt x="7" y="14"/>
                    <a:pt x="14" y="7"/>
                    <a:pt x="24" y="7"/>
                  </a:cubicBezTo>
                  <a:cubicBezTo>
                    <a:pt x="33" y="7"/>
                    <a:pt x="41" y="14"/>
                    <a:pt x="41" y="24"/>
                  </a:cubicBezTo>
                  <a:cubicBezTo>
                    <a:pt x="41" y="34"/>
                    <a:pt x="33" y="41"/>
                    <a:pt x="24" y="41"/>
                  </a:cubicBezTo>
                  <a:moveTo>
                    <a:pt x="24" y="5"/>
                  </a:moveTo>
                  <a:cubicBezTo>
                    <a:pt x="13" y="5"/>
                    <a:pt x="5" y="14"/>
                    <a:pt x="5" y="24"/>
                  </a:cubicBezTo>
                  <a:cubicBezTo>
                    <a:pt x="5" y="35"/>
                    <a:pt x="13" y="43"/>
                    <a:pt x="24" y="43"/>
                  </a:cubicBezTo>
                  <a:cubicBezTo>
                    <a:pt x="34" y="43"/>
                    <a:pt x="42" y="35"/>
                    <a:pt x="42" y="24"/>
                  </a:cubicBezTo>
                  <a:cubicBezTo>
                    <a:pt x="42" y="14"/>
                    <a:pt x="34" y="5"/>
                    <a:pt x="24" y="5"/>
                  </a:cubicBezTo>
                  <a:moveTo>
                    <a:pt x="24" y="46"/>
                  </a:moveTo>
                  <a:cubicBezTo>
                    <a:pt x="12" y="46"/>
                    <a:pt x="2" y="36"/>
                    <a:pt x="2" y="24"/>
                  </a:cubicBezTo>
                  <a:cubicBezTo>
                    <a:pt x="2" y="12"/>
                    <a:pt x="12" y="2"/>
                    <a:pt x="24" y="2"/>
                  </a:cubicBezTo>
                  <a:cubicBezTo>
                    <a:pt x="36" y="2"/>
                    <a:pt x="46" y="12"/>
                    <a:pt x="46" y="24"/>
                  </a:cubicBezTo>
                  <a:cubicBezTo>
                    <a:pt x="46" y="36"/>
                    <a:pt x="36" y="46"/>
                    <a:pt x="24" y="46"/>
                  </a:cubicBezTo>
                  <a:moveTo>
                    <a:pt x="24" y="0"/>
                  </a:moveTo>
                  <a:cubicBezTo>
                    <a:pt x="11" y="0"/>
                    <a:pt x="0" y="11"/>
                    <a:pt x="0" y="24"/>
                  </a:cubicBezTo>
                  <a:cubicBezTo>
                    <a:pt x="0" y="37"/>
                    <a:pt x="11" y="48"/>
                    <a:pt x="24" y="48"/>
                  </a:cubicBezTo>
                  <a:cubicBezTo>
                    <a:pt x="37" y="48"/>
                    <a:pt x="47" y="37"/>
                    <a:pt x="47" y="24"/>
                  </a:cubicBezTo>
                  <a:cubicBezTo>
                    <a:pt x="47" y="11"/>
                    <a:pt x="37" y="0"/>
                    <a:pt x="24"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9" name="Freeform 21338">
              <a:extLst>
                <a:ext uri="{FF2B5EF4-FFF2-40B4-BE49-F238E27FC236}">
                  <a16:creationId xmlns:a16="http://schemas.microsoft.com/office/drawing/2014/main" id="{EF9121C1-2A2A-46D8-BF5C-AEB29FE4B4A7}"/>
                </a:ext>
              </a:extLst>
            </p:cNvPr>
            <p:cNvSpPr>
              <a:spLocks noEditPoints="1"/>
            </p:cNvSpPr>
            <p:nvPr userDrawn="1"/>
          </p:nvSpPr>
          <p:spPr bwMode="auto">
            <a:xfrm>
              <a:off x="11034078" y="4580890"/>
              <a:ext cx="44450" cy="46038"/>
            </a:xfrm>
            <a:custGeom>
              <a:avLst/>
              <a:gdLst>
                <a:gd name="T0" fmla="*/ 11 w 22"/>
                <a:gd name="T1" fmla="*/ 18 h 23"/>
                <a:gd name="T2" fmla="*/ 4 w 22"/>
                <a:gd name="T3" fmla="*/ 12 h 23"/>
                <a:gd name="T4" fmla="*/ 11 w 22"/>
                <a:gd name="T5" fmla="*/ 5 h 23"/>
                <a:gd name="T6" fmla="*/ 18 w 22"/>
                <a:gd name="T7" fmla="*/ 12 h 23"/>
                <a:gd name="T8" fmla="*/ 11 w 22"/>
                <a:gd name="T9" fmla="*/ 18 h 23"/>
                <a:gd name="T10" fmla="*/ 11 w 22"/>
                <a:gd name="T11" fmla="*/ 0 h 23"/>
                <a:gd name="T12" fmla="*/ 0 w 22"/>
                <a:gd name="T13" fmla="*/ 12 h 23"/>
                <a:gd name="T14" fmla="*/ 11 w 22"/>
                <a:gd name="T15" fmla="*/ 23 h 23"/>
                <a:gd name="T16" fmla="*/ 22 w 22"/>
                <a:gd name="T17" fmla="*/ 12 h 23"/>
                <a:gd name="T18" fmla="*/ 11 w 22"/>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18"/>
                  </a:moveTo>
                  <a:cubicBezTo>
                    <a:pt x="7" y="18"/>
                    <a:pt x="4" y="15"/>
                    <a:pt x="4" y="12"/>
                  </a:cubicBezTo>
                  <a:cubicBezTo>
                    <a:pt x="4" y="8"/>
                    <a:pt x="7" y="5"/>
                    <a:pt x="11" y="5"/>
                  </a:cubicBezTo>
                  <a:cubicBezTo>
                    <a:pt x="15" y="5"/>
                    <a:pt x="18" y="8"/>
                    <a:pt x="18" y="12"/>
                  </a:cubicBezTo>
                  <a:cubicBezTo>
                    <a:pt x="18" y="15"/>
                    <a:pt x="15" y="18"/>
                    <a:pt x="11" y="18"/>
                  </a:cubicBezTo>
                  <a:moveTo>
                    <a:pt x="11" y="0"/>
                  </a:moveTo>
                  <a:cubicBezTo>
                    <a:pt x="5" y="0"/>
                    <a:pt x="0" y="5"/>
                    <a:pt x="0" y="12"/>
                  </a:cubicBezTo>
                  <a:cubicBezTo>
                    <a:pt x="0" y="18"/>
                    <a:pt x="5" y="23"/>
                    <a:pt x="11" y="23"/>
                  </a:cubicBezTo>
                  <a:cubicBezTo>
                    <a:pt x="17" y="23"/>
                    <a:pt x="22" y="18"/>
                    <a:pt x="22" y="12"/>
                  </a:cubicBezTo>
                  <a:cubicBezTo>
                    <a:pt x="22" y="5"/>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0" name="Freeform 21339">
              <a:extLst>
                <a:ext uri="{FF2B5EF4-FFF2-40B4-BE49-F238E27FC236}">
                  <a16:creationId xmlns:a16="http://schemas.microsoft.com/office/drawing/2014/main" id="{2FC30F3E-2CE0-4187-9413-820575569F47}"/>
                </a:ext>
              </a:extLst>
            </p:cNvPr>
            <p:cNvSpPr>
              <a:spLocks/>
            </p:cNvSpPr>
            <p:nvPr userDrawn="1"/>
          </p:nvSpPr>
          <p:spPr bwMode="auto">
            <a:xfrm>
              <a:off x="11269028" y="5965190"/>
              <a:ext cx="104775" cy="84138"/>
            </a:xfrm>
            <a:custGeom>
              <a:avLst/>
              <a:gdLst>
                <a:gd name="T0" fmla="*/ 22 w 52"/>
                <a:gd name="T1" fmla="*/ 6 h 42"/>
                <a:gd name="T2" fmla="*/ 5 w 52"/>
                <a:gd name="T3" fmla="*/ 11 h 42"/>
                <a:gd name="T4" fmla="*/ 0 w 52"/>
                <a:gd name="T5" fmla="*/ 22 h 42"/>
                <a:gd name="T6" fmla="*/ 12 w 52"/>
                <a:gd name="T7" fmla="*/ 31 h 42"/>
                <a:gd name="T8" fmla="*/ 11 w 52"/>
                <a:gd name="T9" fmla="*/ 30 h 42"/>
                <a:gd name="T10" fmla="*/ 11 w 52"/>
                <a:gd name="T11" fmla="*/ 29 h 42"/>
                <a:gd name="T12" fmla="*/ 11 w 52"/>
                <a:gd name="T13" fmla="*/ 28 h 42"/>
                <a:gd name="T14" fmla="*/ 11 w 52"/>
                <a:gd name="T15" fmla="*/ 26 h 42"/>
                <a:gd name="T16" fmla="*/ 11 w 52"/>
                <a:gd name="T17" fmla="*/ 24 h 42"/>
                <a:gd name="T18" fmla="*/ 11 w 52"/>
                <a:gd name="T19" fmla="*/ 24 h 42"/>
                <a:gd name="T20" fmla="*/ 12 w 52"/>
                <a:gd name="T21" fmla="*/ 22 h 42"/>
                <a:gd name="T22" fmla="*/ 13 w 52"/>
                <a:gd name="T23" fmla="*/ 19 h 42"/>
                <a:gd name="T24" fmla="*/ 14 w 52"/>
                <a:gd name="T25" fmla="*/ 17 h 42"/>
                <a:gd name="T26" fmla="*/ 15 w 52"/>
                <a:gd name="T27" fmla="*/ 17 h 42"/>
                <a:gd name="T28" fmla="*/ 17 w 52"/>
                <a:gd name="T29" fmla="*/ 15 h 42"/>
                <a:gd name="T30" fmla="*/ 18 w 52"/>
                <a:gd name="T31" fmla="*/ 14 h 42"/>
                <a:gd name="T32" fmla="*/ 19 w 52"/>
                <a:gd name="T33" fmla="*/ 13 h 42"/>
                <a:gd name="T34" fmla="*/ 22 w 52"/>
                <a:gd name="T35" fmla="*/ 12 h 42"/>
                <a:gd name="T36" fmla="*/ 23 w 52"/>
                <a:gd name="T37" fmla="*/ 12 h 42"/>
                <a:gd name="T38" fmla="*/ 24 w 52"/>
                <a:gd name="T39" fmla="*/ 12 h 42"/>
                <a:gd name="T40" fmla="*/ 25 w 52"/>
                <a:gd name="T41" fmla="*/ 11 h 42"/>
                <a:gd name="T42" fmla="*/ 27 w 52"/>
                <a:gd name="T43" fmla="*/ 11 h 42"/>
                <a:gd name="T44" fmla="*/ 28 w 52"/>
                <a:gd name="T45" fmla="*/ 11 h 42"/>
                <a:gd name="T46" fmla="*/ 29 w 52"/>
                <a:gd name="T47" fmla="*/ 12 h 42"/>
                <a:gd name="T48" fmla="*/ 30 w 52"/>
                <a:gd name="T49" fmla="*/ 12 h 42"/>
                <a:gd name="T50" fmla="*/ 34 w 52"/>
                <a:gd name="T51" fmla="*/ 13 h 42"/>
                <a:gd name="T52" fmla="*/ 35 w 52"/>
                <a:gd name="T53" fmla="*/ 15 h 42"/>
                <a:gd name="T54" fmla="*/ 36 w 52"/>
                <a:gd name="T55" fmla="*/ 15 h 42"/>
                <a:gd name="T56" fmla="*/ 38 w 52"/>
                <a:gd name="T57" fmla="*/ 17 h 42"/>
                <a:gd name="T58" fmla="*/ 39 w 52"/>
                <a:gd name="T59" fmla="*/ 19 h 42"/>
                <a:gd name="T60" fmla="*/ 39 w 52"/>
                <a:gd name="T61" fmla="*/ 20 h 42"/>
                <a:gd name="T62" fmla="*/ 41 w 52"/>
                <a:gd name="T63" fmla="*/ 23 h 42"/>
                <a:gd name="T64" fmla="*/ 41 w 52"/>
                <a:gd name="T65" fmla="*/ 24 h 42"/>
                <a:gd name="T66" fmla="*/ 41 w 52"/>
                <a:gd name="T67" fmla="*/ 25 h 42"/>
                <a:gd name="T68" fmla="*/ 41 w 52"/>
                <a:gd name="T69" fmla="*/ 27 h 42"/>
                <a:gd name="T70" fmla="*/ 41 w 52"/>
                <a:gd name="T71" fmla="*/ 28 h 42"/>
                <a:gd name="T72" fmla="*/ 41 w 52"/>
                <a:gd name="T73" fmla="*/ 29 h 42"/>
                <a:gd name="T74" fmla="*/ 41 w 52"/>
                <a:gd name="T75" fmla="*/ 31 h 42"/>
                <a:gd name="T76" fmla="*/ 40 w 52"/>
                <a:gd name="T77" fmla="*/ 31 h 42"/>
                <a:gd name="T78" fmla="*/ 39 w 52"/>
                <a:gd name="T79" fmla="*/ 35 h 42"/>
                <a:gd name="T80" fmla="*/ 38 w 52"/>
                <a:gd name="T81" fmla="*/ 36 h 42"/>
                <a:gd name="T82" fmla="*/ 37 w 52"/>
                <a:gd name="T83" fmla="*/ 37 h 42"/>
                <a:gd name="T84" fmla="*/ 36 w 52"/>
                <a:gd name="T85" fmla="*/ 39 h 42"/>
                <a:gd name="T86" fmla="*/ 46 w 52"/>
                <a:gd name="T87" fmla="*/ 31 h 42"/>
                <a:gd name="T88" fmla="*/ 46 w 52"/>
                <a:gd name="T89" fmla="*/ 22 h 42"/>
                <a:gd name="T90" fmla="*/ 41 w 52"/>
                <a:gd name="T91" fmla="*/ 5 h 42"/>
                <a:gd name="T92" fmla="*/ 31 w 5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42">
                  <a:moveTo>
                    <a:pt x="31" y="0"/>
                  </a:moveTo>
                  <a:cubicBezTo>
                    <a:pt x="22" y="0"/>
                    <a:pt x="22" y="0"/>
                    <a:pt x="22" y="0"/>
                  </a:cubicBezTo>
                  <a:cubicBezTo>
                    <a:pt x="22" y="6"/>
                    <a:pt x="22" y="6"/>
                    <a:pt x="22" y="6"/>
                  </a:cubicBezTo>
                  <a:cubicBezTo>
                    <a:pt x="19" y="6"/>
                    <a:pt x="17" y="7"/>
                    <a:pt x="15" y="9"/>
                  </a:cubicBezTo>
                  <a:cubicBezTo>
                    <a:pt x="11" y="5"/>
                    <a:pt x="11" y="5"/>
                    <a:pt x="11" y="5"/>
                  </a:cubicBezTo>
                  <a:cubicBezTo>
                    <a:pt x="5" y="11"/>
                    <a:pt x="5" y="11"/>
                    <a:pt x="5" y="11"/>
                  </a:cubicBezTo>
                  <a:cubicBezTo>
                    <a:pt x="8" y="15"/>
                    <a:pt x="8" y="15"/>
                    <a:pt x="8" y="15"/>
                  </a:cubicBezTo>
                  <a:cubicBezTo>
                    <a:pt x="7" y="17"/>
                    <a:pt x="6" y="20"/>
                    <a:pt x="6" y="22"/>
                  </a:cubicBezTo>
                  <a:cubicBezTo>
                    <a:pt x="0" y="22"/>
                    <a:pt x="0" y="22"/>
                    <a:pt x="0" y="22"/>
                  </a:cubicBezTo>
                  <a:cubicBezTo>
                    <a:pt x="0" y="27"/>
                    <a:pt x="0" y="27"/>
                    <a:pt x="0" y="27"/>
                  </a:cubicBezTo>
                  <a:cubicBezTo>
                    <a:pt x="4" y="28"/>
                    <a:pt x="8" y="30"/>
                    <a:pt x="12" y="31"/>
                  </a:cubicBezTo>
                  <a:cubicBezTo>
                    <a:pt x="12" y="31"/>
                    <a:pt x="12" y="31"/>
                    <a:pt x="12" y="31"/>
                  </a:cubicBezTo>
                  <a:cubicBezTo>
                    <a:pt x="11" y="31"/>
                    <a:pt x="11" y="31"/>
                    <a:pt x="11" y="31"/>
                  </a:cubicBezTo>
                  <a:cubicBezTo>
                    <a:pt x="11" y="30"/>
                    <a:pt x="11" y="30"/>
                    <a:pt x="11" y="30"/>
                  </a:cubicBezTo>
                  <a:cubicBezTo>
                    <a:pt x="11" y="30"/>
                    <a:pt x="11" y="30"/>
                    <a:pt x="11" y="30"/>
                  </a:cubicBezTo>
                  <a:cubicBezTo>
                    <a:pt x="11" y="29"/>
                    <a:pt x="11" y="29"/>
                    <a:pt x="11" y="29"/>
                  </a:cubicBezTo>
                  <a:cubicBezTo>
                    <a:pt x="11" y="29"/>
                    <a:pt x="11" y="29"/>
                    <a:pt x="11" y="29"/>
                  </a:cubicBezTo>
                  <a:cubicBezTo>
                    <a:pt x="11" y="29"/>
                    <a:pt x="11" y="29"/>
                    <a:pt x="11" y="29"/>
                  </a:cubicBezTo>
                  <a:cubicBezTo>
                    <a:pt x="11" y="28"/>
                    <a:pt x="11" y="28"/>
                    <a:pt x="11" y="28"/>
                  </a:cubicBezTo>
                  <a:cubicBezTo>
                    <a:pt x="11" y="28"/>
                    <a:pt x="11" y="28"/>
                    <a:pt x="11" y="28"/>
                  </a:cubicBezTo>
                  <a:cubicBezTo>
                    <a:pt x="11" y="28"/>
                    <a:pt x="11" y="28"/>
                    <a:pt x="11" y="28"/>
                  </a:cubicBezTo>
                  <a:cubicBezTo>
                    <a:pt x="11" y="27"/>
                    <a:pt x="11" y="27"/>
                    <a:pt x="11" y="27"/>
                  </a:cubicBezTo>
                  <a:cubicBezTo>
                    <a:pt x="11" y="26"/>
                    <a:pt x="11" y="26"/>
                    <a:pt x="11" y="26"/>
                  </a:cubicBezTo>
                  <a:cubicBezTo>
                    <a:pt x="11" y="26"/>
                    <a:pt x="11" y="26"/>
                    <a:pt x="11" y="26"/>
                  </a:cubicBezTo>
                  <a:cubicBezTo>
                    <a:pt x="11" y="25"/>
                    <a:pt x="11" y="25"/>
                    <a:pt x="11" y="25"/>
                  </a:cubicBezTo>
                  <a:cubicBezTo>
                    <a:pt x="11" y="25"/>
                    <a:pt x="11" y="25"/>
                    <a:pt x="11" y="25"/>
                  </a:cubicBezTo>
                  <a:cubicBezTo>
                    <a:pt x="11" y="24"/>
                    <a:pt x="11" y="24"/>
                    <a:pt x="11" y="24"/>
                  </a:cubicBezTo>
                  <a:cubicBezTo>
                    <a:pt x="11" y="24"/>
                    <a:pt x="11" y="24"/>
                    <a:pt x="11" y="24"/>
                  </a:cubicBezTo>
                  <a:cubicBezTo>
                    <a:pt x="11" y="24"/>
                    <a:pt x="11" y="24"/>
                    <a:pt x="11" y="24"/>
                  </a:cubicBezTo>
                  <a:cubicBezTo>
                    <a:pt x="11" y="24"/>
                    <a:pt x="11" y="24"/>
                    <a:pt x="11" y="24"/>
                  </a:cubicBezTo>
                  <a:cubicBezTo>
                    <a:pt x="11" y="23"/>
                    <a:pt x="11" y="23"/>
                    <a:pt x="11" y="23"/>
                  </a:cubicBezTo>
                  <a:cubicBezTo>
                    <a:pt x="12" y="23"/>
                    <a:pt x="12" y="23"/>
                    <a:pt x="12" y="23"/>
                  </a:cubicBezTo>
                  <a:cubicBezTo>
                    <a:pt x="12" y="22"/>
                    <a:pt x="12" y="22"/>
                    <a:pt x="12" y="22"/>
                  </a:cubicBezTo>
                  <a:cubicBezTo>
                    <a:pt x="12" y="21"/>
                    <a:pt x="12" y="20"/>
                    <a:pt x="13" y="20"/>
                  </a:cubicBezTo>
                  <a:cubicBezTo>
                    <a:pt x="13" y="19"/>
                    <a:pt x="13" y="19"/>
                    <a:pt x="13" y="19"/>
                  </a:cubicBezTo>
                  <a:cubicBezTo>
                    <a:pt x="13" y="19"/>
                    <a:pt x="13" y="19"/>
                    <a:pt x="13" y="19"/>
                  </a:cubicBezTo>
                  <a:cubicBezTo>
                    <a:pt x="13" y="19"/>
                    <a:pt x="13" y="19"/>
                    <a:pt x="13" y="19"/>
                  </a:cubicBezTo>
                  <a:cubicBezTo>
                    <a:pt x="13" y="19"/>
                    <a:pt x="13" y="19"/>
                    <a:pt x="13" y="19"/>
                  </a:cubicBezTo>
                  <a:cubicBezTo>
                    <a:pt x="14" y="18"/>
                    <a:pt x="14" y="18"/>
                    <a:pt x="14" y="17"/>
                  </a:cubicBezTo>
                  <a:cubicBezTo>
                    <a:pt x="14" y="17"/>
                    <a:pt x="14" y="17"/>
                    <a:pt x="14" y="17"/>
                  </a:cubicBezTo>
                  <a:cubicBezTo>
                    <a:pt x="15" y="17"/>
                    <a:pt x="15" y="17"/>
                    <a:pt x="15" y="17"/>
                  </a:cubicBezTo>
                  <a:cubicBezTo>
                    <a:pt x="15" y="17"/>
                    <a:pt x="15" y="17"/>
                    <a:pt x="15" y="17"/>
                  </a:cubicBezTo>
                  <a:cubicBezTo>
                    <a:pt x="15" y="16"/>
                    <a:pt x="16" y="16"/>
                    <a:pt x="16" y="15"/>
                  </a:cubicBezTo>
                  <a:cubicBezTo>
                    <a:pt x="16" y="15"/>
                    <a:pt x="16" y="15"/>
                    <a:pt x="16" y="15"/>
                  </a:cubicBezTo>
                  <a:cubicBezTo>
                    <a:pt x="17" y="15"/>
                    <a:pt x="17" y="15"/>
                    <a:pt x="17" y="15"/>
                  </a:cubicBezTo>
                  <a:cubicBezTo>
                    <a:pt x="17" y="15"/>
                    <a:pt x="17" y="15"/>
                    <a:pt x="17" y="15"/>
                  </a:cubicBezTo>
                  <a:cubicBezTo>
                    <a:pt x="17" y="14"/>
                    <a:pt x="18" y="14"/>
                    <a:pt x="18" y="14"/>
                  </a:cubicBezTo>
                  <a:cubicBezTo>
                    <a:pt x="18" y="14"/>
                    <a:pt x="18" y="14"/>
                    <a:pt x="18" y="14"/>
                  </a:cubicBezTo>
                  <a:cubicBezTo>
                    <a:pt x="19" y="13"/>
                    <a:pt x="19" y="13"/>
                    <a:pt x="19" y="13"/>
                  </a:cubicBezTo>
                  <a:cubicBezTo>
                    <a:pt x="19" y="13"/>
                    <a:pt x="19" y="13"/>
                    <a:pt x="19" y="13"/>
                  </a:cubicBezTo>
                  <a:cubicBezTo>
                    <a:pt x="19" y="13"/>
                    <a:pt x="19" y="13"/>
                    <a:pt x="19" y="13"/>
                  </a:cubicBezTo>
                  <a:cubicBezTo>
                    <a:pt x="20" y="13"/>
                    <a:pt x="21"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3" y="12"/>
                    <a:pt x="23" y="12"/>
                    <a:pt x="23" y="12"/>
                  </a:cubicBezTo>
                  <a:cubicBezTo>
                    <a:pt x="23" y="12"/>
                    <a:pt x="23" y="12"/>
                    <a:pt x="23" y="12"/>
                  </a:cubicBezTo>
                  <a:cubicBezTo>
                    <a:pt x="24" y="12"/>
                    <a:pt x="24" y="12"/>
                    <a:pt x="24" y="12"/>
                  </a:cubicBezTo>
                  <a:cubicBezTo>
                    <a:pt x="24" y="12"/>
                    <a:pt x="24" y="12"/>
                    <a:pt x="24" y="12"/>
                  </a:cubicBezTo>
                  <a:cubicBezTo>
                    <a:pt x="24" y="11"/>
                    <a:pt x="24" y="11"/>
                    <a:pt x="24" y="11"/>
                  </a:cubicBezTo>
                  <a:cubicBezTo>
                    <a:pt x="25" y="11"/>
                    <a:pt x="25" y="11"/>
                    <a:pt x="25" y="11"/>
                  </a:cubicBezTo>
                  <a:cubicBezTo>
                    <a:pt x="25" y="11"/>
                    <a:pt x="25" y="11"/>
                    <a:pt x="25" y="11"/>
                  </a:cubicBezTo>
                  <a:cubicBezTo>
                    <a:pt x="25" y="11"/>
                    <a:pt x="25" y="11"/>
                    <a:pt x="25" y="11"/>
                  </a:cubicBezTo>
                  <a:cubicBezTo>
                    <a:pt x="26" y="11"/>
                    <a:pt x="26" y="11"/>
                    <a:pt x="26" y="11"/>
                  </a:cubicBezTo>
                  <a:cubicBezTo>
                    <a:pt x="27" y="11"/>
                    <a:pt x="27" y="11"/>
                    <a:pt x="27" y="11"/>
                  </a:cubicBezTo>
                  <a:cubicBezTo>
                    <a:pt x="27" y="11"/>
                    <a:pt x="27" y="11"/>
                    <a:pt x="27" y="11"/>
                  </a:cubicBezTo>
                  <a:cubicBezTo>
                    <a:pt x="27" y="11"/>
                    <a:pt x="27" y="11"/>
                    <a:pt x="27" y="11"/>
                  </a:cubicBezTo>
                  <a:cubicBezTo>
                    <a:pt x="28" y="11"/>
                    <a:pt x="28" y="11"/>
                    <a:pt x="28" y="11"/>
                  </a:cubicBezTo>
                  <a:cubicBezTo>
                    <a:pt x="28" y="12"/>
                    <a:pt x="28" y="12"/>
                    <a:pt x="28" y="12"/>
                  </a:cubicBezTo>
                  <a:cubicBezTo>
                    <a:pt x="28" y="12"/>
                    <a:pt x="28" y="12"/>
                    <a:pt x="28" y="12"/>
                  </a:cubicBezTo>
                  <a:cubicBezTo>
                    <a:pt x="29" y="12"/>
                    <a:pt x="29" y="12"/>
                    <a:pt x="29" y="12"/>
                  </a:cubicBezTo>
                  <a:cubicBezTo>
                    <a:pt x="29" y="12"/>
                    <a:pt x="29" y="12"/>
                    <a:pt x="29" y="12"/>
                  </a:cubicBezTo>
                  <a:cubicBezTo>
                    <a:pt x="30" y="12"/>
                    <a:pt x="30" y="12"/>
                    <a:pt x="30" y="12"/>
                  </a:cubicBezTo>
                  <a:cubicBezTo>
                    <a:pt x="30" y="12"/>
                    <a:pt x="30" y="12"/>
                    <a:pt x="30" y="12"/>
                  </a:cubicBezTo>
                  <a:cubicBezTo>
                    <a:pt x="31" y="12"/>
                    <a:pt x="32" y="13"/>
                    <a:pt x="33" y="13"/>
                  </a:cubicBezTo>
                  <a:cubicBezTo>
                    <a:pt x="33" y="13"/>
                    <a:pt x="33" y="13"/>
                    <a:pt x="33" y="13"/>
                  </a:cubicBezTo>
                  <a:cubicBezTo>
                    <a:pt x="34" y="13"/>
                    <a:pt x="34" y="13"/>
                    <a:pt x="34" y="13"/>
                  </a:cubicBezTo>
                  <a:cubicBezTo>
                    <a:pt x="34" y="14"/>
                    <a:pt x="34" y="14"/>
                    <a:pt x="34" y="14"/>
                  </a:cubicBezTo>
                  <a:cubicBezTo>
                    <a:pt x="34" y="14"/>
                    <a:pt x="34" y="14"/>
                    <a:pt x="34" y="14"/>
                  </a:cubicBezTo>
                  <a:cubicBezTo>
                    <a:pt x="35" y="14"/>
                    <a:pt x="35" y="14"/>
                    <a:pt x="35" y="15"/>
                  </a:cubicBezTo>
                  <a:cubicBezTo>
                    <a:pt x="35" y="15"/>
                    <a:pt x="35" y="15"/>
                    <a:pt x="35" y="15"/>
                  </a:cubicBezTo>
                  <a:cubicBezTo>
                    <a:pt x="36" y="15"/>
                    <a:pt x="36" y="15"/>
                    <a:pt x="36" y="15"/>
                  </a:cubicBezTo>
                  <a:cubicBezTo>
                    <a:pt x="36" y="15"/>
                    <a:pt x="36" y="15"/>
                    <a:pt x="36" y="15"/>
                  </a:cubicBezTo>
                  <a:cubicBezTo>
                    <a:pt x="36" y="16"/>
                    <a:pt x="37" y="16"/>
                    <a:pt x="37" y="17"/>
                  </a:cubicBezTo>
                  <a:cubicBezTo>
                    <a:pt x="37" y="17"/>
                    <a:pt x="37" y="17"/>
                    <a:pt x="37" y="17"/>
                  </a:cubicBezTo>
                  <a:cubicBezTo>
                    <a:pt x="38" y="17"/>
                    <a:pt x="38" y="17"/>
                    <a:pt x="38" y="17"/>
                  </a:cubicBezTo>
                  <a:cubicBezTo>
                    <a:pt x="38" y="17"/>
                    <a:pt x="38" y="17"/>
                    <a:pt x="38" y="17"/>
                  </a:cubicBezTo>
                  <a:cubicBezTo>
                    <a:pt x="38" y="18"/>
                    <a:pt x="38" y="18"/>
                    <a:pt x="39" y="19"/>
                  </a:cubicBezTo>
                  <a:cubicBezTo>
                    <a:pt x="39" y="19"/>
                    <a:pt x="39" y="19"/>
                    <a:pt x="39" y="19"/>
                  </a:cubicBezTo>
                  <a:cubicBezTo>
                    <a:pt x="39" y="19"/>
                    <a:pt x="39" y="19"/>
                    <a:pt x="39" y="19"/>
                  </a:cubicBezTo>
                  <a:cubicBezTo>
                    <a:pt x="39" y="19"/>
                    <a:pt x="39" y="19"/>
                    <a:pt x="39" y="19"/>
                  </a:cubicBezTo>
                  <a:cubicBezTo>
                    <a:pt x="39" y="20"/>
                    <a:pt x="39" y="20"/>
                    <a:pt x="39" y="20"/>
                  </a:cubicBezTo>
                  <a:cubicBezTo>
                    <a:pt x="40" y="20"/>
                    <a:pt x="40" y="21"/>
                    <a:pt x="40" y="22"/>
                  </a:cubicBezTo>
                  <a:cubicBezTo>
                    <a:pt x="41" y="23"/>
                    <a:pt x="41" y="23"/>
                    <a:pt x="41" y="23"/>
                  </a:cubicBezTo>
                  <a:cubicBezTo>
                    <a:pt x="41" y="23"/>
                    <a:pt x="41" y="23"/>
                    <a:pt x="41" y="23"/>
                  </a:cubicBezTo>
                  <a:cubicBezTo>
                    <a:pt x="41" y="24"/>
                    <a:pt x="41" y="24"/>
                    <a:pt x="41" y="24"/>
                  </a:cubicBezTo>
                  <a:cubicBezTo>
                    <a:pt x="41" y="24"/>
                    <a:pt x="41" y="24"/>
                    <a:pt x="41" y="24"/>
                  </a:cubicBezTo>
                  <a:cubicBezTo>
                    <a:pt x="41" y="24"/>
                    <a:pt x="41" y="24"/>
                    <a:pt x="41" y="24"/>
                  </a:cubicBezTo>
                  <a:cubicBezTo>
                    <a:pt x="41" y="24"/>
                    <a:pt x="41" y="24"/>
                    <a:pt x="41" y="24"/>
                  </a:cubicBezTo>
                  <a:cubicBezTo>
                    <a:pt x="41" y="25"/>
                    <a:pt x="41" y="25"/>
                    <a:pt x="41" y="25"/>
                  </a:cubicBezTo>
                  <a:cubicBezTo>
                    <a:pt x="41" y="25"/>
                    <a:pt x="41" y="25"/>
                    <a:pt x="41" y="25"/>
                  </a:cubicBezTo>
                  <a:cubicBezTo>
                    <a:pt x="41" y="26"/>
                    <a:pt x="41" y="26"/>
                    <a:pt x="41" y="26"/>
                  </a:cubicBezTo>
                  <a:cubicBezTo>
                    <a:pt x="41" y="26"/>
                    <a:pt x="41" y="26"/>
                    <a:pt x="41" y="26"/>
                  </a:cubicBezTo>
                  <a:cubicBezTo>
                    <a:pt x="41" y="27"/>
                    <a:pt x="41" y="27"/>
                    <a:pt x="41" y="27"/>
                  </a:cubicBezTo>
                  <a:cubicBezTo>
                    <a:pt x="41" y="28"/>
                    <a:pt x="41" y="28"/>
                    <a:pt x="41" y="28"/>
                  </a:cubicBezTo>
                  <a:cubicBezTo>
                    <a:pt x="41" y="28"/>
                    <a:pt x="41" y="28"/>
                    <a:pt x="41" y="28"/>
                  </a:cubicBezTo>
                  <a:cubicBezTo>
                    <a:pt x="41" y="28"/>
                    <a:pt x="41" y="28"/>
                    <a:pt x="41" y="28"/>
                  </a:cubicBezTo>
                  <a:cubicBezTo>
                    <a:pt x="41" y="28"/>
                    <a:pt x="41" y="28"/>
                    <a:pt x="41" y="28"/>
                  </a:cubicBezTo>
                  <a:cubicBezTo>
                    <a:pt x="41" y="29"/>
                    <a:pt x="41" y="29"/>
                    <a:pt x="41" y="29"/>
                  </a:cubicBezTo>
                  <a:cubicBezTo>
                    <a:pt x="41" y="29"/>
                    <a:pt x="41" y="29"/>
                    <a:pt x="41" y="29"/>
                  </a:cubicBezTo>
                  <a:cubicBezTo>
                    <a:pt x="41" y="30"/>
                    <a:pt x="41" y="30"/>
                    <a:pt x="41" y="30"/>
                  </a:cubicBezTo>
                  <a:cubicBezTo>
                    <a:pt x="41" y="30"/>
                    <a:pt x="41" y="30"/>
                    <a:pt x="41" y="30"/>
                  </a:cubicBezTo>
                  <a:cubicBezTo>
                    <a:pt x="41" y="31"/>
                    <a:pt x="41" y="31"/>
                    <a:pt x="41" y="31"/>
                  </a:cubicBezTo>
                  <a:cubicBezTo>
                    <a:pt x="41" y="31"/>
                    <a:pt x="41" y="31"/>
                    <a:pt x="41" y="31"/>
                  </a:cubicBezTo>
                  <a:cubicBezTo>
                    <a:pt x="40" y="31"/>
                    <a:pt x="40" y="31"/>
                    <a:pt x="40" y="31"/>
                  </a:cubicBezTo>
                  <a:cubicBezTo>
                    <a:pt x="40" y="31"/>
                    <a:pt x="40" y="31"/>
                    <a:pt x="40" y="31"/>
                  </a:cubicBezTo>
                  <a:cubicBezTo>
                    <a:pt x="40" y="32"/>
                    <a:pt x="40" y="33"/>
                    <a:pt x="39" y="34"/>
                  </a:cubicBezTo>
                  <a:cubicBezTo>
                    <a:pt x="39" y="35"/>
                    <a:pt x="39" y="35"/>
                    <a:pt x="39" y="35"/>
                  </a:cubicBezTo>
                  <a:cubicBezTo>
                    <a:pt x="39" y="35"/>
                    <a:pt x="39" y="35"/>
                    <a:pt x="39" y="35"/>
                  </a:cubicBezTo>
                  <a:cubicBezTo>
                    <a:pt x="39" y="35"/>
                    <a:pt x="39" y="35"/>
                    <a:pt x="39" y="35"/>
                  </a:cubicBezTo>
                  <a:cubicBezTo>
                    <a:pt x="39" y="35"/>
                    <a:pt x="39" y="35"/>
                    <a:pt x="39" y="35"/>
                  </a:cubicBezTo>
                  <a:cubicBezTo>
                    <a:pt x="38" y="36"/>
                    <a:pt x="38" y="36"/>
                    <a:pt x="38" y="36"/>
                  </a:cubicBezTo>
                  <a:cubicBezTo>
                    <a:pt x="38" y="37"/>
                    <a:pt x="38" y="37"/>
                    <a:pt x="38" y="37"/>
                  </a:cubicBezTo>
                  <a:cubicBezTo>
                    <a:pt x="37" y="37"/>
                    <a:pt x="37" y="37"/>
                    <a:pt x="37" y="37"/>
                  </a:cubicBezTo>
                  <a:cubicBezTo>
                    <a:pt x="37" y="37"/>
                    <a:pt x="37" y="37"/>
                    <a:pt x="37" y="37"/>
                  </a:cubicBezTo>
                  <a:cubicBezTo>
                    <a:pt x="37" y="38"/>
                    <a:pt x="36" y="38"/>
                    <a:pt x="36" y="39"/>
                  </a:cubicBezTo>
                  <a:cubicBezTo>
                    <a:pt x="36" y="39"/>
                    <a:pt x="36" y="39"/>
                    <a:pt x="36" y="39"/>
                  </a:cubicBezTo>
                  <a:cubicBezTo>
                    <a:pt x="36" y="39"/>
                    <a:pt x="36" y="39"/>
                    <a:pt x="36" y="39"/>
                  </a:cubicBezTo>
                  <a:cubicBezTo>
                    <a:pt x="40" y="40"/>
                    <a:pt x="43" y="41"/>
                    <a:pt x="47" y="42"/>
                  </a:cubicBezTo>
                  <a:cubicBezTo>
                    <a:pt x="44" y="38"/>
                    <a:pt x="44" y="38"/>
                    <a:pt x="44" y="38"/>
                  </a:cubicBezTo>
                  <a:cubicBezTo>
                    <a:pt x="45" y="36"/>
                    <a:pt x="46" y="34"/>
                    <a:pt x="46" y="31"/>
                  </a:cubicBezTo>
                  <a:cubicBezTo>
                    <a:pt x="52" y="31"/>
                    <a:pt x="52" y="31"/>
                    <a:pt x="52" y="31"/>
                  </a:cubicBezTo>
                  <a:cubicBezTo>
                    <a:pt x="52" y="22"/>
                    <a:pt x="52" y="22"/>
                    <a:pt x="52" y="22"/>
                  </a:cubicBezTo>
                  <a:cubicBezTo>
                    <a:pt x="46" y="22"/>
                    <a:pt x="46" y="22"/>
                    <a:pt x="46" y="22"/>
                  </a:cubicBezTo>
                  <a:cubicBezTo>
                    <a:pt x="46" y="20"/>
                    <a:pt x="45" y="17"/>
                    <a:pt x="44" y="15"/>
                  </a:cubicBezTo>
                  <a:cubicBezTo>
                    <a:pt x="47" y="11"/>
                    <a:pt x="47" y="11"/>
                    <a:pt x="47" y="11"/>
                  </a:cubicBezTo>
                  <a:cubicBezTo>
                    <a:pt x="41" y="5"/>
                    <a:pt x="41" y="5"/>
                    <a:pt x="41" y="5"/>
                  </a:cubicBezTo>
                  <a:cubicBezTo>
                    <a:pt x="37" y="9"/>
                    <a:pt x="37" y="9"/>
                    <a:pt x="37" y="9"/>
                  </a:cubicBezTo>
                  <a:cubicBezTo>
                    <a:pt x="35" y="7"/>
                    <a:pt x="33" y="6"/>
                    <a:pt x="31" y="6"/>
                  </a:cubicBezTo>
                  <a:cubicBezTo>
                    <a:pt x="31" y="0"/>
                    <a:pt x="31" y="0"/>
                    <a:pt x="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1" name="Freeform 21340">
              <a:extLst>
                <a:ext uri="{FF2B5EF4-FFF2-40B4-BE49-F238E27FC236}">
                  <a16:creationId xmlns:a16="http://schemas.microsoft.com/office/drawing/2014/main" id="{FCB7846F-77DD-4F9E-B58D-AA6AA2C182EC}"/>
                </a:ext>
              </a:extLst>
            </p:cNvPr>
            <p:cNvSpPr>
              <a:spLocks noEditPoints="1"/>
            </p:cNvSpPr>
            <p:nvPr userDrawn="1"/>
          </p:nvSpPr>
          <p:spPr bwMode="auto">
            <a:xfrm>
              <a:off x="11213465" y="4312603"/>
              <a:ext cx="266700" cy="46038"/>
            </a:xfrm>
            <a:custGeom>
              <a:avLst/>
              <a:gdLst>
                <a:gd name="T0" fmla="*/ 32 w 168"/>
                <a:gd name="T1" fmla="*/ 12 h 29"/>
                <a:gd name="T2" fmla="*/ 37 w 168"/>
                <a:gd name="T3" fmla="*/ 16 h 29"/>
                <a:gd name="T4" fmla="*/ 46 w 168"/>
                <a:gd name="T5" fmla="*/ 12 h 29"/>
                <a:gd name="T6" fmla="*/ 41 w 168"/>
                <a:gd name="T7" fmla="*/ 16 h 29"/>
                <a:gd name="T8" fmla="*/ 46 w 168"/>
                <a:gd name="T9" fmla="*/ 12 h 29"/>
                <a:gd name="T10" fmla="*/ 51 w 168"/>
                <a:gd name="T11" fmla="*/ 12 h 29"/>
                <a:gd name="T12" fmla="*/ 56 w 168"/>
                <a:gd name="T13" fmla="*/ 16 h 29"/>
                <a:gd name="T14" fmla="*/ 66 w 168"/>
                <a:gd name="T15" fmla="*/ 12 h 29"/>
                <a:gd name="T16" fmla="*/ 61 w 168"/>
                <a:gd name="T17" fmla="*/ 16 h 29"/>
                <a:gd name="T18" fmla="*/ 66 w 168"/>
                <a:gd name="T19" fmla="*/ 12 h 29"/>
                <a:gd name="T20" fmla="*/ 71 w 168"/>
                <a:gd name="T21" fmla="*/ 12 h 29"/>
                <a:gd name="T22" fmla="*/ 77 w 168"/>
                <a:gd name="T23" fmla="*/ 16 h 29"/>
                <a:gd name="T24" fmla="*/ 87 w 168"/>
                <a:gd name="T25" fmla="*/ 12 h 29"/>
                <a:gd name="T26" fmla="*/ 82 w 168"/>
                <a:gd name="T27" fmla="*/ 16 h 29"/>
                <a:gd name="T28" fmla="*/ 87 w 168"/>
                <a:gd name="T29" fmla="*/ 12 h 29"/>
                <a:gd name="T30" fmla="*/ 92 w 168"/>
                <a:gd name="T31" fmla="*/ 12 h 29"/>
                <a:gd name="T32" fmla="*/ 97 w 168"/>
                <a:gd name="T33" fmla="*/ 16 h 29"/>
                <a:gd name="T34" fmla="*/ 107 w 168"/>
                <a:gd name="T35" fmla="*/ 12 h 29"/>
                <a:gd name="T36" fmla="*/ 102 w 168"/>
                <a:gd name="T37" fmla="*/ 16 h 29"/>
                <a:gd name="T38" fmla="*/ 107 w 168"/>
                <a:gd name="T39" fmla="*/ 12 h 29"/>
                <a:gd name="T40" fmla="*/ 112 w 168"/>
                <a:gd name="T41" fmla="*/ 12 h 29"/>
                <a:gd name="T42" fmla="*/ 117 w 168"/>
                <a:gd name="T43" fmla="*/ 16 h 29"/>
                <a:gd name="T44" fmla="*/ 127 w 168"/>
                <a:gd name="T45" fmla="*/ 12 h 29"/>
                <a:gd name="T46" fmla="*/ 122 w 168"/>
                <a:gd name="T47" fmla="*/ 16 h 29"/>
                <a:gd name="T48" fmla="*/ 127 w 168"/>
                <a:gd name="T49" fmla="*/ 12 h 29"/>
                <a:gd name="T50" fmla="*/ 133 w 168"/>
                <a:gd name="T51" fmla="*/ 12 h 29"/>
                <a:gd name="T52" fmla="*/ 138 w 168"/>
                <a:gd name="T53" fmla="*/ 16 h 29"/>
                <a:gd name="T54" fmla="*/ 148 w 168"/>
                <a:gd name="T55" fmla="*/ 12 h 29"/>
                <a:gd name="T56" fmla="*/ 143 w 168"/>
                <a:gd name="T57" fmla="*/ 16 h 29"/>
                <a:gd name="T58" fmla="*/ 148 w 168"/>
                <a:gd name="T59" fmla="*/ 12 h 29"/>
                <a:gd name="T60" fmla="*/ 153 w 168"/>
                <a:gd name="T61" fmla="*/ 12 h 29"/>
                <a:gd name="T62" fmla="*/ 158 w 168"/>
                <a:gd name="T63" fmla="*/ 16 h 29"/>
                <a:gd name="T64" fmla="*/ 168 w 168"/>
                <a:gd name="T65" fmla="*/ 12 h 29"/>
                <a:gd name="T66" fmla="*/ 163 w 168"/>
                <a:gd name="T67" fmla="*/ 16 h 29"/>
                <a:gd name="T68" fmla="*/ 168 w 168"/>
                <a:gd name="T69" fmla="*/ 12 h 29"/>
                <a:gd name="T70" fmla="*/ 0 w 168"/>
                <a:gd name="T71" fmla="*/ 14 h 29"/>
                <a:gd name="T72" fmla="*/ 26 w 168"/>
                <a:gd name="T73" fmla="*/ 16 h 29"/>
                <a:gd name="T74" fmla="*/ 27 w 168"/>
                <a:gd name="T75" fmla="*/ 12 h 29"/>
                <a:gd name="T76" fmla="*/ 26 w 168"/>
                <a:gd name="T7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29">
                  <a:moveTo>
                    <a:pt x="37" y="12"/>
                  </a:moveTo>
                  <a:lnTo>
                    <a:pt x="32" y="12"/>
                  </a:lnTo>
                  <a:lnTo>
                    <a:pt x="32" y="16"/>
                  </a:lnTo>
                  <a:lnTo>
                    <a:pt x="37" y="16"/>
                  </a:lnTo>
                  <a:lnTo>
                    <a:pt x="37" y="12"/>
                  </a:lnTo>
                  <a:close/>
                  <a:moveTo>
                    <a:pt x="46" y="12"/>
                  </a:moveTo>
                  <a:lnTo>
                    <a:pt x="41" y="12"/>
                  </a:lnTo>
                  <a:lnTo>
                    <a:pt x="41" y="16"/>
                  </a:lnTo>
                  <a:lnTo>
                    <a:pt x="46" y="16"/>
                  </a:lnTo>
                  <a:lnTo>
                    <a:pt x="46" y="12"/>
                  </a:lnTo>
                  <a:close/>
                  <a:moveTo>
                    <a:pt x="56" y="12"/>
                  </a:moveTo>
                  <a:lnTo>
                    <a:pt x="51" y="12"/>
                  </a:lnTo>
                  <a:lnTo>
                    <a:pt x="51" y="16"/>
                  </a:lnTo>
                  <a:lnTo>
                    <a:pt x="56" y="16"/>
                  </a:lnTo>
                  <a:lnTo>
                    <a:pt x="56" y="12"/>
                  </a:lnTo>
                  <a:close/>
                  <a:moveTo>
                    <a:pt x="66" y="12"/>
                  </a:moveTo>
                  <a:lnTo>
                    <a:pt x="61" y="12"/>
                  </a:lnTo>
                  <a:lnTo>
                    <a:pt x="61" y="16"/>
                  </a:lnTo>
                  <a:lnTo>
                    <a:pt x="66" y="16"/>
                  </a:lnTo>
                  <a:lnTo>
                    <a:pt x="66" y="12"/>
                  </a:lnTo>
                  <a:close/>
                  <a:moveTo>
                    <a:pt x="77" y="12"/>
                  </a:moveTo>
                  <a:lnTo>
                    <a:pt x="71" y="12"/>
                  </a:lnTo>
                  <a:lnTo>
                    <a:pt x="71" y="16"/>
                  </a:lnTo>
                  <a:lnTo>
                    <a:pt x="77" y="16"/>
                  </a:lnTo>
                  <a:lnTo>
                    <a:pt x="77" y="12"/>
                  </a:lnTo>
                  <a:close/>
                  <a:moveTo>
                    <a:pt x="87" y="12"/>
                  </a:moveTo>
                  <a:lnTo>
                    <a:pt x="82" y="12"/>
                  </a:lnTo>
                  <a:lnTo>
                    <a:pt x="82" y="16"/>
                  </a:lnTo>
                  <a:lnTo>
                    <a:pt x="87" y="16"/>
                  </a:lnTo>
                  <a:lnTo>
                    <a:pt x="87" y="12"/>
                  </a:lnTo>
                  <a:close/>
                  <a:moveTo>
                    <a:pt x="97" y="12"/>
                  </a:moveTo>
                  <a:lnTo>
                    <a:pt x="92" y="12"/>
                  </a:lnTo>
                  <a:lnTo>
                    <a:pt x="92" y="16"/>
                  </a:lnTo>
                  <a:lnTo>
                    <a:pt x="97" y="16"/>
                  </a:lnTo>
                  <a:lnTo>
                    <a:pt x="97" y="12"/>
                  </a:lnTo>
                  <a:close/>
                  <a:moveTo>
                    <a:pt x="107" y="12"/>
                  </a:moveTo>
                  <a:lnTo>
                    <a:pt x="102" y="12"/>
                  </a:lnTo>
                  <a:lnTo>
                    <a:pt x="102" y="16"/>
                  </a:lnTo>
                  <a:lnTo>
                    <a:pt x="107" y="16"/>
                  </a:lnTo>
                  <a:lnTo>
                    <a:pt x="107" y="12"/>
                  </a:lnTo>
                  <a:close/>
                  <a:moveTo>
                    <a:pt x="117" y="12"/>
                  </a:moveTo>
                  <a:lnTo>
                    <a:pt x="112" y="12"/>
                  </a:lnTo>
                  <a:lnTo>
                    <a:pt x="112" y="16"/>
                  </a:lnTo>
                  <a:lnTo>
                    <a:pt x="117" y="16"/>
                  </a:lnTo>
                  <a:lnTo>
                    <a:pt x="117" y="12"/>
                  </a:lnTo>
                  <a:close/>
                  <a:moveTo>
                    <a:pt x="127" y="12"/>
                  </a:moveTo>
                  <a:lnTo>
                    <a:pt x="122" y="12"/>
                  </a:lnTo>
                  <a:lnTo>
                    <a:pt x="122" y="16"/>
                  </a:lnTo>
                  <a:lnTo>
                    <a:pt x="127" y="16"/>
                  </a:lnTo>
                  <a:lnTo>
                    <a:pt x="127" y="12"/>
                  </a:lnTo>
                  <a:close/>
                  <a:moveTo>
                    <a:pt x="138" y="12"/>
                  </a:moveTo>
                  <a:lnTo>
                    <a:pt x="133" y="12"/>
                  </a:lnTo>
                  <a:lnTo>
                    <a:pt x="133" y="16"/>
                  </a:lnTo>
                  <a:lnTo>
                    <a:pt x="138" y="16"/>
                  </a:lnTo>
                  <a:lnTo>
                    <a:pt x="138" y="12"/>
                  </a:lnTo>
                  <a:close/>
                  <a:moveTo>
                    <a:pt x="148" y="12"/>
                  </a:moveTo>
                  <a:lnTo>
                    <a:pt x="143" y="12"/>
                  </a:lnTo>
                  <a:lnTo>
                    <a:pt x="143" y="16"/>
                  </a:lnTo>
                  <a:lnTo>
                    <a:pt x="148" y="16"/>
                  </a:lnTo>
                  <a:lnTo>
                    <a:pt x="148" y="12"/>
                  </a:lnTo>
                  <a:close/>
                  <a:moveTo>
                    <a:pt x="158" y="12"/>
                  </a:moveTo>
                  <a:lnTo>
                    <a:pt x="153" y="12"/>
                  </a:lnTo>
                  <a:lnTo>
                    <a:pt x="153" y="16"/>
                  </a:lnTo>
                  <a:lnTo>
                    <a:pt x="158" y="16"/>
                  </a:lnTo>
                  <a:lnTo>
                    <a:pt x="158" y="12"/>
                  </a:lnTo>
                  <a:close/>
                  <a:moveTo>
                    <a:pt x="168" y="12"/>
                  </a:moveTo>
                  <a:lnTo>
                    <a:pt x="163" y="12"/>
                  </a:lnTo>
                  <a:lnTo>
                    <a:pt x="163" y="16"/>
                  </a:lnTo>
                  <a:lnTo>
                    <a:pt x="168" y="16"/>
                  </a:lnTo>
                  <a:lnTo>
                    <a:pt x="168" y="12"/>
                  </a:lnTo>
                  <a:close/>
                  <a:moveTo>
                    <a:pt x="26" y="0"/>
                  </a:moveTo>
                  <a:lnTo>
                    <a:pt x="0" y="14"/>
                  </a:lnTo>
                  <a:lnTo>
                    <a:pt x="26" y="29"/>
                  </a:lnTo>
                  <a:lnTo>
                    <a:pt x="26" y="16"/>
                  </a:lnTo>
                  <a:lnTo>
                    <a:pt x="27" y="16"/>
                  </a:lnTo>
                  <a:lnTo>
                    <a:pt x="27" y="12"/>
                  </a:lnTo>
                  <a:lnTo>
                    <a:pt x="26" y="12"/>
                  </a:lnTo>
                  <a:lnTo>
                    <a:pt x="26"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2" name="Freeform 21341">
              <a:extLst>
                <a:ext uri="{FF2B5EF4-FFF2-40B4-BE49-F238E27FC236}">
                  <a16:creationId xmlns:a16="http://schemas.microsoft.com/office/drawing/2014/main" id="{ACB53938-6D4F-4A97-9D90-3D1FA346FB35}"/>
                </a:ext>
              </a:extLst>
            </p:cNvPr>
            <p:cNvSpPr>
              <a:spLocks noEditPoints="1"/>
            </p:cNvSpPr>
            <p:nvPr userDrawn="1"/>
          </p:nvSpPr>
          <p:spPr bwMode="auto">
            <a:xfrm>
              <a:off x="11213465" y="4312603"/>
              <a:ext cx="266700" cy="46038"/>
            </a:xfrm>
            <a:custGeom>
              <a:avLst/>
              <a:gdLst>
                <a:gd name="T0" fmla="*/ 32 w 168"/>
                <a:gd name="T1" fmla="*/ 12 h 29"/>
                <a:gd name="T2" fmla="*/ 37 w 168"/>
                <a:gd name="T3" fmla="*/ 16 h 29"/>
                <a:gd name="T4" fmla="*/ 46 w 168"/>
                <a:gd name="T5" fmla="*/ 12 h 29"/>
                <a:gd name="T6" fmla="*/ 41 w 168"/>
                <a:gd name="T7" fmla="*/ 16 h 29"/>
                <a:gd name="T8" fmla="*/ 46 w 168"/>
                <a:gd name="T9" fmla="*/ 12 h 29"/>
                <a:gd name="T10" fmla="*/ 51 w 168"/>
                <a:gd name="T11" fmla="*/ 12 h 29"/>
                <a:gd name="T12" fmla="*/ 56 w 168"/>
                <a:gd name="T13" fmla="*/ 16 h 29"/>
                <a:gd name="T14" fmla="*/ 66 w 168"/>
                <a:gd name="T15" fmla="*/ 12 h 29"/>
                <a:gd name="T16" fmla="*/ 61 w 168"/>
                <a:gd name="T17" fmla="*/ 16 h 29"/>
                <a:gd name="T18" fmla="*/ 66 w 168"/>
                <a:gd name="T19" fmla="*/ 12 h 29"/>
                <a:gd name="T20" fmla="*/ 71 w 168"/>
                <a:gd name="T21" fmla="*/ 12 h 29"/>
                <a:gd name="T22" fmla="*/ 77 w 168"/>
                <a:gd name="T23" fmla="*/ 16 h 29"/>
                <a:gd name="T24" fmla="*/ 87 w 168"/>
                <a:gd name="T25" fmla="*/ 12 h 29"/>
                <a:gd name="T26" fmla="*/ 82 w 168"/>
                <a:gd name="T27" fmla="*/ 16 h 29"/>
                <a:gd name="T28" fmla="*/ 87 w 168"/>
                <a:gd name="T29" fmla="*/ 12 h 29"/>
                <a:gd name="T30" fmla="*/ 92 w 168"/>
                <a:gd name="T31" fmla="*/ 12 h 29"/>
                <a:gd name="T32" fmla="*/ 97 w 168"/>
                <a:gd name="T33" fmla="*/ 16 h 29"/>
                <a:gd name="T34" fmla="*/ 107 w 168"/>
                <a:gd name="T35" fmla="*/ 12 h 29"/>
                <a:gd name="T36" fmla="*/ 102 w 168"/>
                <a:gd name="T37" fmla="*/ 16 h 29"/>
                <a:gd name="T38" fmla="*/ 107 w 168"/>
                <a:gd name="T39" fmla="*/ 12 h 29"/>
                <a:gd name="T40" fmla="*/ 112 w 168"/>
                <a:gd name="T41" fmla="*/ 12 h 29"/>
                <a:gd name="T42" fmla="*/ 117 w 168"/>
                <a:gd name="T43" fmla="*/ 16 h 29"/>
                <a:gd name="T44" fmla="*/ 127 w 168"/>
                <a:gd name="T45" fmla="*/ 12 h 29"/>
                <a:gd name="T46" fmla="*/ 122 w 168"/>
                <a:gd name="T47" fmla="*/ 16 h 29"/>
                <a:gd name="T48" fmla="*/ 127 w 168"/>
                <a:gd name="T49" fmla="*/ 12 h 29"/>
                <a:gd name="T50" fmla="*/ 133 w 168"/>
                <a:gd name="T51" fmla="*/ 12 h 29"/>
                <a:gd name="T52" fmla="*/ 138 w 168"/>
                <a:gd name="T53" fmla="*/ 16 h 29"/>
                <a:gd name="T54" fmla="*/ 148 w 168"/>
                <a:gd name="T55" fmla="*/ 12 h 29"/>
                <a:gd name="T56" fmla="*/ 143 w 168"/>
                <a:gd name="T57" fmla="*/ 16 h 29"/>
                <a:gd name="T58" fmla="*/ 148 w 168"/>
                <a:gd name="T59" fmla="*/ 12 h 29"/>
                <a:gd name="T60" fmla="*/ 153 w 168"/>
                <a:gd name="T61" fmla="*/ 12 h 29"/>
                <a:gd name="T62" fmla="*/ 158 w 168"/>
                <a:gd name="T63" fmla="*/ 16 h 29"/>
                <a:gd name="T64" fmla="*/ 168 w 168"/>
                <a:gd name="T65" fmla="*/ 12 h 29"/>
                <a:gd name="T66" fmla="*/ 163 w 168"/>
                <a:gd name="T67" fmla="*/ 16 h 29"/>
                <a:gd name="T68" fmla="*/ 168 w 168"/>
                <a:gd name="T69" fmla="*/ 12 h 29"/>
                <a:gd name="T70" fmla="*/ 0 w 168"/>
                <a:gd name="T71" fmla="*/ 14 h 29"/>
                <a:gd name="T72" fmla="*/ 26 w 168"/>
                <a:gd name="T73" fmla="*/ 16 h 29"/>
                <a:gd name="T74" fmla="*/ 27 w 168"/>
                <a:gd name="T75" fmla="*/ 12 h 29"/>
                <a:gd name="T76" fmla="*/ 26 w 168"/>
                <a:gd name="T7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29">
                  <a:moveTo>
                    <a:pt x="37" y="12"/>
                  </a:moveTo>
                  <a:lnTo>
                    <a:pt x="32" y="12"/>
                  </a:lnTo>
                  <a:lnTo>
                    <a:pt x="32" y="16"/>
                  </a:lnTo>
                  <a:lnTo>
                    <a:pt x="37" y="16"/>
                  </a:lnTo>
                  <a:lnTo>
                    <a:pt x="37" y="12"/>
                  </a:lnTo>
                  <a:moveTo>
                    <a:pt x="46" y="12"/>
                  </a:moveTo>
                  <a:lnTo>
                    <a:pt x="41" y="12"/>
                  </a:lnTo>
                  <a:lnTo>
                    <a:pt x="41" y="16"/>
                  </a:lnTo>
                  <a:lnTo>
                    <a:pt x="46" y="16"/>
                  </a:lnTo>
                  <a:lnTo>
                    <a:pt x="46" y="12"/>
                  </a:lnTo>
                  <a:moveTo>
                    <a:pt x="56" y="12"/>
                  </a:moveTo>
                  <a:lnTo>
                    <a:pt x="51" y="12"/>
                  </a:lnTo>
                  <a:lnTo>
                    <a:pt x="51" y="16"/>
                  </a:lnTo>
                  <a:lnTo>
                    <a:pt x="56" y="16"/>
                  </a:lnTo>
                  <a:lnTo>
                    <a:pt x="56" y="12"/>
                  </a:lnTo>
                  <a:moveTo>
                    <a:pt x="66" y="12"/>
                  </a:moveTo>
                  <a:lnTo>
                    <a:pt x="61" y="12"/>
                  </a:lnTo>
                  <a:lnTo>
                    <a:pt x="61" y="16"/>
                  </a:lnTo>
                  <a:lnTo>
                    <a:pt x="66" y="16"/>
                  </a:lnTo>
                  <a:lnTo>
                    <a:pt x="66" y="12"/>
                  </a:lnTo>
                  <a:moveTo>
                    <a:pt x="77" y="12"/>
                  </a:moveTo>
                  <a:lnTo>
                    <a:pt x="71" y="12"/>
                  </a:lnTo>
                  <a:lnTo>
                    <a:pt x="71" y="16"/>
                  </a:lnTo>
                  <a:lnTo>
                    <a:pt x="77" y="16"/>
                  </a:lnTo>
                  <a:lnTo>
                    <a:pt x="77" y="12"/>
                  </a:lnTo>
                  <a:moveTo>
                    <a:pt x="87" y="12"/>
                  </a:moveTo>
                  <a:lnTo>
                    <a:pt x="82" y="12"/>
                  </a:lnTo>
                  <a:lnTo>
                    <a:pt x="82" y="16"/>
                  </a:lnTo>
                  <a:lnTo>
                    <a:pt x="87" y="16"/>
                  </a:lnTo>
                  <a:lnTo>
                    <a:pt x="87" y="12"/>
                  </a:lnTo>
                  <a:moveTo>
                    <a:pt x="97" y="12"/>
                  </a:moveTo>
                  <a:lnTo>
                    <a:pt x="92" y="12"/>
                  </a:lnTo>
                  <a:lnTo>
                    <a:pt x="92" y="16"/>
                  </a:lnTo>
                  <a:lnTo>
                    <a:pt x="97" y="16"/>
                  </a:lnTo>
                  <a:lnTo>
                    <a:pt x="97" y="12"/>
                  </a:lnTo>
                  <a:moveTo>
                    <a:pt x="107" y="12"/>
                  </a:moveTo>
                  <a:lnTo>
                    <a:pt x="102" y="12"/>
                  </a:lnTo>
                  <a:lnTo>
                    <a:pt x="102" y="16"/>
                  </a:lnTo>
                  <a:lnTo>
                    <a:pt x="107" y="16"/>
                  </a:lnTo>
                  <a:lnTo>
                    <a:pt x="107" y="12"/>
                  </a:lnTo>
                  <a:moveTo>
                    <a:pt x="117" y="12"/>
                  </a:moveTo>
                  <a:lnTo>
                    <a:pt x="112" y="12"/>
                  </a:lnTo>
                  <a:lnTo>
                    <a:pt x="112" y="16"/>
                  </a:lnTo>
                  <a:lnTo>
                    <a:pt x="117" y="16"/>
                  </a:lnTo>
                  <a:lnTo>
                    <a:pt x="117" y="12"/>
                  </a:lnTo>
                  <a:moveTo>
                    <a:pt x="127" y="12"/>
                  </a:moveTo>
                  <a:lnTo>
                    <a:pt x="122" y="12"/>
                  </a:lnTo>
                  <a:lnTo>
                    <a:pt x="122" y="16"/>
                  </a:lnTo>
                  <a:lnTo>
                    <a:pt x="127" y="16"/>
                  </a:lnTo>
                  <a:lnTo>
                    <a:pt x="127" y="12"/>
                  </a:lnTo>
                  <a:moveTo>
                    <a:pt x="138" y="12"/>
                  </a:moveTo>
                  <a:lnTo>
                    <a:pt x="133" y="12"/>
                  </a:lnTo>
                  <a:lnTo>
                    <a:pt x="133" y="16"/>
                  </a:lnTo>
                  <a:lnTo>
                    <a:pt x="138" y="16"/>
                  </a:lnTo>
                  <a:lnTo>
                    <a:pt x="138" y="12"/>
                  </a:lnTo>
                  <a:moveTo>
                    <a:pt x="148" y="12"/>
                  </a:moveTo>
                  <a:lnTo>
                    <a:pt x="143" y="12"/>
                  </a:lnTo>
                  <a:lnTo>
                    <a:pt x="143" y="16"/>
                  </a:lnTo>
                  <a:lnTo>
                    <a:pt x="148" y="16"/>
                  </a:lnTo>
                  <a:lnTo>
                    <a:pt x="148" y="12"/>
                  </a:lnTo>
                  <a:moveTo>
                    <a:pt x="158" y="12"/>
                  </a:moveTo>
                  <a:lnTo>
                    <a:pt x="153" y="12"/>
                  </a:lnTo>
                  <a:lnTo>
                    <a:pt x="153" y="16"/>
                  </a:lnTo>
                  <a:lnTo>
                    <a:pt x="158" y="16"/>
                  </a:lnTo>
                  <a:lnTo>
                    <a:pt x="158" y="12"/>
                  </a:lnTo>
                  <a:moveTo>
                    <a:pt x="168" y="12"/>
                  </a:moveTo>
                  <a:lnTo>
                    <a:pt x="163" y="12"/>
                  </a:lnTo>
                  <a:lnTo>
                    <a:pt x="163" y="16"/>
                  </a:lnTo>
                  <a:lnTo>
                    <a:pt x="168" y="16"/>
                  </a:lnTo>
                  <a:lnTo>
                    <a:pt x="168" y="12"/>
                  </a:lnTo>
                  <a:moveTo>
                    <a:pt x="26" y="0"/>
                  </a:moveTo>
                  <a:lnTo>
                    <a:pt x="0" y="14"/>
                  </a:lnTo>
                  <a:lnTo>
                    <a:pt x="26" y="29"/>
                  </a:lnTo>
                  <a:lnTo>
                    <a:pt x="26" y="16"/>
                  </a:lnTo>
                  <a:lnTo>
                    <a:pt x="27" y="16"/>
                  </a:lnTo>
                  <a:lnTo>
                    <a:pt x="27" y="12"/>
                  </a:lnTo>
                  <a:lnTo>
                    <a:pt x="26" y="12"/>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3" name="Freeform 21342">
              <a:extLst>
                <a:ext uri="{FF2B5EF4-FFF2-40B4-BE49-F238E27FC236}">
                  <a16:creationId xmlns:a16="http://schemas.microsoft.com/office/drawing/2014/main" id="{6BD11EE1-F749-49AB-832A-E91E5C82C7E2}"/>
                </a:ext>
              </a:extLst>
            </p:cNvPr>
            <p:cNvSpPr>
              <a:spLocks noEditPoints="1"/>
            </p:cNvSpPr>
            <p:nvPr userDrawn="1"/>
          </p:nvSpPr>
          <p:spPr bwMode="auto">
            <a:xfrm>
              <a:off x="10348278" y="3060065"/>
              <a:ext cx="244475" cy="241300"/>
            </a:xfrm>
            <a:custGeom>
              <a:avLst/>
              <a:gdLst>
                <a:gd name="T0" fmla="*/ 52 w 121"/>
                <a:gd name="T1" fmla="*/ 113 h 120"/>
                <a:gd name="T2" fmla="*/ 7 w 121"/>
                <a:gd name="T3" fmla="*/ 60 h 120"/>
                <a:gd name="T4" fmla="*/ 61 w 121"/>
                <a:gd name="T5" fmla="*/ 7 h 120"/>
                <a:gd name="T6" fmla="*/ 114 w 121"/>
                <a:gd name="T7" fmla="*/ 60 h 120"/>
                <a:gd name="T8" fmla="*/ 68 w 121"/>
                <a:gd name="T9" fmla="*/ 113 h 120"/>
                <a:gd name="T10" fmla="*/ 68 w 121"/>
                <a:gd name="T11" fmla="*/ 62 h 120"/>
                <a:gd name="T12" fmla="*/ 68 w 121"/>
                <a:gd name="T13" fmla="*/ 44 h 120"/>
                <a:gd name="T14" fmla="*/ 76 w 121"/>
                <a:gd name="T15" fmla="*/ 52 h 120"/>
                <a:gd name="T16" fmla="*/ 76 w 121"/>
                <a:gd name="T17" fmla="*/ 52 h 120"/>
                <a:gd name="T18" fmla="*/ 78 w 121"/>
                <a:gd name="T19" fmla="*/ 54 h 120"/>
                <a:gd name="T20" fmla="*/ 84 w 121"/>
                <a:gd name="T21" fmla="*/ 56 h 120"/>
                <a:gd name="T22" fmla="*/ 89 w 121"/>
                <a:gd name="T23" fmla="*/ 54 h 120"/>
                <a:gd name="T24" fmla="*/ 89 w 121"/>
                <a:gd name="T25" fmla="*/ 43 h 120"/>
                <a:gd name="T26" fmla="*/ 80 w 121"/>
                <a:gd name="T27" fmla="*/ 32 h 120"/>
                <a:gd name="T28" fmla="*/ 60 w 121"/>
                <a:gd name="T29" fmla="*/ 12 h 120"/>
                <a:gd name="T30" fmla="*/ 31 w 121"/>
                <a:gd name="T31" fmla="*/ 43 h 120"/>
                <a:gd name="T32" fmla="*/ 31 w 121"/>
                <a:gd name="T33" fmla="*/ 54 h 120"/>
                <a:gd name="T34" fmla="*/ 37 w 121"/>
                <a:gd name="T35" fmla="*/ 56 h 120"/>
                <a:gd name="T36" fmla="*/ 42 w 121"/>
                <a:gd name="T37" fmla="*/ 54 h 120"/>
                <a:gd name="T38" fmla="*/ 52 w 121"/>
                <a:gd name="T39" fmla="*/ 44 h 120"/>
                <a:gd name="T40" fmla="*/ 52 w 121"/>
                <a:gd name="T41" fmla="*/ 72 h 120"/>
                <a:gd name="T42" fmla="*/ 52 w 121"/>
                <a:gd name="T43" fmla="*/ 113 h 120"/>
                <a:gd name="T44" fmla="*/ 61 w 121"/>
                <a:gd name="T45" fmla="*/ 0 h 120"/>
                <a:gd name="T46" fmla="*/ 0 w 121"/>
                <a:gd name="T47" fmla="*/ 60 h 120"/>
                <a:gd name="T48" fmla="*/ 61 w 121"/>
                <a:gd name="T49" fmla="*/ 120 h 120"/>
                <a:gd name="T50" fmla="*/ 121 w 121"/>
                <a:gd name="T51" fmla="*/ 60 h 120"/>
                <a:gd name="T52" fmla="*/ 61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3"/>
                  </a:moveTo>
                  <a:cubicBezTo>
                    <a:pt x="27" y="109"/>
                    <a:pt x="7" y="87"/>
                    <a:pt x="7" y="60"/>
                  </a:cubicBezTo>
                  <a:cubicBezTo>
                    <a:pt x="7" y="31"/>
                    <a:pt x="31" y="7"/>
                    <a:pt x="61" y="7"/>
                  </a:cubicBez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80" y="55"/>
                    <a:pt x="82" y="56"/>
                    <a:pt x="84" y="56"/>
                  </a:cubicBezTo>
                  <a:cubicBezTo>
                    <a:pt x="86" y="56"/>
                    <a:pt x="88" y="55"/>
                    <a:pt x="89" y="54"/>
                  </a:cubicBezTo>
                  <a:cubicBezTo>
                    <a:pt x="92" y="51"/>
                    <a:pt x="93" y="46"/>
                    <a:pt x="89" y="43"/>
                  </a:cubicBezTo>
                  <a:cubicBezTo>
                    <a:pt x="80" y="32"/>
                    <a:pt x="80" y="32"/>
                    <a:pt x="80" y="32"/>
                  </a:cubicBezTo>
                  <a:cubicBezTo>
                    <a:pt x="60" y="12"/>
                    <a:pt x="60" y="12"/>
                    <a:pt x="60" y="12"/>
                  </a:cubicBezTo>
                  <a:cubicBezTo>
                    <a:pt x="31" y="43"/>
                    <a:pt x="31" y="43"/>
                    <a:pt x="31" y="43"/>
                  </a:cubicBezTo>
                  <a:cubicBezTo>
                    <a:pt x="28" y="46"/>
                    <a:pt x="28" y="51"/>
                    <a:pt x="31" y="54"/>
                  </a:cubicBezTo>
                  <a:cubicBezTo>
                    <a:pt x="33" y="55"/>
                    <a:pt x="35" y="56"/>
                    <a:pt x="37" y="56"/>
                  </a:cubicBezTo>
                  <a:cubicBezTo>
                    <a:pt x="39" y="56"/>
                    <a:pt x="41" y="55"/>
                    <a:pt x="42" y="54"/>
                  </a:cubicBezTo>
                  <a:cubicBezTo>
                    <a:pt x="52" y="44"/>
                    <a:pt x="52" y="44"/>
                    <a:pt x="52" y="44"/>
                  </a:cubicBezTo>
                  <a:cubicBezTo>
                    <a:pt x="52" y="72"/>
                    <a:pt x="52" y="72"/>
                    <a:pt x="52" y="72"/>
                  </a:cubicBezTo>
                  <a:cubicBezTo>
                    <a:pt x="52" y="113"/>
                    <a:pt x="52" y="113"/>
                    <a:pt x="52" y="113"/>
                  </a:cubicBezTo>
                  <a:moveTo>
                    <a:pt x="61" y="0"/>
                  </a:moveTo>
                  <a:cubicBezTo>
                    <a:pt x="27" y="0"/>
                    <a:pt x="0" y="27"/>
                    <a:pt x="0" y="60"/>
                  </a:cubicBezTo>
                  <a:cubicBezTo>
                    <a:pt x="0" y="93"/>
                    <a:pt x="27" y="120"/>
                    <a:pt x="61" y="120"/>
                  </a:cubicBezTo>
                  <a:cubicBezTo>
                    <a:pt x="94" y="120"/>
                    <a:pt x="121" y="93"/>
                    <a:pt x="121" y="60"/>
                  </a:cubicBezTo>
                  <a:cubicBezTo>
                    <a:pt x="121" y="27"/>
                    <a:pt x="94" y="0"/>
                    <a:pt x="6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4" name="Freeform 21343">
              <a:extLst>
                <a:ext uri="{FF2B5EF4-FFF2-40B4-BE49-F238E27FC236}">
                  <a16:creationId xmlns:a16="http://schemas.microsoft.com/office/drawing/2014/main" id="{413CDEE3-76F0-4644-838E-B2B5E589DD64}"/>
                </a:ext>
              </a:extLst>
            </p:cNvPr>
            <p:cNvSpPr>
              <a:spLocks noEditPoints="1"/>
            </p:cNvSpPr>
            <p:nvPr userDrawn="1"/>
          </p:nvSpPr>
          <p:spPr bwMode="auto">
            <a:xfrm>
              <a:off x="10018078" y="3169603"/>
              <a:ext cx="242888" cy="242888"/>
            </a:xfrm>
            <a:custGeom>
              <a:avLst/>
              <a:gdLst>
                <a:gd name="T0" fmla="*/ 52 w 120"/>
                <a:gd name="T1" fmla="*/ 113 h 121"/>
                <a:gd name="T2" fmla="*/ 7 w 120"/>
                <a:gd name="T3" fmla="*/ 61 h 121"/>
                <a:gd name="T4" fmla="*/ 60 w 120"/>
                <a:gd name="T5" fmla="*/ 7 h 121"/>
                <a:gd name="T6" fmla="*/ 114 w 120"/>
                <a:gd name="T7" fmla="*/ 61 h 121"/>
                <a:gd name="T8" fmla="*/ 68 w 120"/>
                <a:gd name="T9" fmla="*/ 113 h 121"/>
                <a:gd name="T10" fmla="*/ 68 w 120"/>
                <a:gd name="T11" fmla="*/ 63 h 121"/>
                <a:gd name="T12" fmla="*/ 68 w 120"/>
                <a:gd name="T13" fmla="*/ 44 h 121"/>
                <a:gd name="T14" fmla="*/ 76 w 120"/>
                <a:gd name="T15" fmla="*/ 52 h 121"/>
                <a:gd name="T16" fmla="*/ 76 w 120"/>
                <a:gd name="T17" fmla="*/ 52 h 121"/>
                <a:gd name="T18" fmla="*/ 78 w 120"/>
                <a:gd name="T19" fmla="*/ 54 h 121"/>
                <a:gd name="T20" fmla="*/ 83 w 120"/>
                <a:gd name="T21" fmla="*/ 56 h 121"/>
                <a:gd name="T22" fmla="*/ 89 w 120"/>
                <a:gd name="T23" fmla="*/ 54 h 121"/>
                <a:gd name="T24" fmla="*/ 89 w 120"/>
                <a:gd name="T25" fmla="*/ 43 h 121"/>
                <a:gd name="T26" fmla="*/ 79 w 120"/>
                <a:gd name="T27" fmla="*/ 33 h 121"/>
                <a:gd name="T28" fmla="*/ 60 w 120"/>
                <a:gd name="T29" fmla="*/ 13 h 121"/>
                <a:gd name="T30" fmla="*/ 31 w 120"/>
                <a:gd name="T31" fmla="*/ 43 h 121"/>
                <a:gd name="T32" fmla="*/ 31 w 120"/>
                <a:gd name="T33" fmla="*/ 54 h 121"/>
                <a:gd name="T34" fmla="*/ 36 w 120"/>
                <a:gd name="T35" fmla="*/ 56 h 121"/>
                <a:gd name="T36" fmla="*/ 42 w 120"/>
                <a:gd name="T37" fmla="*/ 54 h 121"/>
                <a:gd name="T38" fmla="*/ 52 w 120"/>
                <a:gd name="T39" fmla="*/ 44 h 121"/>
                <a:gd name="T40" fmla="*/ 52 w 120"/>
                <a:gd name="T41" fmla="*/ 72 h 121"/>
                <a:gd name="T42" fmla="*/ 52 w 120"/>
                <a:gd name="T43" fmla="*/ 113 h 121"/>
                <a:gd name="T44" fmla="*/ 60 w 120"/>
                <a:gd name="T45" fmla="*/ 0 h 121"/>
                <a:gd name="T46" fmla="*/ 0 w 120"/>
                <a:gd name="T47" fmla="*/ 61 h 121"/>
                <a:gd name="T48" fmla="*/ 60 w 120"/>
                <a:gd name="T49" fmla="*/ 121 h 121"/>
                <a:gd name="T50" fmla="*/ 120 w 120"/>
                <a:gd name="T51" fmla="*/ 61 h 121"/>
                <a:gd name="T52" fmla="*/ 60 w 120"/>
                <a:gd name="T5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1">
                  <a:moveTo>
                    <a:pt x="52" y="113"/>
                  </a:moveTo>
                  <a:cubicBezTo>
                    <a:pt x="27" y="109"/>
                    <a:pt x="7" y="87"/>
                    <a:pt x="7" y="61"/>
                  </a:cubicBezTo>
                  <a:cubicBezTo>
                    <a:pt x="7" y="31"/>
                    <a:pt x="31" y="7"/>
                    <a:pt x="60" y="7"/>
                  </a:cubicBezTo>
                  <a:cubicBezTo>
                    <a:pt x="90" y="7"/>
                    <a:pt x="114" y="31"/>
                    <a:pt x="114" y="61"/>
                  </a:cubicBezTo>
                  <a:cubicBezTo>
                    <a:pt x="114" y="87"/>
                    <a:pt x="94" y="110"/>
                    <a:pt x="68" y="113"/>
                  </a:cubicBezTo>
                  <a:cubicBezTo>
                    <a:pt x="68" y="63"/>
                    <a:pt x="68" y="63"/>
                    <a:pt x="68" y="63"/>
                  </a:cubicBezTo>
                  <a:cubicBezTo>
                    <a:pt x="68" y="44"/>
                    <a:pt x="68" y="44"/>
                    <a:pt x="68" y="44"/>
                  </a:cubicBezTo>
                  <a:cubicBezTo>
                    <a:pt x="76" y="52"/>
                    <a:pt x="76" y="52"/>
                    <a:pt x="76" y="52"/>
                  </a:cubicBezTo>
                  <a:cubicBezTo>
                    <a:pt x="76" y="52"/>
                    <a:pt x="76" y="52"/>
                    <a:pt x="76" y="52"/>
                  </a:cubicBezTo>
                  <a:cubicBezTo>
                    <a:pt x="78" y="54"/>
                    <a:pt x="78" y="54"/>
                    <a:pt x="78" y="54"/>
                  </a:cubicBezTo>
                  <a:cubicBezTo>
                    <a:pt x="79" y="56"/>
                    <a:pt x="81" y="56"/>
                    <a:pt x="83" y="56"/>
                  </a:cubicBezTo>
                  <a:cubicBezTo>
                    <a:pt x="85" y="56"/>
                    <a:pt x="87" y="56"/>
                    <a:pt x="89" y="54"/>
                  </a:cubicBezTo>
                  <a:cubicBezTo>
                    <a:pt x="92" y="51"/>
                    <a:pt x="92" y="46"/>
                    <a:pt x="89" y="43"/>
                  </a:cubicBezTo>
                  <a:cubicBezTo>
                    <a:pt x="79" y="33"/>
                    <a:pt x="79" y="33"/>
                    <a:pt x="79" y="33"/>
                  </a:cubicBezTo>
                  <a:cubicBezTo>
                    <a:pt x="60" y="13"/>
                    <a:pt x="60" y="13"/>
                    <a:pt x="60" y="13"/>
                  </a:cubicBezTo>
                  <a:cubicBezTo>
                    <a:pt x="31" y="43"/>
                    <a:pt x="31" y="43"/>
                    <a:pt x="31" y="43"/>
                  </a:cubicBezTo>
                  <a:cubicBezTo>
                    <a:pt x="28" y="46"/>
                    <a:pt x="28" y="51"/>
                    <a:pt x="31" y="54"/>
                  </a:cubicBezTo>
                  <a:cubicBezTo>
                    <a:pt x="32" y="56"/>
                    <a:pt x="34" y="56"/>
                    <a:pt x="36" y="56"/>
                  </a:cubicBezTo>
                  <a:cubicBezTo>
                    <a:pt x="39" y="56"/>
                    <a:pt x="41" y="56"/>
                    <a:pt x="42" y="54"/>
                  </a:cubicBezTo>
                  <a:cubicBezTo>
                    <a:pt x="52" y="44"/>
                    <a:pt x="52" y="44"/>
                    <a:pt x="52" y="44"/>
                  </a:cubicBezTo>
                  <a:cubicBezTo>
                    <a:pt x="52" y="72"/>
                    <a:pt x="52" y="72"/>
                    <a:pt x="52" y="72"/>
                  </a:cubicBezTo>
                  <a:cubicBezTo>
                    <a:pt x="52" y="113"/>
                    <a:pt x="52" y="113"/>
                    <a:pt x="52" y="113"/>
                  </a:cubicBezTo>
                  <a:moveTo>
                    <a:pt x="60" y="0"/>
                  </a:moveTo>
                  <a:cubicBezTo>
                    <a:pt x="27" y="0"/>
                    <a:pt x="0" y="27"/>
                    <a:pt x="0" y="61"/>
                  </a:cubicBezTo>
                  <a:cubicBezTo>
                    <a:pt x="0" y="94"/>
                    <a:pt x="27" y="121"/>
                    <a:pt x="60" y="121"/>
                  </a:cubicBezTo>
                  <a:cubicBezTo>
                    <a:pt x="94" y="121"/>
                    <a:pt x="120" y="94"/>
                    <a:pt x="120" y="61"/>
                  </a:cubicBezTo>
                  <a:cubicBezTo>
                    <a:pt x="120" y="27"/>
                    <a:pt x="94" y="0"/>
                    <a:pt x="6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5" name="Freeform 21344">
              <a:extLst>
                <a:ext uri="{FF2B5EF4-FFF2-40B4-BE49-F238E27FC236}">
                  <a16:creationId xmlns:a16="http://schemas.microsoft.com/office/drawing/2014/main" id="{96CF31EA-820C-408B-BE7E-E115F1A75E5B}"/>
                </a:ext>
              </a:extLst>
            </p:cNvPr>
            <p:cNvSpPr>
              <a:spLocks noEditPoints="1"/>
            </p:cNvSpPr>
            <p:nvPr userDrawn="1"/>
          </p:nvSpPr>
          <p:spPr bwMode="auto">
            <a:xfrm>
              <a:off x="7228840" y="4287203"/>
              <a:ext cx="265113" cy="265113"/>
            </a:xfrm>
            <a:custGeom>
              <a:avLst/>
              <a:gdLst>
                <a:gd name="T0" fmla="*/ 56 w 131"/>
                <a:gd name="T1" fmla="*/ 123 h 131"/>
                <a:gd name="T2" fmla="*/ 7 w 131"/>
                <a:gd name="T3" fmla="*/ 65 h 131"/>
                <a:gd name="T4" fmla="*/ 65 w 131"/>
                <a:gd name="T5" fmla="*/ 7 h 131"/>
                <a:gd name="T6" fmla="*/ 124 w 131"/>
                <a:gd name="T7" fmla="*/ 65 h 131"/>
                <a:gd name="T8" fmla="*/ 74 w 131"/>
                <a:gd name="T9" fmla="*/ 123 h 131"/>
                <a:gd name="T10" fmla="*/ 74 w 131"/>
                <a:gd name="T11" fmla="*/ 68 h 131"/>
                <a:gd name="T12" fmla="*/ 74 w 131"/>
                <a:gd name="T13" fmla="*/ 47 h 131"/>
                <a:gd name="T14" fmla="*/ 82 w 131"/>
                <a:gd name="T15" fmla="*/ 56 h 131"/>
                <a:gd name="T16" fmla="*/ 82 w 131"/>
                <a:gd name="T17" fmla="*/ 56 h 131"/>
                <a:gd name="T18" fmla="*/ 84 w 131"/>
                <a:gd name="T19" fmla="*/ 58 h 131"/>
                <a:gd name="T20" fmla="*/ 91 w 131"/>
                <a:gd name="T21" fmla="*/ 61 h 131"/>
                <a:gd name="T22" fmla="*/ 97 w 131"/>
                <a:gd name="T23" fmla="*/ 58 h 131"/>
                <a:gd name="T24" fmla="*/ 97 w 131"/>
                <a:gd name="T25" fmla="*/ 46 h 131"/>
                <a:gd name="T26" fmla="*/ 86 w 131"/>
                <a:gd name="T27" fmla="*/ 35 h 131"/>
                <a:gd name="T28" fmla="*/ 65 w 131"/>
                <a:gd name="T29" fmla="*/ 13 h 131"/>
                <a:gd name="T30" fmla="*/ 33 w 131"/>
                <a:gd name="T31" fmla="*/ 46 h 131"/>
                <a:gd name="T32" fmla="*/ 33 w 131"/>
                <a:gd name="T33" fmla="*/ 58 h 131"/>
                <a:gd name="T34" fmla="*/ 39 w 131"/>
                <a:gd name="T35" fmla="*/ 61 h 131"/>
                <a:gd name="T36" fmla="*/ 46 w 131"/>
                <a:gd name="T37" fmla="*/ 58 h 131"/>
                <a:gd name="T38" fmla="*/ 56 w 131"/>
                <a:gd name="T39" fmla="*/ 47 h 131"/>
                <a:gd name="T40" fmla="*/ 56 w 131"/>
                <a:gd name="T41" fmla="*/ 78 h 131"/>
                <a:gd name="T42" fmla="*/ 56 w 131"/>
                <a:gd name="T43" fmla="*/ 123 h 131"/>
                <a:gd name="T44" fmla="*/ 65 w 131"/>
                <a:gd name="T45" fmla="*/ 0 h 131"/>
                <a:gd name="T46" fmla="*/ 0 w 131"/>
                <a:gd name="T47" fmla="*/ 65 h 131"/>
                <a:gd name="T48" fmla="*/ 65 w 131"/>
                <a:gd name="T49" fmla="*/ 131 h 131"/>
                <a:gd name="T50" fmla="*/ 131 w 131"/>
                <a:gd name="T51" fmla="*/ 65 h 131"/>
                <a:gd name="T52" fmla="*/ 65 w 131"/>
                <a:gd name="T5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31">
                  <a:moveTo>
                    <a:pt x="56" y="123"/>
                  </a:moveTo>
                  <a:cubicBezTo>
                    <a:pt x="29" y="118"/>
                    <a:pt x="7" y="94"/>
                    <a:pt x="7" y="65"/>
                  </a:cubicBezTo>
                  <a:cubicBezTo>
                    <a:pt x="7" y="33"/>
                    <a:pt x="33" y="7"/>
                    <a:pt x="65" y="7"/>
                  </a:cubicBezTo>
                  <a:cubicBezTo>
                    <a:pt x="98" y="7"/>
                    <a:pt x="124" y="33"/>
                    <a:pt x="124" y="65"/>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4" y="58"/>
                    <a:pt x="84" y="58"/>
                    <a:pt x="84" y="58"/>
                  </a:cubicBezTo>
                  <a:cubicBezTo>
                    <a:pt x="86" y="60"/>
                    <a:pt x="88" y="61"/>
                    <a:pt x="91" y="61"/>
                  </a:cubicBezTo>
                  <a:cubicBezTo>
                    <a:pt x="93" y="61"/>
                    <a:pt x="95" y="60"/>
                    <a:pt x="97" y="58"/>
                  </a:cubicBezTo>
                  <a:cubicBezTo>
                    <a:pt x="100" y="55"/>
                    <a:pt x="100" y="50"/>
                    <a:pt x="97" y="46"/>
                  </a:cubicBezTo>
                  <a:cubicBezTo>
                    <a:pt x="86" y="35"/>
                    <a:pt x="86" y="35"/>
                    <a:pt x="86" y="35"/>
                  </a:cubicBezTo>
                  <a:cubicBezTo>
                    <a:pt x="65" y="13"/>
                    <a:pt x="65" y="13"/>
                    <a:pt x="65" y="13"/>
                  </a:cubicBezTo>
                  <a:cubicBezTo>
                    <a:pt x="33" y="46"/>
                    <a:pt x="33" y="46"/>
                    <a:pt x="33" y="46"/>
                  </a:cubicBezTo>
                  <a:cubicBezTo>
                    <a:pt x="30" y="50"/>
                    <a:pt x="30" y="55"/>
                    <a:pt x="33" y="58"/>
                  </a:cubicBezTo>
                  <a:cubicBezTo>
                    <a:pt x="35" y="60"/>
                    <a:pt x="37" y="61"/>
                    <a:pt x="39" y="61"/>
                  </a:cubicBezTo>
                  <a:cubicBezTo>
                    <a:pt x="42" y="61"/>
                    <a:pt x="44" y="60"/>
                    <a:pt x="46" y="58"/>
                  </a:cubicBezTo>
                  <a:cubicBezTo>
                    <a:pt x="56" y="47"/>
                    <a:pt x="56" y="47"/>
                    <a:pt x="56" y="47"/>
                  </a:cubicBezTo>
                  <a:cubicBezTo>
                    <a:pt x="56" y="78"/>
                    <a:pt x="56" y="78"/>
                    <a:pt x="56" y="78"/>
                  </a:cubicBezTo>
                  <a:cubicBezTo>
                    <a:pt x="56" y="123"/>
                    <a:pt x="56" y="123"/>
                    <a:pt x="56" y="123"/>
                  </a:cubicBezTo>
                  <a:moveTo>
                    <a:pt x="65" y="0"/>
                  </a:moveTo>
                  <a:cubicBezTo>
                    <a:pt x="29" y="0"/>
                    <a:pt x="0" y="29"/>
                    <a:pt x="0" y="65"/>
                  </a:cubicBezTo>
                  <a:cubicBezTo>
                    <a:pt x="0" y="102"/>
                    <a:pt x="29" y="131"/>
                    <a:pt x="65" y="131"/>
                  </a:cubicBezTo>
                  <a:cubicBezTo>
                    <a:pt x="102" y="131"/>
                    <a:pt x="131" y="102"/>
                    <a:pt x="131" y="65"/>
                  </a:cubicBezTo>
                  <a:cubicBezTo>
                    <a:pt x="131" y="29"/>
                    <a:pt x="102" y="0"/>
                    <a:pt x="6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6" name="Freeform 21345">
              <a:extLst>
                <a:ext uri="{FF2B5EF4-FFF2-40B4-BE49-F238E27FC236}">
                  <a16:creationId xmlns:a16="http://schemas.microsoft.com/office/drawing/2014/main" id="{BAFB4AFE-C3DA-4548-B772-F6AA220FFE4D}"/>
                </a:ext>
              </a:extLst>
            </p:cNvPr>
            <p:cNvSpPr>
              <a:spLocks noEditPoints="1"/>
            </p:cNvSpPr>
            <p:nvPr userDrawn="1"/>
          </p:nvSpPr>
          <p:spPr bwMode="auto">
            <a:xfrm>
              <a:off x="10264140" y="3161665"/>
              <a:ext cx="68263" cy="388938"/>
            </a:xfrm>
            <a:custGeom>
              <a:avLst/>
              <a:gdLst>
                <a:gd name="T0" fmla="*/ 19 w 43"/>
                <a:gd name="T1" fmla="*/ 237 h 245"/>
                <a:gd name="T2" fmla="*/ 24 w 43"/>
                <a:gd name="T3" fmla="*/ 245 h 245"/>
                <a:gd name="T4" fmla="*/ 24 w 43"/>
                <a:gd name="T5" fmla="*/ 222 h 245"/>
                <a:gd name="T6" fmla="*/ 19 w 43"/>
                <a:gd name="T7" fmla="*/ 229 h 245"/>
                <a:gd name="T8" fmla="*/ 24 w 43"/>
                <a:gd name="T9" fmla="*/ 222 h 245"/>
                <a:gd name="T10" fmla="*/ 19 w 43"/>
                <a:gd name="T11" fmla="*/ 208 h 245"/>
                <a:gd name="T12" fmla="*/ 24 w 43"/>
                <a:gd name="T13" fmla="*/ 215 h 245"/>
                <a:gd name="T14" fmla="*/ 24 w 43"/>
                <a:gd name="T15" fmla="*/ 193 h 245"/>
                <a:gd name="T16" fmla="*/ 19 w 43"/>
                <a:gd name="T17" fmla="*/ 200 h 245"/>
                <a:gd name="T18" fmla="*/ 24 w 43"/>
                <a:gd name="T19" fmla="*/ 193 h 245"/>
                <a:gd name="T20" fmla="*/ 19 w 43"/>
                <a:gd name="T21" fmla="*/ 179 h 245"/>
                <a:gd name="T22" fmla="*/ 24 w 43"/>
                <a:gd name="T23" fmla="*/ 185 h 245"/>
                <a:gd name="T24" fmla="*/ 24 w 43"/>
                <a:gd name="T25" fmla="*/ 163 h 245"/>
                <a:gd name="T26" fmla="*/ 19 w 43"/>
                <a:gd name="T27" fmla="*/ 171 h 245"/>
                <a:gd name="T28" fmla="*/ 24 w 43"/>
                <a:gd name="T29" fmla="*/ 163 h 245"/>
                <a:gd name="T30" fmla="*/ 19 w 43"/>
                <a:gd name="T31" fmla="*/ 148 h 245"/>
                <a:gd name="T32" fmla="*/ 24 w 43"/>
                <a:gd name="T33" fmla="*/ 156 h 245"/>
                <a:gd name="T34" fmla="*/ 24 w 43"/>
                <a:gd name="T35" fmla="*/ 134 h 245"/>
                <a:gd name="T36" fmla="*/ 19 w 43"/>
                <a:gd name="T37" fmla="*/ 140 h 245"/>
                <a:gd name="T38" fmla="*/ 24 w 43"/>
                <a:gd name="T39" fmla="*/ 134 h 245"/>
                <a:gd name="T40" fmla="*/ 19 w 43"/>
                <a:gd name="T41" fmla="*/ 119 h 245"/>
                <a:gd name="T42" fmla="*/ 24 w 43"/>
                <a:gd name="T43" fmla="*/ 127 h 245"/>
                <a:gd name="T44" fmla="*/ 24 w 43"/>
                <a:gd name="T45" fmla="*/ 104 h 245"/>
                <a:gd name="T46" fmla="*/ 19 w 43"/>
                <a:gd name="T47" fmla="*/ 111 h 245"/>
                <a:gd name="T48" fmla="*/ 24 w 43"/>
                <a:gd name="T49" fmla="*/ 104 h 245"/>
                <a:gd name="T50" fmla="*/ 19 w 43"/>
                <a:gd name="T51" fmla="*/ 90 h 245"/>
                <a:gd name="T52" fmla="*/ 24 w 43"/>
                <a:gd name="T53" fmla="*/ 97 h 245"/>
                <a:gd name="T54" fmla="*/ 24 w 43"/>
                <a:gd name="T55" fmla="*/ 74 h 245"/>
                <a:gd name="T56" fmla="*/ 19 w 43"/>
                <a:gd name="T57" fmla="*/ 82 h 245"/>
                <a:gd name="T58" fmla="*/ 24 w 43"/>
                <a:gd name="T59" fmla="*/ 74 h 245"/>
                <a:gd name="T60" fmla="*/ 19 w 43"/>
                <a:gd name="T61" fmla="*/ 60 h 245"/>
                <a:gd name="T62" fmla="*/ 24 w 43"/>
                <a:gd name="T63" fmla="*/ 67 h 245"/>
                <a:gd name="T64" fmla="*/ 24 w 43"/>
                <a:gd name="T65" fmla="*/ 45 h 245"/>
                <a:gd name="T66" fmla="*/ 19 w 43"/>
                <a:gd name="T67" fmla="*/ 53 h 245"/>
                <a:gd name="T68" fmla="*/ 24 w 43"/>
                <a:gd name="T69" fmla="*/ 45 h 245"/>
                <a:gd name="T70" fmla="*/ 0 w 43"/>
                <a:gd name="T71" fmla="*/ 36 h 245"/>
                <a:gd name="T72" fmla="*/ 19 w 43"/>
                <a:gd name="T73" fmla="*/ 38 h 245"/>
                <a:gd name="T74" fmla="*/ 24 w 43"/>
                <a:gd name="T75" fmla="*/ 36 h 245"/>
                <a:gd name="T76" fmla="*/ 21 w 43"/>
                <a:gd name="T7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245">
                  <a:moveTo>
                    <a:pt x="24" y="237"/>
                  </a:moveTo>
                  <a:lnTo>
                    <a:pt x="19" y="237"/>
                  </a:lnTo>
                  <a:lnTo>
                    <a:pt x="19" y="245"/>
                  </a:lnTo>
                  <a:lnTo>
                    <a:pt x="24" y="245"/>
                  </a:lnTo>
                  <a:lnTo>
                    <a:pt x="24" y="237"/>
                  </a:lnTo>
                  <a:close/>
                  <a:moveTo>
                    <a:pt x="24" y="222"/>
                  </a:moveTo>
                  <a:lnTo>
                    <a:pt x="19" y="222"/>
                  </a:lnTo>
                  <a:lnTo>
                    <a:pt x="19" y="229"/>
                  </a:lnTo>
                  <a:lnTo>
                    <a:pt x="24" y="229"/>
                  </a:lnTo>
                  <a:lnTo>
                    <a:pt x="24" y="222"/>
                  </a:lnTo>
                  <a:close/>
                  <a:moveTo>
                    <a:pt x="24" y="208"/>
                  </a:moveTo>
                  <a:lnTo>
                    <a:pt x="19" y="208"/>
                  </a:lnTo>
                  <a:lnTo>
                    <a:pt x="19" y="215"/>
                  </a:lnTo>
                  <a:lnTo>
                    <a:pt x="24" y="215"/>
                  </a:lnTo>
                  <a:lnTo>
                    <a:pt x="24" y="208"/>
                  </a:lnTo>
                  <a:close/>
                  <a:moveTo>
                    <a:pt x="24" y="193"/>
                  </a:moveTo>
                  <a:lnTo>
                    <a:pt x="19" y="193"/>
                  </a:lnTo>
                  <a:lnTo>
                    <a:pt x="19" y="200"/>
                  </a:lnTo>
                  <a:lnTo>
                    <a:pt x="24" y="200"/>
                  </a:lnTo>
                  <a:lnTo>
                    <a:pt x="24" y="193"/>
                  </a:lnTo>
                  <a:close/>
                  <a:moveTo>
                    <a:pt x="24" y="179"/>
                  </a:moveTo>
                  <a:lnTo>
                    <a:pt x="19" y="179"/>
                  </a:lnTo>
                  <a:lnTo>
                    <a:pt x="19" y="185"/>
                  </a:lnTo>
                  <a:lnTo>
                    <a:pt x="24" y="185"/>
                  </a:lnTo>
                  <a:lnTo>
                    <a:pt x="24" y="179"/>
                  </a:lnTo>
                  <a:close/>
                  <a:moveTo>
                    <a:pt x="24" y="163"/>
                  </a:moveTo>
                  <a:lnTo>
                    <a:pt x="19" y="163"/>
                  </a:lnTo>
                  <a:lnTo>
                    <a:pt x="19" y="171"/>
                  </a:lnTo>
                  <a:lnTo>
                    <a:pt x="24" y="171"/>
                  </a:lnTo>
                  <a:lnTo>
                    <a:pt x="24" y="163"/>
                  </a:lnTo>
                  <a:close/>
                  <a:moveTo>
                    <a:pt x="24" y="148"/>
                  </a:moveTo>
                  <a:lnTo>
                    <a:pt x="19" y="148"/>
                  </a:lnTo>
                  <a:lnTo>
                    <a:pt x="19" y="156"/>
                  </a:lnTo>
                  <a:lnTo>
                    <a:pt x="24" y="156"/>
                  </a:lnTo>
                  <a:lnTo>
                    <a:pt x="24" y="148"/>
                  </a:lnTo>
                  <a:close/>
                  <a:moveTo>
                    <a:pt x="24" y="134"/>
                  </a:moveTo>
                  <a:lnTo>
                    <a:pt x="19" y="134"/>
                  </a:lnTo>
                  <a:lnTo>
                    <a:pt x="19" y="140"/>
                  </a:lnTo>
                  <a:lnTo>
                    <a:pt x="24" y="140"/>
                  </a:lnTo>
                  <a:lnTo>
                    <a:pt x="24" y="134"/>
                  </a:lnTo>
                  <a:close/>
                  <a:moveTo>
                    <a:pt x="24" y="119"/>
                  </a:moveTo>
                  <a:lnTo>
                    <a:pt x="19" y="119"/>
                  </a:lnTo>
                  <a:lnTo>
                    <a:pt x="19" y="127"/>
                  </a:lnTo>
                  <a:lnTo>
                    <a:pt x="24" y="127"/>
                  </a:lnTo>
                  <a:lnTo>
                    <a:pt x="24" y="119"/>
                  </a:lnTo>
                  <a:close/>
                  <a:moveTo>
                    <a:pt x="24" y="104"/>
                  </a:moveTo>
                  <a:lnTo>
                    <a:pt x="19" y="104"/>
                  </a:lnTo>
                  <a:lnTo>
                    <a:pt x="19" y="111"/>
                  </a:lnTo>
                  <a:lnTo>
                    <a:pt x="24" y="111"/>
                  </a:lnTo>
                  <a:lnTo>
                    <a:pt x="24" y="104"/>
                  </a:lnTo>
                  <a:close/>
                  <a:moveTo>
                    <a:pt x="24" y="90"/>
                  </a:moveTo>
                  <a:lnTo>
                    <a:pt x="19" y="90"/>
                  </a:lnTo>
                  <a:lnTo>
                    <a:pt x="19" y="97"/>
                  </a:lnTo>
                  <a:lnTo>
                    <a:pt x="24" y="97"/>
                  </a:lnTo>
                  <a:lnTo>
                    <a:pt x="24" y="90"/>
                  </a:lnTo>
                  <a:close/>
                  <a:moveTo>
                    <a:pt x="24" y="74"/>
                  </a:moveTo>
                  <a:lnTo>
                    <a:pt x="19" y="74"/>
                  </a:lnTo>
                  <a:lnTo>
                    <a:pt x="19" y="82"/>
                  </a:lnTo>
                  <a:lnTo>
                    <a:pt x="24" y="82"/>
                  </a:lnTo>
                  <a:lnTo>
                    <a:pt x="24" y="74"/>
                  </a:lnTo>
                  <a:close/>
                  <a:moveTo>
                    <a:pt x="24" y="60"/>
                  </a:moveTo>
                  <a:lnTo>
                    <a:pt x="19" y="60"/>
                  </a:lnTo>
                  <a:lnTo>
                    <a:pt x="19" y="67"/>
                  </a:lnTo>
                  <a:lnTo>
                    <a:pt x="24" y="67"/>
                  </a:lnTo>
                  <a:lnTo>
                    <a:pt x="24" y="60"/>
                  </a:lnTo>
                  <a:close/>
                  <a:moveTo>
                    <a:pt x="24" y="45"/>
                  </a:moveTo>
                  <a:lnTo>
                    <a:pt x="19" y="45"/>
                  </a:lnTo>
                  <a:lnTo>
                    <a:pt x="19" y="53"/>
                  </a:lnTo>
                  <a:lnTo>
                    <a:pt x="24" y="53"/>
                  </a:lnTo>
                  <a:lnTo>
                    <a:pt x="24" y="45"/>
                  </a:lnTo>
                  <a:close/>
                  <a:moveTo>
                    <a:pt x="21" y="0"/>
                  </a:moveTo>
                  <a:lnTo>
                    <a:pt x="0" y="36"/>
                  </a:lnTo>
                  <a:lnTo>
                    <a:pt x="19" y="36"/>
                  </a:lnTo>
                  <a:lnTo>
                    <a:pt x="19" y="38"/>
                  </a:lnTo>
                  <a:lnTo>
                    <a:pt x="24" y="38"/>
                  </a:lnTo>
                  <a:lnTo>
                    <a:pt x="24" y="36"/>
                  </a:lnTo>
                  <a:lnTo>
                    <a:pt x="43" y="36"/>
                  </a:lnTo>
                  <a:lnTo>
                    <a:pt x="21"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7" name="Freeform 21346">
              <a:extLst>
                <a:ext uri="{FF2B5EF4-FFF2-40B4-BE49-F238E27FC236}">
                  <a16:creationId xmlns:a16="http://schemas.microsoft.com/office/drawing/2014/main" id="{61886D20-2D45-4CCB-8AA0-93C6DF920562}"/>
                </a:ext>
              </a:extLst>
            </p:cNvPr>
            <p:cNvSpPr>
              <a:spLocks noEditPoints="1"/>
            </p:cNvSpPr>
            <p:nvPr userDrawn="1"/>
          </p:nvSpPr>
          <p:spPr bwMode="auto">
            <a:xfrm>
              <a:off x="10264140" y="3161665"/>
              <a:ext cx="68263" cy="388938"/>
            </a:xfrm>
            <a:custGeom>
              <a:avLst/>
              <a:gdLst>
                <a:gd name="T0" fmla="*/ 19 w 43"/>
                <a:gd name="T1" fmla="*/ 237 h 245"/>
                <a:gd name="T2" fmla="*/ 24 w 43"/>
                <a:gd name="T3" fmla="*/ 245 h 245"/>
                <a:gd name="T4" fmla="*/ 24 w 43"/>
                <a:gd name="T5" fmla="*/ 222 h 245"/>
                <a:gd name="T6" fmla="*/ 19 w 43"/>
                <a:gd name="T7" fmla="*/ 229 h 245"/>
                <a:gd name="T8" fmla="*/ 24 w 43"/>
                <a:gd name="T9" fmla="*/ 222 h 245"/>
                <a:gd name="T10" fmla="*/ 19 w 43"/>
                <a:gd name="T11" fmla="*/ 208 h 245"/>
                <a:gd name="T12" fmla="*/ 24 w 43"/>
                <a:gd name="T13" fmla="*/ 215 h 245"/>
                <a:gd name="T14" fmla="*/ 24 w 43"/>
                <a:gd name="T15" fmla="*/ 193 h 245"/>
                <a:gd name="T16" fmla="*/ 19 w 43"/>
                <a:gd name="T17" fmla="*/ 200 h 245"/>
                <a:gd name="T18" fmla="*/ 24 w 43"/>
                <a:gd name="T19" fmla="*/ 193 h 245"/>
                <a:gd name="T20" fmla="*/ 19 w 43"/>
                <a:gd name="T21" fmla="*/ 179 h 245"/>
                <a:gd name="T22" fmla="*/ 24 w 43"/>
                <a:gd name="T23" fmla="*/ 185 h 245"/>
                <a:gd name="T24" fmla="*/ 24 w 43"/>
                <a:gd name="T25" fmla="*/ 163 h 245"/>
                <a:gd name="T26" fmla="*/ 19 w 43"/>
                <a:gd name="T27" fmla="*/ 171 h 245"/>
                <a:gd name="T28" fmla="*/ 24 w 43"/>
                <a:gd name="T29" fmla="*/ 163 h 245"/>
                <a:gd name="T30" fmla="*/ 19 w 43"/>
                <a:gd name="T31" fmla="*/ 148 h 245"/>
                <a:gd name="T32" fmla="*/ 24 w 43"/>
                <a:gd name="T33" fmla="*/ 156 h 245"/>
                <a:gd name="T34" fmla="*/ 24 w 43"/>
                <a:gd name="T35" fmla="*/ 134 h 245"/>
                <a:gd name="T36" fmla="*/ 19 w 43"/>
                <a:gd name="T37" fmla="*/ 140 h 245"/>
                <a:gd name="T38" fmla="*/ 24 w 43"/>
                <a:gd name="T39" fmla="*/ 134 h 245"/>
                <a:gd name="T40" fmla="*/ 19 w 43"/>
                <a:gd name="T41" fmla="*/ 119 h 245"/>
                <a:gd name="T42" fmla="*/ 24 w 43"/>
                <a:gd name="T43" fmla="*/ 127 h 245"/>
                <a:gd name="T44" fmla="*/ 24 w 43"/>
                <a:gd name="T45" fmla="*/ 104 h 245"/>
                <a:gd name="T46" fmla="*/ 19 w 43"/>
                <a:gd name="T47" fmla="*/ 111 h 245"/>
                <a:gd name="T48" fmla="*/ 24 w 43"/>
                <a:gd name="T49" fmla="*/ 104 h 245"/>
                <a:gd name="T50" fmla="*/ 19 w 43"/>
                <a:gd name="T51" fmla="*/ 90 h 245"/>
                <a:gd name="T52" fmla="*/ 24 w 43"/>
                <a:gd name="T53" fmla="*/ 97 h 245"/>
                <a:gd name="T54" fmla="*/ 24 w 43"/>
                <a:gd name="T55" fmla="*/ 74 h 245"/>
                <a:gd name="T56" fmla="*/ 19 w 43"/>
                <a:gd name="T57" fmla="*/ 82 h 245"/>
                <a:gd name="T58" fmla="*/ 24 w 43"/>
                <a:gd name="T59" fmla="*/ 74 h 245"/>
                <a:gd name="T60" fmla="*/ 19 w 43"/>
                <a:gd name="T61" fmla="*/ 60 h 245"/>
                <a:gd name="T62" fmla="*/ 24 w 43"/>
                <a:gd name="T63" fmla="*/ 67 h 245"/>
                <a:gd name="T64" fmla="*/ 24 w 43"/>
                <a:gd name="T65" fmla="*/ 45 h 245"/>
                <a:gd name="T66" fmla="*/ 19 w 43"/>
                <a:gd name="T67" fmla="*/ 53 h 245"/>
                <a:gd name="T68" fmla="*/ 24 w 43"/>
                <a:gd name="T69" fmla="*/ 45 h 245"/>
                <a:gd name="T70" fmla="*/ 0 w 43"/>
                <a:gd name="T71" fmla="*/ 36 h 245"/>
                <a:gd name="T72" fmla="*/ 19 w 43"/>
                <a:gd name="T73" fmla="*/ 38 h 245"/>
                <a:gd name="T74" fmla="*/ 24 w 43"/>
                <a:gd name="T75" fmla="*/ 36 h 245"/>
                <a:gd name="T76" fmla="*/ 21 w 43"/>
                <a:gd name="T7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245">
                  <a:moveTo>
                    <a:pt x="24" y="237"/>
                  </a:moveTo>
                  <a:lnTo>
                    <a:pt x="19" y="237"/>
                  </a:lnTo>
                  <a:lnTo>
                    <a:pt x="19" y="245"/>
                  </a:lnTo>
                  <a:lnTo>
                    <a:pt x="24" y="245"/>
                  </a:lnTo>
                  <a:lnTo>
                    <a:pt x="24" y="237"/>
                  </a:lnTo>
                  <a:moveTo>
                    <a:pt x="24" y="222"/>
                  </a:moveTo>
                  <a:lnTo>
                    <a:pt x="19" y="222"/>
                  </a:lnTo>
                  <a:lnTo>
                    <a:pt x="19" y="229"/>
                  </a:lnTo>
                  <a:lnTo>
                    <a:pt x="24" y="229"/>
                  </a:lnTo>
                  <a:lnTo>
                    <a:pt x="24" y="222"/>
                  </a:lnTo>
                  <a:moveTo>
                    <a:pt x="24" y="208"/>
                  </a:moveTo>
                  <a:lnTo>
                    <a:pt x="19" y="208"/>
                  </a:lnTo>
                  <a:lnTo>
                    <a:pt x="19" y="215"/>
                  </a:lnTo>
                  <a:lnTo>
                    <a:pt x="24" y="215"/>
                  </a:lnTo>
                  <a:lnTo>
                    <a:pt x="24" y="208"/>
                  </a:lnTo>
                  <a:moveTo>
                    <a:pt x="24" y="193"/>
                  </a:moveTo>
                  <a:lnTo>
                    <a:pt x="19" y="193"/>
                  </a:lnTo>
                  <a:lnTo>
                    <a:pt x="19" y="200"/>
                  </a:lnTo>
                  <a:lnTo>
                    <a:pt x="24" y="200"/>
                  </a:lnTo>
                  <a:lnTo>
                    <a:pt x="24" y="193"/>
                  </a:lnTo>
                  <a:moveTo>
                    <a:pt x="24" y="179"/>
                  </a:moveTo>
                  <a:lnTo>
                    <a:pt x="19" y="179"/>
                  </a:lnTo>
                  <a:lnTo>
                    <a:pt x="19" y="185"/>
                  </a:lnTo>
                  <a:lnTo>
                    <a:pt x="24" y="185"/>
                  </a:lnTo>
                  <a:lnTo>
                    <a:pt x="24" y="179"/>
                  </a:lnTo>
                  <a:moveTo>
                    <a:pt x="24" y="163"/>
                  </a:moveTo>
                  <a:lnTo>
                    <a:pt x="19" y="163"/>
                  </a:lnTo>
                  <a:lnTo>
                    <a:pt x="19" y="171"/>
                  </a:lnTo>
                  <a:lnTo>
                    <a:pt x="24" y="171"/>
                  </a:lnTo>
                  <a:lnTo>
                    <a:pt x="24" y="163"/>
                  </a:lnTo>
                  <a:moveTo>
                    <a:pt x="24" y="148"/>
                  </a:moveTo>
                  <a:lnTo>
                    <a:pt x="19" y="148"/>
                  </a:lnTo>
                  <a:lnTo>
                    <a:pt x="19" y="156"/>
                  </a:lnTo>
                  <a:lnTo>
                    <a:pt x="24" y="156"/>
                  </a:lnTo>
                  <a:lnTo>
                    <a:pt x="24" y="148"/>
                  </a:lnTo>
                  <a:moveTo>
                    <a:pt x="24" y="134"/>
                  </a:moveTo>
                  <a:lnTo>
                    <a:pt x="19" y="134"/>
                  </a:lnTo>
                  <a:lnTo>
                    <a:pt x="19" y="140"/>
                  </a:lnTo>
                  <a:lnTo>
                    <a:pt x="24" y="140"/>
                  </a:lnTo>
                  <a:lnTo>
                    <a:pt x="24" y="134"/>
                  </a:lnTo>
                  <a:moveTo>
                    <a:pt x="24" y="119"/>
                  </a:moveTo>
                  <a:lnTo>
                    <a:pt x="19" y="119"/>
                  </a:lnTo>
                  <a:lnTo>
                    <a:pt x="19" y="127"/>
                  </a:lnTo>
                  <a:lnTo>
                    <a:pt x="24" y="127"/>
                  </a:lnTo>
                  <a:lnTo>
                    <a:pt x="24" y="119"/>
                  </a:lnTo>
                  <a:moveTo>
                    <a:pt x="24" y="104"/>
                  </a:moveTo>
                  <a:lnTo>
                    <a:pt x="19" y="104"/>
                  </a:lnTo>
                  <a:lnTo>
                    <a:pt x="19" y="111"/>
                  </a:lnTo>
                  <a:lnTo>
                    <a:pt x="24" y="111"/>
                  </a:lnTo>
                  <a:lnTo>
                    <a:pt x="24" y="104"/>
                  </a:lnTo>
                  <a:moveTo>
                    <a:pt x="24" y="90"/>
                  </a:moveTo>
                  <a:lnTo>
                    <a:pt x="19" y="90"/>
                  </a:lnTo>
                  <a:lnTo>
                    <a:pt x="19" y="97"/>
                  </a:lnTo>
                  <a:lnTo>
                    <a:pt x="24" y="97"/>
                  </a:lnTo>
                  <a:lnTo>
                    <a:pt x="24" y="90"/>
                  </a:lnTo>
                  <a:moveTo>
                    <a:pt x="24" y="74"/>
                  </a:moveTo>
                  <a:lnTo>
                    <a:pt x="19" y="74"/>
                  </a:lnTo>
                  <a:lnTo>
                    <a:pt x="19" y="82"/>
                  </a:lnTo>
                  <a:lnTo>
                    <a:pt x="24" y="82"/>
                  </a:lnTo>
                  <a:lnTo>
                    <a:pt x="24" y="74"/>
                  </a:lnTo>
                  <a:moveTo>
                    <a:pt x="24" y="60"/>
                  </a:moveTo>
                  <a:lnTo>
                    <a:pt x="19" y="60"/>
                  </a:lnTo>
                  <a:lnTo>
                    <a:pt x="19" y="67"/>
                  </a:lnTo>
                  <a:lnTo>
                    <a:pt x="24" y="67"/>
                  </a:lnTo>
                  <a:lnTo>
                    <a:pt x="24" y="60"/>
                  </a:lnTo>
                  <a:moveTo>
                    <a:pt x="24" y="45"/>
                  </a:moveTo>
                  <a:lnTo>
                    <a:pt x="19" y="45"/>
                  </a:lnTo>
                  <a:lnTo>
                    <a:pt x="19" y="53"/>
                  </a:lnTo>
                  <a:lnTo>
                    <a:pt x="24" y="53"/>
                  </a:lnTo>
                  <a:lnTo>
                    <a:pt x="24" y="45"/>
                  </a:lnTo>
                  <a:moveTo>
                    <a:pt x="21" y="0"/>
                  </a:moveTo>
                  <a:lnTo>
                    <a:pt x="0" y="36"/>
                  </a:lnTo>
                  <a:lnTo>
                    <a:pt x="19" y="36"/>
                  </a:lnTo>
                  <a:lnTo>
                    <a:pt x="19" y="38"/>
                  </a:lnTo>
                  <a:lnTo>
                    <a:pt x="24" y="38"/>
                  </a:lnTo>
                  <a:lnTo>
                    <a:pt x="24" y="36"/>
                  </a:lnTo>
                  <a:lnTo>
                    <a:pt x="43" y="36"/>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8" name="Freeform 21347">
              <a:extLst>
                <a:ext uri="{FF2B5EF4-FFF2-40B4-BE49-F238E27FC236}">
                  <a16:creationId xmlns:a16="http://schemas.microsoft.com/office/drawing/2014/main" id="{6320BA43-24E1-4ED8-B62A-A5B917DAE3A7}"/>
                </a:ext>
              </a:extLst>
            </p:cNvPr>
            <p:cNvSpPr>
              <a:spLocks/>
            </p:cNvSpPr>
            <p:nvPr userDrawn="1"/>
          </p:nvSpPr>
          <p:spPr bwMode="auto">
            <a:xfrm>
              <a:off x="11027728" y="5993765"/>
              <a:ext cx="127000" cy="158750"/>
            </a:xfrm>
            <a:custGeom>
              <a:avLst/>
              <a:gdLst>
                <a:gd name="T0" fmla="*/ 62 w 63"/>
                <a:gd name="T1" fmla="*/ 27 h 79"/>
                <a:gd name="T2" fmla="*/ 34 w 63"/>
                <a:gd name="T3" fmla="*/ 1 h 79"/>
                <a:gd name="T4" fmla="*/ 30 w 63"/>
                <a:gd name="T5" fmla="*/ 1 h 79"/>
                <a:gd name="T6" fmla="*/ 1 w 63"/>
                <a:gd name="T7" fmla="*/ 27 h 79"/>
                <a:gd name="T8" fmla="*/ 0 w 63"/>
                <a:gd name="T9" fmla="*/ 30 h 79"/>
                <a:gd name="T10" fmla="*/ 3 w 63"/>
                <a:gd name="T11" fmla="*/ 32 h 79"/>
                <a:gd name="T12" fmla="*/ 12 w 63"/>
                <a:gd name="T13" fmla="*/ 32 h 79"/>
                <a:gd name="T14" fmla="*/ 12 w 63"/>
                <a:gd name="T15" fmla="*/ 77 h 79"/>
                <a:gd name="T16" fmla="*/ 15 w 63"/>
                <a:gd name="T17" fmla="*/ 79 h 79"/>
                <a:gd name="T18" fmla="*/ 49 w 63"/>
                <a:gd name="T19" fmla="*/ 79 h 79"/>
                <a:gd name="T20" fmla="*/ 51 w 63"/>
                <a:gd name="T21" fmla="*/ 77 h 79"/>
                <a:gd name="T22" fmla="*/ 51 w 63"/>
                <a:gd name="T23" fmla="*/ 32 h 79"/>
                <a:gd name="T24" fmla="*/ 61 w 63"/>
                <a:gd name="T25" fmla="*/ 32 h 79"/>
                <a:gd name="T26" fmla="*/ 61 w 63"/>
                <a:gd name="T27" fmla="*/ 32 h 79"/>
                <a:gd name="T28" fmla="*/ 63 w 63"/>
                <a:gd name="T29" fmla="*/ 29 h 79"/>
                <a:gd name="T30" fmla="*/ 62 w 63"/>
                <a:gd name="T31"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9">
                  <a:moveTo>
                    <a:pt x="62" y="27"/>
                  </a:moveTo>
                  <a:cubicBezTo>
                    <a:pt x="34" y="1"/>
                    <a:pt x="34" y="1"/>
                    <a:pt x="34" y="1"/>
                  </a:cubicBezTo>
                  <a:cubicBezTo>
                    <a:pt x="33" y="0"/>
                    <a:pt x="31" y="0"/>
                    <a:pt x="30" y="1"/>
                  </a:cubicBezTo>
                  <a:cubicBezTo>
                    <a:pt x="1" y="27"/>
                    <a:pt x="1" y="27"/>
                    <a:pt x="1" y="27"/>
                  </a:cubicBezTo>
                  <a:cubicBezTo>
                    <a:pt x="0" y="28"/>
                    <a:pt x="0" y="29"/>
                    <a:pt x="0" y="30"/>
                  </a:cubicBezTo>
                  <a:cubicBezTo>
                    <a:pt x="1" y="31"/>
                    <a:pt x="2" y="32"/>
                    <a:pt x="3" y="32"/>
                  </a:cubicBezTo>
                  <a:cubicBezTo>
                    <a:pt x="12" y="32"/>
                    <a:pt x="12" y="32"/>
                    <a:pt x="12" y="32"/>
                  </a:cubicBezTo>
                  <a:cubicBezTo>
                    <a:pt x="12" y="77"/>
                    <a:pt x="12" y="77"/>
                    <a:pt x="12" y="77"/>
                  </a:cubicBezTo>
                  <a:cubicBezTo>
                    <a:pt x="12" y="78"/>
                    <a:pt x="13" y="79"/>
                    <a:pt x="15" y="79"/>
                  </a:cubicBezTo>
                  <a:cubicBezTo>
                    <a:pt x="49" y="79"/>
                    <a:pt x="49" y="79"/>
                    <a:pt x="49" y="79"/>
                  </a:cubicBezTo>
                  <a:cubicBezTo>
                    <a:pt x="50" y="79"/>
                    <a:pt x="51" y="78"/>
                    <a:pt x="51" y="77"/>
                  </a:cubicBezTo>
                  <a:cubicBezTo>
                    <a:pt x="51" y="32"/>
                    <a:pt x="51" y="32"/>
                    <a:pt x="51" y="32"/>
                  </a:cubicBezTo>
                  <a:cubicBezTo>
                    <a:pt x="61" y="32"/>
                    <a:pt x="61" y="32"/>
                    <a:pt x="61" y="32"/>
                  </a:cubicBezTo>
                  <a:cubicBezTo>
                    <a:pt x="61" y="32"/>
                    <a:pt x="61" y="32"/>
                    <a:pt x="61" y="32"/>
                  </a:cubicBezTo>
                  <a:cubicBezTo>
                    <a:pt x="62" y="32"/>
                    <a:pt x="63" y="31"/>
                    <a:pt x="63" y="29"/>
                  </a:cubicBezTo>
                  <a:cubicBezTo>
                    <a:pt x="63" y="28"/>
                    <a:pt x="63" y="28"/>
                    <a:pt x="62"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9" name="Freeform 21348">
              <a:extLst>
                <a:ext uri="{FF2B5EF4-FFF2-40B4-BE49-F238E27FC236}">
                  <a16:creationId xmlns:a16="http://schemas.microsoft.com/office/drawing/2014/main" id="{FFF01018-3137-4F68-9FD1-B79218C0FA55}"/>
                </a:ext>
              </a:extLst>
            </p:cNvPr>
            <p:cNvSpPr>
              <a:spLocks/>
            </p:cNvSpPr>
            <p:nvPr userDrawn="1"/>
          </p:nvSpPr>
          <p:spPr bwMode="auto">
            <a:xfrm>
              <a:off x="8340090" y="4980940"/>
              <a:ext cx="50800" cy="44450"/>
            </a:xfrm>
            <a:custGeom>
              <a:avLst/>
              <a:gdLst>
                <a:gd name="T0" fmla="*/ 25 w 25"/>
                <a:gd name="T1" fmla="*/ 16 h 22"/>
                <a:gd name="T2" fmla="*/ 3 w 25"/>
                <a:gd name="T3" fmla="*/ 0 h 22"/>
                <a:gd name="T4" fmla="*/ 7 w 25"/>
                <a:gd name="T5" fmla="*/ 17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7" y="17"/>
                  </a:cubicBezTo>
                  <a:cubicBezTo>
                    <a:pt x="12" y="22"/>
                    <a:pt x="20" y="21"/>
                    <a:pt x="25" y="16"/>
                  </a:cubicBezTo>
                </a:path>
              </a:pathLst>
            </a:custGeom>
            <a:solidFill>
              <a:srgbClr val="C8B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0" name="Freeform 21349">
              <a:extLst>
                <a:ext uri="{FF2B5EF4-FFF2-40B4-BE49-F238E27FC236}">
                  <a16:creationId xmlns:a16="http://schemas.microsoft.com/office/drawing/2014/main" id="{BDDEDD79-A2AE-4670-8B9C-C57D659483AE}"/>
                </a:ext>
              </a:extLst>
            </p:cNvPr>
            <p:cNvSpPr>
              <a:spLocks/>
            </p:cNvSpPr>
            <p:nvPr userDrawn="1"/>
          </p:nvSpPr>
          <p:spPr bwMode="auto">
            <a:xfrm>
              <a:off x="8351203" y="4965065"/>
              <a:ext cx="50800" cy="44450"/>
            </a:xfrm>
            <a:custGeom>
              <a:avLst/>
              <a:gdLst>
                <a:gd name="T0" fmla="*/ 19 w 25"/>
                <a:gd name="T1" fmla="*/ 4 h 22"/>
                <a:gd name="T2" fmla="*/ 0 w 25"/>
                <a:gd name="T3" fmla="*/ 6 h 22"/>
                <a:gd name="T4" fmla="*/ 22 w 25"/>
                <a:gd name="T5" fmla="*/ 22 h 22"/>
                <a:gd name="T6" fmla="*/ 19 w 25"/>
                <a:gd name="T7" fmla="*/ 4 h 22"/>
              </a:gdLst>
              <a:ahLst/>
              <a:cxnLst>
                <a:cxn ang="0">
                  <a:pos x="T0" y="T1"/>
                </a:cxn>
                <a:cxn ang="0">
                  <a:pos x="T2" y="T3"/>
                </a:cxn>
                <a:cxn ang="0">
                  <a:pos x="T4" y="T5"/>
                </a:cxn>
                <a:cxn ang="0">
                  <a:pos x="T6" y="T7"/>
                </a:cxn>
              </a:cxnLst>
              <a:rect l="0" t="0" r="r" b="b"/>
              <a:pathLst>
                <a:path w="25" h="22">
                  <a:moveTo>
                    <a:pt x="19" y="4"/>
                  </a:moveTo>
                  <a:cubicBezTo>
                    <a:pt x="13" y="0"/>
                    <a:pt x="5" y="0"/>
                    <a:pt x="0" y="6"/>
                  </a:cubicBezTo>
                  <a:cubicBezTo>
                    <a:pt x="22" y="22"/>
                    <a:pt x="22" y="22"/>
                    <a:pt x="22" y="22"/>
                  </a:cubicBezTo>
                  <a:cubicBezTo>
                    <a:pt x="25" y="16"/>
                    <a:pt x="24" y="9"/>
                    <a:pt x="19" y="4"/>
                  </a:cubicBezTo>
                </a:path>
              </a:pathLst>
            </a:custGeom>
            <a:solidFill>
              <a:srgbClr val="C8B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1" name="Oval 21350">
              <a:extLst>
                <a:ext uri="{FF2B5EF4-FFF2-40B4-BE49-F238E27FC236}">
                  <a16:creationId xmlns:a16="http://schemas.microsoft.com/office/drawing/2014/main" id="{348C2784-4A87-4C7E-B314-D8CCD46B161F}"/>
                </a:ext>
              </a:extLst>
            </p:cNvPr>
            <p:cNvSpPr>
              <a:spLocks noChangeArrowheads="1"/>
            </p:cNvSpPr>
            <p:nvPr userDrawn="1"/>
          </p:nvSpPr>
          <p:spPr bwMode="auto">
            <a:xfrm>
              <a:off x="7881303" y="3180715"/>
              <a:ext cx="2471738" cy="246221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2" name="Freeform 21351">
              <a:extLst>
                <a:ext uri="{FF2B5EF4-FFF2-40B4-BE49-F238E27FC236}">
                  <a16:creationId xmlns:a16="http://schemas.microsoft.com/office/drawing/2014/main" id="{CB6F5077-62DC-4EDB-B3BF-75581DB99DCB}"/>
                </a:ext>
              </a:extLst>
            </p:cNvPr>
            <p:cNvSpPr>
              <a:spLocks/>
            </p:cNvSpPr>
            <p:nvPr userDrawn="1"/>
          </p:nvSpPr>
          <p:spPr bwMode="auto">
            <a:xfrm>
              <a:off x="8802053" y="3625215"/>
              <a:ext cx="787400" cy="785813"/>
            </a:xfrm>
            <a:custGeom>
              <a:avLst/>
              <a:gdLst>
                <a:gd name="T0" fmla="*/ 61 w 390"/>
                <a:gd name="T1" fmla="*/ 84 h 390"/>
                <a:gd name="T2" fmla="*/ 84 w 390"/>
                <a:gd name="T3" fmla="*/ 329 h 390"/>
                <a:gd name="T4" fmla="*/ 329 w 390"/>
                <a:gd name="T5" fmla="*/ 306 h 390"/>
                <a:gd name="T6" fmla="*/ 306 w 390"/>
                <a:gd name="T7" fmla="*/ 62 h 390"/>
                <a:gd name="T8" fmla="*/ 61 w 390"/>
                <a:gd name="T9" fmla="*/ 84 h 390"/>
              </a:gdLst>
              <a:ahLst/>
              <a:cxnLst>
                <a:cxn ang="0">
                  <a:pos x="T0" y="T1"/>
                </a:cxn>
                <a:cxn ang="0">
                  <a:pos x="T2" y="T3"/>
                </a:cxn>
                <a:cxn ang="0">
                  <a:pos x="T4" y="T5"/>
                </a:cxn>
                <a:cxn ang="0">
                  <a:pos x="T6" y="T7"/>
                </a:cxn>
                <a:cxn ang="0">
                  <a:pos x="T8" y="T9"/>
                </a:cxn>
              </a:cxnLst>
              <a:rect l="0" t="0" r="r" b="b"/>
              <a:pathLst>
                <a:path w="390" h="390">
                  <a:moveTo>
                    <a:pt x="61" y="84"/>
                  </a:moveTo>
                  <a:cubicBezTo>
                    <a:pt x="0" y="158"/>
                    <a:pt x="10" y="268"/>
                    <a:pt x="84" y="329"/>
                  </a:cubicBezTo>
                  <a:cubicBezTo>
                    <a:pt x="158" y="390"/>
                    <a:pt x="268" y="380"/>
                    <a:pt x="329" y="306"/>
                  </a:cubicBezTo>
                  <a:cubicBezTo>
                    <a:pt x="390" y="232"/>
                    <a:pt x="380" y="123"/>
                    <a:pt x="306" y="62"/>
                  </a:cubicBezTo>
                  <a:cubicBezTo>
                    <a:pt x="232" y="0"/>
                    <a:pt x="123" y="11"/>
                    <a:pt x="61" y="84"/>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3" name="Freeform 21352">
              <a:extLst>
                <a:ext uri="{FF2B5EF4-FFF2-40B4-BE49-F238E27FC236}">
                  <a16:creationId xmlns:a16="http://schemas.microsoft.com/office/drawing/2014/main" id="{BC046B96-660E-4B44-9FB9-02FF089F5536}"/>
                </a:ext>
              </a:extLst>
            </p:cNvPr>
            <p:cNvSpPr>
              <a:spLocks noEditPoints="1"/>
            </p:cNvSpPr>
            <p:nvPr userDrawn="1"/>
          </p:nvSpPr>
          <p:spPr bwMode="auto">
            <a:xfrm>
              <a:off x="8783003" y="3606165"/>
              <a:ext cx="825500" cy="822325"/>
            </a:xfrm>
            <a:custGeom>
              <a:avLst/>
              <a:gdLst>
                <a:gd name="T0" fmla="*/ 311 w 408"/>
                <a:gd name="T1" fmla="*/ 39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69 w 408"/>
                <a:gd name="T13" fmla="*/ 22 h 408"/>
                <a:gd name="T14" fmla="*/ 147 w 408"/>
                <a:gd name="T15" fmla="*/ 28 h 408"/>
                <a:gd name="T16" fmla="*/ 119 w 408"/>
                <a:gd name="T17" fmla="*/ 26 h 408"/>
                <a:gd name="T18" fmla="*/ 95 w 408"/>
                <a:gd name="T19" fmla="*/ 32 h 408"/>
                <a:gd name="T20" fmla="*/ 80 w 408"/>
                <a:gd name="T21" fmla="*/ 52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5 h 408"/>
                <a:gd name="T40" fmla="*/ 20 w 408"/>
                <a:gd name="T41" fmla="*/ 276 h 408"/>
                <a:gd name="T42" fmla="*/ 42 w 408"/>
                <a:gd name="T43" fmla="*/ 294 h 408"/>
                <a:gd name="T44" fmla="*/ 54 w 408"/>
                <a:gd name="T45" fmla="*/ 313 h 408"/>
                <a:gd name="T46" fmla="*/ 61 w 408"/>
                <a:gd name="T47" fmla="*/ 340 h 408"/>
                <a:gd name="T48" fmla="*/ 74 w 408"/>
                <a:gd name="T49" fmla="*/ 361 h 408"/>
                <a:gd name="T50" fmla="*/ 97 w 408"/>
                <a:gd name="T51" fmla="*/ 370 h 408"/>
                <a:gd name="T52" fmla="*/ 125 w 408"/>
                <a:gd name="T53" fmla="*/ 372 h 408"/>
                <a:gd name="T54" fmla="*/ 146 w 408"/>
                <a:gd name="T55" fmla="*/ 381 h 408"/>
                <a:gd name="T56" fmla="*/ 168 w 408"/>
                <a:gd name="T57" fmla="*/ 398 h 408"/>
                <a:gd name="T58" fmla="*/ 191 w 408"/>
                <a:gd name="T59" fmla="*/ 407 h 408"/>
                <a:gd name="T60" fmla="*/ 215 w 408"/>
                <a:gd name="T61" fmla="*/ 401 h 408"/>
                <a:gd name="T62" fmla="*/ 239 w 408"/>
                <a:gd name="T63" fmla="*/ 387 h 408"/>
                <a:gd name="T64" fmla="*/ 261 w 408"/>
                <a:gd name="T65" fmla="*/ 381 h 408"/>
                <a:gd name="T66" fmla="*/ 289 w 408"/>
                <a:gd name="T67" fmla="*/ 382 h 408"/>
                <a:gd name="T68" fmla="*/ 313 w 408"/>
                <a:gd name="T69" fmla="*/ 376 h 408"/>
                <a:gd name="T70" fmla="*/ 329 w 408"/>
                <a:gd name="T71" fmla="*/ 357 h 408"/>
                <a:gd name="T72" fmla="*/ 339 w 408"/>
                <a:gd name="T73" fmla="*/ 331 h 408"/>
                <a:gd name="T74" fmla="*/ 354 w 408"/>
                <a:gd name="T75" fmla="*/ 314 h 408"/>
                <a:gd name="T76" fmla="*/ 377 w 408"/>
                <a:gd name="T77" fmla="*/ 299 h 408"/>
                <a:gd name="T78" fmla="*/ 393 w 408"/>
                <a:gd name="T79" fmla="*/ 279 h 408"/>
                <a:gd name="T80" fmla="*/ 395 w 408"/>
                <a:gd name="T81" fmla="*/ 255 h 408"/>
                <a:gd name="T82" fmla="*/ 388 w 408"/>
                <a:gd name="T83" fmla="*/ 228 h 408"/>
                <a:gd name="T84" fmla="*/ 390 w 408"/>
                <a:gd name="T85" fmla="*/ 205 h 408"/>
                <a:gd name="T86" fmla="*/ 400 w 408"/>
                <a:gd name="T87" fmla="*/ 179 h 408"/>
                <a:gd name="T88" fmla="*/ 401 w 408"/>
                <a:gd name="T89" fmla="*/ 154 h 408"/>
                <a:gd name="T90" fmla="*/ 388 w 408"/>
                <a:gd name="T91" fmla="*/ 133 h 408"/>
                <a:gd name="T92" fmla="*/ 367 w 408"/>
                <a:gd name="T93" fmla="*/ 115 h 408"/>
                <a:gd name="T94" fmla="*/ 354 w 408"/>
                <a:gd name="T95" fmla="*/ 96 h 408"/>
                <a:gd name="T96" fmla="*/ 347 w 408"/>
                <a:gd name="T97" fmla="*/ 69 h 408"/>
                <a:gd name="T98" fmla="*/ 334 w 408"/>
                <a:gd name="T99" fmla="*/ 48 h 408"/>
                <a:gd name="T100" fmla="*/ 76 w 408"/>
                <a:gd name="T101" fmla="*/ 9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8" h="408">
                  <a:moveTo>
                    <a:pt x="324" y="48"/>
                  </a:moveTo>
                  <a:cubicBezTo>
                    <a:pt x="321" y="51"/>
                    <a:pt x="316" y="54"/>
                    <a:pt x="313" y="54"/>
                  </a:cubicBezTo>
                  <a:cubicBezTo>
                    <a:pt x="312" y="53"/>
                    <a:pt x="310" y="52"/>
                    <a:pt x="308" y="51"/>
                  </a:cubicBezTo>
                  <a:cubicBezTo>
                    <a:pt x="308" y="48"/>
                    <a:pt x="309" y="43"/>
                    <a:pt x="311" y="39"/>
                  </a:cubicBezTo>
                  <a:cubicBezTo>
                    <a:pt x="314" y="32"/>
                    <a:pt x="310" y="31"/>
                    <a:pt x="308" y="29"/>
                  </a:cubicBezTo>
                  <a:cubicBezTo>
                    <a:pt x="306" y="28"/>
                    <a:pt x="303" y="26"/>
                    <a:pt x="298" y="31"/>
                  </a:cubicBezTo>
                  <a:cubicBezTo>
                    <a:pt x="295" y="35"/>
                    <a:pt x="292" y="38"/>
                    <a:pt x="289" y="39"/>
                  </a:cubicBezTo>
                  <a:cubicBezTo>
                    <a:pt x="287" y="38"/>
                    <a:pt x="285" y="37"/>
                    <a:pt x="283" y="36"/>
                  </a:cubicBezTo>
                  <a:cubicBezTo>
                    <a:pt x="282" y="33"/>
                    <a:pt x="283" y="28"/>
                    <a:pt x="284" y="24"/>
                  </a:cubicBezTo>
                  <a:cubicBezTo>
                    <a:pt x="285" y="17"/>
                    <a:pt x="282" y="16"/>
                    <a:pt x="279" y="15"/>
                  </a:cubicBezTo>
                  <a:cubicBezTo>
                    <a:pt x="277" y="14"/>
                    <a:pt x="273" y="12"/>
                    <a:pt x="270" y="19"/>
                  </a:cubicBezTo>
                  <a:cubicBezTo>
                    <a:pt x="268" y="22"/>
                    <a:pt x="264" y="26"/>
                    <a:pt x="262" y="28"/>
                  </a:cubicBezTo>
                  <a:cubicBezTo>
                    <a:pt x="260" y="27"/>
                    <a:pt x="258" y="27"/>
                    <a:pt x="256" y="26"/>
                  </a:cubicBezTo>
                  <a:cubicBezTo>
                    <a:pt x="255" y="23"/>
                    <a:pt x="254" y="18"/>
                    <a:pt x="255" y="14"/>
                  </a:cubicBezTo>
                  <a:cubicBezTo>
                    <a:pt x="255" y="7"/>
                    <a:pt x="251" y="6"/>
                    <a:pt x="249" y="6"/>
                  </a:cubicBezTo>
                  <a:cubicBezTo>
                    <a:pt x="246" y="5"/>
                    <a:pt x="243" y="4"/>
                    <a:pt x="240" y="10"/>
                  </a:cubicBezTo>
                  <a:cubicBezTo>
                    <a:pt x="239" y="15"/>
                    <a:pt x="236" y="19"/>
                    <a:pt x="233" y="21"/>
                  </a:cubicBezTo>
                  <a:cubicBezTo>
                    <a:pt x="231" y="21"/>
                    <a:pt x="229" y="21"/>
                    <a:pt x="227" y="20"/>
                  </a:cubicBezTo>
                  <a:cubicBezTo>
                    <a:pt x="226" y="18"/>
                    <a:pt x="224" y="13"/>
                    <a:pt x="224" y="8"/>
                  </a:cubicBezTo>
                  <a:cubicBezTo>
                    <a:pt x="224" y="1"/>
                    <a:pt x="220" y="1"/>
                    <a:pt x="217" y="1"/>
                  </a:cubicBezTo>
                  <a:cubicBezTo>
                    <a:pt x="215" y="1"/>
                    <a:pt x="211" y="0"/>
                    <a:pt x="209" y="7"/>
                  </a:cubicBezTo>
                  <a:cubicBezTo>
                    <a:pt x="208" y="12"/>
                    <a:pt x="207" y="17"/>
                    <a:pt x="204" y="19"/>
                  </a:cubicBezTo>
                  <a:cubicBezTo>
                    <a:pt x="202" y="19"/>
                    <a:pt x="200" y="19"/>
                    <a:pt x="198" y="19"/>
                  </a:cubicBezTo>
                  <a:cubicBezTo>
                    <a:pt x="196" y="17"/>
                    <a:pt x="194" y="12"/>
                    <a:pt x="193" y="7"/>
                  </a:cubicBezTo>
                  <a:cubicBezTo>
                    <a:pt x="192" y="1"/>
                    <a:pt x="188" y="1"/>
                    <a:pt x="185" y="2"/>
                  </a:cubicBezTo>
                  <a:cubicBezTo>
                    <a:pt x="183" y="2"/>
                    <a:pt x="179" y="2"/>
                    <a:pt x="179" y="9"/>
                  </a:cubicBezTo>
                  <a:cubicBezTo>
                    <a:pt x="178" y="13"/>
                    <a:pt x="177" y="19"/>
                    <a:pt x="175" y="21"/>
                  </a:cubicBezTo>
                  <a:cubicBezTo>
                    <a:pt x="173" y="21"/>
                    <a:pt x="171" y="22"/>
                    <a:pt x="169" y="22"/>
                  </a:cubicBezTo>
                  <a:cubicBezTo>
                    <a:pt x="167" y="20"/>
                    <a:pt x="164" y="16"/>
                    <a:pt x="162" y="12"/>
                  </a:cubicBezTo>
                  <a:cubicBezTo>
                    <a:pt x="160" y="5"/>
                    <a:pt x="156" y="6"/>
                    <a:pt x="154" y="7"/>
                  </a:cubicBezTo>
                  <a:cubicBezTo>
                    <a:pt x="151" y="8"/>
                    <a:pt x="147" y="8"/>
                    <a:pt x="148" y="15"/>
                  </a:cubicBezTo>
                  <a:cubicBezTo>
                    <a:pt x="149" y="20"/>
                    <a:pt x="148" y="25"/>
                    <a:pt x="147" y="28"/>
                  </a:cubicBezTo>
                  <a:cubicBezTo>
                    <a:pt x="145" y="28"/>
                    <a:pt x="143" y="29"/>
                    <a:pt x="141" y="30"/>
                  </a:cubicBezTo>
                  <a:cubicBezTo>
                    <a:pt x="139" y="28"/>
                    <a:pt x="135" y="24"/>
                    <a:pt x="133" y="20"/>
                  </a:cubicBezTo>
                  <a:cubicBezTo>
                    <a:pt x="129" y="14"/>
                    <a:pt x="126" y="16"/>
                    <a:pt x="124" y="17"/>
                  </a:cubicBezTo>
                  <a:cubicBezTo>
                    <a:pt x="121" y="18"/>
                    <a:pt x="117" y="19"/>
                    <a:pt x="119" y="26"/>
                  </a:cubicBezTo>
                  <a:cubicBezTo>
                    <a:pt x="120" y="31"/>
                    <a:pt x="121" y="36"/>
                    <a:pt x="120" y="39"/>
                  </a:cubicBezTo>
                  <a:cubicBezTo>
                    <a:pt x="118" y="40"/>
                    <a:pt x="117" y="41"/>
                    <a:pt x="115" y="42"/>
                  </a:cubicBezTo>
                  <a:cubicBezTo>
                    <a:pt x="112" y="41"/>
                    <a:pt x="108" y="37"/>
                    <a:pt x="105" y="34"/>
                  </a:cubicBezTo>
                  <a:cubicBezTo>
                    <a:pt x="100" y="28"/>
                    <a:pt x="97" y="31"/>
                    <a:pt x="95" y="32"/>
                  </a:cubicBezTo>
                  <a:cubicBezTo>
                    <a:pt x="93" y="34"/>
                    <a:pt x="90" y="35"/>
                    <a:pt x="93" y="42"/>
                  </a:cubicBezTo>
                  <a:cubicBezTo>
                    <a:pt x="94" y="46"/>
                    <a:pt x="96" y="51"/>
                    <a:pt x="95" y="54"/>
                  </a:cubicBezTo>
                  <a:cubicBezTo>
                    <a:pt x="94" y="55"/>
                    <a:pt x="92" y="56"/>
                    <a:pt x="91" y="58"/>
                  </a:cubicBezTo>
                  <a:cubicBezTo>
                    <a:pt x="87" y="57"/>
                    <a:pt x="83" y="54"/>
                    <a:pt x="80" y="52"/>
                  </a:cubicBezTo>
                  <a:cubicBezTo>
                    <a:pt x="74" y="47"/>
                    <a:pt x="72" y="50"/>
                    <a:pt x="70" y="51"/>
                  </a:cubicBezTo>
                  <a:cubicBezTo>
                    <a:pt x="68" y="53"/>
                    <a:pt x="65" y="55"/>
                    <a:pt x="69" y="61"/>
                  </a:cubicBezTo>
                  <a:cubicBezTo>
                    <a:pt x="71" y="65"/>
                    <a:pt x="73" y="70"/>
                    <a:pt x="73" y="73"/>
                  </a:cubicBezTo>
                  <a:cubicBezTo>
                    <a:pt x="72" y="74"/>
                    <a:pt x="70" y="76"/>
                    <a:pt x="69" y="77"/>
                  </a:cubicBezTo>
                  <a:cubicBezTo>
                    <a:pt x="66" y="77"/>
                    <a:pt x="61" y="75"/>
                    <a:pt x="57" y="73"/>
                  </a:cubicBezTo>
                  <a:cubicBezTo>
                    <a:pt x="51" y="69"/>
                    <a:pt x="49" y="72"/>
                    <a:pt x="47" y="74"/>
                  </a:cubicBezTo>
                  <a:cubicBezTo>
                    <a:pt x="46" y="76"/>
                    <a:pt x="43" y="79"/>
                    <a:pt x="48" y="84"/>
                  </a:cubicBezTo>
                  <a:cubicBezTo>
                    <a:pt x="51" y="88"/>
                    <a:pt x="54" y="92"/>
                    <a:pt x="54" y="95"/>
                  </a:cubicBezTo>
                  <a:cubicBezTo>
                    <a:pt x="53" y="97"/>
                    <a:pt x="52" y="98"/>
                    <a:pt x="51" y="100"/>
                  </a:cubicBezTo>
                  <a:cubicBezTo>
                    <a:pt x="48" y="100"/>
                    <a:pt x="43" y="99"/>
                    <a:pt x="38" y="98"/>
                  </a:cubicBezTo>
                  <a:cubicBezTo>
                    <a:pt x="32" y="95"/>
                    <a:pt x="30" y="98"/>
                    <a:pt x="29" y="100"/>
                  </a:cubicBezTo>
                  <a:cubicBezTo>
                    <a:pt x="28" y="103"/>
                    <a:pt x="25" y="106"/>
                    <a:pt x="31" y="110"/>
                  </a:cubicBezTo>
                  <a:cubicBezTo>
                    <a:pt x="34" y="113"/>
                    <a:pt x="38" y="117"/>
                    <a:pt x="39" y="120"/>
                  </a:cubicBezTo>
                  <a:cubicBezTo>
                    <a:pt x="38" y="122"/>
                    <a:pt x="37" y="123"/>
                    <a:pt x="36" y="125"/>
                  </a:cubicBezTo>
                  <a:cubicBezTo>
                    <a:pt x="33" y="126"/>
                    <a:pt x="28" y="126"/>
                    <a:pt x="24" y="125"/>
                  </a:cubicBezTo>
                  <a:cubicBezTo>
                    <a:pt x="17" y="123"/>
                    <a:pt x="16" y="127"/>
                    <a:pt x="15" y="129"/>
                  </a:cubicBezTo>
                  <a:cubicBezTo>
                    <a:pt x="14" y="132"/>
                    <a:pt x="12" y="135"/>
                    <a:pt x="18" y="138"/>
                  </a:cubicBezTo>
                  <a:cubicBezTo>
                    <a:pt x="22" y="141"/>
                    <a:pt x="26" y="144"/>
                    <a:pt x="28" y="147"/>
                  </a:cubicBezTo>
                  <a:cubicBezTo>
                    <a:pt x="27" y="149"/>
                    <a:pt x="27" y="151"/>
                    <a:pt x="26" y="152"/>
                  </a:cubicBezTo>
                  <a:cubicBezTo>
                    <a:pt x="23" y="154"/>
                    <a:pt x="18" y="154"/>
                    <a:pt x="14" y="154"/>
                  </a:cubicBezTo>
                  <a:cubicBezTo>
                    <a:pt x="6" y="153"/>
                    <a:pt x="6" y="157"/>
                    <a:pt x="6" y="160"/>
                  </a:cubicBezTo>
                  <a:cubicBezTo>
                    <a:pt x="5" y="162"/>
                    <a:pt x="4" y="166"/>
                    <a:pt x="10" y="168"/>
                  </a:cubicBezTo>
                  <a:cubicBezTo>
                    <a:pt x="14" y="170"/>
                    <a:pt x="19" y="173"/>
                    <a:pt x="21" y="175"/>
                  </a:cubicBezTo>
                  <a:cubicBezTo>
                    <a:pt x="21" y="177"/>
                    <a:pt x="20" y="179"/>
                    <a:pt x="20" y="181"/>
                  </a:cubicBezTo>
                  <a:cubicBezTo>
                    <a:pt x="18" y="183"/>
                    <a:pt x="12" y="184"/>
                    <a:pt x="8" y="184"/>
                  </a:cubicBezTo>
                  <a:cubicBezTo>
                    <a:pt x="1" y="185"/>
                    <a:pt x="1" y="189"/>
                    <a:pt x="1" y="191"/>
                  </a:cubicBezTo>
                  <a:cubicBezTo>
                    <a:pt x="1" y="194"/>
                    <a:pt x="0" y="198"/>
                    <a:pt x="7" y="199"/>
                  </a:cubicBezTo>
                  <a:cubicBezTo>
                    <a:pt x="11" y="200"/>
                    <a:pt x="16" y="202"/>
                    <a:pt x="19" y="204"/>
                  </a:cubicBezTo>
                  <a:cubicBezTo>
                    <a:pt x="19" y="206"/>
                    <a:pt x="19" y="208"/>
                    <a:pt x="19" y="210"/>
                  </a:cubicBezTo>
                  <a:cubicBezTo>
                    <a:pt x="17" y="212"/>
                    <a:pt x="12" y="214"/>
                    <a:pt x="7" y="215"/>
                  </a:cubicBezTo>
                  <a:cubicBezTo>
                    <a:pt x="0" y="217"/>
                    <a:pt x="1" y="221"/>
                    <a:pt x="1" y="223"/>
                  </a:cubicBezTo>
                  <a:cubicBezTo>
                    <a:pt x="2" y="226"/>
                    <a:pt x="2" y="230"/>
                    <a:pt x="9" y="230"/>
                  </a:cubicBezTo>
                  <a:cubicBezTo>
                    <a:pt x="13" y="230"/>
                    <a:pt x="18" y="231"/>
                    <a:pt x="21" y="233"/>
                  </a:cubicBezTo>
                  <a:cubicBezTo>
                    <a:pt x="21" y="235"/>
                    <a:pt x="21" y="237"/>
                    <a:pt x="22" y="239"/>
                  </a:cubicBezTo>
                  <a:cubicBezTo>
                    <a:pt x="20" y="241"/>
                    <a:pt x="16" y="244"/>
                    <a:pt x="11" y="246"/>
                  </a:cubicBezTo>
                  <a:cubicBezTo>
                    <a:pt x="5" y="249"/>
                    <a:pt x="6" y="252"/>
                    <a:pt x="7" y="255"/>
                  </a:cubicBezTo>
                  <a:cubicBezTo>
                    <a:pt x="8" y="257"/>
                    <a:pt x="8" y="261"/>
                    <a:pt x="15" y="260"/>
                  </a:cubicBezTo>
                  <a:cubicBezTo>
                    <a:pt x="20" y="260"/>
                    <a:pt x="25" y="260"/>
                    <a:pt x="28" y="261"/>
                  </a:cubicBezTo>
                  <a:cubicBezTo>
                    <a:pt x="28" y="263"/>
                    <a:pt x="29" y="265"/>
                    <a:pt x="30" y="267"/>
                  </a:cubicBezTo>
                  <a:cubicBezTo>
                    <a:pt x="28" y="270"/>
                    <a:pt x="24" y="273"/>
                    <a:pt x="20" y="276"/>
                  </a:cubicBezTo>
                  <a:cubicBezTo>
                    <a:pt x="14" y="279"/>
                    <a:pt x="16" y="283"/>
                    <a:pt x="17" y="285"/>
                  </a:cubicBezTo>
                  <a:cubicBezTo>
                    <a:pt x="18" y="287"/>
                    <a:pt x="19" y="291"/>
                    <a:pt x="26" y="289"/>
                  </a:cubicBezTo>
                  <a:cubicBezTo>
                    <a:pt x="30" y="288"/>
                    <a:pt x="36" y="287"/>
                    <a:pt x="39" y="288"/>
                  </a:cubicBezTo>
                  <a:cubicBezTo>
                    <a:pt x="40" y="290"/>
                    <a:pt x="41" y="292"/>
                    <a:pt x="42" y="294"/>
                  </a:cubicBezTo>
                  <a:cubicBezTo>
                    <a:pt x="41" y="297"/>
                    <a:pt x="37" y="300"/>
                    <a:pt x="34" y="303"/>
                  </a:cubicBezTo>
                  <a:cubicBezTo>
                    <a:pt x="28" y="308"/>
                    <a:pt x="31" y="311"/>
                    <a:pt x="32" y="313"/>
                  </a:cubicBezTo>
                  <a:cubicBezTo>
                    <a:pt x="34" y="315"/>
                    <a:pt x="35" y="319"/>
                    <a:pt x="42" y="316"/>
                  </a:cubicBezTo>
                  <a:cubicBezTo>
                    <a:pt x="46" y="314"/>
                    <a:pt x="51" y="313"/>
                    <a:pt x="54" y="313"/>
                  </a:cubicBezTo>
                  <a:cubicBezTo>
                    <a:pt x="55" y="315"/>
                    <a:pt x="56" y="316"/>
                    <a:pt x="57" y="318"/>
                  </a:cubicBezTo>
                  <a:cubicBezTo>
                    <a:pt x="57" y="321"/>
                    <a:pt x="54" y="325"/>
                    <a:pt x="51" y="329"/>
                  </a:cubicBezTo>
                  <a:cubicBezTo>
                    <a:pt x="47" y="334"/>
                    <a:pt x="49" y="337"/>
                    <a:pt x="51" y="339"/>
                  </a:cubicBezTo>
                  <a:cubicBezTo>
                    <a:pt x="53" y="341"/>
                    <a:pt x="55" y="344"/>
                    <a:pt x="61" y="340"/>
                  </a:cubicBezTo>
                  <a:cubicBezTo>
                    <a:pt x="65" y="338"/>
                    <a:pt x="70" y="335"/>
                    <a:pt x="73" y="335"/>
                  </a:cubicBezTo>
                  <a:cubicBezTo>
                    <a:pt x="74" y="337"/>
                    <a:pt x="76" y="338"/>
                    <a:pt x="77" y="339"/>
                  </a:cubicBezTo>
                  <a:cubicBezTo>
                    <a:pt x="77" y="343"/>
                    <a:pt x="75" y="347"/>
                    <a:pt x="73" y="351"/>
                  </a:cubicBezTo>
                  <a:cubicBezTo>
                    <a:pt x="69" y="357"/>
                    <a:pt x="72" y="359"/>
                    <a:pt x="74" y="361"/>
                  </a:cubicBezTo>
                  <a:cubicBezTo>
                    <a:pt x="76" y="363"/>
                    <a:pt x="79" y="365"/>
                    <a:pt x="84" y="361"/>
                  </a:cubicBezTo>
                  <a:cubicBezTo>
                    <a:pt x="87" y="358"/>
                    <a:pt x="92" y="355"/>
                    <a:pt x="95" y="354"/>
                  </a:cubicBezTo>
                  <a:cubicBezTo>
                    <a:pt x="96" y="355"/>
                    <a:pt x="98" y="357"/>
                    <a:pt x="100" y="358"/>
                  </a:cubicBezTo>
                  <a:cubicBezTo>
                    <a:pt x="100" y="361"/>
                    <a:pt x="99" y="366"/>
                    <a:pt x="97" y="370"/>
                  </a:cubicBezTo>
                  <a:cubicBezTo>
                    <a:pt x="95" y="377"/>
                    <a:pt x="98" y="378"/>
                    <a:pt x="100" y="379"/>
                  </a:cubicBezTo>
                  <a:cubicBezTo>
                    <a:pt x="103" y="381"/>
                    <a:pt x="106" y="383"/>
                    <a:pt x="110" y="378"/>
                  </a:cubicBezTo>
                  <a:cubicBezTo>
                    <a:pt x="113" y="374"/>
                    <a:pt x="117" y="371"/>
                    <a:pt x="120" y="369"/>
                  </a:cubicBezTo>
                  <a:cubicBezTo>
                    <a:pt x="121" y="370"/>
                    <a:pt x="123" y="371"/>
                    <a:pt x="125" y="372"/>
                  </a:cubicBezTo>
                  <a:cubicBezTo>
                    <a:pt x="126" y="375"/>
                    <a:pt x="126" y="380"/>
                    <a:pt x="125" y="385"/>
                  </a:cubicBezTo>
                  <a:cubicBezTo>
                    <a:pt x="123" y="392"/>
                    <a:pt x="126" y="393"/>
                    <a:pt x="129" y="394"/>
                  </a:cubicBezTo>
                  <a:cubicBezTo>
                    <a:pt x="131" y="395"/>
                    <a:pt x="135" y="396"/>
                    <a:pt x="138" y="390"/>
                  </a:cubicBezTo>
                  <a:cubicBezTo>
                    <a:pt x="141" y="386"/>
                    <a:pt x="144" y="382"/>
                    <a:pt x="146" y="381"/>
                  </a:cubicBezTo>
                  <a:cubicBezTo>
                    <a:pt x="148" y="381"/>
                    <a:pt x="150" y="382"/>
                    <a:pt x="152" y="382"/>
                  </a:cubicBezTo>
                  <a:cubicBezTo>
                    <a:pt x="154" y="385"/>
                    <a:pt x="154" y="390"/>
                    <a:pt x="154" y="395"/>
                  </a:cubicBezTo>
                  <a:cubicBezTo>
                    <a:pt x="153" y="402"/>
                    <a:pt x="157" y="402"/>
                    <a:pt x="159" y="403"/>
                  </a:cubicBezTo>
                  <a:cubicBezTo>
                    <a:pt x="162" y="404"/>
                    <a:pt x="166" y="405"/>
                    <a:pt x="168" y="398"/>
                  </a:cubicBezTo>
                  <a:cubicBezTo>
                    <a:pt x="170" y="394"/>
                    <a:pt x="172" y="389"/>
                    <a:pt x="175" y="387"/>
                  </a:cubicBezTo>
                  <a:cubicBezTo>
                    <a:pt x="177" y="388"/>
                    <a:pt x="179" y="388"/>
                    <a:pt x="181" y="388"/>
                  </a:cubicBezTo>
                  <a:cubicBezTo>
                    <a:pt x="183" y="391"/>
                    <a:pt x="184" y="396"/>
                    <a:pt x="184" y="400"/>
                  </a:cubicBezTo>
                  <a:cubicBezTo>
                    <a:pt x="185" y="408"/>
                    <a:pt x="188" y="407"/>
                    <a:pt x="191" y="407"/>
                  </a:cubicBezTo>
                  <a:cubicBezTo>
                    <a:pt x="194" y="408"/>
                    <a:pt x="197" y="408"/>
                    <a:pt x="199" y="401"/>
                  </a:cubicBezTo>
                  <a:cubicBezTo>
                    <a:pt x="200" y="397"/>
                    <a:pt x="202" y="392"/>
                    <a:pt x="204" y="390"/>
                  </a:cubicBezTo>
                  <a:cubicBezTo>
                    <a:pt x="206" y="390"/>
                    <a:pt x="208" y="390"/>
                    <a:pt x="210" y="390"/>
                  </a:cubicBezTo>
                  <a:cubicBezTo>
                    <a:pt x="212" y="392"/>
                    <a:pt x="214" y="397"/>
                    <a:pt x="215" y="401"/>
                  </a:cubicBezTo>
                  <a:cubicBezTo>
                    <a:pt x="217" y="408"/>
                    <a:pt x="220" y="407"/>
                    <a:pt x="223" y="407"/>
                  </a:cubicBezTo>
                  <a:cubicBezTo>
                    <a:pt x="226" y="407"/>
                    <a:pt x="229" y="407"/>
                    <a:pt x="230" y="400"/>
                  </a:cubicBezTo>
                  <a:cubicBezTo>
                    <a:pt x="230" y="395"/>
                    <a:pt x="231" y="390"/>
                    <a:pt x="233" y="388"/>
                  </a:cubicBezTo>
                  <a:cubicBezTo>
                    <a:pt x="235" y="387"/>
                    <a:pt x="237" y="387"/>
                    <a:pt x="239" y="387"/>
                  </a:cubicBezTo>
                  <a:cubicBezTo>
                    <a:pt x="241" y="388"/>
                    <a:pt x="244" y="393"/>
                    <a:pt x="246" y="397"/>
                  </a:cubicBezTo>
                  <a:cubicBezTo>
                    <a:pt x="248" y="404"/>
                    <a:pt x="252" y="402"/>
                    <a:pt x="255" y="402"/>
                  </a:cubicBezTo>
                  <a:cubicBezTo>
                    <a:pt x="257" y="401"/>
                    <a:pt x="261" y="400"/>
                    <a:pt x="260" y="393"/>
                  </a:cubicBezTo>
                  <a:cubicBezTo>
                    <a:pt x="260" y="389"/>
                    <a:pt x="260" y="384"/>
                    <a:pt x="261" y="381"/>
                  </a:cubicBezTo>
                  <a:cubicBezTo>
                    <a:pt x="263" y="380"/>
                    <a:pt x="265" y="380"/>
                    <a:pt x="267" y="379"/>
                  </a:cubicBezTo>
                  <a:cubicBezTo>
                    <a:pt x="270" y="380"/>
                    <a:pt x="273" y="384"/>
                    <a:pt x="275" y="388"/>
                  </a:cubicBezTo>
                  <a:cubicBezTo>
                    <a:pt x="279" y="394"/>
                    <a:pt x="282" y="392"/>
                    <a:pt x="285" y="391"/>
                  </a:cubicBezTo>
                  <a:cubicBezTo>
                    <a:pt x="287" y="390"/>
                    <a:pt x="291" y="389"/>
                    <a:pt x="289" y="382"/>
                  </a:cubicBezTo>
                  <a:cubicBezTo>
                    <a:pt x="288" y="378"/>
                    <a:pt x="287" y="373"/>
                    <a:pt x="288" y="370"/>
                  </a:cubicBezTo>
                  <a:cubicBezTo>
                    <a:pt x="290" y="369"/>
                    <a:pt x="292" y="368"/>
                    <a:pt x="293" y="367"/>
                  </a:cubicBezTo>
                  <a:cubicBezTo>
                    <a:pt x="296" y="368"/>
                    <a:pt x="300" y="371"/>
                    <a:pt x="303" y="375"/>
                  </a:cubicBezTo>
                  <a:cubicBezTo>
                    <a:pt x="308" y="380"/>
                    <a:pt x="311" y="378"/>
                    <a:pt x="313" y="376"/>
                  </a:cubicBezTo>
                  <a:cubicBezTo>
                    <a:pt x="315" y="375"/>
                    <a:pt x="319" y="373"/>
                    <a:pt x="316" y="367"/>
                  </a:cubicBezTo>
                  <a:cubicBezTo>
                    <a:pt x="314" y="363"/>
                    <a:pt x="313" y="358"/>
                    <a:pt x="313" y="355"/>
                  </a:cubicBezTo>
                  <a:cubicBezTo>
                    <a:pt x="315" y="353"/>
                    <a:pt x="316" y="352"/>
                    <a:pt x="318" y="351"/>
                  </a:cubicBezTo>
                  <a:cubicBezTo>
                    <a:pt x="321" y="352"/>
                    <a:pt x="325" y="354"/>
                    <a:pt x="329" y="357"/>
                  </a:cubicBezTo>
                  <a:cubicBezTo>
                    <a:pt x="334" y="362"/>
                    <a:pt x="337" y="359"/>
                    <a:pt x="339" y="357"/>
                  </a:cubicBezTo>
                  <a:cubicBezTo>
                    <a:pt x="341" y="355"/>
                    <a:pt x="344" y="353"/>
                    <a:pt x="340" y="347"/>
                  </a:cubicBezTo>
                  <a:cubicBezTo>
                    <a:pt x="337" y="344"/>
                    <a:pt x="335" y="339"/>
                    <a:pt x="335" y="336"/>
                  </a:cubicBezTo>
                  <a:cubicBezTo>
                    <a:pt x="336" y="334"/>
                    <a:pt x="338" y="333"/>
                    <a:pt x="339" y="331"/>
                  </a:cubicBezTo>
                  <a:cubicBezTo>
                    <a:pt x="342" y="331"/>
                    <a:pt x="347" y="333"/>
                    <a:pt x="351" y="336"/>
                  </a:cubicBezTo>
                  <a:cubicBezTo>
                    <a:pt x="357" y="340"/>
                    <a:pt x="359" y="336"/>
                    <a:pt x="361" y="334"/>
                  </a:cubicBezTo>
                  <a:cubicBezTo>
                    <a:pt x="363" y="332"/>
                    <a:pt x="365" y="330"/>
                    <a:pt x="360" y="324"/>
                  </a:cubicBezTo>
                  <a:cubicBezTo>
                    <a:pt x="357" y="321"/>
                    <a:pt x="355" y="317"/>
                    <a:pt x="354" y="314"/>
                  </a:cubicBezTo>
                  <a:cubicBezTo>
                    <a:pt x="355" y="312"/>
                    <a:pt x="356" y="310"/>
                    <a:pt x="357" y="309"/>
                  </a:cubicBezTo>
                  <a:cubicBezTo>
                    <a:pt x="361" y="308"/>
                    <a:pt x="366" y="309"/>
                    <a:pt x="370" y="311"/>
                  </a:cubicBezTo>
                  <a:cubicBezTo>
                    <a:pt x="376" y="314"/>
                    <a:pt x="378" y="310"/>
                    <a:pt x="379" y="308"/>
                  </a:cubicBezTo>
                  <a:cubicBezTo>
                    <a:pt x="381" y="306"/>
                    <a:pt x="383" y="303"/>
                    <a:pt x="377" y="299"/>
                  </a:cubicBezTo>
                  <a:cubicBezTo>
                    <a:pt x="374" y="296"/>
                    <a:pt x="370" y="292"/>
                    <a:pt x="369" y="289"/>
                  </a:cubicBezTo>
                  <a:cubicBezTo>
                    <a:pt x="370" y="287"/>
                    <a:pt x="371" y="285"/>
                    <a:pt x="372" y="283"/>
                  </a:cubicBezTo>
                  <a:cubicBezTo>
                    <a:pt x="375" y="283"/>
                    <a:pt x="380" y="283"/>
                    <a:pt x="385" y="284"/>
                  </a:cubicBezTo>
                  <a:cubicBezTo>
                    <a:pt x="391" y="286"/>
                    <a:pt x="392" y="282"/>
                    <a:pt x="393" y="279"/>
                  </a:cubicBezTo>
                  <a:cubicBezTo>
                    <a:pt x="394" y="277"/>
                    <a:pt x="396" y="274"/>
                    <a:pt x="390" y="270"/>
                  </a:cubicBezTo>
                  <a:cubicBezTo>
                    <a:pt x="386" y="268"/>
                    <a:pt x="382" y="265"/>
                    <a:pt x="380" y="262"/>
                  </a:cubicBezTo>
                  <a:cubicBezTo>
                    <a:pt x="381" y="260"/>
                    <a:pt x="382" y="258"/>
                    <a:pt x="382" y="256"/>
                  </a:cubicBezTo>
                  <a:cubicBezTo>
                    <a:pt x="385" y="255"/>
                    <a:pt x="390" y="254"/>
                    <a:pt x="395" y="255"/>
                  </a:cubicBezTo>
                  <a:cubicBezTo>
                    <a:pt x="402" y="255"/>
                    <a:pt x="402" y="252"/>
                    <a:pt x="403" y="249"/>
                  </a:cubicBezTo>
                  <a:cubicBezTo>
                    <a:pt x="403" y="246"/>
                    <a:pt x="405" y="243"/>
                    <a:pt x="398" y="240"/>
                  </a:cubicBezTo>
                  <a:cubicBezTo>
                    <a:pt x="394" y="239"/>
                    <a:pt x="389" y="236"/>
                    <a:pt x="387" y="234"/>
                  </a:cubicBezTo>
                  <a:cubicBezTo>
                    <a:pt x="388" y="232"/>
                    <a:pt x="388" y="230"/>
                    <a:pt x="388" y="228"/>
                  </a:cubicBezTo>
                  <a:cubicBezTo>
                    <a:pt x="391" y="226"/>
                    <a:pt x="396" y="225"/>
                    <a:pt x="400" y="224"/>
                  </a:cubicBezTo>
                  <a:cubicBezTo>
                    <a:pt x="407" y="224"/>
                    <a:pt x="407" y="220"/>
                    <a:pt x="407" y="217"/>
                  </a:cubicBezTo>
                  <a:cubicBezTo>
                    <a:pt x="407" y="215"/>
                    <a:pt x="408" y="211"/>
                    <a:pt x="401" y="210"/>
                  </a:cubicBezTo>
                  <a:cubicBezTo>
                    <a:pt x="397" y="209"/>
                    <a:pt x="392" y="207"/>
                    <a:pt x="390" y="205"/>
                  </a:cubicBezTo>
                  <a:cubicBezTo>
                    <a:pt x="390" y="203"/>
                    <a:pt x="390" y="201"/>
                    <a:pt x="390" y="199"/>
                  </a:cubicBezTo>
                  <a:cubicBezTo>
                    <a:pt x="392" y="196"/>
                    <a:pt x="397" y="194"/>
                    <a:pt x="401" y="193"/>
                  </a:cubicBezTo>
                  <a:cubicBezTo>
                    <a:pt x="408" y="192"/>
                    <a:pt x="407" y="188"/>
                    <a:pt x="407" y="185"/>
                  </a:cubicBezTo>
                  <a:cubicBezTo>
                    <a:pt x="407" y="183"/>
                    <a:pt x="407" y="179"/>
                    <a:pt x="400" y="179"/>
                  </a:cubicBezTo>
                  <a:cubicBezTo>
                    <a:pt x="395" y="178"/>
                    <a:pt x="390" y="177"/>
                    <a:pt x="387" y="176"/>
                  </a:cubicBezTo>
                  <a:cubicBezTo>
                    <a:pt x="387" y="174"/>
                    <a:pt x="387" y="172"/>
                    <a:pt x="386" y="170"/>
                  </a:cubicBezTo>
                  <a:cubicBezTo>
                    <a:pt x="388" y="167"/>
                    <a:pt x="393" y="164"/>
                    <a:pt x="397" y="163"/>
                  </a:cubicBezTo>
                  <a:cubicBezTo>
                    <a:pt x="403" y="160"/>
                    <a:pt x="402" y="157"/>
                    <a:pt x="401" y="154"/>
                  </a:cubicBezTo>
                  <a:cubicBezTo>
                    <a:pt x="401" y="151"/>
                    <a:pt x="400" y="148"/>
                    <a:pt x="393" y="148"/>
                  </a:cubicBezTo>
                  <a:cubicBezTo>
                    <a:pt x="389" y="149"/>
                    <a:pt x="383" y="149"/>
                    <a:pt x="381" y="147"/>
                  </a:cubicBezTo>
                  <a:cubicBezTo>
                    <a:pt x="380" y="145"/>
                    <a:pt x="379" y="143"/>
                    <a:pt x="379" y="142"/>
                  </a:cubicBezTo>
                  <a:cubicBezTo>
                    <a:pt x="380" y="139"/>
                    <a:pt x="384" y="135"/>
                    <a:pt x="388" y="133"/>
                  </a:cubicBezTo>
                  <a:cubicBezTo>
                    <a:pt x="394" y="129"/>
                    <a:pt x="392" y="126"/>
                    <a:pt x="391" y="124"/>
                  </a:cubicBezTo>
                  <a:cubicBezTo>
                    <a:pt x="390" y="121"/>
                    <a:pt x="389" y="118"/>
                    <a:pt x="382" y="120"/>
                  </a:cubicBezTo>
                  <a:cubicBezTo>
                    <a:pt x="378" y="121"/>
                    <a:pt x="373" y="121"/>
                    <a:pt x="370" y="120"/>
                  </a:cubicBezTo>
                  <a:cubicBezTo>
                    <a:pt x="369" y="119"/>
                    <a:pt x="368" y="117"/>
                    <a:pt x="367" y="115"/>
                  </a:cubicBezTo>
                  <a:cubicBezTo>
                    <a:pt x="368" y="112"/>
                    <a:pt x="371" y="108"/>
                    <a:pt x="375" y="105"/>
                  </a:cubicBezTo>
                  <a:cubicBezTo>
                    <a:pt x="380" y="101"/>
                    <a:pt x="378" y="98"/>
                    <a:pt x="376" y="95"/>
                  </a:cubicBezTo>
                  <a:cubicBezTo>
                    <a:pt x="375" y="93"/>
                    <a:pt x="373" y="90"/>
                    <a:pt x="367" y="93"/>
                  </a:cubicBezTo>
                  <a:cubicBezTo>
                    <a:pt x="363" y="95"/>
                    <a:pt x="358" y="96"/>
                    <a:pt x="354" y="96"/>
                  </a:cubicBezTo>
                  <a:cubicBezTo>
                    <a:pt x="353" y="94"/>
                    <a:pt x="352" y="92"/>
                    <a:pt x="351" y="91"/>
                  </a:cubicBezTo>
                  <a:cubicBezTo>
                    <a:pt x="351" y="88"/>
                    <a:pt x="354" y="83"/>
                    <a:pt x="357" y="80"/>
                  </a:cubicBezTo>
                  <a:cubicBezTo>
                    <a:pt x="362" y="74"/>
                    <a:pt x="359" y="72"/>
                    <a:pt x="357" y="70"/>
                  </a:cubicBezTo>
                  <a:cubicBezTo>
                    <a:pt x="355" y="68"/>
                    <a:pt x="353" y="65"/>
                    <a:pt x="347" y="69"/>
                  </a:cubicBezTo>
                  <a:cubicBezTo>
                    <a:pt x="343" y="71"/>
                    <a:pt x="339" y="73"/>
                    <a:pt x="336" y="73"/>
                  </a:cubicBezTo>
                  <a:cubicBezTo>
                    <a:pt x="334" y="72"/>
                    <a:pt x="333" y="71"/>
                    <a:pt x="331" y="69"/>
                  </a:cubicBezTo>
                  <a:cubicBezTo>
                    <a:pt x="331" y="66"/>
                    <a:pt x="333" y="61"/>
                    <a:pt x="336" y="57"/>
                  </a:cubicBezTo>
                  <a:cubicBezTo>
                    <a:pt x="339" y="51"/>
                    <a:pt x="336" y="49"/>
                    <a:pt x="334" y="48"/>
                  </a:cubicBezTo>
                  <a:cubicBezTo>
                    <a:pt x="332" y="46"/>
                    <a:pt x="329" y="43"/>
                    <a:pt x="324" y="48"/>
                  </a:cubicBezTo>
                  <a:moveTo>
                    <a:pt x="333" y="311"/>
                  </a:moveTo>
                  <a:cubicBezTo>
                    <a:pt x="274" y="382"/>
                    <a:pt x="169" y="392"/>
                    <a:pt x="98" y="333"/>
                  </a:cubicBezTo>
                  <a:cubicBezTo>
                    <a:pt x="27" y="274"/>
                    <a:pt x="17" y="169"/>
                    <a:pt x="76" y="98"/>
                  </a:cubicBezTo>
                  <a:cubicBezTo>
                    <a:pt x="134" y="27"/>
                    <a:pt x="240" y="17"/>
                    <a:pt x="311" y="76"/>
                  </a:cubicBezTo>
                  <a:cubicBezTo>
                    <a:pt x="382" y="135"/>
                    <a:pt x="392" y="240"/>
                    <a:pt x="333" y="31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4" name="Freeform 21353">
              <a:extLst>
                <a:ext uri="{FF2B5EF4-FFF2-40B4-BE49-F238E27FC236}">
                  <a16:creationId xmlns:a16="http://schemas.microsoft.com/office/drawing/2014/main" id="{BB848BAA-7A7C-4A1B-9670-CC2456C3DE47}"/>
                </a:ext>
              </a:extLst>
            </p:cNvPr>
            <p:cNvSpPr>
              <a:spLocks noEditPoints="1"/>
            </p:cNvSpPr>
            <p:nvPr userDrawn="1"/>
          </p:nvSpPr>
          <p:spPr bwMode="auto">
            <a:xfrm>
              <a:off x="8783003" y="3606165"/>
              <a:ext cx="825500" cy="822325"/>
            </a:xfrm>
            <a:custGeom>
              <a:avLst/>
              <a:gdLst>
                <a:gd name="T0" fmla="*/ 311 w 408"/>
                <a:gd name="T1" fmla="*/ 39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69 w 408"/>
                <a:gd name="T13" fmla="*/ 22 h 408"/>
                <a:gd name="T14" fmla="*/ 147 w 408"/>
                <a:gd name="T15" fmla="*/ 28 h 408"/>
                <a:gd name="T16" fmla="*/ 119 w 408"/>
                <a:gd name="T17" fmla="*/ 26 h 408"/>
                <a:gd name="T18" fmla="*/ 95 w 408"/>
                <a:gd name="T19" fmla="*/ 32 h 408"/>
                <a:gd name="T20" fmla="*/ 80 w 408"/>
                <a:gd name="T21" fmla="*/ 52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5 h 408"/>
                <a:gd name="T40" fmla="*/ 20 w 408"/>
                <a:gd name="T41" fmla="*/ 276 h 408"/>
                <a:gd name="T42" fmla="*/ 42 w 408"/>
                <a:gd name="T43" fmla="*/ 294 h 408"/>
                <a:gd name="T44" fmla="*/ 54 w 408"/>
                <a:gd name="T45" fmla="*/ 313 h 408"/>
                <a:gd name="T46" fmla="*/ 61 w 408"/>
                <a:gd name="T47" fmla="*/ 340 h 408"/>
                <a:gd name="T48" fmla="*/ 74 w 408"/>
                <a:gd name="T49" fmla="*/ 361 h 408"/>
                <a:gd name="T50" fmla="*/ 97 w 408"/>
                <a:gd name="T51" fmla="*/ 370 h 408"/>
                <a:gd name="T52" fmla="*/ 125 w 408"/>
                <a:gd name="T53" fmla="*/ 372 h 408"/>
                <a:gd name="T54" fmla="*/ 146 w 408"/>
                <a:gd name="T55" fmla="*/ 381 h 408"/>
                <a:gd name="T56" fmla="*/ 168 w 408"/>
                <a:gd name="T57" fmla="*/ 398 h 408"/>
                <a:gd name="T58" fmla="*/ 191 w 408"/>
                <a:gd name="T59" fmla="*/ 407 h 408"/>
                <a:gd name="T60" fmla="*/ 215 w 408"/>
                <a:gd name="T61" fmla="*/ 401 h 408"/>
                <a:gd name="T62" fmla="*/ 239 w 408"/>
                <a:gd name="T63" fmla="*/ 387 h 408"/>
                <a:gd name="T64" fmla="*/ 261 w 408"/>
                <a:gd name="T65" fmla="*/ 381 h 408"/>
                <a:gd name="T66" fmla="*/ 289 w 408"/>
                <a:gd name="T67" fmla="*/ 382 h 408"/>
                <a:gd name="T68" fmla="*/ 313 w 408"/>
                <a:gd name="T69" fmla="*/ 376 h 408"/>
                <a:gd name="T70" fmla="*/ 329 w 408"/>
                <a:gd name="T71" fmla="*/ 357 h 408"/>
                <a:gd name="T72" fmla="*/ 339 w 408"/>
                <a:gd name="T73" fmla="*/ 331 h 408"/>
                <a:gd name="T74" fmla="*/ 354 w 408"/>
                <a:gd name="T75" fmla="*/ 314 h 408"/>
                <a:gd name="T76" fmla="*/ 377 w 408"/>
                <a:gd name="T77" fmla="*/ 299 h 408"/>
                <a:gd name="T78" fmla="*/ 393 w 408"/>
                <a:gd name="T79" fmla="*/ 279 h 408"/>
                <a:gd name="T80" fmla="*/ 395 w 408"/>
                <a:gd name="T81" fmla="*/ 255 h 408"/>
                <a:gd name="T82" fmla="*/ 388 w 408"/>
                <a:gd name="T83" fmla="*/ 228 h 408"/>
                <a:gd name="T84" fmla="*/ 390 w 408"/>
                <a:gd name="T85" fmla="*/ 205 h 408"/>
                <a:gd name="T86" fmla="*/ 400 w 408"/>
                <a:gd name="T87" fmla="*/ 179 h 408"/>
                <a:gd name="T88" fmla="*/ 401 w 408"/>
                <a:gd name="T89" fmla="*/ 154 h 408"/>
                <a:gd name="T90" fmla="*/ 388 w 408"/>
                <a:gd name="T91" fmla="*/ 133 h 408"/>
                <a:gd name="T92" fmla="*/ 367 w 408"/>
                <a:gd name="T93" fmla="*/ 115 h 408"/>
                <a:gd name="T94" fmla="*/ 354 w 408"/>
                <a:gd name="T95" fmla="*/ 96 h 408"/>
                <a:gd name="T96" fmla="*/ 347 w 408"/>
                <a:gd name="T97" fmla="*/ 69 h 408"/>
                <a:gd name="T98" fmla="*/ 334 w 408"/>
                <a:gd name="T99" fmla="*/ 48 h 408"/>
                <a:gd name="T100" fmla="*/ 76 w 408"/>
                <a:gd name="T101" fmla="*/ 9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8" h="408">
                  <a:moveTo>
                    <a:pt x="324" y="48"/>
                  </a:moveTo>
                  <a:cubicBezTo>
                    <a:pt x="321" y="51"/>
                    <a:pt x="316" y="54"/>
                    <a:pt x="313" y="54"/>
                  </a:cubicBezTo>
                  <a:cubicBezTo>
                    <a:pt x="312" y="53"/>
                    <a:pt x="310" y="52"/>
                    <a:pt x="308" y="51"/>
                  </a:cubicBezTo>
                  <a:cubicBezTo>
                    <a:pt x="308" y="48"/>
                    <a:pt x="309" y="43"/>
                    <a:pt x="311" y="39"/>
                  </a:cubicBezTo>
                  <a:cubicBezTo>
                    <a:pt x="314" y="32"/>
                    <a:pt x="310" y="31"/>
                    <a:pt x="308" y="29"/>
                  </a:cubicBezTo>
                  <a:cubicBezTo>
                    <a:pt x="306" y="28"/>
                    <a:pt x="303" y="26"/>
                    <a:pt x="298" y="31"/>
                  </a:cubicBezTo>
                  <a:cubicBezTo>
                    <a:pt x="295" y="35"/>
                    <a:pt x="292" y="38"/>
                    <a:pt x="289" y="39"/>
                  </a:cubicBezTo>
                  <a:cubicBezTo>
                    <a:pt x="287" y="38"/>
                    <a:pt x="285" y="37"/>
                    <a:pt x="283" y="36"/>
                  </a:cubicBezTo>
                  <a:cubicBezTo>
                    <a:pt x="282" y="33"/>
                    <a:pt x="283" y="28"/>
                    <a:pt x="284" y="24"/>
                  </a:cubicBezTo>
                  <a:cubicBezTo>
                    <a:pt x="285" y="17"/>
                    <a:pt x="282" y="16"/>
                    <a:pt x="279" y="15"/>
                  </a:cubicBezTo>
                  <a:cubicBezTo>
                    <a:pt x="277" y="14"/>
                    <a:pt x="273" y="12"/>
                    <a:pt x="270" y="19"/>
                  </a:cubicBezTo>
                  <a:cubicBezTo>
                    <a:pt x="268" y="22"/>
                    <a:pt x="264" y="26"/>
                    <a:pt x="262" y="28"/>
                  </a:cubicBezTo>
                  <a:cubicBezTo>
                    <a:pt x="260" y="27"/>
                    <a:pt x="258" y="27"/>
                    <a:pt x="256" y="26"/>
                  </a:cubicBezTo>
                  <a:cubicBezTo>
                    <a:pt x="255" y="23"/>
                    <a:pt x="254" y="18"/>
                    <a:pt x="255" y="14"/>
                  </a:cubicBezTo>
                  <a:cubicBezTo>
                    <a:pt x="255" y="7"/>
                    <a:pt x="251" y="6"/>
                    <a:pt x="249" y="6"/>
                  </a:cubicBezTo>
                  <a:cubicBezTo>
                    <a:pt x="246" y="5"/>
                    <a:pt x="243" y="4"/>
                    <a:pt x="240" y="10"/>
                  </a:cubicBezTo>
                  <a:cubicBezTo>
                    <a:pt x="239" y="15"/>
                    <a:pt x="236" y="19"/>
                    <a:pt x="233" y="21"/>
                  </a:cubicBezTo>
                  <a:cubicBezTo>
                    <a:pt x="231" y="21"/>
                    <a:pt x="229" y="21"/>
                    <a:pt x="227" y="20"/>
                  </a:cubicBezTo>
                  <a:cubicBezTo>
                    <a:pt x="226" y="18"/>
                    <a:pt x="224" y="13"/>
                    <a:pt x="224" y="8"/>
                  </a:cubicBezTo>
                  <a:cubicBezTo>
                    <a:pt x="224" y="1"/>
                    <a:pt x="220" y="1"/>
                    <a:pt x="217" y="1"/>
                  </a:cubicBezTo>
                  <a:cubicBezTo>
                    <a:pt x="215" y="1"/>
                    <a:pt x="211" y="0"/>
                    <a:pt x="209" y="7"/>
                  </a:cubicBezTo>
                  <a:cubicBezTo>
                    <a:pt x="208" y="12"/>
                    <a:pt x="207" y="17"/>
                    <a:pt x="204" y="19"/>
                  </a:cubicBezTo>
                  <a:cubicBezTo>
                    <a:pt x="202" y="19"/>
                    <a:pt x="200" y="19"/>
                    <a:pt x="198" y="19"/>
                  </a:cubicBezTo>
                  <a:cubicBezTo>
                    <a:pt x="196" y="17"/>
                    <a:pt x="194" y="12"/>
                    <a:pt x="193" y="7"/>
                  </a:cubicBezTo>
                  <a:cubicBezTo>
                    <a:pt x="192" y="1"/>
                    <a:pt x="188" y="1"/>
                    <a:pt x="185" y="2"/>
                  </a:cubicBezTo>
                  <a:cubicBezTo>
                    <a:pt x="183" y="2"/>
                    <a:pt x="179" y="2"/>
                    <a:pt x="179" y="9"/>
                  </a:cubicBezTo>
                  <a:cubicBezTo>
                    <a:pt x="178" y="13"/>
                    <a:pt x="177" y="19"/>
                    <a:pt x="175" y="21"/>
                  </a:cubicBezTo>
                  <a:cubicBezTo>
                    <a:pt x="173" y="21"/>
                    <a:pt x="171" y="22"/>
                    <a:pt x="169" y="22"/>
                  </a:cubicBezTo>
                  <a:cubicBezTo>
                    <a:pt x="167" y="20"/>
                    <a:pt x="164" y="16"/>
                    <a:pt x="162" y="12"/>
                  </a:cubicBezTo>
                  <a:cubicBezTo>
                    <a:pt x="160" y="5"/>
                    <a:pt x="156" y="6"/>
                    <a:pt x="154" y="7"/>
                  </a:cubicBezTo>
                  <a:cubicBezTo>
                    <a:pt x="151" y="8"/>
                    <a:pt x="147" y="8"/>
                    <a:pt x="148" y="15"/>
                  </a:cubicBezTo>
                  <a:cubicBezTo>
                    <a:pt x="149" y="20"/>
                    <a:pt x="148" y="25"/>
                    <a:pt x="147" y="28"/>
                  </a:cubicBezTo>
                  <a:cubicBezTo>
                    <a:pt x="145" y="28"/>
                    <a:pt x="143" y="29"/>
                    <a:pt x="141" y="30"/>
                  </a:cubicBezTo>
                  <a:cubicBezTo>
                    <a:pt x="139" y="28"/>
                    <a:pt x="135" y="24"/>
                    <a:pt x="133" y="20"/>
                  </a:cubicBezTo>
                  <a:cubicBezTo>
                    <a:pt x="129" y="14"/>
                    <a:pt x="126" y="16"/>
                    <a:pt x="124" y="17"/>
                  </a:cubicBezTo>
                  <a:cubicBezTo>
                    <a:pt x="121" y="18"/>
                    <a:pt x="117" y="19"/>
                    <a:pt x="119" y="26"/>
                  </a:cubicBezTo>
                  <a:cubicBezTo>
                    <a:pt x="120" y="31"/>
                    <a:pt x="121" y="36"/>
                    <a:pt x="120" y="39"/>
                  </a:cubicBezTo>
                  <a:cubicBezTo>
                    <a:pt x="118" y="40"/>
                    <a:pt x="117" y="41"/>
                    <a:pt x="115" y="42"/>
                  </a:cubicBezTo>
                  <a:cubicBezTo>
                    <a:pt x="112" y="41"/>
                    <a:pt x="108" y="37"/>
                    <a:pt x="105" y="34"/>
                  </a:cubicBezTo>
                  <a:cubicBezTo>
                    <a:pt x="100" y="28"/>
                    <a:pt x="97" y="31"/>
                    <a:pt x="95" y="32"/>
                  </a:cubicBezTo>
                  <a:cubicBezTo>
                    <a:pt x="93" y="34"/>
                    <a:pt x="90" y="35"/>
                    <a:pt x="93" y="42"/>
                  </a:cubicBezTo>
                  <a:cubicBezTo>
                    <a:pt x="94" y="46"/>
                    <a:pt x="96" y="51"/>
                    <a:pt x="95" y="54"/>
                  </a:cubicBezTo>
                  <a:cubicBezTo>
                    <a:pt x="94" y="55"/>
                    <a:pt x="92" y="56"/>
                    <a:pt x="91" y="58"/>
                  </a:cubicBezTo>
                  <a:cubicBezTo>
                    <a:pt x="87" y="57"/>
                    <a:pt x="83" y="54"/>
                    <a:pt x="80" y="52"/>
                  </a:cubicBezTo>
                  <a:cubicBezTo>
                    <a:pt x="74" y="47"/>
                    <a:pt x="72" y="50"/>
                    <a:pt x="70" y="51"/>
                  </a:cubicBezTo>
                  <a:cubicBezTo>
                    <a:pt x="68" y="53"/>
                    <a:pt x="65" y="55"/>
                    <a:pt x="69" y="61"/>
                  </a:cubicBezTo>
                  <a:cubicBezTo>
                    <a:pt x="71" y="65"/>
                    <a:pt x="73" y="70"/>
                    <a:pt x="73" y="73"/>
                  </a:cubicBezTo>
                  <a:cubicBezTo>
                    <a:pt x="72" y="74"/>
                    <a:pt x="70" y="76"/>
                    <a:pt x="69" y="77"/>
                  </a:cubicBezTo>
                  <a:cubicBezTo>
                    <a:pt x="66" y="77"/>
                    <a:pt x="61" y="75"/>
                    <a:pt x="57" y="73"/>
                  </a:cubicBezTo>
                  <a:cubicBezTo>
                    <a:pt x="51" y="69"/>
                    <a:pt x="49" y="72"/>
                    <a:pt x="47" y="74"/>
                  </a:cubicBezTo>
                  <a:cubicBezTo>
                    <a:pt x="46" y="76"/>
                    <a:pt x="43" y="79"/>
                    <a:pt x="48" y="84"/>
                  </a:cubicBezTo>
                  <a:cubicBezTo>
                    <a:pt x="51" y="88"/>
                    <a:pt x="54" y="92"/>
                    <a:pt x="54" y="95"/>
                  </a:cubicBezTo>
                  <a:cubicBezTo>
                    <a:pt x="53" y="97"/>
                    <a:pt x="52" y="98"/>
                    <a:pt x="51" y="100"/>
                  </a:cubicBezTo>
                  <a:cubicBezTo>
                    <a:pt x="48" y="100"/>
                    <a:pt x="43" y="99"/>
                    <a:pt x="38" y="98"/>
                  </a:cubicBezTo>
                  <a:cubicBezTo>
                    <a:pt x="32" y="95"/>
                    <a:pt x="30" y="98"/>
                    <a:pt x="29" y="100"/>
                  </a:cubicBezTo>
                  <a:cubicBezTo>
                    <a:pt x="28" y="103"/>
                    <a:pt x="25" y="106"/>
                    <a:pt x="31" y="110"/>
                  </a:cubicBezTo>
                  <a:cubicBezTo>
                    <a:pt x="34" y="113"/>
                    <a:pt x="38" y="117"/>
                    <a:pt x="39" y="120"/>
                  </a:cubicBezTo>
                  <a:cubicBezTo>
                    <a:pt x="38" y="122"/>
                    <a:pt x="37" y="123"/>
                    <a:pt x="36" y="125"/>
                  </a:cubicBezTo>
                  <a:cubicBezTo>
                    <a:pt x="33" y="126"/>
                    <a:pt x="28" y="126"/>
                    <a:pt x="24" y="125"/>
                  </a:cubicBezTo>
                  <a:cubicBezTo>
                    <a:pt x="17" y="123"/>
                    <a:pt x="16" y="127"/>
                    <a:pt x="15" y="129"/>
                  </a:cubicBezTo>
                  <a:cubicBezTo>
                    <a:pt x="14" y="132"/>
                    <a:pt x="12" y="135"/>
                    <a:pt x="18" y="138"/>
                  </a:cubicBezTo>
                  <a:cubicBezTo>
                    <a:pt x="22" y="141"/>
                    <a:pt x="26" y="144"/>
                    <a:pt x="28" y="147"/>
                  </a:cubicBezTo>
                  <a:cubicBezTo>
                    <a:pt x="27" y="149"/>
                    <a:pt x="27" y="151"/>
                    <a:pt x="26" y="152"/>
                  </a:cubicBezTo>
                  <a:cubicBezTo>
                    <a:pt x="23" y="154"/>
                    <a:pt x="18" y="154"/>
                    <a:pt x="14" y="154"/>
                  </a:cubicBezTo>
                  <a:cubicBezTo>
                    <a:pt x="6" y="153"/>
                    <a:pt x="6" y="157"/>
                    <a:pt x="6" y="160"/>
                  </a:cubicBezTo>
                  <a:cubicBezTo>
                    <a:pt x="5" y="162"/>
                    <a:pt x="4" y="166"/>
                    <a:pt x="10" y="168"/>
                  </a:cubicBezTo>
                  <a:cubicBezTo>
                    <a:pt x="14" y="170"/>
                    <a:pt x="19" y="173"/>
                    <a:pt x="21" y="175"/>
                  </a:cubicBezTo>
                  <a:cubicBezTo>
                    <a:pt x="21" y="177"/>
                    <a:pt x="20" y="179"/>
                    <a:pt x="20" y="181"/>
                  </a:cubicBezTo>
                  <a:cubicBezTo>
                    <a:pt x="18" y="183"/>
                    <a:pt x="12" y="184"/>
                    <a:pt x="8" y="184"/>
                  </a:cubicBezTo>
                  <a:cubicBezTo>
                    <a:pt x="1" y="185"/>
                    <a:pt x="1" y="189"/>
                    <a:pt x="1" y="191"/>
                  </a:cubicBezTo>
                  <a:cubicBezTo>
                    <a:pt x="1" y="194"/>
                    <a:pt x="0" y="198"/>
                    <a:pt x="7" y="199"/>
                  </a:cubicBezTo>
                  <a:cubicBezTo>
                    <a:pt x="11" y="200"/>
                    <a:pt x="16" y="202"/>
                    <a:pt x="19" y="204"/>
                  </a:cubicBezTo>
                  <a:cubicBezTo>
                    <a:pt x="19" y="206"/>
                    <a:pt x="19" y="208"/>
                    <a:pt x="19" y="210"/>
                  </a:cubicBezTo>
                  <a:cubicBezTo>
                    <a:pt x="17" y="212"/>
                    <a:pt x="12" y="214"/>
                    <a:pt x="7" y="215"/>
                  </a:cubicBezTo>
                  <a:cubicBezTo>
                    <a:pt x="0" y="217"/>
                    <a:pt x="1" y="221"/>
                    <a:pt x="1" y="223"/>
                  </a:cubicBezTo>
                  <a:cubicBezTo>
                    <a:pt x="2" y="226"/>
                    <a:pt x="2" y="230"/>
                    <a:pt x="9" y="230"/>
                  </a:cubicBezTo>
                  <a:cubicBezTo>
                    <a:pt x="13" y="230"/>
                    <a:pt x="18" y="231"/>
                    <a:pt x="21" y="233"/>
                  </a:cubicBezTo>
                  <a:cubicBezTo>
                    <a:pt x="21" y="235"/>
                    <a:pt x="21" y="237"/>
                    <a:pt x="22" y="239"/>
                  </a:cubicBezTo>
                  <a:cubicBezTo>
                    <a:pt x="20" y="241"/>
                    <a:pt x="16" y="244"/>
                    <a:pt x="11" y="246"/>
                  </a:cubicBezTo>
                  <a:cubicBezTo>
                    <a:pt x="5" y="249"/>
                    <a:pt x="6" y="252"/>
                    <a:pt x="7" y="255"/>
                  </a:cubicBezTo>
                  <a:cubicBezTo>
                    <a:pt x="8" y="257"/>
                    <a:pt x="8" y="261"/>
                    <a:pt x="15" y="260"/>
                  </a:cubicBezTo>
                  <a:cubicBezTo>
                    <a:pt x="20" y="260"/>
                    <a:pt x="25" y="260"/>
                    <a:pt x="28" y="261"/>
                  </a:cubicBezTo>
                  <a:cubicBezTo>
                    <a:pt x="28" y="263"/>
                    <a:pt x="29" y="265"/>
                    <a:pt x="30" y="267"/>
                  </a:cubicBezTo>
                  <a:cubicBezTo>
                    <a:pt x="28" y="270"/>
                    <a:pt x="24" y="273"/>
                    <a:pt x="20" y="276"/>
                  </a:cubicBezTo>
                  <a:cubicBezTo>
                    <a:pt x="14" y="279"/>
                    <a:pt x="16" y="283"/>
                    <a:pt x="17" y="285"/>
                  </a:cubicBezTo>
                  <a:cubicBezTo>
                    <a:pt x="18" y="287"/>
                    <a:pt x="19" y="291"/>
                    <a:pt x="26" y="289"/>
                  </a:cubicBezTo>
                  <a:cubicBezTo>
                    <a:pt x="30" y="288"/>
                    <a:pt x="36" y="287"/>
                    <a:pt x="39" y="288"/>
                  </a:cubicBezTo>
                  <a:cubicBezTo>
                    <a:pt x="40" y="290"/>
                    <a:pt x="41" y="292"/>
                    <a:pt x="42" y="294"/>
                  </a:cubicBezTo>
                  <a:cubicBezTo>
                    <a:pt x="41" y="297"/>
                    <a:pt x="37" y="300"/>
                    <a:pt x="34" y="303"/>
                  </a:cubicBezTo>
                  <a:cubicBezTo>
                    <a:pt x="28" y="308"/>
                    <a:pt x="31" y="311"/>
                    <a:pt x="32" y="313"/>
                  </a:cubicBezTo>
                  <a:cubicBezTo>
                    <a:pt x="34" y="315"/>
                    <a:pt x="35" y="319"/>
                    <a:pt x="42" y="316"/>
                  </a:cubicBezTo>
                  <a:cubicBezTo>
                    <a:pt x="46" y="314"/>
                    <a:pt x="51" y="313"/>
                    <a:pt x="54" y="313"/>
                  </a:cubicBezTo>
                  <a:cubicBezTo>
                    <a:pt x="55" y="315"/>
                    <a:pt x="56" y="316"/>
                    <a:pt x="57" y="318"/>
                  </a:cubicBezTo>
                  <a:cubicBezTo>
                    <a:pt x="57" y="321"/>
                    <a:pt x="54" y="325"/>
                    <a:pt x="51" y="329"/>
                  </a:cubicBezTo>
                  <a:cubicBezTo>
                    <a:pt x="47" y="334"/>
                    <a:pt x="49" y="337"/>
                    <a:pt x="51" y="339"/>
                  </a:cubicBezTo>
                  <a:cubicBezTo>
                    <a:pt x="53" y="341"/>
                    <a:pt x="55" y="344"/>
                    <a:pt x="61" y="340"/>
                  </a:cubicBezTo>
                  <a:cubicBezTo>
                    <a:pt x="65" y="338"/>
                    <a:pt x="70" y="335"/>
                    <a:pt x="73" y="335"/>
                  </a:cubicBezTo>
                  <a:cubicBezTo>
                    <a:pt x="74" y="337"/>
                    <a:pt x="76" y="338"/>
                    <a:pt x="77" y="339"/>
                  </a:cubicBezTo>
                  <a:cubicBezTo>
                    <a:pt x="77" y="343"/>
                    <a:pt x="75" y="347"/>
                    <a:pt x="73" y="351"/>
                  </a:cubicBezTo>
                  <a:cubicBezTo>
                    <a:pt x="69" y="357"/>
                    <a:pt x="72" y="359"/>
                    <a:pt x="74" y="361"/>
                  </a:cubicBezTo>
                  <a:cubicBezTo>
                    <a:pt x="76" y="363"/>
                    <a:pt x="79" y="365"/>
                    <a:pt x="84" y="361"/>
                  </a:cubicBezTo>
                  <a:cubicBezTo>
                    <a:pt x="87" y="358"/>
                    <a:pt x="92" y="355"/>
                    <a:pt x="95" y="354"/>
                  </a:cubicBezTo>
                  <a:cubicBezTo>
                    <a:pt x="96" y="355"/>
                    <a:pt x="98" y="357"/>
                    <a:pt x="100" y="358"/>
                  </a:cubicBezTo>
                  <a:cubicBezTo>
                    <a:pt x="100" y="361"/>
                    <a:pt x="99" y="366"/>
                    <a:pt x="97" y="370"/>
                  </a:cubicBezTo>
                  <a:cubicBezTo>
                    <a:pt x="95" y="377"/>
                    <a:pt x="98" y="378"/>
                    <a:pt x="100" y="379"/>
                  </a:cubicBezTo>
                  <a:cubicBezTo>
                    <a:pt x="103" y="381"/>
                    <a:pt x="106" y="383"/>
                    <a:pt x="110" y="378"/>
                  </a:cubicBezTo>
                  <a:cubicBezTo>
                    <a:pt x="113" y="374"/>
                    <a:pt x="117" y="371"/>
                    <a:pt x="120" y="369"/>
                  </a:cubicBezTo>
                  <a:cubicBezTo>
                    <a:pt x="121" y="370"/>
                    <a:pt x="123" y="371"/>
                    <a:pt x="125" y="372"/>
                  </a:cubicBezTo>
                  <a:cubicBezTo>
                    <a:pt x="126" y="375"/>
                    <a:pt x="126" y="380"/>
                    <a:pt x="125" y="385"/>
                  </a:cubicBezTo>
                  <a:cubicBezTo>
                    <a:pt x="123" y="392"/>
                    <a:pt x="126" y="393"/>
                    <a:pt x="129" y="394"/>
                  </a:cubicBezTo>
                  <a:cubicBezTo>
                    <a:pt x="131" y="395"/>
                    <a:pt x="135" y="396"/>
                    <a:pt x="138" y="390"/>
                  </a:cubicBezTo>
                  <a:cubicBezTo>
                    <a:pt x="141" y="386"/>
                    <a:pt x="144" y="382"/>
                    <a:pt x="146" y="381"/>
                  </a:cubicBezTo>
                  <a:cubicBezTo>
                    <a:pt x="148" y="381"/>
                    <a:pt x="150" y="382"/>
                    <a:pt x="152" y="382"/>
                  </a:cubicBezTo>
                  <a:cubicBezTo>
                    <a:pt x="154" y="385"/>
                    <a:pt x="154" y="390"/>
                    <a:pt x="154" y="395"/>
                  </a:cubicBezTo>
                  <a:cubicBezTo>
                    <a:pt x="153" y="402"/>
                    <a:pt x="157" y="402"/>
                    <a:pt x="159" y="403"/>
                  </a:cubicBezTo>
                  <a:cubicBezTo>
                    <a:pt x="162" y="404"/>
                    <a:pt x="166" y="405"/>
                    <a:pt x="168" y="398"/>
                  </a:cubicBezTo>
                  <a:cubicBezTo>
                    <a:pt x="170" y="394"/>
                    <a:pt x="172" y="389"/>
                    <a:pt x="175" y="387"/>
                  </a:cubicBezTo>
                  <a:cubicBezTo>
                    <a:pt x="177" y="388"/>
                    <a:pt x="179" y="388"/>
                    <a:pt x="181" y="388"/>
                  </a:cubicBezTo>
                  <a:cubicBezTo>
                    <a:pt x="183" y="391"/>
                    <a:pt x="184" y="396"/>
                    <a:pt x="184" y="400"/>
                  </a:cubicBezTo>
                  <a:cubicBezTo>
                    <a:pt x="185" y="408"/>
                    <a:pt x="188" y="407"/>
                    <a:pt x="191" y="407"/>
                  </a:cubicBezTo>
                  <a:cubicBezTo>
                    <a:pt x="194" y="408"/>
                    <a:pt x="197" y="408"/>
                    <a:pt x="199" y="401"/>
                  </a:cubicBezTo>
                  <a:cubicBezTo>
                    <a:pt x="200" y="397"/>
                    <a:pt x="202" y="392"/>
                    <a:pt x="204" y="390"/>
                  </a:cubicBezTo>
                  <a:cubicBezTo>
                    <a:pt x="206" y="390"/>
                    <a:pt x="208" y="390"/>
                    <a:pt x="210" y="390"/>
                  </a:cubicBezTo>
                  <a:cubicBezTo>
                    <a:pt x="212" y="392"/>
                    <a:pt x="214" y="397"/>
                    <a:pt x="215" y="401"/>
                  </a:cubicBezTo>
                  <a:cubicBezTo>
                    <a:pt x="217" y="408"/>
                    <a:pt x="220" y="407"/>
                    <a:pt x="223" y="407"/>
                  </a:cubicBezTo>
                  <a:cubicBezTo>
                    <a:pt x="226" y="407"/>
                    <a:pt x="229" y="407"/>
                    <a:pt x="230" y="400"/>
                  </a:cubicBezTo>
                  <a:cubicBezTo>
                    <a:pt x="230" y="395"/>
                    <a:pt x="231" y="390"/>
                    <a:pt x="233" y="388"/>
                  </a:cubicBezTo>
                  <a:cubicBezTo>
                    <a:pt x="235" y="387"/>
                    <a:pt x="237" y="387"/>
                    <a:pt x="239" y="387"/>
                  </a:cubicBezTo>
                  <a:cubicBezTo>
                    <a:pt x="241" y="388"/>
                    <a:pt x="244" y="393"/>
                    <a:pt x="246" y="397"/>
                  </a:cubicBezTo>
                  <a:cubicBezTo>
                    <a:pt x="248" y="404"/>
                    <a:pt x="252" y="402"/>
                    <a:pt x="255" y="402"/>
                  </a:cubicBezTo>
                  <a:cubicBezTo>
                    <a:pt x="257" y="401"/>
                    <a:pt x="261" y="400"/>
                    <a:pt x="260" y="393"/>
                  </a:cubicBezTo>
                  <a:cubicBezTo>
                    <a:pt x="260" y="389"/>
                    <a:pt x="260" y="384"/>
                    <a:pt x="261" y="381"/>
                  </a:cubicBezTo>
                  <a:cubicBezTo>
                    <a:pt x="263" y="380"/>
                    <a:pt x="265" y="380"/>
                    <a:pt x="267" y="379"/>
                  </a:cubicBezTo>
                  <a:cubicBezTo>
                    <a:pt x="270" y="380"/>
                    <a:pt x="273" y="384"/>
                    <a:pt x="275" y="388"/>
                  </a:cubicBezTo>
                  <a:cubicBezTo>
                    <a:pt x="279" y="394"/>
                    <a:pt x="282" y="392"/>
                    <a:pt x="285" y="391"/>
                  </a:cubicBezTo>
                  <a:cubicBezTo>
                    <a:pt x="287" y="390"/>
                    <a:pt x="291" y="389"/>
                    <a:pt x="289" y="382"/>
                  </a:cubicBezTo>
                  <a:cubicBezTo>
                    <a:pt x="288" y="378"/>
                    <a:pt x="287" y="373"/>
                    <a:pt x="288" y="370"/>
                  </a:cubicBezTo>
                  <a:cubicBezTo>
                    <a:pt x="290" y="369"/>
                    <a:pt x="292" y="368"/>
                    <a:pt x="293" y="367"/>
                  </a:cubicBezTo>
                  <a:cubicBezTo>
                    <a:pt x="296" y="368"/>
                    <a:pt x="300" y="371"/>
                    <a:pt x="303" y="375"/>
                  </a:cubicBezTo>
                  <a:cubicBezTo>
                    <a:pt x="308" y="380"/>
                    <a:pt x="311" y="378"/>
                    <a:pt x="313" y="376"/>
                  </a:cubicBezTo>
                  <a:cubicBezTo>
                    <a:pt x="315" y="375"/>
                    <a:pt x="319" y="373"/>
                    <a:pt x="316" y="367"/>
                  </a:cubicBezTo>
                  <a:cubicBezTo>
                    <a:pt x="314" y="363"/>
                    <a:pt x="313" y="358"/>
                    <a:pt x="313" y="355"/>
                  </a:cubicBezTo>
                  <a:cubicBezTo>
                    <a:pt x="315" y="353"/>
                    <a:pt x="316" y="352"/>
                    <a:pt x="318" y="351"/>
                  </a:cubicBezTo>
                  <a:cubicBezTo>
                    <a:pt x="321" y="352"/>
                    <a:pt x="325" y="354"/>
                    <a:pt x="329" y="357"/>
                  </a:cubicBezTo>
                  <a:cubicBezTo>
                    <a:pt x="334" y="362"/>
                    <a:pt x="337" y="359"/>
                    <a:pt x="339" y="357"/>
                  </a:cubicBezTo>
                  <a:cubicBezTo>
                    <a:pt x="341" y="355"/>
                    <a:pt x="344" y="353"/>
                    <a:pt x="340" y="347"/>
                  </a:cubicBezTo>
                  <a:cubicBezTo>
                    <a:pt x="337" y="344"/>
                    <a:pt x="335" y="339"/>
                    <a:pt x="335" y="336"/>
                  </a:cubicBezTo>
                  <a:cubicBezTo>
                    <a:pt x="336" y="334"/>
                    <a:pt x="338" y="333"/>
                    <a:pt x="339" y="331"/>
                  </a:cubicBezTo>
                  <a:cubicBezTo>
                    <a:pt x="342" y="331"/>
                    <a:pt x="347" y="333"/>
                    <a:pt x="351" y="336"/>
                  </a:cubicBezTo>
                  <a:cubicBezTo>
                    <a:pt x="357" y="340"/>
                    <a:pt x="359" y="336"/>
                    <a:pt x="361" y="334"/>
                  </a:cubicBezTo>
                  <a:cubicBezTo>
                    <a:pt x="363" y="332"/>
                    <a:pt x="365" y="330"/>
                    <a:pt x="360" y="324"/>
                  </a:cubicBezTo>
                  <a:cubicBezTo>
                    <a:pt x="357" y="321"/>
                    <a:pt x="355" y="317"/>
                    <a:pt x="354" y="314"/>
                  </a:cubicBezTo>
                  <a:cubicBezTo>
                    <a:pt x="355" y="312"/>
                    <a:pt x="356" y="310"/>
                    <a:pt x="357" y="309"/>
                  </a:cubicBezTo>
                  <a:cubicBezTo>
                    <a:pt x="361" y="308"/>
                    <a:pt x="366" y="309"/>
                    <a:pt x="370" y="311"/>
                  </a:cubicBezTo>
                  <a:cubicBezTo>
                    <a:pt x="376" y="314"/>
                    <a:pt x="378" y="310"/>
                    <a:pt x="379" y="308"/>
                  </a:cubicBezTo>
                  <a:cubicBezTo>
                    <a:pt x="381" y="306"/>
                    <a:pt x="383" y="303"/>
                    <a:pt x="377" y="299"/>
                  </a:cubicBezTo>
                  <a:cubicBezTo>
                    <a:pt x="374" y="296"/>
                    <a:pt x="370" y="292"/>
                    <a:pt x="369" y="289"/>
                  </a:cubicBezTo>
                  <a:cubicBezTo>
                    <a:pt x="370" y="287"/>
                    <a:pt x="371" y="285"/>
                    <a:pt x="372" y="283"/>
                  </a:cubicBezTo>
                  <a:cubicBezTo>
                    <a:pt x="375" y="283"/>
                    <a:pt x="380" y="283"/>
                    <a:pt x="385" y="284"/>
                  </a:cubicBezTo>
                  <a:cubicBezTo>
                    <a:pt x="391" y="286"/>
                    <a:pt x="392" y="282"/>
                    <a:pt x="393" y="279"/>
                  </a:cubicBezTo>
                  <a:cubicBezTo>
                    <a:pt x="394" y="277"/>
                    <a:pt x="396" y="274"/>
                    <a:pt x="390" y="270"/>
                  </a:cubicBezTo>
                  <a:cubicBezTo>
                    <a:pt x="386" y="268"/>
                    <a:pt x="382" y="265"/>
                    <a:pt x="380" y="262"/>
                  </a:cubicBezTo>
                  <a:cubicBezTo>
                    <a:pt x="381" y="260"/>
                    <a:pt x="382" y="258"/>
                    <a:pt x="382" y="256"/>
                  </a:cubicBezTo>
                  <a:cubicBezTo>
                    <a:pt x="385" y="255"/>
                    <a:pt x="390" y="254"/>
                    <a:pt x="395" y="255"/>
                  </a:cubicBezTo>
                  <a:cubicBezTo>
                    <a:pt x="402" y="255"/>
                    <a:pt x="402" y="252"/>
                    <a:pt x="403" y="249"/>
                  </a:cubicBezTo>
                  <a:cubicBezTo>
                    <a:pt x="403" y="246"/>
                    <a:pt x="405" y="243"/>
                    <a:pt x="398" y="240"/>
                  </a:cubicBezTo>
                  <a:cubicBezTo>
                    <a:pt x="394" y="239"/>
                    <a:pt x="389" y="236"/>
                    <a:pt x="387" y="234"/>
                  </a:cubicBezTo>
                  <a:cubicBezTo>
                    <a:pt x="388" y="232"/>
                    <a:pt x="388" y="230"/>
                    <a:pt x="388" y="228"/>
                  </a:cubicBezTo>
                  <a:cubicBezTo>
                    <a:pt x="391" y="226"/>
                    <a:pt x="396" y="225"/>
                    <a:pt x="400" y="224"/>
                  </a:cubicBezTo>
                  <a:cubicBezTo>
                    <a:pt x="407" y="224"/>
                    <a:pt x="407" y="220"/>
                    <a:pt x="407" y="217"/>
                  </a:cubicBezTo>
                  <a:cubicBezTo>
                    <a:pt x="407" y="215"/>
                    <a:pt x="408" y="211"/>
                    <a:pt x="401" y="210"/>
                  </a:cubicBezTo>
                  <a:cubicBezTo>
                    <a:pt x="397" y="209"/>
                    <a:pt x="392" y="207"/>
                    <a:pt x="390" y="205"/>
                  </a:cubicBezTo>
                  <a:cubicBezTo>
                    <a:pt x="390" y="203"/>
                    <a:pt x="390" y="201"/>
                    <a:pt x="390" y="199"/>
                  </a:cubicBezTo>
                  <a:cubicBezTo>
                    <a:pt x="392" y="196"/>
                    <a:pt x="397" y="194"/>
                    <a:pt x="401" y="193"/>
                  </a:cubicBezTo>
                  <a:cubicBezTo>
                    <a:pt x="408" y="192"/>
                    <a:pt x="407" y="188"/>
                    <a:pt x="407" y="185"/>
                  </a:cubicBezTo>
                  <a:cubicBezTo>
                    <a:pt x="407" y="183"/>
                    <a:pt x="407" y="179"/>
                    <a:pt x="400" y="179"/>
                  </a:cubicBezTo>
                  <a:cubicBezTo>
                    <a:pt x="395" y="178"/>
                    <a:pt x="390" y="177"/>
                    <a:pt x="387" y="176"/>
                  </a:cubicBezTo>
                  <a:cubicBezTo>
                    <a:pt x="387" y="174"/>
                    <a:pt x="387" y="172"/>
                    <a:pt x="386" y="170"/>
                  </a:cubicBezTo>
                  <a:cubicBezTo>
                    <a:pt x="388" y="167"/>
                    <a:pt x="393" y="164"/>
                    <a:pt x="397" y="163"/>
                  </a:cubicBezTo>
                  <a:cubicBezTo>
                    <a:pt x="403" y="160"/>
                    <a:pt x="402" y="157"/>
                    <a:pt x="401" y="154"/>
                  </a:cubicBezTo>
                  <a:cubicBezTo>
                    <a:pt x="401" y="151"/>
                    <a:pt x="400" y="148"/>
                    <a:pt x="393" y="148"/>
                  </a:cubicBezTo>
                  <a:cubicBezTo>
                    <a:pt x="389" y="149"/>
                    <a:pt x="383" y="149"/>
                    <a:pt x="381" y="147"/>
                  </a:cubicBezTo>
                  <a:cubicBezTo>
                    <a:pt x="380" y="145"/>
                    <a:pt x="379" y="143"/>
                    <a:pt x="379" y="142"/>
                  </a:cubicBezTo>
                  <a:cubicBezTo>
                    <a:pt x="380" y="139"/>
                    <a:pt x="384" y="135"/>
                    <a:pt x="388" y="133"/>
                  </a:cubicBezTo>
                  <a:cubicBezTo>
                    <a:pt x="394" y="129"/>
                    <a:pt x="392" y="126"/>
                    <a:pt x="391" y="124"/>
                  </a:cubicBezTo>
                  <a:cubicBezTo>
                    <a:pt x="390" y="121"/>
                    <a:pt x="389" y="118"/>
                    <a:pt x="382" y="120"/>
                  </a:cubicBezTo>
                  <a:cubicBezTo>
                    <a:pt x="378" y="121"/>
                    <a:pt x="373" y="121"/>
                    <a:pt x="370" y="120"/>
                  </a:cubicBezTo>
                  <a:cubicBezTo>
                    <a:pt x="369" y="119"/>
                    <a:pt x="368" y="117"/>
                    <a:pt x="367" y="115"/>
                  </a:cubicBezTo>
                  <a:cubicBezTo>
                    <a:pt x="368" y="112"/>
                    <a:pt x="371" y="108"/>
                    <a:pt x="375" y="105"/>
                  </a:cubicBezTo>
                  <a:cubicBezTo>
                    <a:pt x="380" y="101"/>
                    <a:pt x="378" y="98"/>
                    <a:pt x="376" y="95"/>
                  </a:cubicBezTo>
                  <a:cubicBezTo>
                    <a:pt x="375" y="93"/>
                    <a:pt x="373" y="90"/>
                    <a:pt x="367" y="93"/>
                  </a:cubicBezTo>
                  <a:cubicBezTo>
                    <a:pt x="363" y="95"/>
                    <a:pt x="358" y="96"/>
                    <a:pt x="354" y="96"/>
                  </a:cubicBezTo>
                  <a:cubicBezTo>
                    <a:pt x="353" y="94"/>
                    <a:pt x="352" y="92"/>
                    <a:pt x="351" y="91"/>
                  </a:cubicBezTo>
                  <a:cubicBezTo>
                    <a:pt x="351" y="88"/>
                    <a:pt x="354" y="83"/>
                    <a:pt x="357" y="80"/>
                  </a:cubicBezTo>
                  <a:cubicBezTo>
                    <a:pt x="362" y="74"/>
                    <a:pt x="359" y="72"/>
                    <a:pt x="357" y="70"/>
                  </a:cubicBezTo>
                  <a:cubicBezTo>
                    <a:pt x="355" y="68"/>
                    <a:pt x="353" y="65"/>
                    <a:pt x="347" y="69"/>
                  </a:cubicBezTo>
                  <a:cubicBezTo>
                    <a:pt x="343" y="71"/>
                    <a:pt x="339" y="73"/>
                    <a:pt x="336" y="73"/>
                  </a:cubicBezTo>
                  <a:cubicBezTo>
                    <a:pt x="334" y="72"/>
                    <a:pt x="333" y="71"/>
                    <a:pt x="331" y="69"/>
                  </a:cubicBezTo>
                  <a:cubicBezTo>
                    <a:pt x="331" y="66"/>
                    <a:pt x="333" y="61"/>
                    <a:pt x="336" y="57"/>
                  </a:cubicBezTo>
                  <a:cubicBezTo>
                    <a:pt x="339" y="51"/>
                    <a:pt x="336" y="49"/>
                    <a:pt x="334" y="48"/>
                  </a:cubicBezTo>
                  <a:cubicBezTo>
                    <a:pt x="332" y="46"/>
                    <a:pt x="329" y="43"/>
                    <a:pt x="324" y="48"/>
                  </a:cubicBezTo>
                  <a:moveTo>
                    <a:pt x="333" y="311"/>
                  </a:moveTo>
                  <a:cubicBezTo>
                    <a:pt x="274" y="382"/>
                    <a:pt x="169" y="392"/>
                    <a:pt x="98" y="333"/>
                  </a:cubicBezTo>
                  <a:cubicBezTo>
                    <a:pt x="27" y="274"/>
                    <a:pt x="17" y="169"/>
                    <a:pt x="76" y="98"/>
                  </a:cubicBezTo>
                  <a:cubicBezTo>
                    <a:pt x="134" y="27"/>
                    <a:pt x="240" y="17"/>
                    <a:pt x="311" y="76"/>
                  </a:cubicBezTo>
                  <a:cubicBezTo>
                    <a:pt x="382" y="135"/>
                    <a:pt x="392" y="240"/>
                    <a:pt x="333" y="31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5" name="Freeform 21354">
              <a:extLst>
                <a:ext uri="{FF2B5EF4-FFF2-40B4-BE49-F238E27FC236}">
                  <a16:creationId xmlns:a16="http://schemas.microsoft.com/office/drawing/2014/main" id="{E93C27BE-4B8E-477C-B093-C2EE3543FABB}"/>
                </a:ext>
              </a:extLst>
            </p:cNvPr>
            <p:cNvSpPr>
              <a:spLocks noEditPoints="1"/>
            </p:cNvSpPr>
            <p:nvPr userDrawn="1"/>
          </p:nvSpPr>
          <p:spPr bwMode="auto">
            <a:xfrm>
              <a:off x="8535353" y="5160328"/>
              <a:ext cx="276225" cy="276225"/>
            </a:xfrm>
            <a:custGeom>
              <a:avLst/>
              <a:gdLst>
                <a:gd name="T0" fmla="*/ 30 w 137"/>
                <a:gd name="T1" fmla="*/ 21 h 137"/>
                <a:gd name="T2" fmla="*/ 21 w 137"/>
                <a:gd name="T3" fmla="*/ 107 h 137"/>
                <a:gd name="T4" fmla="*/ 107 w 137"/>
                <a:gd name="T5" fmla="*/ 116 h 137"/>
                <a:gd name="T6" fmla="*/ 116 w 137"/>
                <a:gd name="T7" fmla="*/ 30 h 137"/>
                <a:gd name="T8" fmla="*/ 30 w 137"/>
                <a:gd name="T9" fmla="*/ 21 h 137"/>
                <a:gd name="T10" fmla="*/ 82 w 137"/>
                <a:gd name="T11" fmla="*/ 86 h 137"/>
                <a:gd name="T12" fmla="*/ 51 w 137"/>
                <a:gd name="T13" fmla="*/ 82 h 137"/>
                <a:gd name="T14" fmla="*/ 54 w 137"/>
                <a:gd name="T15" fmla="*/ 51 h 137"/>
                <a:gd name="T16" fmla="*/ 85 w 137"/>
                <a:gd name="T17" fmla="*/ 55 h 137"/>
                <a:gd name="T18" fmla="*/ 82 w 137"/>
                <a:gd name="T19" fmla="*/ 8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30" y="21"/>
                  </a:moveTo>
                  <a:cubicBezTo>
                    <a:pt x="4" y="42"/>
                    <a:pt x="0" y="81"/>
                    <a:pt x="21" y="107"/>
                  </a:cubicBezTo>
                  <a:cubicBezTo>
                    <a:pt x="42" y="133"/>
                    <a:pt x="81" y="137"/>
                    <a:pt x="107" y="116"/>
                  </a:cubicBezTo>
                  <a:cubicBezTo>
                    <a:pt x="133" y="95"/>
                    <a:pt x="137" y="56"/>
                    <a:pt x="116" y="30"/>
                  </a:cubicBezTo>
                  <a:cubicBezTo>
                    <a:pt x="95" y="4"/>
                    <a:pt x="56" y="0"/>
                    <a:pt x="30" y="21"/>
                  </a:cubicBezTo>
                  <a:moveTo>
                    <a:pt x="82" y="86"/>
                  </a:moveTo>
                  <a:cubicBezTo>
                    <a:pt x="73" y="93"/>
                    <a:pt x="59" y="92"/>
                    <a:pt x="51" y="82"/>
                  </a:cubicBezTo>
                  <a:cubicBezTo>
                    <a:pt x="44" y="73"/>
                    <a:pt x="45" y="59"/>
                    <a:pt x="54" y="51"/>
                  </a:cubicBezTo>
                  <a:cubicBezTo>
                    <a:pt x="64" y="44"/>
                    <a:pt x="78" y="45"/>
                    <a:pt x="85" y="55"/>
                  </a:cubicBezTo>
                  <a:cubicBezTo>
                    <a:pt x="93" y="64"/>
                    <a:pt x="92" y="78"/>
                    <a:pt x="82" y="8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6" name="Freeform 21355">
              <a:extLst>
                <a:ext uri="{FF2B5EF4-FFF2-40B4-BE49-F238E27FC236}">
                  <a16:creationId xmlns:a16="http://schemas.microsoft.com/office/drawing/2014/main" id="{701A912A-72BC-4321-961C-B9C3CE673F1B}"/>
                </a:ext>
              </a:extLst>
            </p:cNvPr>
            <p:cNvSpPr>
              <a:spLocks noEditPoints="1"/>
            </p:cNvSpPr>
            <p:nvPr userDrawn="1"/>
          </p:nvSpPr>
          <p:spPr bwMode="auto">
            <a:xfrm>
              <a:off x="8506778" y="5131753"/>
              <a:ext cx="331788" cy="333375"/>
            </a:xfrm>
            <a:custGeom>
              <a:avLst/>
              <a:gdLst>
                <a:gd name="T0" fmla="*/ 126 w 164"/>
                <a:gd name="T1" fmla="*/ 32 h 165"/>
                <a:gd name="T2" fmla="*/ 126 w 164"/>
                <a:gd name="T3" fmla="*/ 14 h 165"/>
                <a:gd name="T4" fmla="*/ 108 w 164"/>
                <a:gd name="T5" fmla="*/ 21 h 165"/>
                <a:gd name="T6" fmla="*/ 103 w 164"/>
                <a:gd name="T7" fmla="*/ 4 h 165"/>
                <a:gd name="T8" fmla="*/ 88 w 164"/>
                <a:gd name="T9" fmla="*/ 16 h 165"/>
                <a:gd name="T10" fmla="*/ 78 w 164"/>
                <a:gd name="T11" fmla="*/ 1 h 165"/>
                <a:gd name="T12" fmla="*/ 68 w 164"/>
                <a:gd name="T13" fmla="*/ 18 h 165"/>
                <a:gd name="T14" fmla="*/ 53 w 164"/>
                <a:gd name="T15" fmla="*/ 6 h 165"/>
                <a:gd name="T16" fmla="*/ 49 w 164"/>
                <a:gd name="T17" fmla="*/ 25 h 165"/>
                <a:gd name="T18" fmla="*/ 31 w 164"/>
                <a:gd name="T19" fmla="*/ 19 h 165"/>
                <a:gd name="T20" fmla="*/ 33 w 164"/>
                <a:gd name="T21" fmla="*/ 39 h 165"/>
                <a:gd name="T22" fmla="*/ 32 w 164"/>
                <a:gd name="T23" fmla="*/ 39 h 165"/>
                <a:gd name="T24" fmla="*/ 20 w 164"/>
                <a:gd name="T25" fmla="*/ 38 h 165"/>
                <a:gd name="T26" fmla="*/ 14 w 164"/>
                <a:gd name="T27" fmla="*/ 48 h 165"/>
                <a:gd name="T28" fmla="*/ 9 w 164"/>
                <a:gd name="T29" fmla="*/ 60 h 165"/>
                <a:gd name="T30" fmla="*/ 7 w 164"/>
                <a:gd name="T31" fmla="*/ 70 h 165"/>
                <a:gd name="T32" fmla="*/ 6 w 164"/>
                <a:gd name="T33" fmla="*/ 83 h 165"/>
                <a:gd name="T34" fmla="*/ 7 w 164"/>
                <a:gd name="T35" fmla="*/ 94 h 165"/>
                <a:gd name="T36" fmla="*/ 10 w 164"/>
                <a:gd name="T37" fmla="*/ 106 h 165"/>
                <a:gd name="T38" fmla="*/ 14 w 164"/>
                <a:gd name="T39" fmla="*/ 117 h 165"/>
                <a:gd name="T40" fmla="*/ 21 w 164"/>
                <a:gd name="T41" fmla="*/ 127 h 165"/>
                <a:gd name="T42" fmla="*/ 28 w 164"/>
                <a:gd name="T43" fmla="*/ 136 h 165"/>
                <a:gd name="T44" fmla="*/ 37 w 164"/>
                <a:gd name="T45" fmla="*/ 144 h 165"/>
                <a:gd name="T46" fmla="*/ 47 w 164"/>
                <a:gd name="T47" fmla="*/ 150 h 165"/>
                <a:gd name="T48" fmla="*/ 58 w 164"/>
                <a:gd name="T49" fmla="*/ 155 h 165"/>
                <a:gd name="T50" fmla="*/ 69 w 164"/>
                <a:gd name="T51" fmla="*/ 158 h 165"/>
                <a:gd name="T52" fmla="*/ 82 w 164"/>
                <a:gd name="T53" fmla="*/ 159 h 165"/>
                <a:gd name="T54" fmla="*/ 93 w 164"/>
                <a:gd name="T55" fmla="*/ 158 h 165"/>
                <a:gd name="T56" fmla="*/ 105 w 164"/>
                <a:gd name="T57" fmla="*/ 155 h 165"/>
                <a:gd name="T58" fmla="*/ 115 w 164"/>
                <a:gd name="T59" fmla="*/ 151 h 165"/>
                <a:gd name="T60" fmla="*/ 126 w 164"/>
                <a:gd name="T61" fmla="*/ 145 h 165"/>
                <a:gd name="T62" fmla="*/ 135 w 164"/>
                <a:gd name="T63" fmla="*/ 138 h 165"/>
                <a:gd name="T64" fmla="*/ 144 w 164"/>
                <a:gd name="T65" fmla="*/ 127 h 165"/>
                <a:gd name="T66" fmla="*/ 150 w 164"/>
                <a:gd name="T67" fmla="*/ 118 h 165"/>
                <a:gd name="T68" fmla="*/ 155 w 164"/>
                <a:gd name="T69" fmla="*/ 106 h 165"/>
                <a:gd name="T70" fmla="*/ 158 w 164"/>
                <a:gd name="T71" fmla="*/ 95 h 165"/>
                <a:gd name="T72" fmla="*/ 159 w 164"/>
                <a:gd name="T73" fmla="*/ 83 h 165"/>
                <a:gd name="T74" fmla="*/ 158 w 164"/>
                <a:gd name="T75" fmla="*/ 71 h 165"/>
                <a:gd name="T76" fmla="*/ 155 w 164"/>
                <a:gd name="T77" fmla="*/ 59 h 165"/>
                <a:gd name="T78" fmla="*/ 151 w 164"/>
                <a:gd name="T79" fmla="*/ 49 h 165"/>
                <a:gd name="T80" fmla="*/ 144 w 164"/>
                <a:gd name="T81" fmla="*/ 38 h 165"/>
                <a:gd name="T82" fmla="*/ 137 w 164"/>
                <a:gd name="T83" fmla="*/ 29 h 165"/>
                <a:gd name="T84" fmla="*/ 41 w 164"/>
                <a:gd name="T85" fmla="*/ 116 h 165"/>
                <a:gd name="T86" fmla="*/ 124 w 164"/>
                <a:gd name="T87"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5">
                  <a:moveTo>
                    <a:pt x="137" y="29"/>
                  </a:moveTo>
                  <a:cubicBezTo>
                    <a:pt x="133" y="32"/>
                    <a:pt x="128" y="33"/>
                    <a:pt x="126" y="32"/>
                  </a:cubicBezTo>
                  <a:cubicBezTo>
                    <a:pt x="125" y="30"/>
                    <a:pt x="126" y="25"/>
                    <a:pt x="128" y="21"/>
                  </a:cubicBezTo>
                  <a:cubicBezTo>
                    <a:pt x="130" y="16"/>
                    <a:pt x="128" y="15"/>
                    <a:pt x="126" y="14"/>
                  </a:cubicBezTo>
                  <a:cubicBezTo>
                    <a:pt x="124" y="12"/>
                    <a:pt x="122" y="11"/>
                    <a:pt x="119" y="15"/>
                  </a:cubicBezTo>
                  <a:cubicBezTo>
                    <a:pt x="115" y="18"/>
                    <a:pt x="111" y="22"/>
                    <a:pt x="108" y="21"/>
                  </a:cubicBezTo>
                  <a:cubicBezTo>
                    <a:pt x="107" y="19"/>
                    <a:pt x="107" y="14"/>
                    <a:pt x="107" y="10"/>
                  </a:cubicBezTo>
                  <a:cubicBezTo>
                    <a:pt x="108" y="4"/>
                    <a:pt x="105" y="4"/>
                    <a:pt x="103" y="4"/>
                  </a:cubicBezTo>
                  <a:cubicBezTo>
                    <a:pt x="101" y="3"/>
                    <a:pt x="98" y="2"/>
                    <a:pt x="96" y="7"/>
                  </a:cubicBezTo>
                  <a:cubicBezTo>
                    <a:pt x="94" y="11"/>
                    <a:pt x="91" y="16"/>
                    <a:pt x="88" y="16"/>
                  </a:cubicBezTo>
                  <a:cubicBezTo>
                    <a:pt x="86" y="15"/>
                    <a:pt x="85" y="10"/>
                    <a:pt x="84" y="6"/>
                  </a:cubicBezTo>
                  <a:cubicBezTo>
                    <a:pt x="83" y="0"/>
                    <a:pt x="80" y="1"/>
                    <a:pt x="78" y="1"/>
                  </a:cubicBezTo>
                  <a:cubicBezTo>
                    <a:pt x="76" y="1"/>
                    <a:pt x="73" y="1"/>
                    <a:pt x="73" y="7"/>
                  </a:cubicBezTo>
                  <a:cubicBezTo>
                    <a:pt x="72" y="11"/>
                    <a:pt x="70" y="16"/>
                    <a:pt x="68" y="18"/>
                  </a:cubicBezTo>
                  <a:cubicBezTo>
                    <a:pt x="66" y="17"/>
                    <a:pt x="62" y="13"/>
                    <a:pt x="60" y="9"/>
                  </a:cubicBezTo>
                  <a:cubicBezTo>
                    <a:pt x="58" y="4"/>
                    <a:pt x="55" y="6"/>
                    <a:pt x="53" y="6"/>
                  </a:cubicBezTo>
                  <a:cubicBezTo>
                    <a:pt x="51" y="7"/>
                    <a:pt x="48" y="8"/>
                    <a:pt x="50" y="13"/>
                  </a:cubicBezTo>
                  <a:cubicBezTo>
                    <a:pt x="51" y="18"/>
                    <a:pt x="50" y="23"/>
                    <a:pt x="49" y="25"/>
                  </a:cubicBezTo>
                  <a:cubicBezTo>
                    <a:pt x="46" y="25"/>
                    <a:pt x="42" y="22"/>
                    <a:pt x="39" y="20"/>
                  </a:cubicBezTo>
                  <a:cubicBezTo>
                    <a:pt x="35" y="16"/>
                    <a:pt x="33" y="17"/>
                    <a:pt x="31" y="19"/>
                  </a:cubicBezTo>
                  <a:cubicBezTo>
                    <a:pt x="30" y="20"/>
                    <a:pt x="27" y="22"/>
                    <a:pt x="30" y="27"/>
                  </a:cubicBezTo>
                  <a:cubicBezTo>
                    <a:pt x="33" y="31"/>
                    <a:pt x="34" y="37"/>
                    <a:pt x="33" y="39"/>
                  </a:cubicBezTo>
                  <a:cubicBezTo>
                    <a:pt x="33" y="39"/>
                    <a:pt x="33" y="39"/>
                    <a:pt x="33" y="39"/>
                  </a:cubicBezTo>
                  <a:cubicBezTo>
                    <a:pt x="32" y="39"/>
                    <a:pt x="32" y="39"/>
                    <a:pt x="32" y="39"/>
                  </a:cubicBezTo>
                  <a:cubicBezTo>
                    <a:pt x="32" y="39"/>
                    <a:pt x="32" y="39"/>
                    <a:pt x="32" y="39"/>
                  </a:cubicBezTo>
                  <a:cubicBezTo>
                    <a:pt x="31" y="41"/>
                    <a:pt x="25" y="40"/>
                    <a:pt x="20" y="38"/>
                  </a:cubicBezTo>
                  <a:cubicBezTo>
                    <a:pt x="15" y="36"/>
                    <a:pt x="14" y="38"/>
                    <a:pt x="12" y="40"/>
                  </a:cubicBezTo>
                  <a:cubicBezTo>
                    <a:pt x="11" y="42"/>
                    <a:pt x="10" y="44"/>
                    <a:pt x="14" y="48"/>
                  </a:cubicBezTo>
                  <a:cubicBezTo>
                    <a:pt x="17" y="51"/>
                    <a:pt x="21" y="54"/>
                    <a:pt x="21" y="57"/>
                  </a:cubicBezTo>
                  <a:cubicBezTo>
                    <a:pt x="19" y="59"/>
                    <a:pt x="14" y="60"/>
                    <a:pt x="9" y="60"/>
                  </a:cubicBezTo>
                  <a:cubicBezTo>
                    <a:pt x="4" y="59"/>
                    <a:pt x="3" y="62"/>
                    <a:pt x="3" y="64"/>
                  </a:cubicBezTo>
                  <a:cubicBezTo>
                    <a:pt x="2" y="66"/>
                    <a:pt x="2" y="69"/>
                    <a:pt x="7" y="70"/>
                  </a:cubicBezTo>
                  <a:cubicBezTo>
                    <a:pt x="11" y="72"/>
                    <a:pt x="15" y="75"/>
                    <a:pt x="16" y="77"/>
                  </a:cubicBezTo>
                  <a:cubicBezTo>
                    <a:pt x="15" y="79"/>
                    <a:pt x="10" y="82"/>
                    <a:pt x="6" y="83"/>
                  </a:cubicBezTo>
                  <a:cubicBezTo>
                    <a:pt x="0" y="84"/>
                    <a:pt x="1" y="87"/>
                    <a:pt x="1" y="89"/>
                  </a:cubicBezTo>
                  <a:cubicBezTo>
                    <a:pt x="1" y="91"/>
                    <a:pt x="1" y="94"/>
                    <a:pt x="7" y="94"/>
                  </a:cubicBezTo>
                  <a:cubicBezTo>
                    <a:pt x="11" y="94"/>
                    <a:pt x="16" y="96"/>
                    <a:pt x="18" y="97"/>
                  </a:cubicBezTo>
                  <a:cubicBezTo>
                    <a:pt x="17" y="100"/>
                    <a:pt x="14" y="104"/>
                    <a:pt x="10" y="106"/>
                  </a:cubicBezTo>
                  <a:cubicBezTo>
                    <a:pt x="5" y="109"/>
                    <a:pt x="6" y="112"/>
                    <a:pt x="7" y="114"/>
                  </a:cubicBezTo>
                  <a:cubicBezTo>
                    <a:pt x="8" y="116"/>
                    <a:pt x="9" y="118"/>
                    <a:pt x="14" y="117"/>
                  </a:cubicBezTo>
                  <a:cubicBezTo>
                    <a:pt x="18" y="116"/>
                    <a:pt x="23" y="115"/>
                    <a:pt x="25" y="116"/>
                  </a:cubicBezTo>
                  <a:cubicBezTo>
                    <a:pt x="26" y="119"/>
                    <a:pt x="23" y="124"/>
                    <a:pt x="21" y="127"/>
                  </a:cubicBezTo>
                  <a:cubicBezTo>
                    <a:pt x="17" y="132"/>
                    <a:pt x="19" y="133"/>
                    <a:pt x="20" y="135"/>
                  </a:cubicBezTo>
                  <a:cubicBezTo>
                    <a:pt x="22" y="137"/>
                    <a:pt x="23" y="139"/>
                    <a:pt x="28" y="136"/>
                  </a:cubicBezTo>
                  <a:cubicBezTo>
                    <a:pt x="31" y="134"/>
                    <a:pt x="36" y="132"/>
                    <a:pt x="39" y="132"/>
                  </a:cubicBezTo>
                  <a:cubicBezTo>
                    <a:pt x="40" y="134"/>
                    <a:pt x="39" y="140"/>
                    <a:pt x="37" y="144"/>
                  </a:cubicBezTo>
                  <a:cubicBezTo>
                    <a:pt x="35" y="150"/>
                    <a:pt x="37" y="151"/>
                    <a:pt x="39" y="152"/>
                  </a:cubicBezTo>
                  <a:cubicBezTo>
                    <a:pt x="41" y="153"/>
                    <a:pt x="43" y="155"/>
                    <a:pt x="47" y="150"/>
                  </a:cubicBezTo>
                  <a:cubicBezTo>
                    <a:pt x="49" y="147"/>
                    <a:pt x="53" y="144"/>
                    <a:pt x="56" y="143"/>
                  </a:cubicBezTo>
                  <a:cubicBezTo>
                    <a:pt x="58" y="145"/>
                    <a:pt x="59" y="150"/>
                    <a:pt x="58" y="155"/>
                  </a:cubicBezTo>
                  <a:cubicBezTo>
                    <a:pt x="58" y="161"/>
                    <a:pt x="60" y="161"/>
                    <a:pt x="62" y="162"/>
                  </a:cubicBezTo>
                  <a:cubicBezTo>
                    <a:pt x="65" y="162"/>
                    <a:pt x="67" y="163"/>
                    <a:pt x="69" y="158"/>
                  </a:cubicBezTo>
                  <a:cubicBezTo>
                    <a:pt x="71" y="154"/>
                    <a:pt x="74" y="150"/>
                    <a:pt x="76" y="149"/>
                  </a:cubicBezTo>
                  <a:cubicBezTo>
                    <a:pt x="78" y="150"/>
                    <a:pt x="81" y="155"/>
                    <a:pt x="82" y="159"/>
                  </a:cubicBezTo>
                  <a:cubicBezTo>
                    <a:pt x="83" y="165"/>
                    <a:pt x="85" y="164"/>
                    <a:pt x="88" y="164"/>
                  </a:cubicBezTo>
                  <a:cubicBezTo>
                    <a:pt x="90" y="164"/>
                    <a:pt x="93" y="164"/>
                    <a:pt x="93" y="158"/>
                  </a:cubicBezTo>
                  <a:cubicBezTo>
                    <a:pt x="93" y="154"/>
                    <a:pt x="94" y="149"/>
                    <a:pt x="96" y="147"/>
                  </a:cubicBezTo>
                  <a:cubicBezTo>
                    <a:pt x="99" y="148"/>
                    <a:pt x="103" y="152"/>
                    <a:pt x="105" y="155"/>
                  </a:cubicBezTo>
                  <a:cubicBezTo>
                    <a:pt x="108" y="161"/>
                    <a:pt x="110" y="159"/>
                    <a:pt x="112" y="158"/>
                  </a:cubicBezTo>
                  <a:cubicBezTo>
                    <a:pt x="114" y="158"/>
                    <a:pt x="117" y="157"/>
                    <a:pt x="115" y="151"/>
                  </a:cubicBezTo>
                  <a:cubicBezTo>
                    <a:pt x="114" y="147"/>
                    <a:pt x="114" y="142"/>
                    <a:pt x="115" y="140"/>
                  </a:cubicBezTo>
                  <a:cubicBezTo>
                    <a:pt x="118" y="139"/>
                    <a:pt x="123" y="142"/>
                    <a:pt x="126" y="145"/>
                  </a:cubicBezTo>
                  <a:cubicBezTo>
                    <a:pt x="131" y="149"/>
                    <a:pt x="132" y="147"/>
                    <a:pt x="134" y="146"/>
                  </a:cubicBezTo>
                  <a:cubicBezTo>
                    <a:pt x="136" y="144"/>
                    <a:pt x="138" y="143"/>
                    <a:pt x="135" y="138"/>
                  </a:cubicBezTo>
                  <a:cubicBezTo>
                    <a:pt x="132" y="134"/>
                    <a:pt x="131" y="128"/>
                    <a:pt x="132" y="126"/>
                  </a:cubicBezTo>
                  <a:cubicBezTo>
                    <a:pt x="133" y="124"/>
                    <a:pt x="140" y="125"/>
                    <a:pt x="144" y="127"/>
                  </a:cubicBezTo>
                  <a:cubicBezTo>
                    <a:pt x="150" y="129"/>
                    <a:pt x="151" y="127"/>
                    <a:pt x="152" y="125"/>
                  </a:cubicBezTo>
                  <a:cubicBezTo>
                    <a:pt x="153" y="123"/>
                    <a:pt x="155" y="121"/>
                    <a:pt x="150" y="118"/>
                  </a:cubicBezTo>
                  <a:cubicBezTo>
                    <a:pt x="147" y="115"/>
                    <a:pt x="144" y="110"/>
                    <a:pt x="144" y="108"/>
                  </a:cubicBezTo>
                  <a:cubicBezTo>
                    <a:pt x="146" y="106"/>
                    <a:pt x="151" y="106"/>
                    <a:pt x="155" y="106"/>
                  </a:cubicBezTo>
                  <a:cubicBezTo>
                    <a:pt x="161" y="107"/>
                    <a:pt x="161" y="104"/>
                    <a:pt x="162" y="102"/>
                  </a:cubicBezTo>
                  <a:cubicBezTo>
                    <a:pt x="162" y="100"/>
                    <a:pt x="163" y="97"/>
                    <a:pt x="158" y="95"/>
                  </a:cubicBezTo>
                  <a:cubicBezTo>
                    <a:pt x="154" y="93"/>
                    <a:pt x="149" y="90"/>
                    <a:pt x="149" y="87"/>
                  </a:cubicBezTo>
                  <a:cubicBezTo>
                    <a:pt x="150" y="85"/>
                    <a:pt x="155" y="83"/>
                    <a:pt x="159" y="83"/>
                  </a:cubicBezTo>
                  <a:cubicBezTo>
                    <a:pt x="164" y="82"/>
                    <a:pt x="164" y="79"/>
                    <a:pt x="164" y="77"/>
                  </a:cubicBezTo>
                  <a:cubicBezTo>
                    <a:pt x="164" y="74"/>
                    <a:pt x="164" y="72"/>
                    <a:pt x="158" y="71"/>
                  </a:cubicBezTo>
                  <a:cubicBezTo>
                    <a:pt x="153" y="71"/>
                    <a:pt x="148" y="69"/>
                    <a:pt x="147" y="67"/>
                  </a:cubicBezTo>
                  <a:cubicBezTo>
                    <a:pt x="148" y="65"/>
                    <a:pt x="151" y="61"/>
                    <a:pt x="155" y="59"/>
                  </a:cubicBezTo>
                  <a:cubicBezTo>
                    <a:pt x="160" y="56"/>
                    <a:pt x="159" y="54"/>
                    <a:pt x="158" y="52"/>
                  </a:cubicBezTo>
                  <a:cubicBezTo>
                    <a:pt x="157" y="50"/>
                    <a:pt x="157" y="47"/>
                    <a:pt x="151" y="49"/>
                  </a:cubicBezTo>
                  <a:cubicBezTo>
                    <a:pt x="147" y="50"/>
                    <a:pt x="141" y="50"/>
                    <a:pt x="139" y="48"/>
                  </a:cubicBezTo>
                  <a:cubicBezTo>
                    <a:pt x="139" y="45"/>
                    <a:pt x="142" y="41"/>
                    <a:pt x="144" y="38"/>
                  </a:cubicBezTo>
                  <a:cubicBezTo>
                    <a:pt x="148" y="34"/>
                    <a:pt x="147" y="32"/>
                    <a:pt x="145" y="30"/>
                  </a:cubicBezTo>
                  <a:cubicBezTo>
                    <a:pt x="144" y="29"/>
                    <a:pt x="142" y="26"/>
                    <a:pt x="137" y="29"/>
                  </a:cubicBezTo>
                  <a:moveTo>
                    <a:pt x="116" y="124"/>
                  </a:moveTo>
                  <a:cubicBezTo>
                    <a:pt x="93" y="142"/>
                    <a:pt x="60" y="139"/>
                    <a:pt x="41" y="116"/>
                  </a:cubicBezTo>
                  <a:cubicBezTo>
                    <a:pt x="23" y="93"/>
                    <a:pt x="26" y="60"/>
                    <a:pt x="49" y="41"/>
                  </a:cubicBezTo>
                  <a:cubicBezTo>
                    <a:pt x="72" y="23"/>
                    <a:pt x="105" y="26"/>
                    <a:pt x="124" y="49"/>
                  </a:cubicBezTo>
                  <a:cubicBezTo>
                    <a:pt x="142" y="72"/>
                    <a:pt x="139" y="105"/>
                    <a:pt x="116" y="12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7" name="Freeform 21356">
              <a:extLst>
                <a:ext uri="{FF2B5EF4-FFF2-40B4-BE49-F238E27FC236}">
                  <a16:creationId xmlns:a16="http://schemas.microsoft.com/office/drawing/2014/main" id="{335C4728-CCCD-4F70-8BAB-E253A0FE63ED}"/>
                </a:ext>
              </a:extLst>
            </p:cNvPr>
            <p:cNvSpPr>
              <a:spLocks noEditPoints="1"/>
            </p:cNvSpPr>
            <p:nvPr userDrawn="1"/>
          </p:nvSpPr>
          <p:spPr bwMode="auto">
            <a:xfrm>
              <a:off x="8609965" y="5234940"/>
              <a:ext cx="127000" cy="127000"/>
            </a:xfrm>
            <a:custGeom>
              <a:avLst/>
              <a:gdLst>
                <a:gd name="T0" fmla="*/ 14 w 63"/>
                <a:gd name="T1" fmla="*/ 10 h 63"/>
                <a:gd name="T2" fmla="*/ 10 w 63"/>
                <a:gd name="T3" fmla="*/ 49 h 63"/>
                <a:gd name="T4" fmla="*/ 49 w 63"/>
                <a:gd name="T5" fmla="*/ 53 h 63"/>
                <a:gd name="T6" fmla="*/ 53 w 63"/>
                <a:gd name="T7" fmla="*/ 14 h 63"/>
                <a:gd name="T8" fmla="*/ 14 w 63"/>
                <a:gd name="T9" fmla="*/ 10 h 63"/>
                <a:gd name="T10" fmla="*/ 42 w 63"/>
                <a:gd name="T11" fmla="*/ 45 h 63"/>
                <a:gd name="T12" fmla="*/ 18 w 63"/>
                <a:gd name="T13" fmla="*/ 42 h 63"/>
                <a:gd name="T14" fmla="*/ 20 w 63"/>
                <a:gd name="T15" fmla="*/ 18 h 63"/>
                <a:gd name="T16" fmla="*/ 45 w 63"/>
                <a:gd name="T17" fmla="*/ 21 h 63"/>
                <a:gd name="T18" fmla="*/ 42 w 63"/>
                <a:gd name="T1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14" y="10"/>
                  </a:moveTo>
                  <a:cubicBezTo>
                    <a:pt x="2" y="19"/>
                    <a:pt x="0" y="37"/>
                    <a:pt x="10" y="49"/>
                  </a:cubicBezTo>
                  <a:cubicBezTo>
                    <a:pt x="19" y="61"/>
                    <a:pt x="37" y="63"/>
                    <a:pt x="49" y="53"/>
                  </a:cubicBezTo>
                  <a:cubicBezTo>
                    <a:pt x="61" y="43"/>
                    <a:pt x="63" y="26"/>
                    <a:pt x="53" y="14"/>
                  </a:cubicBezTo>
                  <a:cubicBezTo>
                    <a:pt x="43" y="2"/>
                    <a:pt x="26" y="0"/>
                    <a:pt x="14" y="10"/>
                  </a:cubicBezTo>
                  <a:moveTo>
                    <a:pt x="42" y="45"/>
                  </a:moveTo>
                  <a:cubicBezTo>
                    <a:pt x="35" y="51"/>
                    <a:pt x="24" y="50"/>
                    <a:pt x="18" y="42"/>
                  </a:cubicBezTo>
                  <a:cubicBezTo>
                    <a:pt x="12" y="35"/>
                    <a:pt x="13" y="24"/>
                    <a:pt x="20" y="18"/>
                  </a:cubicBezTo>
                  <a:cubicBezTo>
                    <a:pt x="28" y="12"/>
                    <a:pt x="39" y="13"/>
                    <a:pt x="45" y="21"/>
                  </a:cubicBezTo>
                  <a:cubicBezTo>
                    <a:pt x="51" y="28"/>
                    <a:pt x="50" y="39"/>
                    <a:pt x="42" y="4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8" name="Freeform 21357">
              <a:extLst>
                <a:ext uri="{FF2B5EF4-FFF2-40B4-BE49-F238E27FC236}">
                  <a16:creationId xmlns:a16="http://schemas.microsoft.com/office/drawing/2014/main" id="{4A9D3F57-307B-4929-8862-C009372BC848}"/>
                </a:ext>
              </a:extLst>
            </p:cNvPr>
            <p:cNvSpPr>
              <a:spLocks noEditPoints="1"/>
            </p:cNvSpPr>
            <p:nvPr userDrawn="1"/>
          </p:nvSpPr>
          <p:spPr bwMode="auto">
            <a:xfrm>
              <a:off x="9186228" y="4471353"/>
              <a:ext cx="279400" cy="276225"/>
            </a:xfrm>
            <a:custGeom>
              <a:avLst/>
              <a:gdLst>
                <a:gd name="T0" fmla="*/ 31 w 138"/>
                <a:gd name="T1" fmla="*/ 21 h 137"/>
                <a:gd name="T2" fmla="*/ 22 w 138"/>
                <a:gd name="T3" fmla="*/ 107 h 137"/>
                <a:gd name="T4" fmla="*/ 107 w 138"/>
                <a:gd name="T5" fmla="*/ 116 h 137"/>
                <a:gd name="T6" fmla="*/ 116 w 138"/>
                <a:gd name="T7" fmla="*/ 30 h 137"/>
                <a:gd name="T8" fmla="*/ 31 w 138"/>
                <a:gd name="T9" fmla="*/ 21 h 137"/>
                <a:gd name="T10" fmla="*/ 83 w 138"/>
                <a:gd name="T11" fmla="*/ 86 h 137"/>
                <a:gd name="T12" fmla="*/ 52 w 138"/>
                <a:gd name="T13" fmla="*/ 82 h 137"/>
                <a:gd name="T14" fmla="*/ 55 w 138"/>
                <a:gd name="T15" fmla="*/ 51 h 137"/>
                <a:gd name="T16" fmla="*/ 86 w 138"/>
                <a:gd name="T17" fmla="*/ 55 h 137"/>
                <a:gd name="T18" fmla="*/ 83 w 138"/>
                <a:gd name="T19" fmla="*/ 8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31" y="21"/>
                  </a:moveTo>
                  <a:cubicBezTo>
                    <a:pt x="4" y="42"/>
                    <a:pt x="0" y="81"/>
                    <a:pt x="22" y="107"/>
                  </a:cubicBezTo>
                  <a:cubicBezTo>
                    <a:pt x="43" y="133"/>
                    <a:pt x="81" y="137"/>
                    <a:pt x="107" y="116"/>
                  </a:cubicBezTo>
                  <a:cubicBezTo>
                    <a:pt x="134" y="95"/>
                    <a:pt x="138" y="56"/>
                    <a:pt x="116" y="30"/>
                  </a:cubicBezTo>
                  <a:cubicBezTo>
                    <a:pt x="95" y="4"/>
                    <a:pt x="57" y="0"/>
                    <a:pt x="31" y="21"/>
                  </a:cubicBezTo>
                  <a:moveTo>
                    <a:pt x="83" y="86"/>
                  </a:moveTo>
                  <a:cubicBezTo>
                    <a:pt x="73" y="93"/>
                    <a:pt x="60" y="92"/>
                    <a:pt x="52" y="82"/>
                  </a:cubicBezTo>
                  <a:cubicBezTo>
                    <a:pt x="44" y="73"/>
                    <a:pt x="46" y="59"/>
                    <a:pt x="55" y="51"/>
                  </a:cubicBezTo>
                  <a:cubicBezTo>
                    <a:pt x="65" y="44"/>
                    <a:pt x="78" y="45"/>
                    <a:pt x="86" y="55"/>
                  </a:cubicBezTo>
                  <a:cubicBezTo>
                    <a:pt x="94" y="64"/>
                    <a:pt x="92" y="78"/>
                    <a:pt x="83" y="8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9" name="Freeform 21358">
              <a:extLst>
                <a:ext uri="{FF2B5EF4-FFF2-40B4-BE49-F238E27FC236}">
                  <a16:creationId xmlns:a16="http://schemas.microsoft.com/office/drawing/2014/main" id="{3405D624-7EEF-4EC9-B3D9-4750D476E8D7}"/>
                </a:ext>
              </a:extLst>
            </p:cNvPr>
            <p:cNvSpPr>
              <a:spLocks noEditPoints="1"/>
            </p:cNvSpPr>
            <p:nvPr userDrawn="1"/>
          </p:nvSpPr>
          <p:spPr bwMode="auto">
            <a:xfrm>
              <a:off x="9159240" y="4442778"/>
              <a:ext cx="331788" cy="333375"/>
            </a:xfrm>
            <a:custGeom>
              <a:avLst/>
              <a:gdLst>
                <a:gd name="T0" fmla="*/ 125 w 164"/>
                <a:gd name="T1" fmla="*/ 32 h 165"/>
                <a:gd name="T2" fmla="*/ 126 w 164"/>
                <a:gd name="T3" fmla="*/ 14 h 165"/>
                <a:gd name="T4" fmla="*/ 108 w 164"/>
                <a:gd name="T5" fmla="*/ 21 h 165"/>
                <a:gd name="T6" fmla="*/ 103 w 164"/>
                <a:gd name="T7" fmla="*/ 3 h 165"/>
                <a:gd name="T8" fmla="*/ 88 w 164"/>
                <a:gd name="T9" fmla="*/ 16 h 165"/>
                <a:gd name="T10" fmla="*/ 77 w 164"/>
                <a:gd name="T11" fmla="*/ 1 h 165"/>
                <a:gd name="T12" fmla="*/ 68 w 164"/>
                <a:gd name="T13" fmla="*/ 18 h 165"/>
                <a:gd name="T14" fmla="*/ 53 w 164"/>
                <a:gd name="T15" fmla="*/ 6 h 165"/>
                <a:gd name="T16" fmla="*/ 48 w 164"/>
                <a:gd name="T17" fmla="*/ 25 h 165"/>
                <a:gd name="T18" fmla="*/ 31 w 164"/>
                <a:gd name="T19" fmla="*/ 19 h 165"/>
                <a:gd name="T20" fmla="*/ 32 w 164"/>
                <a:gd name="T21" fmla="*/ 39 h 165"/>
                <a:gd name="T22" fmla="*/ 32 w 164"/>
                <a:gd name="T23" fmla="*/ 39 h 165"/>
                <a:gd name="T24" fmla="*/ 20 w 164"/>
                <a:gd name="T25" fmla="*/ 38 h 165"/>
                <a:gd name="T26" fmla="*/ 14 w 164"/>
                <a:gd name="T27" fmla="*/ 48 h 165"/>
                <a:gd name="T28" fmla="*/ 9 w 164"/>
                <a:gd name="T29" fmla="*/ 59 h 165"/>
                <a:gd name="T30" fmla="*/ 7 w 164"/>
                <a:gd name="T31" fmla="*/ 70 h 165"/>
                <a:gd name="T32" fmla="*/ 6 w 164"/>
                <a:gd name="T33" fmla="*/ 83 h 165"/>
                <a:gd name="T34" fmla="*/ 7 w 164"/>
                <a:gd name="T35" fmla="*/ 94 h 165"/>
                <a:gd name="T36" fmla="*/ 9 w 164"/>
                <a:gd name="T37" fmla="*/ 106 h 165"/>
                <a:gd name="T38" fmla="*/ 14 w 164"/>
                <a:gd name="T39" fmla="*/ 117 h 165"/>
                <a:gd name="T40" fmla="*/ 20 w 164"/>
                <a:gd name="T41" fmla="*/ 127 h 165"/>
                <a:gd name="T42" fmla="*/ 28 w 164"/>
                <a:gd name="T43" fmla="*/ 136 h 165"/>
                <a:gd name="T44" fmla="*/ 37 w 164"/>
                <a:gd name="T45" fmla="*/ 144 h 165"/>
                <a:gd name="T46" fmla="*/ 46 w 164"/>
                <a:gd name="T47" fmla="*/ 150 h 165"/>
                <a:gd name="T48" fmla="*/ 58 w 164"/>
                <a:gd name="T49" fmla="*/ 155 h 165"/>
                <a:gd name="T50" fmla="*/ 69 w 164"/>
                <a:gd name="T51" fmla="*/ 157 h 165"/>
                <a:gd name="T52" fmla="*/ 81 w 164"/>
                <a:gd name="T53" fmla="*/ 159 h 165"/>
                <a:gd name="T54" fmla="*/ 92 w 164"/>
                <a:gd name="T55" fmla="*/ 158 h 165"/>
                <a:gd name="T56" fmla="*/ 105 w 164"/>
                <a:gd name="T57" fmla="*/ 155 h 165"/>
                <a:gd name="T58" fmla="*/ 115 w 164"/>
                <a:gd name="T59" fmla="*/ 151 h 165"/>
                <a:gd name="T60" fmla="*/ 126 w 164"/>
                <a:gd name="T61" fmla="*/ 145 h 165"/>
                <a:gd name="T62" fmla="*/ 134 w 164"/>
                <a:gd name="T63" fmla="*/ 138 h 165"/>
                <a:gd name="T64" fmla="*/ 144 w 164"/>
                <a:gd name="T65" fmla="*/ 127 h 165"/>
                <a:gd name="T66" fmla="*/ 150 w 164"/>
                <a:gd name="T67" fmla="*/ 117 h 165"/>
                <a:gd name="T68" fmla="*/ 155 w 164"/>
                <a:gd name="T69" fmla="*/ 106 h 165"/>
                <a:gd name="T70" fmla="*/ 157 w 164"/>
                <a:gd name="T71" fmla="*/ 95 h 165"/>
                <a:gd name="T72" fmla="*/ 158 w 164"/>
                <a:gd name="T73" fmla="*/ 83 h 165"/>
                <a:gd name="T74" fmla="*/ 158 w 164"/>
                <a:gd name="T75" fmla="*/ 71 h 165"/>
                <a:gd name="T76" fmla="*/ 155 w 164"/>
                <a:gd name="T77" fmla="*/ 59 h 165"/>
                <a:gd name="T78" fmla="*/ 151 w 164"/>
                <a:gd name="T79" fmla="*/ 49 h 165"/>
                <a:gd name="T80" fmla="*/ 144 w 164"/>
                <a:gd name="T81" fmla="*/ 38 h 165"/>
                <a:gd name="T82" fmla="*/ 137 w 164"/>
                <a:gd name="T83" fmla="*/ 29 h 165"/>
                <a:gd name="T84" fmla="*/ 41 w 164"/>
                <a:gd name="T85" fmla="*/ 116 h 165"/>
                <a:gd name="T86" fmla="*/ 123 w 164"/>
                <a:gd name="T87"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5">
                  <a:moveTo>
                    <a:pt x="137" y="29"/>
                  </a:moveTo>
                  <a:cubicBezTo>
                    <a:pt x="133" y="32"/>
                    <a:pt x="128" y="33"/>
                    <a:pt x="125" y="32"/>
                  </a:cubicBezTo>
                  <a:cubicBezTo>
                    <a:pt x="125" y="30"/>
                    <a:pt x="126" y="25"/>
                    <a:pt x="128" y="21"/>
                  </a:cubicBezTo>
                  <a:cubicBezTo>
                    <a:pt x="130" y="16"/>
                    <a:pt x="128" y="15"/>
                    <a:pt x="126" y="14"/>
                  </a:cubicBezTo>
                  <a:cubicBezTo>
                    <a:pt x="124" y="12"/>
                    <a:pt x="122" y="11"/>
                    <a:pt x="118" y="15"/>
                  </a:cubicBezTo>
                  <a:cubicBezTo>
                    <a:pt x="115" y="18"/>
                    <a:pt x="110" y="22"/>
                    <a:pt x="108" y="21"/>
                  </a:cubicBezTo>
                  <a:cubicBezTo>
                    <a:pt x="107" y="19"/>
                    <a:pt x="106" y="14"/>
                    <a:pt x="107" y="10"/>
                  </a:cubicBezTo>
                  <a:cubicBezTo>
                    <a:pt x="107" y="4"/>
                    <a:pt x="105" y="4"/>
                    <a:pt x="103" y="3"/>
                  </a:cubicBezTo>
                  <a:cubicBezTo>
                    <a:pt x="100" y="3"/>
                    <a:pt x="98" y="2"/>
                    <a:pt x="96" y="7"/>
                  </a:cubicBezTo>
                  <a:cubicBezTo>
                    <a:pt x="94" y="11"/>
                    <a:pt x="90" y="16"/>
                    <a:pt x="88" y="16"/>
                  </a:cubicBezTo>
                  <a:cubicBezTo>
                    <a:pt x="86" y="15"/>
                    <a:pt x="84" y="10"/>
                    <a:pt x="83" y="6"/>
                  </a:cubicBezTo>
                  <a:cubicBezTo>
                    <a:pt x="82" y="0"/>
                    <a:pt x="80" y="1"/>
                    <a:pt x="77" y="1"/>
                  </a:cubicBezTo>
                  <a:cubicBezTo>
                    <a:pt x="75" y="1"/>
                    <a:pt x="73" y="1"/>
                    <a:pt x="72" y="7"/>
                  </a:cubicBezTo>
                  <a:cubicBezTo>
                    <a:pt x="72" y="11"/>
                    <a:pt x="70" y="16"/>
                    <a:pt x="68" y="18"/>
                  </a:cubicBezTo>
                  <a:cubicBezTo>
                    <a:pt x="65" y="17"/>
                    <a:pt x="62" y="13"/>
                    <a:pt x="60" y="9"/>
                  </a:cubicBezTo>
                  <a:cubicBezTo>
                    <a:pt x="57" y="4"/>
                    <a:pt x="55" y="5"/>
                    <a:pt x="53" y="6"/>
                  </a:cubicBezTo>
                  <a:cubicBezTo>
                    <a:pt x="51" y="7"/>
                    <a:pt x="48" y="7"/>
                    <a:pt x="49" y="13"/>
                  </a:cubicBezTo>
                  <a:cubicBezTo>
                    <a:pt x="50" y="18"/>
                    <a:pt x="50" y="23"/>
                    <a:pt x="48" y="25"/>
                  </a:cubicBezTo>
                  <a:cubicBezTo>
                    <a:pt x="46" y="25"/>
                    <a:pt x="42" y="22"/>
                    <a:pt x="39" y="20"/>
                  </a:cubicBezTo>
                  <a:cubicBezTo>
                    <a:pt x="35" y="15"/>
                    <a:pt x="33" y="17"/>
                    <a:pt x="31" y="19"/>
                  </a:cubicBezTo>
                  <a:cubicBezTo>
                    <a:pt x="29" y="20"/>
                    <a:pt x="27" y="21"/>
                    <a:pt x="30" y="27"/>
                  </a:cubicBezTo>
                  <a:cubicBezTo>
                    <a:pt x="32" y="31"/>
                    <a:pt x="34" y="37"/>
                    <a:pt x="32" y="39"/>
                  </a:cubicBezTo>
                  <a:cubicBezTo>
                    <a:pt x="32" y="39"/>
                    <a:pt x="32" y="39"/>
                    <a:pt x="32" y="39"/>
                  </a:cubicBezTo>
                  <a:cubicBezTo>
                    <a:pt x="32" y="39"/>
                    <a:pt x="32" y="39"/>
                    <a:pt x="32" y="39"/>
                  </a:cubicBezTo>
                  <a:cubicBezTo>
                    <a:pt x="32" y="39"/>
                    <a:pt x="32" y="39"/>
                    <a:pt x="32" y="39"/>
                  </a:cubicBezTo>
                  <a:cubicBezTo>
                    <a:pt x="30" y="41"/>
                    <a:pt x="24" y="40"/>
                    <a:pt x="20" y="38"/>
                  </a:cubicBezTo>
                  <a:cubicBezTo>
                    <a:pt x="14" y="36"/>
                    <a:pt x="13" y="38"/>
                    <a:pt x="12" y="40"/>
                  </a:cubicBezTo>
                  <a:cubicBezTo>
                    <a:pt x="11" y="42"/>
                    <a:pt x="9" y="44"/>
                    <a:pt x="14" y="48"/>
                  </a:cubicBezTo>
                  <a:cubicBezTo>
                    <a:pt x="17" y="51"/>
                    <a:pt x="20" y="54"/>
                    <a:pt x="21" y="57"/>
                  </a:cubicBezTo>
                  <a:cubicBezTo>
                    <a:pt x="19" y="59"/>
                    <a:pt x="14" y="60"/>
                    <a:pt x="9" y="59"/>
                  </a:cubicBezTo>
                  <a:cubicBezTo>
                    <a:pt x="3" y="59"/>
                    <a:pt x="3" y="62"/>
                    <a:pt x="3" y="64"/>
                  </a:cubicBezTo>
                  <a:cubicBezTo>
                    <a:pt x="2" y="66"/>
                    <a:pt x="1" y="68"/>
                    <a:pt x="7" y="70"/>
                  </a:cubicBezTo>
                  <a:cubicBezTo>
                    <a:pt x="10" y="72"/>
                    <a:pt x="15" y="75"/>
                    <a:pt x="16" y="77"/>
                  </a:cubicBezTo>
                  <a:cubicBezTo>
                    <a:pt x="15" y="79"/>
                    <a:pt x="10" y="82"/>
                    <a:pt x="6" y="83"/>
                  </a:cubicBezTo>
                  <a:cubicBezTo>
                    <a:pt x="0" y="84"/>
                    <a:pt x="0" y="87"/>
                    <a:pt x="1" y="89"/>
                  </a:cubicBezTo>
                  <a:cubicBezTo>
                    <a:pt x="1" y="91"/>
                    <a:pt x="1" y="94"/>
                    <a:pt x="7" y="94"/>
                  </a:cubicBezTo>
                  <a:cubicBezTo>
                    <a:pt x="11" y="94"/>
                    <a:pt x="15" y="96"/>
                    <a:pt x="17" y="97"/>
                  </a:cubicBezTo>
                  <a:cubicBezTo>
                    <a:pt x="17" y="100"/>
                    <a:pt x="13" y="104"/>
                    <a:pt x="9" y="106"/>
                  </a:cubicBezTo>
                  <a:cubicBezTo>
                    <a:pt x="4" y="109"/>
                    <a:pt x="6" y="111"/>
                    <a:pt x="7" y="113"/>
                  </a:cubicBezTo>
                  <a:cubicBezTo>
                    <a:pt x="7" y="116"/>
                    <a:pt x="8" y="118"/>
                    <a:pt x="14" y="117"/>
                  </a:cubicBezTo>
                  <a:cubicBezTo>
                    <a:pt x="18" y="116"/>
                    <a:pt x="23" y="115"/>
                    <a:pt x="25" y="116"/>
                  </a:cubicBezTo>
                  <a:cubicBezTo>
                    <a:pt x="26" y="119"/>
                    <a:pt x="23" y="124"/>
                    <a:pt x="20" y="127"/>
                  </a:cubicBezTo>
                  <a:cubicBezTo>
                    <a:pt x="16" y="132"/>
                    <a:pt x="18" y="133"/>
                    <a:pt x="20" y="135"/>
                  </a:cubicBezTo>
                  <a:cubicBezTo>
                    <a:pt x="21" y="137"/>
                    <a:pt x="23" y="139"/>
                    <a:pt x="28" y="136"/>
                  </a:cubicBezTo>
                  <a:cubicBezTo>
                    <a:pt x="31" y="134"/>
                    <a:pt x="36" y="132"/>
                    <a:pt x="38" y="132"/>
                  </a:cubicBezTo>
                  <a:cubicBezTo>
                    <a:pt x="39" y="134"/>
                    <a:pt x="39" y="140"/>
                    <a:pt x="37" y="144"/>
                  </a:cubicBezTo>
                  <a:cubicBezTo>
                    <a:pt x="34" y="149"/>
                    <a:pt x="37" y="150"/>
                    <a:pt x="39" y="152"/>
                  </a:cubicBezTo>
                  <a:cubicBezTo>
                    <a:pt x="41" y="153"/>
                    <a:pt x="43" y="154"/>
                    <a:pt x="46" y="150"/>
                  </a:cubicBezTo>
                  <a:cubicBezTo>
                    <a:pt x="49" y="147"/>
                    <a:pt x="53" y="144"/>
                    <a:pt x="55" y="143"/>
                  </a:cubicBezTo>
                  <a:cubicBezTo>
                    <a:pt x="57" y="145"/>
                    <a:pt x="58" y="150"/>
                    <a:pt x="58" y="155"/>
                  </a:cubicBezTo>
                  <a:cubicBezTo>
                    <a:pt x="57" y="161"/>
                    <a:pt x="60" y="161"/>
                    <a:pt x="62" y="161"/>
                  </a:cubicBezTo>
                  <a:cubicBezTo>
                    <a:pt x="64" y="162"/>
                    <a:pt x="67" y="163"/>
                    <a:pt x="69" y="157"/>
                  </a:cubicBezTo>
                  <a:cubicBezTo>
                    <a:pt x="70" y="154"/>
                    <a:pt x="73" y="150"/>
                    <a:pt x="75" y="148"/>
                  </a:cubicBezTo>
                  <a:cubicBezTo>
                    <a:pt x="78" y="149"/>
                    <a:pt x="80" y="154"/>
                    <a:pt x="81" y="159"/>
                  </a:cubicBezTo>
                  <a:cubicBezTo>
                    <a:pt x="82" y="165"/>
                    <a:pt x="85" y="164"/>
                    <a:pt x="87" y="164"/>
                  </a:cubicBezTo>
                  <a:cubicBezTo>
                    <a:pt x="89" y="164"/>
                    <a:pt x="92" y="164"/>
                    <a:pt x="92" y="158"/>
                  </a:cubicBezTo>
                  <a:cubicBezTo>
                    <a:pt x="93" y="154"/>
                    <a:pt x="94" y="149"/>
                    <a:pt x="96" y="147"/>
                  </a:cubicBezTo>
                  <a:cubicBezTo>
                    <a:pt x="98" y="148"/>
                    <a:pt x="102" y="152"/>
                    <a:pt x="105" y="155"/>
                  </a:cubicBezTo>
                  <a:cubicBezTo>
                    <a:pt x="108" y="160"/>
                    <a:pt x="110" y="159"/>
                    <a:pt x="112" y="158"/>
                  </a:cubicBezTo>
                  <a:cubicBezTo>
                    <a:pt x="114" y="157"/>
                    <a:pt x="117" y="157"/>
                    <a:pt x="115" y="151"/>
                  </a:cubicBezTo>
                  <a:cubicBezTo>
                    <a:pt x="114" y="147"/>
                    <a:pt x="114" y="142"/>
                    <a:pt x="115" y="140"/>
                  </a:cubicBezTo>
                  <a:cubicBezTo>
                    <a:pt x="118" y="139"/>
                    <a:pt x="122" y="142"/>
                    <a:pt x="126" y="145"/>
                  </a:cubicBezTo>
                  <a:cubicBezTo>
                    <a:pt x="130" y="149"/>
                    <a:pt x="132" y="147"/>
                    <a:pt x="134" y="146"/>
                  </a:cubicBezTo>
                  <a:cubicBezTo>
                    <a:pt x="135" y="144"/>
                    <a:pt x="138" y="143"/>
                    <a:pt x="134" y="138"/>
                  </a:cubicBezTo>
                  <a:cubicBezTo>
                    <a:pt x="132" y="134"/>
                    <a:pt x="130" y="128"/>
                    <a:pt x="131" y="126"/>
                  </a:cubicBezTo>
                  <a:cubicBezTo>
                    <a:pt x="133" y="124"/>
                    <a:pt x="139" y="125"/>
                    <a:pt x="144" y="127"/>
                  </a:cubicBezTo>
                  <a:cubicBezTo>
                    <a:pt x="149" y="129"/>
                    <a:pt x="150" y="127"/>
                    <a:pt x="151" y="125"/>
                  </a:cubicBezTo>
                  <a:cubicBezTo>
                    <a:pt x="153" y="123"/>
                    <a:pt x="154" y="121"/>
                    <a:pt x="150" y="117"/>
                  </a:cubicBezTo>
                  <a:cubicBezTo>
                    <a:pt x="147" y="114"/>
                    <a:pt x="143" y="110"/>
                    <a:pt x="143" y="107"/>
                  </a:cubicBezTo>
                  <a:cubicBezTo>
                    <a:pt x="146" y="106"/>
                    <a:pt x="150" y="105"/>
                    <a:pt x="155" y="106"/>
                  </a:cubicBezTo>
                  <a:cubicBezTo>
                    <a:pt x="160" y="107"/>
                    <a:pt x="161" y="104"/>
                    <a:pt x="161" y="102"/>
                  </a:cubicBezTo>
                  <a:cubicBezTo>
                    <a:pt x="162" y="100"/>
                    <a:pt x="163" y="97"/>
                    <a:pt x="157" y="95"/>
                  </a:cubicBezTo>
                  <a:cubicBezTo>
                    <a:pt x="153" y="93"/>
                    <a:pt x="149" y="90"/>
                    <a:pt x="148" y="87"/>
                  </a:cubicBezTo>
                  <a:cubicBezTo>
                    <a:pt x="150" y="85"/>
                    <a:pt x="154" y="83"/>
                    <a:pt x="158" y="83"/>
                  </a:cubicBezTo>
                  <a:cubicBezTo>
                    <a:pt x="164" y="81"/>
                    <a:pt x="163" y="79"/>
                    <a:pt x="163" y="77"/>
                  </a:cubicBezTo>
                  <a:cubicBezTo>
                    <a:pt x="163" y="74"/>
                    <a:pt x="163" y="72"/>
                    <a:pt x="158" y="71"/>
                  </a:cubicBezTo>
                  <a:cubicBezTo>
                    <a:pt x="153" y="71"/>
                    <a:pt x="148" y="69"/>
                    <a:pt x="147" y="67"/>
                  </a:cubicBezTo>
                  <a:cubicBezTo>
                    <a:pt x="147" y="64"/>
                    <a:pt x="151" y="61"/>
                    <a:pt x="155" y="59"/>
                  </a:cubicBezTo>
                  <a:cubicBezTo>
                    <a:pt x="160" y="56"/>
                    <a:pt x="158" y="54"/>
                    <a:pt x="158" y="52"/>
                  </a:cubicBezTo>
                  <a:cubicBezTo>
                    <a:pt x="157" y="50"/>
                    <a:pt x="156" y="47"/>
                    <a:pt x="151" y="49"/>
                  </a:cubicBezTo>
                  <a:cubicBezTo>
                    <a:pt x="146" y="50"/>
                    <a:pt x="141" y="50"/>
                    <a:pt x="139" y="48"/>
                  </a:cubicBezTo>
                  <a:cubicBezTo>
                    <a:pt x="139" y="45"/>
                    <a:pt x="141" y="41"/>
                    <a:pt x="144" y="38"/>
                  </a:cubicBezTo>
                  <a:cubicBezTo>
                    <a:pt x="148" y="34"/>
                    <a:pt x="146" y="32"/>
                    <a:pt x="145" y="30"/>
                  </a:cubicBezTo>
                  <a:cubicBezTo>
                    <a:pt x="143" y="29"/>
                    <a:pt x="142" y="26"/>
                    <a:pt x="137" y="29"/>
                  </a:cubicBezTo>
                  <a:moveTo>
                    <a:pt x="115" y="124"/>
                  </a:moveTo>
                  <a:cubicBezTo>
                    <a:pt x="93" y="142"/>
                    <a:pt x="59" y="139"/>
                    <a:pt x="41" y="116"/>
                  </a:cubicBezTo>
                  <a:cubicBezTo>
                    <a:pt x="22" y="93"/>
                    <a:pt x="26" y="60"/>
                    <a:pt x="49" y="41"/>
                  </a:cubicBezTo>
                  <a:cubicBezTo>
                    <a:pt x="71" y="23"/>
                    <a:pt x="105" y="26"/>
                    <a:pt x="123" y="49"/>
                  </a:cubicBezTo>
                  <a:cubicBezTo>
                    <a:pt x="142" y="72"/>
                    <a:pt x="138" y="105"/>
                    <a:pt x="115" y="12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0" name="Freeform 21359">
              <a:extLst>
                <a:ext uri="{FF2B5EF4-FFF2-40B4-BE49-F238E27FC236}">
                  <a16:creationId xmlns:a16="http://schemas.microsoft.com/office/drawing/2014/main" id="{F276601D-C721-4436-ADD8-7F5EBD3DEA25}"/>
                </a:ext>
              </a:extLst>
            </p:cNvPr>
            <p:cNvSpPr>
              <a:spLocks noEditPoints="1"/>
            </p:cNvSpPr>
            <p:nvPr userDrawn="1"/>
          </p:nvSpPr>
          <p:spPr bwMode="auto">
            <a:xfrm>
              <a:off x="9262428" y="4545965"/>
              <a:ext cx="125413" cy="127000"/>
            </a:xfrm>
            <a:custGeom>
              <a:avLst/>
              <a:gdLst>
                <a:gd name="T0" fmla="*/ 13 w 62"/>
                <a:gd name="T1" fmla="*/ 10 h 63"/>
                <a:gd name="T2" fmla="*/ 9 w 62"/>
                <a:gd name="T3" fmla="*/ 49 h 63"/>
                <a:gd name="T4" fmla="*/ 49 w 62"/>
                <a:gd name="T5" fmla="*/ 53 h 63"/>
                <a:gd name="T6" fmla="*/ 53 w 62"/>
                <a:gd name="T7" fmla="*/ 14 h 63"/>
                <a:gd name="T8" fmla="*/ 13 w 62"/>
                <a:gd name="T9" fmla="*/ 10 h 63"/>
                <a:gd name="T10" fmla="*/ 42 w 62"/>
                <a:gd name="T11" fmla="*/ 45 h 63"/>
                <a:gd name="T12" fmla="*/ 17 w 62"/>
                <a:gd name="T13" fmla="*/ 42 h 63"/>
                <a:gd name="T14" fmla="*/ 20 w 62"/>
                <a:gd name="T15" fmla="*/ 18 h 63"/>
                <a:gd name="T16" fmla="*/ 44 w 62"/>
                <a:gd name="T17" fmla="*/ 20 h 63"/>
                <a:gd name="T18" fmla="*/ 42 w 62"/>
                <a:gd name="T1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13" y="10"/>
                  </a:moveTo>
                  <a:cubicBezTo>
                    <a:pt x="1" y="19"/>
                    <a:pt x="0" y="37"/>
                    <a:pt x="9" y="49"/>
                  </a:cubicBezTo>
                  <a:cubicBezTo>
                    <a:pt x="19" y="61"/>
                    <a:pt x="37" y="63"/>
                    <a:pt x="49" y="53"/>
                  </a:cubicBezTo>
                  <a:cubicBezTo>
                    <a:pt x="61" y="43"/>
                    <a:pt x="62" y="26"/>
                    <a:pt x="53" y="14"/>
                  </a:cubicBezTo>
                  <a:cubicBezTo>
                    <a:pt x="43" y="2"/>
                    <a:pt x="25" y="0"/>
                    <a:pt x="13" y="10"/>
                  </a:cubicBezTo>
                  <a:moveTo>
                    <a:pt x="42" y="45"/>
                  </a:moveTo>
                  <a:cubicBezTo>
                    <a:pt x="34" y="51"/>
                    <a:pt x="24" y="50"/>
                    <a:pt x="17" y="42"/>
                  </a:cubicBezTo>
                  <a:cubicBezTo>
                    <a:pt x="11" y="35"/>
                    <a:pt x="13" y="24"/>
                    <a:pt x="20" y="18"/>
                  </a:cubicBezTo>
                  <a:cubicBezTo>
                    <a:pt x="27" y="12"/>
                    <a:pt x="38" y="13"/>
                    <a:pt x="44" y="20"/>
                  </a:cubicBezTo>
                  <a:cubicBezTo>
                    <a:pt x="50" y="28"/>
                    <a:pt x="49" y="39"/>
                    <a:pt x="42" y="4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1" name="Freeform 21360">
              <a:extLst>
                <a:ext uri="{FF2B5EF4-FFF2-40B4-BE49-F238E27FC236}">
                  <a16:creationId xmlns:a16="http://schemas.microsoft.com/office/drawing/2014/main" id="{08F75A86-2552-4249-B4FF-0C56AC6BE543}"/>
                </a:ext>
              </a:extLst>
            </p:cNvPr>
            <p:cNvSpPr>
              <a:spLocks noEditPoints="1"/>
            </p:cNvSpPr>
            <p:nvPr userDrawn="1"/>
          </p:nvSpPr>
          <p:spPr bwMode="auto">
            <a:xfrm>
              <a:off x="9557703" y="3733165"/>
              <a:ext cx="63500" cy="60325"/>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3 h 30"/>
                <a:gd name="T12" fmla="*/ 3 w 31"/>
                <a:gd name="T13" fmla="*/ 15 h 30"/>
                <a:gd name="T14" fmla="*/ 16 w 31"/>
                <a:gd name="T15" fmla="*/ 27 h 30"/>
                <a:gd name="T16" fmla="*/ 28 w 31"/>
                <a:gd name="T17" fmla="*/ 15 h 30"/>
                <a:gd name="T18" fmla="*/ 16 w 31"/>
                <a:gd name="T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6"/>
                    <a:pt x="7" y="0"/>
                    <a:pt x="16" y="0"/>
                  </a:cubicBezTo>
                  <a:cubicBezTo>
                    <a:pt x="24" y="0"/>
                    <a:pt x="31" y="6"/>
                    <a:pt x="31" y="15"/>
                  </a:cubicBezTo>
                  <a:cubicBezTo>
                    <a:pt x="31" y="23"/>
                    <a:pt x="24" y="30"/>
                    <a:pt x="16" y="30"/>
                  </a:cubicBezTo>
                  <a:moveTo>
                    <a:pt x="16" y="3"/>
                  </a:moveTo>
                  <a:cubicBezTo>
                    <a:pt x="9" y="3"/>
                    <a:pt x="3" y="8"/>
                    <a:pt x="3" y="15"/>
                  </a:cubicBezTo>
                  <a:cubicBezTo>
                    <a:pt x="3" y="22"/>
                    <a:pt x="9" y="27"/>
                    <a:pt x="16" y="27"/>
                  </a:cubicBezTo>
                  <a:cubicBezTo>
                    <a:pt x="23" y="27"/>
                    <a:pt x="28" y="22"/>
                    <a:pt x="28" y="15"/>
                  </a:cubicBezTo>
                  <a:cubicBezTo>
                    <a:pt x="28" y="8"/>
                    <a:pt x="23" y="3"/>
                    <a:pt x="16" y="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2" name="Freeform 21361">
              <a:extLst>
                <a:ext uri="{FF2B5EF4-FFF2-40B4-BE49-F238E27FC236}">
                  <a16:creationId xmlns:a16="http://schemas.microsoft.com/office/drawing/2014/main" id="{18FD6BBF-E6CE-414D-AB18-7E798EB0B53E}"/>
                </a:ext>
              </a:extLst>
            </p:cNvPr>
            <p:cNvSpPr>
              <a:spLocks noEditPoints="1"/>
            </p:cNvSpPr>
            <p:nvPr userDrawn="1"/>
          </p:nvSpPr>
          <p:spPr bwMode="auto">
            <a:xfrm>
              <a:off x="9003665" y="5434965"/>
              <a:ext cx="63500" cy="61913"/>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3 w 31"/>
                <a:gd name="T13" fmla="*/ 16 h 31"/>
                <a:gd name="T14" fmla="*/ 15 w 31"/>
                <a:gd name="T15" fmla="*/ 28 h 31"/>
                <a:gd name="T16" fmla="*/ 28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moveTo>
                    <a:pt x="15" y="4"/>
                  </a:moveTo>
                  <a:cubicBezTo>
                    <a:pt x="8" y="4"/>
                    <a:pt x="3" y="9"/>
                    <a:pt x="3" y="16"/>
                  </a:cubicBezTo>
                  <a:cubicBezTo>
                    <a:pt x="3" y="22"/>
                    <a:pt x="8" y="28"/>
                    <a:pt x="15" y="28"/>
                  </a:cubicBezTo>
                  <a:cubicBezTo>
                    <a:pt x="22" y="28"/>
                    <a:pt x="28" y="22"/>
                    <a:pt x="28" y="16"/>
                  </a:cubicBezTo>
                  <a:cubicBezTo>
                    <a:pt x="28" y="9"/>
                    <a:pt x="22" y="4"/>
                    <a:pt x="15" y="4"/>
                  </a:cubicBezTo>
                </a:path>
              </a:pathLst>
            </a:custGeom>
            <a:solidFill>
              <a:srgbClr val="1E6C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3" name="Freeform 21362">
              <a:extLst>
                <a:ext uri="{FF2B5EF4-FFF2-40B4-BE49-F238E27FC236}">
                  <a16:creationId xmlns:a16="http://schemas.microsoft.com/office/drawing/2014/main" id="{519A4BAF-F8A6-463B-9047-14FD0999943C}"/>
                </a:ext>
              </a:extLst>
            </p:cNvPr>
            <p:cNvSpPr>
              <a:spLocks noEditPoints="1"/>
            </p:cNvSpPr>
            <p:nvPr userDrawn="1"/>
          </p:nvSpPr>
          <p:spPr bwMode="auto">
            <a:xfrm>
              <a:off x="9706928" y="3493453"/>
              <a:ext cx="85725" cy="82550"/>
            </a:xfrm>
            <a:custGeom>
              <a:avLst/>
              <a:gdLst>
                <a:gd name="T0" fmla="*/ 21 w 42"/>
                <a:gd name="T1" fmla="*/ 41 h 41"/>
                <a:gd name="T2" fmla="*/ 0 w 42"/>
                <a:gd name="T3" fmla="*/ 21 h 41"/>
                <a:gd name="T4" fmla="*/ 21 w 42"/>
                <a:gd name="T5" fmla="*/ 0 h 41"/>
                <a:gd name="T6" fmla="*/ 42 w 42"/>
                <a:gd name="T7" fmla="*/ 21 h 41"/>
                <a:gd name="T8" fmla="*/ 21 w 42"/>
                <a:gd name="T9" fmla="*/ 41 h 41"/>
                <a:gd name="T10" fmla="*/ 21 w 42"/>
                <a:gd name="T11" fmla="*/ 5 h 41"/>
                <a:gd name="T12" fmla="*/ 5 w 42"/>
                <a:gd name="T13" fmla="*/ 21 h 41"/>
                <a:gd name="T14" fmla="*/ 21 w 42"/>
                <a:gd name="T15" fmla="*/ 37 h 41"/>
                <a:gd name="T16" fmla="*/ 38 w 42"/>
                <a:gd name="T17" fmla="*/ 21 h 41"/>
                <a:gd name="T18" fmla="*/ 21 w 42"/>
                <a:gd name="T19"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41"/>
                  </a:moveTo>
                  <a:cubicBezTo>
                    <a:pt x="10" y="41"/>
                    <a:pt x="0" y="32"/>
                    <a:pt x="0" y="21"/>
                  </a:cubicBezTo>
                  <a:cubicBezTo>
                    <a:pt x="0" y="10"/>
                    <a:pt x="10" y="0"/>
                    <a:pt x="21" y="0"/>
                  </a:cubicBezTo>
                  <a:cubicBezTo>
                    <a:pt x="33" y="0"/>
                    <a:pt x="42" y="10"/>
                    <a:pt x="42" y="21"/>
                  </a:cubicBezTo>
                  <a:cubicBezTo>
                    <a:pt x="42" y="32"/>
                    <a:pt x="33" y="41"/>
                    <a:pt x="21" y="41"/>
                  </a:cubicBezTo>
                  <a:moveTo>
                    <a:pt x="21" y="5"/>
                  </a:moveTo>
                  <a:cubicBezTo>
                    <a:pt x="12" y="5"/>
                    <a:pt x="5" y="12"/>
                    <a:pt x="5" y="21"/>
                  </a:cubicBezTo>
                  <a:cubicBezTo>
                    <a:pt x="5" y="30"/>
                    <a:pt x="12" y="37"/>
                    <a:pt x="21" y="37"/>
                  </a:cubicBezTo>
                  <a:cubicBezTo>
                    <a:pt x="30" y="37"/>
                    <a:pt x="38" y="30"/>
                    <a:pt x="38" y="21"/>
                  </a:cubicBezTo>
                  <a:cubicBezTo>
                    <a:pt x="38" y="12"/>
                    <a:pt x="30" y="5"/>
                    <a:pt x="21"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4" name="Freeform 21363">
              <a:extLst>
                <a:ext uri="{FF2B5EF4-FFF2-40B4-BE49-F238E27FC236}">
                  <a16:creationId xmlns:a16="http://schemas.microsoft.com/office/drawing/2014/main" id="{BCDA597F-D4B4-4890-8EC5-AB74E54CBC27}"/>
                </a:ext>
              </a:extLst>
            </p:cNvPr>
            <p:cNvSpPr>
              <a:spLocks noEditPoints="1"/>
            </p:cNvSpPr>
            <p:nvPr userDrawn="1"/>
          </p:nvSpPr>
          <p:spPr bwMode="auto">
            <a:xfrm>
              <a:off x="8292465" y="5184140"/>
              <a:ext cx="84138" cy="84138"/>
            </a:xfrm>
            <a:custGeom>
              <a:avLst/>
              <a:gdLst>
                <a:gd name="T0" fmla="*/ 21 w 42"/>
                <a:gd name="T1" fmla="*/ 41 h 41"/>
                <a:gd name="T2" fmla="*/ 0 w 42"/>
                <a:gd name="T3" fmla="*/ 20 h 41"/>
                <a:gd name="T4" fmla="*/ 21 w 42"/>
                <a:gd name="T5" fmla="*/ 0 h 41"/>
                <a:gd name="T6" fmla="*/ 42 w 42"/>
                <a:gd name="T7" fmla="*/ 20 h 41"/>
                <a:gd name="T8" fmla="*/ 21 w 42"/>
                <a:gd name="T9" fmla="*/ 41 h 41"/>
                <a:gd name="T10" fmla="*/ 21 w 42"/>
                <a:gd name="T11" fmla="*/ 4 h 41"/>
                <a:gd name="T12" fmla="*/ 5 w 42"/>
                <a:gd name="T13" fmla="*/ 20 h 41"/>
                <a:gd name="T14" fmla="*/ 21 w 42"/>
                <a:gd name="T15" fmla="*/ 36 h 41"/>
                <a:gd name="T16" fmla="*/ 37 w 42"/>
                <a:gd name="T17" fmla="*/ 20 h 41"/>
                <a:gd name="T18" fmla="*/ 21 w 42"/>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41"/>
                  </a:moveTo>
                  <a:cubicBezTo>
                    <a:pt x="9" y="41"/>
                    <a:pt x="0" y="32"/>
                    <a:pt x="0" y="20"/>
                  </a:cubicBezTo>
                  <a:cubicBezTo>
                    <a:pt x="0" y="9"/>
                    <a:pt x="9" y="0"/>
                    <a:pt x="21" y="0"/>
                  </a:cubicBezTo>
                  <a:cubicBezTo>
                    <a:pt x="32" y="0"/>
                    <a:pt x="42" y="9"/>
                    <a:pt x="42" y="20"/>
                  </a:cubicBezTo>
                  <a:cubicBezTo>
                    <a:pt x="42" y="32"/>
                    <a:pt x="32" y="41"/>
                    <a:pt x="21" y="41"/>
                  </a:cubicBezTo>
                  <a:moveTo>
                    <a:pt x="21" y="4"/>
                  </a:moveTo>
                  <a:cubicBezTo>
                    <a:pt x="12" y="4"/>
                    <a:pt x="5" y="12"/>
                    <a:pt x="5" y="20"/>
                  </a:cubicBezTo>
                  <a:cubicBezTo>
                    <a:pt x="5" y="29"/>
                    <a:pt x="12" y="36"/>
                    <a:pt x="21" y="36"/>
                  </a:cubicBezTo>
                  <a:cubicBezTo>
                    <a:pt x="30" y="36"/>
                    <a:pt x="37" y="29"/>
                    <a:pt x="37" y="20"/>
                  </a:cubicBezTo>
                  <a:cubicBezTo>
                    <a:pt x="37" y="12"/>
                    <a:pt x="30" y="4"/>
                    <a:pt x="21"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5" name="Freeform 21364">
              <a:extLst>
                <a:ext uri="{FF2B5EF4-FFF2-40B4-BE49-F238E27FC236}">
                  <a16:creationId xmlns:a16="http://schemas.microsoft.com/office/drawing/2014/main" id="{35382C9A-7696-4DF2-9626-F3DA8A308F2F}"/>
                </a:ext>
              </a:extLst>
            </p:cNvPr>
            <p:cNvSpPr>
              <a:spLocks noEditPoints="1"/>
            </p:cNvSpPr>
            <p:nvPr userDrawn="1"/>
          </p:nvSpPr>
          <p:spPr bwMode="auto">
            <a:xfrm>
              <a:off x="9610090" y="4093528"/>
              <a:ext cx="82550" cy="84138"/>
            </a:xfrm>
            <a:custGeom>
              <a:avLst/>
              <a:gdLst>
                <a:gd name="T0" fmla="*/ 20 w 41"/>
                <a:gd name="T1" fmla="*/ 41 h 41"/>
                <a:gd name="T2" fmla="*/ 0 w 41"/>
                <a:gd name="T3" fmla="*/ 20 h 41"/>
                <a:gd name="T4" fmla="*/ 20 w 41"/>
                <a:gd name="T5" fmla="*/ 0 h 41"/>
                <a:gd name="T6" fmla="*/ 41 w 41"/>
                <a:gd name="T7" fmla="*/ 20 h 41"/>
                <a:gd name="T8" fmla="*/ 20 w 41"/>
                <a:gd name="T9" fmla="*/ 41 h 41"/>
                <a:gd name="T10" fmla="*/ 20 w 41"/>
                <a:gd name="T11" fmla="*/ 4 h 41"/>
                <a:gd name="T12" fmla="*/ 4 w 41"/>
                <a:gd name="T13" fmla="*/ 20 h 41"/>
                <a:gd name="T14" fmla="*/ 20 w 41"/>
                <a:gd name="T15" fmla="*/ 36 h 41"/>
                <a:gd name="T16" fmla="*/ 37 w 41"/>
                <a:gd name="T17" fmla="*/ 20 h 41"/>
                <a:gd name="T18" fmla="*/ 20 w 41"/>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0" y="41"/>
                  </a:moveTo>
                  <a:cubicBezTo>
                    <a:pt x="9" y="41"/>
                    <a:pt x="0" y="31"/>
                    <a:pt x="0" y="20"/>
                  </a:cubicBezTo>
                  <a:cubicBezTo>
                    <a:pt x="0" y="9"/>
                    <a:pt x="9" y="0"/>
                    <a:pt x="20" y="0"/>
                  </a:cubicBezTo>
                  <a:cubicBezTo>
                    <a:pt x="32" y="0"/>
                    <a:pt x="41" y="9"/>
                    <a:pt x="41" y="20"/>
                  </a:cubicBezTo>
                  <a:cubicBezTo>
                    <a:pt x="41" y="31"/>
                    <a:pt x="32" y="41"/>
                    <a:pt x="20" y="41"/>
                  </a:cubicBezTo>
                  <a:moveTo>
                    <a:pt x="20" y="4"/>
                  </a:moveTo>
                  <a:cubicBezTo>
                    <a:pt x="11" y="4"/>
                    <a:pt x="4" y="11"/>
                    <a:pt x="4" y="20"/>
                  </a:cubicBezTo>
                  <a:cubicBezTo>
                    <a:pt x="4" y="29"/>
                    <a:pt x="11" y="36"/>
                    <a:pt x="20" y="36"/>
                  </a:cubicBezTo>
                  <a:cubicBezTo>
                    <a:pt x="29" y="36"/>
                    <a:pt x="37" y="29"/>
                    <a:pt x="37" y="20"/>
                  </a:cubicBezTo>
                  <a:cubicBezTo>
                    <a:pt x="37" y="11"/>
                    <a:pt x="29" y="4"/>
                    <a:pt x="20"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6" name="Freeform 21365">
              <a:extLst>
                <a:ext uri="{FF2B5EF4-FFF2-40B4-BE49-F238E27FC236}">
                  <a16:creationId xmlns:a16="http://schemas.microsoft.com/office/drawing/2014/main" id="{F129A045-6A90-43FE-8535-00FDB779DA48}"/>
                </a:ext>
              </a:extLst>
            </p:cNvPr>
            <p:cNvSpPr>
              <a:spLocks noEditPoints="1"/>
            </p:cNvSpPr>
            <p:nvPr userDrawn="1"/>
          </p:nvSpPr>
          <p:spPr bwMode="auto">
            <a:xfrm>
              <a:off x="8387715" y="5215890"/>
              <a:ext cx="82550" cy="82550"/>
            </a:xfrm>
            <a:custGeom>
              <a:avLst/>
              <a:gdLst>
                <a:gd name="T0" fmla="*/ 21 w 41"/>
                <a:gd name="T1" fmla="*/ 41 h 41"/>
                <a:gd name="T2" fmla="*/ 0 w 41"/>
                <a:gd name="T3" fmla="*/ 20 h 41"/>
                <a:gd name="T4" fmla="*/ 21 w 41"/>
                <a:gd name="T5" fmla="*/ 0 h 41"/>
                <a:gd name="T6" fmla="*/ 41 w 41"/>
                <a:gd name="T7" fmla="*/ 20 h 41"/>
                <a:gd name="T8" fmla="*/ 21 w 41"/>
                <a:gd name="T9" fmla="*/ 41 h 41"/>
                <a:gd name="T10" fmla="*/ 21 w 41"/>
                <a:gd name="T11" fmla="*/ 4 h 41"/>
                <a:gd name="T12" fmla="*/ 4 w 41"/>
                <a:gd name="T13" fmla="*/ 20 h 41"/>
                <a:gd name="T14" fmla="*/ 21 w 41"/>
                <a:gd name="T15" fmla="*/ 36 h 41"/>
                <a:gd name="T16" fmla="*/ 37 w 41"/>
                <a:gd name="T17" fmla="*/ 20 h 41"/>
                <a:gd name="T18" fmla="*/ 21 w 41"/>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41"/>
                  </a:moveTo>
                  <a:cubicBezTo>
                    <a:pt x="9" y="41"/>
                    <a:pt x="0" y="32"/>
                    <a:pt x="0" y="20"/>
                  </a:cubicBezTo>
                  <a:cubicBezTo>
                    <a:pt x="0" y="9"/>
                    <a:pt x="9" y="0"/>
                    <a:pt x="21" y="0"/>
                  </a:cubicBezTo>
                  <a:cubicBezTo>
                    <a:pt x="32" y="0"/>
                    <a:pt x="41" y="9"/>
                    <a:pt x="41" y="20"/>
                  </a:cubicBezTo>
                  <a:cubicBezTo>
                    <a:pt x="41" y="32"/>
                    <a:pt x="32" y="41"/>
                    <a:pt x="21" y="41"/>
                  </a:cubicBezTo>
                  <a:moveTo>
                    <a:pt x="21" y="4"/>
                  </a:moveTo>
                  <a:cubicBezTo>
                    <a:pt x="12" y="4"/>
                    <a:pt x="4" y="12"/>
                    <a:pt x="4" y="20"/>
                  </a:cubicBezTo>
                  <a:cubicBezTo>
                    <a:pt x="4" y="29"/>
                    <a:pt x="12" y="36"/>
                    <a:pt x="21" y="36"/>
                  </a:cubicBezTo>
                  <a:cubicBezTo>
                    <a:pt x="30" y="36"/>
                    <a:pt x="37" y="29"/>
                    <a:pt x="37" y="20"/>
                  </a:cubicBezTo>
                  <a:cubicBezTo>
                    <a:pt x="37" y="12"/>
                    <a:pt x="30" y="4"/>
                    <a:pt x="21"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7" name="Freeform 21366">
              <a:extLst>
                <a:ext uri="{FF2B5EF4-FFF2-40B4-BE49-F238E27FC236}">
                  <a16:creationId xmlns:a16="http://schemas.microsoft.com/office/drawing/2014/main" id="{D13497DB-A327-416C-AABE-74757C142EC7}"/>
                </a:ext>
              </a:extLst>
            </p:cNvPr>
            <p:cNvSpPr>
              <a:spLocks noEditPoints="1"/>
            </p:cNvSpPr>
            <p:nvPr userDrawn="1"/>
          </p:nvSpPr>
          <p:spPr bwMode="auto">
            <a:xfrm>
              <a:off x="8797290" y="3634740"/>
              <a:ext cx="103188" cy="103188"/>
            </a:xfrm>
            <a:custGeom>
              <a:avLst/>
              <a:gdLst>
                <a:gd name="T0" fmla="*/ 25 w 51"/>
                <a:gd name="T1" fmla="*/ 51 h 51"/>
                <a:gd name="T2" fmla="*/ 0 w 51"/>
                <a:gd name="T3" fmla="*/ 25 h 51"/>
                <a:gd name="T4" fmla="*/ 25 w 51"/>
                <a:gd name="T5" fmla="*/ 0 h 51"/>
                <a:gd name="T6" fmla="*/ 51 w 51"/>
                <a:gd name="T7" fmla="*/ 25 h 51"/>
                <a:gd name="T8" fmla="*/ 25 w 51"/>
                <a:gd name="T9" fmla="*/ 51 h 51"/>
                <a:gd name="T10" fmla="*/ 25 w 51"/>
                <a:gd name="T11" fmla="*/ 6 h 51"/>
                <a:gd name="T12" fmla="*/ 5 w 51"/>
                <a:gd name="T13" fmla="*/ 25 h 51"/>
                <a:gd name="T14" fmla="*/ 25 w 51"/>
                <a:gd name="T15" fmla="*/ 45 h 51"/>
                <a:gd name="T16" fmla="*/ 46 w 51"/>
                <a:gd name="T17" fmla="*/ 25 h 51"/>
                <a:gd name="T18" fmla="*/ 25 w 51"/>
                <a:gd name="T1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5" y="51"/>
                  </a:moveTo>
                  <a:cubicBezTo>
                    <a:pt x="11" y="51"/>
                    <a:pt x="0" y="39"/>
                    <a:pt x="0" y="25"/>
                  </a:cubicBezTo>
                  <a:cubicBezTo>
                    <a:pt x="0" y="11"/>
                    <a:pt x="11" y="0"/>
                    <a:pt x="25" y="0"/>
                  </a:cubicBezTo>
                  <a:cubicBezTo>
                    <a:pt x="40" y="0"/>
                    <a:pt x="51" y="11"/>
                    <a:pt x="51" y="25"/>
                  </a:cubicBezTo>
                  <a:cubicBezTo>
                    <a:pt x="51" y="39"/>
                    <a:pt x="40" y="51"/>
                    <a:pt x="25" y="51"/>
                  </a:cubicBezTo>
                  <a:moveTo>
                    <a:pt x="25" y="6"/>
                  </a:moveTo>
                  <a:cubicBezTo>
                    <a:pt x="14" y="6"/>
                    <a:pt x="5" y="14"/>
                    <a:pt x="5" y="25"/>
                  </a:cubicBezTo>
                  <a:cubicBezTo>
                    <a:pt x="5" y="36"/>
                    <a:pt x="14" y="45"/>
                    <a:pt x="25" y="45"/>
                  </a:cubicBezTo>
                  <a:cubicBezTo>
                    <a:pt x="37" y="45"/>
                    <a:pt x="46" y="36"/>
                    <a:pt x="46" y="25"/>
                  </a:cubicBezTo>
                  <a:cubicBezTo>
                    <a:pt x="46" y="14"/>
                    <a:pt x="37" y="6"/>
                    <a:pt x="25" y="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8" name="Freeform 21367">
              <a:extLst>
                <a:ext uri="{FF2B5EF4-FFF2-40B4-BE49-F238E27FC236}">
                  <a16:creationId xmlns:a16="http://schemas.microsoft.com/office/drawing/2014/main" id="{ADC0967A-DEF2-4D01-99A2-A92C3C215A85}"/>
                </a:ext>
              </a:extLst>
            </p:cNvPr>
            <p:cNvSpPr>
              <a:spLocks noEditPoints="1"/>
            </p:cNvSpPr>
            <p:nvPr userDrawn="1"/>
          </p:nvSpPr>
          <p:spPr bwMode="auto">
            <a:xfrm>
              <a:off x="9406890" y="4388803"/>
              <a:ext cx="69850" cy="69850"/>
            </a:xfrm>
            <a:custGeom>
              <a:avLst/>
              <a:gdLst>
                <a:gd name="T0" fmla="*/ 18 w 35"/>
                <a:gd name="T1" fmla="*/ 35 h 35"/>
                <a:gd name="T2" fmla="*/ 0 w 35"/>
                <a:gd name="T3" fmla="*/ 17 h 35"/>
                <a:gd name="T4" fmla="*/ 18 w 35"/>
                <a:gd name="T5" fmla="*/ 0 h 35"/>
                <a:gd name="T6" fmla="*/ 35 w 35"/>
                <a:gd name="T7" fmla="*/ 17 h 35"/>
                <a:gd name="T8" fmla="*/ 18 w 35"/>
                <a:gd name="T9" fmla="*/ 35 h 35"/>
                <a:gd name="T10" fmla="*/ 18 w 35"/>
                <a:gd name="T11" fmla="*/ 4 h 35"/>
                <a:gd name="T12" fmla="*/ 4 w 35"/>
                <a:gd name="T13" fmla="*/ 17 h 35"/>
                <a:gd name="T14" fmla="*/ 18 w 35"/>
                <a:gd name="T15" fmla="*/ 31 h 35"/>
                <a:gd name="T16" fmla="*/ 31 w 35"/>
                <a:gd name="T17" fmla="*/ 17 h 35"/>
                <a:gd name="T18" fmla="*/ 18 w 35"/>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35"/>
                  </a:moveTo>
                  <a:cubicBezTo>
                    <a:pt x="8" y="35"/>
                    <a:pt x="0" y="27"/>
                    <a:pt x="0" y="17"/>
                  </a:cubicBezTo>
                  <a:cubicBezTo>
                    <a:pt x="0" y="8"/>
                    <a:pt x="8" y="0"/>
                    <a:pt x="18" y="0"/>
                  </a:cubicBezTo>
                  <a:cubicBezTo>
                    <a:pt x="27" y="0"/>
                    <a:pt x="35" y="8"/>
                    <a:pt x="35" y="17"/>
                  </a:cubicBezTo>
                  <a:cubicBezTo>
                    <a:pt x="35" y="27"/>
                    <a:pt x="27" y="35"/>
                    <a:pt x="18" y="35"/>
                  </a:cubicBezTo>
                  <a:moveTo>
                    <a:pt x="18" y="4"/>
                  </a:moveTo>
                  <a:cubicBezTo>
                    <a:pt x="10" y="4"/>
                    <a:pt x="4" y="10"/>
                    <a:pt x="4" y="17"/>
                  </a:cubicBezTo>
                  <a:cubicBezTo>
                    <a:pt x="4" y="25"/>
                    <a:pt x="10" y="31"/>
                    <a:pt x="18" y="31"/>
                  </a:cubicBezTo>
                  <a:cubicBezTo>
                    <a:pt x="25" y="31"/>
                    <a:pt x="31" y="25"/>
                    <a:pt x="31" y="17"/>
                  </a:cubicBezTo>
                  <a:cubicBezTo>
                    <a:pt x="31" y="10"/>
                    <a:pt x="25" y="4"/>
                    <a:pt x="18"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9" name="Freeform 21368">
              <a:extLst>
                <a:ext uri="{FF2B5EF4-FFF2-40B4-BE49-F238E27FC236}">
                  <a16:creationId xmlns:a16="http://schemas.microsoft.com/office/drawing/2014/main" id="{0677301A-D290-453B-B561-B2492C779EB8}"/>
                </a:ext>
              </a:extLst>
            </p:cNvPr>
            <p:cNvSpPr>
              <a:spLocks noEditPoints="1"/>
            </p:cNvSpPr>
            <p:nvPr userDrawn="1"/>
          </p:nvSpPr>
          <p:spPr bwMode="auto">
            <a:xfrm>
              <a:off x="9418003" y="3447415"/>
              <a:ext cx="280988" cy="277813"/>
            </a:xfrm>
            <a:custGeom>
              <a:avLst/>
              <a:gdLst>
                <a:gd name="T0" fmla="*/ 100 w 139"/>
                <a:gd name="T1" fmla="*/ 25 h 138"/>
                <a:gd name="T2" fmla="*/ 97 w 139"/>
                <a:gd name="T3" fmla="*/ 6 h 138"/>
                <a:gd name="T4" fmla="*/ 80 w 139"/>
                <a:gd name="T5" fmla="*/ 16 h 138"/>
                <a:gd name="T6" fmla="*/ 70 w 139"/>
                <a:gd name="T7" fmla="*/ 0 h 138"/>
                <a:gd name="T8" fmla="*/ 59 w 139"/>
                <a:gd name="T9" fmla="*/ 16 h 138"/>
                <a:gd name="T10" fmla="*/ 44 w 139"/>
                <a:gd name="T11" fmla="*/ 5 h 138"/>
                <a:gd name="T12" fmla="*/ 39 w 139"/>
                <a:gd name="T13" fmla="*/ 25 h 138"/>
                <a:gd name="T14" fmla="*/ 21 w 139"/>
                <a:gd name="T15" fmla="*/ 20 h 138"/>
                <a:gd name="T16" fmla="*/ 25 w 139"/>
                <a:gd name="T17" fmla="*/ 38 h 138"/>
                <a:gd name="T18" fmla="*/ 6 w 139"/>
                <a:gd name="T19" fmla="*/ 41 h 138"/>
                <a:gd name="T20" fmla="*/ 17 w 139"/>
                <a:gd name="T21" fmla="*/ 56 h 138"/>
                <a:gd name="T22" fmla="*/ 0 w 139"/>
                <a:gd name="T23" fmla="*/ 67 h 138"/>
                <a:gd name="T24" fmla="*/ 16 w 139"/>
                <a:gd name="T25" fmla="*/ 78 h 138"/>
                <a:gd name="T26" fmla="*/ 5 w 139"/>
                <a:gd name="T27" fmla="*/ 94 h 138"/>
                <a:gd name="T28" fmla="*/ 24 w 139"/>
                <a:gd name="T29" fmla="*/ 97 h 138"/>
                <a:gd name="T30" fmla="*/ 20 w 139"/>
                <a:gd name="T31" fmla="*/ 117 h 138"/>
                <a:gd name="T32" fmla="*/ 38 w 139"/>
                <a:gd name="T33" fmla="*/ 113 h 138"/>
                <a:gd name="T34" fmla="*/ 42 w 139"/>
                <a:gd name="T35" fmla="*/ 132 h 138"/>
                <a:gd name="T36" fmla="*/ 58 w 139"/>
                <a:gd name="T37" fmla="*/ 121 h 138"/>
                <a:gd name="T38" fmla="*/ 69 w 139"/>
                <a:gd name="T39" fmla="*/ 138 h 138"/>
                <a:gd name="T40" fmla="*/ 79 w 139"/>
                <a:gd name="T41" fmla="*/ 122 h 138"/>
                <a:gd name="T42" fmla="*/ 96 w 139"/>
                <a:gd name="T43" fmla="*/ 133 h 138"/>
                <a:gd name="T44" fmla="*/ 99 w 139"/>
                <a:gd name="T45" fmla="*/ 114 h 138"/>
                <a:gd name="T46" fmla="*/ 118 w 139"/>
                <a:gd name="T47" fmla="*/ 118 h 138"/>
                <a:gd name="T48" fmla="*/ 114 w 139"/>
                <a:gd name="T49" fmla="*/ 100 h 138"/>
                <a:gd name="T50" fmla="*/ 132 w 139"/>
                <a:gd name="T51" fmla="*/ 98 h 138"/>
                <a:gd name="T52" fmla="*/ 122 w 139"/>
                <a:gd name="T53" fmla="*/ 81 h 138"/>
                <a:gd name="T54" fmla="*/ 138 w 139"/>
                <a:gd name="T55" fmla="*/ 71 h 138"/>
                <a:gd name="T56" fmla="*/ 122 w 139"/>
                <a:gd name="T57" fmla="*/ 59 h 138"/>
                <a:gd name="T58" fmla="*/ 134 w 139"/>
                <a:gd name="T59" fmla="*/ 45 h 138"/>
                <a:gd name="T60" fmla="*/ 114 w 139"/>
                <a:gd name="T61" fmla="*/ 40 h 138"/>
                <a:gd name="T62" fmla="*/ 119 w 139"/>
                <a:gd name="T63" fmla="*/ 22 h 138"/>
                <a:gd name="T64" fmla="*/ 99 w 139"/>
                <a:gd name="T65" fmla="*/ 99 h 138"/>
                <a:gd name="T66" fmla="*/ 39 w 139"/>
                <a:gd name="T67" fmla="*/ 39 h 138"/>
                <a:gd name="T68" fmla="*/ 99 w 139"/>
                <a:gd name="T69" fmla="*/ 9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138">
                  <a:moveTo>
                    <a:pt x="111" y="21"/>
                  </a:moveTo>
                  <a:cubicBezTo>
                    <a:pt x="107" y="24"/>
                    <a:pt x="102" y="26"/>
                    <a:pt x="100" y="25"/>
                  </a:cubicBezTo>
                  <a:cubicBezTo>
                    <a:pt x="98" y="22"/>
                    <a:pt x="99" y="17"/>
                    <a:pt x="100" y="13"/>
                  </a:cubicBezTo>
                  <a:cubicBezTo>
                    <a:pt x="102" y="8"/>
                    <a:pt x="99" y="7"/>
                    <a:pt x="97" y="6"/>
                  </a:cubicBezTo>
                  <a:cubicBezTo>
                    <a:pt x="95" y="5"/>
                    <a:pt x="93" y="4"/>
                    <a:pt x="89" y="9"/>
                  </a:cubicBezTo>
                  <a:cubicBezTo>
                    <a:pt x="87" y="13"/>
                    <a:pt x="83" y="17"/>
                    <a:pt x="80" y="16"/>
                  </a:cubicBezTo>
                  <a:cubicBezTo>
                    <a:pt x="78" y="15"/>
                    <a:pt x="77" y="10"/>
                    <a:pt x="76" y="6"/>
                  </a:cubicBezTo>
                  <a:cubicBezTo>
                    <a:pt x="75" y="0"/>
                    <a:pt x="73" y="0"/>
                    <a:pt x="70" y="0"/>
                  </a:cubicBezTo>
                  <a:cubicBezTo>
                    <a:pt x="68" y="0"/>
                    <a:pt x="65" y="0"/>
                    <a:pt x="65" y="5"/>
                  </a:cubicBezTo>
                  <a:cubicBezTo>
                    <a:pt x="64" y="10"/>
                    <a:pt x="61" y="16"/>
                    <a:pt x="59" y="16"/>
                  </a:cubicBezTo>
                  <a:cubicBezTo>
                    <a:pt x="56" y="15"/>
                    <a:pt x="53" y="12"/>
                    <a:pt x="51" y="8"/>
                  </a:cubicBezTo>
                  <a:cubicBezTo>
                    <a:pt x="48" y="3"/>
                    <a:pt x="46" y="4"/>
                    <a:pt x="44" y="5"/>
                  </a:cubicBezTo>
                  <a:cubicBezTo>
                    <a:pt x="42" y="6"/>
                    <a:pt x="39" y="6"/>
                    <a:pt x="40" y="12"/>
                  </a:cubicBezTo>
                  <a:cubicBezTo>
                    <a:pt x="41" y="17"/>
                    <a:pt x="41" y="23"/>
                    <a:pt x="39" y="25"/>
                  </a:cubicBezTo>
                  <a:cubicBezTo>
                    <a:pt x="37" y="25"/>
                    <a:pt x="32" y="22"/>
                    <a:pt x="29" y="20"/>
                  </a:cubicBezTo>
                  <a:cubicBezTo>
                    <a:pt x="24" y="16"/>
                    <a:pt x="23" y="18"/>
                    <a:pt x="21" y="20"/>
                  </a:cubicBezTo>
                  <a:cubicBezTo>
                    <a:pt x="19" y="21"/>
                    <a:pt x="17" y="23"/>
                    <a:pt x="21" y="28"/>
                  </a:cubicBezTo>
                  <a:cubicBezTo>
                    <a:pt x="23" y="31"/>
                    <a:pt x="25" y="35"/>
                    <a:pt x="25" y="38"/>
                  </a:cubicBezTo>
                  <a:cubicBezTo>
                    <a:pt x="22" y="39"/>
                    <a:pt x="17" y="39"/>
                    <a:pt x="14" y="38"/>
                  </a:cubicBezTo>
                  <a:cubicBezTo>
                    <a:pt x="8" y="36"/>
                    <a:pt x="7" y="39"/>
                    <a:pt x="6" y="41"/>
                  </a:cubicBezTo>
                  <a:cubicBezTo>
                    <a:pt x="5" y="43"/>
                    <a:pt x="4" y="45"/>
                    <a:pt x="9" y="48"/>
                  </a:cubicBezTo>
                  <a:cubicBezTo>
                    <a:pt x="13" y="51"/>
                    <a:pt x="16" y="54"/>
                    <a:pt x="17" y="56"/>
                  </a:cubicBezTo>
                  <a:cubicBezTo>
                    <a:pt x="16" y="59"/>
                    <a:pt x="11" y="61"/>
                    <a:pt x="6" y="62"/>
                  </a:cubicBezTo>
                  <a:cubicBezTo>
                    <a:pt x="0" y="63"/>
                    <a:pt x="0" y="65"/>
                    <a:pt x="0" y="67"/>
                  </a:cubicBezTo>
                  <a:cubicBezTo>
                    <a:pt x="0" y="70"/>
                    <a:pt x="0" y="72"/>
                    <a:pt x="6" y="73"/>
                  </a:cubicBezTo>
                  <a:cubicBezTo>
                    <a:pt x="10" y="74"/>
                    <a:pt x="15" y="76"/>
                    <a:pt x="16" y="78"/>
                  </a:cubicBezTo>
                  <a:cubicBezTo>
                    <a:pt x="16" y="80"/>
                    <a:pt x="12" y="84"/>
                    <a:pt x="8" y="87"/>
                  </a:cubicBezTo>
                  <a:cubicBezTo>
                    <a:pt x="3" y="90"/>
                    <a:pt x="4" y="92"/>
                    <a:pt x="5" y="94"/>
                  </a:cubicBezTo>
                  <a:cubicBezTo>
                    <a:pt x="6" y="96"/>
                    <a:pt x="7" y="99"/>
                    <a:pt x="12" y="97"/>
                  </a:cubicBezTo>
                  <a:cubicBezTo>
                    <a:pt x="16" y="96"/>
                    <a:pt x="21" y="96"/>
                    <a:pt x="24" y="97"/>
                  </a:cubicBezTo>
                  <a:cubicBezTo>
                    <a:pt x="25" y="100"/>
                    <a:pt x="23" y="105"/>
                    <a:pt x="20" y="109"/>
                  </a:cubicBezTo>
                  <a:cubicBezTo>
                    <a:pt x="16" y="114"/>
                    <a:pt x="18" y="115"/>
                    <a:pt x="20" y="117"/>
                  </a:cubicBezTo>
                  <a:cubicBezTo>
                    <a:pt x="21" y="119"/>
                    <a:pt x="23" y="121"/>
                    <a:pt x="28" y="117"/>
                  </a:cubicBezTo>
                  <a:cubicBezTo>
                    <a:pt x="31" y="115"/>
                    <a:pt x="36" y="113"/>
                    <a:pt x="38" y="113"/>
                  </a:cubicBezTo>
                  <a:cubicBezTo>
                    <a:pt x="40" y="115"/>
                    <a:pt x="40" y="120"/>
                    <a:pt x="39" y="125"/>
                  </a:cubicBezTo>
                  <a:cubicBezTo>
                    <a:pt x="38" y="131"/>
                    <a:pt x="40" y="132"/>
                    <a:pt x="42" y="132"/>
                  </a:cubicBezTo>
                  <a:cubicBezTo>
                    <a:pt x="44" y="133"/>
                    <a:pt x="47" y="135"/>
                    <a:pt x="50" y="129"/>
                  </a:cubicBezTo>
                  <a:cubicBezTo>
                    <a:pt x="52" y="126"/>
                    <a:pt x="55" y="122"/>
                    <a:pt x="58" y="121"/>
                  </a:cubicBezTo>
                  <a:cubicBezTo>
                    <a:pt x="60" y="122"/>
                    <a:pt x="62" y="128"/>
                    <a:pt x="63" y="132"/>
                  </a:cubicBezTo>
                  <a:cubicBezTo>
                    <a:pt x="64" y="138"/>
                    <a:pt x="67" y="138"/>
                    <a:pt x="69" y="138"/>
                  </a:cubicBezTo>
                  <a:cubicBezTo>
                    <a:pt x="71" y="138"/>
                    <a:pt x="74" y="138"/>
                    <a:pt x="75" y="132"/>
                  </a:cubicBezTo>
                  <a:cubicBezTo>
                    <a:pt x="75" y="128"/>
                    <a:pt x="77" y="123"/>
                    <a:pt x="79" y="122"/>
                  </a:cubicBezTo>
                  <a:cubicBezTo>
                    <a:pt x="81" y="122"/>
                    <a:pt x="86" y="126"/>
                    <a:pt x="88" y="130"/>
                  </a:cubicBezTo>
                  <a:cubicBezTo>
                    <a:pt x="91" y="135"/>
                    <a:pt x="94" y="134"/>
                    <a:pt x="96" y="133"/>
                  </a:cubicBezTo>
                  <a:cubicBezTo>
                    <a:pt x="98" y="132"/>
                    <a:pt x="100" y="131"/>
                    <a:pt x="99" y="125"/>
                  </a:cubicBezTo>
                  <a:cubicBezTo>
                    <a:pt x="98" y="121"/>
                    <a:pt x="97" y="116"/>
                    <a:pt x="99" y="114"/>
                  </a:cubicBezTo>
                  <a:cubicBezTo>
                    <a:pt x="101" y="113"/>
                    <a:pt x="106" y="115"/>
                    <a:pt x="110" y="118"/>
                  </a:cubicBezTo>
                  <a:cubicBezTo>
                    <a:pt x="115" y="121"/>
                    <a:pt x="117" y="119"/>
                    <a:pt x="118" y="118"/>
                  </a:cubicBezTo>
                  <a:cubicBezTo>
                    <a:pt x="120" y="116"/>
                    <a:pt x="122" y="114"/>
                    <a:pt x="118" y="110"/>
                  </a:cubicBezTo>
                  <a:cubicBezTo>
                    <a:pt x="116" y="107"/>
                    <a:pt x="114" y="102"/>
                    <a:pt x="114" y="100"/>
                  </a:cubicBezTo>
                  <a:cubicBezTo>
                    <a:pt x="116" y="99"/>
                    <a:pt x="121" y="100"/>
                    <a:pt x="124" y="101"/>
                  </a:cubicBezTo>
                  <a:cubicBezTo>
                    <a:pt x="130" y="102"/>
                    <a:pt x="131" y="100"/>
                    <a:pt x="132" y="98"/>
                  </a:cubicBezTo>
                  <a:cubicBezTo>
                    <a:pt x="133" y="96"/>
                    <a:pt x="134" y="94"/>
                    <a:pt x="129" y="90"/>
                  </a:cubicBezTo>
                  <a:cubicBezTo>
                    <a:pt x="125" y="88"/>
                    <a:pt x="122" y="83"/>
                    <a:pt x="122" y="81"/>
                  </a:cubicBezTo>
                  <a:cubicBezTo>
                    <a:pt x="123" y="79"/>
                    <a:pt x="128" y="77"/>
                    <a:pt x="132" y="77"/>
                  </a:cubicBezTo>
                  <a:cubicBezTo>
                    <a:pt x="138" y="76"/>
                    <a:pt x="138" y="74"/>
                    <a:pt x="138" y="71"/>
                  </a:cubicBezTo>
                  <a:cubicBezTo>
                    <a:pt x="138" y="69"/>
                    <a:pt x="139" y="66"/>
                    <a:pt x="133" y="65"/>
                  </a:cubicBezTo>
                  <a:cubicBezTo>
                    <a:pt x="128" y="64"/>
                    <a:pt x="123" y="62"/>
                    <a:pt x="122" y="59"/>
                  </a:cubicBezTo>
                  <a:cubicBezTo>
                    <a:pt x="123" y="57"/>
                    <a:pt x="127" y="54"/>
                    <a:pt x="130" y="52"/>
                  </a:cubicBezTo>
                  <a:cubicBezTo>
                    <a:pt x="136" y="49"/>
                    <a:pt x="134" y="47"/>
                    <a:pt x="134" y="45"/>
                  </a:cubicBezTo>
                  <a:cubicBezTo>
                    <a:pt x="133" y="42"/>
                    <a:pt x="132" y="40"/>
                    <a:pt x="127" y="41"/>
                  </a:cubicBezTo>
                  <a:cubicBezTo>
                    <a:pt x="122" y="42"/>
                    <a:pt x="116" y="42"/>
                    <a:pt x="114" y="40"/>
                  </a:cubicBezTo>
                  <a:cubicBezTo>
                    <a:pt x="114" y="37"/>
                    <a:pt x="116" y="33"/>
                    <a:pt x="119" y="29"/>
                  </a:cubicBezTo>
                  <a:cubicBezTo>
                    <a:pt x="123" y="25"/>
                    <a:pt x="121" y="23"/>
                    <a:pt x="119" y="22"/>
                  </a:cubicBezTo>
                  <a:cubicBezTo>
                    <a:pt x="118" y="20"/>
                    <a:pt x="116" y="18"/>
                    <a:pt x="111" y="21"/>
                  </a:cubicBezTo>
                  <a:moveTo>
                    <a:pt x="99" y="99"/>
                  </a:moveTo>
                  <a:cubicBezTo>
                    <a:pt x="83" y="116"/>
                    <a:pt x="56" y="116"/>
                    <a:pt x="39" y="99"/>
                  </a:cubicBezTo>
                  <a:cubicBezTo>
                    <a:pt x="22" y="82"/>
                    <a:pt x="22" y="55"/>
                    <a:pt x="39" y="39"/>
                  </a:cubicBezTo>
                  <a:cubicBezTo>
                    <a:pt x="56" y="22"/>
                    <a:pt x="83" y="22"/>
                    <a:pt x="99" y="39"/>
                  </a:cubicBezTo>
                  <a:cubicBezTo>
                    <a:pt x="116" y="56"/>
                    <a:pt x="116" y="83"/>
                    <a:pt x="99" y="99"/>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0" name="Freeform 21369">
              <a:extLst>
                <a:ext uri="{FF2B5EF4-FFF2-40B4-BE49-F238E27FC236}">
                  <a16:creationId xmlns:a16="http://schemas.microsoft.com/office/drawing/2014/main" id="{B03EEFE0-DC37-42EE-A1AB-4AD2387DBB7D}"/>
                </a:ext>
              </a:extLst>
            </p:cNvPr>
            <p:cNvSpPr>
              <a:spLocks noEditPoints="1"/>
            </p:cNvSpPr>
            <p:nvPr userDrawn="1"/>
          </p:nvSpPr>
          <p:spPr bwMode="auto">
            <a:xfrm>
              <a:off x="9503728" y="3531553"/>
              <a:ext cx="111125" cy="109538"/>
            </a:xfrm>
            <a:custGeom>
              <a:avLst/>
              <a:gdLst>
                <a:gd name="T0" fmla="*/ 10 w 55"/>
                <a:gd name="T1" fmla="*/ 9 h 54"/>
                <a:gd name="T2" fmla="*/ 10 w 55"/>
                <a:gd name="T3" fmla="*/ 45 h 54"/>
                <a:gd name="T4" fmla="*/ 45 w 55"/>
                <a:gd name="T5" fmla="*/ 45 h 54"/>
                <a:gd name="T6" fmla="*/ 45 w 55"/>
                <a:gd name="T7" fmla="*/ 9 h 54"/>
                <a:gd name="T8" fmla="*/ 10 w 55"/>
                <a:gd name="T9" fmla="*/ 9 h 54"/>
                <a:gd name="T10" fmla="*/ 38 w 55"/>
                <a:gd name="T11" fmla="*/ 38 h 54"/>
                <a:gd name="T12" fmla="*/ 16 w 55"/>
                <a:gd name="T13" fmla="*/ 38 h 54"/>
                <a:gd name="T14" fmla="*/ 16 w 55"/>
                <a:gd name="T15" fmla="*/ 16 h 54"/>
                <a:gd name="T16" fmla="*/ 38 w 55"/>
                <a:gd name="T17" fmla="*/ 16 h 54"/>
                <a:gd name="T18" fmla="*/ 38 w 55"/>
                <a:gd name="T19"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10" y="9"/>
                  </a:moveTo>
                  <a:cubicBezTo>
                    <a:pt x="0" y="19"/>
                    <a:pt x="0" y="35"/>
                    <a:pt x="10" y="45"/>
                  </a:cubicBezTo>
                  <a:cubicBezTo>
                    <a:pt x="19" y="54"/>
                    <a:pt x="35" y="54"/>
                    <a:pt x="45" y="45"/>
                  </a:cubicBezTo>
                  <a:cubicBezTo>
                    <a:pt x="55" y="35"/>
                    <a:pt x="55" y="19"/>
                    <a:pt x="45" y="9"/>
                  </a:cubicBezTo>
                  <a:cubicBezTo>
                    <a:pt x="35" y="0"/>
                    <a:pt x="19" y="0"/>
                    <a:pt x="10" y="9"/>
                  </a:cubicBezTo>
                  <a:moveTo>
                    <a:pt x="38" y="38"/>
                  </a:moveTo>
                  <a:cubicBezTo>
                    <a:pt x="32" y="44"/>
                    <a:pt x="22" y="44"/>
                    <a:pt x="16" y="38"/>
                  </a:cubicBezTo>
                  <a:cubicBezTo>
                    <a:pt x="10" y="32"/>
                    <a:pt x="10" y="22"/>
                    <a:pt x="16" y="16"/>
                  </a:cubicBezTo>
                  <a:cubicBezTo>
                    <a:pt x="22" y="10"/>
                    <a:pt x="32" y="10"/>
                    <a:pt x="38" y="16"/>
                  </a:cubicBezTo>
                  <a:cubicBezTo>
                    <a:pt x="44" y="22"/>
                    <a:pt x="44" y="32"/>
                    <a:pt x="38" y="38"/>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1" name="Freeform 21370">
              <a:extLst>
                <a:ext uri="{FF2B5EF4-FFF2-40B4-BE49-F238E27FC236}">
                  <a16:creationId xmlns:a16="http://schemas.microsoft.com/office/drawing/2014/main" id="{4DEF15A5-1A85-4D06-8169-29497846E6F6}"/>
                </a:ext>
              </a:extLst>
            </p:cNvPr>
            <p:cNvSpPr>
              <a:spLocks noEditPoints="1"/>
            </p:cNvSpPr>
            <p:nvPr userDrawn="1"/>
          </p:nvSpPr>
          <p:spPr bwMode="auto">
            <a:xfrm>
              <a:off x="9497378" y="4179253"/>
              <a:ext cx="387350" cy="387350"/>
            </a:xfrm>
            <a:custGeom>
              <a:avLst/>
              <a:gdLst>
                <a:gd name="T0" fmla="*/ 138 w 192"/>
                <a:gd name="T1" fmla="*/ 34 h 192"/>
                <a:gd name="T2" fmla="*/ 134 w 192"/>
                <a:gd name="T3" fmla="*/ 8 h 192"/>
                <a:gd name="T4" fmla="*/ 111 w 192"/>
                <a:gd name="T5" fmla="*/ 23 h 192"/>
                <a:gd name="T6" fmla="*/ 97 w 192"/>
                <a:gd name="T7" fmla="*/ 0 h 192"/>
                <a:gd name="T8" fmla="*/ 81 w 192"/>
                <a:gd name="T9" fmla="*/ 23 h 192"/>
                <a:gd name="T10" fmla="*/ 61 w 192"/>
                <a:gd name="T11" fmla="*/ 7 h 192"/>
                <a:gd name="T12" fmla="*/ 55 w 192"/>
                <a:gd name="T13" fmla="*/ 34 h 192"/>
                <a:gd name="T14" fmla="*/ 29 w 192"/>
                <a:gd name="T15" fmla="*/ 28 h 192"/>
                <a:gd name="T16" fmla="*/ 34 w 192"/>
                <a:gd name="T17" fmla="*/ 53 h 192"/>
                <a:gd name="T18" fmla="*/ 9 w 192"/>
                <a:gd name="T19" fmla="*/ 57 h 192"/>
                <a:gd name="T20" fmla="*/ 24 w 192"/>
                <a:gd name="T21" fmla="*/ 78 h 192"/>
                <a:gd name="T22" fmla="*/ 1 w 192"/>
                <a:gd name="T23" fmla="*/ 93 h 192"/>
                <a:gd name="T24" fmla="*/ 23 w 192"/>
                <a:gd name="T25" fmla="*/ 108 h 192"/>
                <a:gd name="T26" fmla="*/ 7 w 192"/>
                <a:gd name="T27" fmla="*/ 130 h 192"/>
                <a:gd name="T28" fmla="*/ 33 w 192"/>
                <a:gd name="T29" fmla="*/ 135 h 192"/>
                <a:gd name="T30" fmla="*/ 28 w 192"/>
                <a:gd name="T31" fmla="*/ 162 h 192"/>
                <a:gd name="T32" fmla="*/ 53 w 192"/>
                <a:gd name="T33" fmla="*/ 156 h 192"/>
                <a:gd name="T34" fmla="*/ 59 w 192"/>
                <a:gd name="T35" fmla="*/ 183 h 192"/>
                <a:gd name="T36" fmla="*/ 80 w 192"/>
                <a:gd name="T37" fmla="*/ 168 h 192"/>
                <a:gd name="T38" fmla="*/ 95 w 192"/>
                <a:gd name="T39" fmla="*/ 191 h 192"/>
                <a:gd name="T40" fmla="*/ 109 w 192"/>
                <a:gd name="T41" fmla="*/ 169 h 192"/>
                <a:gd name="T42" fmla="*/ 132 w 192"/>
                <a:gd name="T43" fmla="*/ 184 h 192"/>
                <a:gd name="T44" fmla="*/ 136 w 192"/>
                <a:gd name="T45" fmla="*/ 158 h 192"/>
                <a:gd name="T46" fmla="*/ 164 w 192"/>
                <a:gd name="T47" fmla="*/ 163 h 192"/>
                <a:gd name="T48" fmla="*/ 157 w 192"/>
                <a:gd name="T49" fmla="*/ 138 h 192"/>
                <a:gd name="T50" fmla="*/ 183 w 192"/>
                <a:gd name="T51" fmla="*/ 135 h 192"/>
                <a:gd name="T52" fmla="*/ 168 w 192"/>
                <a:gd name="T53" fmla="*/ 112 h 192"/>
                <a:gd name="T54" fmla="*/ 191 w 192"/>
                <a:gd name="T55" fmla="*/ 99 h 192"/>
                <a:gd name="T56" fmla="*/ 169 w 192"/>
                <a:gd name="T57" fmla="*/ 83 h 192"/>
                <a:gd name="T58" fmla="*/ 185 w 192"/>
                <a:gd name="T59" fmla="*/ 62 h 192"/>
                <a:gd name="T60" fmla="*/ 158 w 192"/>
                <a:gd name="T61" fmla="*/ 55 h 192"/>
                <a:gd name="T62" fmla="*/ 165 w 192"/>
                <a:gd name="T63" fmla="*/ 30 h 192"/>
                <a:gd name="T64" fmla="*/ 138 w 192"/>
                <a:gd name="T65" fmla="*/ 137 h 192"/>
                <a:gd name="T66" fmla="*/ 54 w 192"/>
                <a:gd name="T67" fmla="*/ 54 h 192"/>
                <a:gd name="T68" fmla="*/ 138 w 192"/>
                <a:gd name="T69" fmla="*/ 13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92">
                  <a:moveTo>
                    <a:pt x="154" y="29"/>
                  </a:moveTo>
                  <a:cubicBezTo>
                    <a:pt x="149" y="33"/>
                    <a:pt x="141" y="36"/>
                    <a:pt x="138" y="34"/>
                  </a:cubicBezTo>
                  <a:cubicBezTo>
                    <a:pt x="136" y="31"/>
                    <a:pt x="137" y="24"/>
                    <a:pt x="138" y="19"/>
                  </a:cubicBezTo>
                  <a:cubicBezTo>
                    <a:pt x="141" y="11"/>
                    <a:pt x="137" y="10"/>
                    <a:pt x="134" y="8"/>
                  </a:cubicBezTo>
                  <a:cubicBezTo>
                    <a:pt x="131" y="7"/>
                    <a:pt x="128" y="5"/>
                    <a:pt x="124" y="12"/>
                  </a:cubicBezTo>
                  <a:cubicBezTo>
                    <a:pt x="120" y="18"/>
                    <a:pt x="114" y="23"/>
                    <a:pt x="111" y="23"/>
                  </a:cubicBezTo>
                  <a:cubicBezTo>
                    <a:pt x="108" y="21"/>
                    <a:pt x="106" y="14"/>
                    <a:pt x="105" y="8"/>
                  </a:cubicBezTo>
                  <a:cubicBezTo>
                    <a:pt x="104" y="0"/>
                    <a:pt x="101" y="0"/>
                    <a:pt x="97" y="0"/>
                  </a:cubicBezTo>
                  <a:cubicBezTo>
                    <a:pt x="94" y="0"/>
                    <a:pt x="91" y="0"/>
                    <a:pt x="89" y="8"/>
                  </a:cubicBezTo>
                  <a:cubicBezTo>
                    <a:pt x="88" y="14"/>
                    <a:pt x="85" y="22"/>
                    <a:pt x="81" y="23"/>
                  </a:cubicBezTo>
                  <a:cubicBezTo>
                    <a:pt x="78" y="22"/>
                    <a:pt x="74" y="16"/>
                    <a:pt x="71" y="11"/>
                  </a:cubicBezTo>
                  <a:cubicBezTo>
                    <a:pt x="67" y="4"/>
                    <a:pt x="63" y="6"/>
                    <a:pt x="61" y="7"/>
                  </a:cubicBezTo>
                  <a:cubicBezTo>
                    <a:pt x="58" y="8"/>
                    <a:pt x="54" y="9"/>
                    <a:pt x="56" y="17"/>
                  </a:cubicBezTo>
                  <a:cubicBezTo>
                    <a:pt x="57" y="24"/>
                    <a:pt x="57" y="32"/>
                    <a:pt x="55" y="34"/>
                  </a:cubicBezTo>
                  <a:cubicBezTo>
                    <a:pt x="51" y="34"/>
                    <a:pt x="45" y="31"/>
                    <a:pt x="40" y="28"/>
                  </a:cubicBezTo>
                  <a:cubicBezTo>
                    <a:pt x="34" y="23"/>
                    <a:pt x="31" y="26"/>
                    <a:pt x="29" y="28"/>
                  </a:cubicBezTo>
                  <a:cubicBezTo>
                    <a:pt x="27" y="30"/>
                    <a:pt x="24" y="32"/>
                    <a:pt x="29" y="39"/>
                  </a:cubicBezTo>
                  <a:cubicBezTo>
                    <a:pt x="32" y="43"/>
                    <a:pt x="34" y="49"/>
                    <a:pt x="34" y="53"/>
                  </a:cubicBezTo>
                  <a:cubicBezTo>
                    <a:pt x="31" y="54"/>
                    <a:pt x="24" y="54"/>
                    <a:pt x="19" y="53"/>
                  </a:cubicBezTo>
                  <a:cubicBezTo>
                    <a:pt x="11" y="50"/>
                    <a:pt x="10" y="54"/>
                    <a:pt x="9" y="57"/>
                  </a:cubicBezTo>
                  <a:cubicBezTo>
                    <a:pt x="8" y="60"/>
                    <a:pt x="6" y="63"/>
                    <a:pt x="13" y="67"/>
                  </a:cubicBezTo>
                  <a:cubicBezTo>
                    <a:pt x="18" y="70"/>
                    <a:pt x="23" y="75"/>
                    <a:pt x="24" y="78"/>
                  </a:cubicBezTo>
                  <a:cubicBezTo>
                    <a:pt x="23" y="82"/>
                    <a:pt x="15" y="85"/>
                    <a:pt x="8" y="86"/>
                  </a:cubicBezTo>
                  <a:cubicBezTo>
                    <a:pt x="0" y="87"/>
                    <a:pt x="1" y="90"/>
                    <a:pt x="1" y="93"/>
                  </a:cubicBezTo>
                  <a:cubicBezTo>
                    <a:pt x="1" y="97"/>
                    <a:pt x="0" y="100"/>
                    <a:pt x="8" y="101"/>
                  </a:cubicBezTo>
                  <a:cubicBezTo>
                    <a:pt x="14" y="102"/>
                    <a:pt x="20" y="105"/>
                    <a:pt x="23" y="108"/>
                  </a:cubicBezTo>
                  <a:cubicBezTo>
                    <a:pt x="23" y="111"/>
                    <a:pt x="17" y="117"/>
                    <a:pt x="11" y="120"/>
                  </a:cubicBezTo>
                  <a:cubicBezTo>
                    <a:pt x="4" y="124"/>
                    <a:pt x="6" y="128"/>
                    <a:pt x="7" y="130"/>
                  </a:cubicBezTo>
                  <a:cubicBezTo>
                    <a:pt x="8" y="133"/>
                    <a:pt x="9" y="137"/>
                    <a:pt x="17" y="135"/>
                  </a:cubicBezTo>
                  <a:cubicBezTo>
                    <a:pt x="23" y="134"/>
                    <a:pt x="30" y="133"/>
                    <a:pt x="33" y="135"/>
                  </a:cubicBezTo>
                  <a:cubicBezTo>
                    <a:pt x="34" y="138"/>
                    <a:pt x="31" y="146"/>
                    <a:pt x="27" y="151"/>
                  </a:cubicBezTo>
                  <a:cubicBezTo>
                    <a:pt x="22" y="158"/>
                    <a:pt x="25" y="160"/>
                    <a:pt x="28" y="162"/>
                  </a:cubicBezTo>
                  <a:cubicBezTo>
                    <a:pt x="30" y="164"/>
                    <a:pt x="32" y="167"/>
                    <a:pt x="39" y="162"/>
                  </a:cubicBezTo>
                  <a:cubicBezTo>
                    <a:pt x="43" y="159"/>
                    <a:pt x="50" y="156"/>
                    <a:pt x="53" y="156"/>
                  </a:cubicBezTo>
                  <a:cubicBezTo>
                    <a:pt x="56" y="159"/>
                    <a:pt x="56" y="167"/>
                    <a:pt x="54" y="173"/>
                  </a:cubicBezTo>
                  <a:cubicBezTo>
                    <a:pt x="52" y="181"/>
                    <a:pt x="56" y="182"/>
                    <a:pt x="59" y="183"/>
                  </a:cubicBezTo>
                  <a:cubicBezTo>
                    <a:pt x="61" y="185"/>
                    <a:pt x="65" y="186"/>
                    <a:pt x="69" y="179"/>
                  </a:cubicBezTo>
                  <a:cubicBezTo>
                    <a:pt x="72" y="174"/>
                    <a:pt x="77" y="169"/>
                    <a:pt x="80" y="168"/>
                  </a:cubicBezTo>
                  <a:cubicBezTo>
                    <a:pt x="83" y="169"/>
                    <a:pt x="86" y="177"/>
                    <a:pt x="88" y="183"/>
                  </a:cubicBezTo>
                  <a:cubicBezTo>
                    <a:pt x="89" y="192"/>
                    <a:pt x="92" y="191"/>
                    <a:pt x="95" y="191"/>
                  </a:cubicBezTo>
                  <a:cubicBezTo>
                    <a:pt x="99" y="191"/>
                    <a:pt x="102" y="191"/>
                    <a:pt x="103" y="183"/>
                  </a:cubicBezTo>
                  <a:cubicBezTo>
                    <a:pt x="104" y="178"/>
                    <a:pt x="107" y="171"/>
                    <a:pt x="109" y="169"/>
                  </a:cubicBezTo>
                  <a:cubicBezTo>
                    <a:pt x="113" y="169"/>
                    <a:pt x="119" y="174"/>
                    <a:pt x="122" y="180"/>
                  </a:cubicBezTo>
                  <a:cubicBezTo>
                    <a:pt x="126" y="187"/>
                    <a:pt x="130" y="185"/>
                    <a:pt x="132" y="184"/>
                  </a:cubicBezTo>
                  <a:cubicBezTo>
                    <a:pt x="135" y="183"/>
                    <a:pt x="139" y="182"/>
                    <a:pt x="137" y="174"/>
                  </a:cubicBezTo>
                  <a:cubicBezTo>
                    <a:pt x="135" y="168"/>
                    <a:pt x="135" y="161"/>
                    <a:pt x="136" y="158"/>
                  </a:cubicBezTo>
                  <a:cubicBezTo>
                    <a:pt x="140" y="156"/>
                    <a:pt x="147" y="159"/>
                    <a:pt x="153" y="163"/>
                  </a:cubicBezTo>
                  <a:cubicBezTo>
                    <a:pt x="159" y="168"/>
                    <a:pt x="161" y="165"/>
                    <a:pt x="164" y="163"/>
                  </a:cubicBezTo>
                  <a:cubicBezTo>
                    <a:pt x="166" y="161"/>
                    <a:pt x="169" y="158"/>
                    <a:pt x="164" y="152"/>
                  </a:cubicBezTo>
                  <a:cubicBezTo>
                    <a:pt x="160" y="148"/>
                    <a:pt x="158" y="142"/>
                    <a:pt x="157" y="138"/>
                  </a:cubicBezTo>
                  <a:cubicBezTo>
                    <a:pt x="161" y="137"/>
                    <a:pt x="167" y="138"/>
                    <a:pt x="172" y="139"/>
                  </a:cubicBezTo>
                  <a:cubicBezTo>
                    <a:pt x="180" y="142"/>
                    <a:pt x="181" y="138"/>
                    <a:pt x="183" y="135"/>
                  </a:cubicBezTo>
                  <a:cubicBezTo>
                    <a:pt x="184" y="133"/>
                    <a:pt x="186" y="130"/>
                    <a:pt x="179" y="125"/>
                  </a:cubicBezTo>
                  <a:cubicBezTo>
                    <a:pt x="174" y="121"/>
                    <a:pt x="168" y="115"/>
                    <a:pt x="168" y="112"/>
                  </a:cubicBezTo>
                  <a:cubicBezTo>
                    <a:pt x="171" y="109"/>
                    <a:pt x="177" y="107"/>
                    <a:pt x="183" y="106"/>
                  </a:cubicBezTo>
                  <a:cubicBezTo>
                    <a:pt x="191" y="106"/>
                    <a:pt x="191" y="102"/>
                    <a:pt x="191" y="99"/>
                  </a:cubicBezTo>
                  <a:cubicBezTo>
                    <a:pt x="191" y="96"/>
                    <a:pt x="192" y="92"/>
                    <a:pt x="184" y="91"/>
                  </a:cubicBezTo>
                  <a:cubicBezTo>
                    <a:pt x="177" y="89"/>
                    <a:pt x="170" y="86"/>
                    <a:pt x="169" y="83"/>
                  </a:cubicBezTo>
                  <a:cubicBezTo>
                    <a:pt x="170" y="79"/>
                    <a:pt x="176" y="75"/>
                    <a:pt x="181" y="72"/>
                  </a:cubicBezTo>
                  <a:cubicBezTo>
                    <a:pt x="188" y="68"/>
                    <a:pt x="186" y="65"/>
                    <a:pt x="185" y="62"/>
                  </a:cubicBezTo>
                  <a:cubicBezTo>
                    <a:pt x="184" y="59"/>
                    <a:pt x="183" y="55"/>
                    <a:pt x="175" y="57"/>
                  </a:cubicBezTo>
                  <a:cubicBezTo>
                    <a:pt x="169" y="58"/>
                    <a:pt x="161" y="58"/>
                    <a:pt x="158" y="55"/>
                  </a:cubicBezTo>
                  <a:cubicBezTo>
                    <a:pt x="158" y="52"/>
                    <a:pt x="161" y="46"/>
                    <a:pt x="165" y="41"/>
                  </a:cubicBezTo>
                  <a:cubicBezTo>
                    <a:pt x="170" y="35"/>
                    <a:pt x="167" y="32"/>
                    <a:pt x="165" y="30"/>
                  </a:cubicBezTo>
                  <a:cubicBezTo>
                    <a:pt x="163" y="28"/>
                    <a:pt x="161" y="25"/>
                    <a:pt x="154" y="29"/>
                  </a:cubicBezTo>
                  <a:moveTo>
                    <a:pt x="138" y="137"/>
                  </a:moveTo>
                  <a:cubicBezTo>
                    <a:pt x="115" y="160"/>
                    <a:pt x="77" y="160"/>
                    <a:pt x="54" y="137"/>
                  </a:cubicBezTo>
                  <a:cubicBezTo>
                    <a:pt x="31" y="114"/>
                    <a:pt x="31" y="77"/>
                    <a:pt x="54" y="54"/>
                  </a:cubicBezTo>
                  <a:cubicBezTo>
                    <a:pt x="77" y="31"/>
                    <a:pt x="115" y="31"/>
                    <a:pt x="138" y="54"/>
                  </a:cubicBezTo>
                  <a:cubicBezTo>
                    <a:pt x="161" y="77"/>
                    <a:pt x="161" y="114"/>
                    <a:pt x="138" y="13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2" name="Freeform 21371">
              <a:extLst>
                <a:ext uri="{FF2B5EF4-FFF2-40B4-BE49-F238E27FC236}">
                  <a16:creationId xmlns:a16="http://schemas.microsoft.com/office/drawing/2014/main" id="{78474D9A-EC9A-4BF0-82B6-32C23E986ECA}"/>
                </a:ext>
              </a:extLst>
            </p:cNvPr>
            <p:cNvSpPr>
              <a:spLocks noEditPoints="1"/>
            </p:cNvSpPr>
            <p:nvPr userDrawn="1"/>
          </p:nvSpPr>
          <p:spPr bwMode="auto">
            <a:xfrm>
              <a:off x="9614853" y="4295140"/>
              <a:ext cx="153988" cy="152400"/>
            </a:xfrm>
            <a:custGeom>
              <a:avLst/>
              <a:gdLst>
                <a:gd name="T0" fmla="*/ 14 w 76"/>
                <a:gd name="T1" fmla="*/ 13 h 75"/>
                <a:gd name="T2" fmla="*/ 14 w 76"/>
                <a:gd name="T3" fmla="*/ 62 h 75"/>
                <a:gd name="T4" fmla="*/ 62 w 76"/>
                <a:gd name="T5" fmla="*/ 62 h 75"/>
                <a:gd name="T6" fmla="*/ 62 w 76"/>
                <a:gd name="T7" fmla="*/ 13 h 75"/>
                <a:gd name="T8" fmla="*/ 14 w 76"/>
                <a:gd name="T9" fmla="*/ 13 h 75"/>
                <a:gd name="T10" fmla="*/ 53 w 76"/>
                <a:gd name="T11" fmla="*/ 53 h 75"/>
                <a:gd name="T12" fmla="*/ 23 w 76"/>
                <a:gd name="T13" fmla="*/ 53 h 75"/>
                <a:gd name="T14" fmla="*/ 23 w 76"/>
                <a:gd name="T15" fmla="*/ 22 h 75"/>
                <a:gd name="T16" fmla="*/ 53 w 76"/>
                <a:gd name="T17" fmla="*/ 23 h 75"/>
                <a:gd name="T18" fmla="*/ 53 w 76"/>
                <a:gd name="T19"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5">
                  <a:moveTo>
                    <a:pt x="14" y="13"/>
                  </a:moveTo>
                  <a:cubicBezTo>
                    <a:pt x="0" y="27"/>
                    <a:pt x="0" y="48"/>
                    <a:pt x="14" y="62"/>
                  </a:cubicBezTo>
                  <a:cubicBezTo>
                    <a:pt x="27" y="75"/>
                    <a:pt x="49" y="75"/>
                    <a:pt x="62" y="62"/>
                  </a:cubicBezTo>
                  <a:cubicBezTo>
                    <a:pt x="76" y="49"/>
                    <a:pt x="76" y="27"/>
                    <a:pt x="62" y="13"/>
                  </a:cubicBezTo>
                  <a:cubicBezTo>
                    <a:pt x="49" y="0"/>
                    <a:pt x="27" y="0"/>
                    <a:pt x="14" y="13"/>
                  </a:cubicBezTo>
                  <a:moveTo>
                    <a:pt x="53" y="53"/>
                  </a:moveTo>
                  <a:cubicBezTo>
                    <a:pt x="45" y="61"/>
                    <a:pt x="31" y="61"/>
                    <a:pt x="23" y="53"/>
                  </a:cubicBezTo>
                  <a:cubicBezTo>
                    <a:pt x="14" y="44"/>
                    <a:pt x="15" y="31"/>
                    <a:pt x="23" y="22"/>
                  </a:cubicBezTo>
                  <a:cubicBezTo>
                    <a:pt x="31" y="14"/>
                    <a:pt x="45" y="14"/>
                    <a:pt x="53" y="23"/>
                  </a:cubicBezTo>
                  <a:cubicBezTo>
                    <a:pt x="61" y="31"/>
                    <a:pt x="61" y="44"/>
                    <a:pt x="53" y="5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3" name="Freeform 21372">
              <a:extLst>
                <a:ext uri="{FF2B5EF4-FFF2-40B4-BE49-F238E27FC236}">
                  <a16:creationId xmlns:a16="http://schemas.microsoft.com/office/drawing/2014/main" id="{AE6EA6A4-6A43-47CC-8DE6-77A6A1FDD341}"/>
                </a:ext>
              </a:extLst>
            </p:cNvPr>
            <p:cNvSpPr>
              <a:spLocks noEditPoints="1"/>
            </p:cNvSpPr>
            <p:nvPr userDrawn="1"/>
          </p:nvSpPr>
          <p:spPr bwMode="auto">
            <a:xfrm>
              <a:off x="8763953" y="3225165"/>
              <a:ext cx="377825" cy="377825"/>
            </a:xfrm>
            <a:custGeom>
              <a:avLst/>
              <a:gdLst>
                <a:gd name="T0" fmla="*/ 45 w 187"/>
                <a:gd name="T1" fmla="*/ 27 h 187"/>
                <a:gd name="T2" fmla="*/ 27 w 187"/>
                <a:gd name="T3" fmla="*/ 142 h 187"/>
                <a:gd name="T4" fmla="*/ 142 w 187"/>
                <a:gd name="T5" fmla="*/ 160 h 187"/>
                <a:gd name="T6" fmla="*/ 160 w 187"/>
                <a:gd name="T7" fmla="*/ 45 h 187"/>
                <a:gd name="T8" fmla="*/ 45 w 187"/>
                <a:gd name="T9" fmla="*/ 27 h 187"/>
                <a:gd name="T10" fmla="*/ 111 w 187"/>
                <a:gd name="T11" fmla="*/ 117 h 187"/>
                <a:gd name="T12" fmla="*/ 69 w 187"/>
                <a:gd name="T13" fmla="*/ 111 h 187"/>
                <a:gd name="T14" fmla="*/ 76 w 187"/>
                <a:gd name="T15" fmla="*/ 69 h 187"/>
                <a:gd name="T16" fmla="*/ 118 w 187"/>
                <a:gd name="T17" fmla="*/ 76 h 187"/>
                <a:gd name="T18" fmla="*/ 111 w 187"/>
                <a:gd name="T19" fmla="*/ 1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45" y="27"/>
                  </a:moveTo>
                  <a:cubicBezTo>
                    <a:pt x="8" y="54"/>
                    <a:pt x="0" y="105"/>
                    <a:pt x="27" y="142"/>
                  </a:cubicBezTo>
                  <a:cubicBezTo>
                    <a:pt x="54" y="179"/>
                    <a:pt x="105" y="187"/>
                    <a:pt x="142" y="160"/>
                  </a:cubicBezTo>
                  <a:cubicBezTo>
                    <a:pt x="179" y="133"/>
                    <a:pt x="187" y="82"/>
                    <a:pt x="160" y="45"/>
                  </a:cubicBezTo>
                  <a:cubicBezTo>
                    <a:pt x="133" y="8"/>
                    <a:pt x="82" y="0"/>
                    <a:pt x="45" y="27"/>
                  </a:cubicBezTo>
                  <a:moveTo>
                    <a:pt x="111" y="117"/>
                  </a:moveTo>
                  <a:cubicBezTo>
                    <a:pt x="98" y="127"/>
                    <a:pt x="79" y="124"/>
                    <a:pt x="69" y="111"/>
                  </a:cubicBezTo>
                  <a:cubicBezTo>
                    <a:pt x="60" y="98"/>
                    <a:pt x="63" y="79"/>
                    <a:pt x="76" y="69"/>
                  </a:cubicBezTo>
                  <a:cubicBezTo>
                    <a:pt x="89" y="60"/>
                    <a:pt x="108" y="63"/>
                    <a:pt x="118" y="76"/>
                  </a:cubicBezTo>
                  <a:cubicBezTo>
                    <a:pt x="127" y="89"/>
                    <a:pt x="124" y="108"/>
                    <a:pt x="111" y="11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4" name="Freeform 21373">
              <a:extLst>
                <a:ext uri="{FF2B5EF4-FFF2-40B4-BE49-F238E27FC236}">
                  <a16:creationId xmlns:a16="http://schemas.microsoft.com/office/drawing/2014/main" id="{C03D9C99-94B4-4BCD-AA78-4687DF4E769C}"/>
                </a:ext>
              </a:extLst>
            </p:cNvPr>
            <p:cNvSpPr>
              <a:spLocks noEditPoints="1"/>
            </p:cNvSpPr>
            <p:nvPr userDrawn="1"/>
          </p:nvSpPr>
          <p:spPr bwMode="auto">
            <a:xfrm>
              <a:off x="8727440" y="3188653"/>
              <a:ext cx="447675" cy="447675"/>
            </a:xfrm>
            <a:custGeom>
              <a:avLst/>
              <a:gdLst>
                <a:gd name="T0" fmla="*/ 174 w 222"/>
                <a:gd name="T1" fmla="*/ 47 h 222"/>
                <a:gd name="T2" fmla="*/ 176 w 222"/>
                <a:gd name="T3" fmla="*/ 21 h 222"/>
                <a:gd name="T4" fmla="*/ 151 w 222"/>
                <a:gd name="T5" fmla="*/ 31 h 222"/>
                <a:gd name="T6" fmla="*/ 145 w 222"/>
                <a:gd name="T7" fmla="*/ 6 h 222"/>
                <a:gd name="T8" fmla="*/ 124 w 222"/>
                <a:gd name="T9" fmla="*/ 23 h 222"/>
                <a:gd name="T10" fmla="*/ 112 w 222"/>
                <a:gd name="T11" fmla="*/ 1 h 222"/>
                <a:gd name="T12" fmla="*/ 104 w 222"/>
                <a:gd name="T13" fmla="*/ 8 h 222"/>
                <a:gd name="T14" fmla="*/ 87 w 222"/>
                <a:gd name="T15" fmla="*/ 11 h 222"/>
                <a:gd name="T16" fmla="*/ 72 w 222"/>
                <a:gd name="T17" fmla="*/ 16 h 222"/>
                <a:gd name="T18" fmla="*/ 57 w 222"/>
                <a:gd name="T19" fmla="*/ 24 h 222"/>
                <a:gd name="T20" fmla="*/ 45 w 222"/>
                <a:gd name="T21" fmla="*/ 32 h 222"/>
                <a:gd name="T22" fmla="*/ 47 w 222"/>
                <a:gd name="T23" fmla="*/ 49 h 222"/>
                <a:gd name="T24" fmla="*/ 47 w 222"/>
                <a:gd name="T25" fmla="*/ 49 h 222"/>
                <a:gd name="T26" fmla="*/ 30 w 222"/>
                <a:gd name="T27" fmla="*/ 47 h 222"/>
                <a:gd name="T28" fmla="*/ 22 w 222"/>
                <a:gd name="T29" fmla="*/ 60 h 222"/>
                <a:gd name="T30" fmla="*/ 15 w 222"/>
                <a:gd name="T31" fmla="*/ 75 h 222"/>
                <a:gd name="T32" fmla="*/ 11 w 222"/>
                <a:gd name="T33" fmla="*/ 90 h 222"/>
                <a:gd name="T34" fmla="*/ 8 w 222"/>
                <a:gd name="T35" fmla="*/ 107 h 222"/>
                <a:gd name="T36" fmla="*/ 9 w 222"/>
                <a:gd name="T37" fmla="*/ 122 h 222"/>
                <a:gd name="T38" fmla="*/ 12 w 222"/>
                <a:gd name="T39" fmla="*/ 139 h 222"/>
                <a:gd name="T40" fmla="*/ 17 w 222"/>
                <a:gd name="T41" fmla="*/ 153 h 222"/>
                <a:gd name="T42" fmla="*/ 25 w 222"/>
                <a:gd name="T43" fmla="*/ 168 h 222"/>
                <a:gd name="T44" fmla="*/ 34 w 222"/>
                <a:gd name="T45" fmla="*/ 180 h 222"/>
                <a:gd name="T46" fmla="*/ 46 w 222"/>
                <a:gd name="T47" fmla="*/ 192 h 222"/>
                <a:gd name="T48" fmla="*/ 59 w 222"/>
                <a:gd name="T49" fmla="*/ 200 h 222"/>
                <a:gd name="T50" fmla="*/ 74 w 222"/>
                <a:gd name="T51" fmla="*/ 208 h 222"/>
                <a:gd name="T52" fmla="*/ 89 w 222"/>
                <a:gd name="T53" fmla="*/ 212 h 222"/>
                <a:gd name="T54" fmla="*/ 105 w 222"/>
                <a:gd name="T55" fmla="*/ 215 h 222"/>
                <a:gd name="T56" fmla="*/ 120 w 222"/>
                <a:gd name="T57" fmla="*/ 214 h 222"/>
                <a:gd name="T58" fmla="*/ 137 w 222"/>
                <a:gd name="T59" fmla="*/ 212 h 222"/>
                <a:gd name="T60" fmla="*/ 151 w 222"/>
                <a:gd name="T61" fmla="*/ 207 h 222"/>
                <a:gd name="T62" fmla="*/ 167 w 222"/>
                <a:gd name="T63" fmla="*/ 199 h 222"/>
                <a:gd name="T64" fmla="*/ 179 w 222"/>
                <a:gd name="T65" fmla="*/ 190 h 222"/>
                <a:gd name="T66" fmla="*/ 192 w 222"/>
                <a:gd name="T67" fmla="*/ 176 h 222"/>
                <a:gd name="T68" fmla="*/ 201 w 222"/>
                <a:gd name="T69" fmla="*/ 163 h 222"/>
                <a:gd name="T70" fmla="*/ 208 w 222"/>
                <a:gd name="T71" fmla="*/ 148 h 222"/>
                <a:gd name="T72" fmla="*/ 213 w 222"/>
                <a:gd name="T73" fmla="*/ 134 h 222"/>
                <a:gd name="T74" fmla="*/ 215 w 222"/>
                <a:gd name="T75" fmla="*/ 117 h 222"/>
                <a:gd name="T76" fmla="*/ 215 w 222"/>
                <a:gd name="T77" fmla="*/ 102 h 222"/>
                <a:gd name="T78" fmla="*/ 211 w 222"/>
                <a:gd name="T79" fmla="*/ 85 h 222"/>
                <a:gd name="T80" fmla="*/ 207 w 222"/>
                <a:gd name="T81" fmla="*/ 71 h 222"/>
                <a:gd name="T82" fmla="*/ 199 w 222"/>
                <a:gd name="T83" fmla="*/ 56 h 222"/>
                <a:gd name="T84" fmla="*/ 190 w 222"/>
                <a:gd name="T85" fmla="*/ 44 h 222"/>
                <a:gd name="T86" fmla="*/ 54 w 222"/>
                <a:gd name="T87" fmla="*/ 154 h 222"/>
                <a:gd name="T88" fmla="*/ 170 w 222"/>
                <a:gd name="T89" fmla="*/ 6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222">
                  <a:moveTo>
                    <a:pt x="190" y="44"/>
                  </a:moveTo>
                  <a:cubicBezTo>
                    <a:pt x="184" y="46"/>
                    <a:pt x="177" y="48"/>
                    <a:pt x="174" y="47"/>
                  </a:cubicBezTo>
                  <a:cubicBezTo>
                    <a:pt x="173" y="43"/>
                    <a:pt x="175" y="37"/>
                    <a:pt x="177" y="32"/>
                  </a:cubicBezTo>
                  <a:cubicBezTo>
                    <a:pt x="181" y="25"/>
                    <a:pt x="178" y="23"/>
                    <a:pt x="176" y="21"/>
                  </a:cubicBezTo>
                  <a:cubicBezTo>
                    <a:pt x="173" y="20"/>
                    <a:pt x="171" y="17"/>
                    <a:pt x="165" y="23"/>
                  </a:cubicBezTo>
                  <a:cubicBezTo>
                    <a:pt x="161" y="27"/>
                    <a:pt x="154" y="31"/>
                    <a:pt x="151" y="31"/>
                  </a:cubicBezTo>
                  <a:cubicBezTo>
                    <a:pt x="149" y="28"/>
                    <a:pt x="149" y="21"/>
                    <a:pt x="150" y="16"/>
                  </a:cubicBezTo>
                  <a:cubicBezTo>
                    <a:pt x="151" y="8"/>
                    <a:pt x="148" y="7"/>
                    <a:pt x="145" y="6"/>
                  </a:cubicBezTo>
                  <a:cubicBezTo>
                    <a:pt x="142" y="5"/>
                    <a:pt x="139" y="4"/>
                    <a:pt x="135" y="11"/>
                  </a:cubicBezTo>
                  <a:cubicBezTo>
                    <a:pt x="133" y="16"/>
                    <a:pt x="128" y="22"/>
                    <a:pt x="124" y="23"/>
                  </a:cubicBezTo>
                  <a:cubicBezTo>
                    <a:pt x="122" y="20"/>
                    <a:pt x="120" y="14"/>
                    <a:pt x="119" y="8"/>
                  </a:cubicBezTo>
                  <a:cubicBezTo>
                    <a:pt x="118" y="1"/>
                    <a:pt x="115" y="1"/>
                    <a:pt x="112" y="1"/>
                  </a:cubicBezTo>
                  <a:cubicBezTo>
                    <a:pt x="111" y="1"/>
                    <a:pt x="111" y="1"/>
                    <a:pt x="111" y="1"/>
                  </a:cubicBezTo>
                  <a:cubicBezTo>
                    <a:pt x="108" y="1"/>
                    <a:pt x="105" y="0"/>
                    <a:pt x="104" y="8"/>
                  </a:cubicBezTo>
                  <a:cubicBezTo>
                    <a:pt x="102" y="14"/>
                    <a:pt x="100" y="21"/>
                    <a:pt x="97" y="23"/>
                  </a:cubicBezTo>
                  <a:cubicBezTo>
                    <a:pt x="93" y="21"/>
                    <a:pt x="89" y="16"/>
                    <a:pt x="87" y="11"/>
                  </a:cubicBezTo>
                  <a:cubicBezTo>
                    <a:pt x="84" y="4"/>
                    <a:pt x="80" y="6"/>
                    <a:pt x="77" y="6"/>
                  </a:cubicBezTo>
                  <a:cubicBezTo>
                    <a:pt x="75" y="7"/>
                    <a:pt x="71" y="8"/>
                    <a:pt x="72" y="16"/>
                  </a:cubicBezTo>
                  <a:cubicBezTo>
                    <a:pt x="73" y="22"/>
                    <a:pt x="73" y="29"/>
                    <a:pt x="70" y="32"/>
                  </a:cubicBezTo>
                  <a:cubicBezTo>
                    <a:pt x="67" y="31"/>
                    <a:pt x="61" y="28"/>
                    <a:pt x="57" y="24"/>
                  </a:cubicBezTo>
                  <a:cubicBezTo>
                    <a:pt x="52" y="18"/>
                    <a:pt x="49" y="20"/>
                    <a:pt x="47" y="22"/>
                  </a:cubicBezTo>
                  <a:cubicBezTo>
                    <a:pt x="45" y="24"/>
                    <a:pt x="41" y="25"/>
                    <a:pt x="45" y="32"/>
                  </a:cubicBezTo>
                  <a:cubicBezTo>
                    <a:pt x="48" y="38"/>
                    <a:pt x="50" y="47"/>
                    <a:pt x="47" y="49"/>
                  </a:cubicBezTo>
                  <a:cubicBezTo>
                    <a:pt x="47" y="49"/>
                    <a:pt x="47" y="49"/>
                    <a:pt x="47" y="49"/>
                  </a:cubicBezTo>
                  <a:cubicBezTo>
                    <a:pt x="47" y="49"/>
                    <a:pt x="47" y="49"/>
                    <a:pt x="47" y="49"/>
                  </a:cubicBezTo>
                  <a:cubicBezTo>
                    <a:pt x="47" y="49"/>
                    <a:pt x="47" y="49"/>
                    <a:pt x="47" y="49"/>
                  </a:cubicBezTo>
                  <a:cubicBezTo>
                    <a:pt x="47" y="49"/>
                    <a:pt x="47" y="49"/>
                    <a:pt x="47" y="49"/>
                  </a:cubicBezTo>
                  <a:cubicBezTo>
                    <a:pt x="45" y="52"/>
                    <a:pt x="37" y="50"/>
                    <a:pt x="30" y="47"/>
                  </a:cubicBezTo>
                  <a:cubicBezTo>
                    <a:pt x="23" y="44"/>
                    <a:pt x="22" y="47"/>
                    <a:pt x="20" y="50"/>
                  </a:cubicBezTo>
                  <a:cubicBezTo>
                    <a:pt x="18" y="52"/>
                    <a:pt x="16" y="55"/>
                    <a:pt x="22" y="60"/>
                  </a:cubicBezTo>
                  <a:cubicBezTo>
                    <a:pt x="26" y="64"/>
                    <a:pt x="30" y="69"/>
                    <a:pt x="31" y="73"/>
                  </a:cubicBezTo>
                  <a:cubicBezTo>
                    <a:pt x="28" y="75"/>
                    <a:pt x="21" y="76"/>
                    <a:pt x="15" y="75"/>
                  </a:cubicBezTo>
                  <a:cubicBezTo>
                    <a:pt x="7" y="74"/>
                    <a:pt x="6" y="78"/>
                    <a:pt x="6" y="81"/>
                  </a:cubicBezTo>
                  <a:cubicBezTo>
                    <a:pt x="5" y="84"/>
                    <a:pt x="3" y="87"/>
                    <a:pt x="11" y="90"/>
                  </a:cubicBezTo>
                  <a:cubicBezTo>
                    <a:pt x="16" y="92"/>
                    <a:pt x="21" y="96"/>
                    <a:pt x="23" y="99"/>
                  </a:cubicBezTo>
                  <a:cubicBezTo>
                    <a:pt x="21" y="102"/>
                    <a:pt x="14" y="105"/>
                    <a:pt x="8" y="107"/>
                  </a:cubicBezTo>
                  <a:cubicBezTo>
                    <a:pt x="0" y="108"/>
                    <a:pt x="1" y="112"/>
                    <a:pt x="1" y="115"/>
                  </a:cubicBezTo>
                  <a:cubicBezTo>
                    <a:pt x="1" y="118"/>
                    <a:pt x="1" y="121"/>
                    <a:pt x="9" y="122"/>
                  </a:cubicBezTo>
                  <a:cubicBezTo>
                    <a:pt x="14" y="123"/>
                    <a:pt x="21" y="125"/>
                    <a:pt x="23" y="127"/>
                  </a:cubicBezTo>
                  <a:cubicBezTo>
                    <a:pt x="23" y="130"/>
                    <a:pt x="17" y="135"/>
                    <a:pt x="12" y="139"/>
                  </a:cubicBezTo>
                  <a:cubicBezTo>
                    <a:pt x="5" y="142"/>
                    <a:pt x="6" y="145"/>
                    <a:pt x="8" y="148"/>
                  </a:cubicBezTo>
                  <a:cubicBezTo>
                    <a:pt x="9" y="151"/>
                    <a:pt x="9" y="155"/>
                    <a:pt x="17" y="153"/>
                  </a:cubicBezTo>
                  <a:cubicBezTo>
                    <a:pt x="23" y="152"/>
                    <a:pt x="29" y="152"/>
                    <a:pt x="32" y="153"/>
                  </a:cubicBezTo>
                  <a:cubicBezTo>
                    <a:pt x="33" y="157"/>
                    <a:pt x="29" y="163"/>
                    <a:pt x="25" y="168"/>
                  </a:cubicBezTo>
                  <a:cubicBezTo>
                    <a:pt x="19" y="173"/>
                    <a:pt x="22" y="176"/>
                    <a:pt x="24" y="178"/>
                  </a:cubicBezTo>
                  <a:cubicBezTo>
                    <a:pt x="26" y="181"/>
                    <a:pt x="27" y="184"/>
                    <a:pt x="34" y="180"/>
                  </a:cubicBezTo>
                  <a:cubicBezTo>
                    <a:pt x="39" y="177"/>
                    <a:pt x="45" y="175"/>
                    <a:pt x="49" y="176"/>
                  </a:cubicBezTo>
                  <a:cubicBezTo>
                    <a:pt x="50" y="179"/>
                    <a:pt x="49" y="186"/>
                    <a:pt x="46" y="192"/>
                  </a:cubicBezTo>
                  <a:cubicBezTo>
                    <a:pt x="43" y="199"/>
                    <a:pt x="46" y="200"/>
                    <a:pt x="48" y="202"/>
                  </a:cubicBezTo>
                  <a:cubicBezTo>
                    <a:pt x="51" y="204"/>
                    <a:pt x="54" y="206"/>
                    <a:pt x="59" y="200"/>
                  </a:cubicBezTo>
                  <a:cubicBezTo>
                    <a:pt x="63" y="196"/>
                    <a:pt x="68" y="192"/>
                    <a:pt x="71" y="192"/>
                  </a:cubicBezTo>
                  <a:cubicBezTo>
                    <a:pt x="74" y="194"/>
                    <a:pt x="75" y="202"/>
                    <a:pt x="74" y="208"/>
                  </a:cubicBezTo>
                  <a:cubicBezTo>
                    <a:pt x="73" y="216"/>
                    <a:pt x="76" y="216"/>
                    <a:pt x="79" y="217"/>
                  </a:cubicBezTo>
                  <a:cubicBezTo>
                    <a:pt x="82" y="218"/>
                    <a:pt x="85" y="219"/>
                    <a:pt x="89" y="212"/>
                  </a:cubicBezTo>
                  <a:cubicBezTo>
                    <a:pt x="91" y="207"/>
                    <a:pt x="95" y="202"/>
                    <a:pt x="98" y="200"/>
                  </a:cubicBezTo>
                  <a:cubicBezTo>
                    <a:pt x="101" y="202"/>
                    <a:pt x="104" y="209"/>
                    <a:pt x="105" y="215"/>
                  </a:cubicBezTo>
                  <a:cubicBezTo>
                    <a:pt x="106" y="222"/>
                    <a:pt x="110" y="222"/>
                    <a:pt x="113" y="222"/>
                  </a:cubicBezTo>
                  <a:cubicBezTo>
                    <a:pt x="116" y="222"/>
                    <a:pt x="120" y="222"/>
                    <a:pt x="120" y="214"/>
                  </a:cubicBezTo>
                  <a:cubicBezTo>
                    <a:pt x="121" y="209"/>
                    <a:pt x="123" y="202"/>
                    <a:pt x="126" y="200"/>
                  </a:cubicBezTo>
                  <a:cubicBezTo>
                    <a:pt x="129" y="201"/>
                    <a:pt x="134" y="206"/>
                    <a:pt x="137" y="212"/>
                  </a:cubicBezTo>
                  <a:cubicBezTo>
                    <a:pt x="141" y="219"/>
                    <a:pt x="144" y="217"/>
                    <a:pt x="147" y="216"/>
                  </a:cubicBezTo>
                  <a:cubicBezTo>
                    <a:pt x="149" y="215"/>
                    <a:pt x="153" y="214"/>
                    <a:pt x="151" y="207"/>
                  </a:cubicBezTo>
                  <a:cubicBezTo>
                    <a:pt x="150" y="201"/>
                    <a:pt x="151" y="195"/>
                    <a:pt x="152" y="191"/>
                  </a:cubicBezTo>
                  <a:cubicBezTo>
                    <a:pt x="156" y="191"/>
                    <a:pt x="162" y="195"/>
                    <a:pt x="167" y="199"/>
                  </a:cubicBezTo>
                  <a:cubicBezTo>
                    <a:pt x="172" y="205"/>
                    <a:pt x="175" y="202"/>
                    <a:pt x="177" y="200"/>
                  </a:cubicBezTo>
                  <a:cubicBezTo>
                    <a:pt x="179" y="198"/>
                    <a:pt x="183" y="197"/>
                    <a:pt x="179" y="190"/>
                  </a:cubicBezTo>
                  <a:cubicBezTo>
                    <a:pt x="176" y="184"/>
                    <a:pt x="173" y="176"/>
                    <a:pt x="175" y="174"/>
                  </a:cubicBezTo>
                  <a:cubicBezTo>
                    <a:pt x="178" y="171"/>
                    <a:pt x="186" y="173"/>
                    <a:pt x="192" y="176"/>
                  </a:cubicBezTo>
                  <a:cubicBezTo>
                    <a:pt x="199" y="180"/>
                    <a:pt x="201" y="176"/>
                    <a:pt x="202" y="174"/>
                  </a:cubicBezTo>
                  <a:cubicBezTo>
                    <a:pt x="204" y="171"/>
                    <a:pt x="207" y="169"/>
                    <a:pt x="201" y="163"/>
                  </a:cubicBezTo>
                  <a:cubicBezTo>
                    <a:pt x="197" y="159"/>
                    <a:pt x="193" y="153"/>
                    <a:pt x="193" y="150"/>
                  </a:cubicBezTo>
                  <a:cubicBezTo>
                    <a:pt x="196" y="148"/>
                    <a:pt x="202" y="147"/>
                    <a:pt x="208" y="148"/>
                  </a:cubicBezTo>
                  <a:cubicBezTo>
                    <a:pt x="216" y="150"/>
                    <a:pt x="216" y="146"/>
                    <a:pt x="217" y="143"/>
                  </a:cubicBezTo>
                  <a:cubicBezTo>
                    <a:pt x="218" y="140"/>
                    <a:pt x="220" y="137"/>
                    <a:pt x="213" y="134"/>
                  </a:cubicBezTo>
                  <a:cubicBezTo>
                    <a:pt x="207" y="131"/>
                    <a:pt x="201" y="126"/>
                    <a:pt x="201" y="123"/>
                  </a:cubicBezTo>
                  <a:cubicBezTo>
                    <a:pt x="203" y="120"/>
                    <a:pt x="209" y="118"/>
                    <a:pt x="215" y="117"/>
                  </a:cubicBezTo>
                  <a:cubicBezTo>
                    <a:pt x="222" y="116"/>
                    <a:pt x="222" y="112"/>
                    <a:pt x="222" y="109"/>
                  </a:cubicBezTo>
                  <a:cubicBezTo>
                    <a:pt x="222" y="106"/>
                    <a:pt x="222" y="103"/>
                    <a:pt x="215" y="102"/>
                  </a:cubicBezTo>
                  <a:cubicBezTo>
                    <a:pt x="208" y="101"/>
                    <a:pt x="201" y="98"/>
                    <a:pt x="200" y="95"/>
                  </a:cubicBezTo>
                  <a:cubicBezTo>
                    <a:pt x="201" y="92"/>
                    <a:pt x="206" y="88"/>
                    <a:pt x="211" y="85"/>
                  </a:cubicBezTo>
                  <a:cubicBezTo>
                    <a:pt x="218" y="82"/>
                    <a:pt x="217" y="78"/>
                    <a:pt x="216" y="76"/>
                  </a:cubicBezTo>
                  <a:cubicBezTo>
                    <a:pt x="215" y="73"/>
                    <a:pt x="214" y="69"/>
                    <a:pt x="207" y="71"/>
                  </a:cubicBezTo>
                  <a:cubicBezTo>
                    <a:pt x="201" y="72"/>
                    <a:pt x="193" y="71"/>
                    <a:pt x="191" y="69"/>
                  </a:cubicBezTo>
                  <a:cubicBezTo>
                    <a:pt x="191" y="65"/>
                    <a:pt x="195" y="60"/>
                    <a:pt x="199" y="56"/>
                  </a:cubicBezTo>
                  <a:cubicBezTo>
                    <a:pt x="204" y="50"/>
                    <a:pt x="202" y="48"/>
                    <a:pt x="200" y="45"/>
                  </a:cubicBezTo>
                  <a:cubicBezTo>
                    <a:pt x="198" y="43"/>
                    <a:pt x="197" y="40"/>
                    <a:pt x="190" y="44"/>
                  </a:cubicBezTo>
                  <a:moveTo>
                    <a:pt x="154" y="169"/>
                  </a:moveTo>
                  <a:cubicBezTo>
                    <a:pt x="122" y="193"/>
                    <a:pt x="77" y="186"/>
                    <a:pt x="54" y="154"/>
                  </a:cubicBezTo>
                  <a:cubicBezTo>
                    <a:pt x="30" y="122"/>
                    <a:pt x="37" y="77"/>
                    <a:pt x="69" y="53"/>
                  </a:cubicBezTo>
                  <a:cubicBezTo>
                    <a:pt x="101" y="30"/>
                    <a:pt x="146" y="37"/>
                    <a:pt x="170" y="69"/>
                  </a:cubicBezTo>
                  <a:cubicBezTo>
                    <a:pt x="193" y="101"/>
                    <a:pt x="186" y="146"/>
                    <a:pt x="154" y="169"/>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5" name="Freeform 21374">
              <a:extLst>
                <a:ext uri="{FF2B5EF4-FFF2-40B4-BE49-F238E27FC236}">
                  <a16:creationId xmlns:a16="http://schemas.microsoft.com/office/drawing/2014/main" id="{4570D5AB-0339-4787-9D50-23FABE26F6C7}"/>
                </a:ext>
              </a:extLst>
            </p:cNvPr>
            <p:cNvSpPr>
              <a:spLocks noEditPoints="1"/>
            </p:cNvSpPr>
            <p:nvPr userDrawn="1"/>
          </p:nvSpPr>
          <p:spPr bwMode="auto">
            <a:xfrm>
              <a:off x="8867140" y="3328353"/>
              <a:ext cx="171450" cy="171450"/>
            </a:xfrm>
            <a:custGeom>
              <a:avLst/>
              <a:gdLst>
                <a:gd name="T0" fmla="*/ 20 w 85"/>
                <a:gd name="T1" fmla="*/ 12 h 85"/>
                <a:gd name="T2" fmla="*/ 12 w 85"/>
                <a:gd name="T3" fmla="*/ 65 h 85"/>
                <a:gd name="T4" fmla="*/ 65 w 85"/>
                <a:gd name="T5" fmla="*/ 73 h 85"/>
                <a:gd name="T6" fmla="*/ 73 w 85"/>
                <a:gd name="T7" fmla="*/ 20 h 85"/>
                <a:gd name="T8" fmla="*/ 20 w 85"/>
                <a:gd name="T9" fmla="*/ 12 h 85"/>
                <a:gd name="T10" fmla="*/ 56 w 85"/>
                <a:gd name="T11" fmla="*/ 61 h 85"/>
                <a:gd name="T12" fmla="*/ 24 w 85"/>
                <a:gd name="T13" fmla="*/ 56 h 85"/>
                <a:gd name="T14" fmla="*/ 29 w 85"/>
                <a:gd name="T15" fmla="*/ 23 h 85"/>
                <a:gd name="T16" fmla="*/ 62 w 85"/>
                <a:gd name="T17" fmla="*/ 29 h 85"/>
                <a:gd name="T18" fmla="*/ 56 w 85"/>
                <a:gd name="T19"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20" y="12"/>
                  </a:moveTo>
                  <a:cubicBezTo>
                    <a:pt x="3" y="24"/>
                    <a:pt x="0" y="48"/>
                    <a:pt x="12" y="65"/>
                  </a:cubicBezTo>
                  <a:cubicBezTo>
                    <a:pt x="24" y="82"/>
                    <a:pt x="48" y="85"/>
                    <a:pt x="65" y="73"/>
                  </a:cubicBezTo>
                  <a:cubicBezTo>
                    <a:pt x="82" y="61"/>
                    <a:pt x="85" y="37"/>
                    <a:pt x="73" y="20"/>
                  </a:cubicBezTo>
                  <a:cubicBezTo>
                    <a:pt x="61" y="3"/>
                    <a:pt x="37" y="0"/>
                    <a:pt x="20" y="12"/>
                  </a:cubicBezTo>
                  <a:moveTo>
                    <a:pt x="56" y="61"/>
                  </a:moveTo>
                  <a:cubicBezTo>
                    <a:pt x="46" y="69"/>
                    <a:pt x="31" y="67"/>
                    <a:pt x="24" y="56"/>
                  </a:cubicBezTo>
                  <a:cubicBezTo>
                    <a:pt x="16" y="46"/>
                    <a:pt x="18" y="31"/>
                    <a:pt x="29" y="23"/>
                  </a:cubicBezTo>
                  <a:cubicBezTo>
                    <a:pt x="39" y="16"/>
                    <a:pt x="54" y="18"/>
                    <a:pt x="62" y="29"/>
                  </a:cubicBezTo>
                  <a:cubicBezTo>
                    <a:pt x="69" y="39"/>
                    <a:pt x="67" y="54"/>
                    <a:pt x="56" y="61"/>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6" name="Freeform 21375">
              <a:extLst>
                <a:ext uri="{FF2B5EF4-FFF2-40B4-BE49-F238E27FC236}">
                  <a16:creationId xmlns:a16="http://schemas.microsoft.com/office/drawing/2014/main" id="{CD199F42-7B4A-4926-A51C-D83B3F85CB69}"/>
                </a:ext>
              </a:extLst>
            </p:cNvPr>
            <p:cNvSpPr>
              <a:spLocks/>
            </p:cNvSpPr>
            <p:nvPr userDrawn="1"/>
          </p:nvSpPr>
          <p:spPr bwMode="auto">
            <a:xfrm>
              <a:off x="8300403" y="4282440"/>
              <a:ext cx="784225" cy="781050"/>
            </a:xfrm>
            <a:custGeom>
              <a:avLst/>
              <a:gdLst>
                <a:gd name="T0" fmla="*/ 85 w 388"/>
                <a:gd name="T1" fmla="*/ 60 h 388"/>
                <a:gd name="T2" fmla="*/ 60 w 388"/>
                <a:gd name="T3" fmla="*/ 303 h 388"/>
                <a:gd name="T4" fmla="*/ 303 w 388"/>
                <a:gd name="T5" fmla="*/ 328 h 388"/>
                <a:gd name="T6" fmla="*/ 328 w 388"/>
                <a:gd name="T7" fmla="*/ 85 h 388"/>
                <a:gd name="T8" fmla="*/ 85 w 388"/>
                <a:gd name="T9" fmla="*/ 60 h 388"/>
              </a:gdLst>
              <a:ahLst/>
              <a:cxnLst>
                <a:cxn ang="0">
                  <a:pos x="T0" y="T1"/>
                </a:cxn>
                <a:cxn ang="0">
                  <a:pos x="T2" y="T3"/>
                </a:cxn>
                <a:cxn ang="0">
                  <a:pos x="T4" y="T5"/>
                </a:cxn>
                <a:cxn ang="0">
                  <a:pos x="T6" y="T7"/>
                </a:cxn>
                <a:cxn ang="0">
                  <a:pos x="T8" y="T9"/>
                </a:cxn>
              </a:cxnLst>
              <a:rect l="0" t="0" r="r" b="b"/>
              <a:pathLst>
                <a:path w="388" h="388">
                  <a:moveTo>
                    <a:pt x="85" y="60"/>
                  </a:moveTo>
                  <a:cubicBezTo>
                    <a:pt x="11" y="120"/>
                    <a:pt x="0" y="229"/>
                    <a:pt x="60" y="303"/>
                  </a:cubicBezTo>
                  <a:cubicBezTo>
                    <a:pt x="120" y="377"/>
                    <a:pt x="229" y="388"/>
                    <a:pt x="303" y="328"/>
                  </a:cubicBezTo>
                  <a:cubicBezTo>
                    <a:pt x="377" y="268"/>
                    <a:pt x="388" y="159"/>
                    <a:pt x="328" y="85"/>
                  </a:cubicBezTo>
                  <a:cubicBezTo>
                    <a:pt x="268" y="11"/>
                    <a:pt x="159" y="0"/>
                    <a:pt x="85" y="60"/>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7" name="Freeform 21376">
              <a:extLst>
                <a:ext uri="{FF2B5EF4-FFF2-40B4-BE49-F238E27FC236}">
                  <a16:creationId xmlns:a16="http://schemas.microsoft.com/office/drawing/2014/main" id="{4EFFC99A-43C0-43D7-B0EC-5E2BE971FCD8}"/>
                </a:ext>
              </a:extLst>
            </p:cNvPr>
            <p:cNvSpPr>
              <a:spLocks noEditPoints="1"/>
            </p:cNvSpPr>
            <p:nvPr userDrawn="1"/>
          </p:nvSpPr>
          <p:spPr bwMode="auto">
            <a:xfrm>
              <a:off x="8282940" y="4263390"/>
              <a:ext cx="820738" cy="819150"/>
            </a:xfrm>
            <a:custGeom>
              <a:avLst/>
              <a:gdLst>
                <a:gd name="T0" fmla="*/ 340 w 406"/>
                <a:gd name="T1" fmla="*/ 62 h 406"/>
                <a:gd name="T2" fmla="*/ 313 w 406"/>
                <a:gd name="T3" fmla="*/ 55 h 406"/>
                <a:gd name="T4" fmla="*/ 294 w 406"/>
                <a:gd name="T5" fmla="*/ 42 h 406"/>
                <a:gd name="T6" fmla="*/ 276 w 406"/>
                <a:gd name="T7" fmla="*/ 21 h 406"/>
                <a:gd name="T8" fmla="*/ 255 w 406"/>
                <a:gd name="T9" fmla="*/ 7 h 406"/>
                <a:gd name="T10" fmla="*/ 231 w 406"/>
                <a:gd name="T11" fmla="*/ 9 h 406"/>
                <a:gd name="T12" fmla="*/ 205 w 406"/>
                <a:gd name="T13" fmla="*/ 18 h 406"/>
                <a:gd name="T14" fmla="*/ 182 w 406"/>
                <a:gd name="T15" fmla="*/ 20 h 406"/>
                <a:gd name="T16" fmla="*/ 155 w 406"/>
                <a:gd name="T17" fmla="*/ 13 h 406"/>
                <a:gd name="T18" fmla="*/ 130 w 406"/>
                <a:gd name="T19" fmla="*/ 14 h 406"/>
                <a:gd name="T20" fmla="*/ 111 w 406"/>
                <a:gd name="T21" fmla="*/ 30 h 406"/>
                <a:gd name="T22" fmla="*/ 96 w 406"/>
                <a:gd name="T23" fmla="*/ 53 h 406"/>
                <a:gd name="T24" fmla="*/ 78 w 406"/>
                <a:gd name="T25" fmla="*/ 67 h 406"/>
                <a:gd name="T26" fmla="*/ 53 w 406"/>
                <a:gd name="T27" fmla="*/ 77 h 406"/>
                <a:gd name="T28" fmla="*/ 33 w 406"/>
                <a:gd name="T29" fmla="*/ 93 h 406"/>
                <a:gd name="T30" fmla="*/ 27 w 406"/>
                <a:gd name="T31" fmla="*/ 117 h 406"/>
                <a:gd name="T32" fmla="*/ 28 w 406"/>
                <a:gd name="T33" fmla="*/ 144 h 406"/>
                <a:gd name="T34" fmla="*/ 22 w 406"/>
                <a:gd name="T35" fmla="*/ 167 h 406"/>
                <a:gd name="T36" fmla="*/ 7 w 406"/>
                <a:gd name="T37" fmla="*/ 190 h 406"/>
                <a:gd name="T38" fmla="*/ 1 w 406"/>
                <a:gd name="T39" fmla="*/ 214 h 406"/>
                <a:gd name="T40" fmla="*/ 10 w 406"/>
                <a:gd name="T41" fmla="*/ 237 h 406"/>
                <a:gd name="T42" fmla="*/ 27 w 406"/>
                <a:gd name="T43" fmla="*/ 258 h 406"/>
                <a:gd name="T44" fmla="*/ 35 w 406"/>
                <a:gd name="T45" fmla="*/ 280 h 406"/>
                <a:gd name="T46" fmla="*/ 37 w 406"/>
                <a:gd name="T47" fmla="*/ 307 h 406"/>
                <a:gd name="T48" fmla="*/ 46 w 406"/>
                <a:gd name="T49" fmla="*/ 331 h 406"/>
                <a:gd name="T50" fmla="*/ 67 w 406"/>
                <a:gd name="T51" fmla="*/ 344 h 406"/>
                <a:gd name="T52" fmla="*/ 93 w 406"/>
                <a:gd name="T53" fmla="*/ 351 h 406"/>
                <a:gd name="T54" fmla="*/ 113 w 406"/>
                <a:gd name="T55" fmla="*/ 364 h 406"/>
                <a:gd name="T56" fmla="*/ 130 w 406"/>
                <a:gd name="T57" fmla="*/ 385 h 406"/>
                <a:gd name="T58" fmla="*/ 151 w 406"/>
                <a:gd name="T59" fmla="*/ 399 h 406"/>
                <a:gd name="T60" fmla="*/ 176 w 406"/>
                <a:gd name="T61" fmla="*/ 397 h 406"/>
                <a:gd name="T62" fmla="*/ 202 w 406"/>
                <a:gd name="T63" fmla="*/ 388 h 406"/>
                <a:gd name="T64" fmla="*/ 224 w 406"/>
                <a:gd name="T65" fmla="*/ 386 h 406"/>
                <a:gd name="T66" fmla="*/ 251 w 406"/>
                <a:gd name="T67" fmla="*/ 393 h 406"/>
                <a:gd name="T68" fmla="*/ 276 w 406"/>
                <a:gd name="T69" fmla="*/ 392 h 406"/>
                <a:gd name="T70" fmla="*/ 295 w 406"/>
                <a:gd name="T71" fmla="*/ 376 h 406"/>
                <a:gd name="T72" fmla="*/ 310 w 406"/>
                <a:gd name="T73" fmla="*/ 353 h 406"/>
                <a:gd name="T74" fmla="*/ 328 w 406"/>
                <a:gd name="T75" fmla="*/ 339 h 406"/>
                <a:gd name="T76" fmla="*/ 354 w 406"/>
                <a:gd name="T77" fmla="*/ 329 h 406"/>
                <a:gd name="T78" fmla="*/ 373 w 406"/>
                <a:gd name="T79" fmla="*/ 313 h 406"/>
                <a:gd name="T80" fmla="*/ 379 w 406"/>
                <a:gd name="T81" fmla="*/ 289 h 406"/>
                <a:gd name="T82" fmla="*/ 378 w 406"/>
                <a:gd name="T83" fmla="*/ 262 h 406"/>
                <a:gd name="T84" fmla="*/ 384 w 406"/>
                <a:gd name="T85" fmla="*/ 239 h 406"/>
                <a:gd name="T86" fmla="*/ 399 w 406"/>
                <a:gd name="T87" fmla="*/ 216 h 406"/>
                <a:gd name="T88" fmla="*/ 405 w 406"/>
                <a:gd name="T89" fmla="*/ 192 h 406"/>
                <a:gd name="T90" fmla="*/ 396 w 406"/>
                <a:gd name="T91" fmla="*/ 169 h 406"/>
                <a:gd name="T92" fmla="*/ 379 w 406"/>
                <a:gd name="T93" fmla="*/ 148 h 406"/>
                <a:gd name="T94" fmla="*/ 371 w 406"/>
                <a:gd name="T95" fmla="*/ 126 h 406"/>
                <a:gd name="T96" fmla="*/ 369 w 406"/>
                <a:gd name="T97" fmla="*/ 99 h 406"/>
                <a:gd name="T98" fmla="*/ 361 w 406"/>
                <a:gd name="T99" fmla="*/ 75 h 406"/>
                <a:gd name="T100" fmla="*/ 99 w 406"/>
                <a:gd name="T101" fmla="*/ 7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6" h="406">
                  <a:moveTo>
                    <a:pt x="351" y="74"/>
                  </a:moveTo>
                  <a:cubicBezTo>
                    <a:pt x="347" y="76"/>
                    <a:pt x="342" y="78"/>
                    <a:pt x="339" y="78"/>
                  </a:cubicBezTo>
                  <a:cubicBezTo>
                    <a:pt x="338" y="77"/>
                    <a:pt x="336" y="75"/>
                    <a:pt x="335" y="74"/>
                  </a:cubicBezTo>
                  <a:cubicBezTo>
                    <a:pt x="335" y="71"/>
                    <a:pt x="337" y="66"/>
                    <a:pt x="340" y="62"/>
                  </a:cubicBezTo>
                  <a:cubicBezTo>
                    <a:pt x="344" y="56"/>
                    <a:pt x="341" y="54"/>
                    <a:pt x="339" y="52"/>
                  </a:cubicBezTo>
                  <a:cubicBezTo>
                    <a:pt x="337" y="51"/>
                    <a:pt x="334" y="48"/>
                    <a:pt x="329" y="52"/>
                  </a:cubicBezTo>
                  <a:cubicBezTo>
                    <a:pt x="325" y="55"/>
                    <a:pt x="321" y="58"/>
                    <a:pt x="318" y="58"/>
                  </a:cubicBezTo>
                  <a:cubicBezTo>
                    <a:pt x="316" y="57"/>
                    <a:pt x="315" y="56"/>
                    <a:pt x="313" y="55"/>
                  </a:cubicBezTo>
                  <a:cubicBezTo>
                    <a:pt x="313" y="51"/>
                    <a:pt x="314" y="47"/>
                    <a:pt x="316" y="42"/>
                  </a:cubicBezTo>
                  <a:cubicBezTo>
                    <a:pt x="319" y="36"/>
                    <a:pt x="316" y="34"/>
                    <a:pt x="313" y="33"/>
                  </a:cubicBezTo>
                  <a:cubicBezTo>
                    <a:pt x="311" y="32"/>
                    <a:pt x="308" y="29"/>
                    <a:pt x="304" y="35"/>
                  </a:cubicBezTo>
                  <a:cubicBezTo>
                    <a:pt x="301" y="38"/>
                    <a:pt x="297" y="41"/>
                    <a:pt x="294" y="42"/>
                  </a:cubicBezTo>
                  <a:cubicBezTo>
                    <a:pt x="292" y="41"/>
                    <a:pt x="290" y="40"/>
                    <a:pt x="288" y="39"/>
                  </a:cubicBezTo>
                  <a:cubicBezTo>
                    <a:pt x="288" y="36"/>
                    <a:pt x="288" y="31"/>
                    <a:pt x="289" y="27"/>
                  </a:cubicBezTo>
                  <a:cubicBezTo>
                    <a:pt x="291" y="20"/>
                    <a:pt x="288" y="19"/>
                    <a:pt x="285" y="18"/>
                  </a:cubicBezTo>
                  <a:cubicBezTo>
                    <a:pt x="283" y="17"/>
                    <a:pt x="280" y="15"/>
                    <a:pt x="276" y="21"/>
                  </a:cubicBezTo>
                  <a:cubicBezTo>
                    <a:pt x="274" y="25"/>
                    <a:pt x="270" y="29"/>
                    <a:pt x="268" y="30"/>
                  </a:cubicBezTo>
                  <a:cubicBezTo>
                    <a:pt x="266" y="29"/>
                    <a:pt x="264" y="29"/>
                    <a:pt x="262" y="28"/>
                  </a:cubicBezTo>
                  <a:cubicBezTo>
                    <a:pt x="261" y="25"/>
                    <a:pt x="260" y="20"/>
                    <a:pt x="261" y="15"/>
                  </a:cubicBezTo>
                  <a:cubicBezTo>
                    <a:pt x="262" y="8"/>
                    <a:pt x="258" y="8"/>
                    <a:pt x="255" y="7"/>
                  </a:cubicBezTo>
                  <a:cubicBezTo>
                    <a:pt x="253" y="7"/>
                    <a:pt x="249" y="5"/>
                    <a:pt x="247" y="12"/>
                  </a:cubicBezTo>
                  <a:cubicBezTo>
                    <a:pt x="245" y="16"/>
                    <a:pt x="242" y="20"/>
                    <a:pt x="240" y="22"/>
                  </a:cubicBezTo>
                  <a:cubicBezTo>
                    <a:pt x="238" y="22"/>
                    <a:pt x="236" y="21"/>
                    <a:pt x="234" y="21"/>
                  </a:cubicBezTo>
                  <a:cubicBezTo>
                    <a:pt x="232" y="18"/>
                    <a:pt x="231" y="13"/>
                    <a:pt x="231" y="9"/>
                  </a:cubicBezTo>
                  <a:cubicBezTo>
                    <a:pt x="231" y="2"/>
                    <a:pt x="227" y="2"/>
                    <a:pt x="224" y="2"/>
                  </a:cubicBezTo>
                  <a:cubicBezTo>
                    <a:pt x="222" y="1"/>
                    <a:pt x="218" y="0"/>
                    <a:pt x="216" y="7"/>
                  </a:cubicBezTo>
                  <a:cubicBezTo>
                    <a:pt x="215" y="12"/>
                    <a:pt x="213" y="16"/>
                    <a:pt x="211" y="19"/>
                  </a:cubicBezTo>
                  <a:cubicBezTo>
                    <a:pt x="209" y="19"/>
                    <a:pt x="207" y="18"/>
                    <a:pt x="205" y="18"/>
                  </a:cubicBezTo>
                  <a:cubicBezTo>
                    <a:pt x="203" y="16"/>
                    <a:pt x="201" y="11"/>
                    <a:pt x="200" y="7"/>
                  </a:cubicBezTo>
                  <a:cubicBezTo>
                    <a:pt x="199" y="0"/>
                    <a:pt x="195" y="1"/>
                    <a:pt x="192" y="1"/>
                  </a:cubicBezTo>
                  <a:cubicBezTo>
                    <a:pt x="190" y="1"/>
                    <a:pt x="186" y="1"/>
                    <a:pt x="185" y="8"/>
                  </a:cubicBezTo>
                  <a:cubicBezTo>
                    <a:pt x="185" y="12"/>
                    <a:pt x="184" y="17"/>
                    <a:pt x="182" y="20"/>
                  </a:cubicBezTo>
                  <a:cubicBezTo>
                    <a:pt x="180" y="20"/>
                    <a:pt x="178" y="20"/>
                    <a:pt x="176" y="20"/>
                  </a:cubicBezTo>
                  <a:cubicBezTo>
                    <a:pt x="174" y="18"/>
                    <a:pt x="171" y="14"/>
                    <a:pt x="169" y="10"/>
                  </a:cubicBezTo>
                  <a:cubicBezTo>
                    <a:pt x="167" y="3"/>
                    <a:pt x="164" y="4"/>
                    <a:pt x="161" y="5"/>
                  </a:cubicBezTo>
                  <a:cubicBezTo>
                    <a:pt x="158" y="5"/>
                    <a:pt x="155" y="6"/>
                    <a:pt x="155" y="13"/>
                  </a:cubicBezTo>
                  <a:cubicBezTo>
                    <a:pt x="155" y="17"/>
                    <a:pt x="155" y="22"/>
                    <a:pt x="154" y="25"/>
                  </a:cubicBezTo>
                  <a:cubicBezTo>
                    <a:pt x="152" y="26"/>
                    <a:pt x="150" y="26"/>
                    <a:pt x="148" y="27"/>
                  </a:cubicBezTo>
                  <a:cubicBezTo>
                    <a:pt x="145" y="25"/>
                    <a:pt x="142" y="21"/>
                    <a:pt x="140" y="17"/>
                  </a:cubicBezTo>
                  <a:cubicBezTo>
                    <a:pt x="136" y="11"/>
                    <a:pt x="133" y="13"/>
                    <a:pt x="130" y="14"/>
                  </a:cubicBezTo>
                  <a:cubicBezTo>
                    <a:pt x="128" y="15"/>
                    <a:pt x="124" y="16"/>
                    <a:pt x="126" y="23"/>
                  </a:cubicBezTo>
                  <a:cubicBezTo>
                    <a:pt x="127" y="27"/>
                    <a:pt x="127" y="32"/>
                    <a:pt x="126" y="35"/>
                  </a:cubicBezTo>
                  <a:cubicBezTo>
                    <a:pt x="125" y="36"/>
                    <a:pt x="123" y="37"/>
                    <a:pt x="121" y="38"/>
                  </a:cubicBezTo>
                  <a:cubicBezTo>
                    <a:pt x="118" y="37"/>
                    <a:pt x="114" y="33"/>
                    <a:pt x="111" y="30"/>
                  </a:cubicBezTo>
                  <a:cubicBezTo>
                    <a:pt x="107" y="24"/>
                    <a:pt x="104" y="26"/>
                    <a:pt x="102" y="28"/>
                  </a:cubicBezTo>
                  <a:cubicBezTo>
                    <a:pt x="99" y="29"/>
                    <a:pt x="96" y="30"/>
                    <a:pt x="99" y="37"/>
                  </a:cubicBezTo>
                  <a:cubicBezTo>
                    <a:pt x="100" y="41"/>
                    <a:pt x="101" y="46"/>
                    <a:pt x="101" y="49"/>
                  </a:cubicBezTo>
                  <a:cubicBezTo>
                    <a:pt x="99" y="50"/>
                    <a:pt x="98" y="52"/>
                    <a:pt x="96" y="53"/>
                  </a:cubicBezTo>
                  <a:cubicBezTo>
                    <a:pt x="93" y="52"/>
                    <a:pt x="89" y="49"/>
                    <a:pt x="85" y="46"/>
                  </a:cubicBezTo>
                  <a:cubicBezTo>
                    <a:pt x="80" y="41"/>
                    <a:pt x="78" y="44"/>
                    <a:pt x="76" y="46"/>
                  </a:cubicBezTo>
                  <a:cubicBezTo>
                    <a:pt x="74" y="47"/>
                    <a:pt x="70" y="49"/>
                    <a:pt x="74" y="55"/>
                  </a:cubicBezTo>
                  <a:cubicBezTo>
                    <a:pt x="76" y="59"/>
                    <a:pt x="78" y="64"/>
                    <a:pt x="78" y="67"/>
                  </a:cubicBezTo>
                  <a:cubicBezTo>
                    <a:pt x="77" y="69"/>
                    <a:pt x="75" y="70"/>
                    <a:pt x="74" y="71"/>
                  </a:cubicBezTo>
                  <a:cubicBezTo>
                    <a:pt x="71" y="71"/>
                    <a:pt x="66" y="69"/>
                    <a:pt x="62" y="66"/>
                  </a:cubicBezTo>
                  <a:cubicBezTo>
                    <a:pt x="56" y="62"/>
                    <a:pt x="54" y="66"/>
                    <a:pt x="53" y="68"/>
                  </a:cubicBezTo>
                  <a:cubicBezTo>
                    <a:pt x="51" y="70"/>
                    <a:pt x="48" y="72"/>
                    <a:pt x="53" y="77"/>
                  </a:cubicBezTo>
                  <a:cubicBezTo>
                    <a:pt x="55" y="81"/>
                    <a:pt x="58" y="85"/>
                    <a:pt x="59" y="88"/>
                  </a:cubicBezTo>
                  <a:cubicBezTo>
                    <a:pt x="57" y="90"/>
                    <a:pt x="56" y="92"/>
                    <a:pt x="55" y="93"/>
                  </a:cubicBezTo>
                  <a:cubicBezTo>
                    <a:pt x="52" y="93"/>
                    <a:pt x="47" y="92"/>
                    <a:pt x="43" y="90"/>
                  </a:cubicBezTo>
                  <a:cubicBezTo>
                    <a:pt x="36" y="87"/>
                    <a:pt x="35" y="91"/>
                    <a:pt x="33" y="93"/>
                  </a:cubicBezTo>
                  <a:cubicBezTo>
                    <a:pt x="32" y="95"/>
                    <a:pt x="29" y="98"/>
                    <a:pt x="35" y="102"/>
                  </a:cubicBezTo>
                  <a:cubicBezTo>
                    <a:pt x="38" y="105"/>
                    <a:pt x="41" y="109"/>
                    <a:pt x="42" y="112"/>
                  </a:cubicBezTo>
                  <a:cubicBezTo>
                    <a:pt x="41" y="114"/>
                    <a:pt x="40" y="116"/>
                    <a:pt x="39" y="118"/>
                  </a:cubicBezTo>
                  <a:cubicBezTo>
                    <a:pt x="36" y="118"/>
                    <a:pt x="31" y="118"/>
                    <a:pt x="27" y="117"/>
                  </a:cubicBezTo>
                  <a:cubicBezTo>
                    <a:pt x="20" y="115"/>
                    <a:pt x="19" y="118"/>
                    <a:pt x="18" y="121"/>
                  </a:cubicBezTo>
                  <a:cubicBezTo>
                    <a:pt x="17" y="123"/>
                    <a:pt x="15" y="126"/>
                    <a:pt x="21" y="130"/>
                  </a:cubicBezTo>
                  <a:cubicBezTo>
                    <a:pt x="25" y="133"/>
                    <a:pt x="29" y="136"/>
                    <a:pt x="30" y="139"/>
                  </a:cubicBezTo>
                  <a:cubicBezTo>
                    <a:pt x="29" y="141"/>
                    <a:pt x="29" y="142"/>
                    <a:pt x="28" y="144"/>
                  </a:cubicBezTo>
                  <a:cubicBezTo>
                    <a:pt x="25" y="146"/>
                    <a:pt x="20" y="146"/>
                    <a:pt x="16" y="145"/>
                  </a:cubicBezTo>
                  <a:cubicBezTo>
                    <a:pt x="9" y="144"/>
                    <a:pt x="8" y="148"/>
                    <a:pt x="7" y="151"/>
                  </a:cubicBezTo>
                  <a:cubicBezTo>
                    <a:pt x="7" y="153"/>
                    <a:pt x="5" y="157"/>
                    <a:pt x="12" y="159"/>
                  </a:cubicBezTo>
                  <a:cubicBezTo>
                    <a:pt x="16" y="161"/>
                    <a:pt x="20" y="164"/>
                    <a:pt x="22" y="167"/>
                  </a:cubicBezTo>
                  <a:cubicBezTo>
                    <a:pt x="22" y="168"/>
                    <a:pt x="22" y="170"/>
                    <a:pt x="21" y="172"/>
                  </a:cubicBezTo>
                  <a:cubicBezTo>
                    <a:pt x="19" y="174"/>
                    <a:pt x="13" y="175"/>
                    <a:pt x="9" y="175"/>
                  </a:cubicBezTo>
                  <a:cubicBezTo>
                    <a:pt x="2" y="176"/>
                    <a:pt x="2" y="179"/>
                    <a:pt x="2" y="182"/>
                  </a:cubicBezTo>
                  <a:cubicBezTo>
                    <a:pt x="1" y="185"/>
                    <a:pt x="1" y="188"/>
                    <a:pt x="7" y="190"/>
                  </a:cubicBezTo>
                  <a:cubicBezTo>
                    <a:pt x="12" y="191"/>
                    <a:pt x="17" y="193"/>
                    <a:pt x="19" y="195"/>
                  </a:cubicBezTo>
                  <a:cubicBezTo>
                    <a:pt x="19" y="197"/>
                    <a:pt x="19" y="199"/>
                    <a:pt x="19" y="201"/>
                  </a:cubicBezTo>
                  <a:cubicBezTo>
                    <a:pt x="16" y="203"/>
                    <a:pt x="11" y="205"/>
                    <a:pt x="7" y="206"/>
                  </a:cubicBezTo>
                  <a:cubicBezTo>
                    <a:pt x="0" y="207"/>
                    <a:pt x="1" y="211"/>
                    <a:pt x="1" y="214"/>
                  </a:cubicBezTo>
                  <a:cubicBezTo>
                    <a:pt x="1" y="216"/>
                    <a:pt x="1" y="220"/>
                    <a:pt x="8" y="221"/>
                  </a:cubicBezTo>
                  <a:cubicBezTo>
                    <a:pt x="12" y="221"/>
                    <a:pt x="17" y="222"/>
                    <a:pt x="20" y="224"/>
                  </a:cubicBezTo>
                  <a:cubicBezTo>
                    <a:pt x="20" y="226"/>
                    <a:pt x="20" y="228"/>
                    <a:pt x="21" y="230"/>
                  </a:cubicBezTo>
                  <a:cubicBezTo>
                    <a:pt x="19" y="233"/>
                    <a:pt x="14" y="235"/>
                    <a:pt x="10" y="237"/>
                  </a:cubicBezTo>
                  <a:cubicBezTo>
                    <a:pt x="3" y="239"/>
                    <a:pt x="5" y="243"/>
                    <a:pt x="5" y="245"/>
                  </a:cubicBezTo>
                  <a:cubicBezTo>
                    <a:pt x="6" y="248"/>
                    <a:pt x="6" y="252"/>
                    <a:pt x="13" y="251"/>
                  </a:cubicBezTo>
                  <a:cubicBezTo>
                    <a:pt x="17" y="251"/>
                    <a:pt x="23" y="251"/>
                    <a:pt x="25" y="253"/>
                  </a:cubicBezTo>
                  <a:cubicBezTo>
                    <a:pt x="26" y="255"/>
                    <a:pt x="27" y="257"/>
                    <a:pt x="27" y="258"/>
                  </a:cubicBezTo>
                  <a:cubicBezTo>
                    <a:pt x="26" y="261"/>
                    <a:pt x="21" y="264"/>
                    <a:pt x="18" y="267"/>
                  </a:cubicBezTo>
                  <a:cubicBezTo>
                    <a:pt x="11" y="270"/>
                    <a:pt x="13" y="273"/>
                    <a:pt x="14" y="276"/>
                  </a:cubicBezTo>
                  <a:cubicBezTo>
                    <a:pt x="15" y="278"/>
                    <a:pt x="16" y="282"/>
                    <a:pt x="23" y="280"/>
                  </a:cubicBezTo>
                  <a:cubicBezTo>
                    <a:pt x="27" y="279"/>
                    <a:pt x="32" y="279"/>
                    <a:pt x="35" y="280"/>
                  </a:cubicBezTo>
                  <a:cubicBezTo>
                    <a:pt x="36" y="282"/>
                    <a:pt x="37" y="283"/>
                    <a:pt x="38" y="285"/>
                  </a:cubicBezTo>
                  <a:cubicBezTo>
                    <a:pt x="37" y="288"/>
                    <a:pt x="33" y="292"/>
                    <a:pt x="30" y="295"/>
                  </a:cubicBezTo>
                  <a:cubicBezTo>
                    <a:pt x="24" y="299"/>
                    <a:pt x="26" y="302"/>
                    <a:pt x="28" y="304"/>
                  </a:cubicBezTo>
                  <a:cubicBezTo>
                    <a:pt x="29" y="307"/>
                    <a:pt x="31" y="310"/>
                    <a:pt x="37" y="307"/>
                  </a:cubicBezTo>
                  <a:cubicBezTo>
                    <a:pt x="41" y="306"/>
                    <a:pt x="46" y="305"/>
                    <a:pt x="49" y="305"/>
                  </a:cubicBezTo>
                  <a:cubicBezTo>
                    <a:pt x="51" y="307"/>
                    <a:pt x="52" y="308"/>
                    <a:pt x="53" y="310"/>
                  </a:cubicBezTo>
                  <a:cubicBezTo>
                    <a:pt x="52" y="313"/>
                    <a:pt x="49" y="317"/>
                    <a:pt x="46" y="321"/>
                  </a:cubicBezTo>
                  <a:cubicBezTo>
                    <a:pt x="41" y="326"/>
                    <a:pt x="44" y="329"/>
                    <a:pt x="46" y="331"/>
                  </a:cubicBezTo>
                  <a:cubicBezTo>
                    <a:pt x="48" y="333"/>
                    <a:pt x="50" y="336"/>
                    <a:pt x="56" y="332"/>
                  </a:cubicBezTo>
                  <a:cubicBezTo>
                    <a:pt x="59" y="330"/>
                    <a:pt x="64" y="328"/>
                    <a:pt x="67" y="328"/>
                  </a:cubicBezTo>
                  <a:cubicBezTo>
                    <a:pt x="69" y="329"/>
                    <a:pt x="70" y="331"/>
                    <a:pt x="71" y="332"/>
                  </a:cubicBezTo>
                  <a:cubicBezTo>
                    <a:pt x="71" y="335"/>
                    <a:pt x="69" y="340"/>
                    <a:pt x="67" y="344"/>
                  </a:cubicBezTo>
                  <a:cubicBezTo>
                    <a:pt x="63" y="350"/>
                    <a:pt x="66" y="352"/>
                    <a:pt x="68" y="354"/>
                  </a:cubicBezTo>
                  <a:cubicBezTo>
                    <a:pt x="70" y="355"/>
                    <a:pt x="72" y="358"/>
                    <a:pt x="78" y="354"/>
                  </a:cubicBezTo>
                  <a:cubicBezTo>
                    <a:pt x="81" y="351"/>
                    <a:pt x="86" y="348"/>
                    <a:pt x="89" y="348"/>
                  </a:cubicBezTo>
                  <a:cubicBezTo>
                    <a:pt x="90" y="349"/>
                    <a:pt x="92" y="350"/>
                    <a:pt x="93" y="351"/>
                  </a:cubicBezTo>
                  <a:cubicBezTo>
                    <a:pt x="94" y="354"/>
                    <a:pt x="92" y="359"/>
                    <a:pt x="90" y="364"/>
                  </a:cubicBezTo>
                  <a:cubicBezTo>
                    <a:pt x="87" y="370"/>
                    <a:pt x="91" y="372"/>
                    <a:pt x="93" y="373"/>
                  </a:cubicBezTo>
                  <a:cubicBezTo>
                    <a:pt x="95" y="374"/>
                    <a:pt x="98" y="377"/>
                    <a:pt x="103" y="371"/>
                  </a:cubicBezTo>
                  <a:cubicBezTo>
                    <a:pt x="106" y="368"/>
                    <a:pt x="110" y="365"/>
                    <a:pt x="113" y="364"/>
                  </a:cubicBezTo>
                  <a:cubicBezTo>
                    <a:pt x="114" y="365"/>
                    <a:pt x="116" y="366"/>
                    <a:pt x="118" y="367"/>
                  </a:cubicBezTo>
                  <a:cubicBezTo>
                    <a:pt x="119" y="370"/>
                    <a:pt x="118" y="375"/>
                    <a:pt x="117" y="379"/>
                  </a:cubicBezTo>
                  <a:cubicBezTo>
                    <a:pt x="115" y="386"/>
                    <a:pt x="119" y="387"/>
                    <a:pt x="121" y="388"/>
                  </a:cubicBezTo>
                  <a:cubicBezTo>
                    <a:pt x="123" y="389"/>
                    <a:pt x="127" y="391"/>
                    <a:pt x="130" y="385"/>
                  </a:cubicBezTo>
                  <a:cubicBezTo>
                    <a:pt x="133" y="381"/>
                    <a:pt x="136" y="377"/>
                    <a:pt x="139" y="376"/>
                  </a:cubicBezTo>
                  <a:cubicBezTo>
                    <a:pt x="141" y="377"/>
                    <a:pt x="143" y="377"/>
                    <a:pt x="145" y="378"/>
                  </a:cubicBezTo>
                  <a:cubicBezTo>
                    <a:pt x="146" y="381"/>
                    <a:pt x="146" y="386"/>
                    <a:pt x="146" y="391"/>
                  </a:cubicBezTo>
                  <a:cubicBezTo>
                    <a:pt x="145" y="397"/>
                    <a:pt x="148" y="398"/>
                    <a:pt x="151" y="399"/>
                  </a:cubicBezTo>
                  <a:cubicBezTo>
                    <a:pt x="153" y="399"/>
                    <a:pt x="157" y="401"/>
                    <a:pt x="160" y="394"/>
                  </a:cubicBezTo>
                  <a:cubicBezTo>
                    <a:pt x="162" y="390"/>
                    <a:pt x="164" y="386"/>
                    <a:pt x="167" y="384"/>
                  </a:cubicBezTo>
                  <a:cubicBezTo>
                    <a:pt x="169" y="384"/>
                    <a:pt x="171" y="385"/>
                    <a:pt x="173" y="385"/>
                  </a:cubicBezTo>
                  <a:cubicBezTo>
                    <a:pt x="174" y="388"/>
                    <a:pt x="175" y="393"/>
                    <a:pt x="176" y="397"/>
                  </a:cubicBezTo>
                  <a:cubicBezTo>
                    <a:pt x="176" y="404"/>
                    <a:pt x="180" y="404"/>
                    <a:pt x="182" y="404"/>
                  </a:cubicBezTo>
                  <a:cubicBezTo>
                    <a:pt x="185" y="405"/>
                    <a:pt x="188" y="406"/>
                    <a:pt x="190" y="399"/>
                  </a:cubicBezTo>
                  <a:cubicBezTo>
                    <a:pt x="191" y="394"/>
                    <a:pt x="193" y="390"/>
                    <a:pt x="196" y="387"/>
                  </a:cubicBezTo>
                  <a:cubicBezTo>
                    <a:pt x="198" y="387"/>
                    <a:pt x="200" y="388"/>
                    <a:pt x="202" y="388"/>
                  </a:cubicBezTo>
                  <a:cubicBezTo>
                    <a:pt x="204" y="390"/>
                    <a:pt x="205" y="395"/>
                    <a:pt x="206" y="399"/>
                  </a:cubicBezTo>
                  <a:cubicBezTo>
                    <a:pt x="208" y="406"/>
                    <a:pt x="211" y="405"/>
                    <a:pt x="214" y="405"/>
                  </a:cubicBezTo>
                  <a:cubicBezTo>
                    <a:pt x="217" y="405"/>
                    <a:pt x="220" y="405"/>
                    <a:pt x="221" y="398"/>
                  </a:cubicBezTo>
                  <a:cubicBezTo>
                    <a:pt x="221" y="394"/>
                    <a:pt x="223" y="389"/>
                    <a:pt x="224" y="386"/>
                  </a:cubicBezTo>
                  <a:cubicBezTo>
                    <a:pt x="226" y="386"/>
                    <a:pt x="228" y="386"/>
                    <a:pt x="230" y="386"/>
                  </a:cubicBezTo>
                  <a:cubicBezTo>
                    <a:pt x="233" y="388"/>
                    <a:pt x="235" y="392"/>
                    <a:pt x="237" y="396"/>
                  </a:cubicBezTo>
                  <a:cubicBezTo>
                    <a:pt x="239" y="403"/>
                    <a:pt x="243" y="402"/>
                    <a:pt x="245" y="401"/>
                  </a:cubicBezTo>
                  <a:cubicBezTo>
                    <a:pt x="248" y="401"/>
                    <a:pt x="252" y="400"/>
                    <a:pt x="251" y="393"/>
                  </a:cubicBezTo>
                  <a:cubicBezTo>
                    <a:pt x="251" y="389"/>
                    <a:pt x="251" y="384"/>
                    <a:pt x="253" y="381"/>
                  </a:cubicBezTo>
                  <a:cubicBezTo>
                    <a:pt x="255" y="380"/>
                    <a:pt x="257" y="380"/>
                    <a:pt x="259" y="379"/>
                  </a:cubicBezTo>
                  <a:cubicBezTo>
                    <a:pt x="261" y="381"/>
                    <a:pt x="265" y="385"/>
                    <a:pt x="267" y="389"/>
                  </a:cubicBezTo>
                  <a:cubicBezTo>
                    <a:pt x="270" y="395"/>
                    <a:pt x="273" y="393"/>
                    <a:pt x="276" y="392"/>
                  </a:cubicBezTo>
                  <a:cubicBezTo>
                    <a:pt x="278" y="391"/>
                    <a:pt x="282" y="390"/>
                    <a:pt x="280" y="383"/>
                  </a:cubicBezTo>
                  <a:cubicBezTo>
                    <a:pt x="280" y="379"/>
                    <a:pt x="279" y="374"/>
                    <a:pt x="280" y="371"/>
                  </a:cubicBezTo>
                  <a:cubicBezTo>
                    <a:pt x="282" y="370"/>
                    <a:pt x="284" y="369"/>
                    <a:pt x="286" y="368"/>
                  </a:cubicBezTo>
                  <a:cubicBezTo>
                    <a:pt x="288" y="369"/>
                    <a:pt x="292" y="373"/>
                    <a:pt x="295" y="376"/>
                  </a:cubicBezTo>
                  <a:cubicBezTo>
                    <a:pt x="299" y="382"/>
                    <a:pt x="302" y="380"/>
                    <a:pt x="305" y="378"/>
                  </a:cubicBezTo>
                  <a:cubicBezTo>
                    <a:pt x="307" y="377"/>
                    <a:pt x="310" y="376"/>
                    <a:pt x="308" y="369"/>
                  </a:cubicBezTo>
                  <a:cubicBezTo>
                    <a:pt x="306" y="365"/>
                    <a:pt x="305" y="360"/>
                    <a:pt x="305" y="357"/>
                  </a:cubicBezTo>
                  <a:cubicBezTo>
                    <a:pt x="307" y="356"/>
                    <a:pt x="309" y="354"/>
                    <a:pt x="310" y="353"/>
                  </a:cubicBezTo>
                  <a:cubicBezTo>
                    <a:pt x="313" y="354"/>
                    <a:pt x="318" y="357"/>
                    <a:pt x="321" y="360"/>
                  </a:cubicBezTo>
                  <a:cubicBezTo>
                    <a:pt x="326" y="365"/>
                    <a:pt x="329" y="362"/>
                    <a:pt x="331" y="360"/>
                  </a:cubicBezTo>
                  <a:cubicBezTo>
                    <a:pt x="333" y="359"/>
                    <a:pt x="336" y="357"/>
                    <a:pt x="332" y="351"/>
                  </a:cubicBezTo>
                  <a:cubicBezTo>
                    <a:pt x="330" y="347"/>
                    <a:pt x="328" y="342"/>
                    <a:pt x="328" y="339"/>
                  </a:cubicBezTo>
                  <a:cubicBezTo>
                    <a:pt x="330" y="337"/>
                    <a:pt x="331" y="336"/>
                    <a:pt x="333" y="335"/>
                  </a:cubicBezTo>
                  <a:cubicBezTo>
                    <a:pt x="336" y="335"/>
                    <a:pt x="340" y="337"/>
                    <a:pt x="344" y="339"/>
                  </a:cubicBezTo>
                  <a:cubicBezTo>
                    <a:pt x="350" y="343"/>
                    <a:pt x="352" y="340"/>
                    <a:pt x="354" y="338"/>
                  </a:cubicBezTo>
                  <a:cubicBezTo>
                    <a:pt x="356" y="336"/>
                    <a:pt x="358" y="334"/>
                    <a:pt x="354" y="329"/>
                  </a:cubicBezTo>
                  <a:cubicBezTo>
                    <a:pt x="351" y="325"/>
                    <a:pt x="348" y="321"/>
                    <a:pt x="348" y="318"/>
                  </a:cubicBezTo>
                  <a:cubicBezTo>
                    <a:pt x="349" y="316"/>
                    <a:pt x="350" y="314"/>
                    <a:pt x="352" y="313"/>
                  </a:cubicBezTo>
                  <a:cubicBezTo>
                    <a:pt x="355" y="313"/>
                    <a:pt x="360" y="314"/>
                    <a:pt x="364" y="316"/>
                  </a:cubicBezTo>
                  <a:cubicBezTo>
                    <a:pt x="370" y="319"/>
                    <a:pt x="372" y="315"/>
                    <a:pt x="373" y="313"/>
                  </a:cubicBezTo>
                  <a:cubicBezTo>
                    <a:pt x="375" y="311"/>
                    <a:pt x="377" y="308"/>
                    <a:pt x="372" y="304"/>
                  </a:cubicBezTo>
                  <a:cubicBezTo>
                    <a:pt x="368" y="300"/>
                    <a:pt x="365" y="297"/>
                    <a:pt x="364" y="294"/>
                  </a:cubicBezTo>
                  <a:cubicBezTo>
                    <a:pt x="365" y="292"/>
                    <a:pt x="366" y="290"/>
                    <a:pt x="367" y="288"/>
                  </a:cubicBezTo>
                  <a:cubicBezTo>
                    <a:pt x="370" y="287"/>
                    <a:pt x="375" y="288"/>
                    <a:pt x="379" y="289"/>
                  </a:cubicBezTo>
                  <a:cubicBezTo>
                    <a:pt x="386" y="291"/>
                    <a:pt x="387" y="288"/>
                    <a:pt x="388" y="285"/>
                  </a:cubicBezTo>
                  <a:cubicBezTo>
                    <a:pt x="389" y="283"/>
                    <a:pt x="391" y="280"/>
                    <a:pt x="385" y="276"/>
                  </a:cubicBezTo>
                  <a:cubicBezTo>
                    <a:pt x="382" y="273"/>
                    <a:pt x="378" y="270"/>
                    <a:pt x="376" y="267"/>
                  </a:cubicBezTo>
                  <a:cubicBezTo>
                    <a:pt x="377" y="265"/>
                    <a:pt x="378" y="264"/>
                    <a:pt x="378" y="262"/>
                  </a:cubicBezTo>
                  <a:cubicBezTo>
                    <a:pt x="381" y="260"/>
                    <a:pt x="386" y="260"/>
                    <a:pt x="391" y="261"/>
                  </a:cubicBezTo>
                  <a:cubicBezTo>
                    <a:pt x="398" y="262"/>
                    <a:pt x="398" y="258"/>
                    <a:pt x="399" y="255"/>
                  </a:cubicBezTo>
                  <a:cubicBezTo>
                    <a:pt x="400" y="253"/>
                    <a:pt x="401" y="249"/>
                    <a:pt x="394" y="247"/>
                  </a:cubicBezTo>
                  <a:cubicBezTo>
                    <a:pt x="390" y="245"/>
                    <a:pt x="386" y="242"/>
                    <a:pt x="384" y="239"/>
                  </a:cubicBezTo>
                  <a:cubicBezTo>
                    <a:pt x="385" y="237"/>
                    <a:pt x="385" y="236"/>
                    <a:pt x="385" y="234"/>
                  </a:cubicBezTo>
                  <a:cubicBezTo>
                    <a:pt x="388" y="232"/>
                    <a:pt x="393" y="231"/>
                    <a:pt x="397" y="231"/>
                  </a:cubicBezTo>
                  <a:cubicBezTo>
                    <a:pt x="404" y="230"/>
                    <a:pt x="404" y="227"/>
                    <a:pt x="405" y="224"/>
                  </a:cubicBezTo>
                  <a:cubicBezTo>
                    <a:pt x="405" y="221"/>
                    <a:pt x="406" y="218"/>
                    <a:pt x="399" y="216"/>
                  </a:cubicBezTo>
                  <a:cubicBezTo>
                    <a:pt x="395" y="215"/>
                    <a:pt x="390" y="213"/>
                    <a:pt x="388" y="211"/>
                  </a:cubicBezTo>
                  <a:cubicBezTo>
                    <a:pt x="388" y="209"/>
                    <a:pt x="388" y="207"/>
                    <a:pt x="388" y="205"/>
                  </a:cubicBezTo>
                  <a:cubicBezTo>
                    <a:pt x="390" y="203"/>
                    <a:pt x="395" y="201"/>
                    <a:pt x="399" y="200"/>
                  </a:cubicBezTo>
                  <a:cubicBezTo>
                    <a:pt x="406" y="199"/>
                    <a:pt x="406" y="195"/>
                    <a:pt x="405" y="192"/>
                  </a:cubicBezTo>
                  <a:cubicBezTo>
                    <a:pt x="405" y="190"/>
                    <a:pt x="406" y="186"/>
                    <a:pt x="399" y="185"/>
                  </a:cubicBezTo>
                  <a:cubicBezTo>
                    <a:pt x="394" y="185"/>
                    <a:pt x="389" y="184"/>
                    <a:pt x="387" y="182"/>
                  </a:cubicBezTo>
                  <a:cubicBezTo>
                    <a:pt x="386" y="180"/>
                    <a:pt x="386" y="178"/>
                    <a:pt x="386" y="176"/>
                  </a:cubicBezTo>
                  <a:cubicBezTo>
                    <a:pt x="388" y="173"/>
                    <a:pt x="392" y="171"/>
                    <a:pt x="396" y="169"/>
                  </a:cubicBezTo>
                  <a:cubicBezTo>
                    <a:pt x="403" y="167"/>
                    <a:pt x="402" y="163"/>
                    <a:pt x="401" y="161"/>
                  </a:cubicBezTo>
                  <a:cubicBezTo>
                    <a:pt x="401" y="158"/>
                    <a:pt x="400" y="154"/>
                    <a:pt x="393" y="155"/>
                  </a:cubicBezTo>
                  <a:cubicBezTo>
                    <a:pt x="389" y="155"/>
                    <a:pt x="384" y="155"/>
                    <a:pt x="381" y="153"/>
                  </a:cubicBezTo>
                  <a:cubicBezTo>
                    <a:pt x="380" y="151"/>
                    <a:pt x="380" y="149"/>
                    <a:pt x="379" y="148"/>
                  </a:cubicBezTo>
                  <a:cubicBezTo>
                    <a:pt x="381" y="145"/>
                    <a:pt x="385" y="142"/>
                    <a:pt x="389" y="139"/>
                  </a:cubicBezTo>
                  <a:cubicBezTo>
                    <a:pt x="395" y="136"/>
                    <a:pt x="393" y="133"/>
                    <a:pt x="392" y="130"/>
                  </a:cubicBezTo>
                  <a:cubicBezTo>
                    <a:pt x="391" y="128"/>
                    <a:pt x="390" y="124"/>
                    <a:pt x="384" y="126"/>
                  </a:cubicBezTo>
                  <a:cubicBezTo>
                    <a:pt x="379" y="127"/>
                    <a:pt x="374" y="127"/>
                    <a:pt x="371" y="126"/>
                  </a:cubicBezTo>
                  <a:cubicBezTo>
                    <a:pt x="370" y="124"/>
                    <a:pt x="369" y="122"/>
                    <a:pt x="368" y="121"/>
                  </a:cubicBezTo>
                  <a:cubicBezTo>
                    <a:pt x="370" y="118"/>
                    <a:pt x="373" y="114"/>
                    <a:pt x="377" y="111"/>
                  </a:cubicBezTo>
                  <a:cubicBezTo>
                    <a:pt x="382" y="107"/>
                    <a:pt x="380" y="104"/>
                    <a:pt x="379" y="102"/>
                  </a:cubicBezTo>
                  <a:cubicBezTo>
                    <a:pt x="377" y="99"/>
                    <a:pt x="376" y="96"/>
                    <a:pt x="369" y="99"/>
                  </a:cubicBezTo>
                  <a:cubicBezTo>
                    <a:pt x="365" y="100"/>
                    <a:pt x="360" y="101"/>
                    <a:pt x="357" y="101"/>
                  </a:cubicBezTo>
                  <a:cubicBezTo>
                    <a:pt x="356" y="99"/>
                    <a:pt x="355" y="98"/>
                    <a:pt x="353" y="96"/>
                  </a:cubicBezTo>
                  <a:cubicBezTo>
                    <a:pt x="354" y="93"/>
                    <a:pt x="357" y="89"/>
                    <a:pt x="360" y="85"/>
                  </a:cubicBezTo>
                  <a:cubicBezTo>
                    <a:pt x="365" y="80"/>
                    <a:pt x="362" y="77"/>
                    <a:pt x="361" y="75"/>
                  </a:cubicBezTo>
                  <a:cubicBezTo>
                    <a:pt x="359" y="73"/>
                    <a:pt x="357" y="70"/>
                    <a:pt x="351" y="74"/>
                  </a:cubicBezTo>
                  <a:moveTo>
                    <a:pt x="308" y="332"/>
                  </a:moveTo>
                  <a:cubicBezTo>
                    <a:pt x="237" y="390"/>
                    <a:pt x="132" y="379"/>
                    <a:pt x="74" y="308"/>
                  </a:cubicBezTo>
                  <a:cubicBezTo>
                    <a:pt x="16" y="236"/>
                    <a:pt x="27" y="132"/>
                    <a:pt x="99" y="74"/>
                  </a:cubicBezTo>
                  <a:cubicBezTo>
                    <a:pt x="170" y="16"/>
                    <a:pt x="274" y="27"/>
                    <a:pt x="332" y="98"/>
                  </a:cubicBezTo>
                  <a:cubicBezTo>
                    <a:pt x="390" y="170"/>
                    <a:pt x="379" y="274"/>
                    <a:pt x="308" y="33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8" name="Freeform 21377">
              <a:extLst>
                <a:ext uri="{FF2B5EF4-FFF2-40B4-BE49-F238E27FC236}">
                  <a16:creationId xmlns:a16="http://schemas.microsoft.com/office/drawing/2014/main" id="{9FBB453E-988C-4AA2-A631-38325D78D4A1}"/>
                </a:ext>
              </a:extLst>
            </p:cNvPr>
            <p:cNvSpPr>
              <a:spLocks/>
            </p:cNvSpPr>
            <p:nvPr userDrawn="1"/>
          </p:nvSpPr>
          <p:spPr bwMode="auto">
            <a:xfrm>
              <a:off x="8890953" y="4814253"/>
              <a:ext cx="868363" cy="865188"/>
            </a:xfrm>
            <a:custGeom>
              <a:avLst/>
              <a:gdLst>
                <a:gd name="T0" fmla="*/ 95 w 430"/>
                <a:gd name="T1" fmla="*/ 66 h 429"/>
                <a:gd name="T2" fmla="*/ 67 w 430"/>
                <a:gd name="T3" fmla="*/ 335 h 429"/>
                <a:gd name="T4" fmla="*/ 335 w 430"/>
                <a:gd name="T5" fmla="*/ 363 h 429"/>
                <a:gd name="T6" fmla="*/ 363 w 430"/>
                <a:gd name="T7" fmla="*/ 94 h 429"/>
                <a:gd name="T8" fmla="*/ 95 w 430"/>
                <a:gd name="T9" fmla="*/ 66 h 429"/>
              </a:gdLst>
              <a:ahLst/>
              <a:cxnLst>
                <a:cxn ang="0">
                  <a:pos x="T0" y="T1"/>
                </a:cxn>
                <a:cxn ang="0">
                  <a:pos x="T2" y="T3"/>
                </a:cxn>
                <a:cxn ang="0">
                  <a:pos x="T4" y="T5"/>
                </a:cxn>
                <a:cxn ang="0">
                  <a:pos x="T6" y="T7"/>
                </a:cxn>
                <a:cxn ang="0">
                  <a:pos x="T8" y="T9"/>
                </a:cxn>
              </a:cxnLst>
              <a:rect l="0" t="0" r="r" b="b"/>
              <a:pathLst>
                <a:path w="430" h="429">
                  <a:moveTo>
                    <a:pt x="95" y="66"/>
                  </a:moveTo>
                  <a:cubicBezTo>
                    <a:pt x="13" y="133"/>
                    <a:pt x="0" y="253"/>
                    <a:pt x="67" y="335"/>
                  </a:cubicBezTo>
                  <a:cubicBezTo>
                    <a:pt x="133" y="417"/>
                    <a:pt x="253" y="429"/>
                    <a:pt x="335" y="363"/>
                  </a:cubicBezTo>
                  <a:cubicBezTo>
                    <a:pt x="417" y="296"/>
                    <a:pt x="430" y="176"/>
                    <a:pt x="363" y="94"/>
                  </a:cubicBezTo>
                  <a:cubicBezTo>
                    <a:pt x="297" y="12"/>
                    <a:pt x="176" y="0"/>
                    <a:pt x="95" y="66"/>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9" name="Freeform 21378">
              <a:extLst>
                <a:ext uri="{FF2B5EF4-FFF2-40B4-BE49-F238E27FC236}">
                  <a16:creationId xmlns:a16="http://schemas.microsoft.com/office/drawing/2014/main" id="{2EE53F82-602B-47E4-B298-A11C0A5309DA}"/>
                </a:ext>
              </a:extLst>
            </p:cNvPr>
            <p:cNvSpPr>
              <a:spLocks noEditPoints="1"/>
            </p:cNvSpPr>
            <p:nvPr userDrawn="1"/>
          </p:nvSpPr>
          <p:spPr bwMode="auto">
            <a:xfrm>
              <a:off x="8870315" y="4793615"/>
              <a:ext cx="908050" cy="904875"/>
            </a:xfrm>
            <a:custGeom>
              <a:avLst/>
              <a:gdLst>
                <a:gd name="T0" fmla="*/ 376 w 449"/>
                <a:gd name="T1" fmla="*/ 69 h 449"/>
                <a:gd name="T2" fmla="*/ 346 w 449"/>
                <a:gd name="T3" fmla="*/ 60 h 449"/>
                <a:gd name="T4" fmla="*/ 325 w 449"/>
                <a:gd name="T5" fmla="*/ 47 h 449"/>
                <a:gd name="T6" fmla="*/ 305 w 449"/>
                <a:gd name="T7" fmla="*/ 23 h 449"/>
                <a:gd name="T8" fmla="*/ 283 w 449"/>
                <a:gd name="T9" fmla="*/ 8 h 449"/>
                <a:gd name="T10" fmla="*/ 255 w 449"/>
                <a:gd name="T11" fmla="*/ 10 h 449"/>
                <a:gd name="T12" fmla="*/ 227 w 449"/>
                <a:gd name="T13" fmla="*/ 20 h 449"/>
                <a:gd name="T14" fmla="*/ 201 w 449"/>
                <a:gd name="T15" fmla="*/ 22 h 449"/>
                <a:gd name="T16" fmla="*/ 172 w 449"/>
                <a:gd name="T17" fmla="*/ 14 h 449"/>
                <a:gd name="T18" fmla="*/ 144 w 449"/>
                <a:gd name="T19" fmla="*/ 15 h 449"/>
                <a:gd name="T20" fmla="*/ 123 w 449"/>
                <a:gd name="T21" fmla="*/ 33 h 449"/>
                <a:gd name="T22" fmla="*/ 106 w 449"/>
                <a:gd name="T23" fmla="*/ 58 h 449"/>
                <a:gd name="T24" fmla="*/ 87 w 449"/>
                <a:gd name="T25" fmla="*/ 74 h 449"/>
                <a:gd name="T26" fmla="*/ 58 w 449"/>
                <a:gd name="T27" fmla="*/ 86 h 449"/>
                <a:gd name="T28" fmla="*/ 37 w 449"/>
                <a:gd name="T29" fmla="*/ 103 h 449"/>
                <a:gd name="T30" fmla="*/ 30 w 449"/>
                <a:gd name="T31" fmla="*/ 129 h 449"/>
                <a:gd name="T32" fmla="*/ 31 w 449"/>
                <a:gd name="T33" fmla="*/ 160 h 449"/>
                <a:gd name="T34" fmla="*/ 25 w 449"/>
                <a:gd name="T35" fmla="*/ 184 h 449"/>
                <a:gd name="T36" fmla="*/ 9 w 449"/>
                <a:gd name="T37" fmla="*/ 210 h 449"/>
                <a:gd name="T38" fmla="*/ 1 w 449"/>
                <a:gd name="T39" fmla="*/ 236 h 449"/>
                <a:gd name="T40" fmla="*/ 11 w 449"/>
                <a:gd name="T41" fmla="*/ 262 h 449"/>
                <a:gd name="T42" fmla="*/ 30 w 449"/>
                <a:gd name="T43" fmla="*/ 286 h 449"/>
                <a:gd name="T44" fmla="*/ 39 w 449"/>
                <a:gd name="T45" fmla="*/ 309 h 449"/>
                <a:gd name="T46" fmla="*/ 41 w 449"/>
                <a:gd name="T47" fmla="*/ 340 h 449"/>
                <a:gd name="T48" fmla="*/ 51 w 449"/>
                <a:gd name="T49" fmla="*/ 365 h 449"/>
                <a:gd name="T50" fmla="*/ 74 w 449"/>
                <a:gd name="T51" fmla="*/ 380 h 449"/>
                <a:gd name="T52" fmla="*/ 103 w 449"/>
                <a:gd name="T53" fmla="*/ 388 h 449"/>
                <a:gd name="T54" fmla="*/ 125 w 449"/>
                <a:gd name="T55" fmla="*/ 402 h 449"/>
                <a:gd name="T56" fmla="*/ 144 w 449"/>
                <a:gd name="T57" fmla="*/ 426 h 449"/>
                <a:gd name="T58" fmla="*/ 167 w 449"/>
                <a:gd name="T59" fmla="*/ 441 h 449"/>
                <a:gd name="T60" fmla="*/ 194 w 449"/>
                <a:gd name="T61" fmla="*/ 439 h 449"/>
                <a:gd name="T62" fmla="*/ 223 w 449"/>
                <a:gd name="T63" fmla="*/ 428 h 449"/>
                <a:gd name="T64" fmla="*/ 248 w 449"/>
                <a:gd name="T65" fmla="*/ 427 h 449"/>
                <a:gd name="T66" fmla="*/ 278 w 449"/>
                <a:gd name="T67" fmla="*/ 435 h 449"/>
                <a:gd name="T68" fmla="*/ 305 w 449"/>
                <a:gd name="T69" fmla="*/ 433 h 449"/>
                <a:gd name="T70" fmla="*/ 326 w 449"/>
                <a:gd name="T71" fmla="*/ 416 h 449"/>
                <a:gd name="T72" fmla="*/ 343 w 449"/>
                <a:gd name="T73" fmla="*/ 390 h 449"/>
                <a:gd name="T74" fmla="*/ 363 w 449"/>
                <a:gd name="T75" fmla="*/ 374 h 449"/>
                <a:gd name="T76" fmla="*/ 391 w 449"/>
                <a:gd name="T77" fmla="*/ 363 h 449"/>
                <a:gd name="T78" fmla="*/ 413 w 449"/>
                <a:gd name="T79" fmla="*/ 346 h 449"/>
                <a:gd name="T80" fmla="*/ 420 w 449"/>
                <a:gd name="T81" fmla="*/ 320 h 449"/>
                <a:gd name="T82" fmla="*/ 418 w 449"/>
                <a:gd name="T83" fmla="*/ 289 h 449"/>
                <a:gd name="T84" fmla="*/ 425 w 449"/>
                <a:gd name="T85" fmla="*/ 265 h 449"/>
                <a:gd name="T86" fmla="*/ 441 w 449"/>
                <a:gd name="T87" fmla="*/ 239 h 449"/>
                <a:gd name="T88" fmla="*/ 448 w 449"/>
                <a:gd name="T89" fmla="*/ 212 h 449"/>
                <a:gd name="T90" fmla="*/ 438 w 449"/>
                <a:gd name="T91" fmla="*/ 187 h 449"/>
                <a:gd name="T92" fmla="*/ 419 w 449"/>
                <a:gd name="T93" fmla="*/ 163 h 449"/>
                <a:gd name="T94" fmla="*/ 410 w 449"/>
                <a:gd name="T95" fmla="*/ 139 h 449"/>
                <a:gd name="T96" fmla="*/ 408 w 449"/>
                <a:gd name="T97" fmla="*/ 109 h 449"/>
                <a:gd name="T98" fmla="*/ 399 w 449"/>
                <a:gd name="T99" fmla="*/ 83 h 449"/>
                <a:gd name="T100" fmla="*/ 109 w 449"/>
                <a:gd name="T101" fmla="*/ 8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449">
                  <a:moveTo>
                    <a:pt x="388" y="82"/>
                  </a:moveTo>
                  <a:cubicBezTo>
                    <a:pt x="384" y="84"/>
                    <a:pt x="378" y="86"/>
                    <a:pt x="375" y="86"/>
                  </a:cubicBezTo>
                  <a:cubicBezTo>
                    <a:pt x="373" y="85"/>
                    <a:pt x="372" y="83"/>
                    <a:pt x="370" y="81"/>
                  </a:cubicBezTo>
                  <a:cubicBezTo>
                    <a:pt x="371" y="78"/>
                    <a:pt x="373" y="73"/>
                    <a:pt x="376" y="69"/>
                  </a:cubicBezTo>
                  <a:cubicBezTo>
                    <a:pt x="380" y="62"/>
                    <a:pt x="377" y="60"/>
                    <a:pt x="374" y="58"/>
                  </a:cubicBezTo>
                  <a:cubicBezTo>
                    <a:pt x="372" y="56"/>
                    <a:pt x="370" y="53"/>
                    <a:pt x="364" y="58"/>
                  </a:cubicBezTo>
                  <a:cubicBezTo>
                    <a:pt x="360" y="61"/>
                    <a:pt x="355" y="64"/>
                    <a:pt x="351" y="64"/>
                  </a:cubicBezTo>
                  <a:cubicBezTo>
                    <a:pt x="350" y="63"/>
                    <a:pt x="348" y="62"/>
                    <a:pt x="346" y="60"/>
                  </a:cubicBezTo>
                  <a:cubicBezTo>
                    <a:pt x="346" y="57"/>
                    <a:pt x="347" y="51"/>
                    <a:pt x="349" y="47"/>
                  </a:cubicBezTo>
                  <a:cubicBezTo>
                    <a:pt x="353" y="40"/>
                    <a:pt x="349" y="38"/>
                    <a:pt x="347" y="37"/>
                  </a:cubicBezTo>
                  <a:cubicBezTo>
                    <a:pt x="344" y="35"/>
                    <a:pt x="341" y="32"/>
                    <a:pt x="336" y="38"/>
                  </a:cubicBezTo>
                  <a:cubicBezTo>
                    <a:pt x="333" y="42"/>
                    <a:pt x="328" y="46"/>
                    <a:pt x="325" y="47"/>
                  </a:cubicBezTo>
                  <a:cubicBezTo>
                    <a:pt x="323" y="46"/>
                    <a:pt x="321" y="44"/>
                    <a:pt x="319" y="43"/>
                  </a:cubicBezTo>
                  <a:cubicBezTo>
                    <a:pt x="318" y="40"/>
                    <a:pt x="319" y="34"/>
                    <a:pt x="320" y="30"/>
                  </a:cubicBezTo>
                  <a:cubicBezTo>
                    <a:pt x="322" y="22"/>
                    <a:pt x="318" y="21"/>
                    <a:pt x="316" y="20"/>
                  </a:cubicBezTo>
                  <a:cubicBezTo>
                    <a:pt x="313" y="19"/>
                    <a:pt x="309" y="16"/>
                    <a:pt x="305" y="23"/>
                  </a:cubicBezTo>
                  <a:cubicBezTo>
                    <a:pt x="303" y="27"/>
                    <a:pt x="299" y="32"/>
                    <a:pt x="296" y="33"/>
                  </a:cubicBezTo>
                  <a:cubicBezTo>
                    <a:pt x="294" y="32"/>
                    <a:pt x="292" y="32"/>
                    <a:pt x="290" y="31"/>
                  </a:cubicBezTo>
                  <a:cubicBezTo>
                    <a:pt x="288" y="28"/>
                    <a:pt x="288" y="22"/>
                    <a:pt x="289" y="17"/>
                  </a:cubicBezTo>
                  <a:cubicBezTo>
                    <a:pt x="290" y="9"/>
                    <a:pt x="285" y="9"/>
                    <a:pt x="283" y="8"/>
                  </a:cubicBezTo>
                  <a:cubicBezTo>
                    <a:pt x="280" y="7"/>
                    <a:pt x="276" y="6"/>
                    <a:pt x="273" y="13"/>
                  </a:cubicBezTo>
                  <a:cubicBezTo>
                    <a:pt x="271" y="18"/>
                    <a:pt x="268" y="22"/>
                    <a:pt x="265" y="24"/>
                  </a:cubicBezTo>
                  <a:cubicBezTo>
                    <a:pt x="263" y="24"/>
                    <a:pt x="261" y="24"/>
                    <a:pt x="259" y="23"/>
                  </a:cubicBezTo>
                  <a:cubicBezTo>
                    <a:pt x="257" y="20"/>
                    <a:pt x="256" y="15"/>
                    <a:pt x="255" y="10"/>
                  </a:cubicBezTo>
                  <a:cubicBezTo>
                    <a:pt x="255" y="2"/>
                    <a:pt x="251" y="2"/>
                    <a:pt x="248" y="2"/>
                  </a:cubicBezTo>
                  <a:cubicBezTo>
                    <a:pt x="245" y="1"/>
                    <a:pt x="241" y="0"/>
                    <a:pt x="239" y="8"/>
                  </a:cubicBezTo>
                  <a:cubicBezTo>
                    <a:pt x="238" y="13"/>
                    <a:pt x="236" y="18"/>
                    <a:pt x="233" y="21"/>
                  </a:cubicBezTo>
                  <a:cubicBezTo>
                    <a:pt x="231" y="20"/>
                    <a:pt x="229" y="20"/>
                    <a:pt x="227" y="20"/>
                  </a:cubicBezTo>
                  <a:cubicBezTo>
                    <a:pt x="224" y="18"/>
                    <a:pt x="222" y="12"/>
                    <a:pt x="221" y="8"/>
                  </a:cubicBezTo>
                  <a:cubicBezTo>
                    <a:pt x="220" y="0"/>
                    <a:pt x="216" y="1"/>
                    <a:pt x="213" y="1"/>
                  </a:cubicBezTo>
                  <a:cubicBezTo>
                    <a:pt x="210" y="1"/>
                    <a:pt x="206" y="1"/>
                    <a:pt x="205" y="8"/>
                  </a:cubicBezTo>
                  <a:cubicBezTo>
                    <a:pt x="205" y="13"/>
                    <a:pt x="203" y="19"/>
                    <a:pt x="201" y="22"/>
                  </a:cubicBezTo>
                  <a:cubicBezTo>
                    <a:pt x="199" y="22"/>
                    <a:pt x="197" y="22"/>
                    <a:pt x="195" y="23"/>
                  </a:cubicBezTo>
                  <a:cubicBezTo>
                    <a:pt x="192" y="20"/>
                    <a:pt x="189" y="15"/>
                    <a:pt x="187" y="11"/>
                  </a:cubicBezTo>
                  <a:cubicBezTo>
                    <a:pt x="185" y="3"/>
                    <a:pt x="181" y="5"/>
                    <a:pt x="178" y="5"/>
                  </a:cubicBezTo>
                  <a:cubicBezTo>
                    <a:pt x="175" y="6"/>
                    <a:pt x="171" y="6"/>
                    <a:pt x="172" y="14"/>
                  </a:cubicBezTo>
                  <a:cubicBezTo>
                    <a:pt x="172" y="19"/>
                    <a:pt x="171" y="25"/>
                    <a:pt x="170" y="28"/>
                  </a:cubicBezTo>
                  <a:cubicBezTo>
                    <a:pt x="168" y="28"/>
                    <a:pt x="166" y="29"/>
                    <a:pt x="164" y="30"/>
                  </a:cubicBezTo>
                  <a:cubicBezTo>
                    <a:pt x="161" y="28"/>
                    <a:pt x="157" y="24"/>
                    <a:pt x="155" y="19"/>
                  </a:cubicBezTo>
                  <a:cubicBezTo>
                    <a:pt x="151" y="12"/>
                    <a:pt x="147" y="14"/>
                    <a:pt x="144" y="15"/>
                  </a:cubicBezTo>
                  <a:cubicBezTo>
                    <a:pt x="142" y="16"/>
                    <a:pt x="138" y="18"/>
                    <a:pt x="139" y="25"/>
                  </a:cubicBezTo>
                  <a:cubicBezTo>
                    <a:pt x="140" y="30"/>
                    <a:pt x="141" y="36"/>
                    <a:pt x="140" y="39"/>
                  </a:cubicBezTo>
                  <a:cubicBezTo>
                    <a:pt x="138" y="40"/>
                    <a:pt x="136" y="41"/>
                    <a:pt x="134" y="42"/>
                  </a:cubicBezTo>
                  <a:cubicBezTo>
                    <a:pt x="131" y="41"/>
                    <a:pt x="126" y="37"/>
                    <a:pt x="123" y="33"/>
                  </a:cubicBezTo>
                  <a:cubicBezTo>
                    <a:pt x="119" y="27"/>
                    <a:pt x="115" y="29"/>
                    <a:pt x="113" y="31"/>
                  </a:cubicBezTo>
                  <a:cubicBezTo>
                    <a:pt x="110" y="32"/>
                    <a:pt x="106" y="34"/>
                    <a:pt x="109" y="41"/>
                  </a:cubicBezTo>
                  <a:cubicBezTo>
                    <a:pt x="111" y="46"/>
                    <a:pt x="112" y="51"/>
                    <a:pt x="112" y="54"/>
                  </a:cubicBezTo>
                  <a:cubicBezTo>
                    <a:pt x="110" y="56"/>
                    <a:pt x="108" y="57"/>
                    <a:pt x="106" y="58"/>
                  </a:cubicBezTo>
                  <a:cubicBezTo>
                    <a:pt x="103" y="58"/>
                    <a:pt x="98" y="54"/>
                    <a:pt x="95" y="51"/>
                  </a:cubicBezTo>
                  <a:cubicBezTo>
                    <a:pt x="89" y="46"/>
                    <a:pt x="86" y="49"/>
                    <a:pt x="84" y="51"/>
                  </a:cubicBezTo>
                  <a:cubicBezTo>
                    <a:pt x="82" y="52"/>
                    <a:pt x="78" y="55"/>
                    <a:pt x="82" y="61"/>
                  </a:cubicBezTo>
                  <a:cubicBezTo>
                    <a:pt x="85" y="66"/>
                    <a:pt x="87" y="71"/>
                    <a:pt x="87" y="74"/>
                  </a:cubicBezTo>
                  <a:cubicBezTo>
                    <a:pt x="85" y="76"/>
                    <a:pt x="83" y="77"/>
                    <a:pt x="82" y="79"/>
                  </a:cubicBezTo>
                  <a:cubicBezTo>
                    <a:pt x="78" y="79"/>
                    <a:pt x="73" y="76"/>
                    <a:pt x="69" y="74"/>
                  </a:cubicBezTo>
                  <a:cubicBezTo>
                    <a:pt x="63" y="69"/>
                    <a:pt x="60" y="73"/>
                    <a:pt x="58" y="75"/>
                  </a:cubicBezTo>
                  <a:cubicBezTo>
                    <a:pt x="56" y="77"/>
                    <a:pt x="53" y="80"/>
                    <a:pt x="58" y="86"/>
                  </a:cubicBezTo>
                  <a:cubicBezTo>
                    <a:pt x="61" y="89"/>
                    <a:pt x="64" y="94"/>
                    <a:pt x="65" y="98"/>
                  </a:cubicBezTo>
                  <a:cubicBezTo>
                    <a:pt x="64" y="99"/>
                    <a:pt x="62" y="101"/>
                    <a:pt x="61" y="103"/>
                  </a:cubicBezTo>
                  <a:cubicBezTo>
                    <a:pt x="57" y="103"/>
                    <a:pt x="52" y="102"/>
                    <a:pt x="47" y="100"/>
                  </a:cubicBezTo>
                  <a:cubicBezTo>
                    <a:pt x="40" y="96"/>
                    <a:pt x="39" y="100"/>
                    <a:pt x="37" y="103"/>
                  </a:cubicBezTo>
                  <a:cubicBezTo>
                    <a:pt x="35" y="105"/>
                    <a:pt x="33" y="108"/>
                    <a:pt x="39" y="113"/>
                  </a:cubicBezTo>
                  <a:cubicBezTo>
                    <a:pt x="42" y="117"/>
                    <a:pt x="46" y="121"/>
                    <a:pt x="47" y="124"/>
                  </a:cubicBezTo>
                  <a:cubicBezTo>
                    <a:pt x="46" y="126"/>
                    <a:pt x="45" y="128"/>
                    <a:pt x="44" y="130"/>
                  </a:cubicBezTo>
                  <a:cubicBezTo>
                    <a:pt x="41" y="131"/>
                    <a:pt x="35" y="130"/>
                    <a:pt x="30" y="129"/>
                  </a:cubicBezTo>
                  <a:cubicBezTo>
                    <a:pt x="23" y="127"/>
                    <a:pt x="21" y="131"/>
                    <a:pt x="20" y="133"/>
                  </a:cubicBezTo>
                  <a:cubicBezTo>
                    <a:pt x="19" y="136"/>
                    <a:pt x="17" y="140"/>
                    <a:pt x="24" y="144"/>
                  </a:cubicBezTo>
                  <a:cubicBezTo>
                    <a:pt x="28" y="146"/>
                    <a:pt x="32" y="150"/>
                    <a:pt x="34" y="153"/>
                  </a:cubicBezTo>
                  <a:cubicBezTo>
                    <a:pt x="33" y="155"/>
                    <a:pt x="32" y="157"/>
                    <a:pt x="31" y="160"/>
                  </a:cubicBezTo>
                  <a:cubicBezTo>
                    <a:pt x="28" y="161"/>
                    <a:pt x="23" y="161"/>
                    <a:pt x="18" y="161"/>
                  </a:cubicBezTo>
                  <a:cubicBezTo>
                    <a:pt x="10" y="160"/>
                    <a:pt x="9" y="164"/>
                    <a:pt x="9" y="167"/>
                  </a:cubicBezTo>
                  <a:cubicBezTo>
                    <a:pt x="8" y="169"/>
                    <a:pt x="6" y="173"/>
                    <a:pt x="13" y="176"/>
                  </a:cubicBezTo>
                  <a:cubicBezTo>
                    <a:pt x="18" y="178"/>
                    <a:pt x="23" y="181"/>
                    <a:pt x="25" y="184"/>
                  </a:cubicBezTo>
                  <a:cubicBezTo>
                    <a:pt x="24" y="186"/>
                    <a:pt x="24" y="188"/>
                    <a:pt x="24" y="191"/>
                  </a:cubicBezTo>
                  <a:cubicBezTo>
                    <a:pt x="21" y="192"/>
                    <a:pt x="15" y="194"/>
                    <a:pt x="10" y="194"/>
                  </a:cubicBezTo>
                  <a:cubicBezTo>
                    <a:pt x="2" y="194"/>
                    <a:pt x="2" y="198"/>
                    <a:pt x="2" y="201"/>
                  </a:cubicBezTo>
                  <a:cubicBezTo>
                    <a:pt x="2" y="204"/>
                    <a:pt x="1" y="208"/>
                    <a:pt x="9" y="210"/>
                  </a:cubicBezTo>
                  <a:cubicBezTo>
                    <a:pt x="13" y="211"/>
                    <a:pt x="19" y="213"/>
                    <a:pt x="21" y="216"/>
                  </a:cubicBezTo>
                  <a:cubicBezTo>
                    <a:pt x="21" y="218"/>
                    <a:pt x="21" y="220"/>
                    <a:pt x="21" y="223"/>
                  </a:cubicBezTo>
                  <a:cubicBezTo>
                    <a:pt x="18" y="225"/>
                    <a:pt x="13" y="227"/>
                    <a:pt x="8" y="228"/>
                  </a:cubicBezTo>
                  <a:cubicBezTo>
                    <a:pt x="0" y="229"/>
                    <a:pt x="1" y="233"/>
                    <a:pt x="1" y="236"/>
                  </a:cubicBezTo>
                  <a:cubicBezTo>
                    <a:pt x="1" y="239"/>
                    <a:pt x="1" y="243"/>
                    <a:pt x="9" y="244"/>
                  </a:cubicBezTo>
                  <a:cubicBezTo>
                    <a:pt x="14" y="244"/>
                    <a:pt x="19" y="246"/>
                    <a:pt x="22" y="248"/>
                  </a:cubicBezTo>
                  <a:cubicBezTo>
                    <a:pt x="22" y="250"/>
                    <a:pt x="23" y="252"/>
                    <a:pt x="23" y="254"/>
                  </a:cubicBezTo>
                  <a:cubicBezTo>
                    <a:pt x="21" y="257"/>
                    <a:pt x="16" y="260"/>
                    <a:pt x="11" y="262"/>
                  </a:cubicBezTo>
                  <a:cubicBezTo>
                    <a:pt x="4" y="264"/>
                    <a:pt x="5" y="268"/>
                    <a:pt x="6" y="271"/>
                  </a:cubicBezTo>
                  <a:cubicBezTo>
                    <a:pt x="6" y="274"/>
                    <a:pt x="7" y="278"/>
                    <a:pt x="15" y="277"/>
                  </a:cubicBezTo>
                  <a:cubicBezTo>
                    <a:pt x="20" y="277"/>
                    <a:pt x="25" y="278"/>
                    <a:pt x="28" y="279"/>
                  </a:cubicBezTo>
                  <a:cubicBezTo>
                    <a:pt x="29" y="281"/>
                    <a:pt x="30" y="284"/>
                    <a:pt x="30" y="286"/>
                  </a:cubicBezTo>
                  <a:cubicBezTo>
                    <a:pt x="29" y="289"/>
                    <a:pt x="24" y="292"/>
                    <a:pt x="20" y="295"/>
                  </a:cubicBezTo>
                  <a:cubicBezTo>
                    <a:pt x="13" y="298"/>
                    <a:pt x="15" y="302"/>
                    <a:pt x="16" y="305"/>
                  </a:cubicBezTo>
                  <a:cubicBezTo>
                    <a:pt x="17" y="308"/>
                    <a:pt x="18" y="312"/>
                    <a:pt x="26" y="310"/>
                  </a:cubicBezTo>
                  <a:cubicBezTo>
                    <a:pt x="30" y="309"/>
                    <a:pt x="36" y="308"/>
                    <a:pt x="39" y="309"/>
                  </a:cubicBezTo>
                  <a:cubicBezTo>
                    <a:pt x="40" y="311"/>
                    <a:pt x="41" y="313"/>
                    <a:pt x="42" y="315"/>
                  </a:cubicBezTo>
                  <a:cubicBezTo>
                    <a:pt x="41" y="318"/>
                    <a:pt x="37" y="323"/>
                    <a:pt x="33" y="326"/>
                  </a:cubicBezTo>
                  <a:cubicBezTo>
                    <a:pt x="27" y="331"/>
                    <a:pt x="30" y="334"/>
                    <a:pt x="31" y="336"/>
                  </a:cubicBezTo>
                  <a:cubicBezTo>
                    <a:pt x="32" y="339"/>
                    <a:pt x="34" y="343"/>
                    <a:pt x="41" y="340"/>
                  </a:cubicBezTo>
                  <a:cubicBezTo>
                    <a:pt x="46" y="338"/>
                    <a:pt x="52" y="337"/>
                    <a:pt x="55" y="337"/>
                  </a:cubicBezTo>
                  <a:cubicBezTo>
                    <a:pt x="56" y="339"/>
                    <a:pt x="57" y="341"/>
                    <a:pt x="59" y="343"/>
                  </a:cubicBezTo>
                  <a:cubicBezTo>
                    <a:pt x="58" y="346"/>
                    <a:pt x="55" y="351"/>
                    <a:pt x="51" y="355"/>
                  </a:cubicBezTo>
                  <a:cubicBezTo>
                    <a:pt x="46" y="360"/>
                    <a:pt x="49" y="363"/>
                    <a:pt x="51" y="365"/>
                  </a:cubicBezTo>
                  <a:cubicBezTo>
                    <a:pt x="53" y="368"/>
                    <a:pt x="55" y="371"/>
                    <a:pt x="62" y="367"/>
                  </a:cubicBezTo>
                  <a:cubicBezTo>
                    <a:pt x="66" y="365"/>
                    <a:pt x="71" y="362"/>
                    <a:pt x="75" y="362"/>
                  </a:cubicBezTo>
                  <a:cubicBezTo>
                    <a:pt x="76" y="364"/>
                    <a:pt x="78" y="366"/>
                    <a:pt x="79" y="367"/>
                  </a:cubicBezTo>
                  <a:cubicBezTo>
                    <a:pt x="79" y="371"/>
                    <a:pt x="77" y="376"/>
                    <a:pt x="74" y="380"/>
                  </a:cubicBezTo>
                  <a:cubicBezTo>
                    <a:pt x="70" y="386"/>
                    <a:pt x="73" y="389"/>
                    <a:pt x="75" y="391"/>
                  </a:cubicBezTo>
                  <a:cubicBezTo>
                    <a:pt x="77" y="393"/>
                    <a:pt x="80" y="396"/>
                    <a:pt x="86" y="391"/>
                  </a:cubicBezTo>
                  <a:cubicBezTo>
                    <a:pt x="90" y="388"/>
                    <a:pt x="95" y="385"/>
                    <a:pt x="98" y="384"/>
                  </a:cubicBezTo>
                  <a:cubicBezTo>
                    <a:pt x="100" y="386"/>
                    <a:pt x="102" y="387"/>
                    <a:pt x="103" y="388"/>
                  </a:cubicBezTo>
                  <a:cubicBezTo>
                    <a:pt x="104" y="392"/>
                    <a:pt x="102" y="397"/>
                    <a:pt x="100" y="402"/>
                  </a:cubicBezTo>
                  <a:cubicBezTo>
                    <a:pt x="97" y="409"/>
                    <a:pt x="101" y="411"/>
                    <a:pt x="103" y="412"/>
                  </a:cubicBezTo>
                  <a:cubicBezTo>
                    <a:pt x="105" y="414"/>
                    <a:pt x="109" y="416"/>
                    <a:pt x="114" y="411"/>
                  </a:cubicBezTo>
                  <a:cubicBezTo>
                    <a:pt x="117" y="407"/>
                    <a:pt x="121" y="403"/>
                    <a:pt x="125" y="402"/>
                  </a:cubicBezTo>
                  <a:cubicBezTo>
                    <a:pt x="127" y="403"/>
                    <a:pt x="129" y="404"/>
                    <a:pt x="131" y="405"/>
                  </a:cubicBezTo>
                  <a:cubicBezTo>
                    <a:pt x="131" y="409"/>
                    <a:pt x="131" y="414"/>
                    <a:pt x="129" y="419"/>
                  </a:cubicBezTo>
                  <a:cubicBezTo>
                    <a:pt x="127" y="427"/>
                    <a:pt x="131" y="428"/>
                    <a:pt x="134" y="429"/>
                  </a:cubicBezTo>
                  <a:cubicBezTo>
                    <a:pt x="137" y="430"/>
                    <a:pt x="140" y="432"/>
                    <a:pt x="144" y="426"/>
                  </a:cubicBezTo>
                  <a:cubicBezTo>
                    <a:pt x="147" y="421"/>
                    <a:pt x="151" y="417"/>
                    <a:pt x="154" y="416"/>
                  </a:cubicBezTo>
                  <a:cubicBezTo>
                    <a:pt x="156" y="416"/>
                    <a:pt x="158" y="417"/>
                    <a:pt x="160" y="418"/>
                  </a:cubicBezTo>
                  <a:cubicBezTo>
                    <a:pt x="161" y="421"/>
                    <a:pt x="162" y="427"/>
                    <a:pt x="161" y="432"/>
                  </a:cubicBezTo>
                  <a:cubicBezTo>
                    <a:pt x="160" y="439"/>
                    <a:pt x="164" y="440"/>
                    <a:pt x="167" y="441"/>
                  </a:cubicBezTo>
                  <a:cubicBezTo>
                    <a:pt x="170" y="441"/>
                    <a:pt x="174" y="443"/>
                    <a:pt x="177" y="436"/>
                  </a:cubicBezTo>
                  <a:cubicBezTo>
                    <a:pt x="179" y="431"/>
                    <a:pt x="182" y="426"/>
                    <a:pt x="185" y="424"/>
                  </a:cubicBezTo>
                  <a:cubicBezTo>
                    <a:pt x="187" y="425"/>
                    <a:pt x="189" y="425"/>
                    <a:pt x="191" y="425"/>
                  </a:cubicBezTo>
                  <a:cubicBezTo>
                    <a:pt x="193" y="428"/>
                    <a:pt x="194" y="434"/>
                    <a:pt x="194" y="439"/>
                  </a:cubicBezTo>
                  <a:cubicBezTo>
                    <a:pt x="195" y="447"/>
                    <a:pt x="199" y="447"/>
                    <a:pt x="202" y="447"/>
                  </a:cubicBezTo>
                  <a:cubicBezTo>
                    <a:pt x="204" y="447"/>
                    <a:pt x="209" y="448"/>
                    <a:pt x="210" y="441"/>
                  </a:cubicBezTo>
                  <a:cubicBezTo>
                    <a:pt x="212" y="436"/>
                    <a:pt x="214" y="431"/>
                    <a:pt x="216" y="428"/>
                  </a:cubicBezTo>
                  <a:cubicBezTo>
                    <a:pt x="219" y="428"/>
                    <a:pt x="221" y="428"/>
                    <a:pt x="223" y="428"/>
                  </a:cubicBezTo>
                  <a:cubicBezTo>
                    <a:pt x="225" y="431"/>
                    <a:pt x="227" y="436"/>
                    <a:pt x="228" y="441"/>
                  </a:cubicBezTo>
                  <a:cubicBezTo>
                    <a:pt x="230" y="449"/>
                    <a:pt x="234" y="448"/>
                    <a:pt x="237" y="448"/>
                  </a:cubicBezTo>
                  <a:cubicBezTo>
                    <a:pt x="240" y="448"/>
                    <a:pt x="244" y="448"/>
                    <a:pt x="244" y="440"/>
                  </a:cubicBezTo>
                  <a:cubicBezTo>
                    <a:pt x="245" y="435"/>
                    <a:pt x="246" y="430"/>
                    <a:pt x="248" y="427"/>
                  </a:cubicBezTo>
                  <a:cubicBezTo>
                    <a:pt x="251" y="427"/>
                    <a:pt x="253" y="426"/>
                    <a:pt x="255" y="426"/>
                  </a:cubicBezTo>
                  <a:cubicBezTo>
                    <a:pt x="258" y="428"/>
                    <a:pt x="260" y="433"/>
                    <a:pt x="262" y="438"/>
                  </a:cubicBezTo>
                  <a:cubicBezTo>
                    <a:pt x="265" y="445"/>
                    <a:pt x="269" y="444"/>
                    <a:pt x="272" y="443"/>
                  </a:cubicBezTo>
                  <a:cubicBezTo>
                    <a:pt x="274" y="443"/>
                    <a:pt x="279" y="442"/>
                    <a:pt x="278" y="435"/>
                  </a:cubicBezTo>
                  <a:cubicBezTo>
                    <a:pt x="278" y="430"/>
                    <a:pt x="278" y="424"/>
                    <a:pt x="280" y="421"/>
                  </a:cubicBezTo>
                  <a:cubicBezTo>
                    <a:pt x="282" y="420"/>
                    <a:pt x="284" y="420"/>
                    <a:pt x="286" y="419"/>
                  </a:cubicBezTo>
                  <a:cubicBezTo>
                    <a:pt x="289" y="421"/>
                    <a:pt x="293" y="425"/>
                    <a:pt x="295" y="429"/>
                  </a:cubicBezTo>
                  <a:cubicBezTo>
                    <a:pt x="299" y="436"/>
                    <a:pt x="302" y="434"/>
                    <a:pt x="305" y="433"/>
                  </a:cubicBezTo>
                  <a:cubicBezTo>
                    <a:pt x="308" y="432"/>
                    <a:pt x="312" y="431"/>
                    <a:pt x="310" y="424"/>
                  </a:cubicBezTo>
                  <a:cubicBezTo>
                    <a:pt x="309" y="419"/>
                    <a:pt x="309" y="413"/>
                    <a:pt x="310" y="410"/>
                  </a:cubicBezTo>
                  <a:cubicBezTo>
                    <a:pt x="312" y="409"/>
                    <a:pt x="314" y="408"/>
                    <a:pt x="316" y="407"/>
                  </a:cubicBezTo>
                  <a:cubicBezTo>
                    <a:pt x="319" y="408"/>
                    <a:pt x="323" y="412"/>
                    <a:pt x="326" y="416"/>
                  </a:cubicBezTo>
                  <a:cubicBezTo>
                    <a:pt x="331" y="422"/>
                    <a:pt x="334" y="420"/>
                    <a:pt x="337" y="418"/>
                  </a:cubicBezTo>
                  <a:cubicBezTo>
                    <a:pt x="339" y="417"/>
                    <a:pt x="343" y="415"/>
                    <a:pt x="340" y="408"/>
                  </a:cubicBezTo>
                  <a:cubicBezTo>
                    <a:pt x="339" y="403"/>
                    <a:pt x="337" y="398"/>
                    <a:pt x="338" y="394"/>
                  </a:cubicBezTo>
                  <a:cubicBezTo>
                    <a:pt x="340" y="393"/>
                    <a:pt x="341" y="392"/>
                    <a:pt x="343" y="390"/>
                  </a:cubicBezTo>
                  <a:cubicBezTo>
                    <a:pt x="347" y="391"/>
                    <a:pt x="351" y="394"/>
                    <a:pt x="355" y="398"/>
                  </a:cubicBezTo>
                  <a:cubicBezTo>
                    <a:pt x="361" y="403"/>
                    <a:pt x="364" y="400"/>
                    <a:pt x="366" y="398"/>
                  </a:cubicBezTo>
                  <a:cubicBezTo>
                    <a:pt x="368" y="396"/>
                    <a:pt x="372" y="394"/>
                    <a:pt x="368" y="388"/>
                  </a:cubicBezTo>
                  <a:cubicBezTo>
                    <a:pt x="365" y="383"/>
                    <a:pt x="363" y="378"/>
                    <a:pt x="363" y="374"/>
                  </a:cubicBezTo>
                  <a:cubicBezTo>
                    <a:pt x="365" y="373"/>
                    <a:pt x="366" y="371"/>
                    <a:pt x="368" y="370"/>
                  </a:cubicBezTo>
                  <a:cubicBezTo>
                    <a:pt x="371" y="370"/>
                    <a:pt x="376" y="373"/>
                    <a:pt x="381" y="375"/>
                  </a:cubicBezTo>
                  <a:cubicBezTo>
                    <a:pt x="387" y="380"/>
                    <a:pt x="389" y="376"/>
                    <a:pt x="391" y="374"/>
                  </a:cubicBezTo>
                  <a:cubicBezTo>
                    <a:pt x="393" y="372"/>
                    <a:pt x="396" y="369"/>
                    <a:pt x="391" y="363"/>
                  </a:cubicBezTo>
                  <a:cubicBezTo>
                    <a:pt x="388" y="359"/>
                    <a:pt x="385" y="354"/>
                    <a:pt x="385" y="351"/>
                  </a:cubicBezTo>
                  <a:cubicBezTo>
                    <a:pt x="386" y="349"/>
                    <a:pt x="387" y="348"/>
                    <a:pt x="389" y="346"/>
                  </a:cubicBezTo>
                  <a:cubicBezTo>
                    <a:pt x="392" y="345"/>
                    <a:pt x="398" y="347"/>
                    <a:pt x="402" y="349"/>
                  </a:cubicBezTo>
                  <a:cubicBezTo>
                    <a:pt x="409" y="352"/>
                    <a:pt x="411" y="349"/>
                    <a:pt x="413" y="346"/>
                  </a:cubicBezTo>
                  <a:cubicBezTo>
                    <a:pt x="414" y="344"/>
                    <a:pt x="417" y="340"/>
                    <a:pt x="411" y="335"/>
                  </a:cubicBezTo>
                  <a:cubicBezTo>
                    <a:pt x="407" y="332"/>
                    <a:pt x="404" y="328"/>
                    <a:pt x="403" y="324"/>
                  </a:cubicBezTo>
                  <a:cubicBezTo>
                    <a:pt x="404" y="323"/>
                    <a:pt x="405" y="321"/>
                    <a:pt x="406" y="319"/>
                  </a:cubicBezTo>
                  <a:cubicBezTo>
                    <a:pt x="409" y="318"/>
                    <a:pt x="415" y="318"/>
                    <a:pt x="420" y="320"/>
                  </a:cubicBezTo>
                  <a:cubicBezTo>
                    <a:pt x="427" y="322"/>
                    <a:pt x="428" y="318"/>
                    <a:pt x="429" y="315"/>
                  </a:cubicBezTo>
                  <a:cubicBezTo>
                    <a:pt x="431" y="313"/>
                    <a:pt x="433" y="309"/>
                    <a:pt x="426" y="305"/>
                  </a:cubicBezTo>
                  <a:cubicBezTo>
                    <a:pt x="422" y="302"/>
                    <a:pt x="418" y="298"/>
                    <a:pt x="416" y="295"/>
                  </a:cubicBezTo>
                  <a:cubicBezTo>
                    <a:pt x="417" y="293"/>
                    <a:pt x="418" y="291"/>
                    <a:pt x="418" y="289"/>
                  </a:cubicBezTo>
                  <a:cubicBezTo>
                    <a:pt x="421" y="288"/>
                    <a:pt x="427" y="288"/>
                    <a:pt x="432" y="288"/>
                  </a:cubicBezTo>
                  <a:cubicBezTo>
                    <a:pt x="440" y="289"/>
                    <a:pt x="440" y="285"/>
                    <a:pt x="441" y="282"/>
                  </a:cubicBezTo>
                  <a:cubicBezTo>
                    <a:pt x="442" y="279"/>
                    <a:pt x="443" y="275"/>
                    <a:pt x="436" y="272"/>
                  </a:cubicBezTo>
                  <a:cubicBezTo>
                    <a:pt x="432" y="270"/>
                    <a:pt x="427" y="267"/>
                    <a:pt x="425" y="265"/>
                  </a:cubicBezTo>
                  <a:cubicBezTo>
                    <a:pt x="425" y="262"/>
                    <a:pt x="426" y="260"/>
                    <a:pt x="426" y="258"/>
                  </a:cubicBezTo>
                  <a:cubicBezTo>
                    <a:pt x="429" y="256"/>
                    <a:pt x="434" y="255"/>
                    <a:pt x="439" y="255"/>
                  </a:cubicBezTo>
                  <a:cubicBezTo>
                    <a:pt x="447" y="255"/>
                    <a:pt x="447" y="251"/>
                    <a:pt x="447" y="248"/>
                  </a:cubicBezTo>
                  <a:cubicBezTo>
                    <a:pt x="448" y="245"/>
                    <a:pt x="449" y="241"/>
                    <a:pt x="441" y="239"/>
                  </a:cubicBezTo>
                  <a:cubicBezTo>
                    <a:pt x="436" y="237"/>
                    <a:pt x="431" y="235"/>
                    <a:pt x="429" y="233"/>
                  </a:cubicBezTo>
                  <a:cubicBezTo>
                    <a:pt x="429" y="231"/>
                    <a:pt x="429" y="228"/>
                    <a:pt x="429" y="226"/>
                  </a:cubicBezTo>
                  <a:cubicBezTo>
                    <a:pt x="431" y="224"/>
                    <a:pt x="437" y="222"/>
                    <a:pt x="442" y="221"/>
                  </a:cubicBezTo>
                  <a:cubicBezTo>
                    <a:pt x="449" y="220"/>
                    <a:pt x="449" y="215"/>
                    <a:pt x="448" y="212"/>
                  </a:cubicBezTo>
                  <a:cubicBezTo>
                    <a:pt x="448" y="210"/>
                    <a:pt x="448" y="205"/>
                    <a:pt x="441" y="205"/>
                  </a:cubicBezTo>
                  <a:cubicBezTo>
                    <a:pt x="436" y="204"/>
                    <a:pt x="430" y="203"/>
                    <a:pt x="427" y="201"/>
                  </a:cubicBezTo>
                  <a:cubicBezTo>
                    <a:pt x="427" y="199"/>
                    <a:pt x="427" y="196"/>
                    <a:pt x="427" y="194"/>
                  </a:cubicBezTo>
                  <a:cubicBezTo>
                    <a:pt x="429" y="192"/>
                    <a:pt x="434" y="189"/>
                    <a:pt x="438" y="187"/>
                  </a:cubicBezTo>
                  <a:cubicBezTo>
                    <a:pt x="446" y="184"/>
                    <a:pt x="444" y="180"/>
                    <a:pt x="444" y="178"/>
                  </a:cubicBezTo>
                  <a:cubicBezTo>
                    <a:pt x="443" y="175"/>
                    <a:pt x="443" y="171"/>
                    <a:pt x="435" y="171"/>
                  </a:cubicBezTo>
                  <a:cubicBezTo>
                    <a:pt x="430" y="171"/>
                    <a:pt x="424" y="171"/>
                    <a:pt x="421" y="169"/>
                  </a:cubicBezTo>
                  <a:cubicBezTo>
                    <a:pt x="421" y="167"/>
                    <a:pt x="420" y="165"/>
                    <a:pt x="419" y="163"/>
                  </a:cubicBezTo>
                  <a:cubicBezTo>
                    <a:pt x="421" y="160"/>
                    <a:pt x="426" y="157"/>
                    <a:pt x="430" y="154"/>
                  </a:cubicBezTo>
                  <a:cubicBezTo>
                    <a:pt x="437" y="150"/>
                    <a:pt x="435" y="147"/>
                    <a:pt x="434" y="144"/>
                  </a:cubicBezTo>
                  <a:cubicBezTo>
                    <a:pt x="433" y="141"/>
                    <a:pt x="432" y="137"/>
                    <a:pt x="424" y="139"/>
                  </a:cubicBezTo>
                  <a:cubicBezTo>
                    <a:pt x="419" y="140"/>
                    <a:pt x="414" y="140"/>
                    <a:pt x="410" y="139"/>
                  </a:cubicBezTo>
                  <a:cubicBezTo>
                    <a:pt x="409" y="137"/>
                    <a:pt x="408" y="135"/>
                    <a:pt x="407" y="133"/>
                  </a:cubicBezTo>
                  <a:cubicBezTo>
                    <a:pt x="409" y="130"/>
                    <a:pt x="413" y="126"/>
                    <a:pt x="416" y="123"/>
                  </a:cubicBezTo>
                  <a:cubicBezTo>
                    <a:pt x="423" y="118"/>
                    <a:pt x="420" y="115"/>
                    <a:pt x="419" y="112"/>
                  </a:cubicBezTo>
                  <a:cubicBezTo>
                    <a:pt x="417" y="110"/>
                    <a:pt x="415" y="106"/>
                    <a:pt x="408" y="109"/>
                  </a:cubicBezTo>
                  <a:cubicBezTo>
                    <a:pt x="404" y="111"/>
                    <a:pt x="398" y="112"/>
                    <a:pt x="395" y="111"/>
                  </a:cubicBezTo>
                  <a:cubicBezTo>
                    <a:pt x="393" y="110"/>
                    <a:pt x="392" y="108"/>
                    <a:pt x="391" y="106"/>
                  </a:cubicBezTo>
                  <a:cubicBezTo>
                    <a:pt x="392" y="103"/>
                    <a:pt x="395" y="98"/>
                    <a:pt x="398" y="94"/>
                  </a:cubicBezTo>
                  <a:cubicBezTo>
                    <a:pt x="404" y="89"/>
                    <a:pt x="401" y="86"/>
                    <a:pt x="399" y="83"/>
                  </a:cubicBezTo>
                  <a:cubicBezTo>
                    <a:pt x="397" y="81"/>
                    <a:pt x="395" y="78"/>
                    <a:pt x="388" y="82"/>
                  </a:cubicBezTo>
                  <a:moveTo>
                    <a:pt x="340" y="367"/>
                  </a:moveTo>
                  <a:cubicBezTo>
                    <a:pt x="262" y="431"/>
                    <a:pt x="146" y="419"/>
                    <a:pt x="82" y="340"/>
                  </a:cubicBezTo>
                  <a:cubicBezTo>
                    <a:pt x="18" y="261"/>
                    <a:pt x="30" y="146"/>
                    <a:pt x="109" y="82"/>
                  </a:cubicBezTo>
                  <a:cubicBezTo>
                    <a:pt x="188" y="18"/>
                    <a:pt x="304" y="30"/>
                    <a:pt x="367" y="109"/>
                  </a:cubicBezTo>
                  <a:cubicBezTo>
                    <a:pt x="431" y="187"/>
                    <a:pt x="419" y="303"/>
                    <a:pt x="340" y="367"/>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0" name="Freeform 21379">
              <a:extLst>
                <a:ext uri="{FF2B5EF4-FFF2-40B4-BE49-F238E27FC236}">
                  <a16:creationId xmlns:a16="http://schemas.microsoft.com/office/drawing/2014/main" id="{F5D61A5B-613B-4CD5-BC66-943AAED1F911}"/>
                </a:ext>
              </a:extLst>
            </p:cNvPr>
            <p:cNvSpPr>
              <a:spLocks noEditPoints="1"/>
            </p:cNvSpPr>
            <p:nvPr userDrawn="1"/>
          </p:nvSpPr>
          <p:spPr bwMode="auto">
            <a:xfrm>
              <a:off x="9762490" y="5106353"/>
              <a:ext cx="104775" cy="104775"/>
            </a:xfrm>
            <a:custGeom>
              <a:avLst/>
              <a:gdLst>
                <a:gd name="T0" fmla="*/ 9 w 52"/>
                <a:gd name="T1" fmla="*/ 9 h 52"/>
                <a:gd name="T2" fmla="*/ 9 w 52"/>
                <a:gd name="T3" fmla="*/ 43 h 52"/>
                <a:gd name="T4" fmla="*/ 43 w 52"/>
                <a:gd name="T5" fmla="*/ 43 h 52"/>
                <a:gd name="T6" fmla="*/ 43 w 52"/>
                <a:gd name="T7" fmla="*/ 9 h 52"/>
                <a:gd name="T8" fmla="*/ 9 w 52"/>
                <a:gd name="T9" fmla="*/ 9 h 52"/>
                <a:gd name="T10" fmla="*/ 33 w 52"/>
                <a:gd name="T11" fmla="*/ 33 h 52"/>
                <a:gd name="T12" fmla="*/ 19 w 52"/>
                <a:gd name="T13" fmla="*/ 33 h 52"/>
                <a:gd name="T14" fmla="*/ 19 w 52"/>
                <a:gd name="T15" fmla="*/ 19 h 52"/>
                <a:gd name="T16" fmla="*/ 33 w 52"/>
                <a:gd name="T17" fmla="*/ 19 h 52"/>
                <a:gd name="T18" fmla="*/ 33 w 52"/>
                <a:gd name="T19"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9" y="9"/>
                  </a:moveTo>
                  <a:cubicBezTo>
                    <a:pt x="0" y="19"/>
                    <a:pt x="0" y="33"/>
                    <a:pt x="9" y="43"/>
                  </a:cubicBezTo>
                  <a:cubicBezTo>
                    <a:pt x="19" y="52"/>
                    <a:pt x="33" y="52"/>
                    <a:pt x="43" y="43"/>
                  </a:cubicBezTo>
                  <a:cubicBezTo>
                    <a:pt x="52" y="34"/>
                    <a:pt x="52" y="19"/>
                    <a:pt x="43" y="9"/>
                  </a:cubicBezTo>
                  <a:cubicBezTo>
                    <a:pt x="34" y="0"/>
                    <a:pt x="19" y="0"/>
                    <a:pt x="9" y="9"/>
                  </a:cubicBezTo>
                  <a:moveTo>
                    <a:pt x="33" y="33"/>
                  </a:moveTo>
                  <a:cubicBezTo>
                    <a:pt x="29" y="37"/>
                    <a:pt x="23" y="37"/>
                    <a:pt x="19" y="33"/>
                  </a:cubicBezTo>
                  <a:cubicBezTo>
                    <a:pt x="15" y="29"/>
                    <a:pt x="15" y="23"/>
                    <a:pt x="19" y="19"/>
                  </a:cubicBezTo>
                  <a:cubicBezTo>
                    <a:pt x="23" y="15"/>
                    <a:pt x="29" y="15"/>
                    <a:pt x="33" y="19"/>
                  </a:cubicBezTo>
                  <a:cubicBezTo>
                    <a:pt x="37" y="23"/>
                    <a:pt x="37" y="29"/>
                    <a:pt x="33" y="3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1" name="Freeform 21380">
              <a:extLst>
                <a:ext uri="{FF2B5EF4-FFF2-40B4-BE49-F238E27FC236}">
                  <a16:creationId xmlns:a16="http://schemas.microsoft.com/office/drawing/2014/main" id="{19ADC2B4-3D23-42BB-9486-B349F5F3FA28}"/>
                </a:ext>
              </a:extLst>
            </p:cNvPr>
            <p:cNvSpPr>
              <a:spLocks noEditPoints="1"/>
            </p:cNvSpPr>
            <p:nvPr userDrawn="1"/>
          </p:nvSpPr>
          <p:spPr bwMode="auto">
            <a:xfrm>
              <a:off x="8670290" y="4122103"/>
              <a:ext cx="139700" cy="139700"/>
            </a:xfrm>
            <a:custGeom>
              <a:avLst/>
              <a:gdLst>
                <a:gd name="T0" fmla="*/ 13 w 69"/>
                <a:gd name="T1" fmla="*/ 12 h 69"/>
                <a:gd name="T2" fmla="*/ 13 w 69"/>
                <a:gd name="T3" fmla="*/ 57 h 69"/>
                <a:gd name="T4" fmla="*/ 57 w 69"/>
                <a:gd name="T5" fmla="*/ 57 h 69"/>
                <a:gd name="T6" fmla="*/ 57 w 69"/>
                <a:gd name="T7" fmla="*/ 12 h 69"/>
                <a:gd name="T8" fmla="*/ 13 w 69"/>
                <a:gd name="T9" fmla="*/ 12 h 69"/>
                <a:gd name="T10" fmla="*/ 44 w 69"/>
                <a:gd name="T11" fmla="*/ 44 h 69"/>
                <a:gd name="T12" fmla="*/ 25 w 69"/>
                <a:gd name="T13" fmla="*/ 44 h 69"/>
                <a:gd name="T14" fmla="*/ 25 w 69"/>
                <a:gd name="T15" fmla="*/ 25 h 69"/>
                <a:gd name="T16" fmla="*/ 44 w 69"/>
                <a:gd name="T17" fmla="*/ 25 h 69"/>
                <a:gd name="T18" fmla="*/ 44 w 69"/>
                <a:gd name="T19"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13" y="12"/>
                  </a:moveTo>
                  <a:cubicBezTo>
                    <a:pt x="0" y="25"/>
                    <a:pt x="0" y="44"/>
                    <a:pt x="13" y="57"/>
                  </a:cubicBezTo>
                  <a:cubicBezTo>
                    <a:pt x="25" y="69"/>
                    <a:pt x="45" y="69"/>
                    <a:pt x="57" y="57"/>
                  </a:cubicBezTo>
                  <a:cubicBezTo>
                    <a:pt x="69" y="45"/>
                    <a:pt x="69" y="25"/>
                    <a:pt x="57" y="12"/>
                  </a:cubicBezTo>
                  <a:cubicBezTo>
                    <a:pt x="45" y="0"/>
                    <a:pt x="25" y="0"/>
                    <a:pt x="13" y="12"/>
                  </a:cubicBezTo>
                  <a:moveTo>
                    <a:pt x="44" y="44"/>
                  </a:moveTo>
                  <a:cubicBezTo>
                    <a:pt x="39" y="49"/>
                    <a:pt x="31" y="49"/>
                    <a:pt x="25" y="44"/>
                  </a:cubicBezTo>
                  <a:cubicBezTo>
                    <a:pt x="20" y="39"/>
                    <a:pt x="20" y="30"/>
                    <a:pt x="25" y="25"/>
                  </a:cubicBezTo>
                  <a:cubicBezTo>
                    <a:pt x="31" y="20"/>
                    <a:pt x="39" y="20"/>
                    <a:pt x="44" y="25"/>
                  </a:cubicBezTo>
                  <a:cubicBezTo>
                    <a:pt x="50" y="30"/>
                    <a:pt x="50" y="39"/>
                    <a:pt x="44" y="4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2" name="Freeform 21381">
              <a:extLst>
                <a:ext uri="{FF2B5EF4-FFF2-40B4-BE49-F238E27FC236}">
                  <a16:creationId xmlns:a16="http://schemas.microsoft.com/office/drawing/2014/main" id="{92E6F678-FF6D-4FEF-93B5-07D4B9C1E614}"/>
                </a:ext>
              </a:extLst>
            </p:cNvPr>
            <p:cNvSpPr>
              <a:spLocks/>
            </p:cNvSpPr>
            <p:nvPr userDrawn="1"/>
          </p:nvSpPr>
          <p:spPr bwMode="auto">
            <a:xfrm>
              <a:off x="9675178" y="4630103"/>
              <a:ext cx="50800" cy="44450"/>
            </a:xfrm>
            <a:custGeom>
              <a:avLst/>
              <a:gdLst>
                <a:gd name="T0" fmla="*/ 25 w 25"/>
                <a:gd name="T1" fmla="*/ 16 h 22"/>
                <a:gd name="T2" fmla="*/ 3 w 25"/>
                <a:gd name="T3" fmla="*/ 0 h 22"/>
                <a:gd name="T4" fmla="*/ 6 w 25"/>
                <a:gd name="T5" fmla="*/ 18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6" y="18"/>
                  </a:cubicBezTo>
                  <a:cubicBezTo>
                    <a:pt x="12" y="22"/>
                    <a:pt x="20" y="22"/>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3" name="Freeform 21382">
              <a:extLst>
                <a:ext uri="{FF2B5EF4-FFF2-40B4-BE49-F238E27FC236}">
                  <a16:creationId xmlns:a16="http://schemas.microsoft.com/office/drawing/2014/main" id="{4A8D34DD-1A6B-4F67-BAE0-0DCB53D706D1}"/>
                </a:ext>
              </a:extLst>
            </p:cNvPr>
            <p:cNvSpPr>
              <a:spLocks/>
            </p:cNvSpPr>
            <p:nvPr userDrawn="1"/>
          </p:nvSpPr>
          <p:spPr bwMode="auto">
            <a:xfrm>
              <a:off x="9684703" y="4614228"/>
              <a:ext cx="50800" cy="44450"/>
            </a:xfrm>
            <a:custGeom>
              <a:avLst/>
              <a:gdLst>
                <a:gd name="T0" fmla="*/ 18 w 25"/>
                <a:gd name="T1" fmla="*/ 5 h 22"/>
                <a:gd name="T2" fmla="*/ 0 w 25"/>
                <a:gd name="T3" fmla="*/ 6 h 22"/>
                <a:gd name="T4" fmla="*/ 22 w 25"/>
                <a:gd name="T5" fmla="*/ 22 h 22"/>
                <a:gd name="T6" fmla="*/ 18 w 25"/>
                <a:gd name="T7" fmla="*/ 5 h 22"/>
              </a:gdLst>
              <a:ahLst/>
              <a:cxnLst>
                <a:cxn ang="0">
                  <a:pos x="T0" y="T1"/>
                </a:cxn>
                <a:cxn ang="0">
                  <a:pos x="T2" y="T3"/>
                </a:cxn>
                <a:cxn ang="0">
                  <a:pos x="T4" y="T5"/>
                </a:cxn>
                <a:cxn ang="0">
                  <a:pos x="T6" y="T7"/>
                </a:cxn>
              </a:cxnLst>
              <a:rect l="0" t="0" r="r" b="b"/>
              <a:pathLst>
                <a:path w="25" h="22">
                  <a:moveTo>
                    <a:pt x="18" y="5"/>
                  </a:moveTo>
                  <a:cubicBezTo>
                    <a:pt x="13" y="0"/>
                    <a:pt x="5" y="1"/>
                    <a:pt x="0" y="6"/>
                  </a:cubicBezTo>
                  <a:cubicBezTo>
                    <a:pt x="22" y="22"/>
                    <a:pt x="22" y="22"/>
                    <a:pt x="22" y="22"/>
                  </a:cubicBezTo>
                  <a:cubicBezTo>
                    <a:pt x="25" y="16"/>
                    <a:pt x="24" y="9"/>
                    <a:pt x="18"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4" name="Freeform 21383">
              <a:extLst>
                <a:ext uri="{FF2B5EF4-FFF2-40B4-BE49-F238E27FC236}">
                  <a16:creationId xmlns:a16="http://schemas.microsoft.com/office/drawing/2014/main" id="{93B197DE-F333-40B9-AD59-344F0E125D68}"/>
                </a:ext>
              </a:extLst>
            </p:cNvPr>
            <p:cNvSpPr>
              <a:spLocks/>
            </p:cNvSpPr>
            <p:nvPr userDrawn="1"/>
          </p:nvSpPr>
          <p:spPr bwMode="auto">
            <a:xfrm>
              <a:off x="9905365" y="4309428"/>
              <a:ext cx="50800" cy="44450"/>
            </a:xfrm>
            <a:custGeom>
              <a:avLst/>
              <a:gdLst>
                <a:gd name="T0" fmla="*/ 25 w 25"/>
                <a:gd name="T1" fmla="*/ 17 h 22"/>
                <a:gd name="T2" fmla="*/ 3 w 25"/>
                <a:gd name="T3" fmla="*/ 0 h 22"/>
                <a:gd name="T4" fmla="*/ 6 w 25"/>
                <a:gd name="T5" fmla="*/ 18 h 22"/>
                <a:gd name="T6" fmla="*/ 25 w 25"/>
                <a:gd name="T7" fmla="*/ 17 h 22"/>
              </a:gdLst>
              <a:ahLst/>
              <a:cxnLst>
                <a:cxn ang="0">
                  <a:pos x="T0" y="T1"/>
                </a:cxn>
                <a:cxn ang="0">
                  <a:pos x="T2" y="T3"/>
                </a:cxn>
                <a:cxn ang="0">
                  <a:pos x="T4" y="T5"/>
                </a:cxn>
                <a:cxn ang="0">
                  <a:pos x="T6" y="T7"/>
                </a:cxn>
              </a:cxnLst>
              <a:rect l="0" t="0" r="r" b="b"/>
              <a:pathLst>
                <a:path w="25" h="22">
                  <a:moveTo>
                    <a:pt x="25" y="17"/>
                  </a:moveTo>
                  <a:cubicBezTo>
                    <a:pt x="3" y="0"/>
                    <a:pt x="3" y="0"/>
                    <a:pt x="3" y="0"/>
                  </a:cubicBezTo>
                  <a:cubicBezTo>
                    <a:pt x="0" y="6"/>
                    <a:pt x="1" y="13"/>
                    <a:pt x="6" y="18"/>
                  </a:cubicBezTo>
                  <a:cubicBezTo>
                    <a:pt x="12" y="22"/>
                    <a:pt x="20" y="22"/>
                    <a:pt x="25" y="1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5" name="Freeform 21384">
              <a:extLst>
                <a:ext uri="{FF2B5EF4-FFF2-40B4-BE49-F238E27FC236}">
                  <a16:creationId xmlns:a16="http://schemas.microsoft.com/office/drawing/2014/main" id="{2FA5B888-8003-448E-ACFF-F06D43D9EC35}"/>
                </a:ext>
              </a:extLst>
            </p:cNvPr>
            <p:cNvSpPr>
              <a:spLocks/>
            </p:cNvSpPr>
            <p:nvPr userDrawn="1"/>
          </p:nvSpPr>
          <p:spPr bwMode="auto">
            <a:xfrm>
              <a:off x="9916478" y="4293553"/>
              <a:ext cx="49213" cy="44450"/>
            </a:xfrm>
            <a:custGeom>
              <a:avLst/>
              <a:gdLst>
                <a:gd name="T0" fmla="*/ 19 w 25"/>
                <a:gd name="T1" fmla="*/ 5 h 22"/>
                <a:gd name="T2" fmla="*/ 0 w 25"/>
                <a:gd name="T3" fmla="*/ 6 h 22"/>
                <a:gd name="T4" fmla="*/ 22 w 25"/>
                <a:gd name="T5" fmla="*/ 22 h 22"/>
                <a:gd name="T6" fmla="*/ 19 w 25"/>
                <a:gd name="T7" fmla="*/ 5 h 22"/>
              </a:gdLst>
              <a:ahLst/>
              <a:cxnLst>
                <a:cxn ang="0">
                  <a:pos x="T0" y="T1"/>
                </a:cxn>
                <a:cxn ang="0">
                  <a:pos x="T2" y="T3"/>
                </a:cxn>
                <a:cxn ang="0">
                  <a:pos x="T4" y="T5"/>
                </a:cxn>
                <a:cxn ang="0">
                  <a:pos x="T6" y="T7"/>
                </a:cxn>
              </a:cxnLst>
              <a:rect l="0" t="0" r="r" b="b"/>
              <a:pathLst>
                <a:path w="25" h="22">
                  <a:moveTo>
                    <a:pt x="19" y="5"/>
                  </a:moveTo>
                  <a:cubicBezTo>
                    <a:pt x="13" y="0"/>
                    <a:pt x="5" y="1"/>
                    <a:pt x="0" y="6"/>
                  </a:cubicBezTo>
                  <a:cubicBezTo>
                    <a:pt x="22" y="22"/>
                    <a:pt x="22" y="22"/>
                    <a:pt x="22" y="22"/>
                  </a:cubicBezTo>
                  <a:cubicBezTo>
                    <a:pt x="25" y="16"/>
                    <a:pt x="24" y="9"/>
                    <a:pt x="19"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6" name="Freeform 21385">
              <a:extLst>
                <a:ext uri="{FF2B5EF4-FFF2-40B4-BE49-F238E27FC236}">
                  <a16:creationId xmlns:a16="http://schemas.microsoft.com/office/drawing/2014/main" id="{2D0450B7-C2A8-476B-8136-3000AC87822B}"/>
                </a:ext>
              </a:extLst>
            </p:cNvPr>
            <p:cNvSpPr>
              <a:spLocks/>
            </p:cNvSpPr>
            <p:nvPr userDrawn="1"/>
          </p:nvSpPr>
          <p:spPr bwMode="auto">
            <a:xfrm>
              <a:off x="8221028" y="4453890"/>
              <a:ext cx="50800" cy="42863"/>
            </a:xfrm>
            <a:custGeom>
              <a:avLst/>
              <a:gdLst>
                <a:gd name="T0" fmla="*/ 25 w 25"/>
                <a:gd name="T1" fmla="*/ 16 h 22"/>
                <a:gd name="T2" fmla="*/ 3 w 25"/>
                <a:gd name="T3" fmla="*/ 0 h 22"/>
                <a:gd name="T4" fmla="*/ 6 w 25"/>
                <a:gd name="T5" fmla="*/ 17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6" y="17"/>
                  </a:cubicBezTo>
                  <a:cubicBezTo>
                    <a:pt x="12" y="22"/>
                    <a:pt x="20" y="21"/>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7" name="Freeform 21386">
              <a:extLst>
                <a:ext uri="{FF2B5EF4-FFF2-40B4-BE49-F238E27FC236}">
                  <a16:creationId xmlns:a16="http://schemas.microsoft.com/office/drawing/2014/main" id="{5B6A9CA8-E88F-4400-A9DA-5933B5DD0BBF}"/>
                </a:ext>
              </a:extLst>
            </p:cNvPr>
            <p:cNvSpPr>
              <a:spLocks/>
            </p:cNvSpPr>
            <p:nvPr userDrawn="1"/>
          </p:nvSpPr>
          <p:spPr bwMode="auto">
            <a:xfrm>
              <a:off x="8232140" y="4436428"/>
              <a:ext cx="50800" cy="44450"/>
            </a:xfrm>
            <a:custGeom>
              <a:avLst/>
              <a:gdLst>
                <a:gd name="T0" fmla="*/ 19 w 25"/>
                <a:gd name="T1" fmla="*/ 4 h 22"/>
                <a:gd name="T2" fmla="*/ 0 w 25"/>
                <a:gd name="T3" fmla="*/ 5 h 22"/>
                <a:gd name="T4" fmla="*/ 22 w 25"/>
                <a:gd name="T5" fmla="*/ 22 h 22"/>
                <a:gd name="T6" fmla="*/ 19 w 25"/>
                <a:gd name="T7" fmla="*/ 4 h 22"/>
              </a:gdLst>
              <a:ahLst/>
              <a:cxnLst>
                <a:cxn ang="0">
                  <a:pos x="T0" y="T1"/>
                </a:cxn>
                <a:cxn ang="0">
                  <a:pos x="T2" y="T3"/>
                </a:cxn>
                <a:cxn ang="0">
                  <a:pos x="T4" y="T5"/>
                </a:cxn>
                <a:cxn ang="0">
                  <a:pos x="T6" y="T7"/>
                </a:cxn>
              </a:cxnLst>
              <a:rect l="0" t="0" r="r" b="b"/>
              <a:pathLst>
                <a:path w="25" h="22">
                  <a:moveTo>
                    <a:pt x="19" y="4"/>
                  </a:moveTo>
                  <a:cubicBezTo>
                    <a:pt x="13" y="0"/>
                    <a:pt x="5" y="0"/>
                    <a:pt x="0" y="5"/>
                  </a:cubicBezTo>
                  <a:cubicBezTo>
                    <a:pt x="22" y="22"/>
                    <a:pt x="22" y="22"/>
                    <a:pt x="22" y="22"/>
                  </a:cubicBezTo>
                  <a:cubicBezTo>
                    <a:pt x="25" y="16"/>
                    <a:pt x="24" y="9"/>
                    <a:pt x="19"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8" name="Freeform 21387">
              <a:extLst>
                <a:ext uri="{FF2B5EF4-FFF2-40B4-BE49-F238E27FC236}">
                  <a16:creationId xmlns:a16="http://schemas.microsoft.com/office/drawing/2014/main" id="{3AA3D91F-B77E-4F08-9F9D-43C5AC5F5E63}"/>
                </a:ext>
              </a:extLst>
            </p:cNvPr>
            <p:cNvSpPr>
              <a:spLocks/>
            </p:cNvSpPr>
            <p:nvPr userDrawn="1"/>
          </p:nvSpPr>
          <p:spPr bwMode="auto">
            <a:xfrm>
              <a:off x="9337040" y="3576003"/>
              <a:ext cx="50800" cy="44450"/>
            </a:xfrm>
            <a:custGeom>
              <a:avLst/>
              <a:gdLst>
                <a:gd name="T0" fmla="*/ 25 w 25"/>
                <a:gd name="T1" fmla="*/ 16 h 22"/>
                <a:gd name="T2" fmla="*/ 3 w 25"/>
                <a:gd name="T3" fmla="*/ 0 h 22"/>
                <a:gd name="T4" fmla="*/ 7 w 25"/>
                <a:gd name="T5" fmla="*/ 18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7" y="18"/>
                  </a:cubicBezTo>
                  <a:cubicBezTo>
                    <a:pt x="12" y="22"/>
                    <a:pt x="20" y="22"/>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9" name="Freeform 21388">
              <a:extLst>
                <a:ext uri="{FF2B5EF4-FFF2-40B4-BE49-F238E27FC236}">
                  <a16:creationId xmlns:a16="http://schemas.microsoft.com/office/drawing/2014/main" id="{70888A81-512F-4CCA-8E19-52B35B331889}"/>
                </a:ext>
              </a:extLst>
            </p:cNvPr>
            <p:cNvSpPr>
              <a:spLocks/>
            </p:cNvSpPr>
            <p:nvPr userDrawn="1"/>
          </p:nvSpPr>
          <p:spPr bwMode="auto">
            <a:xfrm>
              <a:off x="9348153" y="3560128"/>
              <a:ext cx="49213" cy="44450"/>
            </a:xfrm>
            <a:custGeom>
              <a:avLst/>
              <a:gdLst>
                <a:gd name="T0" fmla="*/ 19 w 25"/>
                <a:gd name="T1" fmla="*/ 5 h 22"/>
                <a:gd name="T2" fmla="*/ 0 w 25"/>
                <a:gd name="T3" fmla="*/ 6 h 22"/>
                <a:gd name="T4" fmla="*/ 22 w 25"/>
                <a:gd name="T5" fmla="*/ 22 h 22"/>
                <a:gd name="T6" fmla="*/ 19 w 25"/>
                <a:gd name="T7" fmla="*/ 5 h 22"/>
              </a:gdLst>
              <a:ahLst/>
              <a:cxnLst>
                <a:cxn ang="0">
                  <a:pos x="T0" y="T1"/>
                </a:cxn>
                <a:cxn ang="0">
                  <a:pos x="T2" y="T3"/>
                </a:cxn>
                <a:cxn ang="0">
                  <a:pos x="T4" y="T5"/>
                </a:cxn>
                <a:cxn ang="0">
                  <a:pos x="T6" y="T7"/>
                </a:cxn>
              </a:cxnLst>
              <a:rect l="0" t="0" r="r" b="b"/>
              <a:pathLst>
                <a:path w="25" h="22">
                  <a:moveTo>
                    <a:pt x="19" y="5"/>
                  </a:moveTo>
                  <a:cubicBezTo>
                    <a:pt x="13" y="0"/>
                    <a:pt x="5" y="1"/>
                    <a:pt x="0" y="6"/>
                  </a:cubicBezTo>
                  <a:cubicBezTo>
                    <a:pt x="22" y="22"/>
                    <a:pt x="22" y="22"/>
                    <a:pt x="22" y="22"/>
                  </a:cubicBezTo>
                  <a:cubicBezTo>
                    <a:pt x="25" y="16"/>
                    <a:pt x="24" y="9"/>
                    <a:pt x="19"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0" name="Freeform 21389">
              <a:extLst>
                <a:ext uri="{FF2B5EF4-FFF2-40B4-BE49-F238E27FC236}">
                  <a16:creationId xmlns:a16="http://schemas.microsoft.com/office/drawing/2014/main" id="{0F132802-3FEB-4255-8364-E544AB83DD7C}"/>
                </a:ext>
              </a:extLst>
            </p:cNvPr>
            <p:cNvSpPr>
              <a:spLocks noEditPoints="1"/>
            </p:cNvSpPr>
            <p:nvPr userDrawn="1"/>
          </p:nvSpPr>
          <p:spPr bwMode="auto">
            <a:xfrm>
              <a:off x="8340090" y="5030153"/>
              <a:ext cx="180975" cy="174625"/>
            </a:xfrm>
            <a:custGeom>
              <a:avLst/>
              <a:gdLst>
                <a:gd name="T0" fmla="*/ 75 w 89"/>
                <a:gd name="T1" fmla="*/ 24 h 87"/>
                <a:gd name="T2" fmla="*/ 52 w 89"/>
                <a:gd name="T3" fmla="*/ 9 h 87"/>
                <a:gd name="T4" fmla="*/ 25 w 89"/>
                <a:gd name="T5" fmla="*/ 14 h 87"/>
                <a:gd name="T6" fmla="*/ 9 w 89"/>
                <a:gd name="T7" fmla="*/ 36 h 87"/>
                <a:gd name="T8" fmla="*/ 14 w 89"/>
                <a:gd name="T9" fmla="*/ 63 h 87"/>
                <a:gd name="T10" fmla="*/ 37 w 89"/>
                <a:gd name="T11" fmla="*/ 78 h 87"/>
                <a:gd name="T12" fmla="*/ 64 w 89"/>
                <a:gd name="T13" fmla="*/ 73 h 87"/>
                <a:gd name="T14" fmla="*/ 80 w 89"/>
                <a:gd name="T15" fmla="*/ 51 h 87"/>
                <a:gd name="T16" fmla="*/ 67 w 89"/>
                <a:gd name="T17" fmla="*/ 56 h 87"/>
                <a:gd name="T18" fmla="*/ 65 w 89"/>
                <a:gd name="T19" fmla="*/ 59 h 87"/>
                <a:gd name="T20" fmla="*/ 61 w 89"/>
                <a:gd name="T21" fmla="*/ 63 h 87"/>
                <a:gd name="T22" fmla="*/ 58 w 89"/>
                <a:gd name="T23" fmla="*/ 65 h 87"/>
                <a:gd name="T24" fmla="*/ 52 w 89"/>
                <a:gd name="T25" fmla="*/ 68 h 87"/>
                <a:gd name="T26" fmla="*/ 50 w 89"/>
                <a:gd name="T27" fmla="*/ 68 h 87"/>
                <a:gd name="T28" fmla="*/ 47 w 89"/>
                <a:gd name="T29" fmla="*/ 69 h 87"/>
                <a:gd name="T30" fmla="*/ 44 w 89"/>
                <a:gd name="T31" fmla="*/ 69 h 87"/>
                <a:gd name="T32" fmla="*/ 42 w 89"/>
                <a:gd name="T33" fmla="*/ 69 h 87"/>
                <a:gd name="T34" fmla="*/ 39 w 89"/>
                <a:gd name="T35" fmla="*/ 68 h 87"/>
                <a:gd name="T36" fmla="*/ 32 w 89"/>
                <a:gd name="T37" fmla="*/ 66 h 87"/>
                <a:gd name="T38" fmla="*/ 30 w 89"/>
                <a:gd name="T39" fmla="*/ 65 h 87"/>
                <a:gd name="T40" fmla="*/ 27 w 89"/>
                <a:gd name="T41" fmla="*/ 63 h 87"/>
                <a:gd name="T42" fmla="*/ 24 w 89"/>
                <a:gd name="T43" fmla="*/ 59 h 87"/>
                <a:gd name="T44" fmla="*/ 22 w 89"/>
                <a:gd name="T45" fmla="*/ 56 h 87"/>
                <a:gd name="T46" fmla="*/ 19 w 89"/>
                <a:gd name="T47" fmla="*/ 49 h 87"/>
                <a:gd name="T48" fmla="*/ 18 w 89"/>
                <a:gd name="T49" fmla="*/ 46 h 87"/>
                <a:gd name="T50" fmla="*/ 18 w 89"/>
                <a:gd name="T51" fmla="*/ 43 h 87"/>
                <a:gd name="T52" fmla="*/ 18 w 89"/>
                <a:gd name="T53" fmla="*/ 41 h 87"/>
                <a:gd name="T54" fmla="*/ 19 w 89"/>
                <a:gd name="T55" fmla="*/ 38 h 87"/>
                <a:gd name="T56" fmla="*/ 19 w 89"/>
                <a:gd name="T57" fmla="*/ 36 h 87"/>
                <a:gd name="T58" fmla="*/ 22 w 89"/>
                <a:gd name="T59" fmla="*/ 31 h 87"/>
                <a:gd name="T60" fmla="*/ 24 w 89"/>
                <a:gd name="T61" fmla="*/ 27 h 87"/>
                <a:gd name="T62" fmla="*/ 27 w 89"/>
                <a:gd name="T63" fmla="*/ 24 h 87"/>
                <a:gd name="T64" fmla="*/ 31 w 89"/>
                <a:gd name="T65" fmla="*/ 22 h 87"/>
                <a:gd name="T66" fmla="*/ 37 w 89"/>
                <a:gd name="T67" fmla="*/ 19 h 87"/>
                <a:gd name="T68" fmla="*/ 39 w 89"/>
                <a:gd name="T69" fmla="*/ 18 h 87"/>
                <a:gd name="T70" fmla="*/ 42 w 89"/>
                <a:gd name="T71" fmla="*/ 18 h 87"/>
                <a:gd name="T72" fmla="*/ 46 w 89"/>
                <a:gd name="T73" fmla="*/ 18 h 87"/>
                <a:gd name="T74" fmla="*/ 48 w 89"/>
                <a:gd name="T75" fmla="*/ 18 h 87"/>
                <a:gd name="T76" fmla="*/ 51 w 89"/>
                <a:gd name="T77" fmla="*/ 19 h 87"/>
                <a:gd name="T78" fmla="*/ 57 w 89"/>
                <a:gd name="T79" fmla="*/ 21 h 87"/>
                <a:gd name="T80" fmla="*/ 58 w 89"/>
                <a:gd name="T81" fmla="*/ 22 h 87"/>
                <a:gd name="T82" fmla="*/ 62 w 89"/>
                <a:gd name="T83" fmla="*/ 24 h 87"/>
                <a:gd name="T84" fmla="*/ 65 w 89"/>
                <a:gd name="T85" fmla="*/ 28 h 87"/>
                <a:gd name="T86" fmla="*/ 67 w 89"/>
                <a:gd name="T87" fmla="*/ 31 h 87"/>
                <a:gd name="T88" fmla="*/ 70 w 89"/>
                <a:gd name="T89" fmla="*/ 37 h 87"/>
                <a:gd name="T90" fmla="*/ 70 w 89"/>
                <a:gd name="T91" fmla="*/ 39 h 87"/>
                <a:gd name="T92" fmla="*/ 71 w 89"/>
                <a:gd name="T93" fmla="*/ 42 h 87"/>
                <a:gd name="T94" fmla="*/ 71 w 89"/>
                <a:gd name="T95" fmla="*/ 45 h 87"/>
                <a:gd name="T96" fmla="*/ 70 w 89"/>
                <a:gd name="T97" fmla="*/ 47 h 87"/>
                <a:gd name="T98" fmla="*/ 70 w 89"/>
                <a:gd name="T99" fmla="*/ 5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87">
                  <a:moveTo>
                    <a:pt x="89" y="51"/>
                  </a:moveTo>
                  <a:cubicBezTo>
                    <a:pt x="89" y="36"/>
                    <a:pt x="89" y="36"/>
                    <a:pt x="89" y="36"/>
                  </a:cubicBezTo>
                  <a:cubicBezTo>
                    <a:pt x="80" y="36"/>
                    <a:pt x="80" y="36"/>
                    <a:pt x="80" y="36"/>
                  </a:cubicBezTo>
                  <a:cubicBezTo>
                    <a:pt x="79" y="32"/>
                    <a:pt x="77" y="28"/>
                    <a:pt x="75" y="24"/>
                  </a:cubicBezTo>
                  <a:cubicBezTo>
                    <a:pt x="82" y="18"/>
                    <a:pt x="82" y="18"/>
                    <a:pt x="82" y="18"/>
                  </a:cubicBezTo>
                  <a:cubicBezTo>
                    <a:pt x="71" y="7"/>
                    <a:pt x="71" y="7"/>
                    <a:pt x="71" y="7"/>
                  </a:cubicBezTo>
                  <a:cubicBezTo>
                    <a:pt x="64" y="14"/>
                    <a:pt x="64" y="14"/>
                    <a:pt x="64" y="14"/>
                  </a:cubicBezTo>
                  <a:cubicBezTo>
                    <a:pt x="61" y="11"/>
                    <a:pt x="57" y="10"/>
                    <a:pt x="52" y="9"/>
                  </a:cubicBezTo>
                  <a:cubicBezTo>
                    <a:pt x="52" y="0"/>
                    <a:pt x="52" y="0"/>
                    <a:pt x="52" y="0"/>
                  </a:cubicBezTo>
                  <a:cubicBezTo>
                    <a:pt x="37" y="0"/>
                    <a:pt x="37" y="0"/>
                    <a:pt x="37" y="0"/>
                  </a:cubicBezTo>
                  <a:cubicBezTo>
                    <a:pt x="37" y="9"/>
                    <a:pt x="37" y="9"/>
                    <a:pt x="37" y="9"/>
                  </a:cubicBezTo>
                  <a:cubicBezTo>
                    <a:pt x="32" y="10"/>
                    <a:pt x="28" y="11"/>
                    <a:pt x="25" y="14"/>
                  </a:cubicBezTo>
                  <a:cubicBezTo>
                    <a:pt x="18" y="7"/>
                    <a:pt x="18" y="7"/>
                    <a:pt x="18" y="7"/>
                  </a:cubicBezTo>
                  <a:cubicBezTo>
                    <a:pt x="7" y="18"/>
                    <a:pt x="7" y="18"/>
                    <a:pt x="7" y="18"/>
                  </a:cubicBezTo>
                  <a:cubicBezTo>
                    <a:pt x="14" y="24"/>
                    <a:pt x="14" y="24"/>
                    <a:pt x="14" y="24"/>
                  </a:cubicBezTo>
                  <a:cubicBezTo>
                    <a:pt x="11" y="28"/>
                    <a:pt x="10" y="32"/>
                    <a:pt x="9" y="36"/>
                  </a:cubicBezTo>
                  <a:cubicBezTo>
                    <a:pt x="0" y="36"/>
                    <a:pt x="0" y="36"/>
                    <a:pt x="0" y="36"/>
                  </a:cubicBezTo>
                  <a:cubicBezTo>
                    <a:pt x="0" y="51"/>
                    <a:pt x="0" y="51"/>
                    <a:pt x="0" y="51"/>
                  </a:cubicBezTo>
                  <a:cubicBezTo>
                    <a:pt x="9" y="51"/>
                    <a:pt x="9" y="51"/>
                    <a:pt x="9" y="51"/>
                  </a:cubicBezTo>
                  <a:cubicBezTo>
                    <a:pt x="10" y="55"/>
                    <a:pt x="11" y="59"/>
                    <a:pt x="14" y="63"/>
                  </a:cubicBezTo>
                  <a:cubicBezTo>
                    <a:pt x="7" y="69"/>
                    <a:pt x="7" y="69"/>
                    <a:pt x="7" y="69"/>
                  </a:cubicBezTo>
                  <a:cubicBezTo>
                    <a:pt x="18" y="79"/>
                    <a:pt x="18" y="79"/>
                    <a:pt x="18" y="79"/>
                  </a:cubicBezTo>
                  <a:cubicBezTo>
                    <a:pt x="25" y="73"/>
                    <a:pt x="25" y="73"/>
                    <a:pt x="25" y="73"/>
                  </a:cubicBezTo>
                  <a:cubicBezTo>
                    <a:pt x="28" y="75"/>
                    <a:pt x="32" y="77"/>
                    <a:pt x="37" y="78"/>
                  </a:cubicBezTo>
                  <a:cubicBezTo>
                    <a:pt x="37" y="87"/>
                    <a:pt x="37" y="87"/>
                    <a:pt x="37" y="87"/>
                  </a:cubicBezTo>
                  <a:cubicBezTo>
                    <a:pt x="52" y="87"/>
                    <a:pt x="52" y="87"/>
                    <a:pt x="52" y="87"/>
                  </a:cubicBezTo>
                  <a:cubicBezTo>
                    <a:pt x="52" y="78"/>
                    <a:pt x="52" y="78"/>
                    <a:pt x="52" y="78"/>
                  </a:cubicBezTo>
                  <a:cubicBezTo>
                    <a:pt x="57" y="77"/>
                    <a:pt x="61" y="75"/>
                    <a:pt x="64" y="73"/>
                  </a:cubicBezTo>
                  <a:cubicBezTo>
                    <a:pt x="71" y="79"/>
                    <a:pt x="71" y="79"/>
                    <a:pt x="71" y="79"/>
                  </a:cubicBezTo>
                  <a:cubicBezTo>
                    <a:pt x="82" y="69"/>
                    <a:pt x="82" y="69"/>
                    <a:pt x="82" y="69"/>
                  </a:cubicBezTo>
                  <a:cubicBezTo>
                    <a:pt x="75" y="63"/>
                    <a:pt x="75" y="63"/>
                    <a:pt x="75" y="63"/>
                  </a:cubicBezTo>
                  <a:cubicBezTo>
                    <a:pt x="77" y="59"/>
                    <a:pt x="79" y="55"/>
                    <a:pt x="80" y="51"/>
                  </a:cubicBezTo>
                  <a:cubicBezTo>
                    <a:pt x="89" y="51"/>
                    <a:pt x="89" y="51"/>
                    <a:pt x="89" y="51"/>
                  </a:cubicBezTo>
                  <a:moveTo>
                    <a:pt x="68" y="55"/>
                  </a:moveTo>
                  <a:cubicBezTo>
                    <a:pt x="67" y="56"/>
                    <a:pt x="67" y="56"/>
                    <a:pt x="67" y="56"/>
                  </a:cubicBezTo>
                  <a:cubicBezTo>
                    <a:pt x="67" y="56"/>
                    <a:pt x="67" y="56"/>
                    <a:pt x="67" y="56"/>
                  </a:cubicBezTo>
                  <a:cubicBezTo>
                    <a:pt x="67" y="57"/>
                    <a:pt x="67" y="57"/>
                    <a:pt x="67" y="57"/>
                  </a:cubicBezTo>
                  <a:cubicBezTo>
                    <a:pt x="67" y="57"/>
                    <a:pt x="67" y="57"/>
                    <a:pt x="67" y="57"/>
                  </a:cubicBezTo>
                  <a:cubicBezTo>
                    <a:pt x="66" y="58"/>
                    <a:pt x="66" y="58"/>
                    <a:pt x="65" y="59"/>
                  </a:cubicBezTo>
                  <a:cubicBezTo>
                    <a:pt x="65" y="59"/>
                    <a:pt x="65" y="59"/>
                    <a:pt x="65" y="59"/>
                  </a:cubicBezTo>
                  <a:cubicBezTo>
                    <a:pt x="64" y="60"/>
                    <a:pt x="64" y="60"/>
                    <a:pt x="64" y="60"/>
                  </a:cubicBezTo>
                  <a:cubicBezTo>
                    <a:pt x="64" y="60"/>
                    <a:pt x="64" y="60"/>
                    <a:pt x="64" y="60"/>
                  </a:cubicBezTo>
                  <a:cubicBezTo>
                    <a:pt x="63" y="61"/>
                    <a:pt x="63" y="62"/>
                    <a:pt x="62" y="63"/>
                  </a:cubicBezTo>
                  <a:cubicBezTo>
                    <a:pt x="61" y="63"/>
                    <a:pt x="61" y="63"/>
                    <a:pt x="61" y="63"/>
                  </a:cubicBezTo>
                  <a:cubicBezTo>
                    <a:pt x="61" y="63"/>
                    <a:pt x="61" y="63"/>
                    <a:pt x="61" y="63"/>
                  </a:cubicBezTo>
                  <a:cubicBezTo>
                    <a:pt x="61" y="63"/>
                    <a:pt x="61" y="63"/>
                    <a:pt x="61" y="63"/>
                  </a:cubicBezTo>
                  <a:cubicBezTo>
                    <a:pt x="60" y="64"/>
                    <a:pt x="59" y="64"/>
                    <a:pt x="58" y="65"/>
                  </a:cubicBezTo>
                  <a:cubicBezTo>
                    <a:pt x="58" y="65"/>
                    <a:pt x="58" y="65"/>
                    <a:pt x="58" y="65"/>
                  </a:cubicBezTo>
                  <a:cubicBezTo>
                    <a:pt x="58" y="65"/>
                    <a:pt x="58" y="65"/>
                    <a:pt x="58" y="65"/>
                  </a:cubicBezTo>
                  <a:cubicBezTo>
                    <a:pt x="57" y="66"/>
                    <a:pt x="57" y="66"/>
                    <a:pt x="57" y="66"/>
                  </a:cubicBezTo>
                  <a:cubicBezTo>
                    <a:pt x="57" y="66"/>
                    <a:pt x="57" y="66"/>
                    <a:pt x="57" y="66"/>
                  </a:cubicBezTo>
                  <a:cubicBezTo>
                    <a:pt x="55" y="67"/>
                    <a:pt x="54" y="67"/>
                    <a:pt x="52" y="68"/>
                  </a:cubicBezTo>
                  <a:cubicBezTo>
                    <a:pt x="52" y="68"/>
                    <a:pt x="52" y="68"/>
                    <a:pt x="52" y="68"/>
                  </a:cubicBezTo>
                  <a:cubicBezTo>
                    <a:pt x="52" y="68"/>
                    <a:pt x="51" y="68"/>
                    <a:pt x="51" y="68"/>
                  </a:cubicBezTo>
                  <a:cubicBezTo>
                    <a:pt x="51" y="68"/>
                    <a:pt x="51" y="68"/>
                    <a:pt x="51" y="68"/>
                  </a:cubicBezTo>
                  <a:cubicBezTo>
                    <a:pt x="50" y="68"/>
                    <a:pt x="50" y="68"/>
                    <a:pt x="50" y="68"/>
                  </a:cubicBezTo>
                  <a:cubicBezTo>
                    <a:pt x="50" y="68"/>
                    <a:pt x="50" y="68"/>
                    <a:pt x="50" y="68"/>
                  </a:cubicBezTo>
                  <a:cubicBezTo>
                    <a:pt x="49" y="68"/>
                    <a:pt x="49" y="68"/>
                    <a:pt x="49" y="69"/>
                  </a:cubicBezTo>
                  <a:cubicBezTo>
                    <a:pt x="48" y="69"/>
                    <a:pt x="48" y="69"/>
                    <a:pt x="48" y="69"/>
                  </a:cubicBezTo>
                  <a:cubicBezTo>
                    <a:pt x="48" y="69"/>
                    <a:pt x="48" y="69"/>
                    <a:pt x="47" y="69"/>
                  </a:cubicBezTo>
                  <a:cubicBezTo>
                    <a:pt x="47" y="69"/>
                    <a:pt x="47" y="69"/>
                    <a:pt x="47" y="69"/>
                  </a:cubicBezTo>
                  <a:cubicBezTo>
                    <a:pt x="46" y="69"/>
                    <a:pt x="46" y="69"/>
                    <a:pt x="46" y="69"/>
                  </a:cubicBezTo>
                  <a:cubicBezTo>
                    <a:pt x="46" y="69"/>
                    <a:pt x="46" y="69"/>
                    <a:pt x="46" y="69"/>
                  </a:cubicBezTo>
                  <a:cubicBezTo>
                    <a:pt x="45" y="69"/>
                    <a:pt x="45" y="69"/>
                    <a:pt x="44" y="69"/>
                  </a:cubicBezTo>
                  <a:cubicBezTo>
                    <a:pt x="44" y="69"/>
                    <a:pt x="44" y="69"/>
                    <a:pt x="43" y="69"/>
                  </a:cubicBezTo>
                  <a:cubicBezTo>
                    <a:pt x="43" y="69"/>
                    <a:pt x="43" y="69"/>
                    <a:pt x="43" y="69"/>
                  </a:cubicBezTo>
                  <a:cubicBezTo>
                    <a:pt x="42" y="69"/>
                    <a:pt x="42" y="69"/>
                    <a:pt x="42" y="69"/>
                  </a:cubicBezTo>
                  <a:cubicBezTo>
                    <a:pt x="42" y="69"/>
                    <a:pt x="42" y="69"/>
                    <a:pt x="42" y="69"/>
                  </a:cubicBezTo>
                  <a:cubicBezTo>
                    <a:pt x="41" y="69"/>
                    <a:pt x="41" y="69"/>
                    <a:pt x="40" y="69"/>
                  </a:cubicBezTo>
                  <a:cubicBezTo>
                    <a:pt x="40" y="69"/>
                    <a:pt x="40" y="69"/>
                    <a:pt x="40" y="69"/>
                  </a:cubicBezTo>
                  <a:cubicBezTo>
                    <a:pt x="40" y="68"/>
                    <a:pt x="40" y="68"/>
                    <a:pt x="39" y="68"/>
                  </a:cubicBezTo>
                  <a:cubicBezTo>
                    <a:pt x="39" y="68"/>
                    <a:pt x="39" y="68"/>
                    <a:pt x="39" y="68"/>
                  </a:cubicBezTo>
                  <a:cubicBezTo>
                    <a:pt x="38" y="68"/>
                    <a:pt x="38" y="68"/>
                    <a:pt x="38" y="68"/>
                  </a:cubicBezTo>
                  <a:cubicBezTo>
                    <a:pt x="38" y="68"/>
                    <a:pt x="38" y="68"/>
                    <a:pt x="38" y="68"/>
                  </a:cubicBezTo>
                  <a:cubicBezTo>
                    <a:pt x="37" y="68"/>
                    <a:pt x="37" y="68"/>
                    <a:pt x="37" y="68"/>
                  </a:cubicBezTo>
                  <a:cubicBezTo>
                    <a:pt x="35" y="67"/>
                    <a:pt x="34" y="67"/>
                    <a:pt x="32" y="66"/>
                  </a:cubicBezTo>
                  <a:cubicBezTo>
                    <a:pt x="31" y="66"/>
                    <a:pt x="31" y="66"/>
                    <a:pt x="31" y="66"/>
                  </a:cubicBezTo>
                  <a:cubicBezTo>
                    <a:pt x="31" y="65"/>
                    <a:pt x="31" y="65"/>
                    <a:pt x="31" y="65"/>
                  </a:cubicBezTo>
                  <a:cubicBezTo>
                    <a:pt x="31" y="65"/>
                    <a:pt x="31" y="65"/>
                    <a:pt x="31" y="65"/>
                  </a:cubicBezTo>
                  <a:cubicBezTo>
                    <a:pt x="30" y="65"/>
                    <a:pt x="30" y="65"/>
                    <a:pt x="30" y="65"/>
                  </a:cubicBezTo>
                  <a:cubicBezTo>
                    <a:pt x="30" y="64"/>
                    <a:pt x="29" y="64"/>
                    <a:pt x="28" y="63"/>
                  </a:cubicBezTo>
                  <a:cubicBezTo>
                    <a:pt x="28" y="63"/>
                    <a:pt x="28" y="63"/>
                    <a:pt x="28" y="63"/>
                  </a:cubicBezTo>
                  <a:cubicBezTo>
                    <a:pt x="27" y="63"/>
                    <a:pt x="27" y="63"/>
                    <a:pt x="27" y="63"/>
                  </a:cubicBezTo>
                  <a:cubicBezTo>
                    <a:pt x="27" y="63"/>
                    <a:pt x="27" y="63"/>
                    <a:pt x="27" y="63"/>
                  </a:cubicBezTo>
                  <a:cubicBezTo>
                    <a:pt x="26" y="62"/>
                    <a:pt x="25" y="61"/>
                    <a:pt x="25" y="60"/>
                  </a:cubicBezTo>
                  <a:cubicBezTo>
                    <a:pt x="24" y="60"/>
                    <a:pt x="24" y="60"/>
                    <a:pt x="24" y="60"/>
                  </a:cubicBezTo>
                  <a:cubicBezTo>
                    <a:pt x="24" y="59"/>
                    <a:pt x="24" y="59"/>
                    <a:pt x="24" y="59"/>
                  </a:cubicBezTo>
                  <a:cubicBezTo>
                    <a:pt x="24" y="59"/>
                    <a:pt x="24" y="59"/>
                    <a:pt x="24" y="59"/>
                  </a:cubicBezTo>
                  <a:cubicBezTo>
                    <a:pt x="23" y="58"/>
                    <a:pt x="23" y="58"/>
                    <a:pt x="22" y="57"/>
                  </a:cubicBezTo>
                  <a:cubicBezTo>
                    <a:pt x="22" y="57"/>
                    <a:pt x="22" y="57"/>
                    <a:pt x="22" y="57"/>
                  </a:cubicBezTo>
                  <a:cubicBezTo>
                    <a:pt x="22" y="56"/>
                    <a:pt x="22" y="56"/>
                    <a:pt x="22" y="56"/>
                  </a:cubicBezTo>
                  <a:cubicBezTo>
                    <a:pt x="22" y="56"/>
                    <a:pt x="22" y="56"/>
                    <a:pt x="22" y="56"/>
                  </a:cubicBezTo>
                  <a:cubicBezTo>
                    <a:pt x="21" y="55"/>
                    <a:pt x="21" y="55"/>
                    <a:pt x="21" y="55"/>
                  </a:cubicBezTo>
                  <a:cubicBezTo>
                    <a:pt x="20" y="54"/>
                    <a:pt x="20" y="52"/>
                    <a:pt x="19" y="50"/>
                  </a:cubicBezTo>
                  <a:cubicBezTo>
                    <a:pt x="19" y="50"/>
                    <a:pt x="19" y="50"/>
                    <a:pt x="19" y="50"/>
                  </a:cubicBezTo>
                  <a:cubicBezTo>
                    <a:pt x="19" y="49"/>
                    <a:pt x="19" y="49"/>
                    <a:pt x="19" y="49"/>
                  </a:cubicBezTo>
                  <a:cubicBezTo>
                    <a:pt x="19" y="48"/>
                    <a:pt x="19" y="48"/>
                    <a:pt x="19" y="48"/>
                  </a:cubicBezTo>
                  <a:cubicBezTo>
                    <a:pt x="19" y="47"/>
                    <a:pt x="19" y="47"/>
                    <a:pt x="19" y="47"/>
                  </a:cubicBezTo>
                  <a:cubicBezTo>
                    <a:pt x="19" y="47"/>
                    <a:pt x="19" y="47"/>
                    <a:pt x="19" y="47"/>
                  </a:cubicBezTo>
                  <a:cubicBezTo>
                    <a:pt x="18" y="47"/>
                    <a:pt x="18" y="46"/>
                    <a:pt x="18" y="46"/>
                  </a:cubicBezTo>
                  <a:cubicBezTo>
                    <a:pt x="18" y="46"/>
                    <a:pt x="18" y="46"/>
                    <a:pt x="18" y="46"/>
                  </a:cubicBezTo>
                  <a:cubicBezTo>
                    <a:pt x="18" y="45"/>
                    <a:pt x="18" y="45"/>
                    <a:pt x="18" y="45"/>
                  </a:cubicBezTo>
                  <a:cubicBezTo>
                    <a:pt x="18" y="45"/>
                    <a:pt x="18" y="45"/>
                    <a:pt x="18" y="45"/>
                  </a:cubicBezTo>
                  <a:cubicBezTo>
                    <a:pt x="18" y="44"/>
                    <a:pt x="18" y="44"/>
                    <a:pt x="18" y="43"/>
                  </a:cubicBezTo>
                  <a:cubicBezTo>
                    <a:pt x="18" y="43"/>
                    <a:pt x="18" y="43"/>
                    <a:pt x="18" y="42"/>
                  </a:cubicBezTo>
                  <a:cubicBezTo>
                    <a:pt x="18" y="42"/>
                    <a:pt x="18" y="42"/>
                    <a:pt x="18" y="42"/>
                  </a:cubicBezTo>
                  <a:cubicBezTo>
                    <a:pt x="18" y="41"/>
                    <a:pt x="18" y="41"/>
                    <a:pt x="18" y="41"/>
                  </a:cubicBezTo>
                  <a:cubicBezTo>
                    <a:pt x="18" y="41"/>
                    <a:pt x="18" y="41"/>
                    <a:pt x="18" y="41"/>
                  </a:cubicBezTo>
                  <a:cubicBezTo>
                    <a:pt x="18" y="40"/>
                    <a:pt x="18" y="40"/>
                    <a:pt x="19" y="40"/>
                  </a:cubicBezTo>
                  <a:cubicBezTo>
                    <a:pt x="19" y="39"/>
                    <a:pt x="19" y="39"/>
                    <a:pt x="19" y="39"/>
                  </a:cubicBezTo>
                  <a:cubicBezTo>
                    <a:pt x="19" y="38"/>
                    <a:pt x="19" y="38"/>
                    <a:pt x="19" y="38"/>
                  </a:cubicBezTo>
                  <a:cubicBezTo>
                    <a:pt x="19" y="38"/>
                    <a:pt x="19" y="38"/>
                    <a:pt x="19" y="38"/>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20" y="34"/>
                    <a:pt x="20" y="33"/>
                    <a:pt x="21" y="32"/>
                  </a:cubicBezTo>
                  <a:cubicBezTo>
                    <a:pt x="22" y="31"/>
                    <a:pt x="22" y="31"/>
                    <a:pt x="22" y="31"/>
                  </a:cubicBezTo>
                  <a:cubicBezTo>
                    <a:pt x="22" y="31"/>
                    <a:pt x="22" y="31"/>
                    <a:pt x="22" y="31"/>
                  </a:cubicBezTo>
                  <a:cubicBezTo>
                    <a:pt x="22" y="30"/>
                    <a:pt x="22" y="30"/>
                    <a:pt x="22" y="30"/>
                  </a:cubicBezTo>
                  <a:cubicBezTo>
                    <a:pt x="22" y="30"/>
                    <a:pt x="22" y="30"/>
                    <a:pt x="22" y="30"/>
                  </a:cubicBezTo>
                  <a:cubicBezTo>
                    <a:pt x="23" y="29"/>
                    <a:pt x="23" y="28"/>
                    <a:pt x="24" y="28"/>
                  </a:cubicBezTo>
                  <a:cubicBezTo>
                    <a:pt x="24" y="27"/>
                    <a:pt x="24" y="27"/>
                    <a:pt x="24" y="27"/>
                  </a:cubicBezTo>
                  <a:cubicBezTo>
                    <a:pt x="24" y="27"/>
                    <a:pt x="24" y="27"/>
                    <a:pt x="24" y="27"/>
                  </a:cubicBezTo>
                  <a:cubicBezTo>
                    <a:pt x="25" y="27"/>
                    <a:pt x="25" y="27"/>
                    <a:pt x="25" y="27"/>
                  </a:cubicBezTo>
                  <a:cubicBezTo>
                    <a:pt x="25" y="26"/>
                    <a:pt x="26" y="25"/>
                    <a:pt x="27" y="24"/>
                  </a:cubicBezTo>
                  <a:cubicBezTo>
                    <a:pt x="27" y="24"/>
                    <a:pt x="27" y="24"/>
                    <a:pt x="27" y="24"/>
                  </a:cubicBezTo>
                  <a:cubicBezTo>
                    <a:pt x="28" y="23"/>
                    <a:pt x="28" y="23"/>
                    <a:pt x="28" y="23"/>
                  </a:cubicBezTo>
                  <a:cubicBezTo>
                    <a:pt x="28" y="23"/>
                    <a:pt x="28" y="23"/>
                    <a:pt x="28" y="23"/>
                  </a:cubicBezTo>
                  <a:cubicBezTo>
                    <a:pt x="29" y="23"/>
                    <a:pt x="30" y="22"/>
                    <a:pt x="30" y="22"/>
                  </a:cubicBezTo>
                  <a:cubicBezTo>
                    <a:pt x="31" y="22"/>
                    <a:pt x="31" y="22"/>
                    <a:pt x="31" y="22"/>
                  </a:cubicBezTo>
                  <a:cubicBezTo>
                    <a:pt x="31" y="21"/>
                    <a:pt x="31" y="21"/>
                    <a:pt x="31" y="21"/>
                  </a:cubicBezTo>
                  <a:cubicBezTo>
                    <a:pt x="31" y="21"/>
                    <a:pt x="31" y="21"/>
                    <a:pt x="31" y="21"/>
                  </a:cubicBezTo>
                  <a:cubicBezTo>
                    <a:pt x="32" y="21"/>
                    <a:pt x="32" y="21"/>
                    <a:pt x="32" y="21"/>
                  </a:cubicBezTo>
                  <a:cubicBezTo>
                    <a:pt x="34" y="20"/>
                    <a:pt x="35" y="20"/>
                    <a:pt x="37" y="19"/>
                  </a:cubicBezTo>
                  <a:cubicBezTo>
                    <a:pt x="38" y="19"/>
                    <a:pt x="38" y="19"/>
                    <a:pt x="38" y="19"/>
                  </a:cubicBezTo>
                  <a:cubicBezTo>
                    <a:pt x="38" y="19"/>
                    <a:pt x="38" y="19"/>
                    <a:pt x="38" y="19"/>
                  </a:cubicBezTo>
                  <a:cubicBezTo>
                    <a:pt x="39" y="18"/>
                    <a:pt x="39" y="18"/>
                    <a:pt x="39" y="18"/>
                  </a:cubicBezTo>
                  <a:cubicBezTo>
                    <a:pt x="39" y="18"/>
                    <a:pt x="39" y="18"/>
                    <a:pt x="39" y="18"/>
                  </a:cubicBezTo>
                  <a:cubicBezTo>
                    <a:pt x="40" y="18"/>
                    <a:pt x="40" y="18"/>
                    <a:pt x="40" y="18"/>
                  </a:cubicBezTo>
                  <a:cubicBezTo>
                    <a:pt x="40" y="18"/>
                    <a:pt x="40" y="18"/>
                    <a:pt x="40" y="18"/>
                  </a:cubicBezTo>
                  <a:cubicBezTo>
                    <a:pt x="41" y="18"/>
                    <a:pt x="41" y="18"/>
                    <a:pt x="42" y="18"/>
                  </a:cubicBezTo>
                  <a:cubicBezTo>
                    <a:pt x="42" y="18"/>
                    <a:pt x="42" y="18"/>
                    <a:pt x="42" y="18"/>
                  </a:cubicBezTo>
                  <a:cubicBezTo>
                    <a:pt x="43" y="18"/>
                    <a:pt x="43" y="18"/>
                    <a:pt x="43" y="18"/>
                  </a:cubicBezTo>
                  <a:cubicBezTo>
                    <a:pt x="43" y="18"/>
                    <a:pt x="43" y="18"/>
                    <a:pt x="43" y="18"/>
                  </a:cubicBezTo>
                  <a:cubicBezTo>
                    <a:pt x="44" y="18"/>
                    <a:pt x="44" y="18"/>
                    <a:pt x="44" y="18"/>
                  </a:cubicBezTo>
                  <a:cubicBezTo>
                    <a:pt x="45" y="18"/>
                    <a:pt x="45" y="18"/>
                    <a:pt x="46" y="18"/>
                  </a:cubicBezTo>
                  <a:cubicBezTo>
                    <a:pt x="46" y="18"/>
                    <a:pt x="46" y="18"/>
                    <a:pt x="46" y="18"/>
                  </a:cubicBezTo>
                  <a:cubicBezTo>
                    <a:pt x="47" y="18"/>
                    <a:pt x="47" y="18"/>
                    <a:pt x="47" y="18"/>
                  </a:cubicBezTo>
                  <a:cubicBezTo>
                    <a:pt x="47" y="18"/>
                    <a:pt x="47" y="18"/>
                    <a:pt x="47" y="18"/>
                  </a:cubicBezTo>
                  <a:cubicBezTo>
                    <a:pt x="48" y="18"/>
                    <a:pt x="48" y="18"/>
                    <a:pt x="48" y="18"/>
                  </a:cubicBezTo>
                  <a:cubicBezTo>
                    <a:pt x="49" y="18"/>
                    <a:pt x="49" y="18"/>
                    <a:pt x="49" y="18"/>
                  </a:cubicBezTo>
                  <a:cubicBezTo>
                    <a:pt x="50" y="18"/>
                    <a:pt x="50" y="18"/>
                    <a:pt x="50" y="18"/>
                  </a:cubicBezTo>
                  <a:cubicBezTo>
                    <a:pt x="50" y="18"/>
                    <a:pt x="50" y="18"/>
                    <a:pt x="50" y="18"/>
                  </a:cubicBezTo>
                  <a:cubicBezTo>
                    <a:pt x="51" y="19"/>
                    <a:pt x="51" y="19"/>
                    <a:pt x="51" y="19"/>
                  </a:cubicBezTo>
                  <a:cubicBezTo>
                    <a:pt x="51" y="19"/>
                    <a:pt x="51" y="19"/>
                    <a:pt x="51" y="19"/>
                  </a:cubicBezTo>
                  <a:cubicBezTo>
                    <a:pt x="52" y="19"/>
                    <a:pt x="52" y="19"/>
                    <a:pt x="52" y="19"/>
                  </a:cubicBezTo>
                  <a:cubicBezTo>
                    <a:pt x="52" y="19"/>
                    <a:pt x="52" y="19"/>
                    <a:pt x="52" y="19"/>
                  </a:cubicBezTo>
                  <a:cubicBezTo>
                    <a:pt x="54" y="20"/>
                    <a:pt x="55" y="20"/>
                    <a:pt x="57" y="21"/>
                  </a:cubicBezTo>
                  <a:cubicBezTo>
                    <a:pt x="57" y="21"/>
                    <a:pt x="57" y="21"/>
                    <a:pt x="57" y="21"/>
                  </a:cubicBezTo>
                  <a:cubicBezTo>
                    <a:pt x="58" y="21"/>
                    <a:pt x="58" y="21"/>
                    <a:pt x="58" y="21"/>
                  </a:cubicBezTo>
                  <a:cubicBezTo>
                    <a:pt x="58" y="22"/>
                    <a:pt x="58" y="22"/>
                    <a:pt x="58" y="22"/>
                  </a:cubicBezTo>
                  <a:cubicBezTo>
                    <a:pt x="58" y="22"/>
                    <a:pt x="58" y="22"/>
                    <a:pt x="58" y="22"/>
                  </a:cubicBezTo>
                  <a:cubicBezTo>
                    <a:pt x="59" y="22"/>
                    <a:pt x="60" y="23"/>
                    <a:pt x="61" y="23"/>
                  </a:cubicBezTo>
                  <a:cubicBezTo>
                    <a:pt x="61" y="23"/>
                    <a:pt x="61" y="23"/>
                    <a:pt x="61" y="23"/>
                  </a:cubicBezTo>
                  <a:cubicBezTo>
                    <a:pt x="61" y="24"/>
                    <a:pt x="61" y="24"/>
                    <a:pt x="61" y="24"/>
                  </a:cubicBezTo>
                  <a:cubicBezTo>
                    <a:pt x="62" y="24"/>
                    <a:pt x="62" y="24"/>
                    <a:pt x="62" y="24"/>
                  </a:cubicBezTo>
                  <a:cubicBezTo>
                    <a:pt x="63" y="25"/>
                    <a:pt x="63" y="26"/>
                    <a:pt x="64" y="27"/>
                  </a:cubicBezTo>
                  <a:cubicBezTo>
                    <a:pt x="64" y="27"/>
                    <a:pt x="64" y="27"/>
                    <a:pt x="64" y="27"/>
                  </a:cubicBezTo>
                  <a:cubicBezTo>
                    <a:pt x="65" y="27"/>
                    <a:pt x="65" y="27"/>
                    <a:pt x="65" y="27"/>
                  </a:cubicBezTo>
                  <a:cubicBezTo>
                    <a:pt x="65" y="28"/>
                    <a:pt x="65" y="28"/>
                    <a:pt x="65" y="28"/>
                  </a:cubicBezTo>
                  <a:cubicBezTo>
                    <a:pt x="66" y="28"/>
                    <a:pt x="66" y="29"/>
                    <a:pt x="67" y="30"/>
                  </a:cubicBezTo>
                  <a:cubicBezTo>
                    <a:pt x="67" y="30"/>
                    <a:pt x="67" y="30"/>
                    <a:pt x="67" y="30"/>
                  </a:cubicBezTo>
                  <a:cubicBezTo>
                    <a:pt x="67" y="31"/>
                    <a:pt x="67" y="31"/>
                    <a:pt x="67" y="31"/>
                  </a:cubicBezTo>
                  <a:cubicBezTo>
                    <a:pt x="67" y="31"/>
                    <a:pt x="67" y="31"/>
                    <a:pt x="67" y="31"/>
                  </a:cubicBezTo>
                  <a:cubicBezTo>
                    <a:pt x="68" y="32"/>
                    <a:pt x="68" y="32"/>
                    <a:pt x="68" y="32"/>
                  </a:cubicBezTo>
                  <a:cubicBezTo>
                    <a:pt x="68" y="33"/>
                    <a:pt x="69" y="34"/>
                    <a:pt x="69" y="36"/>
                  </a:cubicBezTo>
                  <a:cubicBezTo>
                    <a:pt x="70" y="36"/>
                    <a:pt x="70" y="36"/>
                    <a:pt x="70" y="36"/>
                  </a:cubicBezTo>
                  <a:cubicBezTo>
                    <a:pt x="70" y="37"/>
                    <a:pt x="70" y="37"/>
                    <a:pt x="70" y="37"/>
                  </a:cubicBezTo>
                  <a:cubicBezTo>
                    <a:pt x="70" y="37"/>
                    <a:pt x="70" y="37"/>
                    <a:pt x="70" y="37"/>
                  </a:cubicBezTo>
                  <a:cubicBezTo>
                    <a:pt x="70" y="38"/>
                    <a:pt x="70" y="38"/>
                    <a:pt x="70" y="38"/>
                  </a:cubicBezTo>
                  <a:cubicBezTo>
                    <a:pt x="70" y="38"/>
                    <a:pt x="70" y="38"/>
                    <a:pt x="70" y="38"/>
                  </a:cubicBezTo>
                  <a:cubicBezTo>
                    <a:pt x="70" y="39"/>
                    <a:pt x="70" y="39"/>
                    <a:pt x="70" y="39"/>
                  </a:cubicBezTo>
                  <a:cubicBezTo>
                    <a:pt x="70" y="40"/>
                    <a:pt x="70" y="40"/>
                    <a:pt x="70" y="40"/>
                  </a:cubicBezTo>
                  <a:cubicBezTo>
                    <a:pt x="70" y="40"/>
                    <a:pt x="70" y="40"/>
                    <a:pt x="71" y="41"/>
                  </a:cubicBezTo>
                  <a:cubicBezTo>
                    <a:pt x="71" y="41"/>
                    <a:pt x="71" y="41"/>
                    <a:pt x="71" y="41"/>
                  </a:cubicBezTo>
                  <a:cubicBezTo>
                    <a:pt x="71" y="42"/>
                    <a:pt x="71" y="42"/>
                    <a:pt x="71" y="42"/>
                  </a:cubicBezTo>
                  <a:cubicBezTo>
                    <a:pt x="71" y="42"/>
                    <a:pt x="71" y="42"/>
                    <a:pt x="71" y="42"/>
                  </a:cubicBezTo>
                  <a:cubicBezTo>
                    <a:pt x="71" y="43"/>
                    <a:pt x="71" y="43"/>
                    <a:pt x="71" y="43"/>
                  </a:cubicBezTo>
                  <a:cubicBezTo>
                    <a:pt x="71" y="44"/>
                    <a:pt x="71" y="44"/>
                    <a:pt x="71" y="45"/>
                  </a:cubicBezTo>
                  <a:cubicBezTo>
                    <a:pt x="71" y="45"/>
                    <a:pt x="71" y="45"/>
                    <a:pt x="71" y="45"/>
                  </a:cubicBezTo>
                  <a:cubicBezTo>
                    <a:pt x="71" y="46"/>
                    <a:pt x="71" y="46"/>
                    <a:pt x="71" y="46"/>
                  </a:cubicBezTo>
                  <a:cubicBezTo>
                    <a:pt x="71" y="46"/>
                    <a:pt x="71" y="46"/>
                    <a:pt x="71" y="46"/>
                  </a:cubicBezTo>
                  <a:cubicBezTo>
                    <a:pt x="70" y="46"/>
                    <a:pt x="70" y="47"/>
                    <a:pt x="70" y="47"/>
                  </a:cubicBezTo>
                  <a:cubicBezTo>
                    <a:pt x="70" y="47"/>
                    <a:pt x="70" y="47"/>
                    <a:pt x="70" y="47"/>
                  </a:cubicBezTo>
                  <a:cubicBezTo>
                    <a:pt x="70" y="48"/>
                    <a:pt x="70" y="48"/>
                    <a:pt x="70" y="48"/>
                  </a:cubicBezTo>
                  <a:cubicBezTo>
                    <a:pt x="70" y="49"/>
                    <a:pt x="70" y="49"/>
                    <a:pt x="70" y="49"/>
                  </a:cubicBezTo>
                  <a:cubicBezTo>
                    <a:pt x="70" y="50"/>
                    <a:pt x="70" y="50"/>
                    <a:pt x="70" y="50"/>
                  </a:cubicBezTo>
                  <a:cubicBezTo>
                    <a:pt x="70" y="50"/>
                    <a:pt x="70" y="50"/>
                    <a:pt x="70" y="50"/>
                  </a:cubicBezTo>
                  <a:cubicBezTo>
                    <a:pt x="69" y="52"/>
                    <a:pt x="69" y="54"/>
                    <a:pt x="68" y="5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1" name="Freeform 21390">
              <a:extLst>
                <a:ext uri="{FF2B5EF4-FFF2-40B4-BE49-F238E27FC236}">
                  <a16:creationId xmlns:a16="http://schemas.microsoft.com/office/drawing/2014/main" id="{83B1BFAF-0AE5-4831-B4E1-1118A3B44E7D}"/>
                </a:ext>
              </a:extLst>
            </p:cNvPr>
            <p:cNvSpPr>
              <a:spLocks/>
            </p:cNvSpPr>
            <p:nvPr userDrawn="1"/>
          </p:nvSpPr>
          <p:spPr bwMode="auto">
            <a:xfrm>
              <a:off x="9768840" y="4190365"/>
              <a:ext cx="544513" cy="1055688"/>
            </a:xfrm>
            <a:custGeom>
              <a:avLst/>
              <a:gdLst>
                <a:gd name="T0" fmla="*/ 261 w 270"/>
                <a:gd name="T1" fmla="*/ 23 h 523"/>
                <a:gd name="T2" fmla="*/ 241 w 270"/>
                <a:gd name="T3" fmla="*/ 0 h 523"/>
                <a:gd name="T4" fmla="*/ 235 w 270"/>
                <a:gd name="T5" fmla="*/ 1 h 523"/>
                <a:gd name="T6" fmla="*/ 224 w 270"/>
                <a:gd name="T7" fmla="*/ 33 h 523"/>
                <a:gd name="T8" fmla="*/ 206 w 270"/>
                <a:gd name="T9" fmla="*/ 23 h 523"/>
                <a:gd name="T10" fmla="*/ 189 w 270"/>
                <a:gd name="T11" fmla="*/ 17 h 523"/>
                <a:gd name="T12" fmla="*/ 181 w 270"/>
                <a:gd name="T13" fmla="*/ 34 h 523"/>
                <a:gd name="T14" fmla="*/ 176 w 270"/>
                <a:gd name="T15" fmla="*/ 54 h 523"/>
                <a:gd name="T16" fmla="*/ 153 w 270"/>
                <a:gd name="T17" fmla="*/ 38 h 523"/>
                <a:gd name="T18" fmla="*/ 144 w 270"/>
                <a:gd name="T19" fmla="*/ 41 h 523"/>
                <a:gd name="T20" fmla="*/ 144 w 270"/>
                <a:gd name="T21" fmla="*/ 75 h 523"/>
                <a:gd name="T22" fmla="*/ 139 w 270"/>
                <a:gd name="T23" fmla="*/ 80 h 523"/>
                <a:gd name="T24" fmla="*/ 114 w 270"/>
                <a:gd name="T25" fmla="*/ 67 h 523"/>
                <a:gd name="T26" fmla="*/ 105 w 270"/>
                <a:gd name="T27" fmla="*/ 72 h 523"/>
                <a:gd name="T28" fmla="*/ 110 w 270"/>
                <a:gd name="T29" fmla="*/ 105 h 523"/>
                <a:gd name="T30" fmla="*/ 90 w 270"/>
                <a:gd name="T31" fmla="*/ 104 h 523"/>
                <a:gd name="T32" fmla="*/ 72 w 270"/>
                <a:gd name="T33" fmla="*/ 107 h 523"/>
                <a:gd name="T34" fmla="*/ 72 w 270"/>
                <a:gd name="T35" fmla="*/ 126 h 523"/>
                <a:gd name="T36" fmla="*/ 77 w 270"/>
                <a:gd name="T37" fmla="*/ 146 h 523"/>
                <a:gd name="T38" fmla="*/ 53 w 270"/>
                <a:gd name="T39" fmla="*/ 141 h 523"/>
                <a:gd name="T40" fmla="*/ 43 w 270"/>
                <a:gd name="T41" fmla="*/ 149 h 523"/>
                <a:gd name="T42" fmla="*/ 58 w 270"/>
                <a:gd name="T43" fmla="*/ 179 h 523"/>
                <a:gd name="T44" fmla="*/ 38 w 270"/>
                <a:gd name="T45" fmla="*/ 184 h 523"/>
                <a:gd name="T46" fmla="*/ 22 w 270"/>
                <a:gd name="T47" fmla="*/ 192 h 523"/>
                <a:gd name="T48" fmla="*/ 28 w 270"/>
                <a:gd name="T49" fmla="*/ 210 h 523"/>
                <a:gd name="T50" fmla="*/ 39 w 270"/>
                <a:gd name="T51" fmla="*/ 228 h 523"/>
                <a:gd name="T52" fmla="*/ 22 w 270"/>
                <a:gd name="T53" fmla="*/ 230 h 523"/>
                <a:gd name="T54" fmla="*/ 8 w 270"/>
                <a:gd name="T55" fmla="*/ 240 h 523"/>
                <a:gd name="T56" fmla="*/ 17 w 270"/>
                <a:gd name="T57" fmla="*/ 256 h 523"/>
                <a:gd name="T58" fmla="*/ 31 w 270"/>
                <a:gd name="T59" fmla="*/ 272 h 523"/>
                <a:gd name="T60" fmla="*/ 1 w 270"/>
                <a:gd name="T61" fmla="*/ 289 h 523"/>
                <a:gd name="T62" fmla="*/ 13 w 270"/>
                <a:gd name="T63" fmla="*/ 304 h 523"/>
                <a:gd name="T64" fmla="*/ 29 w 270"/>
                <a:gd name="T65" fmla="*/ 317 h 523"/>
                <a:gd name="T66" fmla="*/ 2 w 270"/>
                <a:gd name="T67" fmla="*/ 339 h 523"/>
                <a:gd name="T68" fmla="*/ 16 w 270"/>
                <a:gd name="T69" fmla="*/ 352 h 523"/>
                <a:gd name="T70" fmla="*/ 34 w 270"/>
                <a:gd name="T71" fmla="*/ 362 h 523"/>
                <a:gd name="T72" fmla="*/ 11 w 270"/>
                <a:gd name="T73" fmla="*/ 388 h 523"/>
                <a:gd name="T74" fmla="*/ 23 w 270"/>
                <a:gd name="T75" fmla="*/ 399 h 523"/>
                <a:gd name="T76" fmla="*/ 33 w 270"/>
                <a:gd name="T77" fmla="*/ 398 h 523"/>
                <a:gd name="T78" fmla="*/ 46 w 270"/>
                <a:gd name="T79" fmla="*/ 406 h 523"/>
                <a:gd name="T80" fmla="*/ 28 w 270"/>
                <a:gd name="T81" fmla="*/ 434 h 523"/>
                <a:gd name="T82" fmla="*/ 39 w 270"/>
                <a:gd name="T83" fmla="*/ 444 h 523"/>
                <a:gd name="T84" fmla="*/ 62 w 270"/>
                <a:gd name="T85" fmla="*/ 441 h 523"/>
                <a:gd name="T86" fmla="*/ 54 w 270"/>
                <a:gd name="T87" fmla="*/ 460 h 523"/>
                <a:gd name="T88" fmla="*/ 52 w 270"/>
                <a:gd name="T89" fmla="*/ 479 h 523"/>
                <a:gd name="T90" fmla="*/ 69 w 270"/>
                <a:gd name="T91" fmla="*/ 483 h 523"/>
                <a:gd name="T92" fmla="*/ 90 w 270"/>
                <a:gd name="T93" fmla="*/ 484 h 523"/>
                <a:gd name="T94" fmla="*/ 82 w 270"/>
                <a:gd name="T95" fmla="*/ 500 h 523"/>
                <a:gd name="T96" fmla="*/ 82 w 270"/>
                <a:gd name="T97" fmla="*/ 518 h 523"/>
                <a:gd name="T98" fmla="*/ 100 w 270"/>
                <a:gd name="T99" fmla="*/ 520 h 523"/>
                <a:gd name="T100" fmla="*/ 270 w 270"/>
                <a:gd name="T101" fmla="*/ 10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0" h="523">
                  <a:moveTo>
                    <a:pt x="265" y="23"/>
                  </a:moveTo>
                  <a:cubicBezTo>
                    <a:pt x="264" y="23"/>
                    <a:pt x="262" y="23"/>
                    <a:pt x="261" y="23"/>
                  </a:cubicBezTo>
                  <a:cubicBezTo>
                    <a:pt x="258" y="21"/>
                    <a:pt x="255" y="15"/>
                    <a:pt x="252" y="9"/>
                  </a:cubicBezTo>
                  <a:cubicBezTo>
                    <a:pt x="249" y="3"/>
                    <a:pt x="246" y="0"/>
                    <a:pt x="241" y="0"/>
                  </a:cubicBezTo>
                  <a:cubicBezTo>
                    <a:pt x="239" y="0"/>
                    <a:pt x="237" y="0"/>
                    <a:pt x="236" y="1"/>
                  </a:cubicBezTo>
                  <a:cubicBezTo>
                    <a:pt x="235" y="1"/>
                    <a:pt x="235" y="1"/>
                    <a:pt x="235" y="1"/>
                  </a:cubicBezTo>
                  <a:cubicBezTo>
                    <a:pt x="231" y="2"/>
                    <a:pt x="224" y="4"/>
                    <a:pt x="225" y="16"/>
                  </a:cubicBezTo>
                  <a:cubicBezTo>
                    <a:pt x="226" y="23"/>
                    <a:pt x="225" y="30"/>
                    <a:pt x="224" y="33"/>
                  </a:cubicBezTo>
                  <a:cubicBezTo>
                    <a:pt x="222" y="34"/>
                    <a:pt x="220" y="35"/>
                    <a:pt x="218" y="36"/>
                  </a:cubicBezTo>
                  <a:cubicBezTo>
                    <a:pt x="214" y="33"/>
                    <a:pt x="210" y="29"/>
                    <a:pt x="206" y="23"/>
                  </a:cubicBezTo>
                  <a:cubicBezTo>
                    <a:pt x="203" y="18"/>
                    <a:pt x="200" y="15"/>
                    <a:pt x="196" y="15"/>
                  </a:cubicBezTo>
                  <a:cubicBezTo>
                    <a:pt x="193" y="15"/>
                    <a:pt x="191" y="16"/>
                    <a:pt x="189" y="17"/>
                  </a:cubicBezTo>
                  <a:cubicBezTo>
                    <a:pt x="188" y="18"/>
                    <a:pt x="188" y="18"/>
                    <a:pt x="188" y="18"/>
                  </a:cubicBezTo>
                  <a:cubicBezTo>
                    <a:pt x="184" y="19"/>
                    <a:pt x="177" y="22"/>
                    <a:pt x="181" y="34"/>
                  </a:cubicBezTo>
                  <a:cubicBezTo>
                    <a:pt x="183" y="41"/>
                    <a:pt x="183" y="47"/>
                    <a:pt x="183" y="51"/>
                  </a:cubicBezTo>
                  <a:cubicBezTo>
                    <a:pt x="181" y="52"/>
                    <a:pt x="179" y="53"/>
                    <a:pt x="176" y="54"/>
                  </a:cubicBezTo>
                  <a:cubicBezTo>
                    <a:pt x="173" y="53"/>
                    <a:pt x="168" y="49"/>
                    <a:pt x="163" y="44"/>
                  </a:cubicBezTo>
                  <a:cubicBezTo>
                    <a:pt x="160" y="40"/>
                    <a:pt x="156" y="38"/>
                    <a:pt x="153" y="38"/>
                  </a:cubicBezTo>
                  <a:cubicBezTo>
                    <a:pt x="150" y="38"/>
                    <a:pt x="147" y="39"/>
                    <a:pt x="145" y="41"/>
                  </a:cubicBezTo>
                  <a:cubicBezTo>
                    <a:pt x="144" y="41"/>
                    <a:pt x="144" y="41"/>
                    <a:pt x="144" y="41"/>
                  </a:cubicBezTo>
                  <a:cubicBezTo>
                    <a:pt x="141" y="43"/>
                    <a:pt x="135" y="47"/>
                    <a:pt x="140" y="59"/>
                  </a:cubicBezTo>
                  <a:cubicBezTo>
                    <a:pt x="143" y="65"/>
                    <a:pt x="144" y="71"/>
                    <a:pt x="144" y="75"/>
                  </a:cubicBezTo>
                  <a:cubicBezTo>
                    <a:pt x="143" y="77"/>
                    <a:pt x="141" y="78"/>
                    <a:pt x="139" y="79"/>
                  </a:cubicBezTo>
                  <a:cubicBezTo>
                    <a:pt x="139" y="80"/>
                    <a:pt x="139" y="80"/>
                    <a:pt x="139" y="80"/>
                  </a:cubicBezTo>
                  <a:cubicBezTo>
                    <a:pt x="135" y="79"/>
                    <a:pt x="129" y="75"/>
                    <a:pt x="124" y="71"/>
                  </a:cubicBezTo>
                  <a:cubicBezTo>
                    <a:pt x="120" y="68"/>
                    <a:pt x="117" y="67"/>
                    <a:pt x="114" y="67"/>
                  </a:cubicBezTo>
                  <a:cubicBezTo>
                    <a:pt x="110" y="67"/>
                    <a:pt x="108" y="69"/>
                    <a:pt x="106" y="71"/>
                  </a:cubicBezTo>
                  <a:cubicBezTo>
                    <a:pt x="105" y="72"/>
                    <a:pt x="105" y="72"/>
                    <a:pt x="105" y="72"/>
                  </a:cubicBezTo>
                  <a:cubicBezTo>
                    <a:pt x="102" y="74"/>
                    <a:pt x="96" y="79"/>
                    <a:pt x="103" y="89"/>
                  </a:cubicBezTo>
                  <a:cubicBezTo>
                    <a:pt x="107" y="95"/>
                    <a:pt x="110" y="101"/>
                    <a:pt x="110" y="105"/>
                  </a:cubicBezTo>
                  <a:cubicBezTo>
                    <a:pt x="109" y="107"/>
                    <a:pt x="107" y="109"/>
                    <a:pt x="106" y="110"/>
                  </a:cubicBezTo>
                  <a:cubicBezTo>
                    <a:pt x="102" y="110"/>
                    <a:pt x="95" y="108"/>
                    <a:pt x="90" y="104"/>
                  </a:cubicBezTo>
                  <a:cubicBezTo>
                    <a:pt x="86" y="102"/>
                    <a:pt x="83" y="101"/>
                    <a:pt x="81" y="101"/>
                  </a:cubicBezTo>
                  <a:cubicBezTo>
                    <a:pt x="76" y="101"/>
                    <a:pt x="73" y="104"/>
                    <a:pt x="72" y="107"/>
                  </a:cubicBezTo>
                  <a:cubicBezTo>
                    <a:pt x="71" y="108"/>
                    <a:pt x="71" y="108"/>
                    <a:pt x="71" y="108"/>
                  </a:cubicBezTo>
                  <a:cubicBezTo>
                    <a:pt x="68" y="111"/>
                    <a:pt x="63" y="116"/>
                    <a:pt x="72" y="126"/>
                  </a:cubicBezTo>
                  <a:cubicBezTo>
                    <a:pt x="77" y="131"/>
                    <a:pt x="80" y="136"/>
                    <a:pt x="81" y="140"/>
                  </a:cubicBezTo>
                  <a:cubicBezTo>
                    <a:pt x="80" y="142"/>
                    <a:pt x="79" y="144"/>
                    <a:pt x="77" y="146"/>
                  </a:cubicBezTo>
                  <a:cubicBezTo>
                    <a:pt x="73" y="146"/>
                    <a:pt x="67" y="145"/>
                    <a:pt x="61" y="142"/>
                  </a:cubicBezTo>
                  <a:cubicBezTo>
                    <a:pt x="58" y="141"/>
                    <a:pt x="55" y="141"/>
                    <a:pt x="53" y="141"/>
                  </a:cubicBezTo>
                  <a:cubicBezTo>
                    <a:pt x="47" y="141"/>
                    <a:pt x="45" y="145"/>
                    <a:pt x="43" y="148"/>
                  </a:cubicBezTo>
                  <a:cubicBezTo>
                    <a:pt x="43" y="149"/>
                    <a:pt x="43" y="149"/>
                    <a:pt x="43" y="149"/>
                  </a:cubicBezTo>
                  <a:cubicBezTo>
                    <a:pt x="41" y="152"/>
                    <a:pt x="37" y="158"/>
                    <a:pt x="47" y="166"/>
                  </a:cubicBezTo>
                  <a:cubicBezTo>
                    <a:pt x="52" y="170"/>
                    <a:pt x="56" y="175"/>
                    <a:pt x="58" y="179"/>
                  </a:cubicBezTo>
                  <a:cubicBezTo>
                    <a:pt x="57" y="181"/>
                    <a:pt x="56" y="183"/>
                    <a:pt x="55" y="185"/>
                  </a:cubicBezTo>
                  <a:cubicBezTo>
                    <a:pt x="51" y="186"/>
                    <a:pt x="44" y="186"/>
                    <a:pt x="38" y="184"/>
                  </a:cubicBezTo>
                  <a:cubicBezTo>
                    <a:pt x="36" y="184"/>
                    <a:pt x="34" y="184"/>
                    <a:pt x="33" y="184"/>
                  </a:cubicBezTo>
                  <a:cubicBezTo>
                    <a:pt x="25" y="184"/>
                    <a:pt x="23" y="189"/>
                    <a:pt x="22" y="192"/>
                  </a:cubicBezTo>
                  <a:cubicBezTo>
                    <a:pt x="22" y="193"/>
                    <a:pt x="22" y="193"/>
                    <a:pt x="22" y="193"/>
                  </a:cubicBezTo>
                  <a:cubicBezTo>
                    <a:pt x="20" y="197"/>
                    <a:pt x="17" y="204"/>
                    <a:pt x="28" y="210"/>
                  </a:cubicBezTo>
                  <a:cubicBezTo>
                    <a:pt x="34" y="213"/>
                    <a:pt x="39" y="218"/>
                    <a:pt x="41" y="221"/>
                  </a:cubicBezTo>
                  <a:cubicBezTo>
                    <a:pt x="41" y="223"/>
                    <a:pt x="40" y="225"/>
                    <a:pt x="39" y="228"/>
                  </a:cubicBezTo>
                  <a:cubicBezTo>
                    <a:pt x="36" y="229"/>
                    <a:pt x="31" y="230"/>
                    <a:pt x="26" y="230"/>
                  </a:cubicBezTo>
                  <a:cubicBezTo>
                    <a:pt x="25" y="230"/>
                    <a:pt x="23" y="230"/>
                    <a:pt x="22" y="230"/>
                  </a:cubicBezTo>
                  <a:cubicBezTo>
                    <a:pt x="22" y="229"/>
                    <a:pt x="21" y="229"/>
                    <a:pt x="20" y="229"/>
                  </a:cubicBezTo>
                  <a:cubicBezTo>
                    <a:pt x="10" y="229"/>
                    <a:pt x="8" y="236"/>
                    <a:pt x="8" y="240"/>
                  </a:cubicBezTo>
                  <a:cubicBezTo>
                    <a:pt x="7" y="241"/>
                    <a:pt x="7" y="241"/>
                    <a:pt x="7" y="241"/>
                  </a:cubicBezTo>
                  <a:cubicBezTo>
                    <a:pt x="7" y="245"/>
                    <a:pt x="5" y="252"/>
                    <a:pt x="17" y="256"/>
                  </a:cubicBezTo>
                  <a:cubicBezTo>
                    <a:pt x="23" y="259"/>
                    <a:pt x="29" y="262"/>
                    <a:pt x="31" y="265"/>
                  </a:cubicBezTo>
                  <a:cubicBezTo>
                    <a:pt x="31" y="267"/>
                    <a:pt x="31" y="270"/>
                    <a:pt x="31" y="272"/>
                  </a:cubicBezTo>
                  <a:cubicBezTo>
                    <a:pt x="27" y="274"/>
                    <a:pt x="21" y="276"/>
                    <a:pt x="14" y="277"/>
                  </a:cubicBezTo>
                  <a:cubicBezTo>
                    <a:pt x="2" y="277"/>
                    <a:pt x="1" y="285"/>
                    <a:pt x="1" y="289"/>
                  </a:cubicBezTo>
                  <a:cubicBezTo>
                    <a:pt x="1" y="290"/>
                    <a:pt x="1" y="290"/>
                    <a:pt x="1" y="290"/>
                  </a:cubicBezTo>
                  <a:cubicBezTo>
                    <a:pt x="1" y="294"/>
                    <a:pt x="0" y="302"/>
                    <a:pt x="13" y="304"/>
                  </a:cubicBezTo>
                  <a:cubicBezTo>
                    <a:pt x="19" y="305"/>
                    <a:pt x="25" y="308"/>
                    <a:pt x="29" y="310"/>
                  </a:cubicBezTo>
                  <a:cubicBezTo>
                    <a:pt x="29" y="313"/>
                    <a:pt x="29" y="315"/>
                    <a:pt x="29" y="317"/>
                  </a:cubicBezTo>
                  <a:cubicBezTo>
                    <a:pt x="26" y="320"/>
                    <a:pt x="20" y="323"/>
                    <a:pt x="13" y="324"/>
                  </a:cubicBezTo>
                  <a:cubicBezTo>
                    <a:pt x="1" y="327"/>
                    <a:pt x="2" y="335"/>
                    <a:pt x="2" y="339"/>
                  </a:cubicBezTo>
                  <a:cubicBezTo>
                    <a:pt x="2" y="340"/>
                    <a:pt x="2" y="340"/>
                    <a:pt x="2" y="340"/>
                  </a:cubicBezTo>
                  <a:cubicBezTo>
                    <a:pt x="3" y="344"/>
                    <a:pt x="3" y="351"/>
                    <a:pt x="16" y="352"/>
                  </a:cubicBezTo>
                  <a:cubicBezTo>
                    <a:pt x="23" y="352"/>
                    <a:pt x="29" y="354"/>
                    <a:pt x="33" y="355"/>
                  </a:cubicBezTo>
                  <a:cubicBezTo>
                    <a:pt x="33" y="358"/>
                    <a:pt x="33" y="360"/>
                    <a:pt x="34" y="362"/>
                  </a:cubicBezTo>
                  <a:cubicBezTo>
                    <a:pt x="31" y="365"/>
                    <a:pt x="26" y="369"/>
                    <a:pt x="20" y="372"/>
                  </a:cubicBezTo>
                  <a:cubicBezTo>
                    <a:pt x="8" y="376"/>
                    <a:pt x="10" y="384"/>
                    <a:pt x="11" y="388"/>
                  </a:cubicBezTo>
                  <a:cubicBezTo>
                    <a:pt x="11" y="389"/>
                    <a:pt x="11" y="389"/>
                    <a:pt x="11" y="389"/>
                  </a:cubicBezTo>
                  <a:cubicBezTo>
                    <a:pt x="12" y="392"/>
                    <a:pt x="14" y="399"/>
                    <a:pt x="23" y="399"/>
                  </a:cubicBezTo>
                  <a:cubicBezTo>
                    <a:pt x="24" y="399"/>
                    <a:pt x="26" y="398"/>
                    <a:pt x="27" y="398"/>
                  </a:cubicBezTo>
                  <a:cubicBezTo>
                    <a:pt x="29" y="398"/>
                    <a:pt x="31" y="398"/>
                    <a:pt x="33" y="398"/>
                  </a:cubicBezTo>
                  <a:cubicBezTo>
                    <a:pt x="38" y="398"/>
                    <a:pt x="41" y="398"/>
                    <a:pt x="44" y="399"/>
                  </a:cubicBezTo>
                  <a:cubicBezTo>
                    <a:pt x="45" y="402"/>
                    <a:pt x="45" y="404"/>
                    <a:pt x="46" y="406"/>
                  </a:cubicBezTo>
                  <a:cubicBezTo>
                    <a:pt x="44" y="409"/>
                    <a:pt x="39" y="414"/>
                    <a:pt x="34" y="417"/>
                  </a:cubicBezTo>
                  <a:cubicBezTo>
                    <a:pt x="23" y="424"/>
                    <a:pt x="26" y="431"/>
                    <a:pt x="28" y="434"/>
                  </a:cubicBezTo>
                  <a:cubicBezTo>
                    <a:pt x="28" y="435"/>
                    <a:pt x="28" y="435"/>
                    <a:pt x="28" y="435"/>
                  </a:cubicBezTo>
                  <a:cubicBezTo>
                    <a:pt x="29" y="438"/>
                    <a:pt x="32" y="444"/>
                    <a:pt x="39" y="444"/>
                  </a:cubicBezTo>
                  <a:cubicBezTo>
                    <a:pt x="40" y="444"/>
                    <a:pt x="42" y="443"/>
                    <a:pt x="45" y="443"/>
                  </a:cubicBezTo>
                  <a:cubicBezTo>
                    <a:pt x="51" y="441"/>
                    <a:pt x="58" y="440"/>
                    <a:pt x="62" y="441"/>
                  </a:cubicBezTo>
                  <a:cubicBezTo>
                    <a:pt x="63" y="443"/>
                    <a:pt x="64" y="445"/>
                    <a:pt x="65" y="447"/>
                  </a:cubicBezTo>
                  <a:cubicBezTo>
                    <a:pt x="63" y="451"/>
                    <a:pt x="59" y="456"/>
                    <a:pt x="54" y="460"/>
                  </a:cubicBezTo>
                  <a:cubicBezTo>
                    <a:pt x="45" y="468"/>
                    <a:pt x="49" y="475"/>
                    <a:pt x="51" y="478"/>
                  </a:cubicBezTo>
                  <a:cubicBezTo>
                    <a:pt x="52" y="479"/>
                    <a:pt x="52" y="479"/>
                    <a:pt x="52" y="479"/>
                  </a:cubicBezTo>
                  <a:cubicBezTo>
                    <a:pt x="53" y="482"/>
                    <a:pt x="56" y="486"/>
                    <a:pt x="61" y="486"/>
                  </a:cubicBezTo>
                  <a:cubicBezTo>
                    <a:pt x="64" y="486"/>
                    <a:pt x="66" y="485"/>
                    <a:pt x="69" y="483"/>
                  </a:cubicBezTo>
                  <a:cubicBezTo>
                    <a:pt x="75" y="481"/>
                    <a:pt x="82" y="479"/>
                    <a:pt x="86" y="479"/>
                  </a:cubicBezTo>
                  <a:cubicBezTo>
                    <a:pt x="87" y="481"/>
                    <a:pt x="88" y="483"/>
                    <a:pt x="90" y="484"/>
                  </a:cubicBezTo>
                  <a:cubicBezTo>
                    <a:pt x="90" y="485"/>
                    <a:pt x="90" y="485"/>
                    <a:pt x="90" y="485"/>
                  </a:cubicBezTo>
                  <a:cubicBezTo>
                    <a:pt x="89" y="489"/>
                    <a:pt x="86" y="494"/>
                    <a:pt x="82" y="500"/>
                  </a:cubicBezTo>
                  <a:cubicBezTo>
                    <a:pt x="73" y="509"/>
                    <a:pt x="79" y="515"/>
                    <a:pt x="81" y="518"/>
                  </a:cubicBezTo>
                  <a:cubicBezTo>
                    <a:pt x="82" y="518"/>
                    <a:pt x="82" y="518"/>
                    <a:pt x="82" y="518"/>
                  </a:cubicBezTo>
                  <a:cubicBezTo>
                    <a:pt x="84" y="520"/>
                    <a:pt x="87" y="523"/>
                    <a:pt x="91" y="523"/>
                  </a:cubicBezTo>
                  <a:cubicBezTo>
                    <a:pt x="94" y="523"/>
                    <a:pt x="97" y="522"/>
                    <a:pt x="100" y="520"/>
                  </a:cubicBezTo>
                  <a:cubicBezTo>
                    <a:pt x="103" y="518"/>
                    <a:pt x="105" y="517"/>
                    <a:pt x="108" y="516"/>
                  </a:cubicBezTo>
                  <a:cubicBezTo>
                    <a:pt x="209" y="407"/>
                    <a:pt x="270" y="262"/>
                    <a:pt x="270" y="102"/>
                  </a:cubicBezTo>
                  <a:cubicBezTo>
                    <a:pt x="270" y="75"/>
                    <a:pt x="268" y="49"/>
                    <a:pt x="265" y="23"/>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2" name="Freeform 21391">
              <a:extLst>
                <a:ext uri="{FF2B5EF4-FFF2-40B4-BE49-F238E27FC236}">
                  <a16:creationId xmlns:a16="http://schemas.microsoft.com/office/drawing/2014/main" id="{CA7432F7-5B08-43AE-A96E-847775EAADE4}"/>
                </a:ext>
              </a:extLst>
            </p:cNvPr>
            <p:cNvSpPr>
              <a:spLocks/>
            </p:cNvSpPr>
            <p:nvPr userDrawn="1"/>
          </p:nvSpPr>
          <p:spPr bwMode="auto">
            <a:xfrm>
              <a:off x="7857490" y="4469765"/>
              <a:ext cx="465138" cy="784225"/>
            </a:xfrm>
            <a:custGeom>
              <a:avLst/>
              <a:gdLst>
                <a:gd name="T0" fmla="*/ 207 w 230"/>
                <a:gd name="T1" fmla="*/ 254 h 389"/>
                <a:gd name="T2" fmla="*/ 206 w 230"/>
                <a:gd name="T3" fmla="*/ 246 h 389"/>
                <a:gd name="T4" fmla="*/ 207 w 230"/>
                <a:gd name="T5" fmla="*/ 243 h 389"/>
                <a:gd name="T6" fmla="*/ 228 w 230"/>
                <a:gd name="T7" fmla="*/ 228 h 389"/>
                <a:gd name="T8" fmla="*/ 221 w 230"/>
                <a:gd name="T9" fmla="*/ 221 h 389"/>
                <a:gd name="T10" fmla="*/ 203 w 230"/>
                <a:gd name="T11" fmla="*/ 216 h 389"/>
                <a:gd name="T12" fmla="*/ 202 w 230"/>
                <a:gd name="T13" fmla="*/ 208 h 389"/>
                <a:gd name="T14" fmla="*/ 216 w 230"/>
                <a:gd name="T15" fmla="*/ 197 h 389"/>
                <a:gd name="T16" fmla="*/ 221 w 230"/>
                <a:gd name="T17" fmla="*/ 187 h 389"/>
                <a:gd name="T18" fmla="*/ 213 w 230"/>
                <a:gd name="T19" fmla="*/ 182 h 389"/>
                <a:gd name="T20" fmla="*/ 195 w 230"/>
                <a:gd name="T21" fmla="*/ 181 h 389"/>
                <a:gd name="T22" fmla="*/ 192 w 230"/>
                <a:gd name="T23" fmla="*/ 172 h 389"/>
                <a:gd name="T24" fmla="*/ 204 w 230"/>
                <a:gd name="T25" fmla="*/ 159 h 389"/>
                <a:gd name="T26" fmla="*/ 207 w 230"/>
                <a:gd name="T27" fmla="*/ 149 h 389"/>
                <a:gd name="T28" fmla="*/ 198 w 230"/>
                <a:gd name="T29" fmla="*/ 145 h 389"/>
                <a:gd name="T30" fmla="*/ 181 w 230"/>
                <a:gd name="T31" fmla="*/ 147 h 389"/>
                <a:gd name="T32" fmla="*/ 176 w 230"/>
                <a:gd name="T33" fmla="*/ 139 h 389"/>
                <a:gd name="T34" fmla="*/ 186 w 230"/>
                <a:gd name="T35" fmla="*/ 123 h 389"/>
                <a:gd name="T36" fmla="*/ 188 w 230"/>
                <a:gd name="T37" fmla="*/ 113 h 389"/>
                <a:gd name="T38" fmla="*/ 178 w 230"/>
                <a:gd name="T39" fmla="*/ 111 h 389"/>
                <a:gd name="T40" fmla="*/ 160 w 230"/>
                <a:gd name="T41" fmla="*/ 114 h 389"/>
                <a:gd name="T42" fmla="*/ 155 w 230"/>
                <a:gd name="T43" fmla="*/ 108 h 389"/>
                <a:gd name="T44" fmla="*/ 163 w 230"/>
                <a:gd name="T45" fmla="*/ 91 h 389"/>
                <a:gd name="T46" fmla="*/ 163 w 230"/>
                <a:gd name="T47" fmla="*/ 81 h 389"/>
                <a:gd name="T48" fmla="*/ 153 w 230"/>
                <a:gd name="T49" fmla="*/ 80 h 389"/>
                <a:gd name="T50" fmla="*/ 136 w 230"/>
                <a:gd name="T51" fmla="*/ 86 h 389"/>
                <a:gd name="T52" fmla="*/ 129 w 230"/>
                <a:gd name="T53" fmla="*/ 79 h 389"/>
                <a:gd name="T54" fmla="*/ 134 w 230"/>
                <a:gd name="T55" fmla="*/ 54 h 389"/>
                <a:gd name="T56" fmla="*/ 129 w 230"/>
                <a:gd name="T57" fmla="*/ 51 h 389"/>
                <a:gd name="T58" fmla="*/ 109 w 230"/>
                <a:gd name="T59" fmla="*/ 63 h 389"/>
                <a:gd name="T60" fmla="*/ 101 w 230"/>
                <a:gd name="T61" fmla="*/ 58 h 389"/>
                <a:gd name="T62" fmla="*/ 103 w 230"/>
                <a:gd name="T63" fmla="*/ 40 h 389"/>
                <a:gd name="T64" fmla="*/ 99 w 230"/>
                <a:gd name="T65" fmla="*/ 30 h 389"/>
                <a:gd name="T66" fmla="*/ 90 w 230"/>
                <a:gd name="T67" fmla="*/ 32 h 389"/>
                <a:gd name="T68" fmla="*/ 75 w 230"/>
                <a:gd name="T69" fmla="*/ 43 h 389"/>
                <a:gd name="T70" fmla="*/ 68 w 230"/>
                <a:gd name="T71" fmla="*/ 40 h 389"/>
                <a:gd name="T72" fmla="*/ 68 w 230"/>
                <a:gd name="T73" fmla="*/ 21 h 389"/>
                <a:gd name="T74" fmla="*/ 63 w 230"/>
                <a:gd name="T75" fmla="*/ 12 h 389"/>
                <a:gd name="T76" fmla="*/ 54 w 230"/>
                <a:gd name="T77" fmla="*/ 16 h 389"/>
                <a:gd name="T78" fmla="*/ 41 w 230"/>
                <a:gd name="T79" fmla="*/ 29 h 389"/>
                <a:gd name="T80" fmla="*/ 32 w 230"/>
                <a:gd name="T81" fmla="*/ 26 h 389"/>
                <a:gd name="T82" fmla="*/ 25 w 230"/>
                <a:gd name="T83" fmla="*/ 1 h 389"/>
                <a:gd name="T84" fmla="*/ 21 w 230"/>
                <a:gd name="T85" fmla="*/ 0 h 389"/>
                <a:gd name="T86" fmla="*/ 6 w 230"/>
                <a:gd name="T87" fmla="*/ 21 h 389"/>
                <a:gd name="T88" fmla="*/ 0 w 230"/>
                <a:gd name="T89" fmla="*/ 20 h 389"/>
                <a:gd name="T90" fmla="*/ 167 w 230"/>
                <a:gd name="T91" fmla="*/ 386 h 389"/>
                <a:gd name="T92" fmla="*/ 185 w 230"/>
                <a:gd name="T93" fmla="*/ 388 h 389"/>
                <a:gd name="T94" fmla="*/ 194 w 230"/>
                <a:gd name="T95" fmla="*/ 385 h 389"/>
                <a:gd name="T96" fmla="*/ 193 w 230"/>
                <a:gd name="T97" fmla="*/ 375 h 389"/>
                <a:gd name="T98" fmla="*/ 182 w 230"/>
                <a:gd name="T99" fmla="*/ 360 h 389"/>
                <a:gd name="T100" fmla="*/ 185 w 230"/>
                <a:gd name="T101" fmla="*/ 353 h 389"/>
                <a:gd name="T102" fmla="*/ 203 w 230"/>
                <a:gd name="T103" fmla="*/ 353 h 389"/>
                <a:gd name="T104" fmla="*/ 212 w 230"/>
                <a:gd name="T105" fmla="*/ 349 h 389"/>
                <a:gd name="T106" fmla="*/ 209 w 230"/>
                <a:gd name="T107" fmla="*/ 339 h 389"/>
                <a:gd name="T108" fmla="*/ 195 w 230"/>
                <a:gd name="T109" fmla="*/ 326 h 389"/>
                <a:gd name="T110" fmla="*/ 199 w 230"/>
                <a:gd name="T111" fmla="*/ 317 h 389"/>
                <a:gd name="T112" fmla="*/ 216 w 230"/>
                <a:gd name="T113" fmla="*/ 315 h 389"/>
                <a:gd name="T114" fmla="*/ 224 w 230"/>
                <a:gd name="T115" fmla="*/ 310 h 389"/>
                <a:gd name="T116" fmla="*/ 219 w 230"/>
                <a:gd name="T117" fmla="*/ 300 h 389"/>
                <a:gd name="T118" fmla="*/ 204 w 230"/>
                <a:gd name="T119" fmla="*/ 290 h 389"/>
                <a:gd name="T120" fmla="*/ 206 w 230"/>
                <a:gd name="T121" fmla="*/ 281 h 389"/>
                <a:gd name="T122" fmla="*/ 229 w 230"/>
                <a:gd name="T123" fmla="*/ 269 h 389"/>
                <a:gd name="T124" fmla="*/ 223 w 230"/>
                <a:gd name="T125" fmla="*/ 26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 h="389">
                  <a:moveTo>
                    <a:pt x="223" y="261"/>
                  </a:moveTo>
                  <a:cubicBezTo>
                    <a:pt x="218" y="260"/>
                    <a:pt x="211" y="257"/>
                    <a:pt x="207" y="254"/>
                  </a:cubicBezTo>
                  <a:cubicBezTo>
                    <a:pt x="207" y="254"/>
                    <a:pt x="206" y="253"/>
                    <a:pt x="206" y="253"/>
                  </a:cubicBezTo>
                  <a:cubicBezTo>
                    <a:pt x="206" y="250"/>
                    <a:pt x="206" y="248"/>
                    <a:pt x="206" y="246"/>
                  </a:cubicBezTo>
                  <a:cubicBezTo>
                    <a:pt x="206" y="245"/>
                    <a:pt x="206" y="245"/>
                    <a:pt x="206" y="245"/>
                  </a:cubicBezTo>
                  <a:cubicBezTo>
                    <a:pt x="206" y="244"/>
                    <a:pt x="206" y="244"/>
                    <a:pt x="207" y="243"/>
                  </a:cubicBezTo>
                  <a:cubicBezTo>
                    <a:pt x="210" y="240"/>
                    <a:pt x="217" y="237"/>
                    <a:pt x="222" y="236"/>
                  </a:cubicBezTo>
                  <a:cubicBezTo>
                    <a:pt x="229" y="234"/>
                    <a:pt x="229" y="232"/>
                    <a:pt x="228" y="228"/>
                  </a:cubicBezTo>
                  <a:cubicBezTo>
                    <a:pt x="228" y="227"/>
                    <a:pt x="228" y="227"/>
                    <a:pt x="228" y="227"/>
                  </a:cubicBezTo>
                  <a:cubicBezTo>
                    <a:pt x="228" y="224"/>
                    <a:pt x="228" y="221"/>
                    <a:pt x="221" y="221"/>
                  </a:cubicBezTo>
                  <a:cubicBezTo>
                    <a:pt x="215" y="221"/>
                    <a:pt x="208" y="220"/>
                    <a:pt x="204" y="217"/>
                  </a:cubicBezTo>
                  <a:cubicBezTo>
                    <a:pt x="204" y="217"/>
                    <a:pt x="203" y="216"/>
                    <a:pt x="203" y="216"/>
                  </a:cubicBezTo>
                  <a:cubicBezTo>
                    <a:pt x="203" y="215"/>
                    <a:pt x="203" y="215"/>
                    <a:pt x="203" y="215"/>
                  </a:cubicBezTo>
                  <a:cubicBezTo>
                    <a:pt x="203" y="212"/>
                    <a:pt x="202" y="210"/>
                    <a:pt x="202" y="208"/>
                  </a:cubicBezTo>
                  <a:cubicBezTo>
                    <a:pt x="202" y="208"/>
                    <a:pt x="202" y="207"/>
                    <a:pt x="202" y="207"/>
                  </a:cubicBezTo>
                  <a:cubicBezTo>
                    <a:pt x="205" y="203"/>
                    <a:pt x="211" y="199"/>
                    <a:pt x="216" y="197"/>
                  </a:cubicBezTo>
                  <a:cubicBezTo>
                    <a:pt x="223" y="194"/>
                    <a:pt x="222" y="192"/>
                    <a:pt x="221" y="188"/>
                  </a:cubicBezTo>
                  <a:cubicBezTo>
                    <a:pt x="221" y="187"/>
                    <a:pt x="221" y="187"/>
                    <a:pt x="221" y="187"/>
                  </a:cubicBezTo>
                  <a:cubicBezTo>
                    <a:pt x="220" y="184"/>
                    <a:pt x="219" y="182"/>
                    <a:pt x="215" y="182"/>
                  </a:cubicBezTo>
                  <a:cubicBezTo>
                    <a:pt x="214" y="182"/>
                    <a:pt x="213" y="182"/>
                    <a:pt x="213" y="182"/>
                  </a:cubicBezTo>
                  <a:cubicBezTo>
                    <a:pt x="211" y="183"/>
                    <a:pt x="209" y="183"/>
                    <a:pt x="207" y="183"/>
                  </a:cubicBezTo>
                  <a:cubicBezTo>
                    <a:pt x="203" y="183"/>
                    <a:pt x="199" y="182"/>
                    <a:pt x="195" y="181"/>
                  </a:cubicBezTo>
                  <a:cubicBezTo>
                    <a:pt x="195" y="181"/>
                    <a:pt x="194" y="180"/>
                    <a:pt x="194" y="180"/>
                  </a:cubicBezTo>
                  <a:cubicBezTo>
                    <a:pt x="193" y="177"/>
                    <a:pt x="192" y="175"/>
                    <a:pt x="192" y="172"/>
                  </a:cubicBezTo>
                  <a:cubicBezTo>
                    <a:pt x="191" y="172"/>
                    <a:pt x="191" y="171"/>
                    <a:pt x="192" y="171"/>
                  </a:cubicBezTo>
                  <a:cubicBezTo>
                    <a:pt x="194" y="167"/>
                    <a:pt x="200" y="162"/>
                    <a:pt x="204" y="159"/>
                  </a:cubicBezTo>
                  <a:cubicBezTo>
                    <a:pt x="210" y="155"/>
                    <a:pt x="209" y="153"/>
                    <a:pt x="208" y="150"/>
                  </a:cubicBezTo>
                  <a:cubicBezTo>
                    <a:pt x="207" y="149"/>
                    <a:pt x="207" y="149"/>
                    <a:pt x="207" y="149"/>
                  </a:cubicBezTo>
                  <a:cubicBezTo>
                    <a:pt x="206" y="146"/>
                    <a:pt x="205" y="145"/>
                    <a:pt x="202" y="145"/>
                  </a:cubicBezTo>
                  <a:cubicBezTo>
                    <a:pt x="201" y="145"/>
                    <a:pt x="200" y="145"/>
                    <a:pt x="198" y="145"/>
                  </a:cubicBezTo>
                  <a:cubicBezTo>
                    <a:pt x="194" y="147"/>
                    <a:pt x="189" y="147"/>
                    <a:pt x="186" y="147"/>
                  </a:cubicBezTo>
                  <a:cubicBezTo>
                    <a:pt x="184" y="147"/>
                    <a:pt x="182" y="147"/>
                    <a:pt x="181" y="147"/>
                  </a:cubicBezTo>
                  <a:cubicBezTo>
                    <a:pt x="180" y="147"/>
                    <a:pt x="180" y="146"/>
                    <a:pt x="180" y="146"/>
                  </a:cubicBezTo>
                  <a:cubicBezTo>
                    <a:pt x="178" y="143"/>
                    <a:pt x="177" y="141"/>
                    <a:pt x="176" y="139"/>
                  </a:cubicBezTo>
                  <a:cubicBezTo>
                    <a:pt x="176" y="138"/>
                    <a:pt x="176" y="138"/>
                    <a:pt x="176" y="137"/>
                  </a:cubicBezTo>
                  <a:cubicBezTo>
                    <a:pt x="177" y="133"/>
                    <a:pt x="182" y="127"/>
                    <a:pt x="186" y="123"/>
                  </a:cubicBezTo>
                  <a:cubicBezTo>
                    <a:pt x="191" y="119"/>
                    <a:pt x="190" y="117"/>
                    <a:pt x="188" y="114"/>
                  </a:cubicBezTo>
                  <a:cubicBezTo>
                    <a:pt x="188" y="113"/>
                    <a:pt x="188" y="113"/>
                    <a:pt x="188" y="113"/>
                  </a:cubicBezTo>
                  <a:cubicBezTo>
                    <a:pt x="186" y="111"/>
                    <a:pt x="185" y="110"/>
                    <a:pt x="183" y="110"/>
                  </a:cubicBezTo>
                  <a:cubicBezTo>
                    <a:pt x="182" y="110"/>
                    <a:pt x="180" y="110"/>
                    <a:pt x="178" y="111"/>
                  </a:cubicBezTo>
                  <a:cubicBezTo>
                    <a:pt x="172" y="114"/>
                    <a:pt x="165" y="115"/>
                    <a:pt x="162" y="115"/>
                  </a:cubicBezTo>
                  <a:cubicBezTo>
                    <a:pt x="161" y="115"/>
                    <a:pt x="160" y="115"/>
                    <a:pt x="160" y="114"/>
                  </a:cubicBezTo>
                  <a:cubicBezTo>
                    <a:pt x="159" y="112"/>
                    <a:pt x="157" y="111"/>
                    <a:pt x="156" y="109"/>
                  </a:cubicBezTo>
                  <a:cubicBezTo>
                    <a:pt x="155" y="108"/>
                    <a:pt x="155" y="108"/>
                    <a:pt x="155" y="108"/>
                  </a:cubicBezTo>
                  <a:cubicBezTo>
                    <a:pt x="155" y="108"/>
                    <a:pt x="155" y="107"/>
                    <a:pt x="155" y="106"/>
                  </a:cubicBezTo>
                  <a:cubicBezTo>
                    <a:pt x="156" y="102"/>
                    <a:pt x="160" y="95"/>
                    <a:pt x="163" y="91"/>
                  </a:cubicBezTo>
                  <a:cubicBezTo>
                    <a:pt x="168" y="86"/>
                    <a:pt x="166" y="84"/>
                    <a:pt x="163" y="82"/>
                  </a:cubicBezTo>
                  <a:cubicBezTo>
                    <a:pt x="163" y="81"/>
                    <a:pt x="163" y="81"/>
                    <a:pt x="163" y="81"/>
                  </a:cubicBezTo>
                  <a:cubicBezTo>
                    <a:pt x="161" y="79"/>
                    <a:pt x="160" y="78"/>
                    <a:pt x="158" y="78"/>
                  </a:cubicBezTo>
                  <a:cubicBezTo>
                    <a:pt x="157" y="78"/>
                    <a:pt x="155" y="79"/>
                    <a:pt x="153" y="80"/>
                  </a:cubicBezTo>
                  <a:cubicBezTo>
                    <a:pt x="149" y="83"/>
                    <a:pt x="142" y="86"/>
                    <a:pt x="137" y="87"/>
                  </a:cubicBezTo>
                  <a:cubicBezTo>
                    <a:pt x="137" y="87"/>
                    <a:pt x="136" y="87"/>
                    <a:pt x="136" y="86"/>
                  </a:cubicBezTo>
                  <a:cubicBezTo>
                    <a:pt x="134" y="84"/>
                    <a:pt x="132" y="83"/>
                    <a:pt x="130" y="81"/>
                  </a:cubicBezTo>
                  <a:cubicBezTo>
                    <a:pt x="130" y="80"/>
                    <a:pt x="129" y="80"/>
                    <a:pt x="129" y="79"/>
                  </a:cubicBezTo>
                  <a:cubicBezTo>
                    <a:pt x="129" y="75"/>
                    <a:pt x="132" y="68"/>
                    <a:pt x="135" y="63"/>
                  </a:cubicBezTo>
                  <a:cubicBezTo>
                    <a:pt x="139" y="57"/>
                    <a:pt x="137" y="56"/>
                    <a:pt x="134" y="54"/>
                  </a:cubicBezTo>
                  <a:cubicBezTo>
                    <a:pt x="133" y="53"/>
                    <a:pt x="133" y="53"/>
                    <a:pt x="133" y="53"/>
                  </a:cubicBezTo>
                  <a:cubicBezTo>
                    <a:pt x="132" y="52"/>
                    <a:pt x="131" y="51"/>
                    <a:pt x="129" y="51"/>
                  </a:cubicBezTo>
                  <a:cubicBezTo>
                    <a:pt x="128" y="51"/>
                    <a:pt x="126" y="52"/>
                    <a:pt x="124" y="54"/>
                  </a:cubicBezTo>
                  <a:cubicBezTo>
                    <a:pt x="119" y="57"/>
                    <a:pt x="113" y="62"/>
                    <a:pt x="109" y="63"/>
                  </a:cubicBezTo>
                  <a:cubicBezTo>
                    <a:pt x="108" y="63"/>
                    <a:pt x="108" y="63"/>
                    <a:pt x="107" y="62"/>
                  </a:cubicBezTo>
                  <a:cubicBezTo>
                    <a:pt x="105" y="61"/>
                    <a:pt x="103" y="59"/>
                    <a:pt x="101" y="58"/>
                  </a:cubicBezTo>
                  <a:cubicBezTo>
                    <a:pt x="100" y="58"/>
                    <a:pt x="100" y="57"/>
                    <a:pt x="100" y="57"/>
                  </a:cubicBezTo>
                  <a:cubicBezTo>
                    <a:pt x="99" y="52"/>
                    <a:pt x="101" y="45"/>
                    <a:pt x="103" y="40"/>
                  </a:cubicBezTo>
                  <a:cubicBezTo>
                    <a:pt x="106" y="33"/>
                    <a:pt x="103" y="32"/>
                    <a:pt x="100" y="30"/>
                  </a:cubicBezTo>
                  <a:cubicBezTo>
                    <a:pt x="99" y="30"/>
                    <a:pt x="99" y="30"/>
                    <a:pt x="99" y="30"/>
                  </a:cubicBezTo>
                  <a:cubicBezTo>
                    <a:pt x="98" y="29"/>
                    <a:pt x="97" y="28"/>
                    <a:pt x="96" y="28"/>
                  </a:cubicBezTo>
                  <a:cubicBezTo>
                    <a:pt x="94" y="28"/>
                    <a:pt x="92" y="30"/>
                    <a:pt x="90" y="32"/>
                  </a:cubicBezTo>
                  <a:cubicBezTo>
                    <a:pt x="87" y="36"/>
                    <a:pt x="81" y="42"/>
                    <a:pt x="77" y="43"/>
                  </a:cubicBezTo>
                  <a:cubicBezTo>
                    <a:pt x="76" y="43"/>
                    <a:pt x="76" y="43"/>
                    <a:pt x="75" y="43"/>
                  </a:cubicBezTo>
                  <a:cubicBezTo>
                    <a:pt x="74" y="42"/>
                    <a:pt x="74" y="42"/>
                    <a:pt x="74" y="42"/>
                  </a:cubicBezTo>
                  <a:cubicBezTo>
                    <a:pt x="72" y="42"/>
                    <a:pt x="70" y="41"/>
                    <a:pt x="68" y="40"/>
                  </a:cubicBezTo>
                  <a:cubicBezTo>
                    <a:pt x="68" y="40"/>
                    <a:pt x="67" y="39"/>
                    <a:pt x="67" y="39"/>
                  </a:cubicBezTo>
                  <a:cubicBezTo>
                    <a:pt x="66" y="34"/>
                    <a:pt x="67" y="27"/>
                    <a:pt x="68" y="21"/>
                  </a:cubicBezTo>
                  <a:cubicBezTo>
                    <a:pt x="69" y="15"/>
                    <a:pt x="67" y="14"/>
                    <a:pt x="64" y="13"/>
                  </a:cubicBezTo>
                  <a:cubicBezTo>
                    <a:pt x="63" y="12"/>
                    <a:pt x="63" y="12"/>
                    <a:pt x="63" y="12"/>
                  </a:cubicBezTo>
                  <a:cubicBezTo>
                    <a:pt x="62" y="12"/>
                    <a:pt x="60" y="11"/>
                    <a:pt x="59" y="11"/>
                  </a:cubicBezTo>
                  <a:cubicBezTo>
                    <a:pt x="59" y="11"/>
                    <a:pt x="56" y="11"/>
                    <a:pt x="54" y="16"/>
                  </a:cubicBezTo>
                  <a:cubicBezTo>
                    <a:pt x="51" y="21"/>
                    <a:pt x="47" y="27"/>
                    <a:pt x="43" y="29"/>
                  </a:cubicBezTo>
                  <a:cubicBezTo>
                    <a:pt x="42" y="29"/>
                    <a:pt x="42" y="29"/>
                    <a:pt x="41" y="29"/>
                  </a:cubicBezTo>
                  <a:cubicBezTo>
                    <a:pt x="38" y="29"/>
                    <a:pt x="36" y="28"/>
                    <a:pt x="34" y="27"/>
                  </a:cubicBezTo>
                  <a:cubicBezTo>
                    <a:pt x="33" y="27"/>
                    <a:pt x="32" y="27"/>
                    <a:pt x="32" y="26"/>
                  </a:cubicBezTo>
                  <a:cubicBezTo>
                    <a:pt x="30" y="22"/>
                    <a:pt x="30" y="14"/>
                    <a:pt x="30" y="9"/>
                  </a:cubicBezTo>
                  <a:cubicBezTo>
                    <a:pt x="31" y="2"/>
                    <a:pt x="28" y="2"/>
                    <a:pt x="25" y="1"/>
                  </a:cubicBezTo>
                  <a:cubicBezTo>
                    <a:pt x="24" y="1"/>
                    <a:pt x="24" y="1"/>
                    <a:pt x="24" y="1"/>
                  </a:cubicBezTo>
                  <a:cubicBezTo>
                    <a:pt x="23" y="1"/>
                    <a:pt x="22" y="0"/>
                    <a:pt x="21" y="0"/>
                  </a:cubicBezTo>
                  <a:cubicBezTo>
                    <a:pt x="20" y="0"/>
                    <a:pt x="17" y="0"/>
                    <a:pt x="16" y="6"/>
                  </a:cubicBezTo>
                  <a:cubicBezTo>
                    <a:pt x="14" y="11"/>
                    <a:pt x="10" y="18"/>
                    <a:pt x="6" y="21"/>
                  </a:cubicBezTo>
                  <a:cubicBezTo>
                    <a:pt x="6" y="21"/>
                    <a:pt x="5" y="21"/>
                    <a:pt x="5" y="21"/>
                  </a:cubicBezTo>
                  <a:cubicBezTo>
                    <a:pt x="3" y="21"/>
                    <a:pt x="1" y="20"/>
                    <a:pt x="0" y="20"/>
                  </a:cubicBezTo>
                  <a:cubicBezTo>
                    <a:pt x="12" y="162"/>
                    <a:pt x="74" y="289"/>
                    <a:pt x="167" y="386"/>
                  </a:cubicBezTo>
                  <a:cubicBezTo>
                    <a:pt x="167" y="386"/>
                    <a:pt x="167" y="386"/>
                    <a:pt x="167" y="386"/>
                  </a:cubicBezTo>
                  <a:cubicBezTo>
                    <a:pt x="167" y="385"/>
                    <a:pt x="168" y="385"/>
                    <a:pt x="168" y="385"/>
                  </a:cubicBezTo>
                  <a:cubicBezTo>
                    <a:pt x="172" y="384"/>
                    <a:pt x="179" y="385"/>
                    <a:pt x="185" y="388"/>
                  </a:cubicBezTo>
                  <a:cubicBezTo>
                    <a:pt x="187" y="389"/>
                    <a:pt x="189" y="389"/>
                    <a:pt x="190" y="389"/>
                  </a:cubicBezTo>
                  <a:cubicBezTo>
                    <a:pt x="192" y="389"/>
                    <a:pt x="193" y="388"/>
                    <a:pt x="194" y="385"/>
                  </a:cubicBezTo>
                  <a:cubicBezTo>
                    <a:pt x="195" y="384"/>
                    <a:pt x="195" y="384"/>
                    <a:pt x="195" y="384"/>
                  </a:cubicBezTo>
                  <a:cubicBezTo>
                    <a:pt x="197" y="382"/>
                    <a:pt x="198" y="379"/>
                    <a:pt x="193" y="375"/>
                  </a:cubicBezTo>
                  <a:cubicBezTo>
                    <a:pt x="188" y="372"/>
                    <a:pt x="183" y="366"/>
                    <a:pt x="182" y="362"/>
                  </a:cubicBezTo>
                  <a:cubicBezTo>
                    <a:pt x="181" y="361"/>
                    <a:pt x="181" y="361"/>
                    <a:pt x="182" y="360"/>
                  </a:cubicBezTo>
                  <a:cubicBezTo>
                    <a:pt x="182" y="360"/>
                    <a:pt x="182" y="360"/>
                    <a:pt x="182" y="360"/>
                  </a:cubicBezTo>
                  <a:cubicBezTo>
                    <a:pt x="183" y="358"/>
                    <a:pt x="184" y="356"/>
                    <a:pt x="185" y="353"/>
                  </a:cubicBezTo>
                  <a:cubicBezTo>
                    <a:pt x="185" y="353"/>
                    <a:pt x="186" y="352"/>
                    <a:pt x="186" y="352"/>
                  </a:cubicBezTo>
                  <a:cubicBezTo>
                    <a:pt x="190" y="351"/>
                    <a:pt x="197" y="351"/>
                    <a:pt x="203" y="353"/>
                  </a:cubicBezTo>
                  <a:cubicBezTo>
                    <a:pt x="205" y="353"/>
                    <a:pt x="206" y="353"/>
                    <a:pt x="207" y="353"/>
                  </a:cubicBezTo>
                  <a:cubicBezTo>
                    <a:pt x="210" y="353"/>
                    <a:pt x="211" y="351"/>
                    <a:pt x="212" y="349"/>
                  </a:cubicBezTo>
                  <a:cubicBezTo>
                    <a:pt x="213" y="348"/>
                    <a:pt x="213" y="348"/>
                    <a:pt x="213" y="348"/>
                  </a:cubicBezTo>
                  <a:cubicBezTo>
                    <a:pt x="214" y="345"/>
                    <a:pt x="215" y="342"/>
                    <a:pt x="209" y="339"/>
                  </a:cubicBezTo>
                  <a:cubicBezTo>
                    <a:pt x="204" y="336"/>
                    <a:pt x="198" y="332"/>
                    <a:pt x="196" y="328"/>
                  </a:cubicBezTo>
                  <a:cubicBezTo>
                    <a:pt x="195" y="327"/>
                    <a:pt x="195" y="326"/>
                    <a:pt x="195" y="326"/>
                  </a:cubicBezTo>
                  <a:cubicBezTo>
                    <a:pt x="196" y="323"/>
                    <a:pt x="197" y="321"/>
                    <a:pt x="198" y="318"/>
                  </a:cubicBezTo>
                  <a:cubicBezTo>
                    <a:pt x="198" y="318"/>
                    <a:pt x="198" y="317"/>
                    <a:pt x="199" y="317"/>
                  </a:cubicBezTo>
                  <a:cubicBezTo>
                    <a:pt x="203" y="315"/>
                    <a:pt x="210" y="315"/>
                    <a:pt x="213" y="315"/>
                  </a:cubicBezTo>
                  <a:cubicBezTo>
                    <a:pt x="214" y="315"/>
                    <a:pt x="215" y="315"/>
                    <a:pt x="216" y="315"/>
                  </a:cubicBezTo>
                  <a:cubicBezTo>
                    <a:pt x="216" y="315"/>
                    <a:pt x="217" y="315"/>
                    <a:pt x="218" y="315"/>
                  </a:cubicBezTo>
                  <a:cubicBezTo>
                    <a:pt x="223" y="315"/>
                    <a:pt x="223" y="313"/>
                    <a:pt x="224" y="310"/>
                  </a:cubicBezTo>
                  <a:cubicBezTo>
                    <a:pt x="224" y="309"/>
                    <a:pt x="224" y="309"/>
                    <a:pt x="224" y="309"/>
                  </a:cubicBezTo>
                  <a:cubicBezTo>
                    <a:pt x="225" y="305"/>
                    <a:pt x="225" y="303"/>
                    <a:pt x="219" y="300"/>
                  </a:cubicBezTo>
                  <a:cubicBezTo>
                    <a:pt x="214" y="298"/>
                    <a:pt x="207" y="295"/>
                    <a:pt x="204" y="291"/>
                  </a:cubicBezTo>
                  <a:cubicBezTo>
                    <a:pt x="204" y="291"/>
                    <a:pt x="204" y="290"/>
                    <a:pt x="204" y="290"/>
                  </a:cubicBezTo>
                  <a:cubicBezTo>
                    <a:pt x="204" y="287"/>
                    <a:pt x="204" y="285"/>
                    <a:pt x="205" y="282"/>
                  </a:cubicBezTo>
                  <a:cubicBezTo>
                    <a:pt x="205" y="282"/>
                    <a:pt x="205" y="281"/>
                    <a:pt x="206" y="281"/>
                  </a:cubicBezTo>
                  <a:cubicBezTo>
                    <a:pt x="209" y="278"/>
                    <a:pt x="217" y="276"/>
                    <a:pt x="222" y="276"/>
                  </a:cubicBezTo>
                  <a:cubicBezTo>
                    <a:pt x="229" y="275"/>
                    <a:pt x="229" y="273"/>
                    <a:pt x="229" y="269"/>
                  </a:cubicBezTo>
                  <a:cubicBezTo>
                    <a:pt x="229" y="268"/>
                    <a:pt x="229" y="268"/>
                    <a:pt x="229" y="268"/>
                  </a:cubicBezTo>
                  <a:cubicBezTo>
                    <a:pt x="230" y="265"/>
                    <a:pt x="230" y="262"/>
                    <a:pt x="223" y="26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3" name="Freeform 21392">
              <a:extLst>
                <a:ext uri="{FF2B5EF4-FFF2-40B4-BE49-F238E27FC236}">
                  <a16:creationId xmlns:a16="http://schemas.microsoft.com/office/drawing/2014/main" id="{118D94A5-EC7E-4C36-8368-6B5BDBDE5253}"/>
                </a:ext>
              </a:extLst>
            </p:cNvPr>
            <p:cNvSpPr>
              <a:spLocks/>
            </p:cNvSpPr>
            <p:nvPr userDrawn="1"/>
          </p:nvSpPr>
          <p:spPr bwMode="auto">
            <a:xfrm>
              <a:off x="7854315" y="3285490"/>
              <a:ext cx="935038" cy="1114425"/>
            </a:xfrm>
            <a:custGeom>
              <a:avLst/>
              <a:gdLst>
                <a:gd name="T0" fmla="*/ 7 w 463"/>
                <a:gd name="T1" fmla="*/ 509 h 553"/>
                <a:gd name="T2" fmla="*/ 26 w 463"/>
                <a:gd name="T3" fmla="*/ 497 h 553"/>
                <a:gd name="T4" fmla="*/ 34 w 463"/>
                <a:gd name="T5" fmla="*/ 522 h 553"/>
                <a:gd name="T6" fmla="*/ 44 w 463"/>
                <a:gd name="T7" fmla="*/ 534 h 553"/>
                <a:gd name="T8" fmla="*/ 66 w 463"/>
                <a:gd name="T9" fmla="*/ 513 h 553"/>
                <a:gd name="T10" fmla="*/ 80 w 463"/>
                <a:gd name="T11" fmla="*/ 537 h 553"/>
                <a:gd name="T12" fmla="*/ 91 w 463"/>
                <a:gd name="T13" fmla="*/ 547 h 553"/>
                <a:gd name="T14" fmla="*/ 109 w 463"/>
                <a:gd name="T15" fmla="*/ 523 h 553"/>
                <a:gd name="T16" fmla="*/ 121 w 463"/>
                <a:gd name="T17" fmla="*/ 525 h 553"/>
                <a:gd name="T18" fmla="*/ 136 w 463"/>
                <a:gd name="T19" fmla="*/ 553 h 553"/>
                <a:gd name="T20" fmla="*/ 152 w 463"/>
                <a:gd name="T21" fmla="*/ 527 h 553"/>
                <a:gd name="T22" fmla="*/ 163 w 463"/>
                <a:gd name="T23" fmla="*/ 525 h 553"/>
                <a:gd name="T24" fmla="*/ 181 w 463"/>
                <a:gd name="T25" fmla="*/ 552 h 553"/>
                <a:gd name="T26" fmla="*/ 192 w 463"/>
                <a:gd name="T27" fmla="*/ 543 h 553"/>
                <a:gd name="T28" fmla="*/ 200 w 463"/>
                <a:gd name="T29" fmla="*/ 522 h 553"/>
                <a:gd name="T30" fmla="*/ 221 w 463"/>
                <a:gd name="T31" fmla="*/ 538 h 553"/>
                <a:gd name="T32" fmla="*/ 232 w 463"/>
                <a:gd name="T33" fmla="*/ 543 h 553"/>
                <a:gd name="T34" fmla="*/ 242 w 463"/>
                <a:gd name="T35" fmla="*/ 511 h 553"/>
                <a:gd name="T36" fmla="*/ 267 w 463"/>
                <a:gd name="T37" fmla="*/ 523 h 553"/>
                <a:gd name="T38" fmla="*/ 279 w 463"/>
                <a:gd name="T39" fmla="*/ 527 h 553"/>
                <a:gd name="T40" fmla="*/ 282 w 463"/>
                <a:gd name="T41" fmla="*/ 494 h 553"/>
                <a:gd name="T42" fmla="*/ 309 w 463"/>
                <a:gd name="T43" fmla="*/ 502 h 553"/>
                <a:gd name="T44" fmla="*/ 321 w 463"/>
                <a:gd name="T45" fmla="*/ 503 h 553"/>
                <a:gd name="T46" fmla="*/ 320 w 463"/>
                <a:gd name="T47" fmla="*/ 470 h 553"/>
                <a:gd name="T48" fmla="*/ 348 w 463"/>
                <a:gd name="T49" fmla="*/ 474 h 553"/>
                <a:gd name="T50" fmla="*/ 360 w 463"/>
                <a:gd name="T51" fmla="*/ 473 h 553"/>
                <a:gd name="T52" fmla="*/ 354 w 463"/>
                <a:gd name="T53" fmla="*/ 441 h 553"/>
                <a:gd name="T54" fmla="*/ 382 w 463"/>
                <a:gd name="T55" fmla="*/ 440 h 553"/>
                <a:gd name="T56" fmla="*/ 394 w 463"/>
                <a:gd name="T57" fmla="*/ 438 h 553"/>
                <a:gd name="T58" fmla="*/ 382 w 463"/>
                <a:gd name="T59" fmla="*/ 407 h 553"/>
                <a:gd name="T60" fmla="*/ 410 w 463"/>
                <a:gd name="T61" fmla="*/ 402 h 553"/>
                <a:gd name="T62" fmla="*/ 421 w 463"/>
                <a:gd name="T63" fmla="*/ 398 h 553"/>
                <a:gd name="T64" fmla="*/ 405 w 463"/>
                <a:gd name="T65" fmla="*/ 369 h 553"/>
                <a:gd name="T66" fmla="*/ 411 w 463"/>
                <a:gd name="T67" fmla="*/ 359 h 553"/>
                <a:gd name="T68" fmla="*/ 442 w 463"/>
                <a:gd name="T69" fmla="*/ 355 h 553"/>
                <a:gd name="T70" fmla="*/ 422 w 463"/>
                <a:gd name="T71" fmla="*/ 329 h 553"/>
                <a:gd name="T72" fmla="*/ 426 w 463"/>
                <a:gd name="T73" fmla="*/ 317 h 553"/>
                <a:gd name="T74" fmla="*/ 448 w 463"/>
                <a:gd name="T75" fmla="*/ 314 h 553"/>
                <a:gd name="T76" fmla="*/ 450 w 463"/>
                <a:gd name="T77" fmla="*/ 297 h 553"/>
                <a:gd name="T78" fmla="*/ 433 w 463"/>
                <a:gd name="T79" fmla="*/ 275 h 553"/>
                <a:gd name="T80" fmla="*/ 462 w 463"/>
                <a:gd name="T81" fmla="*/ 259 h 553"/>
                <a:gd name="T82" fmla="*/ 436 w 463"/>
                <a:gd name="T83" fmla="*/ 242 h 553"/>
                <a:gd name="T84" fmla="*/ 435 w 463"/>
                <a:gd name="T85" fmla="*/ 230 h 553"/>
                <a:gd name="T86" fmla="*/ 461 w 463"/>
                <a:gd name="T87" fmla="*/ 211 h 553"/>
                <a:gd name="T88" fmla="*/ 432 w 463"/>
                <a:gd name="T89" fmla="*/ 197 h 553"/>
                <a:gd name="T90" fmla="*/ 429 w 463"/>
                <a:gd name="T91" fmla="*/ 186 h 553"/>
                <a:gd name="T92" fmla="*/ 452 w 463"/>
                <a:gd name="T93" fmla="*/ 163 h 553"/>
                <a:gd name="T94" fmla="*/ 442 w 463"/>
                <a:gd name="T95" fmla="*/ 155 h 553"/>
                <a:gd name="T96" fmla="*/ 420 w 463"/>
                <a:gd name="T97" fmla="*/ 152 h 553"/>
                <a:gd name="T98" fmla="*/ 432 w 463"/>
                <a:gd name="T99" fmla="*/ 127 h 553"/>
                <a:gd name="T100" fmla="*/ 430 w 463"/>
                <a:gd name="T101" fmla="*/ 110 h 553"/>
                <a:gd name="T102" fmla="*/ 405 w 463"/>
                <a:gd name="T103" fmla="*/ 113 h 553"/>
                <a:gd name="T104" fmla="*/ 398 w 463"/>
                <a:gd name="T105" fmla="*/ 101 h 553"/>
                <a:gd name="T106" fmla="*/ 412 w 463"/>
                <a:gd name="T107" fmla="*/ 72 h 553"/>
                <a:gd name="T108" fmla="*/ 381 w 463"/>
                <a:gd name="T109" fmla="*/ 75 h 553"/>
                <a:gd name="T110" fmla="*/ 374 w 463"/>
                <a:gd name="T111" fmla="*/ 66 h 553"/>
                <a:gd name="T112" fmla="*/ 383 w 463"/>
                <a:gd name="T113" fmla="*/ 35 h 553"/>
                <a:gd name="T114" fmla="*/ 371 w 463"/>
                <a:gd name="T115" fmla="*/ 33 h 553"/>
                <a:gd name="T116" fmla="*/ 343 w 463"/>
                <a:gd name="T117" fmla="*/ 34 h 553"/>
                <a:gd name="T118" fmla="*/ 348 w 463"/>
                <a:gd name="T119"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3" h="553">
                  <a:moveTo>
                    <a:pt x="0" y="514"/>
                  </a:moveTo>
                  <a:cubicBezTo>
                    <a:pt x="1" y="514"/>
                    <a:pt x="1" y="514"/>
                    <a:pt x="1" y="514"/>
                  </a:cubicBezTo>
                  <a:cubicBezTo>
                    <a:pt x="3" y="514"/>
                    <a:pt x="5" y="512"/>
                    <a:pt x="7" y="509"/>
                  </a:cubicBezTo>
                  <a:cubicBezTo>
                    <a:pt x="11" y="504"/>
                    <a:pt x="18" y="498"/>
                    <a:pt x="23" y="496"/>
                  </a:cubicBezTo>
                  <a:cubicBezTo>
                    <a:pt x="24" y="496"/>
                    <a:pt x="24" y="496"/>
                    <a:pt x="25" y="496"/>
                  </a:cubicBezTo>
                  <a:cubicBezTo>
                    <a:pt x="26" y="497"/>
                    <a:pt x="26" y="497"/>
                    <a:pt x="26" y="497"/>
                  </a:cubicBezTo>
                  <a:cubicBezTo>
                    <a:pt x="29" y="498"/>
                    <a:pt x="31" y="499"/>
                    <a:pt x="33" y="500"/>
                  </a:cubicBezTo>
                  <a:cubicBezTo>
                    <a:pt x="34" y="500"/>
                    <a:pt x="35" y="501"/>
                    <a:pt x="35" y="502"/>
                  </a:cubicBezTo>
                  <a:cubicBezTo>
                    <a:pt x="36" y="507"/>
                    <a:pt x="36" y="516"/>
                    <a:pt x="34" y="522"/>
                  </a:cubicBezTo>
                  <a:cubicBezTo>
                    <a:pt x="32" y="530"/>
                    <a:pt x="35" y="531"/>
                    <a:pt x="39" y="533"/>
                  </a:cubicBezTo>
                  <a:cubicBezTo>
                    <a:pt x="40" y="533"/>
                    <a:pt x="40" y="533"/>
                    <a:pt x="40" y="533"/>
                  </a:cubicBezTo>
                  <a:cubicBezTo>
                    <a:pt x="42" y="534"/>
                    <a:pt x="43" y="534"/>
                    <a:pt x="44" y="534"/>
                  </a:cubicBezTo>
                  <a:cubicBezTo>
                    <a:pt x="45" y="534"/>
                    <a:pt x="48" y="534"/>
                    <a:pt x="51" y="529"/>
                  </a:cubicBezTo>
                  <a:cubicBezTo>
                    <a:pt x="54" y="523"/>
                    <a:pt x="59" y="516"/>
                    <a:pt x="64" y="513"/>
                  </a:cubicBezTo>
                  <a:cubicBezTo>
                    <a:pt x="65" y="513"/>
                    <a:pt x="66" y="512"/>
                    <a:pt x="66" y="513"/>
                  </a:cubicBezTo>
                  <a:cubicBezTo>
                    <a:pt x="69" y="514"/>
                    <a:pt x="72" y="515"/>
                    <a:pt x="75" y="515"/>
                  </a:cubicBezTo>
                  <a:cubicBezTo>
                    <a:pt x="76" y="516"/>
                    <a:pt x="76" y="516"/>
                    <a:pt x="77" y="517"/>
                  </a:cubicBezTo>
                  <a:cubicBezTo>
                    <a:pt x="79" y="522"/>
                    <a:pt x="80" y="531"/>
                    <a:pt x="80" y="537"/>
                  </a:cubicBezTo>
                  <a:cubicBezTo>
                    <a:pt x="79" y="545"/>
                    <a:pt x="82" y="546"/>
                    <a:pt x="86" y="547"/>
                  </a:cubicBezTo>
                  <a:cubicBezTo>
                    <a:pt x="87" y="547"/>
                    <a:pt x="87" y="547"/>
                    <a:pt x="87" y="547"/>
                  </a:cubicBezTo>
                  <a:cubicBezTo>
                    <a:pt x="88" y="547"/>
                    <a:pt x="89" y="547"/>
                    <a:pt x="91" y="547"/>
                  </a:cubicBezTo>
                  <a:cubicBezTo>
                    <a:pt x="92" y="547"/>
                    <a:pt x="94" y="547"/>
                    <a:pt x="97" y="541"/>
                  </a:cubicBezTo>
                  <a:cubicBezTo>
                    <a:pt x="99" y="535"/>
                    <a:pt x="103" y="527"/>
                    <a:pt x="108" y="523"/>
                  </a:cubicBezTo>
                  <a:cubicBezTo>
                    <a:pt x="108" y="523"/>
                    <a:pt x="109" y="523"/>
                    <a:pt x="109" y="523"/>
                  </a:cubicBezTo>
                  <a:cubicBezTo>
                    <a:pt x="110" y="523"/>
                    <a:pt x="110" y="523"/>
                    <a:pt x="110" y="523"/>
                  </a:cubicBezTo>
                  <a:cubicBezTo>
                    <a:pt x="113" y="523"/>
                    <a:pt x="116" y="523"/>
                    <a:pt x="119" y="524"/>
                  </a:cubicBezTo>
                  <a:cubicBezTo>
                    <a:pt x="119" y="524"/>
                    <a:pt x="120" y="524"/>
                    <a:pt x="121" y="525"/>
                  </a:cubicBezTo>
                  <a:cubicBezTo>
                    <a:pt x="124" y="529"/>
                    <a:pt x="126" y="538"/>
                    <a:pt x="127" y="545"/>
                  </a:cubicBezTo>
                  <a:cubicBezTo>
                    <a:pt x="127" y="553"/>
                    <a:pt x="130" y="553"/>
                    <a:pt x="134" y="553"/>
                  </a:cubicBezTo>
                  <a:cubicBezTo>
                    <a:pt x="136" y="553"/>
                    <a:pt x="136" y="553"/>
                    <a:pt x="136" y="553"/>
                  </a:cubicBezTo>
                  <a:cubicBezTo>
                    <a:pt x="136" y="553"/>
                    <a:pt x="137" y="553"/>
                    <a:pt x="138" y="553"/>
                  </a:cubicBezTo>
                  <a:cubicBezTo>
                    <a:pt x="140" y="553"/>
                    <a:pt x="143" y="553"/>
                    <a:pt x="144" y="546"/>
                  </a:cubicBezTo>
                  <a:cubicBezTo>
                    <a:pt x="146" y="539"/>
                    <a:pt x="148" y="531"/>
                    <a:pt x="152" y="527"/>
                  </a:cubicBezTo>
                  <a:cubicBezTo>
                    <a:pt x="153" y="526"/>
                    <a:pt x="153" y="526"/>
                    <a:pt x="154" y="526"/>
                  </a:cubicBezTo>
                  <a:cubicBezTo>
                    <a:pt x="157" y="526"/>
                    <a:pt x="160" y="526"/>
                    <a:pt x="163" y="526"/>
                  </a:cubicBezTo>
                  <a:cubicBezTo>
                    <a:pt x="163" y="525"/>
                    <a:pt x="163" y="525"/>
                    <a:pt x="163" y="525"/>
                  </a:cubicBezTo>
                  <a:cubicBezTo>
                    <a:pt x="164" y="525"/>
                    <a:pt x="165" y="526"/>
                    <a:pt x="165" y="526"/>
                  </a:cubicBezTo>
                  <a:cubicBezTo>
                    <a:pt x="169" y="530"/>
                    <a:pt x="172" y="538"/>
                    <a:pt x="174" y="545"/>
                  </a:cubicBezTo>
                  <a:cubicBezTo>
                    <a:pt x="176" y="552"/>
                    <a:pt x="179" y="552"/>
                    <a:pt x="181" y="552"/>
                  </a:cubicBezTo>
                  <a:cubicBezTo>
                    <a:pt x="181" y="552"/>
                    <a:pt x="182" y="552"/>
                    <a:pt x="183" y="552"/>
                  </a:cubicBezTo>
                  <a:cubicBezTo>
                    <a:pt x="184" y="552"/>
                    <a:pt x="184" y="552"/>
                    <a:pt x="184" y="552"/>
                  </a:cubicBezTo>
                  <a:cubicBezTo>
                    <a:pt x="188" y="552"/>
                    <a:pt x="192" y="551"/>
                    <a:pt x="192" y="543"/>
                  </a:cubicBezTo>
                  <a:cubicBezTo>
                    <a:pt x="192" y="536"/>
                    <a:pt x="194" y="528"/>
                    <a:pt x="197" y="523"/>
                  </a:cubicBezTo>
                  <a:cubicBezTo>
                    <a:pt x="197" y="522"/>
                    <a:pt x="198" y="522"/>
                    <a:pt x="198" y="522"/>
                  </a:cubicBezTo>
                  <a:cubicBezTo>
                    <a:pt x="200" y="522"/>
                    <a:pt x="200" y="522"/>
                    <a:pt x="200" y="522"/>
                  </a:cubicBezTo>
                  <a:cubicBezTo>
                    <a:pt x="202" y="521"/>
                    <a:pt x="205" y="521"/>
                    <a:pt x="207" y="520"/>
                  </a:cubicBezTo>
                  <a:cubicBezTo>
                    <a:pt x="208" y="520"/>
                    <a:pt x="209" y="520"/>
                    <a:pt x="209" y="521"/>
                  </a:cubicBezTo>
                  <a:cubicBezTo>
                    <a:pt x="214" y="524"/>
                    <a:pt x="218" y="532"/>
                    <a:pt x="221" y="538"/>
                  </a:cubicBezTo>
                  <a:cubicBezTo>
                    <a:pt x="224" y="544"/>
                    <a:pt x="226" y="544"/>
                    <a:pt x="227" y="544"/>
                  </a:cubicBezTo>
                  <a:cubicBezTo>
                    <a:pt x="229" y="544"/>
                    <a:pt x="230" y="544"/>
                    <a:pt x="231" y="543"/>
                  </a:cubicBezTo>
                  <a:cubicBezTo>
                    <a:pt x="232" y="543"/>
                    <a:pt x="232" y="543"/>
                    <a:pt x="232" y="543"/>
                  </a:cubicBezTo>
                  <a:cubicBezTo>
                    <a:pt x="236" y="542"/>
                    <a:pt x="239" y="541"/>
                    <a:pt x="238" y="533"/>
                  </a:cubicBezTo>
                  <a:cubicBezTo>
                    <a:pt x="238" y="526"/>
                    <a:pt x="238" y="518"/>
                    <a:pt x="240" y="512"/>
                  </a:cubicBezTo>
                  <a:cubicBezTo>
                    <a:pt x="240" y="512"/>
                    <a:pt x="241" y="511"/>
                    <a:pt x="242" y="511"/>
                  </a:cubicBezTo>
                  <a:cubicBezTo>
                    <a:pt x="244" y="510"/>
                    <a:pt x="247" y="509"/>
                    <a:pt x="250" y="508"/>
                  </a:cubicBezTo>
                  <a:cubicBezTo>
                    <a:pt x="251" y="508"/>
                    <a:pt x="252" y="508"/>
                    <a:pt x="252" y="508"/>
                  </a:cubicBezTo>
                  <a:cubicBezTo>
                    <a:pt x="257" y="511"/>
                    <a:pt x="263" y="518"/>
                    <a:pt x="267" y="523"/>
                  </a:cubicBezTo>
                  <a:cubicBezTo>
                    <a:pt x="270" y="528"/>
                    <a:pt x="272" y="528"/>
                    <a:pt x="273" y="528"/>
                  </a:cubicBezTo>
                  <a:cubicBezTo>
                    <a:pt x="274" y="528"/>
                    <a:pt x="276" y="528"/>
                    <a:pt x="277" y="527"/>
                  </a:cubicBezTo>
                  <a:cubicBezTo>
                    <a:pt x="279" y="527"/>
                    <a:pt x="279" y="527"/>
                    <a:pt x="279" y="527"/>
                  </a:cubicBezTo>
                  <a:cubicBezTo>
                    <a:pt x="282" y="525"/>
                    <a:pt x="285" y="524"/>
                    <a:pt x="283" y="516"/>
                  </a:cubicBezTo>
                  <a:cubicBezTo>
                    <a:pt x="281" y="510"/>
                    <a:pt x="280" y="501"/>
                    <a:pt x="281" y="495"/>
                  </a:cubicBezTo>
                  <a:cubicBezTo>
                    <a:pt x="281" y="495"/>
                    <a:pt x="282" y="494"/>
                    <a:pt x="282" y="494"/>
                  </a:cubicBezTo>
                  <a:cubicBezTo>
                    <a:pt x="285" y="492"/>
                    <a:pt x="288" y="491"/>
                    <a:pt x="290" y="489"/>
                  </a:cubicBezTo>
                  <a:cubicBezTo>
                    <a:pt x="291" y="489"/>
                    <a:pt x="292" y="489"/>
                    <a:pt x="293" y="489"/>
                  </a:cubicBezTo>
                  <a:cubicBezTo>
                    <a:pt x="298" y="491"/>
                    <a:pt x="305" y="497"/>
                    <a:pt x="309" y="502"/>
                  </a:cubicBezTo>
                  <a:cubicBezTo>
                    <a:pt x="312" y="505"/>
                    <a:pt x="314" y="506"/>
                    <a:pt x="316" y="506"/>
                  </a:cubicBezTo>
                  <a:cubicBezTo>
                    <a:pt x="317" y="506"/>
                    <a:pt x="319" y="505"/>
                    <a:pt x="320" y="504"/>
                  </a:cubicBezTo>
                  <a:cubicBezTo>
                    <a:pt x="321" y="503"/>
                    <a:pt x="321" y="503"/>
                    <a:pt x="321" y="503"/>
                  </a:cubicBezTo>
                  <a:cubicBezTo>
                    <a:pt x="325" y="501"/>
                    <a:pt x="327" y="499"/>
                    <a:pt x="324" y="492"/>
                  </a:cubicBezTo>
                  <a:cubicBezTo>
                    <a:pt x="321" y="486"/>
                    <a:pt x="319" y="478"/>
                    <a:pt x="319" y="472"/>
                  </a:cubicBezTo>
                  <a:cubicBezTo>
                    <a:pt x="319" y="471"/>
                    <a:pt x="320" y="471"/>
                    <a:pt x="320" y="470"/>
                  </a:cubicBezTo>
                  <a:cubicBezTo>
                    <a:pt x="323" y="468"/>
                    <a:pt x="325" y="466"/>
                    <a:pt x="328" y="464"/>
                  </a:cubicBezTo>
                  <a:cubicBezTo>
                    <a:pt x="328" y="464"/>
                    <a:pt x="329" y="464"/>
                    <a:pt x="330" y="464"/>
                  </a:cubicBezTo>
                  <a:cubicBezTo>
                    <a:pt x="335" y="465"/>
                    <a:pt x="343" y="470"/>
                    <a:pt x="348" y="474"/>
                  </a:cubicBezTo>
                  <a:cubicBezTo>
                    <a:pt x="350" y="476"/>
                    <a:pt x="352" y="477"/>
                    <a:pt x="354" y="477"/>
                  </a:cubicBezTo>
                  <a:cubicBezTo>
                    <a:pt x="356" y="477"/>
                    <a:pt x="358" y="476"/>
                    <a:pt x="359" y="474"/>
                  </a:cubicBezTo>
                  <a:cubicBezTo>
                    <a:pt x="360" y="473"/>
                    <a:pt x="360" y="473"/>
                    <a:pt x="360" y="473"/>
                  </a:cubicBezTo>
                  <a:cubicBezTo>
                    <a:pt x="363" y="471"/>
                    <a:pt x="366" y="469"/>
                    <a:pt x="361" y="462"/>
                  </a:cubicBezTo>
                  <a:cubicBezTo>
                    <a:pt x="357" y="456"/>
                    <a:pt x="353" y="448"/>
                    <a:pt x="353" y="443"/>
                  </a:cubicBezTo>
                  <a:cubicBezTo>
                    <a:pt x="353" y="442"/>
                    <a:pt x="353" y="441"/>
                    <a:pt x="354" y="441"/>
                  </a:cubicBezTo>
                  <a:cubicBezTo>
                    <a:pt x="356" y="439"/>
                    <a:pt x="358" y="436"/>
                    <a:pt x="360" y="434"/>
                  </a:cubicBezTo>
                  <a:cubicBezTo>
                    <a:pt x="361" y="434"/>
                    <a:pt x="361" y="433"/>
                    <a:pt x="362" y="433"/>
                  </a:cubicBezTo>
                  <a:cubicBezTo>
                    <a:pt x="368" y="433"/>
                    <a:pt x="376" y="437"/>
                    <a:pt x="382" y="440"/>
                  </a:cubicBezTo>
                  <a:cubicBezTo>
                    <a:pt x="384" y="442"/>
                    <a:pt x="386" y="443"/>
                    <a:pt x="388" y="443"/>
                  </a:cubicBezTo>
                  <a:cubicBezTo>
                    <a:pt x="390" y="443"/>
                    <a:pt x="391" y="441"/>
                    <a:pt x="393" y="439"/>
                  </a:cubicBezTo>
                  <a:cubicBezTo>
                    <a:pt x="394" y="438"/>
                    <a:pt x="394" y="438"/>
                    <a:pt x="394" y="438"/>
                  </a:cubicBezTo>
                  <a:cubicBezTo>
                    <a:pt x="396" y="435"/>
                    <a:pt x="398" y="432"/>
                    <a:pt x="393" y="427"/>
                  </a:cubicBezTo>
                  <a:cubicBezTo>
                    <a:pt x="388" y="422"/>
                    <a:pt x="383" y="414"/>
                    <a:pt x="382" y="409"/>
                  </a:cubicBezTo>
                  <a:cubicBezTo>
                    <a:pt x="382" y="408"/>
                    <a:pt x="382" y="407"/>
                    <a:pt x="382" y="407"/>
                  </a:cubicBezTo>
                  <a:cubicBezTo>
                    <a:pt x="384" y="404"/>
                    <a:pt x="386" y="402"/>
                    <a:pt x="388" y="399"/>
                  </a:cubicBezTo>
                  <a:cubicBezTo>
                    <a:pt x="388" y="399"/>
                    <a:pt x="389" y="398"/>
                    <a:pt x="389" y="398"/>
                  </a:cubicBezTo>
                  <a:cubicBezTo>
                    <a:pt x="394" y="397"/>
                    <a:pt x="402" y="399"/>
                    <a:pt x="410" y="402"/>
                  </a:cubicBezTo>
                  <a:cubicBezTo>
                    <a:pt x="412" y="403"/>
                    <a:pt x="414" y="403"/>
                    <a:pt x="415" y="403"/>
                  </a:cubicBezTo>
                  <a:cubicBezTo>
                    <a:pt x="418" y="403"/>
                    <a:pt x="419" y="402"/>
                    <a:pt x="421" y="399"/>
                  </a:cubicBezTo>
                  <a:cubicBezTo>
                    <a:pt x="421" y="398"/>
                    <a:pt x="421" y="398"/>
                    <a:pt x="421" y="398"/>
                  </a:cubicBezTo>
                  <a:cubicBezTo>
                    <a:pt x="423" y="394"/>
                    <a:pt x="425" y="391"/>
                    <a:pt x="419" y="387"/>
                  </a:cubicBezTo>
                  <a:cubicBezTo>
                    <a:pt x="413" y="382"/>
                    <a:pt x="407" y="376"/>
                    <a:pt x="405" y="371"/>
                  </a:cubicBezTo>
                  <a:cubicBezTo>
                    <a:pt x="405" y="370"/>
                    <a:pt x="405" y="369"/>
                    <a:pt x="405" y="369"/>
                  </a:cubicBezTo>
                  <a:cubicBezTo>
                    <a:pt x="405" y="368"/>
                    <a:pt x="405" y="368"/>
                    <a:pt x="405" y="368"/>
                  </a:cubicBezTo>
                  <a:cubicBezTo>
                    <a:pt x="407" y="366"/>
                    <a:pt x="408" y="363"/>
                    <a:pt x="409" y="360"/>
                  </a:cubicBezTo>
                  <a:cubicBezTo>
                    <a:pt x="410" y="360"/>
                    <a:pt x="410" y="359"/>
                    <a:pt x="411" y="359"/>
                  </a:cubicBezTo>
                  <a:cubicBezTo>
                    <a:pt x="415" y="358"/>
                    <a:pt x="424" y="358"/>
                    <a:pt x="431" y="359"/>
                  </a:cubicBezTo>
                  <a:cubicBezTo>
                    <a:pt x="433" y="360"/>
                    <a:pt x="435" y="360"/>
                    <a:pt x="436" y="360"/>
                  </a:cubicBezTo>
                  <a:cubicBezTo>
                    <a:pt x="440" y="360"/>
                    <a:pt x="441" y="358"/>
                    <a:pt x="442" y="355"/>
                  </a:cubicBezTo>
                  <a:cubicBezTo>
                    <a:pt x="442" y="353"/>
                    <a:pt x="442" y="353"/>
                    <a:pt x="442" y="353"/>
                  </a:cubicBezTo>
                  <a:cubicBezTo>
                    <a:pt x="444" y="350"/>
                    <a:pt x="445" y="347"/>
                    <a:pt x="438" y="343"/>
                  </a:cubicBezTo>
                  <a:cubicBezTo>
                    <a:pt x="432" y="340"/>
                    <a:pt x="425" y="334"/>
                    <a:pt x="422" y="329"/>
                  </a:cubicBezTo>
                  <a:cubicBezTo>
                    <a:pt x="422" y="329"/>
                    <a:pt x="422" y="328"/>
                    <a:pt x="422" y="327"/>
                  </a:cubicBezTo>
                  <a:cubicBezTo>
                    <a:pt x="423" y="324"/>
                    <a:pt x="424" y="321"/>
                    <a:pt x="425" y="319"/>
                  </a:cubicBezTo>
                  <a:cubicBezTo>
                    <a:pt x="425" y="318"/>
                    <a:pt x="425" y="317"/>
                    <a:pt x="426" y="317"/>
                  </a:cubicBezTo>
                  <a:cubicBezTo>
                    <a:pt x="431" y="314"/>
                    <a:pt x="439" y="314"/>
                    <a:pt x="443" y="314"/>
                  </a:cubicBezTo>
                  <a:cubicBezTo>
                    <a:pt x="444" y="314"/>
                    <a:pt x="445" y="314"/>
                    <a:pt x="446" y="314"/>
                  </a:cubicBezTo>
                  <a:cubicBezTo>
                    <a:pt x="447" y="314"/>
                    <a:pt x="448" y="314"/>
                    <a:pt x="448" y="314"/>
                  </a:cubicBezTo>
                  <a:cubicBezTo>
                    <a:pt x="455" y="314"/>
                    <a:pt x="455" y="311"/>
                    <a:pt x="456" y="308"/>
                  </a:cubicBezTo>
                  <a:cubicBezTo>
                    <a:pt x="456" y="307"/>
                    <a:pt x="456" y="307"/>
                    <a:pt x="456" y="307"/>
                  </a:cubicBezTo>
                  <a:cubicBezTo>
                    <a:pt x="457" y="303"/>
                    <a:pt x="458" y="300"/>
                    <a:pt x="450" y="297"/>
                  </a:cubicBezTo>
                  <a:cubicBezTo>
                    <a:pt x="444" y="295"/>
                    <a:pt x="436" y="290"/>
                    <a:pt x="432" y="286"/>
                  </a:cubicBezTo>
                  <a:cubicBezTo>
                    <a:pt x="432" y="285"/>
                    <a:pt x="432" y="285"/>
                    <a:pt x="432" y="284"/>
                  </a:cubicBezTo>
                  <a:cubicBezTo>
                    <a:pt x="432" y="281"/>
                    <a:pt x="433" y="278"/>
                    <a:pt x="433" y="275"/>
                  </a:cubicBezTo>
                  <a:cubicBezTo>
                    <a:pt x="433" y="274"/>
                    <a:pt x="434" y="274"/>
                    <a:pt x="434" y="273"/>
                  </a:cubicBezTo>
                  <a:cubicBezTo>
                    <a:pt x="439" y="270"/>
                    <a:pt x="447" y="268"/>
                    <a:pt x="454" y="267"/>
                  </a:cubicBezTo>
                  <a:cubicBezTo>
                    <a:pt x="462" y="267"/>
                    <a:pt x="462" y="263"/>
                    <a:pt x="462" y="259"/>
                  </a:cubicBezTo>
                  <a:cubicBezTo>
                    <a:pt x="462" y="258"/>
                    <a:pt x="462" y="258"/>
                    <a:pt x="462" y="258"/>
                  </a:cubicBezTo>
                  <a:cubicBezTo>
                    <a:pt x="463" y="254"/>
                    <a:pt x="463" y="251"/>
                    <a:pt x="455" y="250"/>
                  </a:cubicBezTo>
                  <a:cubicBezTo>
                    <a:pt x="448" y="248"/>
                    <a:pt x="440" y="245"/>
                    <a:pt x="436" y="242"/>
                  </a:cubicBezTo>
                  <a:cubicBezTo>
                    <a:pt x="435" y="241"/>
                    <a:pt x="435" y="240"/>
                    <a:pt x="435" y="240"/>
                  </a:cubicBezTo>
                  <a:cubicBezTo>
                    <a:pt x="435" y="237"/>
                    <a:pt x="435" y="234"/>
                    <a:pt x="435" y="231"/>
                  </a:cubicBezTo>
                  <a:cubicBezTo>
                    <a:pt x="435" y="230"/>
                    <a:pt x="435" y="230"/>
                    <a:pt x="435" y="230"/>
                  </a:cubicBezTo>
                  <a:cubicBezTo>
                    <a:pt x="435" y="230"/>
                    <a:pt x="435" y="229"/>
                    <a:pt x="435" y="229"/>
                  </a:cubicBezTo>
                  <a:cubicBezTo>
                    <a:pt x="439" y="225"/>
                    <a:pt x="448" y="221"/>
                    <a:pt x="454" y="220"/>
                  </a:cubicBezTo>
                  <a:cubicBezTo>
                    <a:pt x="462" y="218"/>
                    <a:pt x="462" y="215"/>
                    <a:pt x="461" y="211"/>
                  </a:cubicBezTo>
                  <a:cubicBezTo>
                    <a:pt x="461" y="209"/>
                    <a:pt x="461" y="209"/>
                    <a:pt x="461" y="209"/>
                  </a:cubicBezTo>
                  <a:cubicBezTo>
                    <a:pt x="461" y="205"/>
                    <a:pt x="461" y="202"/>
                    <a:pt x="452" y="202"/>
                  </a:cubicBezTo>
                  <a:cubicBezTo>
                    <a:pt x="446" y="202"/>
                    <a:pt x="437" y="200"/>
                    <a:pt x="432" y="197"/>
                  </a:cubicBezTo>
                  <a:cubicBezTo>
                    <a:pt x="432" y="197"/>
                    <a:pt x="431" y="196"/>
                    <a:pt x="431" y="195"/>
                  </a:cubicBezTo>
                  <a:cubicBezTo>
                    <a:pt x="431" y="194"/>
                    <a:pt x="431" y="194"/>
                    <a:pt x="431" y="194"/>
                  </a:cubicBezTo>
                  <a:cubicBezTo>
                    <a:pt x="430" y="191"/>
                    <a:pt x="430" y="189"/>
                    <a:pt x="429" y="186"/>
                  </a:cubicBezTo>
                  <a:cubicBezTo>
                    <a:pt x="429" y="186"/>
                    <a:pt x="429" y="185"/>
                    <a:pt x="430" y="184"/>
                  </a:cubicBezTo>
                  <a:cubicBezTo>
                    <a:pt x="433" y="180"/>
                    <a:pt x="441" y="175"/>
                    <a:pt x="447" y="173"/>
                  </a:cubicBezTo>
                  <a:cubicBezTo>
                    <a:pt x="454" y="169"/>
                    <a:pt x="454" y="166"/>
                    <a:pt x="452" y="163"/>
                  </a:cubicBezTo>
                  <a:cubicBezTo>
                    <a:pt x="452" y="161"/>
                    <a:pt x="452" y="161"/>
                    <a:pt x="452" y="161"/>
                  </a:cubicBezTo>
                  <a:cubicBezTo>
                    <a:pt x="451" y="158"/>
                    <a:pt x="451" y="155"/>
                    <a:pt x="445" y="155"/>
                  </a:cubicBezTo>
                  <a:cubicBezTo>
                    <a:pt x="444" y="155"/>
                    <a:pt x="443" y="155"/>
                    <a:pt x="442" y="155"/>
                  </a:cubicBezTo>
                  <a:cubicBezTo>
                    <a:pt x="440" y="156"/>
                    <a:pt x="438" y="156"/>
                    <a:pt x="435" y="156"/>
                  </a:cubicBezTo>
                  <a:cubicBezTo>
                    <a:pt x="431" y="156"/>
                    <a:pt x="426" y="155"/>
                    <a:pt x="422" y="154"/>
                  </a:cubicBezTo>
                  <a:cubicBezTo>
                    <a:pt x="421" y="153"/>
                    <a:pt x="420" y="153"/>
                    <a:pt x="420" y="152"/>
                  </a:cubicBezTo>
                  <a:cubicBezTo>
                    <a:pt x="419" y="149"/>
                    <a:pt x="418" y="146"/>
                    <a:pt x="417" y="143"/>
                  </a:cubicBezTo>
                  <a:cubicBezTo>
                    <a:pt x="417" y="143"/>
                    <a:pt x="417" y="142"/>
                    <a:pt x="417" y="141"/>
                  </a:cubicBezTo>
                  <a:cubicBezTo>
                    <a:pt x="420" y="136"/>
                    <a:pt x="427" y="131"/>
                    <a:pt x="432" y="127"/>
                  </a:cubicBezTo>
                  <a:cubicBezTo>
                    <a:pt x="439" y="123"/>
                    <a:pt x="438" y="120"/>
                    <a:pt x="436" y="116"/>
                  </a:cubicBezTo>
                  <a:cubicBezTo>
                    <a:pt x="436" y="115"/>
                    <a:pt x="436" y="115"/>
                    <a:pt x="436" y="115"/>
                  </a:cubicBezTo>
                  <a:cubicBezTo>
                    <a:pt x="434" y="112"/>
                    <a:pt x="433" y="110"/>
                    <a:pt x="430" y="110"/>
                  </a:cubicBezTo>
                  <a:cubicBezTo>
                    <a:pt x="429" y="110"/>
                    <a:pt x="427" y="110"/>
                    <a:pt x="425" y="111"/>
                  </a:cubicBezTo>
                  <a:cubicBezTo>
                    <a:pt x="420" y="112"/>
                    <a:pt x="415" y="113"/>
                    <a:pt x="410" y="113"/>
                  </a:cubicBezTo>
                  <a:cubicBezTo>
                    <a:pt x="408" y="113"/>
                    <a:pt x="406" y="113"/>
                    <a:pt x="405" y="113"/>
                  </a:cubicBezTo>
                  <a:cubicBezTo>
                    <a:pt x="404" y="112"/>
                    <a:pt x="403" y="112"/>
                    <a:pt x="403" y="111"/>
                  </a:cubicBezTo>
                  <a:cubicBezTo>
                    <a:pt x="402" y="109"/>
                    <a:pt x="400" y="106"/>
                    <a:pt x="398" y="103"/>
                  </a:cubicBezTo>
                  <a:cubicBezTo>
                    <a:pt x="398" y="102"/>
                    <a:pt x="398" y="102"/>
                    <a:pt x="398" y="101"/>
                  </a:cubicBezTo>
                  <a:cubicBezTo>
                    <a:pt x="400" y="96"/>
                    <a:pt x="406" y="89"/>
                    <a:pt x="411" y="85"/>
                  </a:cubicBezTo>
                  <a:cubicBezTo>
                    <a:pt x="417" y="79"/>
                    <a:pt x="415" y="77"/>
                    <a:pt x="413" y="73"/>
                  </a:cubicBezTo>
                  <a:cubicBezTo>
                    <a:pt x="412" y="72"/>
                    <a:pt x="412" y="72"/>
                    <a:pt x="412" y="72"/>
                  </a:cubicBezTo>
                  <a:cubicBezTo>
                    <a:pt x="411" y="70"/>
                    <a:pt x="410" y="68"/>
                    <a:pt x="407" y="68"/>
                  </a:cubicBezTo>
                  <a:cubicBezTo>
                    <a:pt x="405" y="68"/>
                    <a:pt x="404" y="69"/>
                    <a:pt x="401" y="70"/>
                  </a:cubicBezTo>
                  <a:cubicBezTo>
                    <a:pt x="394" y="73"/>
                    <a:pt x="386" y="75"/>
                    <a:pt x="381" y="75"/>
                  </a:cubicBezTo>
                  <a:cubicBezTo>
                    <a:pt x="380" y="74"/>
                    <a:pt x="380" y="74"/>
                    <a:pt x="379" y="74"/>
                  </a:cubicBezTo>
                  <a:cubicBezTo>
                    <a:pt x="378" y="71"/>
                    <a:pt x="376" y="69"/>
                    <a:pt x="374" y="67"/>
                  </a:cubicBezTo>
                  <a:cubicBezTo>
                    <a:pt x="374" y="66"/>
                    <a:pt x="374" y="66"/>
                    <a:pt x="374" y="66"/>
                  </a:cubicBezTo>
                  <a:cubicBezTo>
                    <a:pt x="373" y="66"/>
                    <a:pt x="373" y="65"/>
                    <a:pt x="373" y="64"/>
                  </a:cubicBezTo>
                  <a:cubicBezTo>
                    <a:pt x="374" y="59"/>
                    <a:pt x="379" y="51"/>
                    <a:pt x="383" y="46"/>
                  </a:cubicBezTo>
                  <a:cubicBezTo>
                    <a:pt x="388" y="40"/>
                    <a:pt x="386" y="37"/>
                    <a:pt x="383" y="35"/>
                  </a:cubicBezTo>
                  <a:cubicBezTo>
                    <a:pt x="383" y="34"/>
                    <a:pt x="383" y="34"/>
                    <a:pt x="383" y="34"/>
                  </a:cubicBezTo>
                  <a:cubicBezTo>
                    <a:pt x="381" y="32"/>
                    <a:pt x="380" y="30"/>
                    <a:pt x="377" y="30"/>
                  </a:cubicBezTo>
                  <a:cubicBezTo>
                    <a:pt x="376" y="30"/>
                    <a:pt x="374" y="31"/>
                    <a:pt x="371" y="33"/>
                  </a:cubicBezTo>
                  <a:cubicBezTo>
                    <a:pt x="366" y="36"/>
                    <a:pt x="358" y="40"/>
                    <a:pt x="352" y="41"/>
                  </a:cubicBezTo>
                  <a:cubicBezTo>
                    <a:pt x="351" y="41"/>
                    <a:pt x="351" y="40"/>
                    <a:pt x="350" y="40"/>
                  </a:cubicBezTo>
                  <a:cubicBezTo>
                    <a:pt x="348" y="38"/>
                    <a:pt x="346" y="36"/>
                    <a:pt x="343" y="34"/>
                  </a:cubicBezTo>
                  <a:cubicBezTo>
                    <a:pt x="343" y="33"/>
                    <a:pt x="343" y="32"/>
                    <a:pt x="343" y="32"/>
                  </a:cubicBezTo>
                  <a:cubicBezTo>
                    <a:pt x="343" y="26"/>
                    <a:pt x="346" y="18"/>
                    <a:pt x="349" y="12"/>
                  </a:cubicBezTo>
                  <a:cubicBezTo>
                    <a:pt x="354" y="5"/>
                    <a:pt x="351" y="3"/>
                    <a:pt x="348" y="1"/>
                  </a:cubicBezTo>
                  <a:cubicBezTo>
                    <a:pt x="348" y="0"/>
                    <a:pt x="348" y="0"/>
                    <a:pt x="348" y="0"/>
                  </a:cubicBezTo>
                  <a:cubicBezTo>
                    <a:pt x="152" y="93"/>
                    <a:pt x="14" y="287"/>
                    <a:pt x="0" y="51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4" name="Freeform 21393">
              <a:extLst>
                <a:ext uri="{FF2B5EF4-FFF2-40B4-BE49-F238E27FC236}">
                  <a16:creationId xmlns:a16="http://schemas.microsoft.com/office/drawing/2014/main" id="{300ED3BA-4C8F-4930-8FBE-D1C609C52C6C}"/>
                </a:ext>
              </a:extLst>
            </p:cNvPr>
            <p:cNvSpPr>
              <a:spLocks/>
            </p:cNvSpPr>
            <p:nvPr userDrawn="1"/>
          </p:nvSpPr>
          <p:spPr bwMode="auto">
            <a:xfrm>
              <a:off x="7867015" y="3345815"/>
              <a:ext cx="819150" cy="941388"/>
            </a:xfrm>
            <a:custGeom>
              <a:avLst/>
              <a:gdLst>
                <a:gd name="T0" fmla="*/ 0 w 405"/>
                <a:gd name="T1" fmla="*/ 422 h 467"/>
                <a:gd name="T2" fmla="*/ 144 w 405"/>
                <a:gd name="T3" fmla="*/ 467 h 467"/>
                <a:gd name="T4" fmla="*/ 342 w 405"/>
                <a:gd name="T5" fmla="*/ 373 h 467"/>
                <a:gd name="T6" fmla="*/ 398 w 405"/>
                <a:gd name="T7" fmla="*/ 186 h 467"/>
                <a:gd name="T8" fmla="*/ 305 w 405"/>
                <a:gd name="T9" fmla="*/ 14 h 467"/>
                <a:gd name="T10" fmla="*/ 286 w 405"/>
                <a:gd name="T11" fmla="*/ 0 h 467"/>
                <a:gd name="T12" fmla="*/ 0 w 405"/>
                <a:gd name="T13" fmla="*/ 422 h 467"/>
              </a:gdLst>
              <a:ahLst/>
              <a:cxnLst>
                <a:cxn ang="0">
                  <a:pos x="T0" y="T1"/>
                </a:cxn>
                <a:cxn ang="0">
                  <a:pos x="T2" y="T3"/>
                </a:cxn>
                <a:cxn ang="0">
                  <a:pos x="T4" y="T5"/>
                </a:cxn>
                <a:cxn ang="0">
                  <a:pos x="T6" y="T7"/>
                </a:cxn>
                <a:cxn ang="0">
                  <a:pos x="T8" y="T9"/>
                </a:cxn>
                <a:cxn ang="0">
                  <a:pos x="T10" y="T11"/>
                </a:cxn>
                <a:cxn ang="0">
                  <a:pos x="T12" y="T13"/>
                </a:cxn>
              </a:cxnLst>
              <a:rect l="0" t="0" r="r" b="b"/>
              <a:pathLst>
                <a:path w="405" h="467">
                  <a:moveTo>
                    <a:pt x="0" y="422"/>
                  </a:moveTo>
                  <a:cubicBezTo>
                    <a:pt x="42" y="451"/>
                    <a:pt x="93" y="467"/>
                    <a:pt x="144" y="467"/>
                  </a:cubicBezTo>
                  <a:cubicBezTo>
                    <a:pt x="222" y="467"/>
                    <a:pt x="294" y="433"/>
                    <a:pt x="342" y="373"/>
                  </a:cubicBezTo>
                  <a:cubicBezTo>
                    <a:pt x="385" y="320"/>
                    <a:pt x="405" y="254"/>
                    <a:pt x="398" y="186"/>
                  </a:cubicBezTo>
                  <a:cubicBezTo>
                    <a:pt x="391" y="118"/>
                    <a:pt x="358" y="57"/>
                    <a:pt x="305" y="14"/>
                  </a:cubicBezTo>
                  <a:cubicBezTo>
                    <a:pt x="299" y="9"/>
                    <a:pt x="292" y="4"/>
                    <a:pt x="286" y="0"/>
                  </a:cubicBezTo>
                  <a:cubicBezTo>
                    <a:pt x="136" y="91"/>
                    <a:pt x="29" y="243"/>
                    <a:pt x="0" y="422"/>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5" name="Freeform 21394">
              <a:extLst>
                <a:ext uri="{FF2B5EF4-FFF2-40B4-BE49-F238E27FC236}">
                  <a16:creationId xmlns:a16="http://schemas.microsoft.com/office/drawing/2014/main" id="{85E50076-0031-4CAD-962F-ED3604C6FADE}"/>
                </a:ext>
              </a:extLst>
            </p:cNvPr>
            <p:cNvSpPr>
              <a:spLocks/>
            </p:cNvSpPr>
            <p:nvPr userDrawn="1"/>
          </p:nvSpPr>
          <p:spPr bwMode="auto">
            <a:xfrm>
              <a:off x="7862253" y="4560253"/>
              <a:ext cx="371475" cy="650875"/>
            </a:xfrm>
            <a:custGeom>
              <a:avLst/>
              <a:gdLst>
                <a:gd name="T0" fmla="*/ 148 w 184"/>
                <a:gd name="T1" fmla="*/ 323 h 323"/>
                <a:gd name="T2" fmla="*/ 179 w 184"/>
                <a:gd name="T3" fmla="*/ 188 h 323"/>
                <a:gd name="T4" fmla="*/ 102 w 184"/>
                <a:gd name="T5" fmla="*/ 45 h 323"/>
                <a:gd name="T6" fmla="*/ 0 w 184"/>
                <a:gd name="T7" fmla="*/ 0 h 323"/>
                <a:gd name="T8" fmla="*/ 148 w 184"/>
                <a:gd name="T9" fmla="*/ 323 h 323"/>
              </a:gdLst>
              <a:ahLst/>
              <a:cxnLst>
                <a:cxn ang="0">
                  <a:pos x="T0" y="T1"/>
                </a:cxn>
                <a:cxn ang="0">
                  <a:pos x="T2" y="T3"/>
                </a:cxn>
                <a:cxn ang="0">
                  <a:pos x="T4" y="T5"/>
                </a:cxn>
                <a:cxn ang="0">
                  <a:pos x="T6" y="T7"/>
                </a:cxn>
                <a:cxn ang="0">
                  <a:pos x="T8" y="T9"/>
                </a:cxn>
              </a:cxnLst>
              <a:rect l="0" t="0" r="r" b="b"/>
              <a:pathLst>
                <a:path w="184" h="323">
                  <a:moveTo>
                    <a:pt x="148" y="323"/>
                  </a:moveTo>
                  <a:cubicBezTo>
                    <a:pt x="173" y="283"/>
                    <a:pt x="184" y="236"/>
                    <a:pt x="179" y="188"/>
                  </a:cubicBezTo>
                  <a:cubicBezTo>
                    <a:pt x="174" y="131"/>
                    <a:pt x="146" y="80"/>
                    <a:pt x="102" y="45"/>
                  </a:cubicBezTo>
                  <a:cubicBezTo>
                    <a:pt x="73" y="21"/>
                    <a:pt x="37" y="5"/>
                    <a:pt x="0" y="0"/>
                  </a:cubicBezTo>
                  <a:cubicBezTo>
                    <a:pt x="17" y="123"/>
                    <a:pt x="70" y="234"/>
                    <a:pt x="148" y="323"/>
                  </a:cubicBezTo>
                </a:path>
              </a:pathLst>
            </a:custGeom>
            <a:solidFill>
              <a:srgbClr val="39C0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6" name="Freeform 21395">
              <a:extLst>
                <a:ext uri="{FF2B5EF4-FFF2-40B4-BE49-F238E27FC236}">
                  <a16:creationId xmlns:a16="http://schemas.microsoft.com/office/drawing/2014/main" id="{FE52B54F-7D39-49B5-A513-43B5F3E82565}"/>
                </a:ext>
              </a:extLst>
            </p:cNvPr>
            <p:cNvSpPr>
              <a:spLocks/>
            </p:cNvSpPr>
            <p:nvPr userDrawn="1"/>
          </p:nvSpPr>
          <p:spPr bwMode="auto">
            <a:xfrm>
              <a:off x="9843453" y="4304665"/>
              <a:ext cx="469900" cy="863600"/>
            </a:xfrm>
            <a:custGeom>
              <a:avLst/>
              <a:gdLst>
                <a:gd name="T0" fmla="*/ 82 w 233"/>
                <a:gd name="T1" fmla="*/ 90 h 429"/>
                <a:gd name="T2" fmla="*/ 98 w 233"/>
                <a:gd name="T3" fmla="*/ 429 h 429"/>
                <a:gd name="T4" fmla="*/ 233 w 233"/>
                <a:gd name="T5" fmla="*/ 46 h 429"/>
                <a:gd name="T6" fmla="*/ 231 w 233"/>
                <a:gd name="T7" fmla="*/ 0 h 429"/>
                <a:gd name="T8" fmla="*/ 82 w 233"/>
                <a:gd name="T9" fmla="*/ 90 h 429"/>
              </a:gdLst>
              <a:ahLst/>
              <a:cxnLst>
                <a:cxn ang="0">
                  <a:pos x="T0" y="T1"/>
                </a:cxn>
                <a:cxn ang="0">
                  <a:pos x="T2" y="T3"/>
                </a:cxn>
                <a:cxn ang="0">
                  <a:pos x="T4" y="T5"/>
                </a:cxn>
                <a:cxn ang="0">
                  <a:pos x="T6" y="T7"/>
                </a:cxn>
                <a:cxn ang="0">
                  <a:pos x="T8" y="T9"/>
                </a:cxn>
              </a:cxnLst>
              <a:rect l="0" t="0" r="r" b="b"/>
              <a:pathLst>
                <a:path w="233" h="429">
                  <a:moveTo>
                    <a:pt x="82" y="90"/>
                  </a:moveTo>
                  <a:cubicBezTo>
                    <a:pt x="0" y="191"/>
                    <a:pt x="8" y="338"/>
                    <a:pt x="98" y="429"/>
                  </a:cubicBezTo>
                  <a:cubicBezTo>
                    <a:pt x="182" y="324"/>
                    <a:pt x="233" y="191"/>
                    <a:pt x="233" y="46"/>
                  </a:cubicBezTo>
                  <a:cubicBezTo>
                    <a:pt x="233" y="31"/>
                    <a:pt x="232" y="15"/>
                    <a:pt x="231" y="0"/>
                  </a:cubicBezTo>
                  <a:cubicBezTo>
                    <a:pt x="173" y="11"/>
                    <a:pt x="120" y="43"/>
                    <a:pt x="82" y="90"/>
                  </a:cubicBezTo>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7" name="Freeform 21396">
              <a:extLst>
                <a:ext uri="{FF2B5EF4-FFF2-40B4-BE49-F238E27FC236}">
                  <a16:creationId xmlns:a16="http://schemas.microsoft.com/office/drawing/2014/main" id="{9DB2FE75-56C0-4CED-82DA-38D6763E9A29}"/>
                </a:ext>
              </a:extLst>
            </p:cNvPr>
            <p:cNvSpPr>
              <a:spLocks/>
            </p:cNvSpPr>
            <p:nvPr userDrawn="1"/>
          </p:nvSpPr>
          <p:spPr bwMode="auto">
            <a:xfrm>
              <a:off x="9624378" y="3507740"/>
              <a:ext cx="669925" cy="757238"/>
            </a:xfrm>
            <a:custGeom>
              <a:avLst/>
              <a:gdLst>
                <a:gd name="T0" fmla="*/ 177 w 331"/>
                <a:gd name="T1" fmla="*/ 20 h 376"/>
                <a:gd name="T2" fmla="*/ 156 w 331"/>
                <a:gd name="T3" fmla="*/ 11 h 376"/>
                <a:gd name="T4" fmla="*/ 135 w 331"/>
                <a:gd name="T5" fmla="*/ 16 h 376"/>
                <a:gd name="T6" fmla="*/ 112 w 331"/>
                <a:gd name="T7" fmla="*/ 26 h 376"/>
                <a:gd name="T8" fmla="*/ 92 w 331"/>
                <a:gd name="T9" fmla="*/ 36 h 376"/>
                <a:gd name="T10" fmla="*/ 73 w 331"/>
                <a:gd name="T11" fmla="*/ 52 h 376"/>
                <a:gd name="T12" fmla="*/ 57 w 331"/>
                <a:gd name="T13" fmla="*/ 67 h 376"/>
                <a:gd name="T14" fmla="*/ 41 w 331"/>
                <a:gd name="T15" fmla="*/ 87 h 376"/>
                <a:gd name="T16" fmla="*/ 30 w 331"/>
                <a:gd name="T17" fmla="*/ 107 h 376"/>
                <a:gd name="T18" fmla="*/ 20 w 331"/>
                <a:gd name="T19" fmla="*/ 129 h 376"/>
                <a:gd name="T20" fmla="*/ 15 w 331"/>
                <a:gd name="T21" fmla="*/ 151 h 376"/>
                <a:gd name="T22" fmla="*/ 12 w 331"/>
                <a:gd name="T23" fmla="*/ 175 h 376"/>
                <a:gd name="T24" fmla="*/ 12 w 331"/>
                <a:gd name="T25" fmla="*/ 197 h 376"/>
                <a:gd name="T26" fmla="*/ 15 w 331"/>
                <a:gd name="T27" fmla="*/ 222 h 376"/>
                <a:gd name="T28" fmla="*/ 21 w 331"/>
                <a:gd name="T29" fmla="*/ 243 h 376"/>
                <a:gd name="T30" fmla="*/ 30 w 331"/>
                <a:gd name="T31" fmla="*/ 266 h 376"/>
                <a:gd name="T32" fmla="*/ 41 w 331"/>
                <a:gd name="T33" fmla="*/ 285 h 376"/>
                <a:gd name="T34" fmla="*/ 56 w 331"/>
                <a:gd name="T35" fmla="*/ 305 h 376"/>
                <a:gd name="T36" fmla="*/ 72 w 331"/>
                <a:gd name="T37" fmla="*/ 320 h 376"/>
                <a:gd name="T38" fmla="*/ 91 w 331"/>
                <a:gd name="T39" fmla="*/ 335 h 376"/>
                <a:gd name="T40" fmla="*/ 110 w 331"/>
                <a:gd name="T41" fmla="*/ 346 h 376"/>
                <a:gd name="T42" fmla="*/ 133 w 331"/>
                <a:gd name="T43" fmla="*/ 356 h 376"/>
                <a:gd name="T44" fmla="*/ 154 w 331"/>
                <a:gd name="T45" fmla="*/ 361 h 376"/>
                <a:gd name="T46" fmla="*/ 179 w 331"/>
                <a:gd name="T47" fmla="*/ 365 h 376"/>
                <a:gd name="T48" fmla="*/ 191 w 331"/>
                <a:gd name="T49" fmla="*/ 375 h 376"/>
                <a:gd name="T50" fmla="*/ 209 w 331"/>
                <a:gd name="T51" fmla="*/ 344 h 376"/>
                <a:gd name="T52" fmla="*/ 239 w 331"/>
                <a:gd name="T53" fmla="*/ 369 h 376"/>
                <a:gd name="T54" fmla="*/ 250 w 331"/>
                <a:gd name="T55" fmla="*/ 334 h 376"/>
                <a:gd name="T56" fmla="*/ 285 w 331"/>
                <a:gd name="T57" fmla="*/ 350 h 376"/>
                <a:gd name="T58" fmla="*/ 286 w 331"/>
                <a:gd name="T59" fmla="*/ 313 h 376"/>
                <a:gd name="T60" fmla="*/ 324 w 331"/>
                <a:gd name="T61" fmla="*/ 320 h 376"/>
                <a:gd name="T62" fmla="*/ 315 w 331"/>
                <a:gd name="T63" fmla="*/ 28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76">
                  <a:moveTo>
                    <a:pt x="325" y="283"/>
                  </a:moveTo>
                  <a:cubicBezTo>
                    <a:pt x="298" y="183"/>
                    <a:pt x="246" y="93"/>
                    <a:pt x="177" y="20"/>
                  </a:cubicBezTo>
                  <a:cubicBezTo>
                    <a:pt x="175" y="25"/>
                    <a:pt x="172" y="28"/>
                    <a:pt x="169" y="29"/>
                  </a:cubicBezTo>
                  <a:cubicBezTo>
                    <a:pt x="165" y="27"/>
                    <a:pt x="159" y="19"/>
                    <a:pt x="156" y="11"/>
                  </a:cubicBezTo>
                  <a:cubicBezTo>
                    <a:pt x="152" y="0"/>
                    <a:pt x="147" y="2"/>
                    <a:pt x="143" y="3"/>
                  </a:cubicBezTo>
                  <a:cubicBezTo>
                    <a:pt x="139" y="4"/>
                    <a:pt x="133" y="5"/>
                    <a:pt x="135" y="16"/>
                  </a:cubicBezTo>
                  <a:cubicBezTo>
                    <a:pt x="135" y="26"/>
                    <a:pt x="133" y="38"/>
                    <a:pt x="129" y="40"/>
                  </a:cubicBezTo>
                  <a:cubicBezTo>
                    <a:pt x="124" y="39"/>
                    <a:pt x="117" y="32"/>
                    <a:pt x="112" y="26"/>
                  </a:cubicBezTo>
                  <a:cubicBezTo>
                    <a:pt x="105" y="17"/>
                    <a:pt x="101" y="20"/>
                    <a:pt x="97" y="22"/>
                  </a:cubicBezTo>
                  <a:cubicBezTo>
                    <a:pt x="93" y="24"/>
                    <a:pt x="88" y="26"/>
                    <a:pt x="92" y="36"/>
                  </a:cubicBezTo>
                  <a:cubicBezTo>
                    <a:pt x="96" y="45"/>
                    <a:pt x="97" y="57"/>
                    <a:pt x="93" y="60"/>
                  </a:cubicBezTo>
                  <a:cubicBezTo>
                    <a:pt x="88" y="61"/>
                    <a:pt x="79" y="57"/>
                    <a:pt x="73" y="52"/>
                  </a:cubicBezTo>
                  <a:cubicBezTo>
                    <a:pt x="64" y="45"/>
                    <a:pt x="61" y="49"/>
                    <a:pt x="58" y="52"/>
                  </a:cubicBezTo>
                  <a:cubicBezTo>
                    <a:pt x="54" y="55"/>
                    <a:pt x="50" y="58"/>
                    <a:pt x="57" y="67"/>
                  </a:cubicBezTo>
                  <a:cubicBezTo>
                    <a:pt x="62" y="74"/>
                    <a:pt x="66" y="84"/>
                    <a:pt x="64" y="89"/>
                  </a:cubicBezTo>
                  <a:cubicBezTo>
                    <a:pt x="60" y="92"/>
                    <a:pt x="50" y="90"/>
                    <a:pt x="41" y="87"/>
                  </a:cubicBezTo>
                  <a:cubicBezTo>
                    <a:pt x="30" y="83"/>
                    <a:pt x="29" y="88"/>
                    <a:pt x="27" y="92"/>
                  </a:cubicBezTo>
                  <a:cubicBezTo>
                    <a:pt x="24" y="96"/>
                    <a:pt x="21" y="100"/>
                    <a:pt x="30" y="107"/>
                  </a:cubicBezTo>
                  <a:cubicBezTo>
                    <a:pt x="37" y="112"/>
                    <a:pt x="43" y="119"/>
                    <a:pt x="44" y="124"/>
                  </a:cubicBezTo>
                  <a:cubicBezTo>
                    <a:pt x="42" y="128"/>
                    <a:pt x="30" y="130"/>
                    <a:pt x="20" y="129"/>
                  </a:cubicBezTo>
                  <a:cubicBezTo>
                    <a:pt x="9" y="128"/>
                    <a:pt x="9" y="133"/>
                    <a:pt x="8" y="137"/>
                  </a:cubicBezTo>
                  <a:cubicBezTo>
                    <a:pt x="6" y="142"/>
                    <a:pt x="5" y="146"/>
                    <a:pt x="15" y="151"/>
                  </a:cubicBezTo>
                  <a:cubicBezTo>
                    <a:pt x="23" y="154"/>
                    <a:pt x="31" y="160"/>
                    <a:pt x="33" y="164"/>
                  </a:cubicBezTo>
                  <a:cubicBezTo>
                    <a:pt x="32" y="169"/>
                    <a:pt x="21" y="174"/>
                    <a:pt x="12" y="175"/>
                  </a:cubicBezTo>
                  <a:cubicBezTo>
                    <a:pt x="0" y="177"/>
                    <a:pt x="1" y="182"/>
                    <a:pt x="1" y="186"/>
                  </a:cubicBezTo>
                  <a:cubicBezTo>
                    <a:pt x="1" y="191"/>
                    <a:pt x="0" y="196"/>
                    <a:pt x="12" y="197"/>
                  </a:cubicBezTo>
                  <a:cubicBezTo>
                    <a:pt x="20" y="198"/>
                    <a:pt x="29" y="202"/>
                    <a:pt x="32" y="205"/>
                  </a:cubicBezTo>
                  <a:cubicBezTo>
                    <a:pt x="33" y="210"/>
                    <a:pt x="23" y="218"/>
                    <a:pt x="15" y="222"/>
                  </a:cubicBezTo>
                  <a:cubicBezTo>
                    <a:pt x="4" y="226"/>
                    <a:pt x="6" y="231"/>
                    <a:pt x="7" y="235"/>
                  </a:cubicBezTo>
                  <a:cubicBezTo>
                    <a:pt x="9" y="239"/>
                    <a:pt x="9" y="245"/>
                    <a:pt x="21" y="243"/>
                  </a:cubicBezTo>
                  <a:cubicBezTo>
                    <a:pt x="29" y="242"/>
                    <a:pt x="39" y="243"/>
                    <a:pt x="43" y="246"/>
                  </a:cubicBezTo>
                  <a:cubicBezTo>
                    <a:pt x="44" y="250"/>
                    <a:pt x="37" y="260"/>
                    <a:pt x="30" y="266"/>
                  </a:cubicBezTo>
                  <a:cubicBezTo>
                    <a:pt x="21" y="273"/>
                    <a:pt x="24" y="277"/>
                    <a:pt x="26" y="281"/>
                  </a:cubicBezTo>
                  <a:cubicBezTo>
                    <a:pt x="29" y="285"/>
                    <a:pt x="31" y="289"/>
                    <a:pt x="41" y="285"/>
                  </a:cubicBezTo>
                  <a:cubicBezTo>
                    <a:pt x="49" y="282"/>
                    <a:pt x="58" y="280"/>
                    <a:pt x="63" y="282"/>
                  </a:cubicBezTo>
                  <a:cubicBezTo>
                    <a:pt x="66" y="286"/>
                    <a:pt x="61" y="297"/>
                    <a:pt x="56" y="305"/>
                  </a:cubicBezTo>
                  <a:cubicBezTo>
                    <a:pt x="49" y="314"/>
                    <a:pt x="53" y="317"/>
                    <a:pt x="56" y="320"/>
                  </a:cubicBezTo>
                  <a:cubicBezTo>
                    <a:pt x="59" y="323"/>
                    <a:pt x="63" y="327"/>
                    <a:pt x="72" y="320"/>
                  </a:cubicBezTo>
                  <a:cubicBezTo>
                    <a:pt x="78" y="315"/>
                    <a:pt x="87" y="311"/>
                    <a:pt x="92" y="311"/>
                  </a:cubicBezTo>
                  <a:cubicBezTo>
                    <a:pt x="96" y="315"/>
                    <a:pt x="94" y="326"/>
                    <a:pt x="91" y="335"/>
                  </a:cubicBezTo>
                  <a:cubicBezTo>
                    <a:pt x="87" y="346"/>
                    <a:pt x="92" y="348"/>
                    <a:pt x="95" y="350"/>
                  </a:cubicBezTo>
                  <a:cubicBezTo>
                    <a:pt x="99" y="352"/>
                    <a:pt x="103" y="355"/>
                    <a:pt x="110" y="346"/>
                  </a:cubicBezTo>
                  <a:cubicBezTo>
                    <a:pt x="115" y="340"/>
                    <a:pt x="123" y="333"/>
                    <a:pt x="128" y="333"/>
                  </a:cubicBezTo>
                  <a:cubicBezTo>
                    <a:pt x="132" y="335"/>
                    <a:pt x="134" y="347"/>
                    <a:pt x="133" y="356"/>
                  </a:cubicBezTo>
                  <a:cubicBezTo>
                    <a:pt x="132" y="367"/>
                    <a:pt x="137" y="368"/>
                    <a:pt x="141" y="369"/>
                  </a:cubicBezTo>
                  <a:cubicBezTo>
                    <a:pt x="145" y="370"/>
                    <a:pt x="150" y="372"/>
                    <a:pt x="154" y="361"/>
                  </a:cubicBezTo>
                  <a:cubicBezTo>
                    <a:pt x="158" y="354"/>
                    <a:pt x="163" y="346"/>
                    <a:pt x="168" y="344"/>
                  </a:cubicBezTo>
                  <a:cubicBezTo>
                    <a:pt x="172" y="345"/>
                    <a:pt x="177" y="356"/>
                    <a:pt x="179" y="365"/>
                  </a:cubicBezTo>
                  <a:cubicBezTo>
                    <a:pt x="181" y="376"/>
                    <a:pt x="186" y="376"/>
                    <a:pt x="190" y="375"/>
                  </a:cubicBezTo>
                  <a:cubicBezTo>
                    <a:pt x="190" y="375"/>
                    <a:pt x="190" y="375"/>
                    <a:pt x="191" y="375"/>
                  </a:cubicBezTo>
                  <a:cubicBezTo>
                    <a:pt x="195" y="375"/>
                    <a:pt x="200" y="375"/>
                    <a:pt x="201" y="365"/>
                  </a:cubicBezTo>
                  <a:cubicBezTo>
                    <a:pt x="202" y="357"/>
                    <a:pt x="205" y="347"/>
                    <a:pt x="209" y="344"/>
                  </a:cubicBezTo>
                  <a:cubicBezTo>
                    <a:pt x="214" y="344"/>
                    <a:pt x="221" y="353"/>
                    <a:pt x="226" y="362"/>
                  </a:cubicBezTo>
                  <a:cubicBezTo>
                    <a:pt x="230" y="372"/>
                    <a:pt x="235" y="370"/>
                    <a:pt x="239" y="369"/>
                  </a:cubicBezTo>
                  <a:cubicBezTo>
                    <a:pt x="243" y="368"/>
                    <a:pt x="248" y="367"/>
                    <a:pt x="247" y="356"/>
                  </a:cubicBezTo>
                  <a:cubicBezTo>
                    <a:pt x="246" y="348"/>
                    <a:pt x="247" y="338"/>
                    <a:pt x="250" y="334"/>
                  </a:cubicBezTo>
                  <a:cubicBezTo>
                    <a:pt x="254" y="332"/>
                    <a:pt x="264" y="339"/>
                    <a:pt x="270" y="347"/>
                  </a:cubicBezTo>
                  <a:cubicBezTo>
                    <a:pt x="277" y="356"/>
                    <a:pt x="281" y="352"/>
                    <a:pt x="285" y="350"/>
                  </a:cubicBezTo>
                  <a:cubicBezTo>
                    <a:pt x="288" y="348"/>
                    <a:pt x="293" y="346"/>
                    <a:pt x="289" y="335"/>
                  </a:cubicBezTo>
                  <a:cubicBezTo>
                    <a:pt x="286" y="328"/>
                    <a:pt x="284" y="318"/>
                    <a:pt x="286" y="313"/>
                  </a:cubicBezTo>
                  <a:cubicBezTo>
                    <a:pt x="290" y="311"/>
                    <a:pt x="301" y="315"/>
                    <a:pt x="308" y="321"/>
                  </a:cubicBezTo>
                  <a:cubicBezTo>
                    <a:pt x="318" y="328"/>
                    <a:pt x="321" y="323"/>
                    <a:pt x="324" y="320"/>
                  </a:cubicBezTo>
                  <a:cubicBezTo>
                    <a:pt x="327" y="317"/>
                    <a:pt x="331" y="314"/>
                    <a:pt x="324" y="305"/>
                  </a:cubicBezTo>
                  <a:cubicBezTo>
                    <a:pt x="318" y="298"/>
                    <a:pt x="314" y="288"/>
                    <a:pt x="315" y="283"/>
                  </a:cubicBezTo>
                  <a:cubicBezTo>
                    <a:pt x="317" y="282"/>
                    <a:pt x="321" y="282"/>
                    <a:pt x="325" y="283"/>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8" name="Freeform 21397">
              <a:extLst>
                <a:ext uri="{FF2B5EF4-FFF2-40B4-BE49-F238E27FC236}">
                  <a16:creationId xmlns:a16="http://schemas.microsoft.com/office/drawing/2014/main" id="{084CC4E2-22C1-4CEB-B7DA-6CD27B9A41F6}"/>
                </a:ext>
              </a:extLst>
            </p:cNvPr>
            <p:cNvSpPr>
              <a:spLocks/>
            </p:cNvSpPr>
            <p:nvPr userDrawn="1"/>
          </p:nvSpPr>
          <p:spPr bwMode="auto">
            <a:xfrm>
              <a:off x="9698990" y="3607753"/>
              <a:ext cx="544513" cy="574675"/>
            </a:xfrm>
            <a:custGeom>
              <a:avLst/>
              <a:gdLst>
                <a:gd name="T0" fmla="*/ 261 w 269"/>
                <a:gd name="T1" fmla="*/ 202 h 285"/>
                <a:gd name="T2" fmla="*/ 269 w 269"/>
                <a:gd name="T3" fmla="*/ 186 h 285"/>
                <a:gd name="T4" fmla="*/ 168 w 269"/>
                <a:gd name="T5" fmla="*/ 8 h 285"/>
                <a:gd name="T6" fmla="*/ 36 w 269"/>
                <a:gd name="T7" fmla="*/ 71 h 285"/>
                <a:gd name="T8" fmla="*/ 83 w 269"/>
                <a:gd name="T9" fmla="*/ 249 h 285"/>
                <a:gd name="T10" fmla="*/ 261 w 269"/>
                <a:gd name="T11" fmla="*/ 202 h 285"/>
              </a:gdLst>
              <a:ahLst/>
              <a:cxnLst>
                <a:cxn ang="0">
                  <a:pos x="T0" y="T1"/>
                </a:cxn>
                <a:cxn ang="0">
                  <a:pos x="T2" y="T3"/>
                </a:cxn>
                <a:cxn ang="0">
                  <a:pos x="T4" y="T5"/>
                </a:cxn>
                <a:cxn ang="0">
                  <a:pos x="T6" y="T7"/>
                </a:cxn>
                <a:cxn ang="0">
                  <a:pos x="T8" y="T9"/>
                </a:cxn>
                <a:cxn ang="0">
                  <a:pos x="T10" y="T11"/>
                </a:cxn>
              </a:cxnLst>
              <a:rect l="0" t="0" r="r" b="b"/>
              <a:pathLst>
                <a:path w="269" h="285">
                  <a:moveTo>
                    <a:pt x="261" y="202"/>
                  </a:moveTo>
                  <a:cubicBezTo>
                    <a:pt x="264" y="197"/>
                    <a:pt x="266" y="192"/>
                    <a:pt x="269" y="186"/>
                  </a:cubicBezTo>
                  <a:cubicBezTo>
                    <a:pt x="245" y="121"/>
                    <a:pt x="211" y="61"/>
                    <a:pt x="168" y="8"/>
                  </a:cubicBezTo>
                  <a:cubicBezTo>
                    <a:pt x="117" y="0"/>
                    <a:pt x="64" y="23"/>
                    <a:pt x="36" y="71"/>
                  </a:cubicBezTo>
                  <a:cubicBezTo>
                    <a:pt x="0" y="133"/>
                    <a:pt x="21" y="213"/>
                    <a:pt x="83" y="249"/>
                  </a:cubicBezTo>
                  <a:cubicBezTo>
                    <a:pt x="145" y="285"/>
                    <a:pt x="225" y="264"/>
                    <a:pt x="261" y="202"/>
                  </a:cubicBezTo>
                </a:path>
              </a:pathLst>
            </a:custGeom>
            <a:solidFill>
              <a:srgbClr val="C83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9" name="Freeform 21398">
              <a:extLst>
                <a:ext uri="{FF2B5EF4-FFF2-40B4-BE49-F238E27FC236}">
                  <a16:creationId xmlns:a16="http://schemas.microsoft.com/office/drawing/2014/main" id="{266B042E-9876-49AE-83D5-763513D12568}"/>
                </a:ext>
              </a:extLst>
            </p:cNvPr>
            <p:cNvSpPr>
              <a:spLocks noEditPoints="1"/>
            </p:cNvSpPr>
            <p:nvPr userDrawn="1"/>
          </p:nvSpPr>
          <p:spPr bwMode="auto">
            <a:xfrm>
              <a:off x="9044940" y="5119053"/>
              <a:ext cx="133350" cy="152400"/>
            </a:xfrm>
            <a:custGeom>
              <a:avLst/>
              <a:gdLst>
                <a:gd name="T0" fmla="*/ 28 w 66"/>
                <a:gd name="T1" fmla="*/ 0 h 76"/>
                <a:gd name="T2" fmla="*/ 63 w 66"/>
                <a:gd name="T3" fmla="*/ 17 h 76"/>
                <a:gd name="T4" fmla="*/ 64 w 66"/>
                <a:gd name="T5" fmla="*/ 25 h 76"/>
                <a:gd name="T6" fmla="*/ 47 w 66"/>
                <a:gd name="T7" fmla="*/ 64 h 76"/>
                <a:gd name="T8" fmla="*/ 43 w 66"/>
                <a:gd name="T9" fmla="*/ 72 h 76"/>
                <a:gd name="T10" fmla="*/ 38 w 66"/>
                <a:gd name="T11" fmla="*/ 76 h 76"/>
                <a:gd name="T12" fmla="*/ 0 w 66"/>
                <a:gd name="T13" fmla="*/ 63 h 76"/>
                <a:gd name="T14" fmla="*/ 28 w 66"/>
                <a:gd name="T15" fmla="*/ 0 h 76"/>
                <a:gd name="T16" fmla="*/ 15 w 66"/>
                <a:gd name="T17" fmla="*/ 54 h 76"/>
                <a:gd name="T18" fmla="*/ 16 w 66"/>
                <a:gd name="T19" fmla="*/ 60 h 76"/>
                <a:gd name="T20" fmla="*/ 21 w 66"/>
                <a:gd name="T21" fmla="*/ 58 h 76"/>
                <a:gd name="T22" fmla="*/ 20 w 66"/>
                <a:gd name="T23" fmla="*/ 53 h 76"/>
                <a:gd name="T24" fmla="*/ 15 w 66"/>
                <a:gd name="T25"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28" y="0"/>
                  </a:moveTo>
                  <a:cubicBezTo>
                    <a:pt x="36" y="8"/>
                    <a:pt x="50" y="2"/>
                    <a:pt x="63" y="17"/>
                  </a:cubicBezTo>
                  <a:cubicBezTo>
                    <a:pt x="64" y="18"/>
                    <a:pt x="66" y="22"/>
                    <a:pt x="64" y="25"/>
                  </a:cubicBezTo>
                  <a:cubicBezTo>
                    <a:pt x="59" y="38"/>
                    <a:pt x="53" y="51"/>
                    <a:pt x="47" y="64"/>
                  </a:cubicBezTo>
                  <a:cubicBezTo>
                    <a:pt x="46" y="67"/>
                    <a:pt x="45" y="69"/>
                    <a:pt x="43" y="72"/>
                  </a:cubicBezTo>
                  <a:cubicBezTo>
                    <a:pt x="42" y="75"/>
                    <a:pt x="40" y="76"/>
                    <a:pt x="38" y="76"/>
                  </a:cubicBezTo>
                  <a:cubicBezTo>
                    <a:pt x="25" y="71"/>
                    <a:pt x="13" y="67"/>
                    <a:pt x="0" y="63"/>
                  </a:cubicBezTo>
                  <a:cubicBezTo>
                    <a:pt x="10" y="42"/>
                    <a:pt x="19" y="21"/>
                    <a:pt x="28" y="0"/>
                  </a:cubicBezTo>
                  <a:moveTo>
                    <a:pt x="15" y="54"/>
                  </a:moveTo>
                  <a:cubicBezTo>
                    <a:pt x="13" y="57"/>
                    <a:pt x="14" y="59"/>
                    <a:pt x="16" y="60"/>
                  </a:cubicBezTo>
                  <a:cubicBezTo>
                    <a:pt x="18" y="61"/>
                    <a:pt x="20" y="61"/>
                    <a:pt x="21" y="58"/>
                  </a:cubicBezTo>
                  <a:cubicBezTo>
                    <a:pt x="23" y="56"/>
                    <a:pt x="22" y="54"/>
                    <a:pt x="20" y="53"/>
                  </a:cubicBezTo>
                  <a:cubicBezTo>
                    <a:pt x="18" y="52"/>
                    <a:pt x="16" y="53"/>
                    <a:pt x="15" y="54"/>
                  </a:cubicBezTo>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0" name="Freeform 21399">
              <a:extLst>
                <a:ext uri="{FF2B5EF4-FFF2-40B4-BE49-F238E27FC236}">
                  <a16:creationId xmlns:a16="http://schemas.microsoft.com/office/drawing/2014/main" id="{F8D06E6B-E6E0-4D1C-B870-5239E84AB96E}"/>
                </a:ext>
              </a:extLst>
            </p:cNvPr>
            <p:cNvSpPr>
              <a:spLocks noEditPoints="1"/>
            </p:cNvSpPr>
            <p:nvPr userDrawn="1"/>
          </p:nvSpPr>
          <p:spPr bwMode="auto">
            <a:xfrm>
              <a:off x="9465628" y="5128578"/>
              <a:ext cx="127000" cy="155575"/>
            </a:xfrm>
            <a:custGeom>
              <a:avLst/>
              <a:gdLst>
                <a:gd name="T0" fmla="*/ 63 w 63"/>
                <a:gd name="T1" fmla="*/ 64 h 77"/>
                <a:gd name="T2" fmla="*/ 49 w 63"/>
                <a:gd name="T3" fmla="*/ 70 h 77"/>
                <a:gd name="T4" fmla="*/ 27 w 63"/>
                <a:gd name="T5" fmla="*/ 77 h 77"/>
                <a:gd name="T6" fmla="*/ 20 w 63"/>
                <a:gd name="T7" fmla="*/ 72 h 77"/>
                <a:gd name="T8" fmla="*/ 5 w 63"/>
                <a:gd name="T9" fmla="*/ 32 h 77"/>
                <a:gd name="T10" fmla="*/ 1 w 63"/>
                <a:gd name="T11" fmla="*/ 23 h 77"/>
                <a:gd name="T12" fmla="*/ 3 w 63"/>
                <a:gd name="T13" fmla="*/ 17 h 77"/>
                <a:gd name="T14" fmla="*/ 39 w 63"/>
                <a:gd name="T15" fmla="*/ 0 h 77"/>
                <a:gd name="T16" fmla="*/ 63 w 63"/>
                <a:gd name="T17" fmla="*/ 64 h 77"/>
                <a:gd name="T18" fmla="*/ 34 w 63"/>
                <a:gd name="T19" fmla="*/ 16 h 77"/>
                <a:gd name="T20" fmla="*/ 29 w 63"/>
                <a:gd name="T21" fmla="*/ 13 h 77"/>
                <a:gd name="T22" fmla="*/ 27 w 63"/>
                <a:gd name="T23" fmla="*/ 18 h 77"/>
                <a:gd name="T24" fmla="*/ 32 w 63"/>
                <a:gd name="T25" fmla="*/ 21 h 77"/>
                <a:gd name="T26" fmla="*/ 34 w 63"/>
                <a:gd name="T27"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77">
                  <a:moveTo>
                    <a:pt x="63" y="64"/>
                  </a:moveTo>
                  <a:cubicBezTo>
                    <a:pt x="58" y="64"/>
                    <a:pt x="54" y="67"/>
                    <a:pt x="49" y="70"/>
                  </a:cubicBezTo>
                  <a:cubicBezTo>
                    <a:pt x="44" y="74"/>
                    <a:pt x="37" y="77"/>
                    <a:pt x="27" y="77"/>
                  </a:cubicBezTo>
                  <a:cubicBezTo>
                    <a:pt x="26" y="76"/>
                    <a:pt x="21" y="74"/>
                    <a:pt x="20" y="72"/>
                  </a:cubicBezTo>
                  <a:cubicBezTo>
                    <a:pt x="15" y="59"/>
                    <a:pt x="10" y="46"/>
                    <a:pt x="5" y="32"/>
                  </a:cubicBezTo>
                  <a:cubicBezTo>
                    <a:pt x="4" y="29"/>
                    <a:pt x="3" y="26"/>
                    <a:pt x="1" y="23"/>
                  </a:cubicBezTo>
                  <a:cubicBezTo>
                    <a:pt x="0" y="21"/>
                    <a:pt x="1" y="18"/>
                    <a:pt x="3" y="17"/>
                  </a:cubicBezTo>
                  <a:cubicBezTo>
                    <a:pt x="15" y="11"/>
                    <a:pt x="27" y="6"/>
                    <a:pt x="39" y="0"/>
                  </a:cubicBezTo>
                  <a:cubicBezTo>
                    <a:pt x="47" y="21"/>
                    <a:pt x="55" y="42"/>
                    <a:pt x="63" y="64"/>
                  </a:cubicBezTo>
                  <a:moveTo>
                    <a:pt x="34" y="16"/>
                  </a:moveTo>
                  <a:cubicBezTo>
                    <a:pt x="34" y="13"/>
                    <a:pt x="31" y="12"/>
                    <a:pt x="29" y="13"/>
                  </a:cubicBezTo>
                  <a:cubicBezTo>
                    <a:pt x="27" y="14"/>
                    <a:pt x="26" y="15"/>
                    <a:pt x="27" y="18"/>
                  </a:cubicBezTo>
                  <a:cubicBezTo>
                    <a:pt x="28" y="20"/>
                    <a:pt x="29" y="21"/>
                    <a:pt x="32" y="21"/>
                  </a:cubicBezTo>
                  <a:cubicBezTo>
                    <a:pt x="34" y="20"/>
                    <a:pt x="35" y="18"/>
                    <a:pt x="34" y="16"/>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1" name="Freeform 21400">
              <a:extLst>
                <a:ext uri="{FF2B5EF4-FFF2-40B4-BE49-F238E27FC236}">
                  <a16:creationId xmlns:a16="http://schemas.microsoft.com/office/drawing/2014/main" id="{C4FEEFEB-0092-4097-BBA8-82D1ED614EE2}"/>
                </a:ext>
              </a:extLst>
            </p:cNvPr>
            <p:cNvSpPr>
              <a:spLocks/>
            </p:cNvSpPr>
            <p:nvPr userDrawn="1"/>
          </p:nvSpPr>
          <p:spPr bwMode="auto">
            <a:xfrm>
              <a:off x="9217978" y="5157153"/>
              <a:ext cx="279400" cy="160338"/>
            </a:xfrm>
            <a:custGeom>
              <a:avLst/>
              <a:gdLst>
                <a:gd name="T0" fmla="*/ 117 w 138"/>
                <a:gd name="T1" fmla="*/ 8 h 80"/>
                <a:gd name="T2" fmla="*/ 138 w 138"/>
                <a:gd name="T3" fmla="*/ 67 h 80"/>
                <a:gd name="T4" fmla="*/ 119 w 138"/>
                <a:gd name="T5" fmla="*/ 80 h 80"/>
                <a:gd name="T6" fmla="*/ 89 w 138"/>
                <a:gd name="T7" fmla="*/ 49 h 80"/>
                <a:gd name="T8" fmla="*/ 53 w 138"/>
                <a:gd name="T9" fmla="*/ 31 h 80"/>
                <a:gd name="T10" fmla="*/ 41 w 138"/>
                <a:gd name="T11" fmla="*/ 30 h 80"/>
                <a:gd name="T12" fmla="*/ 14 w 138"/>
                <a:gd name="T13" fmla="*/ 44 h 80"/>
                <a:gd name="T14" fmla="*/ 8 w 138"/>
                <a:gd name="T15" fmla="*/ 33 h 80"/>
                <a:gd name="T16" fmla="*/ 18 w 138"/>
                <a:gd name="T17" fmla="*/ 13 h 80"/>
                <a:gd name="T18" fmla="*/ 27 w 138"/>
                <a:gd name="T19" fmla="*/ 8 h 80"/>
                <a:gd name="T20" fmla="*/ 52 w 138"/>
                <a:gd name="T21" fmla="*/ 1 h 80"/>
                <a:gd name="T22" fmla="*/ 70 w 138"/>
                <a:gd name="T23" fmla="*/ 5 h 80"/>
                <a:gd name="T24" fmla="*/ 97 w 138"/>
                <a:gd name="T25" fmla="*/ 12 h 80"/>
                <a:gd name="T26" fmla="*/ 117 w 138"/>
                <a:gd name="T27"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80">
                  <a:moveTo>
                    <a:pt x="117" y="8"/>
                  </a:moveTo>
                  <a:cubicBezTo>
                    <a:pt x="138" y="67"/>
                    <a:pt x="138" y="67"/>
                    <a:pt x="138" y="67"/>
                  </a:cubicBezTo>
                  <a:cubicBezTo>
                    <a:pt x="130" y="67"/>
                    <a:pt x="119" y="80"/>
                    <a:pt x="119" y="80"/>
                  </a:cubicBezTo>
                  <a:cubicBezTo>
                    <a:pt x="89" y="49"/>
                    <a:pt x="89" y="49"/>
                    <a:pt x="89" y="49"/>
                  </a:cubicBezTo>
                  <a:cubicBezTo>
                    <a:pt x="53" y="31"/>
                    <a:pt x="53" y="31"/>
                    <a:pt x="53" y="31"/>
                  </a:cubicBezTo>
                  <a:cubicBezTo>
                    <a:pt x="41" y="30"/>
                    <a:pt x="41" y="30"/>
                    <a:pt x="41" y="30"/>
                  </a:cubicBezTo>
                  <a:cubicBezTo>
                    <a:pt x="41" y="30"/>
                    <a:pt x="27" y="47"/>
                    <a:pt x="14" y="44"/>
                  </a:cubicBezTo>
                  <a:cubicBezTo>
                    <a:pt x="0" y="42"/>
                    <a:pt x="8" y="33"/>
                    <a:pt x="8" y="33"/>
                  </a:cubicBezTo>
                  <a:cubicBezTo>
                    <a:pt x="18" y="13"/>
                    <a:pt x="18" y="13"/>
                    <a:pt x="18" y="13"/>
                  </a:cubicBezTo>
                  <a:cubicBezTo>
                    <a:pt x="18" y="13"/>
                    <a:pt x="18" y="11"/>
                    <a:pt x="27" y="8"/>
                  </a:cubicBezTo>
                  <a:cubicBezTo>
                    <a:pt x="35" y="5"/>
                    <a:pt x="52" y="1"/>
                    <a:pt x="52" y="1"/>
                  </a:cubicBezTo>
                  <a:cubicBezTo>
                    <a:pt x="52" y="1"/>
                    <a:pt x="58" y="0"/>
                    <a:pt x="70" y="5"/>
                  </a:cubicBezTo>
                  <a:cubicBezTo>
                    <a:pt x="83" y="10"/>
                    <a:pt x="97" y="12"/>
                    <a:pt x="97" y="12"/>
                  </a:cubicBezTo>
                  <a:cubicBezTo>
                    <a:pt x="117" y="8"/>
                    <a:pt x="117" y="8"/>
                    <a:pt x="1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2" name="Freeform 21401">
              <a:extLst>
                <a:ext uri="{FF2B5EF4-FFF2-40B4-BE49-F238E27FC236}">
                  <a16:creationId xmlns:a16="http://schemas.microsoft.com/office/drawing/2014/main" id="{B4A74B8D-91D6-408D-8FA9-6859EC2EABDF}"/>
                </a:ext>
              </a:extLst>
            </p:cNvPr>
            <p:cNvSpPr>
              <a:spLocks/>
            </p:cNvSpPr>
            <p:nvPr userDrawn="1"/>
          </p:nvSpPr>
          <p:spPr bwMode="auto">
            <a:xfrm>
              <a:off x="9144953" y="5171440"/>
              <a:ext cx="323850" cy="249238"/>
            </a:xfrm>
            <a:custGeom>
              <a:avLst/>
              <a:gdLst>
                <a:gd name="T0" fmla="*/ 155 w 160"/>
                <a:gd name="T1" fmla="*/ 79 h 124"/>
                <a:gd name="T2" fmla="*/ 149 w 160"/>
                <a:gd name="T3" fmla="*/ 92 h 124"/>
                <a:gd name="T4" fmla="*/ 121 w 160"/>
                <a:gd name="T5" fmla="*/ 65 h 124"/>
                <a:gd name="T6" fmla="*/ 100 w 160"/>
                <a:gd name="T7" fmla="*/ 56 h 124"/>
                <a:gd name="T8" fmla="*/ 97 w 160"/>
                <a:gd name="T9" fmla="*/ 59 h 124"/>
                <a:gd name="T10" fmla="*/ 118 w 160"/>
                <a:gd name="T11" fmla="*/ 68 h 124"/>
                <a:gd name="T12" fmla="*/ 141 w 160"/>
                <a:gd name="T13" fmla="*/ 92 h 124"/>
                <a:gd name="T14" fmla="*/ 139 w 160"/>
                <a:gd name="T15" fmla="*/ 101 h 124"/>
                <a:gd name="T16" fmla="*/ 119 w 160"/>
                <a:gd name="T17" fmla="*/ 97 h 124"/>
                <a:gd name="T18" fmla="*/ 89 w 160"/>
                <a:gd name="T19" fmla="*/ 71 h 124"/>
                <a:gd name="T20" fmla="*/ 86 w 160"/>
                <a:gd name="T21" fmla="*/ 75 h 124"/>
                <a:gd name="T22" fmla="*/ 120 w 160"/>
                <a:gd name="T23" fmla="*/ 104 h 124"/>
                <a:gd name="T24" fmla="*/ 118 w 160"/>
                <a:gd name="T25" fmla="*/ 113 h 124"/>
                <a:gd name="T26" fmla="*/ 103 w 160"/>
                <a:gd name="T27" fmla="*/ 110 h 124"/>
                <a:gd name="T28" fmla="*/ 78 w 160"/>
                <a:gd name="T29" fmla="*/ 87 h 124"/>
                <a:gd name="T30" fmla="*/ 75 w 160"/>
                <a:gd name="T31" fmla="*/ 90 h 124"/>
                <a:gd name="T32" fmla="*/ 105 w 160"/>
                <a:gd name="T33" fmla="*/ 117 h 124"/>
                <a:gd name="T34" fmla="*/ 95 w 160"/>
                <a:gd name="T35" fmla="*/ 121 h 124"/>
                <a:gd name="T36" fmla="*/ 57 w 160"/>
                <a:gd name="T37" fmla="*/ 99 h 124"/>
                <a:gd name="T38" fmla="*/ 17 w 160"/>
                <a:gd name="T39" fmla="*/ 66 h 124"/>
                <a:gd name="T40" fmla="*/ 0 w 160"/>
                <a:gd name="T41" fmla="*/ 48 h 124"/>
                <a:gd name="T42" fmla="*/ 20 w 160"/>
                <a:gd name="T43" fmla="*/ 1 h 124"/>
                <a:gd name="T44" fmla="*/ 50 w 160"/>
                <a:gd name="T45" fmla="*/ 1 h 124"/>
                <a:gd name="T46" fmla="*/ 39 w 160"/>
                <a:gd name="T47" fmla="*/ 21 h 124"/>
                <a:gd name="T48" fmla="*/ 46 w 160"/>
                <a:gd name="T49" fmla="*/ 39 h 124"/>
                <a:gd name="T50" fmla="*/ 82 w 160"/>
                <a:gd name="T51" fmla="*/ 26 h 124"/>
                <a:gd name="T52" fmla="*/ 122 w 160"/>
                <a:gd name="T53" fmla="*/ 45 h 124"/>
                <a:gd name="T54" fmla="*/ 155 w 160"/>
                <a:gd name="T55" fmla="*/ 7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24">
                  <a:moveTo>
                    <a:pt x="155" y="79"/>
                  </a:moveTo>
                  <a:cubicBezTo>
                    <a:pt x="155" y="79"/>
                    <a:pt x="160" y="91"/>
                    <a:pt x="149" y="92"/>
                  </a:cubicBezTo>
                  <a:cubicBezTo>
                    <a:pt x="121" y="65"/>
                    <a:pt x="121" y="65"/>
                    <a:pt x="121" y="65"/>
                  </a:cubicBezTo>
                  <a:cubicBezTo>
                    <a:pt x="100" y="56"/>
                    <a:pt x="100" y="56"/>
                    <a:pt x="100" y="56"/>
                  </a:cubicBezTo>
                  <a:cubicBezTo>
                    <a:pt x="97" y="59"/>
                    <a:pt x="97" y="59"/>
                    <a:pt x="97" y="59"/>
                  </a:cubicBezTo>
                  <a:cubicBezTo>
                    <a:pt x="118" y="68"/>
                    <a:pt x="118" y="68"/>
                    <a:pt x="118" y="68"/>
                  </a:cubicBezTo>
                  <a:cubicBezTo>
                    <a:pt x="141" y="92"/>
                    <a:pt x="141" y="92"/>
                    <a:pt x="141" y="92"/>
                  </a:cubicBezTo>
                  <a:cubicBezTo>
                    <a:pt x="141" y="92"/>
                    <a:pt x="144" y="97"/>
                    <a:pt x="139" y="101"/>
                  </a:cubicBezTo>
                  <a:cubicBezTo>
                    <a:pt x="134" y="105"/>
                    <a:pt x="125" y="102"/>
                    <a:pt x="119" y="97"/>
                  </a:cubicBezTo>
                  <a:cubicBezTo>
                    <a:pt x="112" y="91"/>
                    <a:pt x="89" y="71"/>
                    <a:pt x="89" y="71"/>
                  </a:cubicBezTo>
                  <a:cubicBezTo>
                    <a:pt x="86" y="75"/>
                    <a:pt x="86" y="75"/>
                    <a:pt x="86" y="75"/>
                  </a:cubicBezTo>
                  <a:cubicBezTo>
                    <a:pt x="120" y="104"/>
                    <a:pt x="120" y="104"/>
                    <a:pt x="120" y="104"/>
                  </a:cubicBezTo>
                  <a:cubicBezTo>
                    <a:pt x="120" y="104"/>
                    <a:pt x="123" y="108"/>
                    <a:pt x="118" y="113"/>
                  </a:cubicBezTo>
                  <a:cubicBezTo>
                    <a:pt x="112" y="118"/>
                    <a:pt x="109" y="116"/>
                    <a:pt x="103" y="110"/>
                  </a:cubicBezTo>
                  <a:cubicBezTo>
                    <a:pt x="96" y="103"/>
                    <a:pt x="78" y="87"/>
                    <a:pt x="78" y="87"/>
                  </a:cubicBezTo>
                  <a:cubicBezTo>
                    <a:pt x="75" y="90"/>
                    <a:pt x="75" y="90"/>
                    <a:pt x="75" y="90"/>
                  </a:cubicBezTo>
                  <a:cubicBezTo>
                    <a:pt x="105" y="117"/>
                    <a:pt x="105" y="117"/>
                    <a:pt x="105" y="117"/>
                  </a:cubicBezTo>
                  <a:cubicBezTo>
                    <a:pt x="105" y="117"/>
                    <a:pt x="101" y="124"/>
                    <a:pt x="95" y="121"/>
                  </a:cubicBezTo>
                  <a:cubicBezTo>
                    <a:pt x="88" y="118"/>
                    <a:pt x="57" y="99"/>
                    <a:pt x="57" y="99"/>
                  </a:cubicBezTo>
                  <a:cubicBezTo>
                    <a:pt x="17" y="66"/>
                    <a:pt x="17" y="66"/>
                    <a:pt x="17" y="66"/>
                  </a:cubicBezTo>
                  <a:cubicBezTo>
                    <a:pt x="0" y="48"/>
                    <a:pt x="0" y="48"/>
                    <a:pt x="0" y="48"/>
                  </a:cubicBezTo>
                  <a:cubicBezTo>
                    <a:pt x="20" y="1"/>
                    <a:pt x="20" y="1"/>
                    <a:pt x="20" y="1"/>
                  </a:cubicBezTo>
                  <a:cubicBezTo>
                    <a:pt x="20" y="1"/>
                    <a:pt x="44" y="0"/>
                    <a:pt x="50" y="1"/>
                  </a:cubicBezTo>
                  <a:cubicBezTo>
                    <a:pt x="39" y="21"/>
                    <a:pt x="39" y="21"/>
                    <a:pt x="39" y="21"/>
                  </a:cubicBezTo>
                  <a:cubicBezTo>
                    <a:pt x="39" y="21"/>
                    <a:pt x="33" y="33"/>
                    <a:pt x="46" y="39"/>
                  </a:cubicBezTo>
                  <a:cubicBezTo>
                    <a:pt x="58" y="44"/>
                    <a:pt x="73" y="34"/>
                    <a:pt x="82" y="26"/>
                  </a:cubicBezTo>
                  <a:cubicBezTo>
                    <a:pt x="122" y="45"/>
                    <a:pt x="122" y="45"/>
                    <a:pt x="122" y="45"/>
                  </a:cubicBezTo>
                  <a:cubicBezTo>
                    <a:pt x="155" y="79"/>
                    <a:pt x="155" y="79"/>
                    <a:pt x="155"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3" name="Freeform 21402">
              <a:extLst>
                <a:ext uri="{FF2B5EF4-FFF2-40B4-BE49-F238E27FC236}">
                  <a16:creationId xmlns:a16="http://schemas.microsoft.com/office/drawing/2014/main" id="{06DCAF04-0818-4A6E-A3FC-6C20A6338969}"/>
                </a:ext>
              </a:extLst>
            </p:cNvPr>
            <p:cNvSpPr>
              <a:spLocks/>
            </p:cNvSpPr>
            <p:nvPr userDrawn="1"/>
          </p:nvSpPr>
          <p:spPr bwMode="auto">
            <a:xfrm>
              <a:off x="8502015" y="4493578"/>
              <a:ext cx="403225" cy="196850"/>
            </a:xfrm>
            <a:custGeom>
              <a:avLst/>
              <a:gdLst>
                <a:gd name="T0" fmla="*/ 135 w 199"/>
                <a:gd name="T1" fmla="*/ 0 h 98"/>
                <a:gd name="T2" fmla="*/ 135 w 199"/>
                <a:gd name="T3" fmla="*/ 0 h 98"/>
                <a:gd name="T4" fmla="*/ 199 w 199"/>
                <a:gd name="T5" fmla="*/ 8 h 98"/>
                <a:gd name="T6" fmla="*/ 199 w 199"/>
                <a:gd name="T7" fmla="*/ 8 h 98"/>
                <a:gd name="T8" fmla="*/ 176 w 199"/>
                <a:gd name="T9" fmla="*/ 68 h 98"/>
                <a:gd name="T10" fmla="*/ 162 w 199"/>
                <a:gd name="T11" fmla="*/ 46 h 98"/>
                <a:gd name="T12" fmla="*/ 97 w 199"/>
                <a:gd name="T13" fmla="*/ 85 h 98"/>
                <a:gd name="T14" fmla="*/ 87 w 199"/>
                <a:gd name="T15" fmla="*/ 75 h 98"/>
                <a:gd name="T16" fmla="*/ 77 w 199"/>
                <a:gd name="T17" fmla="*/ 65 h 98"/>
                <a:gd name="T18" fmla="*/ 14 w 199"/>
                <a:gd name="T19" fmla="*/ 98 h 98"/>
                <a:gd name="T20" fmla="*/ 1 w 199"/>
                <a:gd name="T21" fmla="*/ 74 h 98"/>
                <a:gd name="T22" fmla="*/ 1 w 199"/>
                <a:gd name="T23" fmla="*/ 74 h 98"/>
                <a:gd name="T24" fmla="*/ 82 w 199"/>
                <a:gd name="T25" fmla="*/ 32 h 98"/>
                <a:gd name="T26" fmla="*/ 93 w 199"/>
                <a:gd name="T27" fmla="*/ 40 h 98"/>
                <a:gd name="T28" fmla="*/ 102 w 199"/>
                <a:gd name="T29" fmla="*/ 50 h 98"/>
                <a:gd name="T30" fmla="*/ 148 w 199"/>
                <a:gd name="T31" fmla="*/ 23 h 98"/>
                <a:gd name="T32" fmla="*/ 135 w 199"/>
                <a:gd name="T3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98">
                  <a:moveTo>
                    <a:pt x="135" y="0"/>
                  </a:moveTo>
                  <a:cubicBezTo>
                    <a:pt x="135" y="0"/>
                    <a:pt x="135" y="0"/>
                    <a:pt x="135" y="0"/>
                  </a:cubicBezTo>
                  <a:cubicBezTo>
                    <a:pt x="156" y="3"/>
                    <a:pt x="178" y="5"/>
                    <a:pt x="199" y="8"/>
                  </a:cubicBezTo>
                  <a:cubicBezTo>
                    <a:pt x="199" y="8"/>
                    <a:pt x="199" y="8"/>
                    <a:pt x="199" y="8"/>
                  </a:cubicBezTo>
                  <a:cubicBezTo>
                    <a:pt x="195" y="28"/>
                    <a:pt x="189" y="47"/>
                    <a:pt x="176" y="68"/>
                  </a:cubicBezTo>
                  <a:cubicBezTo>
                    <a:pt x="171" y="61"/>
                    <a:pt x="166" y="56"/>
                    <a:pt x="162" y="46"/>
                  </a:cubicBezTo>
                  <a:cubicBezTo>
                    <a:pt x="140" y="59"/>
                    <a:pt x="119" y="72"/>
                    <a:pt x="97" y="85"/>
                  </a:cubicBezTo>
                  <a:cubicBezTo>
                    <a:pt x="93" y="82"/>
                    <a:pt x="90" y="78"/>
                    <a:pt x="87" y="75"/>
                  </a:cubicBezTo>
                  <a:cubicBezTo>
                    <a:pt x="83" y="72"/>
                    <a:pt x="80" y="68"/>
                    <a:pt x="77" y="65"/>
                  </a:cubicBezTo>
                  <a:cubicBezTo>
                    <a:pt x="56" y="76"/>
                    <a:pt x="35" y="87"/>
                    <a:pt x="14" y="98"/>
                  </a:cubicBezTo>
                  <a:cubicBezTo>
                    <a:pt x="13" y="90"/>
                    <a:pt x="0" y="84"/>
                    <a:pt x="1" y="74"/>
                  </a:cubicBezTo>
                  <a:cubicBezTo>
                    <a:pt x="1" y="74"/>
                    <a:pt x="1" y="74"/>
                    <a:pt x="1" y="74"/>
                  </a:cubicBezTo>
                  <a:cubicBezTo>
                    <a:pt x="28" y="60"/>
                    <a:pt x="55" y="46"/>
                    <a:pt x="82" y="32"/>
                  </a:cubicBezTo>
                  <a:cubicBezTo>
                    <a:pt x="86" y="31"/>
                    <a:pt x="88" y="35"/>
                    <a:pt x="93" y="40"/>
                  </a:cubicBezTo>
                  <a:cubicBezTo>
                    <a:pt x="96" y="44"/>
                    <a:pt x="98" y="48"/>
                    <a:pt x="102" y="50"/>
                  </a:cubicBezTo>
                  <a:cubicBezTo>
                    <a:pt x="117" y="41"/>
                    <a:pt x="133" y="32"/>
                    <a:pt x="148" y="23"/>
                  </a:cubicBezTo>
                  <a:cubicBezTo>
                    <a:pt x="140" y="15"/>
                    <a:pt x="139" y="8"/>
                    <a:pt x="1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4" name="Freeform 21403">
              <a:extLst>
                <a:ext uri="{FF2B5EF4-FFF2-40B4-BE49-F238E27FC236}">
                  <a16:creationId xmlns:a16="http://schemas.microsoft.com/office/drawing/2014/main" id="{0831CEAE-7A62-4D4B-9A9B-3BB74D5716EA}"/>
                </a:ext>
              </a:extLst>
            </p:cNvPr>
            <p:cNvSpPr>
              <a:spLocks/>
            </p:cNvSpPr>
            <p:nvPr userDrawn="1"/>
          </p:nvSpPr>
          <p:spPr bwMode="auto">
            <a:xfrm>
              <a:off x="8771890" y="4615815"/>
              <a:ext cx="53975" cy="209550"/>
            </a:xfrm>
            <a:custGeom>
              <a:avLst/>
              <a:gdLst>
                <a:gd name="T0" fmla="*/ 23 w 27"/>
                <a:gd name="T1" fmla="*/ 104 h 104"/>
                <a:gd name="T2" fmla="*/ 5 w 27"/>
                <a:gd name="T3" fmla="*/ 104 h 104"/>
                <a:gd name="T4" fmla="*/ 0 w 27"/>
                <a:gd name="T5" fmla="*/ 99 h 104"/>
                <a:gd name="T6" fmla="*/ 0 w 27"/>
                <a:gd name="T7" fmla="*/ 16 h 104"/>
                <a:gd name="T8" fmla="*/ 2 w 27"/>
                <a:gd name="T9" fmla="*/ 12 h 104"/>
                <a:gd name="T10" fmla="*/ 20 w 27"/>
                <a:gd name="T11" fmla="*/ 2 h 104"/>
                <a:gd name="T12" fmla="*/ 27 w 27"/>
                <a:gd name="T13" fmla="*/ 6 h 104"/>
                <a:gd name="T14" fmla="*/ 27 w 27"/>
                <a:gd name="T15" fmla="*/ 99 h 104"/>
                <a:gd name="T16" fmla="*/ 23 w 27"/>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04">
                  <a:moveTo>
                    <a:pt x="23" y="104"/>
                  </a:moveTo>
                  <a:cubicBezTo>
                    <a:pt x="5" y="104"/>
                    <a:pt x="5" y="104"/>
                    <a:pt x="5" y="104"/>
                  </a:cubicBezTo>
                  <a:cubicBezTo>
                    <a:pt x="2" y="104"/>
                    <a:pt x="0" y="102"/>
                    <a:pt x="0" y="99"/>
                  </a:cubicBezTo>
                  <a:cubicBezTo>
                    <a:pt x="0" y="16"/>
                    <a:pt x="0" y="16"/>
                    <a:pt x="0" y="16"/>
                  </a:cubicBezTo>
                  <a:cubicBezTo>
                    <a:pt x="0" y="15"/>
                    <a:pt x="1" y="13"/>
                    <a:pt x="2" y="12"/>
                  </a:cubicBezTo>
                  <a:cubicBezTo>
                    <a:pt x="8" y="9"/>
                    <a:pt x="14" y="5"/>
                    <a:pt x="20" y="2"/>
                  </a:cubicBezTo>
                  <a:cubicBezTo>
                    <a:pt x="23" y="0"/>
                    <a:pt x="27" y="2"/>
                    <a:pt x="27" y="6"/>
                  </a:cubicBezTo>
                  <a:cubicBezTo>
                    <a:pt x="27" y="99"/>
                    <a:pt x="27" y="99"/>
                    <a:pt x="27" y="99"/>
                  </a:cubicBezTo>
                  <a:cubicBezTo>
                    <a:pt x="27" y="102"/>
                    <a:pt x="25" y="104"/>
                    <a:pt x="23" y="10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5" name="Freeform 21404">
              <a:extLst>
                <a:ext uri="{FF2B5EF4-FFF2-40B4-BE49-F238E27FC236}">
                  <a16:creationId xmlns:a16="http://schemas.microsoft.com/office/drawing/2014/main" id="{B67BA451-C566-4045-8B10-2EF539E89C2E}"/>
                </a:ext>
              </a:extLst>
            </p:cNvPr>
            <p:cNvSpPr>
              <a:spLocks/>
            </p:cNvSpPr>
            <p:nvPr userDrawn="1"/>
          </p:nvSpPr>
          <p:spPr bwMode="auto">
            <a:xfrm>
              <a:off x="8619490" y="4650740"/>
              <a:ext cx="57150" cy="174625"/>
            </a:xfrm>
            <a:custGeom>
              <a:avLst/>
              <a:gdLst>
                <a:gd name="T0" fmla="*/ 23 w 28"/>
                <a:gd name="T1" fmla="*/ 87 h 87"/>
                <a:gd name="T2" fmla="*/ 5 w 28"/>
                <a:gd name="T3" fmla="*/ 87 h 87"/>
                <a:gd name="T4" fmla="*/ 0 w 28"/>
                <a:gd name="T5" fmla="*/ 82 h 87"/>
                <a:gd name="T6" fmla="*/ 0 w 28"/>
                <a:gd name="T7" fmla="*/ 11 h 87"/>
                <a:gd name="T8" fmla="*/ 3 w 28"/>
                <a:gd name="T9" fmla="*/ 6 h 87"/>
                <a:gd name="T10" fmla="*/ 14 w 28"/>
                <a:gd name="T11" fmla="*/ 1 h 87"/>
                <a:gd name="T12" fmla="*/ 19 w 28"/>
                <a:gd name="T13" fmla="*/ 1 h 87"/>
                <a:gd name="T14" fmla="*/ 27 w 28"/>
                <a:gd name="T15" fmla="*/ 10 h 87"/>
                <a:gd name="T16" fmla="*/ 27 w 28"/>
                <a:gd name="T17" fmla="*/ 19 h 87"/>
                <a:gd name="T18" fmla="*/ 27 w 28"/>
                <a:gd name="T19" fmla="*/ 82 h 87"/>
                <a:gd name="T20" fmla="*/ 23 w 28"/>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87">
                  <a:moveTo>
                    <a:pt x="23" y="87"/>
                  </a:moveTo>
                  <a:cubicBezTo>
                    <a:pt x="5" y="87"/>
                    <a:pt x="5" y="87"/>
                    <a:pt x="5" y="87"/>
                  </a:cubicBezTo>
                  <a:cubicBezTo>
                    <a:pt x="2" y="87"/>
                    <a:pt x="0" y="85"/>
                    <a:pt x="0" y="82"/>
                  </a:cubicBezTo>
                  <a:cubicBezTo>
                    <a:pt x="0" y="11"/>
                    <a:pt x="0" y="11"/>
                    <a:pt x="0" y="11"/>
                  </a:cubicBezTo>
                  <a:cubicBezTo>
                    <a:pt x="0" y="9"/>
                    <a:pt x="1" y="7"/>
                    <a:pt x="3" y="6"/>
                  </a:cubicBezTo>
                  <a:cubicBezTo>
                    <a:pt x="7" y="5"/>
                    <a:pt x="10" y="2"/>
                    <a:pt x="14" y="1"/>
                  </a:cubicBezTo>
                  <a:cubicBezTo>
                    <a:pt x="16" y="0"/>
                    <a:pt x="18" y="0"/>
                    <a:pt x="19" y="1"/>
                  </a:cubicBezTo>
                  <a:cubicBezTo>
                    <a:pt x="22" y="4"/>
                    <a:pt x="27" y="7"/>
                    <a:pt x="27" y="10"/>
                  </a:cubicBezTo>
                  <a:cubicBezTo>
                    <a:pt x="28" y="12"/>
                    <a:pt x="27" y="16"/>
                    <a:pt x="27" y="19"/>
                  </a:cubicBezTo>
                  <a:cubicBezTo>
                    <a:pt x="27" y="82"/>
                    <a:pt x="27" y="82"/>
                    <a:pt x="27" y="82"/>
                  </a:cubicBezTo>
                  <a:cubicBezTo>
                    <a:pt x="27" y="85"/>
                    <a:pt x="25" y="87"/>
                    <a:pt x="23" y="87"/>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6" name="Freeform 21405">
              <a:extLst>
                <a:ext uri="{FF2B5EF4-FFF2-40B4-BE49-F238E27FC236}">
                  <a16:creationId xmlns:a16="http://schemas.microsoft.com/office/drawing/2014/main" id="{40B31C82-AAF7-4051-8D56-E475C29A7751}"/>
                </a:ext>
              </a:extLst>
            </p:cNvPr>
            <p:cNvSpPr>
              <a:spLocks/>
            </p:cNvSpPr>
            <p:nvPr userDrawn="1"/>
          </p:nvSpPr>
          <p:spPr bwMode="auto">
            <a:xfrm>
              <a:off x="8694103" y="4660265"/>
              <a:ext cx="57150" cy="165100"/>
            </a:xfrm>
            <a:custGeom>
              <a:avLst/>
              <a:gdLst>
                <a:gd name="T0" fmla="*/ 23 w 28"/>
                <a:gd name="T1" fmla="*/ 82 h 82"/>
                <a:gd name="T2" fmla="*/ 5 w 28"/>
                <a:gd name="T3" fmla="*/ 82 h 82"/>
                <a:gd name="T4" fmla="*/ 0 w 28"/>
                <a:gd name="T5" fmla="*/ 77 h 82"/>
                <a:gd name="T6" fmla="*/ 0 w 28"/>
                <a:gd name="T7" fmla="*/ 17 h 82"/>
                <a:gd name="T8" fmla="*/ 3 w 28"/>
                <a:gd name="T9" fmla="*/ 12 h 82"/>
                <a:gd name="T10" fmla="*/ 21 w 28"/>
                <a:gd name="T11" fmla="*/ 2 h 82"/>
                <a:gd name="T12" fmla="*/ 28 w 28"/>
                <a:gd name="T13" fmla="*/ 6 h 82"/>
                <a:gd name="T14" fmla="*/ 28 w 28"/>
                <a:gd name="T15" fmla="*/ 77 h 82"/>
                <a:gd name="T16" fmla="*/ 23 w 2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82">
                  <a:moveTo>
                    <a:pt x="23" y="82"/>
                  </a:moveTo>
                  <a:cubicBezTo>
                    <a:pt x="5" y="82"/>
                    <a:pt x="5" y="82"/>
                    <a:pt x="5" y="82"/>
                  </a:cubicBezTo>
                  <a:cubicBezTo>
                    <a:pt x="3" y="82"/>
                    <a:pt x="0" y="80"/>
                    <a:pt x="0" y="77"/>
                  </a:cubicBezTo>
                  <a:cubicBezTo>
                    <a:pt x="0" y="17"/>
                    <a:pt x="0" y="17"/>
                    <a:pt x="0" y="17"/>
                  </a:cubicBezTo>
                  <a:cubicBezTo>
                    <a:pt x="0" y="15"/>
                    <a:pt x="1" y="13"/>
                    <a:pt x="3" y="12"/>
                  </a:cubicBezTo>
                  <a:cubicBezTo>
                    <a:pt x="9" y="9"/>
                    <a:pt x="15" y="5"/>
                    <a:pt x="21" y="2"/>
                  </a:cubicBezTo>
                  <a:cubicBezTo>
                    <a:pt x="24" y="0"/>
                    <a:pt x="28" y="2"/>
                    <a:pt x="28" y="6"/>
                  </a:cubicBezTo>
                  <a:cubicBezTo>
                    <a:pt x="28" y="77"/>
                    <a:pt x="28" y="77"/>
                    <a:pt x="28" y="77"/>
                  </a:cubicBezTo>
                  <a:cubicBezTo>
                    <a:pt x="28" y="80"/>
                    <a:pt x="26" y="82"/>
                    <a:pt x="23" y="82"/>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7" name="Freeform 21406">
              <a:extLst>
                <a:ext uri="{FF2B5EF4-FFF2-40B4-BE49-F238E27FC236}">
                  <a16:creationId xmlns:a16="http://schemas.microsoft.com/office/drawing/2014/main" id="{A4FF54B6-EDD8-4440-894F-28F38B0CFCC9}"/>
                </a:ext>
              </a:extLst>
            </p:cNvPr>
            <p:cNvSpPr>
              <a:spLocks/>
            </p:cNvSpPr>
            <p:nvPr userDrawn="1"/>
          </p:nvSpPr>
          <p:spPr bwMode="auto">
            <a:xfrm>
              <a:off x="8535353" y="4680903"/>
              <a:ext cx="53975" cy="144463"/>
            </a:xfrm>
            <a:custGeom>
              <a:avLst/>
              <a:gdLst>
                <a:gd name="T0" fmla="*/ 22 w 27"/>
                <a:gd name="T1" fmla="*/ 72 h 72"/>
                <a:gd name="T2" fmla="*/ 5 w 27"/>
                <a:gd name="T3" fmla="*/ 72 h 72"/>
                <a:gd name="T4" fmla="*/ 0 w 27"/>
                <a:gd name="T5" fmla="*/ 67 h 72"/>
                <a:gd name="T6" fmla="*/ 0 w 27"/>
                <a:gd name="T7" fmla="*/ 16 h 72"/>
                <a:gd name="T8" fmla="*/ 2 w 27"/>
                <a:gd name="T9" fmla="*/ 11 h 72"/>
                <a:gd name="T10" fmla="*/ 20 w 27"/>
                <a:gd name="T11" fmla="*/ 2 h 72"/>
                <a:gd name="T12" fmla="*/ 27 w 27"/>
                <a:gd name="T13" fmla="*/ 6 h 72"/>
                <a:gd name="T14" fmla="*/ 27 w 27"/>
                <a:gd name="T15" fmla="*/ 67 h 72"/>
                <a:gd name="T16" fmla="*/ 22 w 2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72">
                  <a:moveTo>
                    <a:pt x="22" y="72"/>
                  </a:moveTo>
                  <a:cubicBezTo>
                    <a:pt x="5" y="72"/>
                    <a:pt x="5" y="72"/>
                    <a:pt x="5" y="72"/>
                  </a:cubicBezTo>
                  <a:cubicBezTo>
                    <a:pt x="2" y="72"/>
                    <a:pt x="0" y="70"/>
                    <a:pt x="0" y="67"/>
                  </a:cubicBezTo>
                  <a:cubicBezTo>
                    <a:pt x="0" y="16"/>
                    <a:pt x="0" y="16"/>
                    <a:pt x="0" y="16"/>
                  </a:cubicBezTo>
                  <a:cubicBezTo>
                    <a:pt x="0" y="14"/>
                    <a:pt x="1" y="12"/>
                    <a:pt x="2" y="11"/>
                  </a:cubicBezTo>
                  <a:cubicBezTo>
                    <a:pt x="8" y="8"/>
                    <a:pt x="14" y="5"/>
                    <a:pt x="20" y="2"/>
                  </a:cubicBezTo>
                  <a:cubicBezTo>
                    <a:pt x="23" y="0"/>
                    <a:pt x="27" y="3"/>
                    <a:pt x="27" y="6"/>
                  </a:cubicBezTo>
                  <a:cubicBezTo>
                    <a:pt x="27" y="67"/>
                    <a:pt x="27" y="67"/>
                    <a:pt x="27" y="67"/>
                  </a:cubicBezTo>
                  <a:cubicBezTo>
                    <a:pt x="27" y="70"/>
                    <a:pt x="25" y="72"/>
                    <a:pt x="22" y="72"/>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8" name="Freeform 21407">
              <a:extLst>
                <a:ext uri="{FF2B5EF4-FFF2-40B4-BE49-F238E27FC236}">
                  <a16:creationId xmlns:a16="http://schemas.microsoft.com/office/drawing/2014/main" id="{2588E7AB-90CF-40C9-8793-C909F4D30953}"/>
                </a:ext>
              </a:extLst>
            </p:cNvPr>
            <p:cNvSpPr>
              <a:spLocks noEditPoints="1"/>
            </p:cNvSpPr>
            <p:nvPr userDrawn="1"/>
          </p:nvSpPr>
          <p:spPr bwMode="auto">
            <a:xfrm>
              <a:off x="10079990" y="3941128"/>
              <a:ext cx="95250" cy="92075"/>
            </a:xfrm>
            <a:custGeom>
              <a:avLst/>
              <a:gdLst>
                <a:gd name="T0" fmla="*/ 17 w 47"/>
                <a:gd name="T1" fmla="*/ 46 h 46"/>
                <a:gd name="T2" fmla="*/ 1 w 47"/>
                <a:gd name="T3" fmla="*/ 26 h 46"/>
                <a:gd name="T4" fmla="*/ 2 w 47"/>
                <a:gd name="T5" fmla="*/ 22 h 46"/>
                <a:gd name="T6" fmla="*/ 6 w 47"/>
                <a:gd name="T7" fmla="*/ 18 h 46"/>
                <a:gd name="T8" fmla="*/ 25 w 47"/>
                <a:gd name="T9" fmla="*/ 1 h 46"/>
                <a:gd name="T10" fmla="*/ 30 w 47"/>
                <a:gd name="T11" fmla="*/ 1 h 46"/>
                <a:gd name="T12" fmla="*/ 47 w 47"/>
                <a:gd name="T13" fmla="*/ 19 h 46"/>
                <a:gd name="T14" fmla="*/ 17 w 47"/>
                <a:gd name="T15" fmla="*/ 46 h 46"/>
                <a:gd name="T16" fmla="*/ 18 w 47"/>
                <a:gd name="T17" fmla="*/ 33 h 46"/>
                <a:gd name="T18" fmla="*/ 15 w 47"/>
                <a:gd name="T19" fmla="*/ 33 h 46"/>
                <a:gd name="T20" fmla="*/ 15 w 47"/>
                <a:gd name="T21" fmla="*/ 36 h 46"/>
                <a:gd name="T22" fmla="*/ 19 w 47"/>
                <a:gd name="T23" fmla="*/ 36 h 46"/>
                <a:gd name="T24" fmla="*/ 18 w 47"/>
                <a:gd name="T25"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6">
                  <a:moveTo>
                    <a:pt x="17" y="46"/>
                  </a:moveTo>
                  <a:cubicBezTo>
                    <a:pt x="12" y="39"/>
                    <a:pt x="6" y="33"/>
                    <a:pt x="1" y="26"/>
                  </a:cubicBezTo>
                  <a:cubicBezTo>
                    <a:pt x="0" y="25"/>
                    <a:pt x="1" y="23"/>
                    <a:pt x="2" y="22"/>
                  </a:cubicBezTo>
                  <a:cubicBezTo>
                    <a:pt x="3" y="21"/>
                    <a:pt x="5" y="20"/>
                    <a:pt x="6" y="18"/>
                  </a:cubicBezTo>
                  <a:cubicBezTo>
                    <a:pt x="12" y="13"/>
                    <a:pt x="19" y="7"/>
                    <a:pt x="25" y="1"/>
                  </a:cubicBezTo>
                  <a:cubicBezTo>
                    <a:pt x="26" y="0"/>
                    <a:pt x="29" y="1"/>
                    <a:pt x="30" y="1"/>
                  </a:cubicBezTo>
                  <a:cubicBezTo>
                    <a:pt x="41" y="6"/>
                    <a:pt x="42" y="16"/>
                    <a:pt x="47" y="19"/>
                  </a:cubicBezTo>
                  <a:cubicBezTo>
                    <a:pt x="37" y="28"/>
                    <a:pt x="27" y="37"/>
                    <a:pt x="17" y="46"/>
                  </a:cubicBezTo>
                  <a:moveTo>
                    <a:pt x="18" y="33"/>
                  </a:moveTo>
                  <a:cubicBezTo>
                    <a:pt x="17" y="32"/>
                    <a:pt x="16" y="32"/>
                    <a:pt x="15" y="33"/>
                  </a:cubicBezTo>
                  <a:cubicBezTo>
                    <a:pt x="14" y="34"/>
                    <a:pt x="14" y="35"/>
                    <a:pt x="15" y="36"/>
                  </a:cubicBezTo>
                  <a:cubicBezTo>
                    <a:pt x="16" y="37"/>
                    <a:pt x="18" y="37"/>
                    <a:pt x="19" y="36"/>
                  </a:cubicBezTo>
                  <a:cubicBezTo>
                    <a:pt x="19" y="35"/>
                    <a:pt x="20" y="34"/>
                    <a:pt x="18" y="33"/>
                  </a:cubicBezTo>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9" name="Freeform 21408">
              <a:extLst>
                <a:ext uri="{FF2B5EF4-FFF2-40B4-BE49-F238E27FC236}">
                  <a16:creationId xmlns:a16="http://schemas.microsoft.com/office/drawing/2014/main" id="{8F68C7EB-5F9B-43EE-838D-B4CF677523EB}"/>
                </a:ext>
              </a:extLst>
            </p:cNvPr>
            <p:cNvSpPr>
              <a:spLocks/>
            </p:cNvSpPr>
            <p:nvPr userDrawn="1"/>
          </p:nvSpPr>
          <p:spPr bwMode="auto">
            <a:xfrm>
              <a:off x="9894253" y="3901440"/>
              <a:ext cx="230188" cy="84138"/>
            </a:xfrm>
            <a:custGeom>
              <a:avLst/>
              <a:gdLst>
                <a:gd name="T0" fmla="*/ 73 w 114"/>
                <a:gd name="T1" fmla="*/ 39 h 42"/>
                <a:gd name="T2" fmla="*/ 40 w 114"/>
                <a:gd name="T3" fmla="*/ 38 h 42"/>
                <a:gd name="T4" fmla="*/ 33 w 114"/>
                <a:gd name="T5" fmla="*/ 36 h 42"/>
                <a:gd name="T6" fmla="*/ 19 w 114"/>
                <a:gd name="T7" fmla="*/ 23 h 42"/>
                <a:gd name="T8" fmla="*/ 6 w 114"/>
                <a:gd name="T9" fmla="*/ 13 h 42"/>
                <a:gd name="T10" fmla="*/ 8 w 114"/>
                <a:gd name="T11" fmla="*/ 2 h 42"/>
                <a:gd name="T12" fmla="*/ 12 w 114"/>
                <a:gd name="T13" fmla="*/ 3 h 42"/>
                <a:gd name="T14" fmla="*/ 33 w 114"/>
                <a:gd name="T15" fmla="*/ 19 h 42"/>
                <a:gd name="T16" fmla="*/ 39 w 114"/>
                <a:gd name="T17" fmla="*/ 21 h 42"/>
                <a:gd name="T18" fmla="*/ 67 w 114"/>
                <a:gd name="T19" fmla="*/ 21 h 42"/>
                <a:gd name="T20" fmla="*/ 70 w 114"/>
                <a:gd name="T21" fmla="*/ 20 h 42"/>
                <a:gd name="T22" fmla="*/ 67 w 114"/>
                <a:gd name="T23" fmla="*/ 15 h 42"/>
                <a:gd name="T24" fmla="*/ 48 w 114"/>
                <a:gd name="T25" fmla="*/ 15 h 42"/>
                <a:gd name="T26" fmla="*/ 39 w 114"/>
                <a:gd name="T27" fmla="*/ 6 h 42"/>
                <a:gd name="T28" fmla="*/ 45 w 114"/>
                <a:gd name="T29" fmla="*/ 0 h 42"/>
                <a:gd name="T30" fmla="*/ 66 w 114"/>
                <a:gd name="T31" fmla="*/ 2 h 42"/>
                <a:gd name="T32" fmla="*/ 87 w 114"/>
                <a:gd name="T33" fmla="*/ 0 h 42"/>
                <a:gd name="T34" fmla="*/ 98 w 114"/>
                <a:gd name="T35" fmla="*/ 4 h 42"/>
                <a:gd name="T36" fmla="*/ 114 w 114"/>
                <a:gd name="T37" fmla="*/ 19 h 42"/>
                <a:gd name="T38" fmla="*/ 96 w 114"/>
                <a:gd name="T39" fmla="*/ 36 h 42"/>
                <a:gd name="T40" fmla="*/ 73 w 114"/>
                <a:gd name="T41"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42">
                  <a:moveTo>
                    <a:pt x="73" y="39"/>
                  </a:moveTo>
                  <a:cubicBezTo>
                    <a:pt x="40" y="38"/>
                    <a:pt x="40" y="38"/>
                    <a:pt x="40" y="38"/>
                  </a:cubicBezTo>
                  <a:cubicBezTo>
                    <a:pt x="37" y="38"/>
                    <a:pt x="35" y="37"/>
                    <a:pt x="33" y="36"/>
                  </a:cubicBezTo>
                  <a:cubicBezTo>
                    <a:pt x="19" y="23"/>
                    <a:pt x="19" y="23"/>
                    <a:pt x="19" y="23"/>
                  </a:cubicBezTo>
                  <a:cubicBezTo>
                    <a:pt x="6" y="13"/>
                    <a:pt x="6" y="13"/>
                    <a:pt x="6" y="13"/>
                  </a:cubicBezTo>
                  <a:cubicBezTo>
                    <a:pt x="0" y="10"/>
                    <a:pt x="2" y="2"/>
                    <a:pt x="8" y="2"/>
                  </a:cubicBezTo>
                  <a:cubicBezTo>
                    <a:pt x="10" y="2"/>
                    <a:pt x="11" y="2"/>
                    <a:pt x="12" y="3"/>
                  </a:cubicBezTo>
                  <a:cubicBezTo>
                    <a:pt x="33" y="19"/>
                    <a:pt x="33" y="19"/>
                    <a:pt x="33" y="19"/>
                  </a:cubicBezTo>
                  <a:cubicBezTo>
                    <a:pt x="35" y="21"/>
                    <a:pt x="37" y="21"/>
                    <a:pt x="39" y="21"/>
                  </a:cubicBezTo>
                  <a:cubicBezTo>
                    <a:pt x="67" y="21"/>
                    <a:pt x="67" y="21"/>
                    <a:pt x="67" y="21"/>
                  </a:cubicBezTo>
                  <a:cubicBezTo>
                    <a:pt x="68" y="21"/>
                    <a:pt x="70" y="21"/>
                    <a:pt x="70" y="20"/>
                  </a:cubicBezTo>
                  <a:cubicBezTo>
                    <a:pt x="72" y="18"/>
                    <a:pt x="70" y="15"/>
                    <a:pt x="67" y="15"/>
                  </a:cubicBezTo>
                  <a:cubicBezTo>
                    <a:pt x="48" y="15"/>
                    <a:pt x="48" y="15"/>
                    <a:pt x="48" y="15"/>
                  </a:cubicBezTo>
                  <a:cubicBezTo>
                    <a:pt x="43" y="15"/>
                    <a:pt x="39" y="11"/>
                    <a:pt x="39" y="6"/>
                  </a:cubicBezTo>
                  <a:cubicBezTo>
                    <a:pt x="39" y="3"/>
                    <a:pt x="42" y="0"/>
                    <a:pt x="45" y="0"/>
                  </a:cubicBezTo>
                  <a:cubicBezTo>
                    <a:pt x="66" y="2"/>
                    <a:pt x="66" y="2"/>
                    <a:pt x="66" y="2"/>
                  </a:cubicBezTo>
                  <a:cubicBezTo>
                    <a:pt x="87" y="0"/>
                    <a:pt x="87" y="0"/>
                    <a:pt x="87" y="0"/>
                  </a:cubicBezTo>
                  <a:cubicBezTo>
                    <a:pt x="91" y="0"/>
                    <a:pt x="95" y="2"/>
                    <a:pt x="98" y="4"/>
                  </a:cubicBezTo>
                  <a:cubicBezTo>
                    <a:pt x="114" y="19"/>
                    <a:pt x="114" y="19"/>
                    <a:pt x="114" y="19"/>
                  </a:cubicBezTo>
                  <a:cubicBezTo>
                    <a:pt x="114" y="19"/>
                    <a:pt x="104" y="27"/>
                    <a:pt x="96" y="36"/>
                  </a:cubicBezTo>
                  <a:cubicBezTo>
                    <a:pt x="90" y="42"/>
                    <a:pt x="76" y="39"/>
                    <a:pt x="73" y="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0" name="Freeform 21409">
              <a:extLst>
                <a:ext uri="{FF2B5EF4-FFF2-40B4-BE49-F238E27FC236}">
                  <a16:creationId xmlns:a16="http://schemas.microsoft.com/office/drawing/2014/main" id="{69E2FC35-C3A9-4B28-847B-5E1A0F405749}"/>
                </a:ext>
              </a:extLst>
            </p:cNvPr>
            <p:cNvSpPr>
              <a:spLocks/>
            </p:cNvSpPr>
            <p:nvPr userDrawn="1"/>
          </p:nvSpPr>
          <p:spPr bwMode="auto">
            <a:xfrm>
              <a:off x="9932353" y="3674428"/>
              <a:ext cx="176213" cy="231775"/>
            </a:xfrm>
            <a:custGeom>
              <a:avLst/>
              <a:gdLst>
                <a:gd name="T0" fmla="*/ 0 w 87"/>
                <a:gd name="T1" fmla="*/ 57 h 115"/>
                <a:gd name="T2" fmla="*/ 87 w 87"/>
                <a:gd name="T3" fmla="*/ 57 h 115"/>
                <a:gd name="T4" fmla="*/ 0 w 87"/>
                <a:gd name="T5" fmla="*/ 57 h 115"/>
              </a:gdLst>
              <a:ahLst/>
              <a:cxnLst>
                <a:cxn ang="0">
                  <a:pos x="T0" y="T1"/>
                </a:cxn>
                <a:cxn ang="0">
                  <a:pos x="T2" y="T3"/>
                </a:cxn>
                <a:cxn ang="0">
                  <a:pos x="T4" y="T5"/>
                </a:cxn>
              </a:cxnLst>
              <a:rect l="0" t="0" r="r" b="b"/>
              <a:pathLst>
                <a:path w="87" h="115">
                  <a:moveTo>
                    <a:pt x="0" y="57"/>
                  </a:moveTo>
                  <a:cubicBezTo>
                    <a:pt x="1" y="115"/>
                    <a:pt x="86" y="115"/>
                    <a:pt x="87" y="57"/>
                  </a:cubicBezTo>
                  <a:cubicBezTo>
                    <a:pt x="86" y="0"/>
                    <a:pt x="1" y="0"/>
                    <a:pt x="0" y="57"/>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1" name="Freeform 21410">
              <a:extLst>
                <a:ext uri="{FF2B5EF4-FFF2-40B4-BE49-F238E27FC236}">
                  <a16:creationId xmlns:a16="http://schemas.microsoft.com/office/drawing/2014/main" id="{C5E9030A-53B8-4D2E-8438-7B1FB876AFA9}"/>
                </a:ext>
              </a:extLst>
            </p:cNvPr>
            <p:cNvSpPr>
              <a:spLocks/>
            </p:cNvSpPr>
            <p:nvPr userDrawn="1"/>
          </p:nvSpPr>
          <p:spPr bwMode="auto">
            <a:xfrm>
              <a:off x="9933940" y="3679190"/>
              <a:ext cx="169863" cy="223838"/>
            </a:xfrm>
            <a:custGeom>
              <a:avLst/>
              <a:gdLst>
                <a:gd name="T0" fmla="*/ 0 w 84"/>
                <a:gd name="T1" fmla="*/ 55 h 111"/>
                <a:gd name="T2" fmla="*/ 84 w 84"/>
                <a:gd name="T3" fmla="*/ 55 h 111"/>
                <a:gd name="T4" fmla="*/ 0 w 84"/>
                <a:gd name="T5" fmla="*/ 55 h 111"/>
              </a:gdLst>
              <a:ahLst/>
              <a:cxnLst>
                <a:cxn ang="0">
                  <a:pos x="T0" y="T1"/>
                </a:cxn>
                <a:cxn ang="0">
                  <a:pos x="T2" y="T3"/>
                </a:cxn>
                <a:cxn ang="0">
                  <a:pos x="T4" y="T5"/>
                </a:cxn>
              </a:cxnLst>
              <a:rect l="0" t="0" r="r" b="b"/>
              <a:pathLst>
                <a:path w="84" h="111">
                  <a:moveTo>
                    <a:pt x="0" y="55"/>
                  </a:moveTo>
                  <a:cubicBezTo>
                    <a:pt x="1" y="111"/>
                    <a:pt x="83" y="111"/>
                    <a:pt x="84" y="55"/>
                  </a:cubicBezTo>
                  <a:cubicBezTo>
                    <a:pt x="83" y="0"/>
                    <a:pt x="1" y="0"/>
                    <a:pt x="0" y="55"/>
                  </a:cubicBezTo>
                </a:path>
              </a:pathLst>
            </a:custGeom>
            <a:solidFill>
              <a:srgbClr val="FAA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2" name="Freeform 21411">
              <a:extLst>
                <a:ext uri="{FF2B5EF4-FFF2-40B4-BE49-F238E27FC236}">
                  <a16:creationId xmlns:a16="http://schemas.microsoft.com/office/drawing/2014/main" id="{D72026D6-9004-42BB-90A7-9E636F9CC725}"/>
                </a:ext>
              </a:extLst>
            </p:cNvPr>
            <p:cNvSpPr>
              <a:spLocks/>
            </p:cNvSpPr>
            <p:nvPr userDrawn="1"/>
          </p:nvSpPr>
          <p:spPr bwMode="auto">
            <a:xfrm>
              <a:off x="10002203" y="3701415"/>
              <a:ext cx="88900" cy="55563"/>
            </a:xfrm>
            <a:custGeom>
              <a:avLst/>
              <a:gdLst>
                <a:gd name="T0" fmla="*/ 43 w 44"/>
                <a:gd name="T1" fmla="*/ 28 h 28"/>
                <a:gd name="T2" fmla="*/ 44 w 44"/>
                <a:gd name="T3" fmla="*/ 26 h 28"/>
                <a:gd name="T4" fmla="*/ 0 w 44"/>
                <a:gd name="T5" fmla="*/ 6 h 28"/>
                <a:gd name="T6" fmla="*/ 43 w 44"/>
                <a:gd name="T7" fmla="*/ 28 h 28"/>
              </a:gdLst>
              <a:ahLst/>
              <a:cxnLst>
                <a:cxn ang="0">
                  <a:pos x="T0" y="T1"/>
                </a:cxn>
                <a:cxn ang="0">
                  <a:pos x="T2" y="T3"/>
                </a:cxn>
                <a:cxn ang="0">
                  <a:pos x="T4" y="T5"/>
                </a:cxn>
                <a:cxn ang="0">
                  <a:pos x="T6" y="T7"/>
                </a:cxn>
              </a:cxnLst>
              <a:rect l="0" t="0" r="r" b="b"/>
              <a:pathLst>
                <a:path w="44" h="28">
                  <a:moveTo>
                    <a:pt x="43" y="28"/>
                  </a:moveTo>
                  <a:cubicBezTo>
                    <a:pt x="43" y="28"/>
                    <a:pt x="44" y="27"/>
                    <a:pt x="44" y="26"/>
                  </a:cubicBezTo>
                  <a:cubicBezTo>
                    <a:pt x="36" y="11"/>
                    <a:pt x="15" y="0"/>
                    <a:pt x="0" y="6"/>
                  </a:cubicBezTo>
                  <a:cubicBezTo>
                    <a:pt x="20" y="6"/>
                    <a:pt x="32" y="10"/>
                    <a:pt x="43" y="28"/>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3" name="Freeform 21412">
              <a:extLst>
                <a:ext uri="{FF2B5EF4-FFF2-40B4-BE49-F238E27FC236}">
                  <a16:creationId xmlns:a16="http://schemas.microsoft.com/office/drawing/2014/main" id="{77FEEAB8-1C0D-4A17-AEF4-0800F3014F3D}"/>
                </a:ext>
              </a:extLst>
            </p:cNvPr>
            <p:cNvSpPr>
              <a:spLocks/>
            </p:cNvSpPr>
            <p:nvPr userDrawn="1"/>
          </p:nvSpPr>
          <p:spPr bwMode="auto">
            <a:xfrm>
              <a:off x="9946640" y="3699828"/>
              <a:ext cx="142875" cy="187325"/>
            </a:xfrm>
            <a:custGeom>
              <a:avLst/>
              <a:gdLst>
                <a:gd name="T0" fmla="*/ 0 w 71"/>
                <a:gd name="T1" fmla="*/ 46 h 93"/>
                <a:gd name="T2" fmla="*/ 71 w 71"/>
                <a:gd name="T3" fmla="*/ 46 h 93"/>
                <a:gd name="T4" fmla="*/ 0 w 71"/>
                <a:gd name="T5" fmla="*/ 46 h 93"/>
              </a:gdLst>
              <a:ahLst/>
              <a:cxnLst>
                <a:cxn ang="0">
                  <a:pos x="T0" y="T1"/>
                </a:cxn>
                <a:cxn ang="0">
                  <a:pos x="T2" y="T3"/>
                </a:cxn>
                <a:cxn ang="0">
                  <a:pos x="T4" y="T5"/>
                </a:cxn>
              </a:cxnLst>
              <a:rect l="0" t="0" r="r" b="b"/>
              <a:pathLst>
                <a:path w="71" h="93">
                  <a:moveTo>
                    <a:pt x="0" y="46"/>
                  </a:moveTo>
                  <a:cubicBezTo>
                    <a:pt x="0" y="93"/>
                    <a:pt x="70" y="93"/>
                    <a:pt x="71" y="46"/>
                  </a:cubicBezTo>
                  <a:cubicBezTo>
                    <a:pt x="70" y="0"/>
                    <a:pt x="0" y="0"/>
                    <a:pt x="0" y="46"/>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4" name="Freeform 21413">
              <a:extLst>
                <a:ext uri="{FF2B5EF4-FFF2-40B4-BE49-F238E27FC236}">
                  <a16:creationId xmlns:a16="http://schemas.microsoft.com/office/drawing/2014/main" id="{84A57A17-A17C-47F7-82A8-D929803705EA}"/>
                </a:ext>
              </a:extLst>
            </p:cNvPr>
            <p:cNvSpPr>
              <a:spLocks/>
            </p:cNvSpPr>
            <p:nvPr userDrawn="1"/>
          </p:nvSpPr>
          <p:spPr bwMode="auto">
            <a:xfrm>
              <a:off x="9973628" y="3741103"/>
              <a:ext cx="84138" cy="109538"/>
            </a:xfrm>
            <a:custGeom>
              <a:avLst/>
              <a:gdLst>
                <a:gd name="T0" fmla="*/ 17 w 41"/>
                <a:gd name="T1" fmla="*/ 52 h 54"/>
                <a:gd name="T2" fmla="*/ 17 w 41"/>
                <a:gd name="T3" fmla="*/ 48 h 54"/>
                <a:gd name="T4" fmla="*/ 6 w 41"/>
                <a:gd name="T5" fmla="*/ 39 h 54"/>
                <a:gd name="T6" fmla="*/ 9 w 41"/>
                <a:gd name="T7" fmla="*/ 38 h 54"/>
                <a:gd name="T8" fmla="*/ 26 w 41"/>
                <a:gd name="T9" fmla="*/ 36 h 54"/>
                <a:gd name="T10" fmla="*/ 18 w 41"/>
                <a:gd name="T11" fmla="*/ 31 h 54"/>
                <a:gd name="T12" fmla="*/ 17 w 41"/>
                <a:gd name="T13" fmla="*/ 6 h 54"/>
                <a:gd name="T14" fmla="*/ 19 w 41"/>
                <a:gd name="T15" fmla="*/ 0 h 54"/>
                <a:gd name="T16" fmla="*/ 24 w 41"/>
                <a:gd name="T17" fmla="*/ 6 h 54"/>
                <a:gd name="T18" fmla="*/ 33 w 41"/>
                <a:gd name="T19" fmla="*/ 13 h 54"/>
                <a:gd name="T20" fmla="*/ 26 w 41"/>
                <a:gd name="T21" fmla="*/ 14 h 54"/>
                <a:gd name="T22" fmla="*/ 16 w 41"/>
                <a:gd name="T23" fmla="*/ 17 h 54"/>
                <a:gd name="T24" fmla="*/ 25 w 41"/>
                <a:gd name="T25" fmla="*/ 22 h 54"/>
                <a:gd name="T26" fmla="*/ 24 w 41"/>
                <a:gd name="T27" fmla="*/ 47 h 54"/>
                <a:gd name="T28" fmla="*/ 22 w 41"/>
                <a:gd name="T29" fmla="*/ 54 h 54"/>
                <a:gd name="T30" fmla="*/ 17 w 41"/>
                <a:gd name="T31"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54">
                  <a:moveTo>
                    <a:pt x="17" y="52"/>
                  </a:moveTo>
                  <a:cubicBezTo>
                    <a:pt x="17" y="48"/>
                    <a:pt x="17" y="48"/>
                    <a:pt x="17" y="48"/>
                  </a:cubicBezTo>
                  <a:cubicBezTo>
                    <a:pt x="11" y="47"/>
                    <a:pt x="2" y="48"/>
                    <a:pt x="6" y="39"/>
                  </a:cubicBezTo>
                  <a:cubicBezTo>
                    <a:pt x="6" y="38"/>
                    <a:pt x="8" y="37"/>
                    <a:pt x="9" y="38"/>
                  </a:cubicBezTo>
                  <a:cubicBezTo>
                    <a:pt x="13" y="40"/>
                    <a:pt x="25" y="42"/>
                    <a:pt x="26" y="36"/>
                  </a:cubicBezTo>
                  <a:cubicBezTo>
                    <a:pt x="26" y="33"/>
                    <a:pt x="24" y="32"/>
                    <a:pt x="18" y="31"/>
                  </a:cubicBezTo>
                  <a:cubicBezTo>
                    <a:pt x="2" y="28"/>
                    <a:pt x="0" y="9"/>
                    <a:pt x="17" y="6"/>
                  </a:cubicBezTo>
                  <a:cubicBezTo>
                    <a:pt x="17" y="4"/>
                    <a:pt x="16" y="0"/>
                    <a:pt x="19" y="0"/>
                  </a:cubicBezTo>
                  <a:cubicBezTo>
                    <a:pt x="24" y="0"/>
                    <a:pt x="24" y="2"/>
                    <a:pt x="24" y="6"/>
                  </a:cubicBezTo>
                  <a:cubicBezTo>
                    <a:pt x="30" y="7"/>
                    <a:pt x="36" y="6"/>
                    <a:pt x="33" y="13"/>
                  </a:cubicBezTo>
                  <a:cubicBezTo>
                    <a:pt x="33" y="16"/>
                    <a:pt x="30" y="15"/>
                    <a:pt x="26" y="14"/>
                  </a:cubicBezTo>
                  <a:cubicBezTo>
                    <a:pt x="22" y="13"/>
                    <a:pt x="16" y="12"/>
                    <a:pt x="16" y="17"/>
                  </a:cubicBezTo>
                  <a:cubicBezTo>
                    <a:pt x="16" y="19"/>
                    <a:pt x="19" y="21"/>
                    <a:pt x="25" y="22"/>
                  </a:cubicBezTo>
                  <a:cubicBezTo>
                    <a:pt x="41" y="26"/>
                    <a:pt x="40" y="45"/>
                    <a:pt x="24" y="47"/>
                  </a:cubicBezTo>
                  <a:cubicBezTo>
                    <a:pt x="24" y="49"/>
                    <a:pt x="25" y="54"/>
                    <a:pt x="22" y="54"/>
                  </a:cubicBezTo>
                  <a:cubicBezTo>
                    <a:pt x="20" y="54"/>
                    <a:pt x="17" y="54"/>
                    <a:pt x="17" y="5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5" name="Rectangle 21414">
              <a:extLst>
                <a:ext uri="{FF2B5EF4-FFF2-40B4-BE49-F238E27FC236}">
                  <a16:creationId xmlns:a16="http://schemas.microsoft.com/office/drawing/2014/main" id="{59F90B3E-B41F-4320-9B33-722880578245}"/>
                </a:ext>
              </a:extLst>
            </p:cNvPr>
            <p:cNvSpPr>
              <a:spLocks noChangeArrowheads="1"/>
            </p:cNvSpPr>
            <p:nvPr userDrawn="1"/>
          </p:nvSpPr>
          <p:spPr bwMode="auto">
            <a:xfrm>
              <a:off x="8246428" y="3903028"/>
              <a:ext cx="85725" cy="6350"/>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6" name="Rectangle 21415">
              <a:extLst>
                <a:ext uri="{FF2B5EF4-FFF2-40B4-BE49-F238E27FC236}">
                  <a16:creationId xmlns:a16="http://schemas.microsoft.com/office/drawing/2014/main" id="{8E9BCE4F-027D-492A-8BFC-4CA6F7AB7E48}"/>
                </a:ext>
              </a:extLst>
            </p:cNvPr>
            <p:cNvSpPr>
              <a:spLocks noChangeArrowheads="1"/>
            </p:cNvSpPr>
            <p:nvPr userDrawn="1"/>
          </p:nvSpPr>
          <p:spPr bwMode="auto">
            <a:xfrm>
              <a:off x="8246428" y="3903028"/>
              <a:ext cx="85725"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7" name="Freeform 21416">
              <a:extLst>
                <a:ext uri="{FF2B5EF4-FFF2-40B4-BE49-F238E27FC236}">
                  <a16:creationId xmlns:a16="http://schemas.microsoft.com/office/drawing/2014/main" id="{499FB362-5FE5-47C1-A3A8-B79CD440B5D9}"/>
                </a:ext>
              </a:extLst>
            </p:cNvPr>
            <p:cNvSpPr>
              <a:spLocks/>
            </p:cNvSpPr>
            <p:nvPr userDrawn="1"/>
          </p:nvSpPr>
          <p:spPr bwMode="auto">
            <a:xfrm>
              <a:off x="8224203" y="3617278"/>
              <a:ext cx="104775" cy="117475"/>
            </a:xfrm>
            <a:custGeom>
              <a:avLst/>
              <a:gdLst>
                <a:gd name="T0" fmla="*/ 51 w 52"/>
                <a:gd name="T1" fmla="*/ 19 h 59"/>
                <a:gd name="T2" fmla="*/ 47 w 52"/>
                <a:gd name="T3" fmla="*/ 47 h 59"/>
                <a:gd name="T4" fmla="*/ 30 w 52"/>
                <a:gd name="T5" fmla="*/ 59 h 59"/>
                <a:gd name="T6" fmla="*/ 22 w 52"/>
                <a:gd name="T7" fmla="*/ 59 h 59"/>
                <a:gd name="T8" fmla="*/ 5 w 52"/>
                <a:gd name="T9" fmla="*/ 47 h 59"/>
                <a:gd name="T10" fmla="*/ 1 w 52"/>
                <a:gd name="T11" fmla="*/ 19 h 59"/>
                <a:gd name="T12" fmla="*/ 26 w 52"/>
                <a:gd name="T13" fmla="*/ 0 h 59"/>
                <a:gd name="T14" fmla="*/ 51 w 52"/>
                <a:gd name="T15" fmla="*/ 1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59">
                  <a:moveTo>
                    <a:pt x="51" y="19"/>
                  </a:moveTo>
                  <a:cubicBezTo>
                    <a:pt x="52" y="25"/>
                    <a:pt x="50" y="41"/>
                    <a:pt x="47" y="47"/>
                  </a:cubicBezTo>
                  <a:cubicBezTo>
                    <a:pt x="44" y="52"/>
                    <a:pt x="37" y="57"/>
                    <a:pt x="30" y="59"/>
                  </a:cubicBezTo>
                  <a:cubicBezTo>
                    <a:pt x="26" y="59"/>
                    <a:pt x="26" y="59"/>
                    <a:pt x="22" y="59"/>
                  </a:cubicBezTo>
                  <a:cubicBezTo>
                    <a:pt x="15" y="57"/>
                    <a:pt x="8" y="52"/>
                    <a:pt x="5" y="47"/>
                  </a:cubicBezTo>
                  <a:cubicBezTo>
                    <a:pt x="2" y="41"/>
                    <a:pt x="0" y="25"/>
                    <a:pt x="1" y="19"/>
                  </a:cubicBezTo>
                  <a:cubicBezTo>
                    <a:pt x="2" y="6"/>
                    <a:pt x="13" y="0"/>
                    <a:pt x="26" y="0"/>
                  </a:cubicBezTo>
                  <a:cubicBezTo>
                    <a:pt x="39" y="0"/>
                    <a:pt x="50" y="6"/>
                    <a:pt x="51" y="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8" name="Freeform 21417">
              <a:extLst>
                <a:ext uri="{FF2B5EF4-FFF2-40B4-BE49-F238E27FC236}">
                  <a16:creationId xmlns:a16="http://schemas.microsoft.com/office/drawing/2014/main" id="{CAF79D99-F344-489B-98CB-2F930359EB1D}"/>
                </a:ext>
              </a:extLst>
            </p:cNvPr>
            <p:cNvSpPr>
              <a:spLocks/>
            </p:cNvSpPr>
            <p:nvPr userDrawn="1"/>
          </p:nvSpPr>
          <p:spPr bwMode="auto">
            <a:xfrm>
              <a:off x="8170228" y="3745865"/>
              <a:ext cx="268288" cy="200025"/>
            </a:xfrm>
            <a:custGeom>
              <a:avLst/>
              <a:gdLst>
                <a:gd name="T0" fmla="*/ 87 w 132"/>
                <a:gd name="T1" fmla="*/ 84 h 99"/>
                <a:gd name="T2" fmla="*/ 37 w 132"/>
                <a:gd name="T3" fmla="*/ 84 h 99"/>
                <a:gd name="T4" fmla="*/ 38 w 132"/>
                <a:gd name="T5" fmla="*/ 99 h 99"/>
                <a:gd name="T6" fmla="*/ 132 w 132"/>
                <a:gd name="T7" fmla="*/ 99 h 99"/>
                <a:gd name="T8" fmla="*/ 132 w 132"/>
                <a:gd name="T9" fmla="*/ 84 h 99"/>
                <a:gd name="T10" fmla="*/ 104 w 132"/>
                <a:gd name="T11" fmla="*/ 84 h 99"/>
                <a:gd name="T12" fmla="*/ 111 w 132"/>
                <a:gd name="T13" fmla="*/ 79 h 99"/>
                <a:gd name="T14" fmla="*/ 113 w 132"/>
                <a:gd name="T15" fmla="*/ 62 h 99"/>
                <a:gd name="T16" fmla="*/ 101 w 132"/>
                <a:gd name="T17" fmla="*/ 22 h 99"/>
                <a:gd name="T18" fmla="*/ 70 w 132"/>
                <a:gd name="T19" fmla="*/ 0 h 99"/>
                <a:gd name="T20" fmla="*/ 58 w 132"/>
                <a:gd name="T21" fmla="*/ 26 h 99"/>
                <a:gd name="T22" fmla="*/ 57 w 132"/>
                <a:gd name="T23" fmla="*/ 10 h 99"/>
                <a:gd name="T24" fmla="*/ 58 w 132"/>
                <a:gd name="T25" fmla="*/ 3 h 99"/>
                <a:gd name="T26" fmla="*/ 57 w 132"/>
                <a:gd name="T27" fmla="*/ 2 h 99"/>
                <a:gd name="T28" fmla="*/ 47 w 132"/>
                <a:gd name="T29" fmla="*/ 2 h 99"/>
                <a:gd name="T30" fmla="*/ 46 w 132"/>
                <a:gd name="T31" fmla="*/ 3 h 99"/>
                <a:gd name="T32" fmla="*/ 47 w 132"/>
                <a:gd name="T33" fmla="*/ 10 h 99"/>
                <a:gd name="T34" fmla="*/ 46 w 132"/>
                <a:gd name="T35" fmla="*/ 26 h 99"/>
                <a:gd name="T36" fmla="*/ 34 w 132"/>
                <a:gd name="T37" fmla="*/ 0 h 99"/>
                <a:gd name="T38" fmla="*/ 3 w 132"/>
                <a:gd name="T39" fmla="*/ 21 h 99"/>
                <a:gd name="T40" fmla="*/ 0 w 132"/>
                <a:gd name="T41" fmla="*/ 32 h 99"/>
                <a:gd name="T42" fmla="*/ 17 w 132"/>
                <a:gd name="T43" fmla="*/ 40 h 99"/>
                <a:gd name="T44" fmla="*/ 17 w 132"/>
                <a:gd name="T45" fmla="*/ 35 h 99"/>
                <a:gd name="T46" fmla="*/ 18 w 132"/>
                <a:gd name="T47" fmla="*/ 34 h 99"/>
                <a:gd name="T48" fmla="*/ 86 w 132"/>
                <a:gd name="T49" fmla="*/ 34 h 99"/>
                <a:gd name="T50" fmla="*/ 87 w 132"/>
                <a:gd name="T51" fmla="*/ 35 h 99"/>
                <a:gd name="T52" fmla="*/ 87 w 132"/>
                <a:gd name="T53" fmla="*/ 8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 h="99">
                  <a:moveTo>
                    <a:pt x="87" y="84"/>
                  </a:moveTo>
                  <a:cubicBezTo>
                    <a:pt x="37" y="84"/>
                    <a:pt x="37" y="84"/>
                    <a:pt x="37" y="84"/>
                  </a:cubicBezTo>
                  <a:cubicBezTo>
                    <a:pt x="38" y="99"/>
                    <a:pt x="38" y="99"/>
                    <a:pt x="38" y="99"/>
                  </a:cubicBezTo>
                  <a:cubicBezTo>
                    <a:pt x="132" y="99"/>
                    <a:pt x="132" y="99"/>
                    <a:pt x="132" y="99"/>
                  </a:cubicBezTo>
                  <a:cubicBezTo>
                    <a:pt x="132" y="84"/>
                    <a:pt x="132" y="84"/>
                    <a:pt x="132" y="84"/>
                  </a:cubicBezTo>
                  <a:cubicBezTo>
                    <a:pt x="104" y="84"/>
                    <a:pt x="104" y="84"/>
                    <a:pt x="104" y="84"/>
                  </a:cubicBezTo>
                  <a:cubicBezTo>
                    <a:pt x="107" y="83"/>
                    <a:pt x="110" y="81"/>
                    <a:pt x="111" y="79"/>
                  </a:cubicBezTo>
                  <a:cubicBezTo>
                    <a:pt x="114" y="75"/>
                    <a:pt x="114" y="67"/>
                    <a:pt x="113" y="62"/>
                  </a:cubicBezTo>
                  <a:cubicBezTo>
                    <a:pt x="101" y="22"/>
                    <a:pt x="101" y="22"/>
                    <a:pt x="101" y="22"/>
                  </a:cubicBezTo>
                  <a:cubicBezTo>
                    <a:pt x="99" y="8"/>
                    <a:pt x="82" y="2"/>
                    <a:pt x="70" y="0"/>
                  </a:cubicBezTo>
                  <a:cubicBezTo>
                    <a:pt x="58" y="26"/>
                    <a:pt x="58" y="26"/>
                    <a:pt x="58" y="26"/>
                  </a:cubicBezTo>
                  <a:cubicBezTo>
                    <a:pt x="57" y="10"/>
                    <a:pt x="57" y="10"/>
                    <a:pt x="57" y="10"/>
                  </a:cubicBezTo>
                  <a:cubicBezTo>
                    <a:pt x="57" y="10"/>
                    <a:pt x="58" y="4"/>
                    <a:pt x="58" y="3"/>
                  </a:cubicBezTo>
                  <a:cubicBezTo>
                    <a:pt x="58" y="2"/>
                    <a:pt x="57" y="2"/>
                    <a:pt x="57" y="2"/>
                  </a:cubicBezTo>
                  <a:cubicBezTo>
                    <a:pt x="54" y="2"/>
                    <a:pt x="50" y="2"/>
                    <a:pt x="47" y="2"/>
                  </a:cubicBezTo>
                  <a:cubicBezTo>
                    <a:pt x="47" y="2"/>
                    <a:pt x="46" y="2"/>
                    <a:pt x="46" y="3"/>
                  </a:cubicBezTo>
                  <a:cubicBezTo>
                    <a:pt x="46" y="4"/>
                    <a:pt x="47" y="10"/>
                    <a:pt x="47" y="10"/>
                  </a:cubicBezTo>
                  <a:cubicBezTo>
                    <a:pt x="46" y="26"/>
                    <a:pt x="46" y="26"/>
                    <a:pt x="46" y="26"/>
                  </a:cubicBezTo>
                  <a:cubicBezTo>
                    <a:pt x="34" y="0"/>
                    <a:pt x="34" y="0"/>
                    <a:pt x="34" y="0"/>
                  </a:cubicBezTo>
                  <a:cubicBezTo>
                    <a:pt x="22" y="2"/>
                    <a:pt x="6" y="7"/>
                    <a:pt x="3" y="21"/>
                  </a:cubicBezTo>
                  <a:cubicBezTo>
                    <a:pt x="0" y="32"/>
                    <a:pt x="0" y="32"/>
                    <a:pt x="0" y="32"/>
                  </a:cubicBezTo>
                  <a:cubicBezTo>
                    <a:pt x="6" y="34"/>
                    <a:pt x="12" y="37"/>
                    <a:pt x="17" y="40"/>
                  </a:cubicBezTo>
                  <a:cubicBezTo>
                    <a:pt x="17" y="35"/>
                    <a:pt x="17" y="35"/>
                    <a:pt x="17" y="35"/>
                  </a:cubicBezTo>
                  <a:cubicBezTo>
                    <a:pt x="17" y="34"/>
                    <a:pt x="17" y="34"/>
                    <a:pt x="18" y="34"/>
                  </a:cubicBezTo>
                  <a:cubicBezTo>
                    <a:pt x="86" y="34"/>
                    <a:pt x="86" y="34"/>
                    <a:pt x="86" y="34"/>
                  </a:cubicBezTo>
                  <a:cubicBezTo>
                    <a:pt x="87" y="34"/>
                    <a:pt x="87" y="34"/>
                    <a:pt x="87" y="35"/>
                  </a:cubicBezTo>
                  <a:cubicBezTo>
                    <a:pt x="87" y="84"/>
                    <a:pt x="87" y="84"/>
                    <a:pt x="87" y="8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9" name="Freeform 21418">
              <a:extLst>
                <a:ext uri="{FF2B5EF4-FFF2-40B4-BE49-F238E27FC236}">
                  <a16:creationId xmlns:a16="http://schemas.microsoft.com/office/drawing/2014/main" id="{318DB10D-35C6-4E41-8126-C2435CC9648E}"/>
                </a:ext>
              </a:extLst>
            </p:cNvPr>
            <p:cNvSpPr>
              <a:spLocks/>
            </p:cNvSpPr>
            <p:nvPr userDrawn="1"/>
          </p:nvSpPr>
          <p:spPr bwMode="auto">
            <a:xfrm>
              <a:off x="8036878" y="3655378"/>
              <a:ext cx="130175" cy="149225"/>
            </a:xfrm>
            <a:custGeom>
              <a:avLst/>
              <a:gdLst>
                <a:gd name="T0" fmla="*/ 63 w 64"/>
                <a:gd name="T1" fmla="*/ 23 h 74"/>
                <a:gd name="T2" fmla="*/ 58 w 64"/>
                <a:gd name="T3" fmla="*/ 58 h 74"/>
                <a:gd name="T4" fmla="*/ 37 w 64"/>
                <a:gd name="T5" fmla="*/ 73 h 74"/>
                <a:gd name="T6" fmla="*/ 27 w 64"/>
                <a:gd name="T7" fmla="*/ 73 h 74"/>
                <a:gd name="T8" fmla="*/ 6 w 64"/>
                <a:gd name="T9" fmla="*/ 58 h 74"/>
                <a:gd name="T10" fmla="*/ 0 w 64"/>
                <a:gd name="T11" fmla="*/ 23 h 74"/>
                <a:gd name="T12" fmla="*/ 32 w 64"/>
                <a:gd name="T13" fmla="*/ 0 h 74"/>
                <a:gd name="T14" fmla="*/ 63 w 64"/>
                <a:gd name="T15" fmla="*/ 2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4">
                  <a:moveTo>
                    <a:pt x="63" y="23"/>
                  </a:moveTo>
                  <a:cubicBezTo>
                    <a:pt x="64" y="32"/>
                    <a:pt x="62" y="51"/>
                    <a:pt x="58" y="58"/>
                  </a:cubicBezTo>
                  <a:cubicBezTo>
                    <a:pt x="54" y="65"/>
                    <a:pt x="46" y="71"/>
                    <a:pt x="37" y="73"/>
                  </a:cubicBezTo>
                  <a:cubicBezTo>
                    <a:pt x="32" y="74"/>
                    <a:pt x="31" y="74"/>
                    <a:pt x="27" y="73"/>
                  </a:cubicBezTo>
                  <a:cubicBezTo>
                    <a:pt x="17" y="71"/>
                    <a:pt x="9" y="65"/>
                    <a:pt x="6" y="58"/>
                  </a:cubicBezTo>
                  <a:cubicBezTo>
                    <a:pt x="2" y="51"/>
                    <a:pt x="0" y="32"/>
                    <a:pt x="0" y="23"/>
                  </a:cubicBezTo>
                  <a:cubicBezTo>
                    <a:pt x="2" y="8"/>
                    <a:pt x="16" y="0"/>
                    <a:pt x="32" y="0"/>
                  </a:cubicBezTo>
                  <a:cubicBezTo>
                    <a:pt x="47" y="0"/>
                    <a:pt x="61" y="8"/>
                    <a:pt x="63" y="23"/>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0" name="Freeform 21419">
              <a:extLst>
                <a:ext uri="{FF2B5EF4-FFF2-40B4-BE49-F238E27FC236}">
                  <a16:creationId xmlns:a16="http://schemas.microsoft.com/office/drawing/2014/main" id="{2D2DEB2F-F7C6-4857-B139-AD9013584A43}"/>
                </a:ext>
              </a:extLst>
            </p:cNvPr>
            <p:cNvSpPr>
              <a:spLocks/>
            </p:cNvSpPr>
            <p:nvPr userDrawn="1"/>
          </p:nvSpPr>
          <p:spPr bwMode="auto">
            <a:xfrm>
              <a:off x="7968615" y="3790315"/>
              <a:ext cx="265113" cy="179388"/>
            </a:xfrm>
            <a:custGeom>
              <a:avLst/>
              <a:gdLst>
                <a:gd name="T0" fmla="*/ 0 w 131"/>
                <a:gd name="T1" fmla="*/ 89 h 89"/>
                <a:gd name="T2" fmla="*/ 1 w 131"/>
                <a:gd name="T3" fmla="*/ 49 h 89"/>
                <a:gd name="T4" fmla="*/ 130 w 131"/>
                <a:gd name="T5" fmla="*/ 49 h 89"/>
                <a:gd name="T6" fmla="*/ 131 w 131"/>
                <a:gd name="T7" fmla="*/ 89 h 89"/>
                <a:gd name="T8" fmla="*/ 0 w 131"/>
                <a:gd name="T9" fmla="*/ 89 h 89"/>
              </a:gdLst>
              <a:ahLst/>
              <a:cxnLst>
                <a:cxn ang="0">
                  <a:pos x="T0" y="T1"/>
                </a:cxn>
                <a:cxn ang="0">
                  <a:pos x="T2" y="T3"/>
                </a:cxn>
                <a:cxn ang="0">
                  <a:pos x="T4" y="T5"/>
                </a:cxn>
                <a:cxn ang="0">
                  <a:pos x="T6" y="T7"/>
                </a:cxn>
                <a:cxn ang="0">
                  <a:pos x="T8" y="T9"/>
                </a:cxn>
              </a:cxnLst>
              <a:rect l="0" t="0" r="r" b="b"/>
              <a:pathLst>
                <a:path w="131" h="89">
                  <a:moveTo>
                    <a:pt x="0" y="89"/>
                  </a:moveTo>
                  <a:cubicBezTo>
                    <a:pt x="1" y="49"/>
                    <a:pt x="1" y="49"/>
                    <a:pt x="1" y="49"/>
                  </a:cubicBezTo>
                  <a:cubicBezTo>
                    <a:pt x="3" y="0"/>
                    <a:pt x="128" y="0"/>
                    <a:pt x="130" y="49"/>
                  </a:cubicBezTo>
                  <a:cubicBezTo>
                    <a:pt x="131" y="89"/>
                    <a:pt x="131" y="89"/>
                    <a:pt x="131" y="89"/>
                  </a:cubicBezTo>
                  <a:cubicBezTo>
                    <a:pt x="0" y="89"/>
                    <a:pt x="0" y="89"/>
                    <a:pt x="0" y="89"/>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1" name="Freeform 21420">
              <a:extLst>
                <a:ext uri="{FF2B5EF4-FFF2-40B4-BE49-F238E27FC236}">
                  <a16:creationId xmlns:a16="http://schemas.microsoft.com/office/drawing/2014/main" id="{D28845E6-2DDA-4B8C-BFB1-3101A62D0090}"/>
                </a:ext>
              </a:extLst>
            </p:cNvPr>
            <p:cNvSpPr>
              <a:spLocks/>
            </p:cNvSpPr>
            <p:nvPr userDrawn="1"/>
          </p:nvSpPr>
          <p:spPr bwMode="auto">
            <a:xfrm>
              <a:off x="8335328" y="3558540"/>
              <a:ext cx="214313" cy="173038"/>
            </a:xfrm>
            <a:custGeom>
              <a:avLst/>
              <a:gdLst>
                <a:gd name="T0" fmla="*/ 55 w 106"/>
                <a:gd name="T1" fmla="*/ 0 h 86"/>
                <a:gd name="T2" fmla="*/ 4 w 106"/>
                <a:gd name="T3" fmla="*/ 39 h 86"/>
                <a:gd name="T4" fmla="*/ 10 w 106"/>
                <a:gd name="T5" fmla="*/ 86 h 86"/>
                <a:gd name="T6" fmla="*/ 35 w 106"/>
                <a:gd name="T7" fmla="*/ 76 h 86"/>
                <a:gd name="T8" fmla="*/ 46 w 106"/>
                <a:gd name="T9" fmla="*/ 78 h 86"/>
                <a:gd name="T10" fmla="*/ 55 w 106"/>
                <a:gd name="T11" fmla="*/ 79 h 86"/>
                <a:gd name="T12" fmla="*/ 86 w 106"/>
                <a:gd name="T13" fmla="*/ 71 h 86"/>
                <a:gd name="T14" fmla="*/ 106 w 106"/>
                <a:gd name="T15" fmla="*/ 39 h 86"/>
                <a:gd name="T16" fmla="*/ 55 w 106"/>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86">
                  <a:moveTo>
                    <a:pt x="55" y="0"/>
                  </a:moveTo>
                  <a:cubicBezTo>
                    <a:pt x="27" y="0"/>
                    <a:pt x="7" y="18"/>
                    <a:pt x="4" y="39"/>
                  </a:cubicBezTo>
                  <a:cubicBezTo>
                    <a:pt x="0" y="62"/>
                    <a:pt x="15" y="74"/>
                    <a:pt x="10" y="86"/>
                  </a:cubicBezTo>
                  <a:cubicBezTo>
                    <a:pt x="35" y="76"/>
                    <a:pt x="35" y="76"/>
                    <a:pt x="35" y="76"/>
                  </a:cubicBezTo>
                  <a:cubicBezTo>
                    <a:pt x="39" y="77"/>
                    <a:pt x="43" y="78"/>
                    <a:pt x="46" y="78"/>
                  </a:cubicBezTo>
                  <a:cubicBezTo>
                    <a:pt x="49" y="79"/>
                    <a:pt x="52" y="79"/>
                    <a:pt x="55" y="79"/>
                  </a:cubicBezTo>
                  <a:cubicBezTo>
                    <a:pt x="66" y="79"/>
                    <a:pt x="77" y="76"/>
                    <a:pt x="86" y="71"/>
                  </a:cubicBezTo>
                  <a:cubicBezTo>
                    <a:pt x="98" y="64"/>
                    <a:pt x="106" y="52"/>
                    <a:pt x="106" y="39"/>
                  </a:cubicBezTo>
                  <a:cubicBezTo>
                    <a:pt x="106" y="18"/>
                    <a:pt x="83" y="0"/>
                    <a:pt x="55" y="0"/>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2" name="Freeform 21421">
              <a:extLst>
                <a:ext uri="{FF2B5EF4-FFF2-40B4-BE49-F238E27FC236}">
                  <a16:creationId xmlns:a16="http://schemas.microsoft.com/office/drawing/2014/main" id="{99769E23-FD92-4134-8855-41EE0424E111}"/>
                </a:ext>
              </a:extLst>
            </p:cNvPr>
            <p:cNvSpPr>
              <a:spLocks/>
            </p:cNvSpPr>
            <p:nvPr userDrawn="1"/>
          </p:nvSpPr>
          <p:spPr bwMode="auto">
            <a:xfrm>
              <a:off x="9083040" y="3812540"/>
              <a:ext cx="306388" cy="142875"/>
            </a:xfrm>
            <a:custGeom>
              <a:avLst/>
              <a:gdLst>
                <a:gd name="T0" fmla="*/ 2 w 152"/>
                <a:gd name="T1" fmla="*/ 37 h 71"/>
                <a:gd name="T2" fmla="*/ 0 w 152"/>
                <a:gd name="T3" fmla="*/ 22 h 71"/>
                <a:gd name="T4" fmla="*/ 60 w 152"/>
                <a:gd name="T5" fmla="*/ 0 h 71"/>
                <a:gd name="T6" fmla="*/ 134 w 152"/>
                <a:gd name="T7" fmla="*/ 34 h 71"/>
                <a:gd name="T8" fmla="*/ 140 w 152"/>
                <a:gd name="T9" fmla="*/ 27 h 71"/>
                <a:gd name="T10" fmla="*/ 148 w 152"/>
                <a:gd name="T11" fmla="*/ 31 h 71"/>
                <a:gd name="T12" fmla="*/ 152 w 152"/>
                <a:gd name="T13" fmla="*/ 71 h 71"/>
                <a:gd name="T14" fmla="*/ 114 w 152"/>
                <a:gd name="T15" fmla="*/ 56 h 71"/>
                <a:gd name="T16" fmla="*/ 113 w 152"/>
                <a:gd name="T17" fmla="*/ 47 h 71"/>
                <a:gd name="T18" fmla="*/ 124 w 152"/>
                <a:gd name="T19" fmla="*/ 42 h 71"/>
                <a:gd name="T20" fmla="*/ 60 w 152"/>
                <a:gd name="T21" fmla="*/ 13 h 71"/>
                <a:gd name="T22" fmla="*/ 2 w 152"/>
                <a:gd name="T23" fmla="*/ 3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71">
                  <a:moveTo>
                    <a:pt x="2" y="37"/>
                  </a:moveTo>
                  <a:cubicBezTo>
                    <a:pt x="1" y="32"/>
                    <a:pt x="0" y="27"/>
                    <a:pt x="0" y="22"/>
                  </a:cubicBezTo>
                  <a:cubicBezTo>
                    <a:pt x="16" y="8"/>
                    <a:pt x="37" y="0"/>
                    <a:pt x="60" y="0"/>
                  </a:cubicBezTo>
                  <a:cubicBezTo>
                    <a:pt x="90" y="0"/>
                    <a:pt x="116" y="13"/>
                    <a:pt x="134" y="34"/>
                  </a:cubicBezTo>
                  <a:cubicBezTo>
                    <a:pt x="136" y="31"/>
                    <a:pt x="139" y="27"/>
                    <a:pt x="140" y="27"/>
                  </a:cubicBezTo>
                  <a:cubicBezTo>
                    <a:pt x="143" y="23"/>
                    <a:pt x="148" y="24"/>
                    <a:pt x="148" y="31"/>
                  </a:cubicBezTo>
                  <a:cubicBezTo>
                    <a:pt x="149" y="37"/>
                    <a:pt x="152" y="71"/>
                    <a:pt x="152" y="71"/>
                  </a:cubicBezTo>
                  <a:cubicBezTo>
                    <a:pt x="152" y="71"/>
                    <a:pt x="121" y="58"/>
                    <a:pt x="114" y="56"/>
                  </a:cubicBezTo>
                  <a:cubicBezTo>
                    <a:pt x="108" y="54"/>
                    <a:pt x="109" y="49"/>
                    <a:pt x="113" y="47"/>
                  </a:cubicBezTo>
                  <a:cubicBezTo>
                    <a:pt x="114" y="46"/>
                    <a:pt x="119" y="44"/>
                    <a:pt x="124" y="42"/>
                  </a:cubicBezTo>
                  <a:cubicBezTo>
                    <a:pt x="109" y="24"/>
                    <a:pt x="86" y="13"/>
                    <a:pt x="60" y="13"/>
                  </a:cubicBezTo>
                  <a:cubicBezTo>
                    <a:pt x="37" y="13"/>
                    <a:pt x="17" y="22"/>
                    <a:pt x="2" y="37"/>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3" name="Freeform 21422">
              <a:extLst>
                <a:ext uri="{FF2B5EF4-FFF2-40B4-BE49-F238E27FC236}">
                  <a16:creationId xmlns:a16="http://schemas.microsoft.com/office/drawing/2014/main" id="{8C003203-5A3F-4603-9A6C-C713AA551D5B}"/>
                </a:ext>
              </a:extLst>
            </p:cNvPr>
            <p:cNvSpPr>
              <a:spLocks/>
            </p:cNvSpPr>
            <p:nvPr userDrawn="1"/>
          </p:nvSpPr>
          <p:spPr bwMode="auto">
            <a:xfrm>
              <a:off x="9151303" y="3961765"/>
              <a:ext cx="246063" cy="265113"/>
            </a:xfrm>
            <a:custGeom>
              <a:avLst/>
              <a:gdLst>
                <a:gd name="T0" fmla="*/ 122 w 122"/>
                <a:gd name="T1" fmla="*/ 21 h 132"/>
                <a:gd name="T2" fmla="*/ 120 w 122"/>
                <a:gd name="T3" fmla="*/ 6 h 132"/>
                <a:gd name="T4" fmla="*/ 106 w 122"/>
                <a:gd name="T5" fmla="*/ 0 h 132"/>
                <a:gd name="T6" fmla="*/ 109 w 122"/>
                <a:gd name="T7" fmla="*/ 21 h 132"/>
                <a:gd name="T8" fmla="*/ 39 w 122"/>
                <a:gd name="T9" fmla="*/ 103 h 132"/>
                <a:gd name="T10" fmla="*/ 41 w 122"/>
                <a:gd name="T11" fmla="*/ 91 h 132"/>
                <a:gd name="T12" fmla="*/ 32 w 122"/>
                <a:gd name="T13" fmla="*/ 88 h 132"/>
                <a:gd name="T14" fmla="*/ 0 w 122"/>
                <a:gd name="T15" fmla="*/ 113 h 132"/>
                <a:gd name="T16" fmla="*/ 38 w 122"/>
                <a:gd name="T17" fmla="*/ 130 h 132"/>
                <a:gd name="T18" fmla="*/ 45 w 122"/>
                <a:gd name="T19" fmla="*/ 124 h 132"/>
                <a:gd name="T20" fmla="*/ 41 w 122"/>
                <a:gd name="T21" fmla="*/ 115 h 132"/>
                <a:gd name="T22" fmla="*/ 122 w 122"/>
                <a:gd name="T23"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132">
                  <a:moveTo>
                    <a:pt x="122" y="21"/>
                  </a:moveTo>
                  <a:cubicBezTo>
                    <a:pt x="122" y="16"/>
                    <a:pt x="121" y="11"/>
                    <a:pt x="120" y="6"/>
                  </a:cubicBezTo>
                  <a:cubicBezTo>
                    <a:pt x="116" y="4"/>
                    <a:pt x="111" y="2"/>
                    <a:pt x="106" y="0"/>
                  </a:cubicBezTo>
                  <a:cubicBezTo>
                    <a:pt x="108" y="7"/>
                    <a:pt x="109" y="14"/>
                    <a:pt x="109" y="21"/>
                  </a:cubicBezTo>
                  <a:cubicBezTo>
                    <a:pt x="109" y="62"/>
                    <a:pt x="79" y="96"/>
                    <a:pt x="39" y="103"/>
                  </a:cubicBezTo>
                  <a:cubicBezTo>
                    <a:pt x="40" y="98"/>
                    <a:pt x="41" y="92"/>
                    <a:pt x="41" y="91"/>
                  </a:cubicBezTo>
                  <a:cubicBezTo>
                    <a:pt x="41" y="87"/>
                    <a:pt x="38" y="83"/>
                    <a:pt x="32" y="88"/>
                  </a:cubicBezTo>
                  <a:cubicBezTo>
                    <a:pt x="27" y="92"/>
                    <a:pt x="0" y="113"/>
                    <a:pt x="0" y="113"/>
                  </a:cubicBezTo>
                  <a:cubicBezTo>
                    <a:pt x="0" y="113"/>
                    <a:pt x="31" y="126"/>
                    <a:pt x="38" y="130"/>
                  </a:cubicBezTo>
                  <a:cubicBezTo>
                    <a:pt x="44" y="132"/>
                    <a:pt x="46" y="128"/>
                    <a:pt x="45" y="124"/>
                  </a:cubicBezTo>
                  <a:cubicBezTo>
                    <a:pt x="45" y="123"/>
                    <a:pt x="43" y="119"/>
                    <a:pt x="41" y="115"/>
                  </a:cubicBezTo>
                  <a:cubicBezTo>
                    <a:pt x="87" y="108"/>
                    <a:pt x="122" y="68"/>
                    <a:pt x="122" y="21"/>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4" name="Freeform 21423">
              <a:extLst>
                <a:ext uri="{FF2B5EF4-FFF2-40B4-BE49-F238E27FC236}">
                  <a16:creationId xmlns:a16="http://schemas.microsoft.com/office/drawing/2014/main" id="{883C4743-C70D-4B56-A0D3-9D72E7B19C2E}"/>
                </a:ext>
              </a:extLst>
            </p:cNvPr>
            <p:cNvSpPr>
              <a:spLocks/>
            </p:cNvSpPr>
            <p:nvPr userDrawn="1"/>
          </p:nvSpPr>
          <p:spPr bwMode="auto">
            <a:xfrm>
              <a:off x="8989378" y="3866515"/>
              <a:ext cx="171450" cy="315913"/>
            </a:xfrm>
            <a:custGeom>
              <a:avLst/>
              <a:gdLst>
                <a:gd name="T0" fmla="*/ 24 w 85"/>
                <a:gd name="T1" fmla="*/ 68 h 157"/>
                <a:gd name="T2" fmla="*/ 29 w 85"/>
                <a:gd name="T3" fmla="*/ 39 h 157"/>
                <a:gd name="T4" fmla="*/ 38 w 85"/>
                <a:gd name="T5" fmla="*/ 46 h 157"/>
                <a:gd name="T6" fmla="*/ 45 w 85"/>
                <a:gd name="T7" fmla="*/ 40 h 157"/>
                <a:gd name="T8" fmla="*/ 39 w 85"/>
                <a:gd name="T9" fmla="*/ 0 h 157"/>
                <a:gd name="T10" fmla="*/ 6 w 85"/>
                <a:gd name="T11" fmla="*/ 24 h 157"/>
                <a:gd name="T12" fmla="*/ 7 w 85"/>
                <a:gd name="T13" fmla="*/ 33 h 157"/>
                <a:gd name="T14" fmla="*/ 18 w 85"/>
                <a:gd name="T15" fmla="*/ 35 h 157"/>
                <a:gd name="T16" fmla="*/ 11 w 85"/>
                <a:gd name="T17" fmla="*/ 68 h 157"/>
                <a:gd name="T18" fmla="*/ 73 w 85"/>
                <a:gd name="T19" fmla="*/ 157 h 157"/>
                <a:gd name="T20" fmla="*/ 85 w 85"/>
                <a:gd name="T21" fmla="*/ 148 h 157"/>
                <a:gd name="T22" fmla="*/ 24 w 85"/>
                <a:gd name="T23" fmla="*/ 6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57">
                  <a:moveTo>
                    <a:pt x="24" y="68"/>
                  </a:moveTo>
                  <a:cubicBezTo>
                    <a:pt x="24" y="58"/>
                    <a:pt x="26" y="48"/>
                    <a:pt x="29" y="39"/>
                  </a:cubicBezTo>
                  <a:cubicBezTo>
                    <a:pt x="33" y="42"/>
                    <a:pt x="37" y="45"/>
                    <a:pt x="38" y="46"/>
                  </a:cubicBezTo>
                  <a:cubicBezTo>
                    <a:pt x="41" y="48"/>
                    <a:pt x="46" y="47"/>
                    <a:pt x="45" y="40"/>
                  </a:cubicBezTo>
                  <a:cubicBezTo>
                    <a:pt x="44" y="33"/>
                    <a:pt x="39" y="0"/>
                    <a:pt x="39" y="0"/>
                  </a:cubicBezTo>
                  <a:cubicBezTo>
                    <a:pt x="39" y="0"/>
                    <a:pt x="12" y="20"/>
                    <a:pt x="6" y="24"/>
                  </a:cubicBezTo>
                  <a:cubicBezTo>
                    <a:pt x="0" y="28"/>
                    <a:pt x="3" y="32"/>
                    <a:pt x="7" y="33"/>
                  </a:cubicBezTo>
                  <a:cubicBezTo>
                    <a:pt x="8" y="33"/>
                    <a:pt x="13" y="34"/>
                    <a:pt x="18" y="35"/>
                  </a:cubicBezTo>
                  <a:cubicBezTo>
                    <a:pt x="14" y="45"/>
                    <a:pt x="11" y="56"/>
                    <a:pt x="11" y="68"/>
                  </a:cubicBezTo>
                  <a:cubicBezTo>
                    <a:pt x="11" y="109"/>
                    <a:pt x="37" y="143"/>
                    <a:pt x="73" y="157"/>
                  </a:cubicBezTo>
                  <a:cubicBezTo>
                    <a:pt x="76" y="154"/>
                    <a:pt x="81" y="151"/>
                    <a:pt x="85" y="148"/>
                  </a:cubicBezTo>
                  <a:cubicBezTo>
                    <a:pt x="50" y="138"/>
                    <a:pt x="24" y="106"/>
                    <a:pt x="24" y="68"/>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5" name="Oval 21424">
              <a:extLst>
                <a:ext uri="{FF2B5EF4-FFF2-40B4-BE49-F238E27FC236}">
                  <a16:creationId xmlns:a16="http://schemas.microsoft.com/office/drawing/2014/main" id="{C854886D-F13A-4879-8721-D3C3D8924B1F}"/>
                </a:ext>
              </a:extLst>
            </p:cNvPr>
            <p:cNvSpPr>
              <a:spLocks noChangeArrowheads="1"/>
            </p:cNvSpPr>
            <p:nvPr userDrawn="1"/>
          </p:nvSpPr>
          <p:spPr bwMode="auto">
            <a:xfrm>
              <a:off x="9151303" y="3880803"/>
              <a:ext cx="107950" cy="106363"/>
            </a:xfrm>
            <a:prstGeom prst="ellipse">
              <a:avLst/>
            </a:pr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6" name="Freeform 21425">
              <a:extLst>
                <a:ext uri="{FF2B5EF4-FFF2-40B4-BE49-F238E27FC236}">
                  <a16:creationId xmlns:a16="http://schemas.microsoft.com/office/drawing/2014/main" id="{0389D2C9-F323-4C69-86AD-09E17505E9E9}"/>
                </a:ext>
              </a:extLst>
            </p:cNvPr>
            <p:cNvSpPr>
              <a:spLocks/>
            </p:cNvSpPr>
            <p:nvPr userDrawn="1"/>
          </p:nvSpPr>
          <p:spPr bwMode="auto">
            <a:xfrm>
              <a:off x="9119553" y="4007803"/>
              <a:ext cx="171450" cy="92075"/>
            </a:xfrm>
            <a:custGeom>
              <a:avLst/>
              <a:gdLst>
                <a:gd name="T0" fmla="*/ 42 w 85"/>
                <a:gd name="T1" fmla="*/ 46 h 46"/>
                <a:gd name="T2" fmla="*/ 85 w 85"/>
                <a:gd name="T3" fmla="*/ 31 h 46"/>
                <a:gd name="T4" fmla="*/ 85 w 85"/>
                <a:gd name="T5" fmla="*/ 17 h 46"/>
                <a:gd name="T6" fmla="*/ 65 w 85"/>
                <a:gd name="T7" fmla="*/ 0 h 46"/>
                <a:gd name="T8" fmla="*/ 20 w 85"/>
                <a:gd name="T9" fmla="*/ 0 h 46"/>
                <a:gd name="T10" fmla="*/ 0 w 85"/>
                <a:gd name="T11" fmla="*/ 17 h 46"/>
                <a:gd name="T12" fmla="*/ 0 w 85"/>
                <a:gd name="T13" fmla="*/ 31 h 46"/>
                <a:gd name="T14" fmla="*/ 42 w 8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6">
                  <a:moveTo>
                    <a:pt x="42" y="46"/>
                  </a:moveTo>
                  <a:cubicBezTo>
                    <a:pt x="72" y="46"/>
                    <a:pt x="85" y="31"/>
                    <a:pt x="85" y="31"/>
                  </a:cubicBezTo>
                  <a:cubicBezTo>
                    <a:pt x="85" y="17"/>
                    <a:pt x="85" y="17"/>
                    <a:pt x="85" y="17"/>
                  </a:cubicBezTo>
                  <a:cubicBezTo>
                    <a:pt x="85" y="8"/>
                    <a:pt x="76" y="0"/>
                    <a:pt x="65" y="0"/>
                  </a:cubicBezTo>
                  <a:cubicBezTo>
                    <a:pt x="20" y="0"/>
                    <a:pt x="20" y="0"/>
                    <a:pt x="20" y="0"/>
                  </a:cubicBezTo>
                  <a:cubicBezTo>
                    <a:pt x="9" y="0"/>
                    <a:pt x="0" y="8"/>
                    <a:pt x="0" y="17"/>
                  </a:cubicBezTo>
                  <a:cubicBezTo>
                    <a:pt x="0" y="31"/>
                    <a:pt x="0" y="31"/>
                    <a:pt x="0" y="31"/>
                  </a:cubicBezTo>
                  <a:cubicBezTo>
                    <a:pt x="0" y="31"/>
                    <a:pt x="11" y="46"/>
                    <a:pt x="42" y="46"/>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7" name="Freeform 21426">
              <a:extLst>
                <a:ext uri="{FF2B5EF4-FFF2-40B4-BE49-F238E27FC236}">
                  <a16:creationId xmlns:a16="http://schemas.microsoft.com/office/drawing/2014/main" id="{644D03B1-AF78-4423-9728-9228C8BE4F6D}"/>
                </a:ext>
              </a:extLst>
            </p:cNvPr>
            <p:cNvSpPr>
              <a:spLocks noEditPoints="1"/>
            </p:cNvSpPr>
            <p:nvPr userDrawn="1"/>
          </p:nvSpPr>
          <p:spPr bwMode="auto">
            <a:xfrm>
              <a:off x="7711440" y="4458653"/>
              <a:ext cx="2298700" cy="1477963"/>
            </a:xfrm>
            <a:custGeom>
              <a:avLst/>
              <a:gdLst>
                <a:gd name="T0" fmla="*/ 191 w 1137"/>
                <a:gd name="T1" fmla="*/ 449 h 733"/>
                <a:gd name="T2" fmla="*/ 186 w 1137"/>
                <a:gd name="T3" fmla="*/ 453 h 733"/>
                <a:gd name="T4" fmla="*/ 190 w 1137"/>
                <a:gd name="T5" fmla="*/ 466 h 733"/>
                <a:gd name="T6" fmla="*/ 186 w 1137"/>
                <a:gd name="T7" fmla="*/ 481 h 733"/>
                <a:gd name="T8" fmla="*/ 185 w 1137"/>
                <a:gd name="T9" fmla="*/ 482 h 733"/>
                <a:gd name="T10" fmla="*/ 179 w 1137"/>
                <a:gd name="T11" fmla="*/ 484 h 733"/>
                <a:gd name="T12" fmla="*/ 170 w 1137"/>
                <a:gd name="T13" fmla="*/ 479 h 733"/>
                <a:gd name="T14" fmla="*/ 159 w 1137"/>
                <a:gd name="T15" fmla="*/ 470 h 733"/>
                <a:gd name="T16" fmla="*/ 154 w 1137"/>
                <a:gd name="T17" fmla="*/ 473 h 733"/>
                <a:gd name="T18" fmla="*/ 155 w 1137"/>
                <a:gd name="T19" fmla="*/ 483 h 733"/>
                <a:gd name="T20" fmla="*/ 157 w 1137"/>
                <a:gd name="T21" fmla="*/ 486 h 733"/>
                <a:gd name="T22" fmla="*/ 682 w 1137"/>
                <a:gd name="T23" fmla="*/ 733 h 733"/>
                <a:gd name="T24" fmla="*/ 1044 w 1137"/>
                <a:gd name="T25" fmla="*/ 629 h 733"/>
                <a:gd name="T26" fmla="*/ 1106 w 1137"/>
                <a:gd name="T27" fmla="*/ 711 h 733"/>
                <a:gd name="T28" fmla="*/ 1121 w 1137"/>
                <a:gd name="T29" fmla="*/ 686 h 733"/>
                <a:gd name="T30" fmla="*/ 1137 w 1137"/>
                <a:gd name="T31" fmla="*/ 674 h 733"/>
                <a:gd name="T32" fmla="*/ 1046 w 1137"/>
                <a:gd name="T33" fmla="*/ 551 h 733"/>
                <a:gd name="T34" fmla="*/ 684 w 1137"/>
                <a:gd name="T35" fmla="*/ 655 h 733"/>
                <a:gd name="T36" fmla="*/ 199 w 1137"/>
                <a:gd name="T37" fmla="*/ 453 h 733"/>
                <a:gd name="T38" fmla="*/ 191 w 1137"/>
                <a:gd name="T39" fmla="*/ 449 h 733"/>
                <a:gd name="T40" fmla="*/ 177 w 1137"/>
                <a:gd name="T41" fmla="*/ 430 h 733"/>
                <a:gd name="T42" fmla="*/ 134 w 1137"/>
                <a:gd name="T43" fmla="*/ 456 h 733"/>
                <a:gd name="T44" fmla="*/ 150 w 1137"/>
                <a:gd name="T45" fmla="*/ 477 h 733"/>
                <a:gd name="T46" fmla="*/ 150 w 1137"/>
                <a:gd name="T47" fmla="*/ 471 h 733"/>
                <a:gd name="T48" fmla="*/ 151 w 1137"/>
                <a:gd name="T49" fmla="*/ 470 h 733"/>
                <a:gd name="T50" fmla="*/ 158 w 1137"/>
                <a:gd name="T51" fmla="*/ 466 h 733"/>
                <a:gd name="T52" fmla="*/ 158 w 1137"/>
                <a:gd name="T53" fmla="*/ 466 h 733"/>
                <a:gd name="T54" fmla="*/ 159 w 1137"/>
                <a:gd name="T55" fmla="*/ 466 h 733"/>
                <a:gd name="T56" fmla="*/ 160 w 1137"/>
                <a:gd name="T57" fmla="*/ 466 h 733"/>
                <a:gd name="T58" fmla="*/ 173 w 1137"/>
                <a:gd name="T59" fmla="*/ 476 h 733"/>
                <a:gd name="T60" fmla="*/ 179 w 1137"/>
                <a:gd name="T61" fmla="*/ 480 h 733"/>
                <a:gd name="T62" fmla="*/ 183 w 1137"/>
                <a:gd name="T63" fmla="*/ 478 h 733"/>
                <a:gd name="T64" fmla="*/ 184 w 1137"/>
                <a:gd name="T65" fmla="*/ 477 h 733"/>
                <a:gd name="T66" fmla="*/ 186 w 1137"/>
                <a:gd name="T67" fmla="*/ 468 h 733"/>
                <a:gd name="T68" fmla="*/ 182 w 1137"/>
                <a:gd name="T69" fmla="*/ 451 h 733"/>
                <a:gd name="T70" fmla="*/ 183 w 1137"/>
                <a:gd name="T71" fmla="*/ 450 h 733"/>
                <a:gd name="T72" fmla="*/ 189 w 1137"/>
                <a:gd name="T73" fmla="*/ 445 h 733"/>
                <a:gd name="T74" fmla="*/ 190 w 1137"/>
                <a:gd name="T75" fmla="*/ 445 h 733"/>
                <a:gd name="T76" fmla="*/ 190 w 1137"/>
                <a:gd name="T77" fmla="*/ 445 h 733"/>
                <a:gd name="T78" fmla="*/ 191 w 1137"/>
                <a:gd name="T79" fmla="*/ 445 h 733"/>
                <a:gd name="T80" fmla="*/ 177 w 1137"/>
                <a:gd name="T81" fmla="*/ 430 h 733"/>
                <a:gd name="T82" fmla="*/ 6 w 1137"/>
                <a:gd name="T83" fmla="*/ 50 h 733"/>
                <a:gd name="T84" fmla="*/ 0 w 1137"/>
                <a:gd name="T85" fmla="*/ 51 h 733"/>
                <a:gd name="T86" fmla="*/ 131 w 1137"/>
                <a:gd name="T87" fmla="*/ 453 h 733"/>
                <a:gd name="T88" fmla="*/ 174 w 1137"/>
                <a:gd name="T89" fmla="*/ 427 h 733"/>
                <a:gd name="T90" fmla="*/ 158 w 1137"/>
                <a:gd name="T91" fmla="*/ 409 h 733"/>
                <a:gd name="T92" fmla="*/ 6 w 1137"/>
                <a:gd name="T93" fmla="*/ 50 h 733"/>
                <a:gd name="T94" fmla="*/ 3 w 1137"/>
                <a:gd name="T95" fmla="*/ 26 h 733"/>
                <a:gd name="T96" fmla="*/ 3 w 1137"/>
                <a:gd name="T97" fmla="*/ 27 h 733"/>
                <a:gd name="T98" fmla="*/ 2 w 1137"/>
                <a:gd name="T99" fmla="*/ 27 h 733"/>
                <a:gd name="T100" fmla="*/ 0 w 1137"/>
                <a:gd name="T101" fmla="*/ 27 h 733"/>
                <a:gd name="T102" fmla="*/ 0 w 1137"/>
                <a:gd name="T103" fmla="*/ 47 h 733"/>
                <a:gd name="T104" fmla="*/ 5 w 1137"/>
                <a:gd name="T105" fmla="*/ 46 h 733"/>
                <a:gd name="T106" fmla="*/ 3 w 1137"/>
                <a:gd name="T107" fmla="*/ 26 h 733"/>
                <a:gd name="T108" fmla="*/ 2 w 1137"/>
                <a:gd name="T109" fmla="*/ 0 h 733"/>
                <a:gd name="T110" fmla="*/ 1 w 1137"/>
                <a:gd name="T111" fmla="*/ 23 h 733"/>
                <a:gd name="T112" fmla="*/ 1 w 1137"/>
                <a:gd name="T113" fmla="*/ 23 h 733"/>
                <a:gd name="T114" fmla="*/ 1 w 1137"/>
                <a:gd name="T115" fmla="*/ 23 h 733"/>
                <a:gd name="T116" fmla="*/ 3 w 1137"/>
                <a:gd name="T117" fmla="*/ 18 h 733"/>
                <a:gd name="T118" fmla="*/ 2 w 1137"/>
                <a:gd name="T1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 h="733">
                  <a:moveTo>
                    <a:pt x="191" y="449"/>
                  </a:moveTo>
                  <a:cubicBezTo>
                    <a:pt x="189" y="450"/>
                    <a:pt x="187" y="452"/>
                    <a:pt x="186" y="453"/>
                  </a:cubicBezTo>
                  <a:cubicBezTo>
                    <a:pt x="186" y="456"/>
                    <a:pt x="187" y="461"/>
                    <a:pt x="190" y="466"/>
                  </a:cubicBezTo>
                  <a:cubicBezTo>
                    <a:pt x="194" y="476"/>
                    <a:pt x="189" y="479"/>
                    <a:pt x="186" y="481"/>
                  </a:cubicBezTo>
                  <a:cubicBezTo>
                    <a:pt x="185" y="482"/>
                    <a:pt x="185" y="482"/>
                    <a:pt x="185" y="482"/>
                  </a:cubicBezTo>
                  <a:cubicBezTo>
                    <a:pt x="184" y="483"/>
                    <a:pt x="181" y="484"/>
                    <a:pt x="179" y="484"/>
                  </a:cubicBezTo>
                  <a:cubicBezTo>
                    <a:pt x="176" y="484"/>
                    <a:pt x="173" y="482"/>
                    <a:pt x="170" y="479"/>
                  </a:cubicBezTo>
                  <a:cubicBezTo>
                    <a:pt x="166" y="475"/>
                    <a:pt x="162" y="471"/>
                    <a:pt x="159" y="470"/>
                  </a:cubicBezTo>
                  <a:cubicBezTo>
                    <a:pt x="157" y="471"/>
                    <a:pt x="156" y="472"/>
                    <a:pt x="154" y="473"/>
                  </a:cubicBezTo>
                  <a:cubicBezTo>
                    <a:pt x="154" y="475"/>
                    <a:pt x="154" y="479"/>
                    <a:pt x="155" y="483"/>
                  </a:cubicBezTo>
                  <a:cubicBezTo>
                    <a:pt x="155" y="484"/>
                    <a:pt x="156" y="485"/>
                    <a:pt x="157" y="486"/>
                  </a:cubicBezTo>
                  <a:cubicBezTo>
                    <a:pt x="292" y="649"/>
                    <a:pt x="486" y="733"/>
                    <a:pt x="682" y="733"/>
                  </a:cubicBezTo>
                  <a:cubicBezTo>
                    <a:pt x="807" y="733"/>
                    <a:pt x="933" y="699"/>
                    <a:pt x="1044" y="629"/>
                  </a:cubicBezTo>
                  <a:cubicBezTo>
                    <a:pt x="1106" y="711"/>
                    <a:pt x="1106" y="711"/>
                    <a:pt x="1106" y="711"/>
                  </a:cubicBezTo>
                  <a:cubicBezTo>
                    <a:pt x="1108" y="701"/>
                    <a:pt x="1113" y="692"/>
                    <a:pt x="1121" y="686"/>
                  </a:cubicBezTo>
                  <a:cubicBezTo>
                    <a:pt x="1137" y="674"/>
                    <a:pt x="1137" y="674"/>
                    <a:pt x="1137" y="674"/>
                  </a:cubicBezTo>
                  <a:cubicBezTo>
                    <a:pt x="1046" y="551"/>
                    <a:pt x="1046" y="551"/>
                    <a:pt x="1046" y="551"/>
                  </a:cubicBezTo>
                  <a:cubicBezTo>
                    <a:pt x="935" y="621"/>
                    <a:pt x="809" y="655"/>
                    <a:pt x="684" y="655"/>
                  </a:cubicBezTo>
                  <a:cubicBezTo>
                    <a:pt x="507" y="655"/>
                    <a:pt x="331" y="587"/>
                    <a:pt x="199" y="453"/>
                  </a:cubicBezTo>
                  <a:cubicBezTo>
                    <a:pt x="196" y="451"/>
                    <a:pt x="193" y="450"/>
                    <a:pt x="191" y="449"/>
                  </a:cubicBezTo>
                  <a:moveTo>
                    <a:pt x="177" y="430"/>
                  </a:moveTo>
                  <a:cubicBezTo>
                    <a:pt x="163" y="440"/>
                    <a:pt x="149" y="449"/>
                    <a:pt x="134" y="456"/>
                  </a:cubicBezTo>
                  <a:cubicBezTo>
                    <a:pt x="139" y="463"/>
                    <a:pt x="144" y="470"/>
                    <a:pt x="150" y="477"/>
                  </a:cubicBezTo>
                  <a:cubicBezTo>
                    <a:pt x="150" y="475"/>
                    <a:pt x="150" y="473"/>
                    <a:pt x="150" y="471"/>
                  </a:cubicBezTo>
                  <a:cubicBezTo>
                    <a:pt x="150" y="470"/>
                    <a:pt x="151" y="470"/>
                    <a:pt x="151" y="470"/>
                  </a:cubicBezTo>
                  <a:cubicBezTo>
                    <a:pt x="153" y="468"/>
                    <a:pt x="156" y="467"/>
                    <a:pt x="158" y="466"/>
                  </a:cubicBezTo>
                  <a:cubicBezTo>
                    <a:pt x="158" y="466"/>
                    <a:pt x="158" y="466"/>
                    <a:pt x="158" y="466"/>
                  </a:cubicBezTo>
                  <a:cubicBezTo>
                    <a:pt x="158" y="466"/>
                    <a:pt x="159" y="466"/>
                    <a:pt x="159" y="466"/>
                  </a:cubicBezTo>
                  <a:cubicBezTo>
                    <a:pt x="159" y="466"/>
                    <a:pt x="159" y="466"/>
                    <a:pt x="160" y="466"/>
                  </a:cubicBezTo>
                  <a:cubicBezTo>
                    <a:pt x="164" y="467"/>
                    <a:pt x="170" y="472"/>
                    <a:pt x="173" y="476"/>
                  </a:cubicBezTo>
                  <a:cubicBezTo>
                    <a:pt x="175" y="479"/>
                    <a:pt x="177" y="480"/>
                    <a:pt x="179" y="480"/>
                  </a:cubicBezTo>
                  <a:cubicBezTo>
                    <a:pt x="180" y="480"/>
                    <a:pt x="181" y="479"/>
                    <a:pt x="183" y="478"/>
                  </a:cubicBezTo>
                  <a:cubicBezTo>
                    <a:pt x="184" y="477"/>
                    <a:pt x="184" y="477"/>
                    <a:pt x="184" y="477"/>
                  </a:cubicBezTo>
                  <a:cubicBezTo>
                    <a:pt x="186" y="476"/>
                    <a:pt x="189" y="474"/>
                    <a:pt x="186" y="468"/>
                  </a:cubicBezTo>
                  <a:cubicBezTo>
                    <a:pt x="184" y="463"/>
                    <a:pt x="181" y="456"/>
                    <a:pt x="182" y="451"/>
                  </a:cubicBezTo>
                  <a:cubicBezTo>
                    <a:pt x="182" y="451"/>
                    <a:pt x="182" y="450"/>
                    <a:pt x="183" y="450"/>
                  </a:cubicBezTo>
                  <a:cubicBezTo>
                    <a:pt x="185" y="448"/>
                    <a:pt x="187" y="447"/>
                    <a:pt x="189" y="445"/>
                  </a:cubicBezTo>
                  <a:cubicBezTo>
                    <a:pt x="189" y="445"/>
                    <a:pt x="190" y="445"/>
                    <a:pt x="190" y="445"/>
                  </a:cubicBezTo>
                  <a:cubicBezTo>
                    <a:pt x="190" y="445"/>
                    <a:pt x="190" y="445"/>
                    <a:pt x="190" y="445"/>
                  </a:cubicBezTo>
                  <a:cubicBezTo>
                    <a:pt x="191" y="445"/>
                    <a:pt x="191" y="445"/>
                    <a:pt x="191" y="445"/>
                  </a:cubicBezTo>
                  <a:cubicBezTo>
                    <a:pt x="186" y="440"/>
                    <a:pt x="181" y="435"/>
                    <a:pt x="177" y="430"/>
                  </a:cubicBezTo>
                  <a:moveTo>
                    <a:pt x="6" y="50"/>
                  </a:moveTo>
                  <a:cubicBezTo>
                    <a:pt x="4" y="51"/>
                    <a:pt x="2" y="51"/>
                    <a:pt x="0" y="51"/>
                  </a:cubicBezTo>
                  <a:cubicBezTo>
                    <a:pt x="0" y="192"/>
                    <a:pt x="43" y="333"/>
                    <a:pt x="131" y="453"/>
                  </a:cubicBezTo>
                  <a:cubicBezTo>
                    <a:pt x="146" y="446"/>
                    <a:pt x="161" y="437"/>
                    <a:pt x="174" y="427"/>
                  </a:cubicBezTo>
                  <a:cubicBezTo>
                    <a:pt x="169" y="421"/>
                    <a:pt x="164" y="415"/>
                    <a:pt x="158" y="409"/>
                  </a:cubicBezTo>
                  <a:cubicBezTo>
                    <a:pt x="70" y="302"/>
                    <a:pt x="20" y="178"/>
                    <a:pt x="6" y="50"/>
                  </a:cubicBezTo>
                  <a:moveTo>
                    <a:pt x="3" y="26"/>
                  </a:moveTo>
                  <a:cubicBezTo>
                    <a:pt x="3" y="27"/>
                    <a:pt x="3" y="27"/>
                    <a:pt x="3" y="27"/>
                  </a:cubicBezTo>
                  <a:cubicBezTo>
                    <a:pt x="2" y="27"/>
                    <a:pt x="2" y="27"/>
                    <a:pt x="2" y="27"/>
                  </a:cubicBezTo>
                  <a:cubicBezTo>
                    <a:pt x="1" y="27"/>
                    <a:pt x="1" y="27"/>
                    <a:pt x="0" y="27"/>
                  </a:cubicBezTo>
                  <a:cubicBezTo>
                    <a:pt x="0" y="34"/>
                    <a:pt x="0" y="40"/>
                    <a:pt x="0" y="47"/>
                  </a:cubicBezTo>
                  <a:cubicBezTo>
                    <a:pt x="2" y="47"/>
                    <a:pt x="3" y="46"/>
                    <a:pt x="5" y="46"/>
                  </a:cubicBezTo>
                  <a:cubicBezTo>
                    <a:pt x="5" y="40"/>
                    <a:pt x="4" y="33"/>
                    <a:pt x="3" y="26"/>
                  </a:cubicBezTo>
                  <a:moveTo>
                    <a:pt x="2" y="0"/>
                  </a:moveTo>
                  <a:cubicBezTo>
                    <a:pt x="1" y="8"/>
                    <a:pt x="1" y="15"/>
                    <a:pt x="1" y="23"/>
                  </a:cubicBezTo>
                  <a:cubicBezTo>
                    <a:pt x="1" y="23"/>
                    <a:pt x="1" y="23"/>
                    <a:pt x="1" y="23"/>
                  </a:cubicBezTo>
                  <a:cubicBezTo>
                    <a:pt x="1" y="23"/>
                    <a:pt x="1" y="23"/>
                    <a:pt x="1" y="23"/>
                  </a:cubicBezTo>
                  <a:cubicBezTo>
                    <a:pt x="2" y="22"/>
                    <a:pt x="2" y="20"/>
                    <a:pt x="3" y="18"/>
                  </a:cubicBezTo>
                  <a:cubicBezTo>
                    <a:pt x="2" y="12"/>
                    <a:pt x="2" y="6"/>
                    <a:pt x="2"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8" name="Freeform 21427">
              <a:extLst>
                <a:ext uri="{FF2B5EF4-FFF2-40B4-BE49-F238E27FC236}">
                  <a16:creationId xmlns:a16="http://schemas.microsoft.com/office/drawing/2014/main" id="{0DCA7E6A-4288-4E23-B861-A82F3F6B2D0A}"/>
                </a:ext>
              </a:extLst>
            </p:cNvPr>
            <p:cNvSpPr>
              <a:spLocks noEditPoints="1"/>
            </p:cNvSpPr>
            <p:nvPr userDrawn="1"/>
          </p:nvSpPr>
          <p:spPr bwMode="auto">
            <a:xfrm>
              <a:off x="7711440" y="4495165"/>
              <a:ext cx="403225" cy="939800"/>
            </a:xfrm>
            <a:custGeom>
              <a:avLst/>
              <a:gdLst>
                <a:gd name="T0" fmla="*/ 190 w 199"/>
                <a:gd name="T1" fmla="*/ 427 h 466"/>
                <a:gd name="T2" fmla="*/ 189 w 199"/>
                <a:gd name="T3" fmla="*/ 427 h 466"/>
                <a:gd name="T4" fmla="*/ 183 w 199"/>
                <a:gd name="T5" fmla="*/ 432 h 466"/>
                <a:gd name="T6" fmla="*/ 182 w 199"/>
                <a:gd name="T7" fmla="*/ 433 h 466"/>
                <a:gd name="T8" fmla="*/ 186 w 199"/>
                <a:gd name="T9" fmla="*/ 450 h 466"/>
                <a:gd name="T10" fmla="*/ 184 w 199"/>
                <a:gd name="T11" fmla="*/ 459 h 466"/>
                <a:gd name="T12" fmla="*/ 183 w 199"/>
                <a:gd name="T13" fmla="*/ 460 h 466"/>
                <a:gd name="T14" fmla="*/ 179 w 199"/>
                <a:gd name="T15" fmla="*/ 462 h 466"/>
                <a:gd name="T16" fmla="*/ 173 w 199"/>
                <a:gd name="T17" fmla="*/ 458 h 466"/>
                <a:gd name="T18" fmla="*/ 160 w 199"/>
                <a:gd name="T19" fmla="*/ 448 h 466"/>
                <a:gd name="T20" fmla="*/ 159 w 199"/>
                <a:gd name="T21" fmla="*/ 448 h 466"/>
                <a:gd name="T22" fmla="*/ 158 w 199"/>
                <a:gd name="T23" fmla="*/ 448 h 466"/>
                <a:gd name="T24" fmla="*/ 158 w 199"/>
                <a:gd name="T25" fmla="*/ 448 h 466"/>
                <a:gd name="T26" fmla="*/ 151 w 199"/>
                <a:gd name="T27" fmla="*/ 452 h 466"/>
                <a:gd name="T28" fmla="*/ 150 w 199"/>
                <a:gd name="T29" fmla="*/ 453 h 466"/>
                <a:gd name="T30" fmla="*/ 150 w 199"/>
                <a:gd name="T31" fmla="*/ 459 h 466"/>
                <a:gd name="T32" fmla="*/ 155 w 199"/>
                <a:gd name="T33" fmla="*/ 465 h 466"/>
                <a:gd name="T34" fmla="*/ 154 w 199"/>
                <a:gd name="T35" fmla="*/ 455 h 466"/>
                <a:gd name="T36" fmla="*/ 159 w 199"/>
                <a:gd name="T37" fmla="*/ 452 h 466"/>
                <a:gd name="T38" fmla="*/ 170 w 199"/>
                <a:gd name="T39" fmla="*/ 461 h 466"/>
                <a:gd name="T40" fmla="*/ 179 w 199"/>
                <a:gd name="T41" fmla="*/ 466 h 466"/>
                <a:gd name="T42" fmla="*/ 185 w 199"/>
                <a:gd name="T43" fmla="*/ 464 h 466"/>
                <a:gd name="T44" fmla="*/ 186 w 199"/>
                <a:gd name="T45" fmla="*/ 463 h 466"/>
                <a:gd name="T46" fmla="*/ 190 w 199"/>
                <a:gd name="T47" fmla="*/ 448 h 466"/>
                <a:gd name="T48" fmla="*/ 186 w 199"/>
                <a:gd name="T49" fmla="*/ 435 h 466"/>
                <a:gd name="T50" fmla="*/ 191 w 199"/>
                <a:gd name="T51" fmla="*/ 431 h 466"/>
                <a:gd name="T52" fmla="*/ 199 w 199"/>
                <a:gd name="T53" fmla="*/ 435 h 466"/>
                <a:gd name="T54" fmla="*/ 191 w 199"/>
                <a:gd name="T55" fmla="*/ 427 h 466"/>
                <a:gd name="T56" fmla="*/ 190 w 199"/>
                <a:gd name="T57" fmla="*/ 427 h 466"/>
                <a:gd name="T58" fmla="*/ 190 w 199"/>
                <a:gd name="T59" fmla="*/ 427 h 466"/>
                <a:gd name="T60" fmla="*/ 174 w 199"/>
                <a:gd name="T61" fmla="*/ 409 h 466"/>
                <a:gd name="T62" fmla="*/ 131 w 199"/>
                <a:gd name="T63" fmla="*/ 435 h 466"/>
                <a:gd name="T64" fmla="*/ 134 w 199"/>
                <a:gd name="T65" fmla="*/ 438 h 466"/>
                <a:gd name="T66" fmla="*/ 177 w 199"/>
                <a:gd name="T67" fmla="*/ 412 h 466"/>
                <a:gd name="T68" fmla="*/ 174 w 199"/>
                <a:gd name="T69" fmla="*/ 409 h 466"/>
                <a:gd name="T70" fmla="*/ 5 w 199"/>
                <a:gd name="T71" fmla="*/ 28 h 466"/>
                <a:gd name="T72" fmla="*/ 0 w 199"/>
                <a:gd name="T73" fmla="*/ 29 h 466"/>
                <a:gd name="T74" fmla="*/ 0 w 199"/>
                <a:gd name="T75" fmla="*/ 33 h 466"/>
                <a:gd name="T76" fmla="*/ 6 w 199"/>
                <a:gd name="T77" fmla="*/ 32 h 466"/>
                <a:gd name="T78" fmla="*/ 5 w 199"/>
                <a:gd name="T79" fmla="*/ 28 h 466"/>
                <a:gd name="T80" fmla="*/ 3 w 199"/>
                <a:gd name="T81" fmla="*/ 0 h 466"/>
                <a:gd name="T82" fmla="*/ 1 w 199"/>
                <a:gd name="T83" fmla="*/ 5 h 466"/>
                <a:gd name="T84" fmla="*/ 1 w 199"/>
                <a:gd name="T85" fmla="*/ 5 h 466"/>
                <a:gd name="T86" fmla="*/ 1 w 199"/>
                <a:gd name="T87" fmla="*/ 5 h 466"/>
                <a:gd name="T88" fmla="*/ 0 w 199"/>
                <a:gd name="T89" fmla="*/ 9 h 466"/>
                <a:gd name="T90" fmla="*/ 2 w 199"/>
                <a:gd name="T91" fmla="*/ 9 h 466"/>
                <a:gd name="T92" fmla="*/ 3 w 199"/>
                <a:gd name="T93" fmla="*/ 9 h 466"/>
                <a:gd name="T94" fmla="*/ 3 w 199"/>
                <a:gd name="T95" fmla="*/ 8 h 466"/>
                <a:gd name="T96" fmla="*/ 3 w 199"/>
                <a:gd name="T9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466">
                  <a:moveTo>
                    <a:pt x="190" y="427"/>
                  </a:moveTo>
                  <a:cubicBezTo>
                    <a:pt x="190" y="427"/>
                    <a:pt x="189" y="427"/>
                    <a:pt x="189" y="427"/>
                  </a:cubicBezTo>
                  <a:cubicBezTo>
                    <a:pt x="187" y="429"/>
                    <a:pt x="185" y="430"/>
                    <a:pt x="183" y="432"/>
                  </a:cubicBezTo>
                  <a:cubicBezTo>
                    <a:pt x="182" y="432"/>
                    <a:pt x="182" y="433"/>
                    <a:pt x="182" y="433"/>
                  </a:cubicBezTo>
                  <a:cubicBezTo>
                    <a:pt x="181" y="438"/>
                    <a:pt x="184" y="445"/>
                    <a:pt x="186" y="450"/>
                  </a:cubicBezTo>
                  <a:cubicBezTo>
                    <a:pt x="189" y="456"/>
                    <a:pt x="186" y="458"/>
                    <a:pt x="184" y="459"/>
                  </a:cubicBezTo>
                  <a:cubicBezTo>
                    <a:pt x="183" y="460"/>
                    <a:pt x="183" y="460"/>
                    <a:pt x="183" y="460"/>
                  </a:cubicBezTo>
                  <a:cubicBezTo>
                    <a:pt x="181" y="461"/>
                    <a:pt x="180" y="462"/>
                    <a:pt x="179" y="462"/>
                  </a:cubicBezTo>
                  <a:cubicBezTo>
                    <a:pt x="177" y="462"/>
                    <a:pt x="175" y="461"/>
                    <a:pt x="173" y="458"/>
                  </a:cubicBezTo>
                  <a:cubicBezTo>
                    <a:pt x="170" y="454"/>
                    <a:pt x="164" y="449"/>
                    <a:pt x="160" y="448"/>
                  </a:cubicBezTo>
                  <a:cubicBezTo>
                    <a:pt x="159" y="448"/>
                    <a:pt x="159" y="448"/>
                    <a:pt x="159" y="448"/>
                  </a:cubicBezTo>
                  <a:cubicBezTo>
                    <a:pt x="159" y="448"/>
                    <a:pt x="158" y="448"/>
                    <a:pt x="158" y="448"/>
                  </a:cubicBezTo>
                  <a:cubicBezTo>
                    <a:pt x="158" y="448"/>
                    <a:pt x="158" y="448"/>
                    <a:pt x="158" y="448"/>
                  </a:cubicBezTo>
                  <a:cubicBezTo>
                    <a:pt x="156" y="449"/>
                    <a:pt x="153" y="450"/>
                    <a:pt x="151" y="452"/>
                  </a:cubicBezTo>
                  <a:cubicBezTo>
                    <a:pt x="151" y="452"/>
                    <a:pt x="150" y="452"/>
                    <a:pt x="150" y="453"/>
                  </a:cubicBezTo>
                  <a:cubicBezTo>
                    <a:pt x="150" y="455"/>
                    <a:pt x="150" y="457"/>
                    <a:pt x="150" y="459"/>
                  </a:cubicBezTo>
                  <a:cubicBezTo>
                    <a:pt x="151" y="461"/>
                    <a:pt x="153" y="463"/>
                    <a:pt x="155" y="465"/>
                  </a:cubicBezTo>
                  <a:cubicBezTo>
                    <a:pt x="154" y="461"/>
                    <a:pt x="154" y="457"/>
                    <a:pt x="154" y="455"/>
                  </a:cubicBezTo>
                  <a:cubicBezTo>
                    <a:pt x="156" y="454"/>
                    <a:pt x="157" y="453"/>
                    <a:pt x="159" y="452"/>
                  </a:cubicBezTo>
                  <a:cubicBezTo>
                    <a:pt x="162" y="453"/>
                    <a:pt x="166" y="457"/>
                    <a:pt x="170" y="461"/>
                  </a:cubicBezTo>
                  <a:cubicBezTo>
                    <a:pt x="173" y="464"/>
                    <a:pt x="176" y="466"/>
                    <a:pt x="179" y="466"/>
                  </a:cubicBezTo>
                  <a:cubicBezTo>
                    <a:pt x="181" y="466"/>
                    <a:pt x="184" y="465"/>
                    <a:pt x="185" y="464"/>
                  </a:cubicBezTo>
                  <a:cubicBezTo>
                    <a:pt x="186" y="463"/>
                    <a:pt x="186" y="463"/>
                    <a:pt x="186" y="463"/>
                  </a:cubicBezTo>
                  <a:cubicBezTo>
                    <a:pt x="189" y="461"/>
                    <a:pt x="194" y="458"/>
                    <a:pt x="190" y="448"/>
                  </a:cubicBezTo>
                  <a:cubicBezTo>
                    <a:pt x="187" y="443"/>
                    <a:pt x="186" y="438"/>
                    <a:pt x="186" y="435"/>
                  </a:cubicBezTo>
                  <a:cubicBezTo>
                    <a:pt x="187" y="434"/>
                    <a:pt x="189" y="432"/>
                    <a:pt x="191" y="431"/>
                  </a:cubicBezTo>
                  <a:cubicBezTo>
                    <a:pt x="193" y="432"/>
                    <a:pt x="196" y="433"/>
                    <a:pt x="199" y="435"/>
                  </a:cubicBezTo>
                  <a:cubicBezTo>
                    <a:pt x="196" y="432"/>
                    <a:pt x="193" y="430"/>
                    <a:pt x="191" y="427"/>
                  </a:cubicBezTo>
                  <a:cubicBezTo>
                    <a:pt x="191" y="427"/>
                    <a:pt x="191" y="427"/>
                    <a:pt x="190" y="427"/>
                  </a:cubicBezTo>
                  <a:cubicBezTo>
                    <a:pt x="190" y="427"/>
                    <a:pt x="190" y="427"/>
                    <a:pt x="190" y="427"/>
                  </a:cubicBezTo>
                  <a:moveTo>
                    <a:pt x="174" y="409"/>
                  </a:moveTo>
                  <a:cubicBezTo>
                    <a:pt x="161" y="419"/>
                    <a:pt x="146" y="428"/>
                    <a:pt x="131" y="435"/>
                  </a:cubicBezTo>
                  <a:cubicBezTo>
                    <a:pt x="132" y="436"/>
                    <a:pt x="133" y="437"/>
                    <a:pt x="134" y="438"/>
                  </a:cubicBezTo>
                  <a:cubicBezTo>
                    <a:pt x="149" y="431"/>
                    <a:pt x="163" y="422"/>
                    <a:pt x="177" y="412"/>
                  </a:cubicBezTo>
                  <a:cubicBezTo>
                    <a:pt x="176" y="411"/>
                    <a:pt x="175" y="410"/>
                    <a:pt x="174" y="409"/>
                  </a:cubicBezTo>
                  <a:moveTo>
                    <a:pt x="5" y="28"/>
                  </a:moveTo>
                  <a:cubicBezTo>
                    <a:pt x="3" y="28"/>
                    <a:pt x="2" y="29"/>
                    <a:pt x="0" y="29"/>
                  </a:cubicBezTo>
                  <a:cubicBezTo>
                    <a:pt x="0" y="31"/>
                    <a:pt x="0" y="32"/>
                    <a:pt x="0" y="33"/>
                  </a:cubicBezTo>
                  <a:cubicBezTo>
                    <a:pt x="2" y="33"/>
                    <a:pt x="4" y="33"/>
                    <a:pt x="6" y="32"/>
                  </a:cubicBezTo>
                  <a:cubicBezTo>
                    <a:pt x="6" y="31"/>
                    <a:pt x="5" y="30"/>
                    <a:pt x="5" y="28"/>
                  </a:cubicBezTo>
                  <a:moveTo>
                    <a:pt x="3" y="0"/>
                  </a:moveTo>
                  <a:cubicBezTo>
                    <a:pt x="2" y="2"/>
                    <a:pt x="2" y="4"/>
                    <a:pt x="1" y="5"/>
                  </a:cubicBezTo>
                  <a:cubicBezTo>
                    <a:pt x="1" y="5"/>
                    <a:pt x="1" y="5"/>
                    <a:pt x="1" y="5"/>
                  </a:cubicBezTo>
                  <a:cubicBezTo>
                    <a:pt x="1" y="5"/>
                    <a:pt x="1" y="5"/>
                    <a:pt x="1" y="5"/>
                  </a:cubicBezTo>
                  <a:cubicBezTo>
                    <a:pt x="1" y="6"/>
                    <a:pt x="0" y="8"/>
                    <a:pt x="0" y="9"/>
                  </a:cubicBezTo>
                  <a:cubicBezTo>
                    <a:pt x="1" y="9"/>
                    <a:pt x="1" y="9"/>
                    <a:pt x="2" y="9"/>
                  </a:cubicBezTo>
                  <a:cubicBezTo>
                    <a:pt x="3" y="9"/>
                    <a:pt x="3" y="9"/>
                    <a:pt x="3" y="9"/>
                  </a:cubicBezTo>
                  <a:cubicBezTo>
                    <a:pt x="3" y="9"/>
                    <a:pt x="3" y="9"/>
                    <a:pt x="3" y="8"/>
                  </a:cubicBezTo>
                  <a:cubicBezTo>
                    <a:pt x="3" y="6"/>
                    <a:pt x="3" y="3"/>
                    <a:pt x="3"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9" name="Freeform 21428">
              <a:extLst>
                <a:ext uri="{FF2B5EF4-FFF2-40B4-BE49-F238E27FC236}">
                  <a16:creationId xmlns:a16="http://schemas.microsoft.com/office/drawing/2014/main" id="{F743963B-6505-47D1-94A2-56FF477D464D}"/>
                </a:ext>
              </a:extLst>
            </p:cNvPr>
            <p:cNvSpPr>
              <a:spLocks noEditPoints="1"/>
            </p:cNvSpPr>
            <p:nvPr userDrawn="1"/>
          </p:nvSpPr>
          <p:spPr bwMode="auto">
            <a:xfrm>
              <a:off x="10065703" y="4509453"/>
              <a:ext cx="403225" cy="955675"/>
            </a:xfrm>
            <a:custGeom>
              <a:avLst/>
              <a:gdLst>
                <a:gd name="T0" fmla="*/ 42 w 200"/>
                <a:gd name="T1" fmla="*/ 407 h 474"/>
                <a:gd name="T2" fmla="*/ 30 w 200"/>
                <a:gd name="T3" fmla="*/ 419 h 474"/>
                <a:gd name="T4" fmla="*/ 19 w 200"/>
                <a:gd name="T5" fmla="*/ 425 h 474"/>
                <a:gd name="T6" fmla="*/ 12 w 200"/>
                <a:gd name="T7" fmla="*/ 423 h 474"/>
                <a:gd name="T8" fmla="*/ 11 w 200"/>
                <a:gd name="T9" fmla="*/ 422 h 474"/>
                <a:gd name="T10" fmla="*/ 10 w 200"/>
                <a:gd name="T11" fmla="*/ 422 h 474"/>
                <a:gd name="T12" fmla="*/ 0 w 200"/>
                <a:gd name="T13" fmla="*/ 432 h 474"/>
                <a:gd name="T14" fmla="*/ 32 w 200"/>
                <a:gd name="T15" fmla="*/ 474 h 474"/>
                <a:gd name="T16" fmla="*/ 41 w 200"/>
                <a:gd name="T17" fmla="*/ 463 h 474"/>
                <a:gd name="T18" fmla="*/ 43 w 200"/>
                <a:gd name="T19" fmla="*/ 461 h 474"/>
                <a:gd name="T20" fmla="*/ 57 w 200"/>
                <a:gd name="T21" fmla="*/ 444 h 474"/>
                <a:gd name="T22" fmla="*/ 56 w 200"/>
                <a:gd name="T23" fmla="*/ 444 h 474"/>
                <a:gd name="T24" fmla="*/ 48 w 200"/>
                <a:gd name="T25" fmla="*/ 427 h 474"/>
                <a:gd name="T26" fmla="*/ 49 w 200"/>
                <a:gd name="T27" fmla="*/ 410 h 474"/>
                <a:gd name="T28" fmla="*/ 42 w 200"/>
                <a:gd name="T29" fmla="*/ 407 h 474"/>
                <a:gd name="T30" fmla="*/ 42 w 200"/>
                <a:gd name="T31" fmla="*/ 407 h 474"/>
                <a:gd name="T32" fmla="*/ 49 w 200"/>
                <a:gd name="T33" fmla="*/ 378 h 474"/>
                <a:gd name="T34" fmla="*/ 17 w 200"/>
                <a:gd name="T35" fmla="*/ 414 h 474"/>
                <a:gd name="T36" fmla="*/ 19 w 200"/>
                <a:gd name="T37" fmla="*/ 420 h 474"/>
                <a:gd name="T38" fmla="*/ 26 w 200"/>
                <a:gd name="T39" fmla="*/ 416 h 474"/>
                <a:gd name="T40" fmla="*/ 42 w 200"/>
                <a:gd name="T41" fmla="*/ 402 h 474"/>
                <a:gd name="T42" fmla="*/ 42 w 200"/>
                <a:gd name="T43" fmla="*/ 402 h 474"/>
                <a:gd name="T44" fmla="*/ 44 w 200"/>
                <a:gd name="T45" fmla="*/ 402 h 474"/>
                <a:gd name="T46" fmla="*/ 45 w 200"/>
                <a:gd name="T47" fmla="*/ 403 h 474"/>
                <a:gd name="T48" fmla="*/ 52 w 200"/>
                <a:gd name="T49" fmla="*/ 406 h 474"/>
                <a:gd name="T50" fmla="*/ 53 w 200"/>
                <a:gd name="T51" fmla="*/ 408 h 474"/>
                <a:gd name="T52" fmla="*/ 53 w 200"/>
                <a:gd name="T53" fmla="*/ 428 h 474"/>
                <a:gd name="T54" fmla="*/ 58 w 200"/>
                <a:gd name="T55" fmla="*/ 439 h 474"/>
                <a:gd name="T56" fmla="*/ 59 w 200"/>
                <a:gd name="T57" fmla="*/ 439 h 474"/>
                <a:gd name="T58" fmla="*/ 60 w 200"/>
                <a:gd name="T59" fmla="*/ 440 h 474"/>
                <a:gd name="T60" fmla="*/ 61 w 200"/>
                <a:gd name="T61" fmla="*/ 438 h 474"/>
                <a:gd name="T62" fmla="*/ 64 w 200"/>
                <a:gd name="T63" fmla="*/ 435 h 474"/>
                <a:gd name="T64" fmla="*/ 80 w 200"/>
                <a:gd name="T65" fmla="*/ 412 h 474"/>
                <a:gd name="T66" fmla="*/ 82 w 200"/>
                <a:gd name="T67" fmla="*/ 409 h 474"/>
                <a:gd name="T68" fmla="*/ 91 w 200"/>
                <a:gd name="T69" fmla="*/ 396 h 474"/>
                <a:gd name="T70" fmla="*/ 49 w 200"/>
                <a:gd name="T71" fmla="*/ 378 h 474"/>
                <a:gd name="T72" fmla="*/ 199 w 200"/>
                <a:gd name="T73" fmla="*/ 0 h 474"/>
                <a:gd name="T74" fmla="*/ 52 w 200"/>
                <a:gd name="T75" fmla="*/ 374 h 474"/>
                <a:gd name="T76" fmla="*/ 94 w 200"/>
                <a:gd name="T77" fmla="*/ 392 h 474"/>
                <a:gd name="T78" fmla="*/ 97 w 200"/>
                <a:gd name="T79" fmla="*/ 386 h 474"/>
                <a:gd name="T80" fmla="*/ 100 w 200"/>
                <a:gd name="T81" fmla="*/ 382 h 474"/>
                <a:gd name="T82" fmla="*/ 113 w 200"/>
                <a:gd name="T83" fmla="*/ 359 h 474"/>
                <a:gd name="T84" fmla="*/ 116 w 200"/>
                <a:gd name="T85" fmla="*/ 354 h 474"/>
                <a:gd name="T86" fmla="*/ 128 w 200"/>
                <a:gd name="T87" fmla="*/ 330 h 474"/>
                <a:gd name="T88" fmla="*/ 130 w 200"/>
                <a:gd name="T89" fmla="*/ 326 h 474"/>
                <a:gd name="T90" fmla="*/ 142 w 200"/>
                <a:gd name="T91" fmla="*/ 302 h 474"/>
                <a:gd name="T92" fmla="*/ 143 w 200"/>
                <a:gd name="T93" fmla="*/ 298 h 474"/>
                <a:gd name="T94" fmla="*/ 154 w 200"/>
                <a:gd name="T95" fmla="*/ 273 h 474"/>
                <a:gd name="T96" fmla="*/ 155 w 200"/>
                <a:gd name="T97" fmla="*/ 269 h 474"/>
                <a:gd name="T98" fmla="*/ 165 w 200"/>
                <a:gd name="T99" fmla="*/ 243 h 474"/>
                <a:gd name="T100" fmla="*/ 165 w 200"/>
                <a:gd name="T101" fmla="*/ 241 h 474"/>
                <a:gd name="T102" fmla="*/ 199 w 200"/>
                <a:gd name="T103" fmla="*/ 63 h 474"/>
                <a:gd name="T104" fmla="*/ 199 w 200"/>
                <a:gd name="T105" fmla="*/ 60 h 474"/>
                <a:gd name="T106" fmla="*/ 200 w 200"/>
                <a:gd name="T107" fmla="*/ 37 h 474"/>
                <a:gd name="T108" fmla="*/ 200 w 200"/>
                <a:gd name="T109" fmla="*/ 28 h 474"/>
                <a:gd name="T110" fmla="*/ 200 w 200"/>
                <a:gd name="T111" fmla="*/ 7 h 474"/>
                <a:gd name="T112" fmla="*/ 199 w 200"/>
                <a:gd name="T113"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474">
                  <a:moveTo>
                    <a:pt x="42" y="407"/>
                  </a:moveTo>
                  <a:cubicBezTo>
                    <a:pt x="39" y="409"/>
                    <a:pt x="34" y="413"/>
                    <a:pt x="30" y="419"/>
                  </a:cubicBezTo>
                  <a:cubicBezTo>
                    <a:pt x="26" y="423"/>
                    <a:pt x="23" y="425"/>
                    <a:pt x="19" y="425"/>
                  </a:cubicBezTo>
                  <a:cubicBezTo>
                    <a:pt x="16" y="425"/>
                    <a:pt x="14" y="424"/>
                    <a:pt x="12" y="423"/>
                  </a:cubicBezTo>
                  <a:cubicBezTo>
                    <a:pt x="11" y="422"/>
                    <a:pt x="11" y="422"/>
                    <a:pt x="11" y="422"/>
                  </a:cubicBezTo>
                  <a:cubicBezTo>
                    <a:pt x="11" y="422"/>
                    <a:pt x="11" y="422"/>
                    <a:pt x="10" y="422"/>
                  </a:cubicBezTo>
                  <a:cubicBezTo>
                    <a:pt x="7" y="425"/>
                    <a:pt x="4" y="428"/>
                    <a:pt x="0" y="432"/>
                  </a:cubicBezTo>
                  <a:cubicBezTo>
                    <a:pt x="32" y="474"/>
                    <a:pt x="32" y="474"/>
                    <a:pt x="32" y="474"/>
                  </a:cubicBezTo>
                  <a:cubicBezTo>
                    <a:pt x="35" y="470"/>
                    <a:pt x="38" y="467"/>
                    <a:pt x="41" y="463"/>
                  </a:cubicBezTo>
                  <a:cubicBezTo>
                    <a:pt x="42" y="462"/>
                    <a:pt x="43" y="461"/>
                    <a:pt x="43" y="461"/>
                  </a:cubicBezTo>
                  <a:cubicBezTo>
                    <a:pt x="48" y="455"/>
                    <a:pt x="52" y="450"/>
                    <a:pt x="57" y="444"/>
                  </a:cubicBezTo>
                  <a:cubicBezTo>
                    <a:pt x="56" y="444"/>
                    <a:pt x="56" y="444"/>
                    <a:pt x="56" y="444"/>
                  </a:cubicBezTo>
                  <a:cubicBezTo>
                    <a:pt x="52" y="442"/>
                    <a:pt x="45" y="440"/>
                    <a:pt x="48" y="427"/>
                  </a:cubicBezTo>
                  <a:cubicBezTo>
                    <a:pt x="49" y="421"/>
                    <a:pt x="50" y="414"/>
                    <a:pt x="49" y="410"/>
                  </a:cubicBezTo>
                  <a:cubicBezTo>
                    <a:pt x="47" y="409"/>
                    <a:pt x="45" y="408"/>
                    <a:pt x="42" y="407"/>
                  </a:cubicBezTo>
                  <a:cubicBezTo>
                    <a:pt x="42" y="407"/>
                    <a:pt x="42" y="407"/>
                    <a:pt x="42" y="407"/>
                  </a:cubicBezTo>
                  <a:moveTo>
                    <a:pt x="49" y="378"/>
                  </a:moveTo>
                  <a:cubicBezTo>
                    <a:pt x="39" y="391"/>
                    <a:pt x="28" y="403"/>
                    <a:pt x="17" y="414"/>
                  </a:cubicBezTo>
                  <a:cubicBezTo>
                    <a:pt x="18" y="417"/>
                    <a:pt x="19" y="420"/>
                    <a:pt x="19" y="420"/>
                  </a:cubicBezTo>
                  <a:cubicBezTo>
                    <a:pt x="21" y="420"/>
                    <a:pt x="23" y="419"/>
                    <a:pt x="26" y="416"/>
                  </a:cubicBezTo>
                  <a:cubicBezTo>
                    <a:pt x="30" y="410"/>
                    <a:pt x="36" y="404"/>
                    <a:pt x="42" y="402"/>
                  </a:cubicBezTo>
                  <a:cubicBezTo>
                    <a:pt x="42" y="402"/>
                    <a:pt x="42" y="402"/>
                    <a:pt x="42" y="402"/>
                  </a:cubicBezTo>
                  <a:cubicBezTo>
                    <a:pt x="43" y="402"/>
                    <a:pt x="43" y="402"/>
                    <a:pt x="44" y="402"/>
                  </a:cubicBezTo>
                  <a:cubicBezTo>
                    <a:pt x="45" y="403"/>
                    <a:pt x="45" y="403"/>
                    <a:pt x="45" y="403"/>
                  </a:cubicBezTo>
                  <a:cubicBezTo>
                    <a:pt x="47" y="404"/>
                    <a:pt x="50" y="405"/>
                    <a:pt x="52" y="406"/>
                  </a:cubicBezTo>
                  <a:cubicBezTo>
                    <a:pt x="53" y="407"/>
                    <a:pt x="53" y="407"/>
                    <a:pt x="53" y="408"/>
                  </a:cubicBezTo>
                  <a:cubicBezTo>
                    <a:pt x="55" y="413"/>
                    <a:pt x="54" y="422"/>
                    <a:pt x="53" y="428"/>
                  </a:cubicBezTo>
                  <a:cubicBezTo>
                    <a:pt x="51" y="436"/>
                    <a:pt x="54" y="437"/>
                    <a:pt x="58" y="439"/>
                  </a:cubicBezTo>
                  <a:cubicBezTo>
                    <a:pt x="59" y="439"/>
                    <a:pt x="59" y="439"/>
                    <a:pt x="59" y="439"/>
                  </a:cubicBezTo>
                  <a:cubicBezTo>
                    <a:pt x="59" y="439"/>
                    <a:pt x="60" y="440"/>
                    <a:pt x="60" y="440"/>
                  </a:cubicBezTo>
                  <a:cubicBezTo>
                    <a:pt x="60" y="439"/>
                    <a:pt x="61" y="439"/>
                    <a:pt x="61" y="438"/>
                  </a:cubicBezTo>
                  <a:cubicBezTo>
                    <a:pt x="62" y="437"/>
                    <a:pt x="63" y="436"/>
                    <a:pt x="64" y="435"/>
                  </a:cubicBezTo>
                  <a:cubicBezTo>
                    <a:pt x="69" y="428"/>
                    <a:pt x="75" y="420"/>
                    <a:pt x="80" y="412"/>
                  </a:cubicBezTo>
                  <a:cubicBezTo>
                    <a:pt x="81" y="411"/>
                    <a:pt x="82" y="410"/>
                    <a:pt x="82" y="409"/>
                  </a:cubicBezTo>
                  <a:cubicBezTo>
                    <a:pt x="85" y="404"/>
                    <a:pt x="88" y="400"/>
                    <a:pt x="91" y="396"/>
                  </a:cubicBezTo>
                  <a:cubicBezTo>
                    <a:pt x="76" y="391"/>
                    <a:pt x="62" y="385"/>
                    <a:pt x="49" y="378"/>
                  </a:cubicBezTo>
                  <a:moveTo>
                    <a:pt x="199" y="0"/>
                  </a:moveTo>
                  <a:cubicBezTo>
                    <a:pt x="189" y="134"/>
                    <a:pt x="139" y="265"/>
                    <a:pt x="52" y="374"/>
                  </a:cubicBezTo>
                  <a:cubicBezTo>
                    <a:pt x="65" y="381"/>
                    <a:pt x="79" y="387"/>
                    <a:pt x="94" y="392"/>
                  </a:cubicBezTo>
                  <a:cubicBezTo>
                    <a:pt x="95" y="390"/>
                    <a:pt x="96" y="388"/>
                    <a:pt x="97" y="386"/>
                  </a:cubicBezTo>
                  <a:cubicBezTo>
                    <a:pt x="98" y="384"/>
                    <a:pt x="99" y="383"/>
                    <a:pt x="100" y="382"/>
                  </a:cubicBezTo>
                  <a:cubicBezTo>
                    <a:pt x="104" y="374"/>
                    <a:pt x="109" y="366"/>
                    <a:pt x="113" y="359"/>
                  </a:cubicBezTo>
                  <a:cubicBezTo>
                    <a:pt x="114" y="357"/>
                    <a:pt x="115" y="356"/>
                    <a:pt x="116" y="354"/>
                  </a:cubicBezTo>
                  <a:cubicBezTo>
                    <a:pt x="120" y="346"/>
                    <a:pt x="124" y="338"/>
                    <a:pt x="128" y="330"/>
                  </a:cubicBezTo>
                  <a:cubicBezTo>
                    <a:pt x="129" y="329"/>
                    <a:pt x="130" y="328"/>
                    <a:pt x="130" y="326"/>
                  </a:cubicBezTo>
                  <a:cubicBezTo>
                    <a:pt x="134" y="318"/>
                    <a:pt x="138" y="310"/>
                    <a:pt x="142" y="302"/>
                  </a:cubicBezTo>
                  <a:cubicBezTo>
                    <a:pt x="142" y="300"/>
                    <a:pt x="143" y="299"/>
                    <a:pt x="143" y="298"/>
                  </a:cubicBezTo>
                  <a:cubicBezTo>
                    <a:pt x="147" y="289"/>
                    <a:pt x="151" y="281"/>
                    <a:pt x="154" y="273"/>
                  </a:cubicBezTo>
                  <a:cubicBezTo>
                    <a:pt x="154" y="271"/>
                    <a:pt x="155" y="270"/>
                    <a:pt x="155" y="269"/>
                  </a:cubicBezTo>
                  <a:cubicBezTo>
                    <a:pt x="158" y="260"/>
                    <a:pt x="162" y="252"/>
                    <a:pt x="165" y="243"/>
                  </a:cubicBezTo>
                  <a:cubicBezTo>
                    <a:pt x="165" y="242"/>
                    <a:pt x="165" y="241"/>
                    <a:pt x="165" y="241"/>
                  </a:cubicBezTo>
                  <a:cubicBezTo>
                    <a:pt x="184" y="183"/>
                    <a:pt x="196" y="123"/>
                    <a:pt x="199" y="63"/>
                  </a:cubicBezTo>
                  <a:cubicBezTo>
                    <a:pt x="199" y="62"/>
                    <a:pt x="199" y="61"/>
                    <a:pt x="199" y="60"/>
                  </a:cubicBezTo>
                  <a:cubicBezTo>
                    <a:pt x="199" y="52"/>
                    <a:pt x="200" y="45"/>
                    <a:pt x="200" y="37"/>
                  </a:cubicBezTo>
                  <a:cubicBezTo>
                    <a:pt x="200" y="34"/>
                    <a:pt x="200" y="31"/>
                    <a:pt x="200" y="28"/>
                  </a:cubicBezTo>
                  <a:cubicBezTo>
                    <a:pt x="200" y="21"/>
                    <a:pt x="200" y="14"/>
                    <a:pt x="200" y="7"/>
                  </a:cubicBezTo>
                  <a:cubicBezTo>
                    <a:pt x="199" y="5"/>
                    <a:pt x="199" y="2"/>
                    <a:pt x="199"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0" name="Freeform 21429">
              <a:extLst>
                <a:ext uri="{FF2B5EF4-FFF2-40B4-BE49-F238E27FC236}">
                  <a16:creationId xmlns:a16="http://schemas.microsoft.com/office/drawing/2014/main" id="{B7B1CE9B-7BE6-42DC-B84B-895C524451F6}"/>
                </a:ext>
              </a:extLst>
            </p:cNvPr>
            <p:cNvSpPr>
              <a:spLocks noEditPoints="1"/>
            </p:cNvSpPr>
            <p:nvPr userDrawn="1"/>
          </p:nvSpPr>
          <p:spPr bwMode="auto">
            <a:xfrm>
              <a:off x="10086340" y="5263515"/>
              <a:ext cx="168275" cy="141288"/>
            </a:xfrm>
            <a:custGeom>
              <a:avLst/>
              <a:gdLst>
                <a:gd name="T0" fmla="*/ 32 w 84"/>
                <a:gd name="T1" fmla="*/ 28 h 70"/>
                <a:gd name="T2" fmla="*/ 32 w 84"/>
                <a:gd name="T3" fmla="*/ 28 h 70"/>
                <a:gd name="T4" fmla="*/ 16 w 84"/>
                <a:gd name="T5" fmla="*/ 42 h 70"/>
                <a:gd name="T6" fmla="*/ 9 w 84"/>
                <a:gd name="T7" fmla="*/ 46 h 70"/>
                <a:gd name="T8" fmla="*/ 7 w 84"/>
                <a:gd name="T9" fmla="*/ 40 h 70"/>
                <a:gd name="T10" fmla="*/ 0 w 84"/>
                <a:gd name="T11" fmla="*/ 48 h 70"/>
                <a:gd name="T12" fmla="*/ 1 w 84"/>
                <a:gd name="T13" fmla="*/ 48 h 70"/>
                <a:gd name="T14" fmla="*/ 2 w 84"/>
                <a:gd name="T15" fmla="*/ 49 h 70"/>
                <a:gd name="T16" fmla="*/ 9 w 84"/>
                <a:gd name="T17" fmla="*/ 51 h 70"/>
                <a:gd name="T18" fmla="*/ 20 w 84"/>
                <a:gd name="T19" fmla="*/ 45 h 70"/>
                <a:gd name="T20" fmla="*/ 32 w 84"/>
                <a:gd name="T21" fmla="*/ 33 h 70"/>
                <a:gd name="T22" fmla="*/ 32 w 84"/>
                <a:gd name="T23" fmla="*/ 33 h 70"/>
                <a:gd name="T24" fmla="*/ 39 w 84"/>
                <a:gd name="T25" fmla="*/ 36 h 70"/>
                <a:gd name="T26" fmla="*/ 38 w 84"/>
                <a:gd name="T27" fmla="*/ 53 h 70"/>
                <a:gd name="T28" fmla="*/ 46 w 84"/>
                <a:gd name="T29" fmla="*/ 70 h 70"/>
                <a:gd name="T30" fmla="*/ 47 w 84"/>
                <a:gd name="T31" fmla="*/ 70 h 70"/>
                <a:gd name="T32" fmla="*/ 50 w 84"/>
                <a:gd name="T33" fmla="*/ 66 h 70"/>
                <a:gd name="T34" fmla="*/ 49 w 84"/>
                <a:gd name="T35" fmla="*/ 65 h 70"/>
                <a:gd name="T36" fmla="*/ 48 w 84"/>
                <a:gd name="T37" fmla="*/ 65 h 70"/>
                <a:gd name="T38" fmla="*/ 43 w 84"/>
                <a:gd name="T39" fmla="*/ 54 h 70"/>
                <a:gd name="T40" fmla="*/ 43 w 84"/>
                <a:gd name="T41" fmla="*/ 34 h 70"/>
                <a:gd name="T42" fmla="*/ 42 w 84"/>
                <a:gd name="T43" fmla="*/ 32 h 70"/>
                <a:gd name="T44" fmla="*/ 35 w 84"/>
                <a:gd name="T45" fmla="*/ 29 h 70"/>
                <a:gd name="T46" fmla="*/ 34 w 84"/>
                <a:gd name="T47" fmla="*/ 28 h 70"/>
                <a:gd name="T48" fmla="*/ 32 w 84"/>
                <a:gd name="T49" fmla="*/ 28 h 70"/>
                <a:gd name="T50" fmla="*/ 42 w 84"/>
                <a:gd name="T51" fmla="*/ 0 h 70"/>
                <a:gd name="T52" fmla="*/ 39 w 84"/>
                <a:gd name="T53" fmla="*/ 4 h 70"/>
                <a:gd name="T54" fmla="*/ 81 w 84"/>
                <a:gd name="T55" fmla="*/ 22 h 70"/>
                <a:gd name="T56" fmla="*/ 84 w 84"/>
                <a:gd name="T57" fmla="*/ 18 h 70"/>
                <a:gd name="T58" fmla="*/ 42 w 84"/>
                <a:gd name="T5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70">
                  <a:moveTo>
                    <a:pt x="32" y="28"/>
                  </a:moveTo>
                  <a:cubicBezTo>
                    <a:pt x="32" y="28"/>
                    <a:pt x="32" y="28"/>
                    <a:pt x="32" y="28"/>
                  </a:cubicBezTo>
                  <a:cubicBezTo>
                    <a:pt x="26" y="30"/>
                    <a:pt x="20" y="36"/>
                    <a:pt x="16" y="42"/>
                  </a:cubicBezTo>
                  <a:cubicBezTo>
                    <a:pt x="13" y="45"/>
                    <a:pt x="11" y="46"/>
                    <a:pt x="9" y="46"/>
                  </a:cubicBezTo>
                  <a:cubicBezTo>
                    <a:pt x="9" y="46"/>
                    <a:pt x="8" y="43"/>
                    <a:pt x="7" y="40"/>
                  </a:cubicBezTo>
                  <a:cubicBezTo>
                    <a:pt x="5" y="43"/>
                    <a:pt x="3" y="45"/>
                    <a:pt x="0" y="48"/>
                  </a:cubicBezTo>
                  <a:cubicBezTo>
                    <a:pt x="1" y="48"/>
                    <a:pt x="1" y="48"/>
                    <a:pt x="1" y="48"/>
                  </a:cubicBezTo>
                  <a:cubicBezTo>
                    <a:pt x="2" y="49"/>
                    <a:pt x="2" y="49"/>
                    <a:pt x="2" y="49"/>
                  </a:cubicBezTo>
                  <a:cubicBezTo>
                    <a:pt x="4" y="50"/>
                    <a:pt x="6" y="51"/>
                    <a:pt x="9" y="51"/>
                  </a:cubicBezTo>
                  <a:cubicBezTo>
                    <a:pt x="13" y="51"/>
                    <a:pt x="16" y="49"/>
                    <a:pt x="20" y="45"/>
                  </a:cubicBezTo>
                  <a:cubicBezTo>
                    <a:pt x="24" y="39"/>
                    <a:pt x="29" y="35"/>
                    <a:pt x="32" y="33"/>
                  </a:cubicBezTo>
                  <a:cubicBezTo>
                    <a:pt x="32" y="33"/>
                    <a:pt x="32" y="33"/>
                    <a:pt x="32" y="33"/>
                  </a:cubicBezTo>
                  <a:cubicBezTo>
                    <a:pt x="35" y="34"/>
                    <a:pt x="37" y="35"/>
                    <a:pt x="39" y="36"/>
                  </a:cubicBezTo>
                  <a:cubicBezTo>
                    <a:pt x="40" y="40"/>
                    <a:pt x="39" y="47"/>
                    <a:pt x="38" y="53"/>
                  </a:cubicBezTo>
                  <a:cubicBezTo>
                    <a:pt x="35" y="66"/>
                    <a:pt x="42" y="68"/>
                    <a:pt x="46" y="70"/>
                  </a:cubicBezTo>
                  <a:cubicBezTo>
                    <a:pt x="47" y="70"/>
                    <a:pt x="47" y="70"/>
                    <a:pt x="47" y="70"/>
                  </a:cubicBezTo>
                  <a:cubicBezTo>
                    <a:pt x="48" y="69"/>
                    <a:pt x="49" y="67"/>
                    <a:pt x="50" y="66"/>
                  </a:cubicBezTo>
                  <a:cubicBezTo>
                    <a:pt x="50" y="66"/>
                    <a:pt x="49" y="65"/>
                    <a:pt x="49" y="65"/>
                  </a:cubicBezTo>
                  <a:cubicBezTo>
                    <a:pt x="48" y="65"/>
                    <a:pt x="48" y="65"/>
                    <a:pt x="48" y="65"/>
                  </a:cubicBezTo>
                  <a:cubicBezTo>
                    <a:pt x="44" y="63"/>
                    <a:pt x="41" y="62"/>
                    <a:pt x="43" y="54"/>
                  </a:cubicBezTo>
                  <a:cubicBezTo>
                    <a:pt x="44" y="48"/>
                    <a:pt x="45" y="39"/>
                    <a:pt x="43" y="34"/>
                  </a:cubicBezTo>
                  <a:cubicBezTo>
                    <a:pt x="43" y="33"/>
                    <a:pt x="43" y="33"/>
                    <a:pt x="42" y="32"/>
                  </a:cubicBezTo>
                  <a:cubicBezTo>
                    <a:pt x="40" y="31"/>
                    <a:pt x="37" y="30"/>
                    <a:pt x="35" y="29"/>
                  </a:cubicBezTo>
                  <a:cubicBezTo>
                    <a:pt x="34" y="28"/>
                    <a:pt x="34" y="28"/>
                    <a:pt x="34" y="28"/>
                  </a:cubicBezTo>
                  <a:cubicBezTo>
                    <a:pt x="33" y="28"/>
                    <a:pt x="33" y="28"/>
                    <a:pt x="32" y="28"/>
                  </a:cubicBezTo>
                  <a:moveTo>
                    <a:pt x="42" y="0"/>
                  </a:moveTo>
                  <a:cubicBezTo>
                    <a:pt x="41" y="2"/>
                    <a:pt x="40" y="3"/>
                    <a:pt x="39" y="4"/>
                  </a:cubicBezTo>
                  <a:cubicBezTo>
                    <a:pt x="52" y="11"/>
                    <a:pt x="66" y="17"/>
                    <a:pt x="81" y="22"/>
                  </a:cubicBezTo>
                  <a:cubicBezTo>
                    <a:pt x="82" y="21"/>
                    <a:pt x="83" y="19"/>
                    <a:pt x="84" y="18"/>
                  </a:cubicBezTo>
                  <a:cubicBezTo>
                    <a:pt x="69" y="13"/>
                    <a:pt x="55" y="7"/>
                    <a:pt x="42"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1" name="Freeform 21430">
              <a:extLst>
                <a:ext uri="{FF2B5EF4-FFF2-40B4-BE49-F238E27FC236}">
                  <a16:creationId xmlns:a16="http://schemas.microsoft.com/office/drawing/2014/main" id="{5BE4F9D4-2BA9-4ED3-842E-E4A90C79A0E4}"/>
                </a:ext>
              </a:extLst>
            </p:cNvPr>
            <p:cNvSpPr>
              <a:spLocks/>
            </p:cNvSpPr>
            <p:nvPr userDrawn="1"/>
          </p:nvSpPr>
          <p:spPr bwMode="auto">
            <a:xfrm>
              <a:off x="9932353" y="5990590"/>
              <a:ext cx="246063" cy="365125"/>
            </a:xfrm>
            <a:custGeom>
              <a:avLst/>
              <a:gdLst>
                <a:gd name="T0" fmla="*/ 27 w 122"/>
                <a:gd name="T1" fmla="*/ 0 h 181"/>
                <a:gd name="T2" fmla="*/ 22 w 122"/>
                <a:gd name="T3" fmla="*/ 4 h 181"/>
                <a:gd name="T4" fmla="*/ 14 w 122"/>
                <a:gd name="T5" fmla="*/ 62 h 181"/>
                <a:gd name="T6" fmla="*/ 103 w 122"/>
                <a:gd name="T7" fmla="*/ 181 h 181"/>
                <a:gd name="T8" fmla="*/ 122 w 122"/>
                <a:gd name="T9" fmla="*/ 127 h 181"/>
                <a:gd name="T10" fmla="*/ 27 w 122"/>
                <a:gd name="T11" fmla="*/ 0 h 181"/>
              </a:gdLst>
              <a:ahLst/>
              <a:cxnLst>
                <a:cxn ang="0">
                  <a:pos x="T0" y="T1"/>
                </a:cxn>
                <a:cxn ang="0">
                  <a:pos x="T2" y="T3"/>
                </a:cxn>
                <a:cxn ang="0">
                  <a:pos x="T4" y="T5"/>
                </a:cxn>
                <a:cxn ang="0">
                  <a:pos x="T6" y="T7"/>
                </a:cxn>
                <a:cxn ang="0">
                  <a:pos x="T8" y="T9"/>
                </a:cxn>
                <a:cxn ang="0">
                  <a:pos x="T10" y="T11"/>
                </a:cxn>
              </a:cxnLst>
              <a:rect l="0" t="0" r="r" b="b"/>
              <a:pathLst>
                <a:path w="122" h="181">
                  <a:moveTo>
                    <a:pt x="27" y="0"/>
                  </a:moveTo>
                  <a:cubicBezTo>
                    <a:pt x="22" y="4"/>
                    <a:pt x="22" y="4"/>
                    <a:pt x="22" y="4"/>
                  </a:cubicBezTo>
                  <a:cubicBezTo>
                    <a:pt x="4" y="18"/>
                    <a:pt x="0" y="43"/>
                    <a:pt x="14" y="62"/>
                  </a:cubicBezTo>
                  <a:cubicBezTo>
                    <a:pt x="103" y="181"/>
                    <a:pt x="103" y="181"/>
                    <a:pt x="103" y="181"/>
                  </a:cubicBezTo>
                  <a:cubicBezTo>
                    <a:pt x="108" y="162"/>
                    <a:pt x="114" y="144"/>
                    <a:pt x="122" y="127"/>
                  </a:cubicBezTo>
                  <a:cubicBezTo>
                    <a:pt x="27" y="0"/>
                    <a:pt x="27" y="0"/>
                    <a:pt x="27"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2" name="Freeform 21431">
              <a:extLst>
                <a:ext uri="{FF2B5EF4-FFF2-40B4-BE49-F238E27FC236}">
                  <a16:creationId xmlns:a16="http://schemas.microsoft.com/office/drawing/2014/main" id="{20CC1987-1BD5-4EC3-899B-A648338A2AF2}"/>
                </a:ext>
              </a:extLst>
            </p:cNvPr>
            <p:cNvSpPr>
              <a:spLocks/>
            </p:cNvSpPr>
            <p:nvPr userDrawn="1"/>
          </p:nvSpPr>
          <p:spPr bwMode="auto">
            <a:xfrm>
              <a:off x="8573453" y="3279140"/>
              <a:ext cx="58738" cy="26988"/>
            </a:xfrm>
            <a:custGeom>
              <a:avLst/>
              <a:gdLst>
                <a:gd name="T0" fmla="*/ 29 w 29"/>
                <a:gd name="T1" fmla="*/ 0 h 13"/>
                <a:gd name="T2" fmla="*/ 0 w 29"/>
                <a:gd name="T3" fmla="*/ 13 h 13"/>
                <a:gd name="T4" fmla="*/ 0 w 29"/>
                <a:gd name="T5" fmla="*/ 13 h 13"/>
                <a:gd name="T6" fmla="*/ 29 w 29"/>
                <a:gd name="T7" fmla="*/ 0 h 13"/>
                <a:gd name="T8" fmla="*/ 29 w 29"/>
                <a:gd name="T9" fmla="*/ 0 h 13"/>
              </a:gdLst>
              <a:ahLst/>
              <a:cxnLst>
                <a:cxn ang="0">
                  <a:pos x="T0" y="T1"/>
                </a:cxn>
                <a:cxn ang="0">
                  <a:pos x="T2" y="T3"/>
                </a:cxn>
                <a:cxn ang="0">
                  <a:pos x="T4" y="T5"/>
                </a:cxn>
                <a:cxn ang="0">
                  <a:pos x="T6" y="T7"/>
                </a:cxn>
                <a:cxn ang="0">
                  <a:pos x="T8" y="T9"/>
                </a:cxn>
              </a:cxnLst>
              <a:rect l="0" t="0" r="r" b="b"/>
              <a:pathLst>
                <a:path w="29" h="13">
                  <a:moveTo>
                    <a:pt x="29" y="0"/>
                  </a:moveTo>
                  <a:cubicBezTo>
                    <a:pt x="19" y="4"/>
                    <a:pt x="10" y="8"/>
                    <a:pt x="0" y="13"/>
                  </a:cubicBezTo>
                  <a:cubicBezTo>
                    <a:pt x="0" y="13"/>
                    <a:pt x="0" y="13"/>
                    <a:pt x="0" y="13"/>
                  </a:cubicBezTo>
                  <a:cubicBezTo>
                    <a:pt x="10" y="8"/>
                    <a:pt x="19" y="4"/>
                    <a:pt x="29" y="0"/>
                  </a:cubicBezTo>
                  <a:cubicBezTo>
                    <a:pt x="29" y="0"/>
                    <a:pt x="29" y="0"/>
                    <a:pt x="29"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3" name="Freeform 21432">
              <a:extLst>
                <a:ext uri="{FF2B5EF4-FFF2-40B4-BE49-F238E27FC236}">
                  <a16:creationId xmlns:a16="http://schemas.microsoft.com/office/drawing/2014/main" id="{2772FBB0-303B-4620-95D7-9B8676470F62}"/>
                </a:ext>
              </a:extLst>
            </p:cNvPr>
            <p:cNvSpPr>
              <a:spLocks/>
            </p:cNvSpPr>
            <p:nvPr userDrawn="1"/>
          </p:nvSpPr>
          <p:spPr bwMode="auto">
            <a:xfrm>
              <a:off x="8559165" y="3306128"/>
              <a:ext cx="14288" cy="6350"/>
            </a:xfrm>
            <a:custGeom>
              <a:avLst/>
              <a:gdLst>
                <a:gd name="T0" fmla="*/ 7 w 7"/>
                <a:gd name="T1" fmla="*/ 0 h 3"/>
                <a:gd name="T2" fmla="*/ 0 w 7"/>
                <a:gd name="T3" fmla="*/ 3 h 3"/>
                <a:gd name="T4" fmla="*/ 0 w 7"/>
                <a:gd name="T5" fmla="*/ 3 h 3"/>
                <a:gd name="T6" fmla="*/ 7 w 7"/>
                <a:gd name="T7" fmla="*/ 0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cubicBezTo>
                    <a:pt x="5" y="1"/>
                    <a:pt x="2" y="2"/>
                    <a:pt x="0" y="3"/>
                  </a:cubicBezTo>
                  <a:cubicBezTo>
                    <a:pt x="0" y="3"/>
                    <a:pt x="0" y="3"/>
                    <a:pt x="0" y="3"/>
                  </a:cubicBezTo>
                  <a:cubicBezTo>
                    <a:pt x="2" y="2"/>
                    <a:pt x="5" y="1"/>
                    <a:pt x="7" y="0"/>
                  </a:cubicBezTo>
                  <a:cubicBezTo>
                    <a:pt x="7" y="0"/>
                    <a:pt x="7" y="0"/>
                    <a:pt x="7"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4" name="Freeform 21433">
              <a:extLst>
                <a:ext uri="{FF2B5EF4-FFF2-40B4-BE49-F238E27FC236}">
                  <a16:creationId xmlns:a16="http://schemas.microsoft.com/office/drawing/2014/main" id="{3096C504-E197-4A62-9754-A07FF0B84D64}"/>
                </a:ext>
              </a:extLst>
            </p:cNvPr>
            <p:cNvSpPr>
              <a:spLocks noEditPoints="1"/>
            </p:cNvSpPr>
            <p:nvPr userDrawn="1"/>
          </p:nvSpPr>
          <p:spPr bwMode="auto">
            <a:xfrm>
              <a:off x="8632190" y="3188653"/>
              <a:ext cx="460375" cy="90488"/>
            </a:xfrm>
            <a:custGeom>
              <a:avLst/>
              <a:gdLst>
                <a:gd name="T0" fmla="*/ 119 w 228"/>
                <a:gd name="T1" fmla="*/ 10 h 45"/>
                <a:gd name="T2" fmla="*/ 0 w 228"/>
                <a:gd name="T3" fmla="*/ 45 h 45"/>
                <a:gd name="T4" fmla="*/ 0 w 228"/>
                <a:gd name="T5" fmla="*/ 45 h 45"/>
                <a:gd name="T6" fmla="*/ 119 w 228"/>
                <a:gd name="T7" fmla="*/ 10 h 45"/>
                <a:gd name="T8" fmla="*/ 119 w 228"/>
                <a:gd name="T9" fmla="*/ 10 h 45"/>
                <a:gd name="T10" fmla="*/ 151 w 228"/>
                <a:gd name="T11" fmla="*/ 5 h 45"/>
                <a:gd name="T12" fmla="*/ 132 w 228"/>
                <a:gd name="T13" fmla="*/ 8 h 45"/>
                <a:gd name="T14" fmla="*/ 132 w 228"/>
                <a:gd name="T15" fmla="*/ 8 h 45"/>
                <a:gd name="T16" fmla="*/ 151 w 228"/>
                <a:gd name="T17" fmla="*/ 5 h 45"/>
                <a:gd name="T18" fmla="*/ 151 w 228"/>
                <a:gd name="T19" fmla="*/ 5 h 45"/>
                <a:gd name="T20" fmla="*/ 228 w 228"/>
                <a:gd name="T21" fmla="*/ 0 h 45"/>
                <a:gd name="T22" fmla="*/ 164 w 228"/>
                <a:gd name="T23" fmla="*/ 4 h 45"/>
                <a:gd name="T24" fmla="*/ 164 w 228"/>
                <a:gd name="T25" fmla="*/ 4 h 45"/>
                <a:gd name="T26" fmla="*/ 228 w 228"/>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45">
                  <a:moveTo>
                    <a:pt x="119" y="10"/>
                  </a:moveTo>
                  <a:cubicBezTo>
                    <a:pt x="79" y="17"/>
                    <a:pt x="39" y="29"/>
                    <a:pt x="0" y="45"/>
                  </a:cubicBezTo>
                  <a:cubicBezTo>
                    <a:pt x="0" y="45"/>
                    <a:pt x="0" y="45"/>
                    <a:pt x="0" y="45"/>
                  </a:cubicBezTo>
                  <a:cubicBezTo>
                    <a:pt x="39" y="29"/>
                    <a:pt x="79" y="17"/>
                    <a:pt x="119" y="10"/>
                  </a:cubicBezTo>
                  <a:cubicBezTo>
                    <a:pt x="119" y="10"/>
                    <a:pt x="119" y="10"/>
                    <a:pt x="119" y="10"/>
                  </a:cubicBezTo>
                  <a:moveTo>
                    <a:pt x="151" y="5"/>
                  </a:moveTo>
                  <a:cubicBezTo>
                    <a:pt x="145" y="6"/>
                    <a:pt x="138" y="7"/>
                    <a:pt x="132" y="8"/>
                  </a:cubicBezTo>
                  <a:cubicBezTo>
                    <a:pt x="132" y="8"/>
                    <a:pt x="132" y="8"/>
                    <a:pt x="132" y="8"/>
                  </a:cubicBezTo>
                  <a:cubicBezTo>
                    <a:pt x="138" y="7"/>
                    <a:pt x="145" y="6"/>
                    <a:pt x="151" y="5"/>
                  </a:cubicBezTo>
                  <a:cubicBezTo>
                    <a:pt x="151" y="5"/>
                    <a:pt x="151" y="5"/>
                    <a:pt x="151" y="5"/>
                  </a:cubicBezTo>
                  <a:moveTo>
                    <a:pt x="228" y="0"/>
                  </a:moveTo>
                  <a:cubicBezTo>
                    <a:pt x="207" y="0"/>
                    <a:pt x="185" y="1"/>
                    <a:pt x="164" y="4"/>
                  </a:cubicBezTo>
                  <a:cubicBezTo>
                    <a:pt x="164" y="4"/>
                    <a:pt x="164" y="4"/>
                    <a:pt x="164" y="4"/>
                  </a:cubicBezTo>
                  <a:cubicBezTo>
                    <a:pt x="185" y="1"/>
                    <a:pt x="207" y="0"/>
                    <a:pt x="228" y="0"/>
                  </a:cubicBezTo>
                </a:path>
              </a:pathLst>
            </a:custGeom>
            <a:solidFill>
              <a:srgbClr val="363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5" name="Freeform 21434">
              <a:extLst>
                <a:ext uri="{FF2B5EF4-FFF2-40B4-BE49-F238E27FC236}">
                  <a16:creationId xmlns:a16="http://schemas.microsoft.com/office/drawing/2014/main" id="{D0449015-80E3-4855-9FE3-F7804C3FE559}"/>
                </a:ext>
              </a:extLst>
            </p:cNvPr>
            <p:cNvSpPr>
              <a:spLocks noEditPoints="1"/>
            </p:cNvSpPr>
            <p:nvPr userDrawn="1"/>
          </p:nvSpPr>
          <p:spPr bwMode="auto">
            <a:xfrm>
              <a:off x="8871903" y="3196590"/>
              <a:ext cx="92075" cy="12700"/>
            </a:xfrm>
            <a:custGeom>
              <a:avLst/>
              <a:gdLst>
                <a:gd name="T0" fmla="*/ 13 w 45"/>
                <a:gd name="T1" fmla="*/ 4 h 6"/>
                <a:gd name="T2" fmla="*/ 0 w 45"/>
                <a:gd name="T3" fmla="*/ 6 h 6"/>
                <a:gd name="T4" fmla="*/ 0 w 45"/>
                <a:gd name="T5" fmla="*/ 6 h 6"/>
                <a:gd name="T6" fmla="*/ 13 w 45"/>
                <a:gd name="T7" fmla="*/ 4 h 6"/>
                <a:gd name="T8" fmla="*/ 13 w 45"/>
                <a:gd name="T9" fmla="*/ 4 h 6"/>
                <a:gd name="T10" fmla="*/ 45 w 45"/>
                <a:gd name="T11" fmla="*/ 0 h 6"/>
                <a:gd name="T12" fmla="*/ 32 w 45"/>
                <a:gd name="T13" fmla="*/ 1 h 6"/>
                <a:gd name="T14" fmla="*/ 32 w 45"/>
                <a:gd name="T15" fmla="*/ 1 h 6"/>
                <a:gd name="T16" fmla="*/ 45 w 45"/>
                <a:gd name="T17" fmla="*/ 0 h 6"/>
                <a:gd name="T18" fmla="*/ 45 w 4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6">
                  <a:moveTo>
                    <a:pt x="13" y="4"/>
                  </a:moveTo>
                  <a:cubicBezTo>
                    <a:pt x="9" y="5"/>
                    <a:pt x="5" y="5"/>
                    <a:pt x="0" y="6"/>
                  </a:cubicBezTo>
                  <a:cubicBezTo>
                    <a:pt x="0" y="6"/>
                    <a:pt x="0" y="6"/>
                    <a:pt x="0" y="6"/>
                  </a:cubicBezTo>
                  <a:cubicBezTo>
                    <a:pt x="5" y="5"/>
                    <a:pt x="9" y="5"/>
                    <a:pt x="13" y="4"/>
                  </a:cubicBezTo>
                  <a:cubicBezTo>
                    <a:pt x="13" y="4"/>
                    <a:pt x="13" y="4"/>
                    <a:pt x="13" y="4"/>
                  </a:cubicBezTo>
                  <a:moveTo>
                    <a:pt x="45" y="0"/>
                  </a:moveTo>
                  <a:cubicBezTo>
                    <a:pt x="41" y="0"/>
                    <a:pt x="37" y="1"/>
                    <a:pt x="32" y="1"/>
                  </a:cubicBezTo>
                  <a:cubicBezTo>
                    <a:pt x="32" y="1"/>
                    <a:pt x="32" y="1"/>
                    <a:pt x="32" y="1"/>
                  </a:cubicBezTo>
                  <a:cubicBezTo>
                    <a:pt x="37" y="1"/>
                    <a:pt x="41" y="0"/>
                    <a:pt x="45" y="0"/>
                  </a:cubicBezTo>
                  <a:cubicBezTo>
                    <a:pt x="45" y="0"/>
                    <a:pt x="45" y="0"/>
                    <a:pt x="45" y="0"/>
                  </a:cubicBezTo>
                </a:path>
              </a:pathLst>
            </a:custGeom>
            <a:solidFill>
              <a:srgbClr val="3F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6" name="Freeform 21435">
              <a:extLst>
                <a:ext uri="{FF2B5EF4-FFF2-40B4-BE49-F238E27FC236}">
                  <a16:creationId xmlns:a16="http://schemas.microsoft.com/office/drawing/2014/main" id="{603140B5-A1A1-4352-BA81-4A0D5F6594B8}"/>
                </a:ext>
              </a:extLst>
            </p:cNvPr>
            <p:cNvSpPr>
              <a:spLocks/>
            </p:cNvSpPr>
            <p:nvPr userDrawn="1"/>
          </p:nvSpPr>
          <p:spPr bwMode="auto">
            <a:xfrm>
              <a:off x="8468678" y="3312478"/>
              <a:ext cx="90488" cy="50800"/>
            </a:xfrm>
            <a:custGeom>
              <a:avLst/>
              <a:gdLst>
                <a:gd name="T0" fmla="*/ 45 w 45"/>
                <a:gd name="T1" fmla="*/ 0 h 25"/>
                <a:gd name="T2" fmla="*/ 0 w 45"/>
                <a:gd name="T3" fmla="*/ 25 h 25"/>
                <a:gd name="T4" fmla="*/ 0 w 45"/>
                <a:gd name="T5" fmla="*/ 25 h 25"/>
                <a:gd name="T6" fmla="*/ 45 w 45"/>
                <a:gd name="T7" fmla="*/ 0 h 25"/>
                <a:gd name="T8" fmla="*/ 45 w 45"/>
                <a:gd name="T9" fmla="*/ 0 h 25"/>
              </a:gdLst>
              <a:ahLst/>
              <a:cxnLst>
                <a:cxn ang="0">
                  <a:pos x="T0" y="T1"/>
                </a:cxn>
                <a:cxn ang="0">
                  <a:pos x="T2" y="T3"/>
                </a:cxn>
                <a:cxn ang="0">
                  <a:pos x="T4" y="T5"/>
                </a:cxn>
                <a:cxn ang="0">
                  <a:pos x="T6" y="T7"/>
                </a:cxn>
                <a:cxn ang="0">
                  <a:pos x="T8" y="T9"/>
                </a:cxn>
              </a:cxnLst>
              <a:rect l="0" t="0" r="r" b="b"/>
              <a:pathLst>
                <a:path w="45" h="25">
                  <a:moveTo>
                    <a:pt x="45" y="0"/>
                  </a:moveTo>
                  <a:cubicBezTo>
                    <a:pt x="30" y="8"/>
                    <a:pt x="14" y="16"/>
                    <a:pt x="0" y="25"/>
                  </a:cubicBezTo>
                  <a:cubicBezTo>
                    <a:pt x="0" y="25"/>
                    <a:pt x="0" y="25"/>
                    <a:pt x="0" y="25"/>
                  </a:cubicBezTo>
                  <a:cubicBezTo>
                    <a:pt x="14" y="16"/>
                    <a:pt x="30" y="8"/>
                    <a:pt x="45" y="0"/>
                  </a:cubicBezTo>
                  <a:cubicBezTo>
                    <a:pt x="45" y="0"/>
                    <a:pt x="45" y="0"/>
                    <a:pt x="45" y="0"/>
                  </a:cubicBezTo>
                </a:path>
              </a:pathLst>
            </a:custGeom>
            <a:solidFill>
              <a:srgbClr val="1F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7" name="Freeform 21436">
              <a:extLst>
                <a:ext uri="{FF2B5EF4-FFF2-40B4-BE49-F238E27FC236}">
                  <a16:creationId xmlns:a16="http://schemas.microsoft.com/office/drawing/2014/main" id="{75EC4791-414A-4546-A3A5-179CEE284EB8}"/>
                </a:ext>
              </a:extLst>
            </p:cNvPr>
            <p:cNvSpPr>
              <a:spLocks noEditPoints="1"/>
            </p:cNvSpPr>
            <p:nvPr userDrawn="1"/>
          </p:nvSpPr>
          <p:spPr bwMode="auto">
            <a:xfrm>
              <a:off x="8317865" y="3363278"/>
              <a:ext cx="150813" cy="104775"/>
            </a:xfrm>
            <a:custGeom>
              <a:avLst/>
              <a:gdLst>
                <a:gd name="T0" fmla="*/ 3 w 74"/>
                <a:gd name="T1" fmla="*/ 49 h 52"/>
                <a:gd name="T2" fmla="*/ 0 w 74"/>
                <a:gd name="T3" fmla="*/ 52 h 52"/>
                <a:gd name="T4" fmla="*/ 3 w 74"/>
                <a:gd name="T5" fmla="*/ 49 h 52"/>
                <a:gd name="T6" fmla="*/ 74 w 74"/>
                <a:gd name="T7" fmla="*/ 0 h 52"/>
                <a:gd name="T8" fmla="*/ 4 w 74"/>
                <a:gd name="T9" fmla="*/ 49 h 52"/>
                <a:gd name="T10" fmla="*/ 74 w 74"/>
                <a:gd name="T11" fmla="*/ 0 h 52"/>
                <a:gd name="T12" fmla="*/ 74 w 74"/>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74" h="52">
                  <a:moveTo>
                    <a:pt x="3" y="49"/>
                  </a:moveTo>
                  <a:cubicBezTo>
                    <a:pt x="2" y="50"/>
                    <a:pt x="1" y="51"/>
                    <a:pt x="0" y="52"/>
                  </a:cubicBezTo>
                  <a:cubicBezTo>
                    <a:pt x="1" y="51"/>
                    <a:pt x="2" y="50"/>
                    <a:pt x="3" y="49"/>
                  </a:cubicBezTo>
                  <a:moveTo>
                    <a:pt x="74" y="0"/>
                  </a:moveTo>
                  <a:cubicBezTo>
                    <a:pt x="50" y="14"/>
                    <a:pt x="26" y="31"/>
                    <a:pt x="4" y="49"/>
                  </a:cubicBezTo>
                  <a:cubicBezTo>
                    <a:pt x="26" y="31"/>
                    <a:pt x="50" y="14"/>
                    <a:pt x="74" y="0"/>
                  </a:cubicBezTo>
                  <a:cubicBezTo>
                    <a:pt x="74" y="0"/>
                    <a:pt x="74" y="0"/>
                    <a:pt x="74" y="0"/>
                  </a:cubicBezTo>
                </a:path>
              </a:pathLst>
            </a:custGeom>
            <a:solidFill>
              <a:srgbClr val="009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0" name="Freeform: Shape 1369">
              <a:extLst>
                <a:ext uri="{FF2B5EF4-FFF2-40B4-BE49-F238E27FC236}">
                  <a16:creationId xmlns:a16="http://schemas.microsoft.com/office/drawing/2014/main" id="{E45D18FB-32C9-419D-BBC4-3DBBA1B07710}"/>
                </a:ext>
              </a:extLst>
            </p:cNvPr>
            <p:cNvSpPr>
              <a:spLocks/>
            </p:cNvSpPr>
            <p:nvPr userDrawn="1"/>
          </p:nvSpPr>
          <p:spPr bwMode="auto">
            <a:xfrm>
              <a:off x="10100858" y="5839994"/>
              <a:ext cx="2082227" cy="1018006"/>
            </a:xfrm>
            <a:custGeom>
              <a:avLst/>
              <a:gdLst>
                <a:gd name="connsiteX0" fmla="*/ 642373 w 2082227"/>
                <a:gd name="connsiteY0" fmla="*/ 762 h 1018006"/>
                <a:gd name="connsiteX1" fmla="*/ 1167994 w 2082227"/>
                <a:gd name="connsiteY1" fmla="*/ 180103 h 1018006"/>
                <a:gd name="connsiteX2" fmla="*/ 1535928 w 2082227"/>
                <a:gd name="connsiteY2" fmla="*/ 325187 h 1018006"/>
                <a:gd name="connsiteX3" fmla="*/ 1922057 w 2082227"/>
                <a:gd name="connsiteY3" fmla="*/ 796713 h 1018006"/>
                <a:gd name="connsiteX4" fmla="*/ 2051946 w 2082227"/>
                <a:gd name="connsiteY4" fmla="*/ 974039 h 1018006"/>
                <a:gd name="connsiteX5" fmla="*/ 2082227 w 2082227"/>
                <a:gd name="connsiteY5" fmla="*/ 1018006 h 1018006"/>
                <a:gd name="connsiteX6" fmla="*/ 1289933 w 2082227"/>
                <a:gd name="connsiteY6" fmla="*/ 1018006 h 1018006"/>
                <a:gd name="connsiteX7" fmla="*/ 1297377 w 2082227"/>
                <a:gd name="connsiteY7" fmla="*/ 998220 h 1018006"/>
                <a:gd name="connsiteX8" fmla="*/ 1277161 w 2082227"/>
                <a:gd name="connsiteY8" fmla="*/ 911572 h 1018006"/>
                <a:gd name="connsiteX9" fmla="*/ 1026481 w 2082227"/>
                <a:gd name="connsiteY9" fmla="*/ 794698 h 1018006"/>
                <a:gd name="connsiteX10" fmla="*/ 935508 w 2082227"/>
                <a:gd name="connsiteY10" fmla="*/ 714095 h 1018006"/>
                <a:gd name="connsiteX11" fmla="*/ 925400 w 2082227"/>
                <a:gd name="connsiteY11" fmla="*/ 695960 h 1018006"/>
                <a:gd name="connsiteX12" fmla="*/ 901140 w 2082227"/>
                <a:gd name="connsiteY12" fmla="*/ 639538 h 1018006"/>
                <a:gd name="connsiteX13" fmla="*/ 876881 w 2082227"/>
                <a:gd name="connsiteY13" fmla="*/ 538784 h 1018006"/>
                <a:gd name="connsiteX14" fmla="*/ 870816 w 2082227"/>
                <a:gd name="connsiteY14" fmla="*/ 474302 h 1018006"/>
                <a:gd name="connsiteX15" fmla="*/ 870816 w 2082227"/>
                <a:gd name="connsiteY15" fmla="*/ 464227 h 1018006"/>
                <a:gd name="connsiteX16" fmla="*/ 822297 w 2082227"/>
                <a:gd name="connsiteY16" fmla="*/ 464227 h 1018006"/>
                <a:gd name="connsiteX17" fmla="*/ 747497 w 2082227"/>
                <a:gd name="connsiteY17" fmla="*/ 462212 h 1018006"/>
                <a:gd name="connsiteX18" fmla="*/ 713130 w 2082227"/>
                <a:gd name="connsiteY18" fmla="*/ 460197 h 1018006"/>
                <a:gd name="connsiteX19" fmla="*/ 597897 w 2082227"/>
                <a:gd name="connsiteY19" fmla="*/ 458182 h 1018006"/>
                <a:gd name="connsiteX20" fmla="*/ 452341 w 2082227"/>
                <a:gd name="connsiteY20" fmla="*/ 478332 h 1018006"/>
                <a:gd name="connsiteX21" fmla="*/ 432125 w 2082227"/>
                <a:gd name="connsiteY21" fmla="*/ 488408 h 1018006"/>
                <a:gd name="connsiteX22" fmla="*/ 322957 w 2082227"/>
                <a:gd name="connsiteY22" fmla="*/ 631477 h 1018006"/>
                <a:gd name="connsiteX23" fmla="*/ 304763 w 2082227"/>
                <a:gd name="connsiteY23" fmla="*/ 663719 h 1018006"/>
                <a:gd name="connsiteX24" fmla="*/ 290612 w 2082227"/>
                <a:gd name="connsiteY24" fmla="*/ 687899 h 1018006"/>
                <a:gd name="connsiteX25" fmla="*/ 236028 w 2082227"/>
                <a:gd name="connsiteY25" fmla="*/ 768502 h 1018006"/>
                <a:gd name="connsiteX26" fmla="*/ 3542 w 2082227"/>
                <a:gd name="connsiteY26" fmla="*/ 667749 h 1018006"/>
                <a:gd name="connsiteX27" fmla="*/ 159206 w 2082227"/>
                <a:gd name="connsiteY27" fmla="*/ 280856 h 1018006"/>
                <a:gd name="connsiteX28" fmla="*/ 642373 w 2082227"/>
                <a:gd name="connsiteY28" fmla="*/ 762 h 101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82227" h="1018006">
                  <a:moveTo>
                    <a:pt x="642373" y="762"/>
                  </a:moveTo>
                  <a:cubicBezTo>
                    <a:pt x="814211" y="-11329"/>
                    <a:pt x="1006264" y="123681"/>
                    <a:pt x="1167994" y="180103"/>
                  </a:cubicBezTo>
                  <a:cubicBezTo>
                    <a:pt x="1416653" y="266750"/>
                    <a:pt x="1422717" y="218389"/>
                    <a:pt x="1535928" y="325187"/>
                  </a:cubicBezTo>
                  <a:cubicBezTo>
                    <a:pt x="1628923" y="411835"/>
                    <a:pt x="1808847" y="647598"/>
                    <a:pt x="1922057" y="796713"/>
                  </a:cubicBezTo>
                  <a:cubicBezTo>
                    <a:pt x="1965017" y="853135"/>
                    <a:pt x="2008608" y="912831"/>
                    <a:pt x="2051946" y="974039"/>
                  </a:cubicBezTo>
                  <a:lnTo>
                    <a:pt x="2082227" y="1018006"/>
                  </a:lnTo>
                  <a:lnTo>
                    <a:pt x="1289933" y="1018006"/>
                  </a:lnTo>
                  <a:lnTo>
                    <a:pt x="1297377" y="998220"/>
                  </a:lnTo>
                  <a:cubicBezTo>
                    <a:pt x="1303442" y="970009"/>
                    <a:pt x="1297377" y="951873"/>
                    <a:pt x="1277161" y="911572"/>
                  </a:cubicBezTo>
                  <a:cubicBezTo>
                    <a:pt x="1224599" y="814849"/>
                    <a:pt x="1137669" y="907542"/>
                    <a:pt x="1026481" y="794698"/>
                  </a:cubicBezTo>
                  <a:cubicBezTo>
                    <a:pt x="988070" y="780592"/>
                    <a:pt x="959767" y="752381"/>
                    <a:pt x="935508" y="714095"/>
                  </a:cubicBezTo>
                  <a:cubicBezTo>
                    <a:pt x="931464" y="708050"/>
                    <a:pt x="929443" y="702005"/>
                    <a:pt x="925400" y="695960"/>
                  </a:cubicBezTo>
                  <a:cubicBezTo>
                    <a:pt x="915291" y="677824"/>
                    <a:pt x="907205" y="659688"/>
                    <a:pt x="901140" y="639538"/>
                  </a:cubicBezTo>
                  <a:cubicBezTo>
                    <a:pt x="889010" y="607297"/>
                    <a:pt x="880924" y="573041"/>
                    <a:pt x="876881" y="538784"/>
                  </a:cubicBezTo>
                  <a:cubicBezTo>
                    <a:pt x="872837" y="516619"/>
                    <a:pt x="870816" y="494453"/>
                    <a:pt x="870816" y="474302"/>
                  </a:cubicBezTo>
                  <a:cubicBezTo>
                    <a:pt x="870816" y="472287"/>
                    <a:pt x="870816" y="468257"/>
                    <a:pt x="870816" y="464227"/>
                  </a:cubicBezTo>
                  <a:cubicBezTo>
                    <a:pt x="854643" y="464227"/>
                    <a:pt x="838470" y="464227"/>
                    <a:pt x="822297" y="464227"/>
                  </a:cubicBezTo>
                  <a:cubicBezTo>
                    <a:pt x="798038" y="462212"/>
                    <a:pt x="773778" y="462212"/>
                    <a:pt x="747497" y="462212"/>
                  </a:cubicBezTo>
                  <a:cubicBezTo>
                    <a:pt x="735367" y="460197"/>
                    <a:pt x="723238" y="460197"/>
                    <a:pt x="713130" y="460197"/>
                  </a:cubicBezTo>
                  <a:cubicBezTo>
                    <a:pt x="672697" y="458182"/>
                    <a:pt x="634287" y="458182"/>
                    <a:pt x="597897" y="458182"/>
                  </a:cubicBezTo>
                  <a:cubicBezTo>
                    <a:pt x="547357" y="456167"/>
                    <a:pt x="496817" y="456167"/>
                    <a:pt x="452341" y="478332"/>
                  </a:cubicBezTo>
                  <a:cubicBezTo>
                    <a:pt x="444255" y="480348"/>
                    <a:pt x="438190" y="484378"/>
                    <a:pt x="432125" y="488408"/>
                  </a:cubicBezTo>
                  <a:cubicBezTo>
                    <a:pt x="383606" y="520649"/>
                    <a:pt x="351260" y="577071"/>
                    <a:pt x="322957" y="631477"/>
                  </a:cubicBezTo>
                  <a:cubicBezTo>
                    <a:pt x="316893" y="643568"/>
                    <a:pt x="310828" y="653643"/>
                    <a:pt x="304763" y="663719"/>
                  </a:cubicBezTo>
                  <a:cubicBezTo>
                    <a:pt x="300720" y="671779"/>
                    <a:pt x="294655" y="679839"/>
                    <a:pt x="290612" y="687899"/>
                  </a:cubicBezTo>
                  <a:cubicBezTo>
                    <a:pt x="274439" y="712080"/>
                    <a:pt x="258266" y="734246"/>
                    <a:pt x="236028" y="768502"/>
                  </a:cubicBezTo>
                  <a:cubicBezTo>
                    <a:pt x="169315" y="867240"/>
                    <a:pt x="-28804" y="798728"/>
                    <a:pt x="3542" y="667749"/>
                  </a:cubicBezTo>
                  <a:cubicBezTo>
                    <a:pt x="43974" y="496468"/>
                    <a:pt x="50039" y="419896"/>
                    <a:pt x="159206" y="280856"/>
                  </a:cubicBezTo>
                  <a:cubicBezTo>
                    <a:pt x="268374" y="143831"/>
                    <a:pt x="466492" y="12852"/>
                    <a:pt x="642373" y="762"/>
                  </a:cubicBezTo>
                  <a:close/>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80" name="Freeform: Shape 1379">
              <a:extLst>
                <a:ext uri="{FF2B5EF4-FFF2-40B4-BE49-F238E27FC236}">
                  <a16:creationId xmlns:a16="http://schemas.microsoft.com/office/drawing/2014/main" id="{1AFC2BB1-E78B-45F4-8008-BD9B67A46D95}"/>
                </a:ext>
              </a:extLst>
            </p:cNvPr>
            <p:cNvSpPr>
              <a:spLocks/>
            </p:cNvSpPr>
            <p:nvPr userDrawn="1"/>
          </p:nvSpPr>
          <p:spPr bwMode="auto">
            <a:xfrm>
              <a:off x="10417316" y="6360478"/>
              <a:ext cx="653275" cy="497522"/>
            </a:xfrm>
            <a:custGeom>
              <a:avLst/>
              <a:gdLst>
                <a:gd name="connsiteX0" fmla="*/ 550102 w 653275"/>
                <a:gd name="connsiteY0" fmla="*/ 0 h 497522"/>
                <a:gd name="connsiteX1" fmla="*/ 560217 w 653275"/>
                <a:gd name="connsiteY1" fmla="*/ 18147 h 497522"/>
                <a:gd name="connsiteX2" fmla="*/ 653275 w 653275"/>
                <a:gd name="connsiteY2" fmla="*/ 177432 h 497522"/>
                <a:gd name="connsiteX3" fmla="*/ 626976 w 653275"/>
                <a:gd name="connsiteY3" fmla="*/ 191546 h 497522"/>
                <a:gd name="connsiteX4" fmla="*/ 618884 w 653275"/>
                <a:gd name="connsiteY4" fmla="*/ 193562 h 497522"/>
                <a:gd name="connsiteX5" fmla="*/ 345778 w 653275"/>
                <a:gd name="connsiteY5" fmla="*/ 385107 h 497522"/>
                <a:gd name="connsiteX6" fmla="*/ 331364 w 653275"/>
                <a:gd name="connsiteY6" fmla="*/ 456181 h 497522"/>
                <a:gd name="connsiteX7" fmla="*/ 336020 w 653275"/>
                <a:gd name="connsiteY7" fmla="*/ 497522 h 497522"/>
                <a:gd name="connsiteX8" fmla="*/ 0 w 653275"/>
                <a:gd name="connsiteY8" fmla="*/ 497522 h 497522"/>
                <a:gd name="connsiteX9" fmla="*/ 1139 w 653275"/>
                <a:gd name="connsiteY9" fmla="*/ 486173 h 497522"/>
                <a:gd name="connsiteX10" fmla="*/ 38280 w 653275"/>
                <a:gd name="connsiteY10" fmla="*/ 276229 h 497522"/>
                <a:gd name="connsiteX11" fmla="*/ 40303 w 653275"/>
                <a:gd name="connsiteY11" fmla="*/ 256066 h 497522"/>
                <a:gd name="connsiteX12" fmla="*/ 54464 w 653275"/>
                <a:gd name="connsiteY12" fmla="*/ 187513 h 497522"/>
                <a:gd name="connsiteX13" fmla="*/ 143477 w 653275"/>
                <a:gd name="connsiteY13" fmla="*/ 120976 h 497522"/>
                <a:gd name="connsiteX14" fmla="*/ 459066 w 653275"/>
                <a:gd name="connsiteY14" fmla="*/ 14114 h 497522"/>
                <a:gd name="connsiteX15" fmla="*/ 550102 w 653275"/>
                <a:gd name="connsiteY15" fmla="*/ 0 h 49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3275" h="497522">
                  <a:moveTo>
                    <a:pt x="550102" y="0"/>
                  </a:moveTo>
                  <a:cubicBezTo>
                    <a:pt x="552125" y="6049"/>
                    <a:pt x="556171" y="12098"/>
                    <a:pt x="560217" y="18147"/>
                  </a:cubicBezTo>
                  <a:cubicBezTo>
                    <a:pt x="582470" y="60488"/>
                    <a:pt x="616861" y="108879"/>
                    <a:pt x="653275" y="177432"/>
                  </a:cubicBezTo>
                  <a:cubicBezTo>
                    <a:pt x="645183" y="181464"/>
                    <a:pt x="635068" y="185497"/>
                    <a:pt x="626976" y="191546"/>
                  </a:cubicBezTo>
                  <a:cubicBezTo>
                    <a:pt x="622930" y="191546"/>
                    <a:pt x="620907" y="193562"/>
                    <a:pt x="618884" y="193562"/>
                  </a:cubicBezTo>
                  <a:cubicBezTo>
                    <a:pt x="515710" y="239936"/>
                    <a:pt x="392307" y="278245"/>
                    <a:pt x="345778" y="385107"/>
                  </a:cubicBezTo>
                  <a:cubicBezTo>
                    <a:pt x="336675" y="406278"/>
                    <a:pt x="332123" y="430978"/>
                    <a:pt x="331364" y="456181"/>
                  </a:cubicBezTo>
                  <a:lnTo>
                    <a:pt x="336020" y="497522"/>
                  </a:lnTo>
                  <a:lnTo>
                    <a:pt x="0" y="497522"/>
                  </a:lnTo>
                  <a:lnTo>
                    <a:pt x="1139" y="486173"/>
                  </a:lnTo>
                  <a:cubicBezTo>
                    <a:pt x="8694" y="426441"/>
                    <a:pt x="20579" y="356880"/>
                    <a:pt x="38280" y="276229"/>
                  </a:cubicBezTo>
                  <a:cubicBezTo>
                    <a:pt x="40303" y="268164"/>
                    <a:pt x="40303" y="262115"/>
                    <a:pt x="40303" y="256066"/>
                  </a:cubicBezTo>
                  <a:cubicBezTo>
                    <a:pt x="42326" y="229855"/>
                    <a:pt x="34234" y="215741"/>
                    <a:pt x="54464" y="187513"/>
                  </a:cubicBezTo>
                  <a:cubicBezTo>
                    <a:pt x="74694" y="155253"/>
                    <a:pt x="109086" y="137106"/>
                    <a:pt x="143477" y="120976"/>
                  </a:cubicBezTo>
                  <a:cubicBezTo>
                    <a:pt x="222374" y="84683"/>
                    <a:pt x="355893" y="36293"/>
                    <a:pt x="459066" y="14114"/>
                  </a:cubicBezTo>
                  <a:cubicBezTo>
                    <a:pt x="493457" y="6049"/>
                    <a:pt x="525825" y="0"/>
                    <a:pt x="550102" y="0"/>
                  </a:cubicBezTo>
                  <a:close/>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399" name="Freeform 21448">
              <a:extLst>
                <a:ext uri="{FF2B5EF4-FFF2-40B4-BE49-F238E27FC236}">
                  <a16:creationId xmlns:a16="http://schemas.microsoft.com/office/drawing/2014/main" id="{8F264899-7556-45B5-B3EA-9B5B4486333B}"/>
                </a:ext>
              </a:extLst>
            </p:cNvPr>
            <p:cNvSpPr>
              <a:spLocks noEditPoints="1"/>
            </p:cNvSpPr>
            <p:nvPr userDrawn="1"/>
          </p:nvSpPr>
          <p:spPr bwMode="auto">
            <a:xfrm>
              <a:off x="10970578" y="6314440"/>
              <a:ext cx="4763" cy="47625"/>
            </a:xfrm>
            <a:custGeom>
              <a:avLst/>
              <a:gdLst>
                <a:gd name="T0" fmla="*/ 2 w 2"/>
                <a:gd name="T1" fmla="*/ 23 h 24"/>
                <a:gd name="T2" fmla="*/ 2 w 2"/>
                <a:gd name="T3" fmla="*/ 24 h 24"/>
                <a:gd name="T4" fmla="*/ 2 w 2"/>
                <a:gd name="T5" fmla="*/ 23 h 24"/>
                <a:gd name="T6" fmla="*/ 0 w 2"/>
                <a:gd name="T7" fmla="*/ 0 h 24"/>
                <a:gd name="T8" fmla="*/ 2 w 2"/>
                <a:gd name="T9" fmla="*/ 23 h 24"/>
                <a:gd name="T10" fmla="*/ 0 w 2"/>
                <a:gd name="T11" fmla="*/ 0 h 24"/>
              </a:gdLst>
              <a:ahLst/>
              <a:cxnLst>
                <a:cxn ang="0">
                  <a:pos x="T0" y="T1"/>
                </a:cxn>
                <a:cxn ang="0">
                  <a:pos x="T2" y="T3"/>
                </a:cxn>
                <a:cxn ang="0">
                  <a:pos x="T4" y="T5"/>
                </a:cxn>
                <a:cxn ang="0">
                  <a:pos x="T6" y="T7"/>
                </a:cxn>
                <a:cxn ang="0">
                  <a:pos x="T8" y="T9"/>
                </a:cxn>
                <a:cxn ang="0">
                  <a:pos x="T10" y="T11"/>
                </a:cxn>
              </a:cxnLst>
              <a:rect l="0" t="0" r="r" b="b"/>
              <a:pathLst>
                <a:path w="2" h="24">
                  <a:moveTo>
                    <a:pt x="2" y="23"/>
                  </a:moveTo>
                  <a:cubicBezTo>
                    <a:pt x="2" y="23"/>
                    <a:pt x="2" y="24"/>
                    <a:pt x="2" y="24"/>
                  </a:cubicBezTo>
                  <a:cubicBezTo>
                    <a:pt x="2" y="24"/>
                    <a:pt x="2" y="23"/>
                    <a:pt x="2" y="23"/>
                  </a:cubicBezTo>
                  <a:moveTo>
                    <a:pt x="0" y="0"/>
                  </a:moveTo>
                  <a:cubicBezTo>
                    <a:pt x="0" y="8"/>
                    <a:pt x="1" y="15"/>
                    <a:pt x="2" y="23"/>
                  </a:cubicBezTo>
                  <a:cubicBezTo>
                    <a:pt x="1" y="15"/>
                    <a:pt x="0" y="8"/>
                    <a:pt x="0" y="0"/>
                  </a:cubicBezTo>
                </a:path>
              </a:pathLst>
            </a:custGeom>
            <a:solidFill>
              <a:srgbClr val="7A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0" name="Freeform 21449">
              <a:extLst>
                <a:ext uri="{FF2B5EF4-FFF2-40B4-BE49-F238E27FC236}">
                  <a16:creationId xmlns:a16="http://schemas.microsoft.com/office/drawing/2014/main" id="{8CFD06BC-EC0B-447B-B99D-45B5A97936C2}"/>
                </a:ext>
              </a:extLst>
            </p:cNvPr>
            <p:cNvSpPr>
              <a:spLocks noEditPoints="1"/>
            </p:cNvSpPr>
            <p:nvPr userDrawn="1"/>
          </p:nvSpPr>
          <p:spPr bwMode="auto">
            <a:xfrm>
              <a:off x="10791190" y="6144578"/>
              <a:ext cx="652463" cy="498475"/>
            </a:xfrm>
            <a:custGeom>
              <a:avLst/>
              <a:gdLst>
                <a:gd name="T0" fmla="*/ 202 w 323"/>
                <a:gd name="T1" fmla="*/ 116 h 247"/>
                <a:gd name="T2" fmla="*/ 182 w 323"/>
                <a:gd name="T3" fmla="*/ 208 h 247"/>
                <a:gd name="T4" fmla="*/ 261 w 323"/>
                <a:gd name="T5" fmla="*/ 246 h 247"/>
                <a:gd name="T6" fmla="*/ 288 w 323"/>
                <a:gd name="T7" fmla="*/ 247 h 247"/>
                <a:gd name="T8" fmla="*/ 303 w 323"/>
                <a:gd name="T9" fmla="*/ 247 h 247"/>
                <a:gd name="T10" fmla="*/ 323 w 323"/>
                <a:gd name="T11" fmla="*/ 245 h 247"/>
                <a:gd name="T12" fmla="*/ 204 w 323"/>
                <a:gd name="T13" fmla="*/ 118 h 247"/>
                <a:gd name="T14" fmla="*/ 202 w 323"/>
                <a:gd name="T15" fmla="*/ 116 h 247"/>
                <a:gd name="T16" fmla="*/ 0 w 323"/>
                <a:gd name="T17" fmla="*/ 0 h 247"/>
                <a:gd name="T18" fmla="*/ 59 w 323"/>
                <a:gd name="T19" fmla="*/ 78 h 247"/>
                <a:gd name="T20" fmla="*/ 65 w 323"/>
                <a:gd name="T21" fmla="*/ 79 h 247"/>
                <a:gd name="T22" fmla="*/ 89 w 323"/>
                <a:gd name="T23" fmla="*/ 79 h 247"/>
                <a:gd name="T24" fmla="*/ 89 w 323"/>
                <a:gd name="T25" fmla="*/ 84 h 247"/>
                <a:gd name="T26" fmla="*/ 89 w 323"/>
                <a:gd name="T27" fmla="*/ 84 h 247"/>
                <a:gd name="T28" fmla="*/ 91 w 323"/>
                <a:gd name="T29" fmla="*/ 107 h 247"/>
                <a:gd name="T30" fmla="*/ 91 w 323"/>
                <a:gd name="T31" fmla="*/ 107 h 247"/>
                <a:gd name="T32" fmla="*/ 91 w 323"/>
                <a:gd name="T33" fmla="*/ 108 h 247"/>
                <a:gd name="T34" fmla="*/ 92 w 323"/>
                <a:gd name="T35" fmla="*/ 116 h 247"/>
                <a:gd name="T36" fmla="*/ 108 w 323"/>
                <a:gd name="T37" fmla="*/ 143 h 247"/>
                <a:gd name="T38" fmla="*/ 119 w 323"/>
                <a:gd name="T39" fmla="*/ 159 h 247"/>
                <a:gd name="T40" fmla="*/ 142 w 323"/>
                <a:gd name="T41" fmla="*/ 180 h 247"/>
                <a:gd name="T42" fmla="*/ 165 w 323"/>
                <a:gd name="T43" fmla="*/ 197 h 247"/>
                <a:gd name="T44" fmla="*/ 198 w 323"/>
                <a:gd name="T45" fmla="*/ 113 h 247"/>
                <a:gd name="T46" fmla="*/ 0 w 323"/>
                <a:gd name="T4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3" h="247">
                  <a:moveTo>
                    <a:pt x="202" y="116"/>
                  </a:moveTo>
                  <a:cubicBezTo>
                    <a:pt x="191" y="147"/>
                    <a:pt x="185" y="177"/>
                    <a:pt x="182" y="208"/>
                  </a:cubicBezTo>
                  <a:cubicBezTo>
                    <a:pt x="206" y="223"/>
                    <a:pt x="233" y="236"/>
                    <a:pt x="261" y="246"/>
                  </a:cubicBezTo>
                  <a:cubicBezTo>
                    <a:pt x="269" y="247"/>
                    <a:pt x="279" y="247"/>
                    <a:pt x="288" y="247"/>
                  </a:cubicBezTo>
                  <a:cubicBezTo>
                    <a:pt x="293" y="247"/>
                    <a:pt x="298" y="247"/>
                    <a:pt x="303" y="247"/>
                  </a:cubicBezTo>
                  <a:cubicBezTo>
                    <a:pt x="310" y="246"/>
                    <a:pt x="316" y="246"/>
                    <a:pt x="323" y="245"/>
                  </a:cubicBezTo>
                  <a:cubicBezTo>
                    <a:pt x="298" y="198"/>
                    <a:pt x="240" y="148"/>
                    <a:pt x="204" y="118"/>
                  </a:cubicBezTo>
                  <a:cubicBezTo>
                    <a:pt x="204" y="118"/>
                    <a:pt x="203" y="117"/>
                    <a:pt x="202" y="116"/>
                  </a:cubicBezTo>
                  <a:moveTo>
                    <a:pt x="0" y="0"/>
                  </a:moveTo>
                  <a:cubicBezTo>
                    <a:pt x="59" y="78"/>
                    <a:pt x="59" y="78"/>
                    <a:pt x="59" y="78"/>
                  </a:cubicBezTo>
                  <a:cubicBezTo>
                    <a:pt x="61" y="78"/>
                    <a:pt x="63" y="78"/>
                    <a:pt x="65" y="79"/>
                  </a:cubicBezTo>
                  <a:cubicBezTo>
                    <a:pt x="73" y="79"/>
                    <a:pt x="81" y="79"/>
                    <a:pt x="89" y="79"/>
                  </a:cubicBezTo>
                  <a:cubicBezTo>
                    <a:pt x="89" y="81"/>
                    <a:pt x="89" y="83"/>
                    <a:pt x="89" y="84"/>
                  </a:cubicBezTo>
                  <a:cubicBezTo>
                    <a:pt x="89" y="84"/>
                    <a:pt x="89" y="84"/>
                    <a:pt x="89" y="84"/>
                  </a:cubicBezTo>
                  <a:cubicBezTo>
                    <a:pt x="89" y="92"/>
                    <a:pt x="90" y="99"/>
                    <a:pt x="91" y="107"/>
                  </a:cubicBezTo>
                  <a:cubicBezTo>
                    <a:pt x="91" y="107"/>
                    <a:pt x="91" y="107"/>
                    <a:pt x="91" y="107"/>
                  </a:cubicBezTo>
                  <a:cubicBezTo>
                    <a:pt x="91" y="107"/>
                    <a:pt x="91" y="108"/>
                    <a:pt x="91" y="108"/>
                  </a:cubicBezTo>
                  <a:cubicBezTo>
                    <a:pt x="91" y="111"/>
                    <a:pt x="91" y="113"/>
                    <a:pt x="92" y="116"/>
                  </a:cubicBezTo>
                  <a:cubicBezTo>
                    <a:pt x="96" y="125"/>
                    <a:pt x="102" y="133"/>
                    <a:pt x="108" y="143"/>
                  </a:cubicBezTo>
                  <a:cubicBezTo>
                    <a:pt x="119" y="159"/>
                    <a:pt x="119" y="159"/>
                    <a:pt x="119" y="159"/>
                  </a:cubicBezTo>
                  <a:cubicBezTo>
                    <a:pt x="127" y="166"/>
                    <a:pt x="134" y="173"/>
                    <a:pt x="142" y="180"/>
                  </a:cubicBezTo>
                  <a:cubicBezTo>
                    <a:pt x="149" y="186"/>
                    <a:pt x="157" y="192"/>
                    <a:pt x="165" y="197"/>
                  </a:cubicBezTo>
                  <a:cubicBezTo>
                    <a:pt x="171" y="169"/>
                    <a:pt x="182" y="139"/>
                    <a:pt x="198" y="113"/>
                  </a:cubicBezTo>
                  <a:cubicBezTo>
                    <a:pt x="165" y="91"/>
                    <a:pt x="68" y="37"/>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1" name="Freeform 21450">
              <a:extLst>
                <a:ext uri="{FF2B5EF4-FFF2-40B4-BE49-F238E27FC236}">
                  <a16:creationId xmlns:a16="http://schemas.microsoft.com/office/drawing/2014/main" id="{6FAEB329-79AB-4DE2-85D8-7D628AAAD54C}"/>
                </a:ext>
              </a:extLst>
            </p:cNvPr>
            <p:cNvSpPr>
              <a:spLocks/>
            </p:cNvSpPr>
            <p:nvPr userDrawn="1"/>
          </p:nvSpPr>
          <p:spPr bwMode="auto">
            <a:xfrm>
              <a:off x="10976928" y="6377940"/>
              <a:ext cx="33338" cy="55563"/>
            </a:xfrm>
            <a:custGeom>
              <a:avLst/>
              <a:gdLst>
                <a:gd name="T0" fmla="*/ 0 w 16"/>
                <a:gd name="T1" fmla="*/ 0 h 27"/>
                <a:gd name="T2" fmla="*/ 1 w 16"/>
                <a:gd name="T3" fmla="*/ 7 h 27"/>
                <a:gd name="T4" fmla="*/ 16 w 16"/>
                <a:gd name="T5" fmla="*/ 27 h 27"/>
                <a:gd name="T6" fmla="*/ 0 w 16"/>
                <a:gd name="T7" fmla="*/ 0 h 27"/>
              </a:gdLst>
              <a:ahLst/>
              <a:cxnLst>
                <a:cxn ang="0">
                  <a:pos x="T0" y="T1"/>
                </a:cxn>
                <a:cxn ang="0">
                  <a:pos x="T2" y="T3"/>
                </a:cxn>
                <a:cxn ang="0">
                  <a:pos x="T4" y="T5"/>
                </a:cxn>
                <a:cxn ang="0">
                  <a:pos x="T6" y="T7"/>
                </a:cxn>
              </a:cxnLst>
              <a:rect l="0" t="0" r="r" b="b"/>
              <a:pathLst>
                <a:path w="16" h="27">
                  <a:moveTo>
                    <a:pt x="0" y="0"/>
                  </a:moveTo>
                  <a:cubicBezTo>
                    <a:pt x="0" y="3"/>
                    <a:pt x="0" y="5"/>
                    <a:pt x="1" y="7"/>
                  </a:cubicBezTo>
                  <a:cubicBezTo>
                    <a:pt x="16" y="27"/>
                    <a:pt x="16" y="27"/>
                    <a:pt x="16" y="27"/>
                  </a:cubicBezTo>
                  <a:cubicBezTo>
                    <a:pt x="10" y="17"/>
                    <a:pt x="4" y="9"/>
                    <a:pt x="0" y="0"/>
                  </a:cubicBezTo>
                </a:path>
              </a:pathLst>
            </a:custGeom>
            <a:solidFill>
              <a:srgbClr val="D6A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3" name="Freeform: Shape 1372">
              <a:extLst>
                <a:ext uri="{FF2B5EF4-FFF2-40B4-BE49-F238E27FC236}">
                  <a16:creationId xmlns:a16="http://schemas.microsoft.com/office/drawing/2014/main" id="{FD2A10E0-B9E3-417A-9D38-59FB743CBE77}"/>
                </a:ext>
              </a:extLst>
            </p:cNvPr>
            <p:cNvSpPr>
              <a:spLocks/>
            </p:cNvSpPr>
            <p:nvPr userDrawn="1"/>
          </p:nvSpPr>
          <p:spPr bwMode="auto">
            <a:xfrm>
              <a:off x="10281097" y="6020697"/>
              <a:ext cx="1205418" cy="837303"/>
            </a:xfrm>
            <a:custGeom>
              <a:avLst/>
              <a:gdLst>
                <a:gd name="connsiteX0" fmla="*/ 170536 w 1205418"/>
                <a:gd name="connsiteY0" fmla="*/ 879 h 837303"/>
                <a:gd name="connsiteX1" fmla="*/ 206838 w 1205418"/>
                <a:gd name="connsiteY1" fmla="*/ 1457 h 837303"/>
                <a:gd name="connsiteX2" fmla="*/ 522179 w 1205418"/>
                <a:gd name="connsiteY2" fmla="*/ 184767 h 837303"/>
                <a:gd name="connsiteX3" fmla="*/ 797092 w 1205418"/>
                <a:gd name="connsiteY3" fmla="*/ 486925 h 837303"/>
                <a:gd name="connsiteX4" fmla="*/ 1205418 w 1205418"/>
                <a:gd name="connsiteY4" fmla="*/ 648076 h 837303"/>
                <a:gd name="connsiteX5" fmla="*/ 1121276 w 1205418"/>
                <a:gd name="connsiteY5" fmla="*/ 811998 h 837303"/>
                <a:gd name="connsiteX6" fmla="*/ 1107092 w 1205418"/>
                <a:gd name="connsiteY6" fmla="*/ 837303 h 837303"/>
                <a:gd name="connsiteX7" fmla="*/ 520886 w 1205418"/>
                <a:gd name="connsiteY7" fmla="*/ 837303 h 837303"/>
                <a:gd name="connsiteX8" fmla="*/ 518642 w 1205418"/>
                <a:gd name="connsiteY8" fmla="*/ 835415 h 837303"/>
                <a:gd name="connsiteX9" fmla="*/ 380680 w 1205418"/>
                <a:gd name="connsiteY9" fmla="*/ 728652 h 837303"/>
                <a:gd name="connsiteX10" fmla="*/ 107789 w 1205418"/>
                <a:gd name="connsiteY10" fmla="*/ 404335 h 837303"/>
                <a:gd name="connsiteX11" fmla="*/ 654 w 1205418"/>
                <a:gd name="connsiteY11" fmla="*/ 170666 h 837303"/>
                <a:gd name="connsiteX12" fmla="*/ 170536 w 1205418"/>
                <a:gd name="connsiteY12" fmla="*/ 879 h 8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5418" h="837303">
                  <a:moveTo>
                    <a:pt x="170536" y="879"/>
                  </a:moveTo>
                  <a:cubicBezTo>
                    <a:pt x="182550" y="-432"/>
                    <a:pt x="194710" y="-306"/>
                    <a:pt x="206838" y="1457"/>
                  </a:cubicBezTo>
                  <a:cubicBezTo>
                    <a:pt x="326102" y="21601"/>
                    <a:pt x="437280" y="104191"/>
                    <a:pt x="522179" y="184767"/>
                  </a:cubicBezTo>
                  <a:cubicBezTo>
                    <a:pt x="617186" y="275414"/>
                    <a:pt x="698042" y="404335"/>
                    <a:pt x="797092" y="486925"/>
                  </a:cubicBezTo>
                  <a:cubicBezTo>
                    <a:pt x="896141" y="569515"/>
                    <a:pt x="1076047" y="654120"/>
                    <a:pt x="1205418" y="648076"/>
                  </a:cubicBezTo>
                  <a:cubicBezTo>
                    <a:pt x="1156904" y="693400"/>
                    <a:pt x="1142754" y="755846"/>
                    <a:pt x="1121276" y="811998"/>
                  </a:cubicBezTo>
                  <a:lnTo>
                    <a:pt x="1107092" y="837303"/>
                  </a:lnTo>
                  <a:lnTo>
                    <a:pt x="520886" y="837303"/>
                  </a:lnTo>
                  <a:lnTo>
                    <a:pt x="518642" y="835415"/>
                  </a:lnTo>
                  <a:cubicBezTo>
                    <a:pt x="480235" y="807213"/>
                    <a:pt x="439301" y="782034"/>
                    <a:pt x="380680" y="728652"/>
                  </a:cubicBezTo>
                  <a:cubicBezTo>
                    <a:pt x="271523" y="629947"/>
                    <a:pt x="194710" y="527213"/>
                    <a:pt x="107789" y="404335"/>
                  </a:cubicBezTo>
                  <a:cubicBezTo>
                    <a:pt x="61296" y="335846"/>
                    <a:pt x="-7432" y="255270"/>
                    <a:pt x="654" y="170666"/>
                  </a:cubicBezTo>
                  <a:cubicBezTo>
                    <a:pt x="9498" y="89587"/>
                    <a:pt x="86438" y="10050"/>
                    <a:pt x="170536" y="879"/>
                  </a:cubicBezTo>
                  <a:close/>
                </a:path>
              </a:pathLst>
            </a:custGeom>
            <a:solidFill>
              <a:srgbClr val="D6A7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403" name="Freeform 21452">
              <a:extLst>
                <a:ext uri="{FF2B5EF4-FFF2-40B4-BE49-F238E27FC236}">
                  <a16:creationId xmlns:a16="http://schemas.microsoft.com/office/drawing/2014/main" id="{429E7F98-ED97-4B3C-80DC-E5E52A750CCB}"/>
                </a:ext>
              </a:extLst>
            </p:cNvPr>
            <p:cNvSpPr>
              <a:spLocks/>
            </p:cNvSpPr>
            <p:nvPr userDrawn="1"/>
          </p:nvSpPr>
          <p:spPr bwMode="auto">
            <a:xfrm>
              <a:off x="11118215" y="6330315"/>
              <a:ext cx="101600" cy="279400"/>
            </a:xfrm>
            <a:custGeom>
              <a:avLst/>
              <a:gdLst>
                <a:gd name="T0" fmla="*/ 50 w 50"/>
                <a:gd name="T1" fmla="*/ 0 h 139"/>
                <a:gd name="T2" fmla="*/ 18 w 50"/>
                <a:gd name="T3" fmla="*/ 139 h 139"/>
                <a:gd name="T4" fmla="*/ 0 w 50"/>
                <a:gd name="T5" fmla="*/ 129 h 139"/>
                <a:gd name="T6" fmla="*/ 50 w 50"/>
                <a:gd name="T7" fmla="*/ 0 h 139"/>
              </a:gdLst>
              <a:ahLst/>
              <a:cxnLst>
                <a:cxn ang="0">
                  <a:pos x="T0" y="T1"/>
                </a:cxn>
                <a:cxn ang="0">
                  <a:pos x="T2" y="T3"/>
                </a:cxn>
                <a:cxn ang="0">
                  <a:pos x="T4" y="T5"/>
                </a:cxn>
                <a:cxn ang="0">
                  <a:pos x="T6" y="T7"/>
                </a:cxn>
              </a:cxnLst>
              <a:rect l="0" t="0" r="r" b="b"/>
              <a:pathLst>
                <a:path w="50" h="139">
                  <a:moveTo>
                    <a:pt x="50" y="0"/>
                  </a:moveTo>
                  <a:cubicBezTo>
                    <a:pt x="29" y="45"/>
                    <a:pt x="21" y="92"/>
                    <a:pt x="18" y="139"/>
                  </a:cubicBezTo>
                  <a:cubicBezTo>
                    <a:pt x="0" y="129"/>
                    <a:pt x="0" y="129"/>
                    <a:pt x="0" y="129"/>
                  </a:cubicBezTo>
                  <a:cubicBezTo>
                    <a:pt x="3" y="86"/>
                    <a:pt x="23" y="35"/>
                    <a:pt x="50"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4" name="Freeform 21453">
              <a:extLst>
                <a:ext uri="{FF2B5EF4-FFF2-40B4-BE49-F238E27FC236}">
                  <a16:creationId xmlns:a16="http://schemas.microsoft.com/office/drawing/2014/main" id="{0F0D48F2-11B5-4130-B3E1-76BC22DF8D12}"/>
                </a:ext>
              </a:extLst>
            </p:cNvPr>
            <p:cNvSpPr>
              <a:spLocks/>
            </p:cNvSpPr>
            <p:nvPr userDrawn="1"/>
          </p:nvSpPr>
          <p:spPr bwMode="auto">
            <a:xfrm>
              <a:off x="10932478" y="6087428"/>
              <a:ext cx="107950" cy="215900"/>
            </a:xfrm>
            <a:custGeom>
              <a:avLst/>
              <a:gdLst>
                <a:gd name="T0" fmla="*/ 19 w 53"/>
                <a:gd name="T1" fmla="*/ 107 h 107"/>
                <a:gd name="T2" fmla="*/ 53 w 53"/>
                <a:gd name="T3" fmla="*/ 0 h 107"/>
                <a:gd name="T4" fmla="*/ 0 w 53"/>
                <a:gd name="T5" fmla="*/ 107 h 107"/>
                <a:gd name="T6" fmla="*/ 19 w 53"/>
                <a:gd name="T7" fmla="*/ 107 h 107"/>
              </a:gdLst>
              <a:ahLst/>
              <a:cxnLst>
                <a:cxn ang="0">
                  <a:pos x="T0" y="T1"/>
                </a:cxn>
                <a:cxn ang="0">
                  <a:pos x="T2" y="T3"/>
                </a:cxn>
                <a:cxn ang="0">
                  <a:pos x="T4" y="T5"/>
                </a:cxn>
                <a:cxn ang="0">
                  <a:pos x="T6" y="T7"/>
                </a:cxn>
              </a:cxnLst>
              <a:rect l="0" t="0" r="r" b="b"/>
              <a:pathLst>
                <a:path w="53" h="107">
                  <a:moveTo>
                    <a:pt x="19" y="107"/>
                  </a:moveTo>
                  <a:cubicBezTo>
                    <a:pt x="20" y="83"/>
                    <a:pt x="16" y="67"/>
                    <a:pt x="53" y="0"/>
                  </a:cubicBezTo>
                  <a:cubicBezTo>
                    <a:pt x="29" y="30"/>
                    <a:pt x="8" y="70"/>
                    <a:pt x="0" y="107"/>
                  </a:cubicBezTo>
                  <a:cubicBezTo>
                    <a:pt x="8" y="107"/>
                    <a:pt x="11" y="107"/>
                    <a:pt x="19" y="107"/>
                  </a:cubicBezTo>
                  <a:close/>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5" name="Freeform 21454">
              <a:extLst>
                <a:ext uri="{FF2B5EF4-FFF2-40B4-BE49-F238E27FC236}">
                  <a16:creationId xmlns:a16="http://schemas.microsoft.com/office/drawing/2014/main" id="{FC936F2F-ACDD-4A79-81D6-276411EFB42D}"/>
                </a:ext>
              </a:extLst>
            </p:cNvPr>
            <p:cNvSpPr>
              <a:spLocks/>
            </p:cNvSpPr>
            <p:nvPr userDrawn="1"/>
          </p:nvSpPr>
          <p:spPr bwMode="auto">
            <a:xfrm>
              <a:off x="10661015" y="5935028"/>
              <a:ext cx="71438" cy="268288"/>
            </a:xfrm>
            <a:custGeom>
              <a:avLst/>
              <a:gdLst>
                <a:gd name="T0" fmla="*/ 6 w 35"/>
                <a:gd name="T1" fmla="*/ 0 h 133"/>
                <a:gd name="T2" fmla="*/ 35 w 35"/>
                <a:gd name="T3" fmla="*/ 132 h 133"/>
                <a:gd name="T4" fmla="*/ 18 w 35"/>
                <a:gd name="T5" fmla="*/ 133 h 133"/>
                <a:gd name="T6" fmla="*/ 6 w 35"/>
                <a:gd name="T7" fmla="*/ 0 h 133"/>
              </a:gdLst>
              <a:ahLst/>
              <a:cxnLst>
                <a:cxn ang="0">
                  <a:pos x="T0" y="T1"/>
                </a:cxn>
                <a:cxn ang="0">
                  <a:pos x="T2" y="T3"/>
                </a:cxn>
                <a:cxn ang="0">
                  <a:pos x="T4" y="T5"/>
                </a:cxn>
                <a:cxn ang="0">
                  <a:pos x="T6" y="T7"/>
                </a:cxn>
              </a:cxnLst>
              <a:rect l="0" t="0" r="r" b="b"/>
              <a:pathLst>
                <a:path w="35" h="133">
                  <a:moveTo>
                    <a:pt x="6" y="0"/>
                  </a:moveTo>
                  <a:cubicBezTo>
                    <a:pt x="10" y="48"/>
                    <a:pt x="16" y="91"/>
                    <a:pt x="35" y="132"/>
                  </a:cubicBezTo>
                  <a:cubicBezTo>
                    <a:pt x="18" y="133"/>
                    <a:pt x="18" y="133"/>
                    <a:pt x="18" y="133"/>
                  </a:cubicBezTo>
                  <a:cubicBezTo>
                    <a:pt x="1" y="96"/>
                    <a:pt x="0" y="43"/>
                    <a:pt x="6"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4" name="Freeform: Shape 1373">
              <a:extLst>
                <a:ext uri="{FF2B5EF4-FFF2-40B4-BE49-F238E27FC236}">
                  <a16:creationId xmlns:a16="http://schemas.microsoft.com/office/drawing/2014/main" id="{C27D1A6E-87DC-4C3F-AE48-59A93F7BB61C}"/>
                </a:ext>
              </a:extLst>
            </p:cNvPr>
            <p:cNvSpPr>
              <a:spLocks/>
            </p:cNvSpPr>
            <p:nvPr userDrawn="1"/>
          </p:nvSpPr>
          <p:spPr bwMode="auto">
            <a:xfrm>
              <a:off x="9787890" y="5336540"/>
              <a:ext cx="1385409" cy="1521460"/>
            </a:xfrm>
            <a:custGeom>
              <a:avLst/>
              <a:gdLst>
                <a:gd name="connsiteX0" fmla="*/ 244663 w 1385409"/>
                <a:gd name="connsiteY0" fmla="*/ 0 h 1521460"/>
                <a:gd name="connsiteX1" fmla="*/ 1333752 w 1385409"/>
                <a:gd name="connsiteY1" fmla="*/ 1452564 h 1521460"/>
                <a:gd name="connsiteX2" fmla="*/ 1385409 w 1385409"/>
                <a:gd name="connsiteY2" fmla="*/ 1521460 h 1521460"/>
                <a:gd name="connsiteX3" fmla="*/ 1003257 w 1385409"/>
                <a:gd name="connsiteY3" fmla="*/ 1521460 h 1521460"/>
                <a:gd name="connsiteX4" fmla="*/ 939856 w 1385409"/>
                <a:gd name="connsiteY4" fmla="*/ 1436899 h 1521460"/>
                <a:gd name="connsiteX5" fmla="*/ 0 w 1385409"/>
                <a:gd name="connsiteY5" fmla="*/ 183375 h 1521460"/>
                <a:gd name="connsiteX6" fmla="*/ 244663 w 1385409"/>
                <a:gd name="connsiteY6" fmla="*/ 0 h 152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5409" h="1521460">
                  <a:moveTo>
                    <a:pt x="244663" y="0"/>
                  </a:moveTo>
                  <a:cubicBezTo>
                    <a:pt x="244663" y="0"/>
                    <a:pt x="244663" y="0"/>
                    <a:pt x="1333752" y="1452564"/>
                  </a:cubicBezTo>
                  <a:lnTo>
                    <a:pt x="1385409" y="1521460"/>
                  </a:lnTo>
                  <a:lnTo>
                    <a:pt x="1003257" y="1521460"/>
                  </a:lnTo>
                  <a:lnTo>
                    <a:pt x="939856" y="1436899"/>
                  </a:lnTo>
                  <a:cubicBezTo>
                    <a:pt x="711242" y="1131988"/>
                    <a:pt x="406424" y="725440"/>
                    <a:pt x="0" y="183375"/>
                  </a:cubicBezTo>
                  <a:cubicBezTo>
                    <a:pt x="0" y="183375"/>
                    <a:pt x="0" y="183375"/>
                    <a:pt x="244663" y="0"/>
                  </a:cubicBez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407" name="Freeform 21456">
              <a:extLst>
                <a:ext uri="{FF2B5EF4-FFF2-40B4-BE49-F238E27FC236}">
                  <a16:creationId xmlns:a16="http://schemas.microsoft.com/office/drawing/2014/main" id="{F6CF6730-4053-49D9-B949-7C51021771ED}"/>
                </a:ext>
              </a:extLst>
            </p:cNvPr>
            <p:cNvSpPr>
              <a:spLocks noEditPoints="1"/>
            </p:cNvSpPr>
            <p:nvPr userDrawn="1"/>
          </p:nvSpPr>
          <p:spPr bwMode="auto">
            <a:xfrm>
              <a:off x="7546340" y="2863215"/>
              <a:ext cx="3095625" cy="3086100"/>
            </a:xfrm>
            <a:custGeom>
              <a:avLst/>
              <a:gdLst>
                <a:gd name="T0" fmla="*/ 240 w 1531"/>
                <a:gd name="T1" fmla="*/ 1201 h 1531"/>
                <a:gd name="T2" fmla="*/ 330 w 1531"/>
                <a:gd name="T3" fmla="*/ 240 h 1531"/>
                <a:gd name="T4" fmla="*/ 1290 w 1531"/>
                <a:gd name="T5" fmla="*/ 330 h 1531"/>
                <a:gd name="T6" fmla="*/ 1201 w 1531"/>
                <a:gd name="T7" fmla="*/ 1290 h 1531"/>
                <a:gd name="T8" fmla="*/ 240 w 1531"/>
                <a:gd name="T9" fmla="*/ 1201 h 1531"/>
                <a:gd name="T10" fmla="*/ 1150 w 1531"/>
                <a:gd name="T11" fmla="*/ 1229 h 1531"/>
                <a:gd name="T12" fmla="*/ 1229 w 1531"/>
                <a:gd name="T13" fmla="*/ 380 h 1531"/>
                <a:gd name="T14" fmla="*/ 380 w 1531"/>
                <a:gd name="T15" fmla="*/ 301 h 1531"/>
                <a:gd name="T16" fmla="*/ 301 w 1531"/>
                <a:gd name="T17" fmla="*/ 1150 h 1531"/>
                <a:gd name="T18" fmla="*/ 1150 w 1531"/>
                <a:gd name="T19" fmla="*/ 1229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1" h="1531">
                  <a:moveTo>
                    <a:pt x="240" y="1201"/>
                  </a:moveTo>
                  <a:cubicBezTo>
                    <a:pt x="0" y="911"/>
                    <a:pt x="40" y="481"/>
                    <a:pt x="330" y="240"/>
                  </a:cubicBezTo>
                  <a:cubicBezTo>
                    <a:pt x="620" y="0"/>
                    <a:pt x="1050" y="40"/>
                    <a:pt x="1290" y="330"/>
                  </a:cubicBezTo>
                  <a:cubicBezTo>
                    <a:pt x="1531" y="620"/>
                    <a:pt x="1491" y="1050"/>
                    <a:pt x="1201" y="1290"/>
                  </a:cubicBezTo>
                  <a:cubicBezTo>
                    <a:pt x="911" y="1531"/>
                    <a:pt x="481" y="1490"/>
                    <a:pt x="240" y="1201"/>
                  </a:cubicBezTo>
                  <a:moveTo>
                    <a:pt x="1150" y="1229"/>
                  </a:moveTo>
                  <a:cubicBezTo>
                    <a:pt x="1407" y="1017"/>
                    <a:pt x="1442" y="637"/>
                    <a:pt x="1229" y="380"/>
                  </a:cubicBezTo>
                  <a:cubicBezTo>
                    <a:pt x="1017" y="124"/>
                    <a:pt x="637" y="89"/>
                    <a:pt x="380" y="301"/>
                  </a:cubicBezTo>
                  <a:cubicBezTo>
                    <a:pt x="124" y="514"/>
                    <a:pt x="89" y="894"/>
                    <a:pt x="301" y="1150"/>
                  </a:cubicBezTo>
                  <a:cubicBezTo>
                    <a:pt x="514" y="1406"/>
                    <a:pt x="894" y="1442"/>
                    <a:pt x="1150" y="122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8" name="Freeform 21457">
              <a:extLst>
                <a:ext uri="{FF2B5EF4-FFF2-40B4-BE49-F238E27FC236}">
                  <a16:creationId xmlns:a16="http://schemas.microsoft.com/office/drawing/2014/main" id="{2305C168-29AD-43C9-8EED-1417B156F844}"/>
                </a:ext>
              </a:extLst>
            </p:cNvPr>
            <p:cNvSpPr>
              <a:spLocks/>
            </p:cNvSpPr>
            <p:nvPr userDrawn="1"/>
          </p:nvSpPr>
          <p:spPr bwMode="auto">
            <a:xfrm>
              <a:off x="7876540" y="4398328"/>
              <a:ext cx="7938" cy="88900"/>
            </a:xfrm>
            <a:custGeom>
              <a:avLst/>
              <a:gdLst>
                <a:gd name="T0" fmla="*/ 3 w 4"/>
                <a:gd name="T1" fmla="*/ 0 h 44"/>
                <a:gd name="T2" fmla="*/ 0 w 4"/>
                <a:gd name="T3" fmla="*/ 32 h 44"/>
                <a:gd name="T4" fmla="*/ 1 w 4"/>
                <a:gd name="T5" fmla="*/ 44 h 44"/>
                <a:gd name="T6" fmla="*/ 3 w 4"/>
                <a:gd name="T7" fmla="*/ 39 h 44"/>
                <a:gd name="T8" fmla="*/ 4 w 4"/>
                <a:gd name="T9" fmla="*/ 36 h 44"/>
                <a:gd name="T10" fmla="*/ 3 w 4"/>
                <a:gd name="T11" fmla="*/ 7 h 44"/>
                <a:gd name="T12" fmla="*/ 3 w 4"/>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 h="44">
                  <a:moveTo>
                    <a:pt x="3" y="0"/>
                  </a:moveTo>
                  <a:cubicBezTo>
                    <a:pt x="2" y="11"/>
                    <a:pt x="1" y="21"/>
                    <a:pt x="0" y="32"/>
                  </a:cubicBezTo>
                  <a:cubicBezTo>
                    <a:pt x="0" y="36"/>
                    <a:pt x="0" y="40"/>
                    <a:pt x="1" y="44"/>
                  </a:cubicBezTo>
                  <a:cubicBezTo>
                    <a:pt x="1" y="42"/>
                    <a:pt x="2" y="41"/>
                    <a:pt x="3" y="39"/>
                  </a:cubicBezTo>
                  <a:cubicBezTo>
                    <a:pt x="3" y="38"/>
                    <a:pt x="4" y="37"/>
                    <a:pt x="4" y="36"/>
                  </a:cubicBezTo>
                  <a:cubicBezTo>
                    <a:pt x="4" y="26"/>
                    <a:pt x="3" y="17"/>
                    <a:pt x="3" y="7"/>
                  </a:cubicBezTo>
                  <a:cubicBezTo>
                    <a:pt x="3" y="5"/>
                    <a:pt x="3" y="2"/>
                    <a:pt x="3"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9" name="Freeform 21458">
              <a:extLst>
                <a:ext uri="{FF2B5EF4-FFF2-40B4-BE49-F238E27FC236}">
                  <a16:creationId xmlns:a16="http://schemas.microsoft.com/office/drawing/2014/main" id="{9551AD9B-9DCE-4AAB-968C-1B6E87152884}"/>
                </a:ext>
              </a:extLst>
            </p:cNvPr>
            <p:cNvSpPr>
              <a:spLocks/>
            </p:cNvSpPr>
            <p:nvPr userDrawn="1"/>
          </p:nvSpPr>
          <p:spPr bwMode="auto">
            <a:xfrm>
              <a:off x="7878128" y="4471353"/>
              <a:ext cx="7938" cy="30163"/>
            </a:xfrm>
            <a:custGeom>
              <a:avLst/>
              <a:gdLst>
                <a:gd name="T0" fmla="*/ 3 w 4"/>
                <a:gd name="T1" fmla="*/ 0 h 15"/>
                <a:gd name="T2" fmla="*/ 2 w 4"/>
                <a:gd name="T3" fmla="*/ 3 h 15"/>
                <a:gd name="T4" fmla="*/ 0 w 4"/>
                <a:gd name="T5" fmla="*/ 8 h 15"/>
                <a:gd name="T6" fmla="*/ 0 w 4"/>
                <a:gd name="T7" fmla="*/ 15 h 15"/>
                <a:gd name="T8" fmla="*/ 4 w 4"/>
                <a:gd name="T9" fmla="*/ 9 h 15"/>
                <a:gd name="T10" fmla="*/ 3 w 4"/>
                <a:gd name="T11" fmla="*/ 0 h 15"/>
              </a:gdLst>
              <a:ahLst/>
              <a:cxnLst>
                <a:cxn ang="0">
                  <a:pos x="T0" y="T1"/>
                </a:cxn>
                <a:cxn ang="0">
                  <a:pos x="T2" y="T3"/>
                </a:cxn>
                <a:cxn ang="0">
                  <a:pos x="T4" y="T5"/>
                </a:cxn>
                <a:cxn ang="0">
                  <a:pos x="T6" y="T7"/>
                </a:cxn>
                <a:cxn ang="0">
                  <a:pos x="T8" y="T9"/>
                </a:cxn>
                <a:cxn ang="0">
                  <a:pos x="T10" y="T11"/>
                </a:cxn>
              </a:cxnLst>
              <a:rect l="0" t="0" r="r" b="b"/>
              <a:pathLst>
                <a:path w="4" h="15">
                  <a:moveTo>
                    <a:pt x="3" y="0"/>
                  </a:moveTo>
                  <a:cubicBezTo>
                    <a:pt x="3" y="1"/>
                    <a:pt x="2" y="2"/>
                    <a:pt x="2" y="3"/>
                  </a:cubicBezTo>
                  <a:cubicBezTo>
                    <a:pt x="1" y="5"/>
                    <a:pt x="0" y="6"/>
                    <a:pt x="0" y="8"/>
                  </a:cubicBezTo>
                  <a:cubicBezTo>
                    <a:pt x="0" y="10"/>
                    <a:pt x="0" y="13"/>
                    <a:pt x="0" y="15"/>
                  </a:cubicBezTo>
                  <a:cubicBezTo>
                    <a:pt x="2" y="13"/>
                    <a:pt x="3" y="11"/>
                    <a:pt x="4" y="9"/>
                  </a:cubicBezTo>
                  <a:cubicBezTo>
                    <a:pt x="3" y="6"/>
                    <a:pt x="3" y="3"/>
                    <a:pt x="3" y="0"/>
                  </a:cubicBezTo>
                </a:path>
              </a:pathLst>
            </a:custGeom>
            <a:solidFill>
              <a:srgbClr val="96D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0" name="Freeform 21459">
              <a:extLst>
                <a:ext uri="{FF2B5EF4-FFF2-40B4-BE49-F238E27FC236}">
                  <a16:creationId xmlns:a16="http://schemas.microsoft.com/office/drawing/2014/main" id="{85AC1881-2F3A-42C7-BF5C-9AD9C83E9AD0}"/>
                </a:ext>
              </a:extLst>
            </p:cNvPr>
            <p:cNvSpPr>
              <a:spLocks noEditPoints="1"/>
            </p:cNvSpPr>
            <p:nvPr userDrawn="1"/>
          </p:nvSpPr>
          <p:spPr bwMode="auto">
            <a:xfrm>
              <a:off x="7881303" y="3348990"/>
              <a:ext cx="2390775" cy="2271713"/>
            </a:xfrm>
            <a:custGeom>
              <a:avLst/>
              <a:gdLst>
                <a:gd name="T0" fmla="*/ 270 w 1182"/>
                <a:gd name="T1" fmla="*/ 852 h 1127"/>
                <a:gd name="T2" fmla="*/ 246 w 1182"/>
                <a:gd name="T3" fmla="*/ 871 h 1127"/>
                <a:gd name="T4" fmla="*/ 255 w 1182"/>
                <a:gd name="T5" fmla="*/ 897 h 1127"/>
                <a:gd name="T6" fmla="*/ 285 w 1182"/>
                <a:gd name="T7" fmla="*/ 899 h 1127"/>
                <a:gd name="T8" fmla="*/ 297 w 1182"/>
                <a:gd name="T9" fmla="*/ 873 h 1127"/>
                <a:gd name="T10" fmla="*/ 275 w 1182"/>
                <a:gd name="T11" fmla="*/ 852 h 1127"/>
                <a:gd name="T12" fmla="*/ 895 w 1182"/>
                <a:gd name="T13" fmla="*/ 449 h 1127"/>
                <a:gd name="T14" fmla="*/ 875 w 1182"/>
                <a:gd name="T15" fmla="*/ 374 h 1127"/>
                <a:gd name="T16" fmla="*/ 839 w 1182"/>
                <a:gd name="T17" fmla="*/ 77 h 1127"/>
                <a:gd name="T18" fmla="*/ 432 w 1182"/>
                <a:gd name="T19" fmla="*/ 897 h 1127"/>
                <a:gd name="T20" fmla="*/ 444 w 1182"/>
                <a:gd name="T21" fmla="*/ 1023 h 1127"/>
                <a:gd name="T22" fmla="*/ 330 w 1182"/>
                <a:gd name="T23" fmla="*/ 1001 h 1127"/>
                <a:gd name="T24" fmla="*/ 365 w 1182"/>
                <a:gd name="T25" fmla="*/ 891 h 1127"/>
                <a:gd name="T26" fmla="*/ 241 w 1182"/>
                <a:gd name="T27" fmla="*/ 858 h 1127"/>
                <a:gd name="T28" fmla="*/ 755 w 1182"/>
                <a:gd name="T29" fmla="*/ 555 h 1127"/>
                <a:gd name="T30" fmla="*/ 766 w 1182"/>
                <a:gd name="T31" fmla="*/ 681 h 1127"/>
                <a:gd name="T32" fmla="*/ 652 w 1182"/>
                <a:gd name="T33" fmla="*/ 659 h 1127"/>
                <a:gd name="T34" fmla="*/ 687 w 1182"/>
                <a:gd name="T35" fmla="*/ 548 h 1127"/>
                <a:gd name="T36" fmla="*/ 933 w 1182"/>
                <a:gd name="T37" fmla="*/ 420 h 1127"/>
                <a:gd name="T38" fmla="*/ 931 w 1182"/>
                <a:gd name="T39" fmla="*/ 596 h 1127"/>
                <a:gd name="T40" fmla="*/ 808 w 1182"/>
                <a:gd name="T41" fmla="*/ 469 h 1127"/>
                <a:gd name="T42" fmla="*/ 845 w 1182"/>
                <a:gd name="T43" fmla="*/ 221 h 1127"/>
                <a:gd name="T44" fmla="*/ 754 w 1182"/>
                <a:gd name="T45" fmla="*/ 157 h 1127"/>
                <a:gd name="T46" fmla="*/ 838 w 1182"/>
                <a:gd name="T47" fmla="*/ 255 h 1127"/>
                <a:gd name="T48" fmla="*/ 836 w 1182"/>
                <a:gd name="T49" fmla="*/ 398 h 1127"/>
                <a:gd name="T50" fmla="*/ 763 w 1182"/>
                <a:gd name="T51" fmla="*/ 499 h 1127"/>
                <a:gd name="T52" fmla="*/ 627 w 1182"/>
                <a:gd name="T53" fmla="*/ 516 h 1127"/>
                <a:gd name="T54" fmla="*/ 519 w 1182"/>
                <a:gd name="T55" fmla="*/ 463 h 1127"/>
                <a:gd name="T56" fmla="*/ 455 w 1182"/>
                <a:gd name="T57" fmla="*/ 358 h 1127"/>
                <a:gd name="T58" fmla="*/ 484 w 1182"/>
                <a:gd name="T59" fmla="*/ 226 h 1127"/>
                <a:gd name="T60" fmla="*/ 587 w 1182"/>
                <a:gd name="T61" fmla="*/ 158 h 1127"/>
                <a:gd name="T62" fmla="*/ 631 w 1182"/>
                <a:gd name="T63" fmla="*/ 55 h 1127"/>
                <a:gd name="T64" fmla="*/ 489 w 1182"/>
                <a:gd name="T65" fmla="*/ 113 h 1127"/>
                <a:gd name="T66" fmla="*/ 391 w 1182"/>
                <a:gd name="T67" fmla="*/ 82 h 1127"/>
                <a:gd name="T68" fmla="*/ 448 w 1182"/>
                <a:gd name="T69" fmla="*/ 227 h 1127"/>
                <a:gd name="T70" fmla="*/ 396 w 1182"/>
                <a:gd name="T71" fmla="*/ 371 h 1127"/>
                <a:gd name="T72" fmla="*/ 276 w 1182"/>
                <a:gd name="T73" fmla="*/ 458 h 1127"/>
                <a:gd name="T74" fmla="*/ 149 w 1182"/>
                <a:gd name="T75" fmla="*/ 495 h 1127"/>
                <a:gd name="T76" fmla="*/ 11 w 1182"/>
                <a:gd name="T77" fmla="*/ 465 h 1127"/>
                <a:gd name="T78" fmla="*/ 89 w 1182"/>
                <a:gd name="T79" fmla="*/ 614 h 1127"/>
                <a:gd name="T80" fmla="*/ 168 w 1182"/>
                <a:gd name="T81" fmla="*/ 702 h 1127"/>
                <a:gd name="T82" fmla="*/ 211 w 1182"/>
                <a:gd name="T83" fmla="*/ 817 h 1127"/>
                <a:gd name="T84" fmla="*/ 178 w 1182"/>
                <a:gd name="T85" fmla="*/ 945 h 1127"/>
                <a:gd name="T86" fmla="*/ 517 w 1182"/>
                <a:gd name="T87" fmla="*/ 996 h 1127"/>
                <a:gd name="T88" fmla="*/ 528 w 1182"/>
                <a:gd name="T89" fmla="*/ 830 h 1127"/>
                <a:gd name="T90" fmla="*/ 441 w 1182"/>
                <a:gd name="T91" fmla="*/ 856 h 1127"/>
                <a:gd name="T92" fmla="*/ 291 w 1182"/>
                <a:gd name="T93" fmla="*/ 805 h 1127"/>
                <a:gd name="T94" fmla="*/ 208 w 1182"/>
                <a:gd name="T95" fmla="*/ 691 h 1127"/>
                <a:gd name="T96" fmla="*/ 253 w 1182"/>
                <a:gd name="T97" fmla="*/ 547 h 1127"/>
                <a:gd name="T98" fmla="*/ 383 w 1182"/>
                <a:gd name="T99" fmla="*/ 462 h 1127"/>
                <a:gd name="T100" fmla="*/ 537 w 1182"/>
                <a:gd name="T101" fmla="*/ 506 h 1127"/>
                <a:gd name="T102" fmla="*/ 603 w 1182"/>
                <a:gd name="T103" fmla="*/ 646 h 1127"/>
                <a:gd name="T104" fmla="*/ 558 w 1182"/>
                <a:gd name="T105" fmla="*/ 791 h 1127"/>
                <a:gd name="T106" fmla="*/ 722 w 1182"/>
                <a:gd name="T107" fmla="*/ 738 h 1127"/>
                <a:gd name="T108" fmla="*/ 882 w 1182"/>
                <a:gd name="T109" fmla="*/ 797 h 1127"/>
                <a:gd name="T110" fmla="*/ 916 w 1182"/>
                <a:gd name="T111" fmla="*/ 911 h 1127"/>
                <a:gd name="T112" fmla="*/ 1015 w 1182"/>
                <a:gd name="T113" fmla="*/ 936 h 1127"/>
                <a:gd name="T114" fmla="*/ 946 w 1182"/>
                <a:gd name="T115" fmla="*/ 742 h 1127"/>
                <a:gd name="T116" fmla="*/ 1014 w 1182"/>
                <a:gd name="T117" fmla="*/ 558 h 1127"/>
                <a:gd name="T118" fmla="*/ 1071 w 1182"/>
                <a:gd name="T119" fmla="*/ 423 h 1127"/>
                <a:gd name="T120" fmla="*/ 879 w 1182"/>
                <a:gd name="T121" fmla="*/ 322 h 1127"/>
                <a:gd name="T122" fmla="*/ 884 w 1182"/>
                <a:gd name="T123" fmla="*/ 150 h 1127"/>
                <a:gd name="T124" fmla="*/ 772 w 1182"/>
                <a:gd name="T125" fmla="*/ 146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2" h="1127">
                  <a:moveTo>
                    <a:pt x="614" y="1119"/>
                  </a:moveTo>
                  <a:cubicBezTo>
                    <a:pt x="611" y="1120"/>
                    <a:pt x="606" y="1124"/>
                    <a:pt x="603" y="1127"/>
                  </a:cubicBezTo>
                  <a:cubicBezTo>
                    <a:pt x="609" y="1127"/>
                    <a:pt x="614" y="1127"/>
                    <a:pt x="620" y="1127"/>
                  </a:cubicBezTo>
                  <a:cubicBezTo>
                    <a:pt x="620" y="1125"/>
                    <a:pt x="620" y="1124"/>
                    <a:pt x="620" y="1122"/>
                  </a:cubicBezTo>
                  <a:cubicBezTo>
                    <a:pt x="618" y="1121"/>
                    <a:pt x="616" y="1120"/>
                    <a:pt x="614" y="1119"/>
                  </a:cubicBezTo>
                  <a:moveTo>
                    <a:pt x="391" y="950"/>
                  </a:moveTo>
                  <a:cubicBezTo>
                    <a:pt x="388" y="950"/>
                    <a:pt x="384" y="951"/>
                    <a:pt x="380" y="954"/>
                  </a:cubicBezTo>
                  <a:cubicBezTo>
                    <a:pt x="373" y="960"/>
                    <a:pt x="372" y="971"/>
                    <a:pt x="378" y="978"/>
                  </a:cubicBezTo>
                  <a:cubicBezTo>
                    <a:pt x="381" y="983"/>
                    <a:pt x="386" y="985"/>
                    <a:pt x="391" y="985"/>
                  </a:cubicBezTo>
                  <a:cubicBezTo>
                    <a:pt x="395" y="985"/>
                    <a:pt x="399" y="984"/>
                    <a:pt x="402" y="981"/>
                  </a:cubicBezTo>
                  <a:cubicBezTo>
                    <a:pt x="410" y="975"/>
                    <a:pt x="411" y="964"/>
                    <a:pt x="405" y="957"/>
                  </a:cubicBezTo>
                  <a:cubicBezTo>
                    <a:pt x="401" y="952"/>
                    <a:pt x="396" y="950"/>
                    <a:pt x="391" y="950"/>
                  </a:cubicBezTo>
                  <a:moveTo>
                    <a:pt x="271" y="930"/>
                  </a:moveTo>
                  <a:cubicBezTo>
                    <a:pt x="262" y="930"/>
                    <a:pt x="254" y="938"/>
                    <a:pt x="254" y="946"/>
                  </a:cubicBezTo>
                  <a:cubicBezTo>
                    <a:pt x="254" y="955"/>
                    <a:pt x="262" y="962"/>
                    <a:pt x="271" y="962"/>
                  </a:cubicBezTo>
                  <a:cubicBezTo>
                    <a:pt x="280" y="962"/>
                    <a:pt x="287" y="955"/>
                    <a:pt x="287" y="946"/>
                  </a:cubicBezTo>
                  <a:cubicBezTo>
                    <a:pt x="287" y="938"/>
                    <a:pt x="280" y="930"/>
                    <a:pt x="271" y="930"/>
                  </a:cubicBezTo>
                  <a:moveTo>
                    <a:pt x="224" y="915"/>
                  </a:moveTo>
                  <a:cubicBezTo>
                    <a:pt x="215" y="915"/>
                    <a:pt x="208" y="923"/>
                    <a:pt x="208" y="931"/>
                  </a:cubicBezTo>
                  <a:cubicBezTo>
                    <a:pt x="208" y="940"/>
                    <a:pt x="215" y="947"/>
                    <a:pt x="224" y="947"/>
                  </a:cubicBezTo>
                  <a:cubicBezTo>
                    <a:pt x="233" y="947"/>
                    <a:pt x="240" y="940"/>
                    <a:pt x="240" y="931"/>
                  </a:cubicBezTo>
                  <a:cubicBezTo>
                    <a:pt x="240" y="923"/>
                    <a:pt x="233" y="915"/>
                    <a:pt x="224" y="915"/>
                  </a:cubicBezTo>
                  <a:moveTo>
                    <a:pt x="956" y="888"/>
                  </a:moveTo>
                  <a:cubicBezTo>
                    <a:pt x="954" y="888"/>
                    <a:pt x="951" y="889"/>
                    <a:pt x="949" y="891"/>
                  </a:cubicBezTo>
                  <a:cubicBezTo>
                    <a:pt x="945" y="895"/>
                    <a:pt x="945" y="901"/>
                    <a:pt x="949" y="905"/>
                  </a:cubicBezTo>
                  <a:cubicBezTo>
                    <a:pt x="951" y="907"/>
                    <a:pt x="954" y="908"/>
                    <a:pt x="956" y="908"/>
                  </a:cubicBezTo>
                  <a:cubicBezTo>
                    <a:pt x="959" y="908"/>
                    <a:pt x="961" y="907"/>
                    <a:pt x="963" y="905"/>
                  </a:cubicBezTo>
                  <a:cubicBezTo>
                    <a:pt x="967" y="901"/>
                    <a:pt x="967" y="895"/>
                    <a:pt x="963" y="891"/>
                  </a:cubicBezTo>
                  <a:cubicBezTo>
                    <a:pt x="961" y="889"/>
                    <a:pt x="959" y="888"/>
                    <a:pt x="956" y="888"/>
                  </a:cubicBezTo>
                  <a:moveTo>
                    <a:pt x="271" y="852"/>
                  </a:moveTo>
                  <a:cubicBezTo>
                    <a:pt x="271" y="852"/>
                    <a:pt x="271" y="852"/>
                    <a:pt x="270" y="852"/>
                  </a:cubicBezTo>
                  <a:cubicBezTo>
                    <a:pt x="270" y="852"/>
                    <a:pt x="270" y="852"/>
                    <a:pt x="270" y="852"/>
                  </a:cubicBezTo>
                  <a:cubicBezTo>
                    <a:pt x="269" y="852"/>
                    <a:pt x="269" y="852"/>
                    <a:pt x="269" y="852"/>
                  </a:cubicBezTo>
                  <a:cubicBezTo>
                    <a:pt x="269" y="852"/>
                    <a:pt x="269" y="852"/>
                    <a:pt x="269" y="852"/>
                  </a:cubicBezTo>
                  <a:cubicBezTo>
                    <a:pt x="268" y="852"/>
                    <a:pt x="268" y="852"/>
                    <a:pt x="267" y="852"/>
                  </a:cubicBezTo>
                  <a:cubicBezTo>
                    <a:pt x="267" y="852"/>
                    <a:pt x="267" y="852"/>
                    <a:pt x="267" y="852"/>
                  </a:cubicBezTo>
                  <a:cubicBezTo>
                    <a:pt x="266" y="852"/>
                    <a:pt x="266" y="852"/>
                    <a:pt x="266" y="852"/>
                  </a:cubicBezTo>
                  <a:cubicBezTo>
                    <a:pt x="266" y="852"/>
                    <a:pt x="266" y="852"/>
                    <a:pt x="266" y="852"/>
                  </a:cubicBezTo>
                  <a:cubicBezTo>
                    <a:pt x="265" y="853"/>
                    <a:pt x="265" y="853"/>
                    <a:pt x="265" y="853"/>
                  </a:cubicBezTo>
                  <a:cubicBezTo>
                    <a:pt x="265" y="853"/>
                    <a:pt x="265" y="853"/>
                    <a:pt x="265" y="853"/>
                  </a:cubicBezTo>
                  <a:cubicBezTo>
                    <a:pt x="264" y="853"/>
                    <a:pt x="264" y="853"/>
                    <a:pt x="264" y="853"/>
                  </a:cubicBezTo>
                  <a:cubicBezTo>
                    <a:pt x="262" y="854"/>
                    <a:pt x="261" y="854"/>
                    <a:pt x="259" y="855"/>
                  </a:cubicBezTo>
                  <a:cubicBezTo>
                    <a:pt x="258" y="855"/>
                    <a:pt x="258" y="855"/>
                    <a:pt x="258" y="855"/>
                  </a:cubicBezTo>
                  <a:cubicBezTo>
                    <a:pt x="258" y="855"/>
                    <a:pt x="258" y="855"/>
                    <a:pt x="258" y="855"/>
                  </a:cubicBezTo>
                  <a:cubicBezTo>
                    <a:pt x="258" y="856"/>
                    <a:pt x="258" y="856"/>
                    <a:pt x="258" y="856"/>
                  </a:cubicBezTo>
                  <a:cubicBezTo>
                    <a:pt x="257" y="856"/>
                    <a:pt x="257" y="856"/>
                    <a:pt x="257" y="856"/>
                  </a:cubicBezTo>
                  <a:cubicBezTo>
                    <a:pt x="257" y="856"/>
                    <a:pt x="256" y="857"/>
                    <a:pt x="255" y="857"/>
                  </a:cubicBezTo>
                  <a:cubicBezTo>
                    <a:pt x="255" y="857"/>
                    <a:pt x="255" y="857"/>
                    <a:pt x="255" y="857"/>
                  </a:cubicBezTo>
                  <a:cubicBezTo>
                    <a:pt x="254" y="858"/>
                    <a:pt x="254" y="858"/>
                    <a:pt x="254" y="858"/>
                  </a:cubicBezTo>
                  <a:cubicBezTo>
                    <a:pt x="254" y="858"/>
                    <a:pt x="254" y="858"/>
                    <a:pt x="254" y="858"/>
                  </a:cubicBezTo>
                  <a:cubicBezTo>
                    <a:pt x="253" y="859"/>
                    <a:pt x="252" y="860"/>
                    <a:pt x="252" y="861"/>
                  </a:cubicBezTo>
                  <a:cubicBezTo>
                    <a:pt x="251" y="861"/>
                    <a:pt x="251" y="861"/>
                    <a:pt x="251" y="861"/>
                  </a:cubicBezTo>
                  <a:cubicBezTo>
                    <a:pt x="251" y="861"/>
                    <a:pt x="251" y="861"/>
                    <a:pt x="251" y="861"/>
                  </a:cubicBezTo>
                  <a:cubicBezTo>
                    <a:pt x="251" y="862"/>
                    <a:pt x="251" y="862"/>
                    <a:pt x="251" y="862"/>
                  </a:cubicBezTo>
                  <a:cubicBezTo>
                    <a:pt x="250" y="862"/>
                    <a:pt x="250" y="863"/>
                    <a:pt x="249" y="864"/>
                  </a:cubicBezTo>
                  <a:cubicBezTo>
                    <a:pt x="249" y="864"/>
                    <a:pt x="249" y="864"/>
                    <a:pt x="249" y="864"/>
                  </a:cubicBezTo>
                  <a:cubicBezTo>
                    <a:pt x="249" y="865"/>
                    <a:pt x="249" y="865"/>
                    <a:pt x="249" y="865"/>
                  </a:cubicBezTo>
                  <a:cubicBezTo>
                    <a:pt x="249" y="865"/>
                    <a:pt x="249" y="865"/>
                    <a:pt x="249" y="865"/>
                  </a:cubicBezTo>
                  <a:cubicBezTo>
                    <a:pt x="248" y="866"/>
                    <a:pt x="248" y="866"/>
                    <a:pt x="248" y="866"/>
                  </a:cubicBezTo>
                  <a:cubicBezTo>
                    <a:pt x="247" y="867"/>
                    <a:pt x="247" y="868"/>
                    <a:pt x="246" y="870"/>
                  </a:cubicBezTo>
                  <a:cubicBezTo>
                    <a:pt x="246" y="870"/>
                    <a:pt x="246" y="870"/>
                    <a:pt x="246" y="870"/>
                  </a:cubicBezTo>
                  <a:cubicBezTo>
                    <a:pt x="246" y="870"/>
                    <a:pt x="246" y="870"/>
                    <a:pt x="246" y="870"/>
                  </a:cubicBezTo>
                  <a:cubicBezTo>
                    <a:pt x="246" y="871"/>
                    <a:pt x="246" y="871"/>
                    <a:pt x="246" y="871"/>
                  </a:cubicBezTo>
                  <a:cubicBezTo>
                    <a:pt x="246" y="871"/>
                    <a:pt x="246" y="871"/>
                    <a:pt x="246" y="871"/>
                  </a:cubicBezTo>
                  <a:cubicBezTo>
                    <a:pt x="246" y="872"/>
                    <a:pt x="246" y="872"/>
                    <a:pt x="246" y="872"/>
                  </a:cubicBezTo>
                  <a:cubicBezTo>
                    <a:pt x="246" y="872"/>
                    <a:pt x="246" y="872"/>
                    <a:pt x="246" y="872"/>
                  </a:cubicBezTo>
                  <a:cubicBezTo>
                    <a:pt x="246" y="873"/>
                    <a:pt x="246" y="873"/>
                    <a:pt x="246" y="873"/>
                  </a:cubicBezTo>
                  <a:cubicBezTo>
                    <a:pt x="246" y="874"/>
                    <a:pt x="246" y="874"/>
                    <a:pt x="246" y="874"/>
                  </a:cubicBezTo>
                  <a:cubicBezTo>
                    <a:pt x="245" y="874"/>
                    <a:pt x="245" y="874"/>
                    <a:pt x="245" y="875"/>
                  </a:cubicBezTo>
                  <a:cubicBezTo>
                    <a:pt x="245" y="875"/>
                    <a:pt x="245" y="875"/>
                    <a:pt x="245" y="875"/>
                  </a:cubicBezTo>
                  <a:cubicBezTo>
                    <a:pt x="245" y="876"/>
                    <a:pt x="245" y="876"/>
                    <a:pt x="245" y="876"/>
                  </a:cubicBezTo>
                  <a:cubicBezTo>
                    <a:pt x="245" y="876"/>
                    <a:pt x="245" y="876"/>
                    <a:pt x="245" y="876"/>
                  </a:cubicBezTo>
                  <a:cubicBezTo>
                    <a:pt x="245" y="877"/>
                    <a:pt x="245" y="877"/>
                    <a:pt x="245" y="877"/>
                  </a:cubicBezTo>
                  <a:cubicBezTo>
                    <a:pt x="245" y="878"/>
                    <a:pt x="245" y="878"/>
                    <a:pt x="245" y="879"/>
                  </a:cubicBezTo>
                  <a:cubicBezTo>
                    <a:pt x="245" y="879"/>
                    <a:pt x="245" y="879"/>
                    <a:pt x="245" y="879"/>
                  </a:cubicBezTo>
                  <a:cubicBezTo>
                    <a:pt x="245" y="880"/>
                    <a:pt x="245" y="880"/>
                    <a:pt x="245" y="880"/>
                  </a:cubicBezTo>
                  <a:cubicBezTo>
                    <a:pt x="245" y="880"/>
                    <a:pt x="245" y="880"/>
                    <a:pt x="245" y="880"/>
                  </a:cubicBezTo>
                  <a:cubicBezTo>
                    <a:pt x="245" y="880"/>
                    <a:pt x="245" y="881"/>
                    <a:pt x="246" y="881"/>
                  </a:cubicBezTo>
                  <a:cubicBezTo>
                    <a:pt x="246" y="881"/>
                    <a:pt x="246" y="881"/>
                    <a:pt x="246" y="881"/>
                  </a:cubicBezTo>
                  <a:cubicBezTo>
                    <a:pt x="246" y="882"/>
                    <a:pt x="246" y="882"/>
                    <a:pt x="246" y="882"/>
                  </a:cubicBezTo>
                  <a:cubicBezTo>
                    <a:pt x="246" y="883"/>
                    <a:pt x="246" y="883"/>
                    <a:pt x="246" y="883"/>
                  </a:cubicBezTo>
                  <a:cubicBezTo>
                    <a:pt x="246" y="884"/>
                    <a:pt x="246" y="884"/>
                    <a:pt x="246" y="884"/>
                  </a:cubicBezTo>
                  <a:cubicBezTo>
                    <a:pt x="246" y="884"/>
                    <a:pt x="246" y="884"/>
                    <a:pt x="246" y="884"/>
                  </a:cubicBezTo>
                  <a:cubicBezTo>
                    <a:pt x="247" y="886"/>
                    <a:pt x="247" y="888"/>
                    <a:pt x="248" y="889"/>
                  </a:cubicBezTo>
                  <a:cubicBezTo>
                    <a:pt x="249" y="890"/>
                    <a:pt x="249" y="890"/>
                    <a:pt x="249" y="890"/>
                  </a:cubicBezTo>
                  <a:cubicBezTo>
                    <a:pt x="249" y="890"/>
                    <a:pt x="249" y="890"/>
                    <a:pt x="249" y="890"/>
                  </a:cubicBezTo>
                  <a:cubicBezTo>
                    <a:pt x="249" y="891"/>
                    <a:pt x="249" y="891"/>
                    <a:pt x="249" y="891"/>
                  </a:cubicBezTo>
                  <a:cubicBezTo>
                    <a:pt x="249" y="891"/>
                    <a:pt x="249" y="891"/>
                    <a:pt x="249" y="891"/>
                  </a:cubicBezTo>
                  <a:cubicBezTo>
                    <a:pt x="250" y="892"/>
                    <a:pt x="250" y="892"/>
                    <a:pt x="251" y="893"/>
                  </a:cubicBezTo>
                  <a:cubicBezTo>
                    <a:pt x="251" y="893"/>
                    <a:pt x="251" y="893"/>
                    <a:pt x="251" y="893"/>
                  </a:cubicBezTo>
                  <a:cubicBezTo>
                    <a:pt x="251" y="894"/>
                    <a:pt x="251" y="894"/>
                    <a:pt x="251" y="894"/>
                  </a:cubicBezTo>
                  <a:cubicBezTo>
                    <a:pt x="252" y="894"/>
                    <a:pt x="252" y="894"/>
                    <a:pt x="252" y="894"/>
                  </a:cubicBezTo>
                  <a:cubicBezTo>
                    <a:pt x="252" y="895"/>
                    <a:pt x="253" y="896"/>
                    <a:pt x="254" y="897"/>
                  </a:cubicBezTo>
                  <a:cubicBezTo>
                    <a:pt x="254" y="897"/>
                    <a:pt x="254" y="897"/>
                    <a:pt x="254" y="897"/>
                  </a:cubicBezTo>
                  <a:cubicBezTo>
                    <a:pt x="255" y="897"/>
                    <a:pt x="255" y="897"/>
                    <a:pt x="255" y="897"/>
                  </a:cubicBezTo>
                  <a:cubicBezTo>
                    <a:pt x="255" y="897"/>
                    <a:pt x="255" y="897"/>
                    <a:pt x="255" y="897"/>
                  </a:cubicBezTo>
                  <a:cubicBezTo>
                    <a:pt x="256" y="898"/>
                    <a:pt x="257" y="898"/>
                    <a:pt x="257" y="899"/>
                  </a:cubicBezTo>
                  <a:cubicBezTo>
                    <a:pt x="258" y="899"/>
                    <a:pt x="258" y="899"/>
                    <a:pt x="258" y="899"/>
                  </a:cubicBezTo>
                  <a:cubicBezTo>
                    <a:pt x="258" y="899"/>
                    <a:pt x="258" y="899"/>
                    <a:pt x="258" y="899"/>
                  </a:cubicBezTo>
                  <a:cubicBezTo>
                    <a:pt x="258" y="900"/>
                    <a:pt x="258" y="900"/>
                    <a:pt x="258" y="900"/>
                  </a:cubicBezTo>
                  <a:cubicBezTo>
                    <a:pt x="259" y="900"/>
                    <a:pt x="259" y="900"/>
                    <a:pt x="259" y="900"/>
                  </a:cubicBezTo>
                  <a:cubicBezTo>
                    <a:pt x="261" y="901"/>
                    <a:pt x="262" y="901"/>
                    <a:pt x="264" y="902"/>
                  </a:cubicBezTo>
                  <a:cubicBezTo>
                    <a:pt x="265" y="902"/>
                    <a:pt x="265" y="902"/>
                    <a:pt x="265" y="902"/>
                  </a:cubicBezTo>
                  <a:cubicBezTo>
                    <a:pt x="265" y="902"/>
                    <a:pt x="265" y="902"/>
                    <a:pt x="265" y="902"/>
                  </a:cubicBezTo>
                  <a:cubicBezTo>
                    <a:pt x="266" y="902"/>
                    <a:pt x="266" y="902"/>
                    <a:pt x="266" y="902"/>
                  </a:cubicBezTo>
                  <a:cubicBezTo>
                    <a:pt x="266" y="902"/>
                    <a:pt x="266" y="902"/>
                    <a:pt x="266" y="902"/>
                  </a:cubicBezTo>
                  <a:cubicBezTo>
                    <a:pt x="267" y="902"/>
                    <a:pt x="267" y="902"/>
                    <a:pt x="267" y="903"/>
                  </a:cubicBezTo>
                  <a:cubicBezTo>
                    <a:pt x="267" y="903"/>
                    <a:pt x="267" y="903"/>
                    <a:pt x="267" y="903"/>
                  </a:cubicBezTo>
                  <a:cubicBezTo>
                    <a:pt x="268" y="903"/>
                    <a:pt x="268" y="903"/>
                    <a:pt x="269" y="903"/>
                  </a:cubicBezTo>
                  <a:cubicBezTo>
                    <a:pt x="269" y="903"/>
                    <a:pt x="269" y="903"/>
                    <a:pt x="269" y="903"/>
                  </a:cubicBezTo>
                  <a:cubicBezTo>
                    <a:pt x="270" y="903"/>
                    <a:pt x="270" y="903"/>
                    <a:pt x="270" y="903"/>
                  </a:cubicBezTo>
                  <a:cubicBezTo>
                    <a:pt x="270" y="903"/>
                    <a:pt x="270" y="903"/>
                    <a:pt x="270" y="903"/>
                  </a:cubicBezTo>
                  <a:cubicBezTo>
                    <a:pt x="271" y="903"/>
                    <a:pt x="271" y="903"/>
                    <a:pt x="271" y="903"/>
                  </a:cubicBezTo>
                  <a:cubicBezTo>
                    <a:pt x="272" y="903"/>
                    <a:pt x="272" y="903"/>
                    <a:pt x="273" y="903"/>
                  </a:cubicBezTo>
                  <a:cubicBezTo>
                    <a:pt x="273" y="903"/>
                    <a:pt x="273" y="903"/>
                    <a:pt x="273" y="903"/>
                  </a:cubicBezTo>
                  <a:cubicBezTo>
                    <a:pt x="274" y="903"/>
                    <a:pt x="274" y="903"/>
                    <a:pt x="274" y="903"/>
                  </a:cubicBezTo>
                  <a:cubicBezTo>
                    <a:pt x="274" y="903"/>
                    <a:pt x="274" y="903"/>
                    <a:pt x="274" y="903"/>
                  </a:cubicBezTo>
                  <a:cubicBezTo>
                    <a:pt x="275" y="903"/>
                    <a:pt x="275" y="903"/>
                    <a:pt x="275" y="903"/>
                  </a:cubicBezTo>
                  <a:cubicBezTo>
                    <a:pt x="276" y="903"/>
                    <a:pt x="276" y="903"/>
                    <a:pt x="276" y="903"/>
                  </a:cubicBezTo>
                  <a:cubicBezTo>
                    <a:pt x="276" y="902"/>
                    <a:pt x="276" y="902"/>
                    <a:pt x="277" y="902"/>
                  </a:cubicBezTo>
                  <a:cubicBezTo>
                    <a:pt x="277" y="902"/>
                    <a:pt x="277" y="902"/>
                    <a:pt x="277" y="902"/>
                  </a:cubicBezTo>
                  <a:cubicBezTo>
                    <a:pt x="278" y="902"/>
                    <a:pt x="278" y="902"/>
                    <a:pt x="278" y="902"/>
                  </a:cubicBezTo>
                  <a:cubicBezTo>
                    <a:pt x="278" y="902"/>
                    <a:pt x="278" y="902"/>
                    <a:pt x="278" y="902"/>
                  </a:cubicBezTo>
                  <a:cubicBezTo>
                    <a:pt x="278" y="902"/>
                    <a:pt x="279" y="902"/>
                    <a:pt x="279" y="902"/>
                  </a:cubicBezTo>
                  <a:cubicBezTo>
                    <a:pt x="279" y="902"/>
                    <a:pt x="279" y="902"/>
                    <a:pt x="279" y="902"/>
                  </a:cubicBezTo>
                  <a:cubicBezTo>
                    <a:pt x="281" y="901"/>
                    <a:pt x="282" y="901"/>
                    <a:pt x="284" y="900"/>
                  </a:cubicBezTo>
                  <a:cubicBezTo>
                    <a:pt x="284" y="900"/>
                    <a:pt x="284" y="900"/>
                    <a:pt x="284" y="900"/>
                  </a:cubicBezTo>
                  <a:cubicBezTo>
                    <a:pt x="285" y="899"/>
                    <a:pt x="285" y="899"/>
                    <a:pt x="285" y="899"/>
                  </a:cubicBezTo>
                  <a:cubicBezTo>
                    <a:pt x="285" y="899"/>
                    <a:pt x="285" y="899"/>
                    <a:pt x="285" y="899"/>
                  </a:cubicBezTo>
                  <a:cubicBezTo>
                    <a:pt x="285" y="899"/>
                    <a:pt x="285" y="899"/>
                    <a:pt x="285" y="899"/>
                  </a:cubicBezTo>
                  <a:cubicBezTo>
                    <a:pt x="286" y="898"/>
                    <a:pt x="287" y="898"/>
                    <a:pt x="288" y="897"/>
                  </a:cubicBezTo>
                  <a:cubicBezTo>
                    <a:pt x="288" y="897"/>
                    <a:pt x="288" y="897"/>
                    <a:pt x="288" y="897"/>
                  </a:cubicBezTo>
                  <a:cubicBezTo>
                    <a:pt x="288" y="897"/>
                    <a:pt x="288" y="897"/>
                    <a:pt x="288" y="897"/>
                  </a:cubicBezTo>
                  <a:cubicBezTo>
                    <a:pt x="289" y="897"/>
                    <a:pt x="289" y="897"/>
                    <a:pt x="289" y="897"/>
                  </a:cubicBezTo>
                  <a:cubicBezTo>
                    <a:pt x="290" y="896"/>
                    <a:pt x="290" y="895"/>
                    <a:pt x="291" y="894"/>
                  </a:cubicBezTo>
                  <a:cubicBezTo>
                    <a:pt x="291" y="894"/>
                    <a:pt x="291" y="894"/>
                    <a:pt x="291" y="894"/>
                  </a:cubicBezTo>
                  <a:cubicBezTo>
                    <a:pt x="292" y="893"/>
                    <a:pt x="292" y="893"/>
                    <a:pt x="292" y="893"/>
                  </a:cubicBezTo>
                  <a:cubicBezTo>
                    <a:pt x="292" y="893"/>
                    <a:pt x="292" y="893"/>
                    <a:pt x="292" y="893"/>
                  </a:cubicBezTo>
                  <a:cubicBezTo>
                    <a:pt x="293" y="892"/>
                    <a:pt x="293" y="892"/>
                    <a:pt x="294" y="891"/>
                  </a:cubicBezTo>
                  <a:cubicBezTo>
                    <a:pt x="294" y="891"/>
                    <a:pt x="294" y="891"/>
                    <a:pt x="294" y="891"/>
                  </a:cubicBezTo>
                  <a:cubicBezTo>
                    <a:pt x="294" y="890"/>
                    <a:pt x="294" y="890"/>
                    <a:pt x="294" y="890"/>
                  </a:cubicBezTo>
                  <a:cubicBezTo>
                    <a:pt x="294" y="890"/>
                    <a:pt x="294" y="890"/>
                    <a:pt x="294" y="890"/>
                  </a:cubicBezTo>
                  <a:cubicBezTo>
                    <a:pt x="295" y="889"/>
                    <a:pt x="295" y="889"/>
                    <a:pt x="295" y="889"/>
                  </a:cubicBezTo>
                  <a:cubicBezTo>
                    <a:pt x="296" y="888"/>
                    <a:pt x="296" y="886"/>
                    <a:pt x="297" y="884"/>
                  </a:cubicBezTo>
                  <a:cubicBezTo>
                    <a:pt x="297" y="884"/>
                    <a:pt x="297" y="884"/>
                    <a:pt x="297" y="884"/>
                  </a:cubicBezTo>
                  <a:cubicBezTo>
                    <a:pt x="297" y="883"/>
                    <a:pt x="297" y="883"/>
                    <a:pt x="297" y="883"/>
                  </a:cubicBezTo>
                  <a:cubicBezTo>
                    <a:pt x="297" y="882"/>
                    <a:pt x="297" y="882"/>
                    <a:pt x="297" y="882"/>
                  </a:cubicBezTo>
                  <a:cubicBezTo>
                    <a:pt x="297" y="881"/>
                    <a:pt x="297" y="881"/>
                    <a:pt x="297" y="881"/>
                  </a:cubicBezTo>
                  <a:cubicBezTo>
                    <a:pt x="297" y="881"/>
                    <a:pt x="297" y="881"/>
                    <a:pt x="297" y="881"/>
                  </a:cubicBezTo>
                  <a:cubicBezTo>
                    <a:pt x="297" y="881"/>
                    <a:pt x="297" y="880"/>
                    <a:pt x="298" y="880"/>
                  </a:cubicBezTo>
                  <a:cubicBezTo>
                    <a:pt x="298" y="880"/>
                    <a:pt x="298" y="880"/>
                    <a:pt x="298" y="880"/>
                  </a:cubicBezTo>
                  <a:cubicBezTo>
                    <a:pt x="298" y="879"/>
                    <a:pt x="298" y="879"/>
                    <a:pt x="298" y="879"/>
                  </a:cubicBezTo>
                  <a:cubicBezTo>
                    <a:pt x="298" y="879"/>
                    <a:pt x="298" y="879"/>
                    <a:pt x="298" y="879"/>
                  </a:cubicBezTo>
                  <a:cubicBezTo>
                    <a:pt x="298" y="878"/>
                    <a:pt x="298" y="878"/>
                    <a:pt x="298" y="877"/>
                  </a:cubicBezTo>
                  <a:cubicBezTo>
                    <a:pt x="298" y="877"/>
                    <a:pt x="298" y="877"/>
                    <a:pt x="298" y="876"/>
                  </a:cubicBezTo>
                  <a:cubicBezTo>
                    <a:pt x="298" y="876"/>
                    <a:pt x="298" y="876"/>
                    <a:pt x="298" y="876"/>
                  </a:cubicBezTo>
                  <a:cubicBezTo>
                    <a:pt x="298" y="875"/>
                    <a:pt x="298" y="875"/>
                    <a:pt x="298" y="875"/>
                  </a:cubicBezTo>
                  <a:cubicBezTo>
                    <a:pt x="298" y="875"/>
                    <a:pt x="298" y="875"/>
                    <a:pt x="298" y="875"/>
                  </a:cubicBezTo>
                  <a:cubicBezTo>
                    <a:pt x="297" y="874"/>
                    <a:pt x="297" y="874"/>
                    <a:pt x="297" y="874"/>
                  </a:cubicBezTo>
                  <a:cubicBezTo>
                    <a:pt x="297" y="873"/>
                    <a:pt x="297" y="873"/>
                    <a:pt x="297" y="873"/>
                  </a:cubicBezTo>
                  <a:cubicBezTo>
                    <a:pt x="297" y="872"/>
                    <a:pt x="297" y="872"/>
                    <a:pt x="297" y="872"/>
                  </a:cubicBezTo>
                  <a:cubicBezTo>
                    <a:pt x="297" y="872"/>
                    <a:pt x="297" y="872"/>
                    <a:pt x="297" y="872"/>
                  </a:cubicBezTo>
                  <a:cubicBezTo>
                    <a:pt x="297" y="871"/>
                    <a:pt x="297" y="871"/>
                    <a:pt x="297" y="871"/>
                  </a:cubicBezTo>
                  <a:cubicBezTo>
                    <a:pt x="297" y="871"/>
                    <a:pt x="297" y="871"/>
                    <a:pt x="297" y="871"/>
                  </a:cubicBezTo>
                  <a:cubicBezTo>
                    <a:pt x="297" y="870"/>
                    <a:pt x="297" y="870"/>
                    <a:pt x="297" y="870"/>
                  </a:cubicBezTo>
                  <a:cubicBezTo>
                    <a:pt x="296" y="870"/>
                    <a:pt x="296" y="870"/>
                    <a:pt x="296" y="870"/>
                  </a:cubicBezTo>
                  <a:cubicBezTo>
                    <a:pt x="296" y="868"/>
                    <a:pt x="295" y="867"/>
                    <a:pt x="295" y="866"/>
                  </a:cubicBezTo>
                  <a:cubicBezTo>
                    <a:pt x="294" y="865"/>
                    <a:pt x="294" y="865"/>
                    <a:pt x="294" y="865"/>
                  </a:cubicBezTo>
                  <a:cubicBezTo>
                    <a:pt x="294" y="865"/>
                    <a:pt x="294" y="865"/>
                    <a:pt x="294" y="865"/>
                  </a:cubicBezTo>
                  <a:cubicBezTo>
                    <a:pt x="294" y="864"/>
                    <a:pt x="294" y="864"/>
                    <a:pt x="294" y="864"/>
                  </a:cubicBezTo>
                  <a:cubicBezTo>
                    <a:pt x="294" y="864"/>
                    <a:pt x="294" y="864"/>
                    <a:pt x="294" y="864"/>
                  </a:cubicBezTo>
                  <a:cubicBezTo>
                    <a:pt x="293" y="863"/>
                    <a:pt x="293" y="862"/>
                    <a:pt x="292" y="862"/>
                  </a:cubicBezTo>
                  <a:cubicBezTo>
                    <a:pt x="292" y="861"/>
                    <a:pt x="292" y="861"/>
                    <a:pt x="292" y="861"/>
                  </a:cubicBezTo>
                  <a:cubicBezTo>
                    <a:pt x="291" y="861"/>
                    <a:pt x="291" y="861"/>
                    <a:pt x="291" y="861"/>
                  </a:cubicBezTo>
                  <a:cubicBezTo>
                    <a:pt x="291" y="861"/>
                    <a:pt x="291" y="861"/>
                    <a:pt x="291" y="861"/>
                  </a:cubicBezTo>
                  <a:cubicBezTo>
                    <a:pt x="290" y="860"/>
                    <a:pt x="290" y="859"/>
                    <a:pt x="289" y="858"/>
                  </a:cubicBezTo>
                  <a:cubicBezTo>
                    <a:pt x="288" y="858"/>
                    <a:pt x="288" y="858"/>
                    <a:pt x="288" y="858"/>
                  </a:cubicBezTo>
                  <a:cubicBezTo>
                    <a:pt x="288" y="857"/>
                    <a:pt x="288" y="857"/>
                    <a:pt x="288" y="857"/>
                  </a:cubicBezTo>
                  <a:cubicBezTo>
                    <a:pt x="288" y="857"/>
                    <a:pt x="288" y="857"/>
                    <a:pt x="288" y="857"/>
                  </a:cubicBezTo>
                  <a:cubicBezTo>
                    <a:pt x="287" y="857"/>
                    <a:pt x="286" y="856"/>
                    <a:pt x="285" y="856"/>
                  </a:cubicBezTo>
                  <a:cubicBezTo>
                    <a:pt x="285" y="856"/>
                    <a:pt x="285" y="856"/>
                    <a:pt x="285" y="856"/>
                  </a:cubicBezTo>
                  <a:cubicBezTo>
                    <a:pt x="285" y="855"/>
                    <a:pt x="285" y="855"/>
                    <a:pt x="285" y="855"/>
                  </a:cubicBezTo>
                  <a:cubicBezTo>
                    <a:pt x="284" y="855"/>
                    <a:pt x="284" y="855"/>
                    <a:pt x="284" y="855"/>
                  </a:cubicBezTo>
                  <a:cubicBezTo>
                    <a:pt x="284" y="855"/>
                    <a:pt x="284" y="855"/>
                    <a:pt x="284" y="855"/>
                  </a:cubicBezTo>
                  <a:cubicBezTo>
                    <a:pt x="282" y="854"/>
                    <a:pt x="281" y="854"/>
                    <a:pt x="279" y="853"/>
                  </a:cubicBezTo>
                  <a:cubicBezTo>
                    <a:pt x="279" y="853"/>
                    <a:pt x="279" y="853"/>
                    <a:pt x="279" y="853"/>
                  </a:cubicBezTo>
                  <a:cubicBezTo>
                    <a:pt x="278" y="853"/>
                    <a:pt x="278" y="853"/>
                    <a:pt x="278" y="853"/>
                  </a:cubicBezTo>
                  <a:cubicBezTo>
                    <a:pt x="278" y="853"/>
                    <a:pt x="278" y="853"/>
                    <a:pt x="278" y="853"/>
                  </a:cubicBezTo>
                  <a:cubicBezTo>
                    <a:pt x="277" y="852"/>
                    <a:pt x="277" y="852"/>
                    <a:pt x="277" y="852"/>
                  </a:cubicBezTo>
                  <a:cubicBezTo>
                    <a:pt x="277" y="852"/>
                    <a:pt x="277" y="852"/>
                    <a:pt x="277" y="852"/>
                  </a:cubicBezTo>
                  <a:cubicBezTo>
                    <a:pt x="276" y="852"/>
                    <a:pt x="276" y="852"/>
                    <a:pt x="276" y="852"/>
                  </a:cubicBezTo>
                  <a:cubicBezTo>
                    <a:pt x="275" y="852"/>
                    <a:pt x="275" y="852"/>
                    <a:pt x="275" y="852"/>
                  </a:cubicBezTo>
                  <a:cubicBezTo>
                    <a:pt x="275" y="852"/>
                    <a:pt x="275" y="852"/>
                    <a:pt x="274" y="852"/>
                  </a:cubicBezTo>
                  <a:cubicBezTo>
                    <a:pt x="274" y="852"/>
                    <a:pt x="274" y="852"/>
                    <a:pt x="274" y="852"/>
                  </a:cubicBezTo>
                  <a:cubicBezTo>
                    <a:pt x="273" y="852"/>
                    <a:pt x="273" y="852"/>
                    <a:pt x="273" y="852"/>
                  </a:cubicBezTo>
                  <a:cubicBezTo>
                    <a:pt x="273" y="852"/>
                    <a:pt x="273" y="852"/>
                    <a:pt x="273" y="852"/>
                  </a:cubicBezTo>
                  <a:cubicBezTo>
                    <a:pt x="272" y="852"/>
                    <a:pt x="272" y="852"/>
                    <a:pt x="271" y="852"/>
                  </a:cubicBezTo>
                  <a:moveTo>
                    <a:pt x="714" y="608"/>
                  </a:moveTo>
                  <a:cubicBezTo>
                    <a:pt x="710" y="608"/>
                    <a:pt x="706" y="609"/>
                    <a:pt x="703" y="612"/>
                  </a:cubicBezTo>
                  <a:cubicBezTo>
                    <a:pt x="696" y="618"/>
                    <a:pt x="694" y="629"/>
                    <a:pt x="700" y="636"/>
                  </a:cubicBezTo>
                  <a:cubicBezTo>
                    <a:pt x="704" y="641"/>
                    <a:pt x="709" y="643"/>
                    <a:pt x="714" y="643"/>
                  </a:cubicBezTo>
                  <a:cubicBezTo>
                    <a:pt x="718" y="643"/>
                    <a:pt x="722" y="641"/>
                    <a:pt x="725" y="639"/>
                  </a:cubicBezTo>
                  <a:cubicBezTo>
                    <a:pt x="732" y="633"/>
                    <a:pt x="733" y="622"/>
                    <a:pt x="727" y="614"/>
                  </a:cubicBezTo>
                  <a:cubicBezTo>
                    <a:pt x="724" y="610"/>
                    <a:pt x="719" y="608"/>
                    <a:pt x="714" y="608"/>
                  </a:cubicBezTo>
                  <a:moveTo>
                    <a:pt x="772" y="520"/>
                  </a:moveTo>
                  <a:cubicBezTo>
                    <a:pt x="764" y="520"/>
                    <a:pt x="758" y="526"/>
                    <a:pt x="758" y="533"/>
                  </a:cubicBezTo>
                  <a:cubicBezTo>
                    <a:pt x="758" y="541"/>
                    <a:pt x="764" y="547"/>
                    <a:pt x="772" y="547"/>
                  </a:cubicBezTo>
                  <a:cubicBezTo>
                    <a:pt x="779" y="547"/>
                    <a:pt x="785" y="541"/>
                    <a:pt x="785" y="533"/>
                  </a:cubicBezTo>
                  <a:cubicBezTo>
                    <a:pt x="785" y="526"/>
                    <a:pt x="779" y="520"/>
                    <a:pt x="772" y="520"/>
                  </a:cubicBezTo>
                  <a:moveTo>
                    <a:pt x="895" y="486"/>
                  </a:moveTo>
                  <a:cubicBezTo>
                    <a:pt x="890" y="486"/>
                    <a:pt x="884" y="488"/>
                    <a:pt x="880" y="492"/>
                  </a:cubicBezTo>
                  <a:cubicBezTo>
                    <a:pt x="872" y="501"/>
                    <a:pt x="871" y="514"/>
                    <a:pt x="880" y="523"/>
                  </a:cubicBezTo>
                  <a:cubicBezTo>
                    <a:pt x="884" y="527"/>
                    <a:pt x="889" y="529"/>
                    <a:pt x="895" y="529"/>
                  </a:cubicBezTo>
                  <a:cubicBezTo>
                    <a:pt x="900" y="529"/>
                    <a:pt x="906" y="527"/>
                    <a:pt x="910" y="523"/>
                  </a:cubicBezTo>
                  <a:cubicBezTo>
                    <a:pt x="918" y="514"/>
                    <a:pt x="918" y="501"/>
                    <a:pt x="910" y="493"/>
                  </a:cubicBezTo>
                  <a:cubicBezTo>
                    <a:pt x="906" y="488"/>
                    <a:pt x="900" y="486"/>
                    <a:pt x="895" y="486"/>
                  </a:cubicBezTo>
                  <a:moveTo>
                    <a:pt x="895" y="542"/>
                  </a:moveTo>
                  <a:cubicBezTo>
                    <a:pt x="886" y="542"/>
                    <a:pt x="877" y="539"/>
                    <a:pt x="871" y="532"/>
                  </a:cubicBezTo>
                  <a:cubicBezTo>
                    <a:pt x="857" y="518"/>
                    <a:pt x="857" y="497"/>
                    <a:pt x="871" y="483"/>
                  </a:cubicBezTo>
                  <a:cubicBezTo>
                    <a:pt x="877" y="477"/>
                    <a:pt x="886" y="473"/>
                    <a:pt x="895" y="473"/>
                  </a:cubicBezTo>
                  <a:cubicBezTo>
                    <a:pt x="904" y="473"/>
                    <a:pt x="913" y="477"/>
                    <a:pt x="919" y="483"/>
                  </a:cubicBezTo>
                  <a:cubicBezTo>
                    <a:pt x="933" y="497"/>
                    <a:pt x="933" y="519"/>
                    <a:pt x="919" y="532"/>
                  </a:cubicBezTo>
                  <a:cubicBezTo>
                    <a:pt x="913" y="539"/>
                    <a:pt x="904" y="542"/>
                    <a:pt x="895" y="542"/>
                  </a:cubicBezTo>
                  <a:moveTo>
                    <a:pt x="895" y="449"/>
                  </a:moveTo>
                  <a:cubicBezTo>
                    <a:pt x="880" y="449"/>
                    <a:pt x="865" y="454"/>
                    <a:pt x="853" y="466"/>
                  </a:cubicBezTo>
                  <a:cubicBezTo>
                    <a:pt x="830" y="489"/>
                    <a:pt x="830" y="526"/>
                    <a:pt x="853" y="549"/>
                  </a:cubicBezTo>
                  <a:cubicBezTo>
                    <a:pt x="865" y="561"/>
                    <a:pt x="880" y="567"/>
                    <a:pt x="895" y="567"/>
                  </a:cubicBezTo>
                  <a:cubicBezTo>
                    <a:pt x="910" y="567"/>
                    <a:pt x="925" y="561"/>
                    <a:pt x="937" y="549"/>
                  </a:cubicBezTo>
                  <a:cubicBezTo>
                    <a:pt x="960" y="526"/>
                    <a:pt x="960" y="489"/>
                    <a:pt x="937" y="466"/>
                  </a:cubicBezTo>
                  <a:cubicBezTo>
                    <a:pt x="925" y="454"/>
                    <a:pt x="910" y="449"/>
                    <a:pt x="895" y="449"/>
                  </a:cubicBezTo>
                  <a:moveTo>
                    <a:pt x="425" y="405"/>
                  </a:moveTo>
                  <a:cubicBezTo>
                    <a:pt x="421" y="405"/>
                    <a:pt x="418" y="406"/>
                    <a:pt x="415" y="409"/>
                  </a:cubicBezTo>
                  <a:cubicBezTo>
                    <a:pt x="410" y="414"/>
                    <a:pt x="410" y="423"/>
                    <a:pt x="415" y="428"/>
                  </a:cubicBezTo>
                  <a:cubicBezTo>
                    <a:pt x="418" y="431"/>
                    <a:pt x="421" y="432"/>
                    <a:pt x="425" y="432"/>
                  </a:cubicBezTo>
                  <a:cubicBezTo>
                    <a:pt x="428" y="432"/>
                    <a:pt x="432" y="431"/>
                    <a:pt x="434" y="428"/>
                  </a:cubicBezTo>
                  <a:cubicBezTo>
                    <a:pt x="440" y="423"/>
                    <a:pt x="440" y="414"/>
                    <a:pt x="434" y="409"/>
                  </a:cubicBezTo>
                  <a:cubicBezTo>
                    <a:pt x="432" y="406"/>
                    <a:pt x="428" y="405"/>
                    <a:pt x="425" y="405"/>
                  </a:cubicBezTo>
                  <a:moveTo>
                    <a:pt x="1151" y="392"/>
                  </a:moveTo>
                  <a:cubicBezTo>
                    <a:pt x="1149" y="392"/>
                    <a:pt x="1148" y="392"/>
                    <a:pt x="1148" y="392"/>
                  </a:cubicBezTo>
                  <a:cubicBezTo>
                    <a:pt x="1146" y="397"/>
                    <a:pt x="1148" y="407"/>
                    <a:pt x="1151" y="414"/>
                  </a:cubicBezTo>
                  <a:cubicBezTo>
                    <a:pt x="1155" y="425"/>
                    <a:pt x="1150" y="427"/>
                    <a:pt x="1147" y="429"/>
                  </a:cubicBezTo>
                  <a:cubicBezTo>
                    <a:pt x="1145" y="430"/>
                    <a:pt x="1144" y="431"/>
                    <a:pt x="1143" y="431"/>
                  </a:cubicBezTo>
                  <a:cubicBezTo>
                    <a:pt x="1144" y="437"/>
                    <a:pt x="1144" y="443"/>
                    <a:pt x="1145" y="449"/>
                  </a:cubicBezTo>
                  <a:cubicBezTo>
                    <a:pt x="1147" y="451"/>
                    <a:pt x="1149" y="453"/>
                    <a:pt x="1151" y="454"/>
                  </a:cubicBezTo>
                  <a:cubicBezTo>
                    <a:pt x="1153" y="453"/>
                    <a:pt x="1155" y="452"/>
                    <a:pt x="1157" y="451"/>
                  </a:cubicBezTo>
                  <a:cubicBezTo>
                    <a:pt x="1158" y="448"/>
                    <a:pt x="1159" y="441"/>
                    <a:pt x="1158" y="434"/>
                  </a:cubicBezTo>
                  <a:cubicBezTo>
                    <a:pt x="1157" y="422"/>
                    <a:pt x="1164" y="420"/>
                    <a:pt x="1168" y="419"/>
                  </a:cubicBezTo>
                  <a:cubicBezTo>
                    <a:pt x="1169" y="419"/>
                    <a:pt x="1169" y="419"/>
                    <a:pt x="1169" y="419"/>
                  </a:cubicBezTo>
                  <a:cubicBezTo>
                    <a:pt x="1170" y="418"/>
                    <a:pt x="1171" y="418"/>
                    <a:pt x="1172" y="418"/>
                  </a:cubicBezTo>
                  <a:cubicBezTo>
                    <a:pt x="1170" y="411"/>
                    <a:pt x="1167" y="403"/>
                    <a:pt x="1165" y="396"/>
                  </a:cubicBezTo>
                  <a:cubicBezTo>
                    <a:pt x="1160" y="394"/>
                    <a:pt x="1154" y="392"/>
                    <a:pt x="1151" y="392"/>
                  </a:cubicBezTo>
                  <a:moveTo>
                    <a:pt x="875" y="374"/>
                  </a:moveTo>
                  <a:cubicBezTo>
                    <a:pt x="866" y="374"/>
                    <a:pt x="859" y="381"/>
                    <a:pt x="859" y="390"/>
                  </a:cubicBezTo>
                  <a:cubicBezTo>
                    <a:pt x="859" y="399"/>
                    <a:pt x="866" y="406"/>
                    <a:pt x="875" y="406"/>
                  </a:cubicBezTo>
                  <a:cubicBezTo>
                    <a:pt x="884" y="406"/>
                    <a:pt x="892" y="399"/>
                    <a:pt x="892" y="390"/>
                  </a:cubicBezTo>
                  <a:cubicBezTo>
                    <a:pt x="892" y="381"/>
                    <a:pt x="884" y="374"/>
                    <a:pt x="875" y="374"/>
                  </a:cubicBezTo>
                  <a:moveTo>
                    <a:pt x="845" y="194"/>
                  </a:moveTo>
                  <a:cubicBezTo>
                    <a:pt x="838" y="194"/>
                    <a:pt x="832" y="199"/>
                    <a:pt x="832" y="206"/>
                  </a:cubicBezTo>
                  <a:cubicBezTo>
                    <a:pt x="832" y="213"/>
                    <a:pt x="838" y="218"/>
                    <a:pt x="845" y="218"/>
                  </a:cubicBezTo>
                  <a:cubicBezTo>
                    <a:pt x="852" y="218"/>
                    <a:pt x="857" y="213"/>
                    <a:pt x="857" y="206"/>
                  </a:cubicBezTo>
                  <a:cubicBezTo>
                    <a:pt x="857" y="199"/>
                    <a:pt x="852" y="194"/>
                    <a:pt x="845" y="194"/>
                  </a:cubicBezTo>
                  <a:moveTo>
                    <a:pt x="478" y="148"/>
                  </a:moveTo>
                  <a:cubicBezTo>
                    <a:pt x="467" y="148"/>
                    <a:pt x="458" y="156"/>
                    <a:pt x="458" y="167"/>
                  </a:cubicBezTo>
                  <a:cubicBezTo>
                    <a:pt x="458" y="178"/>
                    <a:pt x="467" y="187"/>
                    <a:pt x="478" y="187"/>
                  </a:cubicBezTo>
                  <a:cubicBezTo>
                    <a:pt x="490" y="187"/>
                    <a:pt x="499" y="178"/>
                    <a:pt x="499" y="167"/>
                  </a:cubicBezTo>
                  <a:cubicBezTo>
                    <a:pt x="499" y="156"/>
                    <a:pt x="490" y="148"/>
                    <a:pt x="478" y="148"/>
                  </a:cubicBezTo>
                  <a:moveTo>
                    <a:pt x="829" y="103"/>
                  </a:moveTo>
                  <a:cubicBezTo>
                    <a:pt x="825" y="103"/>
                    <a:pt x="821" y="104"/>
                    <a:pt x="818" y="107"/>
                  </a:cubicBezTo>
                  <a:cubicBezTo>
                    <a:pt x="812" y="113"/>
                    <a:pt x="812" y="123"/>
                    <a:pt x="818" y="129"/>
                  </a:cubicBezTo>
                  <a:cubicBezTo>
                    <a:pt x="821" y="132"/>
                    <a:pt x="825" y="133"/>
                    <a:pt x="829" y="133"/>
                  </a:cubicBezTo>
                  <a:cubicBezTo>
                    <a:pt x="833" y="133"/>
                    <a:pt x="837" y="132"/>
                    <a:pt x="840" y="129"/>
                  </a:cubicBezTo>
                  <a:cubicBezTo>
                    <a:pt x="846" y="123"/>
                    <a:pt x="846" y="113"/>
                    <a:pt x="840" y="107"/>
                  </a:cubicBezTo>
                  <a:cubicBezTo>
                    <a:pt x="837" y="104"/>
                    <a:pt x="833" y="103"/>
                    <a:pt x="829" y="103"/>
                  </a:cubicBezTo>
                  <a:moveTo>
                    <a:pt x="829" y="143"/>
                  </a:moveTo>
                  <a:cubicBezTo>
                    <a:pt x="823" y="143"/>
                    <a:pt x="817" y="140"/>
                    <a:pt x="812" y="136"/>
                  </a:cubicBezTo>
                  <a:cubicBezTo>
                    <a:pt x="802" y="126"/>
                    <a:pt x="802" y="110"/>
                    <a:pt x="812" y="100"/>
                  </a:cubicBezTo>
                  <a:cubicBezTo>
                    <a:pt x="817" y="96"/>
                    <a:pt x="823" y="93"/>
                    <a:pt x="829" y="93"/>
                  </a:cubicBezTo>
                  <a:cubicBezTo>
                    <a:pt x="836" y="93"/>
                    <a:pt x="842" y="96"/>
                    <a:pt x="847" y="100"/>
                  </a:cubicBezTo>
                  <a:cubicBezTo>
                    <a:pt x="857" y="110"/>
                    <a:pt x="857" y="126"/>
                    <a:pt x="847" y="136"/>
                  </a:cubicBezTo>
                  <a:cubicBezTo>
                    <a:pt x="842" y="140"/>
                    <a:pt x="836" y="143"/>
                    <a:pt x="829" y="143"/>
                  </a:cubicBezTo>
                  <a:moveTo>
                    <a:pt x="829" y="75"/>
                  </a:moveTo>
                  <a:cubicBezTo>
                    <a:pt x="818" y="75"/>
                    <a:pt x="807" y="79"/>
                    <a:pt x="799" y="88"/>
                  </a:cubicBezTo>
                  <a:cubicBezTo>
                    <a:pt x="782" y="104"/>
                    <a:pt x="782" y="131"/>
                    <a:pt x="799" y="148"/>
                  </a:cubicBezTo>
                  <a:cubicBezTo>
                    <a:pt x="807" y="156"/>
                    <a:pt x="818" y="161"/>
                    <a:pt x="829" y="161"/>
                  </a:cubicBezTo>
                  <a:cubicBezTo>
                    <a:pt x="840" y="161"/>
                    <a:pt x="851" y="157"/>
                    <a:pt x="859" y="148"/>
                  </a:cubicBezTo>
                  <a:cubicBezTo>
                    <a:pt x="876" y="132"/>
                    <a:pt x="876" y="105"/>
                    <a:pt x="859" y="88"/>
                  </a:cubicBezTo>
                  <a:cubicBezTo>
                    <a:pt x="859" y="88"/>
                    <a:pt x="859" y="88"/>
                    <a:pt x="859" y="88"/>
                  </a:cubicBezTo>
                  <a:cubicBezTo>
                    <a:pt x="853" y="84"/>
                    <a:pt x="846" y="80"/>
                    <a:pt x="839" y="77"/>
                  </a:cubicBezTo>
                  <a:cubicBezTo>
                    <a:pt x="836" y="76"/>
                    <a:pt x="833" y="75"/>
                    <a:pt x="829" y="75"/>
                  </a:cubicBezTo>
                  <a:moveTo>
                    <a:pt x="530" y="9"/>
                  </a:moveTo>
                  <a:cubicBezTo>
                    <a:pt x="525" y="9"/>
                    <a:pt x="520" y="10"/>
                    <a:pt x="516" y="13"/>
                  </a:cubicBezTo>
                  <a:cubicBezTo>
                    <a:pt x="505" y="21"/>
                    <a:pt x="503" y="36"/>
                    <a:pt x="511" y="46"/>
                  </a:cubicBezTo>
                  <a:cubicBezTo>
                    <a:pt x="515" y="53"/>
                    <a:pt x="522" y="56"/>
                    <a:pt x="530" y="56"/>
                  </a:cubicBezTo>
                  <a:cubicBezTo>
                    <a:pt x="534" y="56"/>
                    <a:pt x="539" y="54"/>
                    <a:pt x="543" y="51"/>
                  </a:cubicBezTo>
                  <a:cubicBezTo>
                    <a:pt x="554" y="44"/>
                    <a:pt x="556" y="29"/>
                    <a:pt x="549" y="19"/>
                  </a:cubicBezTo>
                  <a:cubicBezTo>
                    <a:pt x="544" y="12"/>
                    <a:pt x="537" y="9"/>
                    <a:pt x="530" y="9"/>
                  </a:cubicBezTo>
                  <a:moveTo>
                    <a:pt x="271" y="967"/>
                  </a:moveTo>
                  <a:cubicBezTo>
                    <a:pt x="259" y="967"/>
                    <a:pt x="250" y="958"/>
                    <a:pt x="250" y="946"/>
                  </a:cubicBezTo>
                  <a:cubicBezTo>
                    <a:pt x="250" y="935"/>
                    <a:pt x="259" y="926"/>
                    <a:pt x="271" y="926"/>
                  </a:cubicBezTo>
                  <a:cubicBezTo>
                    <a:pt x="282" y="926"/>
                    <a:pt x="291" y="935"/>
                    <a:pt x="291" y="946"/>
                  </a:cubicBezTo>
                  <a:cubicBezTo>
                    <a:pt x="291" y="958"/>
                    <a:pt x="282" y="967"/>
                    <a:pt x="271" y="967"/>
                  </a:cubicBezTo>
                  <a:moveTo>
                    <a:pt x="224" y="952"/>
                  </a:moveTo>
                  <a:cubicBezTo>
                    <a:pt x="212" y="952"/>
                    <a:pt x="203" y="943"/>
                    <a:pt x="203" y="931"/>
                  </a:cubicBezTo>
                  <a:cubicBezTo>
                    <a:pt x="203" y="920"/>
                    <a:pt x="212" y="911"/>
                    <a:pt x="224" y="911"/>
                  </a:cubicBezTo>
                  <a:cubicBezTo>
                    <a:pt x="235" y="911"/>
                    <a:pt x="245" y="920"/>
                    <a:pt x="245" y="931"/>
                  </a:cubicBezTo>
                  <a:cubicBezTo>
                    <a:pt x="245" y="943"/>
                    <a:pt x="235" y="952"/>
                    <a:pt x="224" y="952"/>
                  </a:cubicBezTo>
                  <a:moveTo>
                    <a:pt x="377" y="903"/>
                  </a:moveTo>
                  <a:cubicBezTo>
                    <a:pt x="379" y="901"/>
                    <a:pt x="381" y="896"/>
                    <a:pt x="382" y="892"/>
                  </a:cubicBezTo>
                  <a:cubicBezTo>
                    <a:pt x="382" y="886"/>
                    <a:pt x="385" y="886"/>
                    <a:pt x="387" y="886"/>
                  </a:cubicBezTo>
                  <a:cubicBezTo>
                    <a:pt x="387" y="886"/>
                    <a:pt x="388" y="886"/>
                    <a:pt x="388" y="886"/>
                  </a:cubicBezTo>
                  <a:cubicBezTo>
                    <a:pt x="390" y="886"/>
                    <a:pt x="392" y="887"/>
                    <a:pt x="393" y="891"/>
                  </a:cubicBezTo>
                  <a:cubicBezTo>
                    <a:pt x="394" y="895"/>
                    <a:pt x="395" y="900"/>
                    <a:pt x="397" y="901"/>
                  </a:cubicBezTo>
                  <a:cubicBezTo>
                    <a:pt x="400" y="901"/>
                    <a:pt x="403" y="896"/>
                    <a:pt x="405" y="892"/>
                  </a:cubicBezTo>
                  <a:cubicBezTo>
                    <a:pt x="407" y="889"/>
                    <a:pt x="408" y="888"/>
                    <a:pt x="410" y="888"/>
                  </a:cubicBezTo>
                  <a:cubicBezTo>
                    <a:pt x="410" y="888"/>
                    <a:pt x="411" y="888"/>
                    <a:pt x="412" y="889"/>
                  </a:cubicBezTo>
                  <a:cubicBezTo>
                    <a:pt x="414" y="889"/>
                    <a:pt x="417" y="889"/>
                    <a:pt x="416" y="895"/>
                  </a:cubicBezTo>
                  <a:cubicBezTo>
                    <a:pt x="416" y="899"/>
                    <a:pt x="416" y="904"/>
                    <a:pt x="417" y="906"/>
                  </a:cubicBezTo>
                  <a:cubicBezTo>
                    <a:pt x="417" y="906"/>
                    <a:pt x="418" y="906"/>
                    <a:pt x="418" y="906"/>
                  </a:cubicBezTo>
                  <a:cubicBezTo>
                    <a:pt x="420" y="906"/>
                    <a:pt x="425" y="903"/>
                    <a:pt x="428" y="900"/>
                  </a:cubicBezTo>
                  <a:cubicBezTo>
                    <a:pt x="429" y="898"/>
                    <a:pt x="431" y="897"/>
                    <a:pt x="432" y="897"/>
                  </a:cubicBezTo>
                  <a:cubicBezTo>
                    <a:pt x="433" y="897"/>
                    <a:pt x="434" y="898"/>
                    <a:pt x="435" y="899"/>
                  </a:cubicBezTo>
                  <a:cubicBezTo>
                    <a:pt x="437" y="900"/>
                    <a:pt x="439" y="901"/>
                    <a:pt x="437" y="906"/>
                  </a:cubicBezTo>
                  <a:cubicBezTo>
                    <a:pt x="435" y="910"/>
                    <a:pt x="434" y="915"/>
                    <a:pt x="435" y="917"/>
                  </a:cubicBezTo>
                  <a:cubicBezTo>
                    <a:pt x="435" y="917"/>
                    <a:pt x="436" y="918"/>
                    <a:pt x="437" y="918"/>
                  </a:cubicBezTo>
                  <a:cubicBezTo>
                    <a:pt x="439" y="918"/>
                    <a:pt x="443" y="916"/>
                    <a:pt x="446" y="914"/>
                  </a:cubicBezTo>
                  <a:cubicBezTo>
                    <a:pt x="448" y="913"/>
                    <a:pt x="449" y="913"/>
                    <a:pt x="451" y="913"/>
                  </a:cubicBezTo>
                  <a:cubicBezTo>
                    <a:pt x="452" y="913"/>
                    <a:pt x="453" y="914"/>
                    <a:pt x="454" y="915"/>
                  </a:cubicBezTo>
                  <a:cubicBezTo>
                    <a:pt x="456" y="917"/>
                    <a:pt x="457" y="919"/>
                    <a:pt x="453" y="923"/>
                  </a:cubicBezTo>
                  <a:cubicBezTo>
                    <a:pt x="451" y="926"/>
                    <a:pt x="448" y="930"/>
                    <a:pt x="448" y="933"/>
                  </a:cubicBezTo>
                  <a:cubicBezTo>
                    <a:pt x="449" y="934"/>
                    <a:pt x="452" y="934"/>
                    <a:pt x="454" y="934"/>
                  </a:cubicBezTo>
                  <a:cubicBezTo>
                    <a:pt x="456" y="934"/>
                    <a:pt x="458" y="934"/>
                    <a:pt x="460" y="934"/>
                  </a:cubicBezTo>
                  <a:cubicBezTo>
                    <a:pt x="461" y="933"/>
                    <a:pt x="462" y="933"/>
                    <a:pt x="463" y="933"/>
                  </a:cubicBezTo>
                  <a:cubicBezTo>
                    <a:pt x="466" y="933"/>
                    <a:pt x="466" y="935"/>
                    <a:pt x="467" y="937"/>
                  </a:cubicBezTo>
                  <a:cubicBezTo>
                    <a:pt x="468" y="939"/>
                    <a:pt x="469" y="941"/>
                    <a:pt x="464" y="944"/>
                  </a:cubicBezTo>
                  <a:cubicBezTo>
                    <a:pt x="460" y="946"/>
                    <a:pt x="457" y="950"/>
                    <a:pt x="456" y="952"/>
                  </a:cubicBezTo>
                  <a:cubicBezTo>
                    <a:pt x="457" y="954"/>
                    <a:pt x="462" y="956"/>
                    <a:pt x="467" y="956"/>
                  </a:cubicBezTo>
                  <a:cubicBezTo>
                    <a:pt x="473" y="957"/>
                    <a:pt x="473" y="959"/>
                    <a:pt x="473" y="962"/>
                  </a:cubicBezTo>
                  <a:cubicBezTo>
                    <a:pt x="473" y="964"/>
                    <a:pt x="473" y="967"/>
                    <a:pt x="468" y="968"/>
                  </a:cubicBezTo>
                  <a:cubicBezTo>
                    <a:pt x="464" y="968"/>
                    <a:pt x="459" y="970"/>
                    <a:pt x="458" y="972"/>
                  </a:cubicBezTo>
                  <a:cubicBezTo>
                    <a:pt x="458" y="975"/>
                    <a:pt x="463" y="978"/>
                    <a:pt x="467" y="980"/>
                  </a:cubicBezTo>
                  <a:cubicBezTo>
                    <a:pt x="472" y="982"/>
                    <a:pt x="471" y="985"/>
                    <a:pt x="471" y="987"/>
                  </a:cubicBezTo>
                  <a:cubicBezTo>
                    <a:pt x="470" y="989"/>
                    <a:pt x="470" y="991"/>
                    <a:pt x="466" y="991"/>
                  </a:cubicBezTo>
                  <a:cubicBezTo>
                    <a:pt x="465" y="991"/>
                    <a:pt x="465" y="991"/>
                    <a:pt x="464" y="991"/>
                  </a:cubicBezTo>
                  <a:cubicBezTo>
                    <a:pt x="463" y="991"/>
                    <a:pt x="462" y="991"/>
                    <a:pt x="461" y="991"/>
                  </a:cubicBezTo>
                  <a:cubicBezTo>
                    <a:pt x="458" y="991"/>
                    <a:pt x="455" y="991"/>
                    <a:pt x="453" y="993"/>
                  </a:cubicBezTo>
                  <a:cubicBezTo>
                    <a:pt x="453" y="995"/>
                    <a:pt x="456" y="1000"/>
                    <a:pt x="459" y="1003"/>
                  </a:cubicBezTo>
                  <a:cubicBezTo>
                    <a:pt x="464" y="1006"/>
                    <a:pt x="462" y="1008"/>
                    <a:pt x="461" y="1010"/>
                  </a:cubicBezTo>
                  <a:cubicBezTo>
                    <a:pt x="460" y="1011"/>
                    <a:pt x="459" y="1013"/>
                    <a:pt x="457" y="1013"/>
                  </a:cubicBezTo>
                  <a:cubicBezTo>
                    <a:pt x="456" y="1013"/>
                    <a:pt x="455" y="1013"/>
                    <a:pt x="453" y="1012"/>
                  </a:cubicBezTo>
                  <a:cubicBezTo>
                    <a:pt x="450" y="1011"/>
                    <a:pt x="447" y="1010"/>
                    <a:pt x="444" y="1010"/>
                  </a:cubicBezTo>
                  <a:cubicBezTo>
                    <a:pt x="443" y="1010"/>
                    <a:pt x="441" y="1010"/>
                    <a:pt x="441" y="1011"/>
                  </a:cubicBezTo>
                  <a:cubicBezTo>
                    <a:pt x="440" y="1013"/>
                    <a:pt x="441" y="1019"/>
                    <a:pt x="444" y="1023"/>
                  </a:cubicBezTo>
                  <a:cubicBezTo>
                    <a:pt x="447" y="1028"/>
                    <a:pt x="445" y="1029"/>
                    <a:pt x="443" y="1031"/>
                  </a:cubicBezTo>
                  <a:cubicBezTo>
                    <a:pt x="442" y="1031"/>
                    <a:pt x="441" y="1032"/>
                    <a:pt x="440" y="1032"/>
                  </a:cubicBezTo>
                  <a:cubicBezTo>
                    <a:pt x="439" y="1032"/>
                    <a:pt x="437" y="1032"/>
                    <a:pt x="435" y="1030"/>
                  </a:cubicBezTo>
                  <a:cubicBezTo>
                    <a:pt x="432" y="1027"/>
                    <a:pt x="428" y="1025"/>
                    <a:pt x="425" y="1025"/>
                  </a:cubicBezTo>
                  <a:cubicBezTo>
                    <a:pt x="425" y="1025"/>
                    <a:pt x="425" y="1025"/>
                    <a:pt x="424" y="1025"/>
                  </a:cubicBezTo>
                  <a:cubicBezTo>
                    <a:pt x="423" y="1027"/>
                    <a:pt x="423" y="1032"/>
                    <a:pt x="424" y="1036"/>
                  </a:cubicBezTo>
                  <a:cubicBezTo>
                    <a:pt x="426" y="1042"/>
                    <a:pt x="423" y="1043"/>
                    <a:pt x="421" y="1043"/>
                  </a:cubicBezTo>
                  <a:cubicBezTo>
                    <a:pt x="420" y="1044"/>
                    <a:pt x="419" y="1044"/>
                    <a:pt x="418" y="1044"/>
                  </a:cubicBezTo>
                  <a:cubicBezTo>
                    <a:pt x="417" y="1044"/>
                    <a:pt x="416" y="1043"/>
                    <a:pt x="414" y="1040"/>
                  </a:cubicBezTo>
                  <a:cubicBezTo>
                    <a:pt x="412" y="1037"/>
                    <a:pt x="408" y="1033"/>
                    <a:pt x="405" y="1032"/>
                  </a:cubicBezTo>
                  <a:cubicBezTo>
                    <a:pt x="403" y="1034"/>
                    <a:pt x="402" y="1039"/>
                    <a:pt x="402" y="1043"/>
                  </a:cubicBezTo>
                  <a:cubicBezTo>
                    <a:pt x="402" y="1049"/>
                    <a:pt x="399" y="1049"/>
                    <a:pt x="397" y="1049"/>
                  </a:cubicBezTo>
                  <a:cubicBezTo>
                    <a:pt x="396" y="1049"/>
                    <a:pt x="396" y="1049"/>
                    <a:pt x="395" y="1049"/>
                  </a:cubicBezTo>
                  <a:cubicBezTo>
                    <a:pt x="393" y="1049"/>
                    <a:pt x="392" y="1048"/>
                    <a:pt x="391" y="1044"/>
                  </a:cubicBezTo>
                  <a:cubicBezTo>
                    <a:pt x="390" y="1040"/>
                    <a:pt x="387" y="1035"/>
                    <a:pt x="385" y="1034"/>
                  </a:cubicBezTo>
                  <a:cubicBezTo>
                    <a:pt x="383" y="1035"/>
                    <a:pt x="380" y="1039"/>
                    <a:pt x="378" y="1043"/>
                  </a:cubicBezTo>
                  <a:cubicBezTo>
                    <a:pt x="377" y="1046"/>
                    <a:pt x="375" y="1047"/>
                    <a:pt x="374" y="1047"/>
                  </a:cubicBezTo>
                  <a:cubicBezTo>
                    <a:pt x="373" y="1047"/>
                    <a:pt x="372" y="1047"/>
                    <a:pt x="371" y="1047"/>
                  </a:cubicBezTo>
                  <a:cubicBezTo>
                    <a:pt x="369" y="1046"/>
                    <a:pt x="367" y="1046"/>
                    <a:pt x="367" y="1040"/>
                  </a:cubicBezTo>
                  <a:cubicBezTo>
                    <a:pt x="368" y="1035"/>
                    <a:pt x="367" y="1030"/>
                    <a:pt x="365" y="1028"/>
                  </a:cubicBezTo>
                  <a:cubicBezTo>
                    <a:pt x="362" y="1029"/>
                    <a:pt x="358" y="1032"/>
                    <a:pt x="356" y="1035"/>
                  </a:cubicBezTo>
                  <a:cubicBezTo>
                    <a:pt x="354" y="1037"/>
                    <a:pt x="353" y="1038"/>
                    <a:pt x="351" y="1038"/>
                  </a:cubicBezTo>
                  <a:cubicBezTo>
                    <a:pt x="350" y="1038"/>
                    <a:pt x="349" y="1037"/>
                    <a:pt x="348" y="1037"/>
                  </a:cubicBezTo>
                  <a:cubicBezTo>
                    <a:pt x="346" y="1036"/>
                    <a:pt x="344" y="1035"/>
                    <a:pt x="346" y="1029"/>
                  </a:cubicBezTo>
                  <a:cubicBezTo>
                    <a:pt x="348" y="1025"/>
                    <a:pt x="349" y="1019"/>
                    <a:pt x="348" y="1017"/>
                  </a:cubicBezTo>
                  <a:cubicBezTo>
                    <a:pt x="347" y="1017"/>
                    <a:pt x="347" y="1017"/>
                    <a:pt x="347" y="1017"/>
                  </a:cubicBezTo>
                  <a:cubicBezTo>
                    <a:pt x="344" y="1017"/>
                    <a:pt x="340" y="1019"/>
                    <a:pt x="337" y="1021"/>
                  </a:cubicBezTo>
                  <a:cubicBezTo>
                    <a:pt x="335" y="1022"/>
                    <a:pt x="334" y="1022"/>
                    <a:pt x="333" y="1022"/>
                  </a:cubicBezTo>
                  <a:cubicBezTo>
                    <a:pt x="331" y="1022"/>
                    <a:pt x="330" y="1021"/>
                    <a:pt x="329" y="1020"/>
                  </a:cubicBezTo>
                  <a:cubicBezTo>
                    <a:pt x="328" y="1018"/>
                    <a:pt x="326" y="1017"/>
                    <a:pt x="330" y="1012"/>
                  </a:cubicBezTo>
                  <a:cubicBezTo>
                    <a:pt x="332" y="1009"/>
                    <a:pt x="335" y="1004"/>
                    <a:pt x="334" y="1001"/>
                  </a:cubicBezTo>
                  <a:cubicBezTo>
                    <a:pt x="333" y="1001"/>
                    <a:pt x="332" y="1001"/>
                    <a:pt x="330" y="1001"/>
                  </a:cubicBezTo>
                  <a:cubicBezTo>
                    <a:pt x="328" y="1001"/>
                    <a:pt x="325" y="1001"/>
                    <a:pt x="323" y="1002"/>
                  </a:cubicBezTo>
                  <a:cubicBezTo>
                    <a:pt x="322" y="1002"/>
                    <a:pt x="321" y="1002"/>
                    <a:pt x="320" y="1002"/>
                  </a:cubicBezTo>
                  <a:cubicBezTo>
                    <a:pt x="317" y="1002"/>
                    <a:pt x="317" y="1000"/>
                    <a:pt x="316" y="999"/>
                  </a:cubicBezTo>
                  <a:cubicBezTo>
                    <a:pt x="315" y="997"/>
                    <a:pt x="314" y="994"/>
                    <a:pt x="319" y="991"/>
                  </a:cubicBezTo>
                  <a:cubicBezTo>
                    <a:pt x="323" y="989"/>
                    <a:pt x="326" y="985"/>
                    <a:pt x="327" y="982"/>
                  </a:cubicBezTo>
                  <a:cubicBezTo>
                    <a:pt x="325" y="981"/>
                    <a:pt x="320" y="979"/>
                    <a:pt x="316" y="979"/>
                  </a:cubicBezTo>
                  <a:cubicBezTo>
                    <a:pt x="310" y="979"/>
                    <a:pt x="310" y="976"/>
                    <a:pt x="310" y="974"/>
                  </a:cubicBezTo>
                  <a:cubicBezTo>
                    <a:pt x="310" y="972"/>
                    <a:pt x="309" y="969"/>
                    <a:pt x="315" y="968"/>
                  </a:cubicBezTo>
                  <a:cubicBezTo>
                    <a:pt x="319" y="967"/>
                    <a:pt x="324" y="964"/>
                    <a:pt x="325" y="962"/>
                  </a:cubicBezTo>
                  <a:cubicBezTo>
                    <a:pt x="324" y="960"/>
                    <a:pt x="320" y="957"/>
                    <a:pt x="316" y="955"/>
                  </a:cubicBezTo>
                  <a:cubicBezTo>
                    <a:pt x="311" y="954"/>
                    <a:pt x="311" y="951"/>
                    <a:pt x="312" y="949"/>
                  </a:cubicBezTo>
                  <a:cubicBezTo>
                    <a:pt x="312" y="947"/>
                    <a:pt x="313" y="944"/>
                    <a:pt x="317" y="944"/>
                  </a:cubicBezTo>
                  <a:cubicBezTo>
                    <a:pt x="317" y="944"/>
                    <a:pt x="318" y="944"/>
                    <a:pt x="318" y="945"/>
                  </a:cubicBezTo>
                  <a:cubicBezTo>
                    <a:pt x="319" y="945"/>
                    <a:pt x="319" y="945"/>
                    <a:pt x="320" y="945"/>
                  </a:cubicBezTo>
                  <a:cubicBezTo>
                    <a:pt x="324" y="945"/>
                    <a:pt x="329" y="944"/>
                    <a:pt x="330" y="942"/>
                  </a:cubicBezTo>
                  <a:cubicBezTo>
                    <a:pt x="330" y="939"/>
                    <a:pt x="326" y="936"/>
                    <a:pt x="323" y="933"/>
                  </a:cubicBezTo>
                  <a:cubicBezTo>
                    <a:pt x="319" y="929"/>
                    <a:pt x="320" y="927"/>
                    <a:pt x="321" y="925"/>
                  </a:cubicBezTo>
                  <a:cubicBezTo>
                    <a:pt x="322" y="924"/>
                    <a:pt x="323" y="922"/>
                    <a:pt x="325" y="922"/>
                  </a:cubicBezTo>
                  <a:cubicBezTo>
                    <a:pt x="326" y="922"/>
                    <a:pt x="327" y="923"/>
                    <a:pt x="329" y="923"/>
                  </a:cubicBezTo>
                  <a:cubicBezTo>
                    <a:pt x="332" y="924"/>
                    <a:pt x="335" y="925"/>
                    <a:pt x="338" y="925"/>
                  </a:cubicBezTo>
                  <a:cubicBezTo>
                    <a:pt x="339" y="925"/>
                    <a:pt x="341" y="925"/>
                    <a:pt x="341" y="924"/>
                  </a:cubicBezTo>
                  <a:cubicBezTo>
                    <a:pt x="341" y="924"/>
                    <a:pt x="341" y="924"/>
                    <a:pt x="341" y="924"/>
                  </a:cubicBezTo>
                  <a:cubicBezTo>
                    <a:pt x="342" y="924"/>
                    <a:pt x="342" y="924"/>
                    <a:pt x="342" y="924"/>
                  </a:cubicBezTo>
                  <a:cubicBezTo>
                    <a:pt x="342" y="924"/>
                    <a:pt x="342" y="924"/>
                    <a:pt x="342" y="924"/>
                  </a:cubicBezTo>
                  <a:cubicBezTo>
                    <a:pt x="343" y="922"/>
                    <a:pt x="342" y="916"/>
                    <a:pt x="339" y="912"/>
                  </a:cubicBezTo>
                  <a:cubicBezTo>
                    <a:pt x="336" y="907"/>
                    <a:pt x="339" y="905"/>
                    <a:pt x="340" y="904"/>
                  </a:cubicBezTo>
                  <a:cubicBezTo>
                    <a:pt x="341" y="903"/>
                    <a:pt x="342" y="902"/>
                    <a:pt x="344" y="902"/>
                  </a:cubicBezTo>
                  <a:cubicBezTo>
                    <a:pt x="345" y="902"/>
                    <a:pt x="346" y="903"/>
                    <a:pt x="348" y="905"/>
                  </a:cubicBezTo>
                  <a:cubicBezTo>
                    <a:pt x="351" y="907"/>
                    <a:pt x="355" y="910"/>
                    <a:pt x="358" y="910"/>
                  </a:cubicBezTo>
                  <a:cubicBezTo>
                    <a:pt x="359" y="908"/>
                    <a:pt x="360" y="903"/>
                    <a:pt x="359" y="898"/>
                  </a:cubicBezTo>
                  <a:cubicBezTo>
                    <a:pt x="357" y="893"/>
                    <a:pt x="360" y="892"/>
                    <a:pt x="362" y="891"/>
                  </a:cubicBezTo>
                  <a:cubicBezTo>
                    <a:pt x="363" y="891"/>
                    <a:pt x="364" y="891"/>
                    <a:pt x="365" y="891"/>
                  </a:cubicBezTo>
                  <a:cubicBezTo>
                    <a:pt x="366" y="891"/>
                    <a:pt x="368" y="891"/>
                    <a:pt x="369" y="894"/>
                  </a:cubicBezTo>
                  <a:cubicBezTo>
                    <a:pt x="371" y="898"/>
                    <a:pt x="375" y="902"/>
                    <a:pt x="377" y="903"/>
                  </a:cubicBezTo>
                  <a:moveTo>
                    <a:pt x="252" y="848"/>
                  </a:moveTo>
                  <a:cubicBezTo>
                    <a:pt x="255" y="845"/>
                    <a:pt x="259" y="844"/>
                    <a:pt x="264" y="843"/>
                  </a:cubicBezTo>
                  <a:cubicBezTo>
                    <a:pt x="264" y="834"/>
                    <a:pt x="264" y="834"/>
                    <a:pt x="264" y="834"/>
                  </a:cubicBezTo>
                  <a:cubicBezTo>
                    <a:pt x="279" y="834"/>
                    <a:pt x="279" y="834"/>
                    <a:pt x="279" y="834"/>
                  </a:cubicBezTo>
                  <a:cubicBezTo>
                    <a:pt x="279" y="843"/>
                    <a:pt x="279" y="843"/>
                    <a:pt x="279" y="843"/>
                  </a:cubicBezTo>
                  <a:cubicBezTo>
                    <a:pt x="284" y="844"/>
                    <a:pt x="288" y="845"/>
                    <a:pt x="291" y="848"/>
                  </a:cubicBezTo>
                  <a:cubicBezTo>
                    <a:pt x="298" y="841"/>
                    <a:pt x="298" y="841"/>
                    <a:pt x="298" y="841"/>
                  </a:cubicBezTo>
                  <a:cubicBezTo>
                    <a:pt x="309" y="852"/>
                    <a:pt x="309" y="852"/>
                    <a:pt x="309" y="852"/>
                  </a:cubicBezTo>
                  <a:cubicBezTo>
                    <a:pt x="302" y="858"/>
                    <a:pt x="302" y="858"/>
                    <a:pt x="302" y="858"/>
                  </a:cubicBezTo>
                  <a:cubicBezTo>
                    <a:pt x="304" y="862"/>
                    <a:pt x="306" y="866"/>
                    <a:pt x="307" y="870"/>
                  </a:cubicBezTo>
                  <a:cubicBezTo>
                    <a:pt x="316" y="870"/>
                    <a:pt x="316" y="870"/>
                    <a:pt x="316" y="870"/>
                  </a:cubicBezTo>
                  <a:cubicBezTo>
                    <a:pt x="316" y="885"/>
                    <a:pt x="316" y="885"/>
                    <a:pt x="316" y="885"/>
                  </a:cubicBezTo>
                  <a:cubicBezTo>
                    <a:pt x="307" y="885"/>
                    <a:pt x="307" y="885"/>
                    <a:pt x="307" y="885"/>
                  </a:cubicBezTo>
                  <a:cubicBezTo>
                    <a:pt x="306" y="889"/>
                    <a:pt x="304" y="893"/>
                    <a:pt x="302" y="897"/>
                  </a:cubicBezTo>
                  <a:cubicBezTo>
                    <a:pt x="309" y="903"/>
                    <a:pt x="309" y="903"/>
                    <a:pt x="309" y="903"/>
                  </a:cubicBezTo>
                  <a:cubicBezTo>
                    <a:pt x="298" y="913"/>
                    <a:pt x="298" y="913"/>
                    <a:pt x="298" y="913"/>
                  </a:cubicBezTo>
                  <a:cubicBezTo>
                    <a:pt x="291" y="907"/>
                    <a:pt x="291" y="907"/>
                    <a:pt x="291" y="907"/>
                  </a:cubicBezTo>
                  <a:cubicBezTo>
                    <a:pt x="288" y="909"/>
                    <a:pt x="284" y="911"/>
                    <a:pt x="279" y="912"/>
                  </a:cubicBezTo>
                  <a:cubicBezTo>
                    <a:pt x="279" y="921"/>
                    <a:pt x="279" y="921"/>
                    <a:pt x="279" y="921"/>
                  </a:cubicBezTo>
                  <a:cubicBezTo>
                    <a:pt x="264" y="921"/>
                    <a:pt x="264" y="921"/>
                    <a:pt x="264" y="921"/>
                  </a:cubicBezTo>
                  <a:cubicBezTo>
                    <a:pt x="264" y="912"/>
                    <a:pt x="264" y="912"/>
                    <a:pt x="264" y="912"/>
                  </a:cubicBezTo>
                  <a:cubicBezTo>
                    <a:pt x="259" y="911"/>
                    <a:pt x="255" y="909"/>
                    <a:pt x="252" y="907"/>
                  </a:cubicBezTo>
                  <a:cubicBezTo>
                    <a:pt x="245" y="913"/>
                    <a:pt x="245" y="913"/>
                    <a:pt x="245" y="913"/>
                  </a:cubicBezTo>
                  <a:cubicBezTo>
                    <a:pt x="234" y="903"/>
                    <a:pt x="234" y="903"/>
                    <a:pt x="234" y="903"/>
                  </a:cubicBezTo>
                  <a:cubicBezTo>
                    <a:pt x="241" y="897"/>
                    <a:pt x="241" y="897"/>
                    <a:pt x="241" y="897"/>
                  </a:cubicBezTo>
                  <a:cubicBezTo>
                    <a:pt x="238" y="893"/>
                    <a:pt x="237" y="889"/>
                    <a:pt x="236" y="885"/>
                  </a:cubicBezTo>
                  <a:cubicBezTo>
                    <a:pt x="227" y="885"/>
                    <a:pt x="227" y="885"/>
                    <a:pt x="227" y="885"/>
                  </a:cubicBezTo>
                  <a:cubicBezTo>
                    <a:pt x="227" y="870"/>
                    <a:pt x="227" y="870"/>
                    <a:pt x="227" y="870"/>
                  </a:cubicBezTo>
                  <a:cubicBezTo>
                    <a:pt x="236" y="870"/>
                    <a:pt x="236" y="870"/>
                    <a:pt x="236" y="870"/>
                  </a:cubicBezTo>
                  <a:cubicBezTo>
                    <a:pt x="237" y="866"/>
                    <a:pt x="238" y="862"/>
                    <a:pt x="241" y="858"/>
                  </a:cubicBezTo>
                  <a:cubicBezTo>
                    <a:pt x="234" y="852"/>
                    <a:pt x="234" y="852"/>
                    <a:pt x="234" y="852"/>
                  </a:cubicBezTo>
                  <a:cubicBezTo>
                    <a:pt x="245" y="841"/>
                    <a:pt x="245" y="841"/>
                    <a:pt x="245" y="841"/>
                  </a:cubicBezTo>
                  <a:cubicBezTo>
                    <a:pt x="252" y="848"/>
                    <a:pt x="252" y="848"/>
                    <a:pt x="252" y="848"/>
                  </a:cubicBezTo>
                  <a:moveTo>
                    <a:pt x="902" y="657"/>
                  </a:moveTo>
                  <a:cubicBezTo>
                    <a:pt x="899" y="657"/>
                    <a:pt x="896" y="656"/>
                    <a:pt x="893" y="654"/>
                  </a:cubicBezTo>
                  <a:cubicBezTo>
                    <a:pt x="888" y="649"/>
                    <a:pt x="887" y="642"/>
                    <a:pt x="890" y="636"/>
                  </a:cubicBezTo>
                  <a:cubicBezTo>
                    <a:pt x="912" y="652"/>
                    <a:pt x="912" y="652"/>
                    <a:pt x="912" y="652"/>
                  </a:cubicBezTo>
                  <a:cubicBezTo>
                    <a:pt x="909" y="655"/>
                    <a:pt x="905" y="657"/>
                    <a:pt x="902" y="657"/>
                  </a:cubicBezTo>
                  <a:moveTo>
                    <a:pt x="914" y="650"/>
                  </a:moveTo>
                  <a:cubicBezTo>
                    <a:pt x="892" y="634"/>
                    <a:pt x="892" y="634"/>
                    <a:pt x="892" y="634"/>
                  </a:cubicBezTo>
                  <a:cubicBezTo>
                    <a:pt x="894" y="631"/>
                    <a:pt x="898" y="629"/>
                    <a:pt x="902" y="629"/>
                  </a:cubicBezTo>
                  <a:cubicBezTo>
                    <a:pt x="905" y="629"/>
                    <a:pt x="908" y="630"/>
                    <a:pt x="910" y="633"/>
                  </a:cubicBezTo>
                  <a:cubicBezTo>
                    <a:pt x="916" y="637"/>
                    <a:pt x="917" y="644"/>
                    <a:pt x="914" y="650"/>
                  </a:cubicBezTo>
                  <a:moveTo>
                    <a:pt x="183" y="568"/>
                  </a:moveTo>
                  <a:cubicBezTo>
                    <a:pt x="180" y="568"/>
                    <a:pt x="177" y="567"/>
                    <a:pt x="174" y="565"/>
                  </a:cubicBezTo>
                  <a:cubicBezTo>
                    <a:pt x="169" y="561"/>
                    <a:pt x="168" y="554"/>
                    <a:pt x="171" y="548"/>
                  </a:cubicBezTo>
                  <a:cubicBezTo>
                    <a:pt x="193" y="564"/>
                    <a:pt x="193" y="564"/>
                    <a:pt x="193" y="564"/>
                  </a:cubicBezTo>
                  <a:cubicBezTo>
                    <a:pt x="190" y="567"/>
                    <a:pt x="187" y="568"/>
                    <a:pt x="183" y="568"/>
                  </a:cubicBezTo>
                  <a:moveTo>
                    <a:pt x="700" y="561"/>
                  </a:moveTo>
                  <a:cubicBezTo>
                    <a:pt x="702" y="559"/>
                    <a:pt x="704" y="554"/>
                    <a:pt x="704" y="550"/>
                  </a:cubicBezTo>
                  <a:cubicBezTo>
                    <a:pt x="705" y="544"/>
                    <a:pt x="707" y="544"/>
                    <a:pt x="709" y="544"/>
                  </a:cubicBezTo>
                  <a:cubicBezTo>
                    <a:pt x="710" y="544"/>
                    <a:pt x="710" y="544"/>
                    <a:pt x="711" y="544"/>
                  </a:cubicBezTo>
                  <a:cubicBezTo>
                    <a:pt x="713" y="544"/>
                    <a:pt x="715" y="544"/>
                    <a:pt x="715" y="549"/>
                  </a:cubicBezTo>
                  <a:cubicBezTo>
                    <a:pt x="716" y="553"/>
                    <a:pt x="718" y="558"/>
                    <a:pt x="720" y="559"/>
                  </a:cubicBezTo>
                  <a:cubicBezTo>
                    <a:pt x="722" y="559"/>
                    <a:pt x="726" y="554"/>
                    <a:pt x="728" y="550"/>
                  </a:cubicBezTo>
                  <a:cubicBezTo>
                    <a:pt x="729" y="547"/>
                    <a:pt x="731" y="546"/>
                    <a:pt x="732" y="546"/>
                  </a:cubicBezTo>
                  <a:cubicBezTo>
                    <a:pt x="733" y="546"/>
                    <a:pt x="734" y="546"/>
                    <a:pt x="735" y="546"/>
                  </a:cubicBezTo>
                  <a:cubicBezTo>
                    <a:pt x="737" y="547"/>
                    <a:pt x="739" y="547"/>
                    <a:pt x="739" y="553"/>
                  </a:cubicBezTo>
                  <a:cubicBezTo>
                    <a:pt x="738" y="557"/>
                    <a:pt x="739" y="562"/>
                    <a:pt x="740" y="564"/>
                  </a:cubicBezTo>
                  <a:cubicBezTo>
                    <a:pt x="740" y="564"/>
                    <a:pt x="740" y="564"/>
                    <a:pt x="740" y="564"/>
                  </a:cubicBezTo>
                  <a:cubicBezTo>
                    <a:pt x="743" y="564"/>
                    <a:pt x="747" y="561"/>
                    <a:pt x="750" y="558"/>
                  </a:cubicBezTo>
                  <a:cubicBezTo>
                    <a:pt x="752" y="556"/>
                    <a:pt x="753" y="555"/>
                    <a:pt x="755" y="555"/>
                  </a:cubicBezTo>
                  <a:cubicBezTo>
                    <a:pt x="756" y="555"/>
                    <a:pt x="757" y="556"/>
                    <a:pt x="758" y="557"/>
                  </a:cubicBezTo>
                  <a:cubicBezTo>
                    <a:pt x="760" y="558"/>
                    <a:pt x="762" y="559"/>
                    <a:pt x="760" y="564"/>
                  </a:cubicBezTo>
                  <a:cubicBezTo>
                    <a:pt x="758" y="568"/>
                    <a:pt x="757" y="573"/>
                    <a:pt x="757" y="575"/>
                  </a:cubicBezTo>
                  <a:cubicBezTo>
                    <a:pt x="758" y="575"/>
                    <a:pt x="758" y="575"/>
                    <a:pt x="759" y="575"/>
                  </a:cubicBezTo>
                  <a:cubicBezTo>
                    <a:pt x="762" y="575"/>
                    <a:pt x="766" y="574"/>
                    <a:pt x="769" y="572"/>
                  </a:cubicBezTo>
                  <a:cubicBezTo>
                    <a:pt x="771" y="571"/>
                    <a:pt x="772" y="571"/>
                    <a:pt x="773" y="571"/>
                  </a:cubicBezTo>
                  <a:cubicBezTo>
                    <a:pt x="775" y="571"/>
                    <a:pt x="776" y="572"/>
                    <a:pt x="777" y="573"/>
                  </a:cubicBezTo>
                  <a:cubicBezTo>
                    <a:pt x="778" y="575"/>
                    <a:pt x="780" y="577"/>
                    <a:pt x="776" y="581"/>
                  </a:cubicBezTo>
                  <a:cubicBezTo>
                    <a:pt x="773" y="584"/>
                    <a:pt x="771" y="588"/>
                    <a:pt x="771" y="591"/>
                  </a:cubicBezTo>
                  <a:cubicBezTo>
                    <a:pt x="772" y="592"/>
                    <a:pt x="774" y="592"/>
                    <a:pt x="777" y="592"/>
                  </a:cubicBezTo>
                  <a:cubicBezTo>
                    <a:pt x="779" y="592"/>
                    <a:pt x="781" y="592"/>
                    <a:pt x="783" y="592"/>
                  </a:cubicBezTo>
                  <a:cubicBezTo>
                    <a:pt x="784" y="591"/>
                    <a:pt x="785" y="591"/>
                    <a:pt x="785" y="591"/>
                  </a:cubicBezTo>
                  <a:cubicBezTo>
                    <a:pt x="789" y="591"/>
                    <a:pt x="789" y="593"/>
                    <a:pt x="790" y="595"/>
                  </a:cubicBezTo>
                  <a:cubicBezTo>
                    <a:pt x="790" y="597"/>
                    <a:pt x="792" y="599"/>
                    <a:pt x="787" y="602"/>
                  </a:cubicBezTo>
                  <a:cubicBezTo>
                    <a:pt x="783" y="604"/>
                    <a:pt x="779" y="607"/>
                    <a:pt x="779" y="610"/>
                  </a:cubicBezTo>
                  <a:cubicBezTo>
                    <a:pt x="780" y="612"/>
                    <a:pt x="785" y="614"/>
                    <a:pt x="790" y="614"/>
                  </a:cubicBezTo>
                  <a:cubicBezTo>
                    <a:pt x="795" y="615"/>
                    <a:pt x="795" y="617"/>
                    <a:pt x="795" y="620"/>
                  </a:cubicBezTo>
                  <a:cubicBezTo>
                    <a:pt x="795" y="622"/>
                    <a:pt x="796" y="624"/>
                    <a:pt x="790" y="626"/>
                  </a:cubicBezTo>
                  <a:cubicBezTo>
                    <a:pt x="786" y="626"/>
                    <a:pt x="782" y="628"/>
                    <a:pt x="780" y="630"/>
                  </a:cubicBezTo>
                  <a:cubicBezTo>
                    <a:pt x="781" y="633"/>
                    <a:pt x="785" y="636"/>
                    <a:pt x="789" y="638"/>
                  </a:cubicBezTo>
                  <a:cubicBezTo>
                    <a:pt x="795" y="640"/>
                    <a:pt x="794" y="643"/>
                    <a:pt x="793" y="645"/>
                  </a:cubicBezTo>
                  <a:cubicBezTo>
                    <a:pt x="793" y="647"/>
                    <a:pt x="792" y="649"/>
                    <a:pt x="788" y="649"/>
                  </a:cubicBezTo>
                  <a:cubicBezTo>
                    <a:pt x="788" y="649"/>
                    <a:pt x="787" y="649"/>
                    <a:pt x="787" y="649"/>
                  </a:cubicBezTo>
                  <a:cubicBezTo>
                    <a:pt x="786" y="649"/>
                    <a:pt x="785" y="649"/>
                    <a:pt x="784" y="649"/>
                  </a:cubicBezTo>
                  <a:cubicBezTo>
                    <a:pt x="781" y="649"/>
                    <a:pt x="777" y="649"/>
                    <a:pt x="775" y="650"/>
                  </a:cubicBezTo>
                  <a:cubicBezTo>
                    <a:pt x="775" y="653"/>
                    <a:pt x="779" y="657"/>
                    <a:pt x="782" y="660"/>
                  </a:cubicBezTo>
                  <a:cubicBezTo>
                    <a:pt x="786" y="664"/>
                    <a:pt x="785" y="666"/>
                    <a:pt x="783" y="668"/>
                  </a:cubicBezTo>
                  <a:cubicBezTo>
                    <a:pt x="783" y="669"/>
                    <a:pt x="782" y="671"/>
                    <a:pt x="780" y="671"/>
                  </a:cubicBezTo>
                  <a:cubicBezTo>
                    <a:pt x="779" y="671"/>
                    <a:pt x="777" y="671"/>
                    <a:pt x="776" y="670"/>
                  </a:cubicBezTo>
                  <a:cubicBezTo>
                    <a:pt x="773" y="669"/>
                    <a:pt x="769" y="668"/>
                    <a:pt x="767" y="668"/>
                  </a:cubicBezTo>
                  <a:cubicBezTo>
                    <a:pt x="765" y="668"/>
                    <a:pt x="764" y="668"/>
                    <a:pt x="763" y="669"/>
                  </a:cubicBezTo>
                  <a:cubicBezTo>
                    <a:pt x="762" y="671"/>
                    <a:pt x="764" y="677"/>
                    <a:pt x="766" y="681"/>
                  </a:cubicBezTo>
                  <a:cubicBezTo>
                    <a:pt x="770" y="686"/>
                    <a:pt x="767" y="687"/>
                    <a:pt x="766" y="689"/>
                  </a:cubicBezTo>
                  <a:cubicBezTo>
                    <a:pt x="765" y="689"/>
                    <a:pt x="764" y="690"/>
                    <a:pt x="762" y="690"/>
                  </a:cubicBezTo>
                  <a:cubicBezTo>
                    <a:pt x="761" y="690"/>
                    <a:pt x="760" y="690"/>
                    <a:pt x="758" y="688"/>
                  </a:cubicBezTo>
                  <a:cubicBezTo>
                    <a:pt x="755" y="685"/>
                    <a:pt x="750" y="683"/>
                    <a:pt x="748" y="683"/>
                  </a:cubicBezTo>
                  <a:cubicBezTo>
                    <a:pt x="748" y="683"/>
                    <a:pt x="747" y="683"/>
                    <a:pt x="747" y="683"/>
                  </a:cubicBezTo>
                  <a:cubicBezTo>
                    <a:pt x="746" y="685"/>
                    <a:pt x="746" y="690"/>
                    <a:pt x="747" y="694"/>
                  </a:cubicBezTo>
                  <a:cubicBezTo>
                    <a:pt x="749" y="700"/>
                    <a:pt x="746" y="700"/>
                    <a:pt x="744" y="701"/>
                  </a:cubicBezTo>
                  <a:cubicBezTo>
                    <a:pt x="743" y="702"/>
                    <a:pt x="742" y="702"/>
                    <a:pt x="741" y="702"/>
                  </a:cubicBezTo>
                  <a:cubicBezTo>
                    <a:pt x="740" y="702"/>
                    <a:pt x="738" y="701"/>
                    <a:pt x="737" y="698"/>
                  </a:cubicBezTo>
                  <a:cubicBezTo>
                    <a:pt x="734" y="695"/>
                    <a:pt x="730" y="691"/>
                    <a:pt x="728" y="690"/>
                  </a:cubicBezTo>
                  <a:cubicBezTo>
                    <a:pt x="726" y="692"/>
                    <a:pt x="725" y="697"/>
                    <a:pt x="724" y="701"/>
                  </a:cubicBezTo>
                  <a:cubicBezTo>
                    <a:pt x="724" y="707"/>
                    <a:pt x="721" y="707"/>
                    <a:pt x="719" y="707"/>
                  </a:cubicBezTo>
                  <a:cubicBezTo>
                    <a:pt x="719" y="707"/>
                    <a:pt x="718" y="707"/>
                    <a:pt x="718" y="707"/>
                  </a:cubicBezTo>
                  <a:cubicBezTo>
                    <a:pt x="716" y="707"/>
                    <a:pt x="714" y="706"/>
                    <a:pt x="713" y="702"/>
                  </a:cubicBezTo>
                  <a:cubicBezTo>
                    <a:pt x="712" y="697"/>
                    <a:pt x="710" y="692"/>
                    <a:pt x="707" y="691"/>
                  </a:cubicBezTo>
                  <a:cubicBezTo>
                    <a:pt x="705" y="693"/>
                    <a:pt x="702" y="697"/>
                    <a:pt x="701" y="700"/>
                  </a:cubicBezTo>
                  <a:cubicBezTo>
                    <a:pt x="699" y="704"/>
                    <a:pt x="698" y="705"/>
                    <a:pt x="696" y="705"/>
                  </a:cubicBezTo>
                  <a:cubicBezTo>
                    <a:pt x="696" y="705"/>
                    <a:pt x="695" y="705"/>
                    <a:pt x="694" y="704"/>
                  </a:cubicBezTo>
                  <a:cubicBezTo>
                    <a:pt x="692" y="704"/>
                    <a:pt x="689" y="704"/>
                    <a:pt x="690" y="698"/>
                  </a:cubicBezTo>
                  <a:cubicBezTo>
                    <a:pt x="690" y="693"/>
                    <a:pt x="689" y="688"/>
                    <a:pt x="687" y="686"/>
                  </a:cubicBezTo>
                  <a:cubicBezTo>
                    <a:pt x="685" y="687"/>
                    <a:pt x="681" y="690"/>
                    <a:pt x="678" y="693"/>
                  </a:cubicBezTo>
                  <a:cubicBezTo>
                    <a:pt x="677" y="695"/>
                    <a:pt x="675" y="696"/>
                    <a:pt x="674" y="696"/>
                  </a:cubicBezTo>
                  <a:cubicBezTo>
                    <a:pt x="673" y="696"/>
                    <a:pt x="672" y="695"/>
                    <a:pt x="671" y="695"/>
                  </a:cubicBezTo>
                  <a:cubicBezTo>
                    <a:pt x="669" y="693"/>
                    <a:pt x="666" y="692"/>
                    <a:pt x="669" y="687"/>
                  </a:cubicBezTo>
                  <a:cubicBezTo>
                    <a:pt x="671" y="683"/>
                    <a:pt x="671" y="677"/>
                    <a:pt x="670" y="675"/>
                  </a:cubicBezTo>
                  <a:cubicBezTo>
                    <a:pt x="670" y="675"/>
                    <a:pt x="670" y="675"/>
                    <a:pt x="669" y="675"/>
                  </a:cubicBezTo>
                  <a:cubicBezTo>
                    <a:pt x="667" y="675"/>
                    <a:pt x="663" y="677"/>
                    <a:pt x="660" y="679"/>
                  </a:cubicBezTo>
                  <a:cubicBezTo>
                    <a:pt x="658" y="680"/>
                    <a:pt x="656" y="680"/>
                    <a:pt x="655" y="680"/>
                  </a:cubicBezTo>
                  <a:cubicBezTo>
                    <a:pt x="654" y="680"/>
                    <a:pt x="653" y="679"/>
                    <a:pt x="652" y="678"/>
                  </a:cubicBezTo>
                  <a:cubicBezTo>
                    <a:pt x="650" y="676"/>
                    <a:pt x="648" y="675"/>
                    <a:pt x="652" y="670"/>
                  </a:cubicBezTo>
                  <a:cubicBezTo>
                    <a:pt x="655" y="667"/>
                    <a:pt x="658" y="662"/>
                    <a:pt x="657" y="659"/>
                  </a:cubicBezTo>
                  <a:cubicBezTo>
                    <a:pt x="656" y="659"/>
                    <a:pt x="654" y="659"/>
                    <a:pt x="652" y="659"/>
                  </a:cubicBezTo>
                  <a:cubicBezTo>
                    <a:pt x="650" y="659"/>
                    <a:pt x="648" y="659"/>
                    <a:pt x="646" y="660"/>
                  </a:cubicBezTo>
                  <a:cubicBezTo>
                    <a:pt x="645" y="660"/>
                    <a:pt x="644" y="660"/>
                    <a:pt x="643" y="660"/>
                  </a:cubicBezTo>
                  <a:cubicBezTo>
                    <a:pt x="640" y="660"/>
                    <a:pt x="639" y="658"/>
                    <a:pt x="639" y="656"/>
                  </a:cubicBezTo>
                  <a:cubicBezTo>
                    <a:pt x="638" y="654"/>
                    <a:pt x="636" y="652"/>
                    <a:pt x="641" y="649"/>
                  </a:cubicBezTo>
                  <a:cubicBezTo>
                    <a:pt x="645" y="647"/>
                    <a:pt x="649" y="643"/>
                    <a:pt x="649" y="640"/>
                  </a:cubicBezTo>
                  <a:cubicBezTo>
                    <a:pt x="647" y="639"/>
                    <a:pt x="643" y="637"/>
                    <a:pt x="639" y="637"/>
                  </a:cubicBezTo>
                  <a:cubicBezTo>
                    <a:pt x="633" y="637"/>
                    <a:pt x="633" y="634"/>
                    <a:pt x="633" y="632"/>
                  </a:cubicBezTo>
                  <a:cubicBezTo>
                    <a:pt x="632" y="630"/>
                    <a:pt x="632" y="627"/>
                    <a:pt x="638" y="626"/>
                  </a:cubicBezTo>
                  <a:cubicBezTo>
                    <a:pt x="642" y="625"/>
                    <a:pt x="647" y="622"/>
                    <a:pt x="648" y="620"/>
                  </a:cubicBezTo>
                  <a:cubicBezTo>
                    <a:pt x="647" y="618"/>
                    <a:pt x="642" y="615"/>
                    <a:pt x="639" y="613"/>
                  </a:cubicBezTo>
                  <a:cubicBezTo>
                    <a:pt x="633" y="611"/>
                    <a:pt x="634" y="609"/>
                    <a:pt x="635" y="607"/>
                  </a:cubicBezTo>
                  <a:cubicBezTo>
                    <a:pt x="635" y="605"/>
                    <a:pt x="635" y="602"/>
                    <a:pt x="640" y="602"/>
                  </a:cubicBezTo>
                  <a:cubicBezTo>
                    <a:pt x="640" y="602"/>
                    <a:pt x="641" y="602"/>
                    <a:pt x="641" y="602"/>
                  </a:cubicBezTo>
                  <a:cubicBezTo>
                    <a:pt x="642" y="602"/>
                    <a:pt x="642" y="602"/>
                    <a:pt x="642" y="602"/>
                  </a:cubicBezTo>
                  <a:cubicBezTo>
                    <a:pt x="647" y="602"/>
                    <a:pt x="651" y="602"/>
                    <a:pt x="653" y="600"/>
                  </a:cubicBezTo>
                  <a:cubicBezTo>
                    <a:pt x="652" y="597"/>
                    <a:pt x="649" y="594"/>
                    <a:pt x="646" y="591"/>
                  </a:cubicBezTo>
                  <a:cubicBezTo>
                    <a:pt x="641" y="587"/>
                    <a:pt x="643" y="585"/>
                    <a:pt x="644" y="583"/>
                  </a:cubicBezTo>
                  <a:cubicBezTo>
                    <a:pt x="645" y="582"/>
                    <a:pt x="646" y="580"/>
                    <a:pt x="648" y="580"/>
                  </a:cubicBezTo>
                  <a:cubicBezTo>
                    <a:pt x="649" y="580"/>
                    <a:pt x="650" y="581"/>
                    <a:pt x="652" y="581"/>
                  </a:cubicBezTo>
                  <a:cubicBezTo>
                    <a:pt x="654" y="582"/>
                    <a:pt x="658" y="583"/>
                    <a:pt x="660" y="583"/>
                  </a:cubicBezTo>
                  <a:cubicBezTo>
                    <a:pt x="662" y="583"/>
                    <a:pt x="663" y="583"/>
                    <a:pt x="664" y="582"/>
                  </a:cubicBezTo>
                  <a:cubicBezTo>
                    <a:pt x="664" y="582"/>
                    <a:pt x="664" y="582"/>
                    <a:pt x="664" y="582"/>
                  </a:cubicBezTo>
                  <a:cubicBezTo>
                    <a:pt x="664" y="582"/>
                    <a:pt x="664" y="582"/>
                    <a:pt x="664" y="582"/>
                  </a:cubicBezTo>
                  <a:cubicBezTo>
                    <a:pt x="664" y="582"/>
                    <a:pt x="664" y="582"/>
                    <a:pt x="664" y="582"/>
                  </a:cubicBezTo>
                  <a:cubicBezTo>
                    <a:pt x="666" y="580"/>
                    <a:pt x="664" y="574"/>
                    <a:pt x="662" y="570"/>
                  </a:cubicBezTo>
                  <a:cubicBezTo>
                    <a:pt x="659" y="564"/>
                    <a:pt x="661" y="563"/>
                    <a:pt x="663" y="562"/>
                  </a:cubicBezTo>
                  <a:cubicBezTo>
                    <a:pt x="664" y="561"/>
                    <a:pt x="665" y="560"/>
                    <a:pt x="666" y="560"/>
                  </a:cubicBezTo>
                  <a:cubicBezTo>
                    <a:pt x="667" y="560"/>
                    <a:pt x="669" y="561"/>
                    <a:pt x="671" y="563"/>
                  </a:cubicBezTo>
                  <a:cubicBezTo>
                    <a:pt x="674" y="565"/>
                    <a:pt x="678" y="568"/>
                    <a:pt x="680" y="568"/>
                  </a:cubicBezTo>
                  <a:cubicBezTo>
                    <a:pt x="682" y="566"/>
                    <a:pt x="682" y="561"/>
                    <a:pt x="681" y="556"/>
                  </a:cubicBezTo>
                  <a:cubicBezTo>
                    <a:pt x="680" y="550"/>
                    <a:pt x="683" y="550"/>
                    <a:pt x="685" y="549"/>
                  </a:cubicBezTo>
                  <a:cubicBezTo>
                    <a:pt x="686" y="549"/>
                    <a:pt x="687" y="548"/>
                    <a:pt x="687" y="548"/>
                  </a:cubicBezTo>
                  <a:cubicBezTo>
                    <a:pt x="689" y="548"/>
                    <a:pt x="690" y="549"/>
                    <a:pt x="692" y="552"/>
                  </a:cubicBezTo>
                  <a:cubicBezTo>
                    <a:pt x="694" y="556"/>
                    <a:pt x="697" y="560"/>
                    <a:pt x="700" y="561"/>
                  </a:cubicBezTo>
                  <a:moveTo>
                    <a:pt x="195" y="562"/>
                  </a:moveTo>
                  <a:cubicBezTo>
                    <a:pt x="173" y="545"/>
                    <a:pt x="173" y="545"/>
                    <a:pt x="173" y="545"/>
                  </a:cubicBezTo>
                  <a:cubicBezTo>
                    <a:pt x="176" y="543"/>
                    <a:pt x="179" y="541"/>
                    <a:pt x="183" y="541"/>
                  </a:cubicBezTo>
                  <a:cubicBezTo>
                    <a:pt x="186" y="541"/>
                    <a:pt x="189" y="542"/>
                    <a:pt x="192" y="544"/>
                  </a:cubicBezTo>
                  <a:cubicBezTo>
                    <a:pt x="197" y="549"/>
                    <a:pt x="198" y="556"/>
                    <a:pt x="195" y="562"/>
                  </a:cubicBezTo>
                  <a:moveTo>
                    <a:pt x="772" y="551"/>
                  </a:moveTo>
                  <a:cubicBezTo>
                    <a:pt x="762" y="551"/>
                    <a:pt x="754" y="543"/>
                    <a:pt x="754" y="533"/>
                  </a:cubicBezTo>
                  <a:cubicBezTo>
                    <a:pt x="754" y="524"/>
                    <a:pt x="762" y="516"/>
                    <a:pt x="772" y="516"/>
                  </a:cubicBezTo>
                  <a:cubicBezTo>
                    <a:pt x="781" y="516"/>
                    <a:pt x="789" y="524"/>
                    <a:pt x="789" y="533"/>
                  </a:cubicBezTo>
                  <a:cubicBezTo>
                    <a:pt x="789" y="543"/>
                    <a:pt x="781" y="551"/>
                    <a:pt x="772" y="551"/>
                  </a:cubicBezTo>
                  <a:moveTo>
                    <a:pt x="1016" y="498"/>
                  </a:moveTo>
                  <a:cubicBezTo>
                    <a:pt x="1013" y="498"/>
                    <a:pt x="1010" y="497"/>
                    <a:pt x="1007" y="495"/>
                  </a:cubicBezTo>
                  <a:cubicBezTo>
                    <a:pt x="1002" y="490"/>
                    <a:pt x="1001" y="483"/>
                    <a:pt x="1004" y="477"/>
                  </a:cubicBezTo>
                  <a:cubicBezTo>
                    <a:pt x="1026" y="494"/>
                    <a:pt x="1026" y="494"/>
                    <a:pt x="1026" y="494"/>
                  </a:cubicBezTo>
                  <a:cubicBezTo>
                    <a:pt x="1023" y="496"/>
                    <a:pt x="1020" y="498"/>
                    <a:pt x="1016" y="498"/>
                  </a:cubicBezTo>
                  <a:moveTo>
                    <a:pt x="1028" y="491"/>
                  </a:moveTo>
                  <a:cubicBezTo>
                    <a:pt x="1006" y="475"/>
                    <a:pt x="1006" y="475"/>
                    <a:pt x="1006" y="475"/>
                  </a:cubicBezTo>
                  <a:cubicBezTo>
                    <a:pt x="1009" y="472"/>
                    <a:pt x="1012" y="471"/>
                    <a:pt x="1016" y="471"/>
                  </a:cubicBezTo>
                  <a:cubicBezTo>
                    <a:pt x="1019" y="471"/>
                    <a:pt x="1022" y="472"/>
                    <a:pt x="1025" y="474"/>
                  </a:cubicBezTo>
                  <a:cubicBezTo>
                    <a:pt x="1030" y="478"/>
                    <a:pt x="1031" y="485"/>
                    <a:pt x="1028" y="491"/>
                  </a:cubicBezTo>
                  <a:moveTo>
                    <a:pt x="880" y="435"/>
                  </a:moveTo>
                  <a:cubicBezTo>
                    <a:pt x="884" y="434"/>
                    <a:pt x="887" y="426"/>
                    <a:pt x="888" y="420"/>
                  </a:cubicBezTo>
                  <a:cubicBezTo>
                    <a:pt x="889" y="413"/>
                    <a:pt x="892" y="412"/>
                    <a:pt x="895" y="412"/>
                  </a:cubicBezTo>
                  <a:cubicBezTo>
                    <a:pt x="895" y="412"/>
                    <a:pt x="896" y="412"/>
                    <a:pt x="896" y="412"/>
                  </a:cubicBezTo>
                  <a:cubicBezTo>
                    <a:pt x="900" y="412"/>
                    <a:pt x="903" y="412"/>
                    <a:pt x="904" y="420"/>
                  </a:cubicBezTo>
                  <a:cubicBezTo>
                    <a:pt x="905" y="426"/>
                    <a:pt x="907" y="433"/>
                    <a:pt x="910" y="435"/>
                  </a:cubicBezTo>
                  <a:cubicBezTo>
                    <a:pt x="910" y="435"/>
                    <a:pt x="910" y="435"/>
                    <a:pt x="910" y="435"/>
                  </a:cubicBezTo>
                  <a:cubicBezTo>
                    <a:pt x="913" y="435"/>
                    <a:pt x="919" y="429"/>
                    <a:pt x="923" y="424"/>
                  </a:cubicBezTo>
                  <a:cubicBezTo>
                    <a:pt x="925" y="420"/>
                    <a:pt x="927" y="419"/>
                    <a:pt x="929" y="419"/>
                  </a:cubicBezTo>
                  <a:cubicBezTo>
                    <a:pt x="931" y="419"/>
                    <a:pt x="932" y="420"/>
                    <a:pt x="933" y="420"/>
                  </a:cubicBezTo>
                  <a:cubicBezTo>
                    <a:pt x="936" y="422"/>
                    <a:pt x="940" y="423"/>
                    <a:pt x="937" y="431"/>
                  </a:cubicBezTo>
                  <a:cubicBezTo>
                    <a:pt x="936" y="436"/>
                    <a:pt x="935" y="443"/>
                    <a:pt x="937" y="446"/>
                  </a:cubicBezTo>
                  <a:cubicBezTo>
                    <a:pt x="937" y="447"/>
                    <a:pt x="938" y="447"/>
                    <a:pt x="939" y="447"/>
                  </a:cubicBezTo>
                  <a:cubicBezTo>
                    <a:pt x="943" y="447"/>
                    <a:pt x="949" y="444"/>
                    <a:pt x="953" y="441"/>
                  </a:cubicBezTo>
                  <a:cubicBezTo>
                    <a:pt x="956" y="440"/>
                    <a:pt x="958" y="439"/>
                    <a:pt x="959" y="439"/>
                  </a:cubicBezTo>
                  <a:cubicBezTo>
                    <a:pt x="961" y="439"/>
                    <a:pt x="963" y="441"/>
                    <a:pt x="964" y="442"/>
                  </a:cubicBezTo>
                  <a:cubicBezTo>
                    <a:pt x="966" y="444"/>
                    <a:pt x="969" y="447"/>
                    <a:pt x="964" y="453"/>
                  </a:cubicBezTo>
                  <a:cubicBezTo>
                    <a:pt x="960" y="458"/>
                    <a:pt x="957" y="464"/>
                    <a:pt x="957" y="467"/>
                  </a:cubicBezTo>
                  <a:cubicBezTo>
                    <a:pt x="959" y="469"/>
                    <a:pt x="963" y="470"/>
                    <a:pt x="967" y="470"/>
                  </a:cubicBezTo>
                  <a:cubicBezTo>
                    <a:pt x="969" y="470"/>
                    <a:pt x="972" y="469"/>
                    <a:pt x="974" y="469"/>
                  </a:cubicBezTo>
                  <a:cubicBezTo>
                    <a:pt x="976" y="469"/>
                    <a:pt x="977" y="469"/>
                    <a:pt x="978" y="469"/>
                  </a:cubicBezTo>
                  <a:cubicBezTo>
                    <a:pt x="983" y="469"/>
                    <a:pt x="983" y="471"/>
                    <a:pt x="984" y="474"/>
                  </a:cubicBezTo>
                  <a:cubicBezTo>
                    <a:pt x="985" y="477"/>
                    <a:pt x="987" y="480"/>
                    <a:pt x="980" y="484"/>
                  </a:cubicBezTo>
                  <a:cubicBezTo>
                    <a:pt x="975" y="487"/>
                    <a:pt x="969" y="491"/>
                    <a:pt x="968" y="495"/>
                  </a:cubicBezTo>
                  <a:cubicBezTo>
                    <a:pt x="969" y="498"/>
                    <a:pt x="976" y="501"/>
                    <a:pt x="983" y="503"/>
                  </a:cubicBezTo>
                  <a:cubicBezTo>
                    <a:pt x="991" y="504"/>
                    <a:pt x="990" y="508"/>
                    <a:pt x="990" y="511"/>
                  </a:cubicBezTo>
                  <a:cubicBezTo>
                    <a:pt x="990" y="514"/>
                    <a:pt x="990" y="518"/>
                    <a:pt x="982" y="518"/>
                  </a:cubicBezTo>
                  <a:cubicBezTo>
                    <a:pt x="976" y="519"/>
                    <a:pt x="970" y="521"/>
                    <a:pt x="967" y="524"/>
                  </a:cubicBezTo>
                  <a:cubicBezTo>
                    <a:pt x="967" y="527"/>
                    <a:pt x="973" y="533"/>
                    <a:pt x="978" y="537"/>
                  </a:cubicBezTo>
                  <a:cubicBezTo>
                    <a:pt x="985" y="542"/>
                    <a:pt x="983" y="545"/>
                    <a:pt x="982" y="547"/>
                  </a:cubicBezTo>
                  <a:cubicBezTo>
                    <a:pt x="981" y="550"/>
                    <a:pt x="980" y="552"/>
                    <a:pt x="976" y="552"/>
                  </a:cubicBezTo>
                  <a:cubicBezTo>
                    <a:pt x="975" y="552"/>
                    <a:pt x="973" y="552"/>
                    <a:pt x="971" y="551"/>
                  </a:cubicBezTo>
                  <a:cubicBezTo>
                    <a:pt x="968" y="550"/>
                    <a:pt x="964" y="550"/>
                    <a:pt x="961" y="550"/>
                  </a:cubicBezTo>
                  <a:cubicBezTo>
                    <a:pt x="959" y="550"/>
                    <a:pt x="958" y="550"/>
                    <a:pt x="956" y="550"/>
                  </a:cubicBezTo>
                  <a:cubicBezTo>
                    <a:pt x="957" y="554"/>
                    <a:pt x="959" y="560"/>
                    <a:pt x="963" y="564"/>
                  </a:cubicBezTo>
                  <a:cubicBezTo>
                    <a:pt x="968" y="570"/>
                    <a:pt x="965" y="573"/>
                    <a:pt x="963" y="575"/>
                  </a:cubicBezTo>
                  <a:cubicBezTo>
                    <a:pt x="961" y="576"/>
                    <a:pt x="960" y="578"/>
                    <a:pt x="958" y="578"/>
                  </a:cubicBezTo>
                  <a:cubicBezTo>
                    <a:pt x="956" y="578"/>
                    <a:pt x="954" y="577"/>
                    <a:pt x="952" y="575"/>
                  </a:cubicBezTo>
                  <a:cubicBezTo>
                    <a:pt x="947" y="572"/>
                    <a:pt x="941" y="569"/>
                    <a:pt x="937" y="569"/>
                  </a:cubicBezTo>
                  <a:cubicBezTo>
                    <a:pt x="937" y="569"/>
                    <a:pt x="936" y="570"/>
                    <a:pt x="935" y="570"/>
                  </a:cubicBezTo>
                  <a:cubicBezTo>
                    <a:pt x="934" y="573"/>
                    <a:pt x="934" y="580"/>
                    <a:pt x="936" y="586"/>
                  </a:cubicBezTo>
                  <a:cubicBezTo>
                    <a:pt x="938" y="594"/>
                    <a:pt x="934" y="595"/>
                    <a:pt x="931" y="596"/>
                  </a:cubicBezTo>
                  <a:cubicBezTo>
                    <a:pt x="930" y="596"/>
                    <a:pt x="929" y="597"/>
                    <a:pt x="927" y="597"/>
                  </a:cubicBezTo>
                  <a:cubicBezTo>
                    <a:pt x="926" y="597"/>
                    <a:pt x="923" y="596"/>
                    <a:pt x="921" y="592"/>
                  </a:cubicBezTo>
                  <a:cubicBezTo>
                    <a:pt x="918" y="586"/>
                    <a:pt x="912" y="581"/>
                    <a:pt x="908" y="581"/>
                  </a:cubicBezTo>
                  <a:cubicBezTo>
                    <a:pt x="906" y="583"/>
                    <a:pt x="903" y="590"/>
                    <a:pt x="902" y="595"/>
                  </a:cubicBezTo>
                  <a:cubicBezTo>
                    <a:pt x="901" y="603"/>
                    <a:pt x="898" y="603"/>
                    <a:pt x="895" y="603"/>
                  </a:cubicBezTo>
                  <a:cubicBezTo>
                    <a:pt x="895" y="603"/>
                    <a:pt x="895" y="603"/>
                    <a:pt x="894" y="603"/>
                  </a:cubicBezTo>
                  <a:cubicBezTo>
                    <a:pt x="894" y="603"/>
                    <a:pt x="894" y="603"/>
                    <a:pt x="893" y="603"/>
                  </a:cubicBezTo>
                  <a:cubicBezTo>
                    <a:pt x="890" y="603"/>
                    <a:pt x="887" y="602"/>
                    <a:pt x="887" y="595"/>
                  </a:cubicBezTo>
                  <a:cubicBezTo>
                    <a:pt x="885" y="589"/>
                    <a:pt x="882" y="581"/>
                    <a:pt x="879" y="580"/>
                  </a:cubicBezTo>
                  <a:cubicBezTo>
                    <a:pt x="876" y="581"/>
                    <a:pt x="871" y="586"/>
                    <a:pt x="868" y="591"/>
                  </a:cubicBezTo>
                  <a:cubicBezTo>
                    <a:pt x="866" y="595"/>
                    <a:pt x="863" y="597"/>
                    <a:pt x="862" y="597"/>
                  </a:cubicBezTo>
                  <a:cubicBezTo>
                    <a:pt x="860" y="597"/>
                    <a:pt x="859" y="596"/>
                    <a:pt x="858" y="595"/>
                  </a:cubicBezTo>
                  <a:cubicBezTo>
                    <a:pt x="855" y="594"/>
                    <a:pt x="851" y="593"/>
                    <a:pt x="853" y="585"/>
                  </a:cubicBezTo>
                  <a:cubicBezTo>
                    <a:pt x="855" y="579"/>
                    <a:pt x="855" y="571"/>
                    <a:pt x="852" y="568"/>
                  </a:cubicBezTo>
                  <a:cubicBezTo>
                    <a:pt x="852" y="568"/>
                    <a:pt x="852" y="568"/>
                    <a:pt x="852" y="568"/>
                  </a:cubicBezTo>
                  <a:cubicBezTo>
                    <a:pt x="848" y="568"/>
                    <a:pt x="842" y="571"/>
                    <a:pt x="838" y="574"/>
                  </a:cubicBezTo>
                  <a:cubicBezTo>
                    <a:pt x="835" y="576"/>
                    <a:pt x="833" y="577"/>
                    <a:pt x="832" y="577"/>
                  </a:cubicBezTo>
                  <a:cubicBezTo>
                    <a:pt x="829" y="577"/>
                    <a:pt x="828" y="575"/>
                    <a:pt x="827" y="574"/>
                  </a:cubicBezTo>
                  <a:cubicBezTo>
                    <a:pt x="824" y="572"/>
                    <a:pt x="821" y="570"/>
                    <a:pt x="826" y="563"/>
                  </a:cubicBezTo>
                  <a:cubicBezTo>
                    <a:pt x="830" y="558"/>
                    <a:pt x="833" y="550"/>
                    <a:pt x="832" y="547"/>
                  </a:cubicBezTo>
                  <a:cubicBezTo>
                    <a:pt x="830" y="546"/>
                    <a:pt x="828" y="546"/>
                    <a:pt x="825" y="546"/>
                  </a:cubicBezTo>
                  <a:cubicBezTo>
                    <a:pt x="822" y="546"/>
                    <a:pt x="819" y="546"/>
                    <a:pt x="816" y="547"/>
                  </a:cubicBezTo>
                  <a:cubicBezTo>
                    <a:pt x="815" y="547"/>
                    <a:pt x="813" y="548"/>
                    <a:pt x="812" y="548"/>
                  </a:cubicBezTo>
                  <a:cubicBezTo>
                    <a:pt x="808" y="548"/>
                    <a:pt x="807" y="545"/>
                    <a:pt x="806" y="542"/>
                  </a:cubicBezTo>
                  <a:cubicBezTo>
                    <a:pt x="805" y="540"/>
                    <a:pt x="803" y="536"/>
                    <a:pt x="810" y="532"/>
                  </a:cubicBezTo>
                  <a:cubicBezTo>
                    <a:pt x="816" y="529"/>
                    <a:pt x="822" y="523"/>
                    <a:pt x="822" y="520"/>
                  </a:cubicBezTo>
                  <a:cubicBezTo>
                    <a:pt x="819" y="517"/>
                    <a:pt x="813" y="514"/>
                    <a:pt x="807" y="513"/>
                  </a:cubicBezTo>
                  <a:cubicBezTo>
                    <a:pt x="799" y="512"/>
                    <a:pt x="800" y="509"/>
                    <a:pt x="800" y="505"/>
                  </a:cubicBezTo>
                  <a:cubicBezTo>
                    <a:pt x="800" y="502"/>
                    <a:pt x="799" y="499"/>
                    <a:pt x="807" y="498"/>
                  </a:cubicBezTo>
                  <a:cubicBezTo>
                    <a:pt x="814" y="497"/>
                    <a:pt x="822" y="494"/>
                    <a:pt x="823" y="490"/>
                  </a:cubicBezTo>
                  <a:cubicBezTo>
                    <a:pt x="822" y="487"/>
                    <a:pt x="817" y="482"/>
                    <a:pt x="812" y="479"/>
                  </a:cubicBezTo>
                  <a:cubicBezTo>
                    <a:pt x="805" y="475"/>
                    <a:pt x="807" y="472"/>
                    <a:pt x="808" y="469"/>
                  </a:cubicBezTo>
                  <a:cubicBezTo>
                    <a:pt x="809" y="467"/>
                    <a:pt x="810" y="464"/>
                    <a:pt x="814" y="464"/>
                  </a:cubicBezTo>
                  <a:cubicBezTo>
                    <a:pt x="815" y="464"/>
                    <a:pt x="816" y="464"/>
                    <a:pt x="818" y="465"/>
                  </a:cubicBezTo>
                  <a:cubicBezTo>
                    <a:pt x="821" y="465"/>
                    <a:pt x="824" y="466"/>
                    <a:pt x="827" y="466"/>
                  </a:cubicBezTo>
                  <a:cubicBezTo>
                    <a:pt x="830" y="466"/>
                    <a:pt x="832" y="465"/>
                    <a:pt x="833" y="465"/>
                  </a:cubicBezTo>
                  <a:cubicBezTo>
                    <a:pt x="833" y="461"/>
                    <a:pt x="831" y="455"/>
                    <a:pt x="828" y="451"/>
                  </a:cubicBezTo>
                  <a:cubicBezTo>
                    <a:pt x="823" y="444"/>
                    <a:pt x="826" y="442"/>
                    <a:pt x="828" y="440"/>
                  </a:cubicBezTo>
                  <a:cubicBezTo>
                    <a:pt x="829" y="438"/>
                    <a:pt x="831" y="437"/>
                    <a:pt x="833" y="437"/>
                  </a:cubicBezTo>
                  <a:cubicBezTo>
                    <a:pt x="834" y="437"/>
                    <a:pt x="836" y="438"/>
                    <a:pt x="839" y="440"/>
                  </a:cubicBezTo>
                  <a:cubicBezTo>
                    <a:pt x="844" y="443"/>
                    <a:pt x="850" y="446"/>
                    <a:pt x="853" y="446"/>
                  </a:cubicBezTo>
                  <a:cubicBezTo>
                    <a:pt x="853" y="446"/>
                    <a:pt x="853" y="446"/>
                    <a:pt x="854" y="446"/>
                  </a:cubicBezTo>
                  <a:cubicBezTo>
                    <a:pt x="856" y="444"/>
                    <a:pt x="856" y="436"/>
                    <a:pt x="855" y="429"/>
                  </a:cubicBezTo>
                  <a:cubicBezTo>
                    <a:pt x="853" y="421"/>
                    <a:pt x="857" y="420"/>
                    <a:pt x="860" y="419"/>
                  </a:cubicBezTo>
                  <a:cubicBezTo>
                    <a:pt x="861" y="419"/>
                    <a:pt x="862" y="418"/>
                    <a:pt x="863" y="418"/>
                  </a:cubicBezTo>
                  <a:cubicBezTo>
                    <a:pt x="865" y="418"/>
                    <a:pt x="867" y="419"/>
                    <a:pt x="870" y="423"/>
                  </a:cubicBezTo>
                  <a:cubicBezTo>
                    <a:pt x="873" y="428"/>
                    <a:pt x="877" y="434"/>
                    <a:pt x="880" y="435"/>
                  </a:cubicBezTo>
                  <a:moveTo>
                    <a:pt x="425" y="450"/>
                  </a:moveTo>
                  <a:cubicBezTo>
                    <a:pt x="417" y="450"/>
                    <a:pt x="409" y="447"/>
                    <a:pt x="403" y="441"/>
                  </a:cubicBezTo>
                  <a:cubicBezTo>
                    <a:pt x="390" y="428"/>
                    <a:pt x="390" y="409"/>
                    <a:pt x="403" y="396"/>
                  </a:cubicBezTo>
                  <a:cubicBezTo>
                    <a:pt x="409" y="390"/>
                    <a:pt x="417" y="387"/>
                    <a:pt x="425" y="387"/>
                  </a:cubicBezTo>
                  <a:cubicBezTo>
                    <a:pt x="433" y="387"/>
                    <a:pt x="441" y="390"/>
                    <a:pt x="447" y="396"/>
                  </a:cubicBezTo>
                  <a:cubicBezTo>
                    <a:pt x="459" y="409"/>
                    <a:pt x="459" y="429"/>
                    <a:pt x="447" y="441"/>
                  </a:cubicBezTo>
                  <a:cubicBezTo>
                    <a:pt x="441" y="447"/>
                    <a:pt x="433" y="450"/>
                    <a:pt x="425" y="450"/>
                  </a:cubicBezTo>
                  <a:moveTo>
                    <a:pt x="875" y="411"/>
                  </a:moveTo>
                  <a:cubicBezTo>
                    <a:pt x="864" y="411"/>
                    <a:pt x="855" y="401"/>
                    <a:pt x="855" y="390"/>
                  </a:cubicBezTo>
                  <a:cubicBezTo>
                    <a:pt x="855" y="379"/>
                    <a:pt x="864" y="370"/>
                    <a:pt x="875" y="370"/>
                  </a:cubicBezTo>
                  <a:cubicBezTo>
                    <a:pt x="887" y="370"/>
                    <a:pt x="896" y="379"/>
                    <a:pt x="896" y="390"/>
                  </a:cubicBezTo>
                  <a:cubicBezTo>
                    <a:pt x="896" y="401"/>
                    <a:pt x="887" y="411"/>
                    <a:pt x="875" y="411"/>
                  </a:cubicBezTo>
                  <a:moveTo>
                    <a:pt x="845" y="221"/>
                  </a:moveTo>
                  <a:cubicBezTo>
                    <a:pt x="836" y="221"/>
                    <a:pt x="829" y="214"/>
                    <a:pt x="829" y="206"/>
                  </a:cubicBezTo>
                  <a:cubicBezTo>
                    <a:pt x="829" y="197"/>
                    <a:pt x="836" y="191"/>
                    <a:pt x="845" y="191"/>
                  </a:cubicBezTo>
                  <a:cubicBezTo>
                    <a:pt x="853" y="191"/>
                    <a:pt x="860" y="197"/>
                    <a:pt x="860" y="206"/>
                  </a:cubicBezTo>
                  <a:cubicBezTo>
                    <a:pt x="860" y="214"/>
                    <a:pt x="853" y="221"/>
                    <a:pt x="845" y="221"/>
                  </a:cubicBezTo>
                  <a:moveTo>
                    <a:pt x="478" y="193"/>
                  </a:moveTo>
                  <a:cubicBezTo>
                    <a:pt x="464" y="193"/>
                    <a:pt x="453" y="181"/>
                    <a:pt x="453" y="167"/>
                  </a:cubicBezTo>
                  <a:cubicBezTo>
                    <a:pt x="453" y="153"/>
                    <a:pt x="464" y="142"/>
                    <a:pt x="478" y="142"/>
                  </a:cubicBezTo>
                  <a:cubicBezTo>
                    <a:pt x="493" y="142"/>
                    <a:pt x="504" y="153"/>
                    <a:pt x="504" y="167"/>
                  </a:cubicBezTo>
                  <a:cubicBezTo>
                    <a:pt x="504" y="181"/>
                    <a:pt x="493" y="193"/>
                    <a:pt x="478" y="193"/>
                  </a:cubicBezTo>
                  <a:moveTo>
                    <a:pt x="644" y="147"/>
                  </a:moveTo>
                  <a:cubicBezTo>
                    <a:pt x="646" y="147"/>
                    <a:pt x="648" y="147"/>
                    <a:pt x="650" y="147"/>
                  </a:cubicBezTo>
                  <a:cubicBezTo>
                    <a:pt x="653" y="145"/>
                    <a:pt x="654" y="140"/>
                    <a:pt x="655" y="135"/>
                  </a:cubicBezTo>
                  <a:cubicBezTo>
                    <a:pt x="656" y="130"/>
                    <a:pt x="659" y="129"/>
                    <a:pt x="661" y="129"/>
                  </a:cubicBezTo>
                  <a:cubicBezTo>
                    <a:pt x="662" y="129"/>
                    <a:pt x="663" y="129"/>
                    <a:pt x="663" y="129"/>
                  </a:cubicBezTo>
                  <a:cubicBezTo>
                    <a:pt x="666" y="129"/>
                    <a:pt x="670" y="129"/>
                    <a:pt x="670" y="136"/>
                  </a:cubicBezTo>
                  <a:cubicBezTo>
                    <a:pt x="670" y="141"/>
                    <a:pt x="672" y="146"/>
                    <a:pt x="673" y="148"/>
                  </a:cubicBezTo>
                  <a:cubicBezTo>
                    <a:pt x="675" y="149"/>
                    <a:pt x="677" y="149"/>
                    <a:pt x="679" y="149"/>
                  </a:cubicBezTo>
                  <a:cubicBezTo>
                    <a:pt x="682" y="147"/>
                    <a:pt x="685" y="143"/>
                    <a:pt x="686" y="138"/>
                  </a:cubicBezTo>
                  <a:cubicBezTo>
                    <a:pt x="688" y="134"/>
                    <a:pt x="690" y="133"/>
                    <a:pt x="692" y="133"/>
                  </a:cubicBezTo>
                  <a:cubicBezTo>
                    <a:pt x="693" y="133"/>
                    <a:pt x="694" y="133"/>
                    <a:pt x="695" y="134"/>
                  </a:cubicBezTo>
                  <a:cubicBezTo>
                    <a:pt x="697" y="134"/>
                    <a:pt x="701" y="135"/>
                    <a:pt x="701" y="140"/>
                  </a:cubicBezTo>
                  <a:cubicBezTo>
                    <a:pt x="701" y="141"/>
                    <a:pt x="701" y="141"/>
                    <a:pt x="701" y="142"/>
                  </a:cubicBezTo>
                  <a:cubicBezTo>
                    <a:pt x="700" y="143"/>
                    <a:pt x="700" y="144"/>
                    <a:pt x="700" y="144"/>
                  </a:cubicBezTo>
                  <a:cubicBezTo>
                    <a:pt x="700" y="148"/>
                    <a:pt x="701" y="152"/>
                    <a:pt x="702" y="154"/>
                  </a:cubicBezTo>
                  <a:cubicBezTo>
                    <a:pt x="704" y="155"/>
                    <a:pt x="706" y="155"/>
                    <a:pt x="708" y="156"/>
                  </a:cubicBezTo>
                  <a:cubicBezTo>
                    <a:pt x="710" y="154"/>
                    <a:pt x="714" y="150"/>
                    <a:pt x="716" y="147"/>
                  </a:cubicBezTo>
                  <a:cubicBezTo>
                    <a:pt x="718" y="143"/>
                    <a:pt x="720" y="142"/>
                    <a:pt x="722" y="142"/>
                  </a:cubicBezTo>
                  <a:cubicBezTo>
                    <a:pt x="723" y="142"/>
                    <a:pt x="724" y="143"/>
                    <a:pt x="725" y="143"/>
                  </a:cubicBezTo>
                  <a:cubicBezTo>
                    <a:pt x="727" y="144"/>
                    <a:pt x="730" y="145"/>
                    <a:pt x="730" y="149"/>
                  </a:cubicBezTo>
                  <a:cubicBezTo>
                    <a:pt x="730" y="150"/>
                    <a:pt x="730" y="151"/>
                    <a:pt x="730" y="152"/>
                  </a:cubicBezTo>
                  <a:cubicBezTo>
                    <a:pt x="729" y="155"/>
                    <a:pt x="729" y="158"/>
                    <a:pt x="729" y="160"/>
                  </a:cubicBezTo>
                  <a:cubicBezTo>
                    <a:pt x="729" y="162"/>
                    <a:pt x="729" y="163"/>
                    <a:pt x="729" y="164"/>
                  </a:cubicBezTo>
                  <a:cubicBezTo>
                    <a:pt x="731" y="165"/>
                    <a:pt x="733" y="166"/>
                    <a:pt x="735" y="167"/>
                  </a:cubicBezTo>
                  <a:cubicBezTo>
                    <a:pt x="738" y="166"/>
                    <a:pt x="741" y="163"/>
                    <a:pt x="744" y="159"/>
                  </a:cubicBezTo>
                  <a:cubicBezTo>
                    <a:pt x="746" y="156"/>
                    <a:pt x="748" y="156"/>
                    <a:pt x="750" y="156"/>
                  </a:cubicBezTo>
                  <a:cubicBezTo>
                    <a:pt x="751" y="156"/>
                    <a:pt x="753" y="157"/>
                    <a:pt x="754" y="157"/>
                  </a:cubicBezTo>
                  <a:cubicBezTo>
                    <a:pt x="756" y="158"/>
                    <a:pt x="758" y="159"/>
                    <a:pt x="758" y="162"/>
                  </a:cubicBezTo>
                  <a:cubicBezTo>
                    <a:pt x="758" y="163"/>
                    <a:pt x="758" y="165"/>
                    <a:pt x="757" y="167"/>
                  </a:cubicBezTo>
                  <a:cubicBezTo>
                    <a:pt x="756" y="170"/>
                    <a:pt x="754" y="174"/>
                    <a:pt x="754" y="178"/>
                  </a:cubicBezTo>
                  <a:cubicBezTo>
                    <a:pt x="754" y="178"/>
                    <a:pt x="754" y="179"/>
                    <a:pt x="754" y="179"/>
                  </a:cubicBezTo>
                  <a:cubicBezTo>
                    <a:pt x="756" y="180"/>
                    <a:pt x="758" y="181"/>
                    <a:pt x="759" y="182"/>
                  </a:cubicBezTo>
                  <a:cubicBezTo>
                    <a:pt x="762" y="182"/>
                    <a:pt x="767" y="179"/>
                    <a:pt x="770" y="176"/>
                  </a:cubicBezTo>
                  <a:cubicBezTo>
                    <a:pt x="772" y="174"/>
                    <a:pt x="774" y="173"/>
                    <a:pt x="776" y="173"/>
                  </a:cubicBezTo>
                  <a:cubicBezTo>
                    <a:pt x="778" y="173"/>
                    <a:pt x="779" y="175"/>
                    <a:pt x="780" y="176"/>
                  </a:cubicBezTo>
                  <a:cubicBezTo>
                    <a:pt x="781" y="177"/>
                    <a:pt x="783" y="178"/>
                    <a:pt x="783" y="181"/>
                  </a:cubicBezTo>
                  <a:cubicBezTo>
                    <a:pt x="783" y="182"/>
                    <a:pt x="783" y="183"/>
                    <a:pt x="782" y="185"/>
                  </a:cubicBezTo>
                  <a:cubicBezTo>
                    <a:pt x="779" y="189"/>
                    <a:pt x="777" y="194"/>
                    <a:pt x="777" y="197"/>
                  </a:cubicBezTo>
                  <a:cubicBezTo>
                    <a:pt x="779" y="199"/>
                    <a:pt x="780" y="200"/>
                    <a:pt x="782" y="201"/>
                  </a:cubicBezTo>
                  <a:cubicBezTo>
                    <a:pt x="785" y="201"/>
                    <a:pt x="789" y="199"/>
                    <a:pt x="793" y="197"/>
                  </a:cubicBezTo>
                  <a:cubicBezTo>
                    <a:pt x="795" y="195"/>
                    <a:pt x="797" y="195"/>
                    <a:pt x="798" y="195"/>
                  </a:cubicBezTo>
                  <a:cubicBezTo>
                    <a:pt x="801" y="195"/>
                    <a:pt x="802" y="197"/>
                    <a:pt x="803" y="198"/>
                  </a:cubicBezTo>
                  <a:cubicBezTo>
                    <a:pt x="804" y="199"/>
                    <a:pt x="805" y="200"/>
                    <a:pt x="805" y="202"/>
                  </a:cubicBezTo>
                  <a:cubicBezTo>
                    <a:pt x="805" y="204"/>
                    <a:pt x="805" y="206"/>
                    <a:pt x="803" y="208"/>
                  </a:cubicBezTo>
                  <a:cubicBezTo>
                    <a:pt x="800" y="211"/>
                    <a:pt x="797" y="216"/>
                    <a:pt x="797" y="219"/>
                  </a:cubicBezTo>
                  <a:cubicBezTo>
                    <a:pt x="798" y="220"/>
                    <a:pt x="799" y="222"/>
                    <a:pt x="800" y="224"/>
                  </a:cubicBezTo>
                  <a:cubicBezTo>
                    <a:pt x="801" y="224"/>
                    <a:pt x="801" y="224"/>
                    <a:pt x="801" y="224"/>
                  </a:cubicBezTo>
                  <a:cubicBezTo>
                    <a:pt x="805" y="224"/>
                    <a:pt x="809" y="222"/>
                    <a:pt x="813" y="221"/>
                  </a:cubicBezTo>
                  <a:cubicBezTo>
                    <a:pt x="814" y="220"/>
                    <a:pt x="816" y="220"/>
                    <a:pt x="817" y="220"/>
                  </a:cubicBezTo>
                  <a:cubicBezTo>
                    <a:pt x="820" y="220"/>
                    <a:pt x="821" y="222"/>
                    <a:pt x="822" y="223"/>
                  </a:cubicBezTo>
                  <a:cubicBezTo>
                    <a:pt x="823" y="225"/>
                    <a:pt x="824" y="226"/>
                    <a:pt x="824" y="228"/>
                  </a:cubicBezTo>
                  <a:cubicBezTo>
                    <a:pt x="824" y="229"/>
                    <a:pt x="823" y="231"/>
                    <a:pt x="821" y="233"/>
                  </a:cubicBezTo>
                  <a:cubicBezTo>
                    <a:pt x="817" y="236"/>
                    <a:pt x="814" y="240"/>
                    <a:pt x="813" y="243"/>
                  </a:cubicBezTo>
                  <a:cubicBezTo>
                    <a:pt x="814" y="245"/>
                    <a:pt x="815" y="247"/>
                    <a:pt x="816" y="248"/>
                  </a:cubicBezTo>
                  <a:cubicBezTo>
                    <a:pt x="817" y="249"/>
                    <a:pt x="818" y="249"/>
                    <a:pt x="819" y="249"/>
                  </a:cubicBezTo>
                  <a:cubicBezTo>
                    <a:pt x="822" y="249"/>
                    <a:pt x="825" y="248"/>
                    <a:pt x="828" y="248"/>
                  </a:cubicBezTo>
                  <a:cubicBezTo>
                    <a:pt x="829" y="247"/>
                    <a:pt x="831" y="247"/>
                    <a:pt x="832" y="247"/>
                  </a:cubicBezTo>
                  <a:cubicBezTo>
                    <a:pt x="835" y="247"/>
                    <a:pt x="836" y="250"/>
                    <a:pt x="837" y="252"/>
                  </a:cubicBezTo>
                  <a:cubicBezTo>
                    <a:pt x="838" y="253"/>
                    <a:pt x="838" y="254"/>
                    <a:pt x="838" y="255"/>
                  </a:cubicBezTo>
                  <a:cubicBezTo>
                    <a:pt x="838" y="257"/>
                    <a:pt x="837" y="259"/>
                    <a:pt x="834" y="261"/>
                  </a:cubicBezTo>
                  <a:cubicBezTo>
                    <a:pt x="830" y="263"/>
                    <a:pt x="826" y="267"/>
                    <a:pt x="825" y="270"/>
                  </a:cubicBezTo>
                  <a:cubicBezTo>
                    <a:pt x="825" y="271"/>
                    <a:pt x="826" y="273"/>
                    <a:pt x="827" y="275"/>
                  </a:cubicBezTo>
                  <a:cubicBezTo>
                    <a:pt x="829" y="276"/>
                    <a:pt x="832" y="277"/>
                    <a:pt x="835" y="277"/>
                  </a:cubicBezTo>
                  <a:cubicBezTo>
                    <a:pt x="837" y="277"/>
                    <a:pt x="838" y="277"/>
                    <a:pt x="839" y="276"/>
                  </a:cubicBezTo>
                  <a:cubicBezTo>
                    <a:pt x="840" y="276"/>
                    <a:pt x="841" y="276"/>
                    <a:pt x="841" y="276"/>
                  </a:cubicBezTo>
                  <a:cubicBezTo>
                    <a:pt x="846" y="276"/>
                    <a:pt x="847" y="280"/>
                    <a:pt x="847" y="282"/>
                  </a:cubicBezTo>
                  <a:cubicBezTo>
                    <a:pt x="848" y="283"/>
                    <a:pt x="848" y="284"/>
                    <a:pt x="848" y="285"/>
                  </a:cubicBezTo>
                  <a:cubicBezTo>
                    <a:pt x="848" y="287"/>
                    <a:pt x="847" y="289"/>
                    <a:pt x="843" y="291"/>
                  </a:cubicBezTo>
                  <a:cubicBezTo>
                    <a:pt x="839" y="292"/>
                    <a:pt x="834" y="295"/>
                    <a:pt x="832" y="298"/>
                  </a:cubicBezTo>
                  <a:cubicBezTo>
                    <a:pt x="833" y="300"/>
                    <a:pt x="833" y="302"/>
                    <a:pt x="833" y="304"/>
                  </a:cubicBezTo>
                  <a:cubicBezTo>
                    <a:pt x="836" y="305"/>
                    <a:pt x="841" y="306"/>
                    <a:pt x="846" y="307"/>
                  </a:cubicBezTo>
                  <a:cubicBezTo>
                    <a:pt x="853" y="307"/>
                    <a:pt x="853" y="311"/>
                    <a:pt x="853" y="313"/>
                  </a:cubicBezTo>
                  <a:cubicBezTo>
                    <a:pt x="853" y="314"/>
                    <a:pt x="853" y="315"/>
                    <a:pt x="853" y="316"/>
                  </a:cubicBezTo>
                  <a:cubicBezTo>
                    <a:pt x="853" y="318"/>
                    <a:pt x="852" y="320"/>
                    <a:pt x="847" y="321"/>
                  </a:cubicBezTo>
                  <a:cubicBezTo>
                    <a:pt x="843" y="322"/>
                    <a:pt x="838" y="324"/>
                    <a:pt x="836" y="327"/>
                  </a:cubicBezTo>
                  <a:cubicBezTo>
                    <a:pt x="836" y="329"/>
                    <a:pt x="836" y="331"/>
                    <a:pt x="836" y="333"/>
                  </a:cubicBezTo>
                  <a:cubicBezTo>
                    <a:pt x="838" y="335"/>
                    <a:pt x="843" y="337"/>
                    <a:pt x="847" y="338"/>
                  </a:cubicBezTo>
                  <a:cubicBezTo>
                    <a:pt x="853" y="339"/>
                    <a:pt x="853" y="341"/>
                    <a:pt x="853" y="343"/>
                  </a:cubicBezTo>
                  <a:cubicBezTo>
                    <a:pt x="853" y="344"/>
                    <a:pt x="853" y="345"/>
                    <a:pt x="853" y="345"/>
                  </a:cubicBezTo>
                  <a:cubicBezTo>
                    <a:pt x="853" y="348"/>
                    <a:pt x="853" y="352"/>
                    <a:pt x="846" y="352"/>
                  </a:cubicBezTo>
                  <a:cubicBezTo>
                    <a:pt x="842" y="353"/>
                    <a:pt x="837" y="354"/>
                    <a:pt x="834" y="356"/>
                  </a:cubicBezTo>
                  <a:cubicBezTo>
                    <a:pt x="834" y="358"/>
                    <a:pt x="834" y="360"/>
                    <a:pt x="833" y="362"/>
                  </a:cubicBezTo>
                  <a:cubicBezTo>
                    <a:pt x="835" y="364"/>
                    <a:pt x="840" y="367"/>
                    <a:pt x="844" y="368"/>
                  </a:cubicBezTo>
                  <a:cubicBezTo>
                    <a:pt x="848" y="370"/>
                    <a:pt x="849" y="372"/>
                    <a:pt x="849" y="374"/>
                  </a:cubicBezTo>
                  <a:cubicBezTo>
                    <a:pt x="849" y="375"/>
                    <a:pt x="849" y="376"/>
                    <a:pt x="849" y="377"/>
                  </a:cubicBezTo>
                  <a:cubicBezTo>
                    <a:pt x="848" y="379"/>
                    <a:pt x="848" y="383"/>
                    <a:pt x="842" y="383"/>
                  </a:cubicBezTo>
                  <a:cubicBezTo>
                    <a:pt x="842" y="383"/>
                    <a:pt x="841" y="383"/>
                    <a:pt x="841" y="383"/>
                  </a:cubicBezTo>
                  <a:cubicBezTo>
                    <a:pt x="840" y="383"/>
                    <a:pt x="839" y="383"/>
                    <a:pt x="838" y="383"/>
                  </a:cubicBezTo>
                  <a:cubicBezTo>
                    <a:pt x="834" y="383"/>
                    <a:pt x="831" y="383"/>
                    <a:pt x="828" y="384"/>
                  </a:cubicBezTo>
                  <a:cubicBezTo>
                    <a:pt x="828" y="386"/>
                    <a:pt x="827" y="388"/>
                    <a:pt x="826" y="390"/>
                  </a:cubicBezTo>
                  <a:cubicBezTo>
                    <a:pt x="828" y="393"/>
                    <a:pt x="832" y="396"/>
                    <a:pt x="836" y="398"/>
                  </a:cubicBezTo>
                  <a:cubicBezTo>
                    <a:pt x="839" y="400"/>
                    <a:pt x="840" y="402"/>
                    <a:pt x="840" y="404"/>
                  </a:cubicBezTo>
                  <a:cubicBezTo>
                    <a:pt x="840" y="405"/>
                    <a:pt x="840" y="406"/>
                    <a:pt x="839" y="407"/>
                  </a:cubicBezTo>
                  <a:cubicBezTo>
                    <a:pt x="839" y="410"/>
                    <a:pt x="838" y="412"/>
                    <a:pt x="834" y="412"/>
                  </a:cubicBezTo>
                  <a:cubicBezTo>
                    <a:pt x="833" y="412"/>
                    <a:pt x="832" y="412"/>
                    <a:pt x="831" y="412"/>
                  </a:cubicBezTo>
                  <a:cubicBezTo>
                    <a:pt x="828" y="411"/>
                    <a:pt x="825" y="411"/>
                    <a:pt x="822" y="411"/>
                  </a:cubicBezTo>
                  <a:cubicBezTo>
                    <a:pt x="821" y="411"/>
                    <a:pt x="819" y="411"/>
                    <a:pt x="818" y="411"/>
                  </a:cubicBezTo>
                  <a:cubicBezTo>
                    <a:pt x="817" y="413"/>
                    <a:pt x="816" y="415"/>
                    <a:pt x="815" y="417"/>
                  </a:cubicBezTo>
                  <a:cubicBezTo>
                    <a:pt x="816" y="420"/>
                    <a:pt x="820" y="424"/>
                    <a:pt x="823" y="427"/>
                  </a:cubicBezTo>
                  <a:cubicBezTo>
                    <a:pt x="826" y="429"/>
                    <a:pt x="827" y="430"/>
                    <a:pt x="827" y="432"/>
                  </a:cubicBezTo>
                  <a:cubicBezTo>
                    <a:pt x="827" y="434"/>
                    <a:pt x="826" y="435"/>
                    <a:pt x="825" y="436"/>
                  </a:cubicBezTo>
                  <a:cubicBezTo>
                    <a:pt x="824" y="438"/>
                    <a:pt x="823" y="440"/>
                    <a:pt x="820" y="440"/>
                  </a:cubicBezTo>
                  <a:cubicBezTo>
                    <a:pt x="819" y="440"/>
                    <a:pt x="818" y="440"/>
                    <a:pt x="816" y="439"/>
                  </a:cubicBezTo>
                  <a:cubicBezTo>
                    <a:pt x="812" y="438"/>
                    <a:pt x="808" y="437"/>
                    <a:pt x="805" y="437"/>
                  </a:cubicBezTo>
                  <a:cubicBezTo>
                    <a:pt x="804" y="437"/>
                    <a:pt x="804" y="437"/>
                    <a:pt x="803" y="437"/>
                  </a:cubicBezTo>
                  <a:cubicBezTo>
                    <a:pt x="802" y="438"/>
                    <a:pt x="801" y="440"/>
                    <a:pt x="800" y="442"/>
                  </a:cubicBezTo>
                  <a:cubicBezTo>
                    <a:pt x="801" y="445"/>
                    <a:pt x="803" y="449"/>
                    <a:pt x="806" y="452"/>
                  </a:cubicBezTo>
                  <a:cubicBezTo>
                    <a:pt x="808" y="455"/>
                    <a:pt x="809" y="456"/>
                    <a:pt x="809" y="458"/>
                  </a:cubicBezTo>
                  <a:cubicBezTo>
                    <a:pt x="809" y="460"/>
                    <a:pt x="808" y="461"/>
                    <a:pt x="807" y="462"/>
                  </a:cubicBezTo>
                  <a:cubicBezTo>
                    <a:pt x="806" y="464"/>
                    <a:pt x="804" y="466"/>
                    <a:pt x="802" y="466"/>
                  </a:cubicBezTo>
                  <a:cubicBezTo>
                    <a:pt x="801" y="466"/>
                    <a:pt x="799" y="465"/>
                    <a:pt x="797" y="464"/>
                  </a:cubicBezTo>
                  <a:cubicBezTo>
                    <a:pt x="793" y="461"/>
                    <a:pt x="788" y="459"/>
                    <a:pt x="785" y="459"/>
                  </a:cubicBezTo>
                  <a:cubicBezTo>
                    <a:pt x="784" y="461"/>
                    <a:pt x="782" y="462"/>
                    <a:pt x="781" y="464"/>
                  </a:cubicBezTo>
                  <a:cubicBezTo>
                    <a:pt x="781" y="467"/>
                    <a:pt x="783" y="472"/>
                    <a:pt x="786" y="475"/>
                  </a:cubicBezTo>
                  <a:cubicBezTo>
                    <a:pt x="787" y="477"/>
                    <a:pt x="788" y="479"/>
                    <a:pt x="788" y="480"/>
                  </a:cubicBezTo>
                  <a:cubicBezTo>
                    <a:pt x="788" y="483"/>
                    <a:pt x="786" y="484"/>
                    <a:pt x="785" y="485"/>
                  </a:cubicBezTo>
                  <a:cubicBezTo>
                    <a:pt x="783" y="486"/>
                    <a:pt x="782" y="488"/>
                    <a:pt x="780" y="488"/>
                  </a:cubicBezTo>
                  <a:cubicBezTo>
                    <a:pt x="779" y="488"/>
                    <a:pt x="777" y="487"/>
                    <a:pt x="775" y="485"/>
                  </a:cubicBezTo>
                  <a:cubicBezTo>
                    <a:pt x="771" y="482"/>
                    <a:pt x="767" y="480"/>
                    <a:pt x="764" y="479"/>
                  </a:cubicBezTo>
                  <a:cubicBezTo>
                    <a:pt x="762" y="480"/>
                    <a:pt x="761" y="481"/>
                    <a:pt x="759" y="483"/>
                  </a:cubicBezTo>
                  <a:cubicBezTo>
                    <a:pt x="759" y="483"/>
                    <a:pt x="759" y="483"/>
                    <a:pt x="759" y="484"/>
                  </a:cubicBezTo>
                  <a:cubicBezTo>
                    <a:pt x="759" y="487"/>
                    <a:pt x="760" y="491"/>
                    <a:pt x="762" y="495"/>
                  </a:cubicBezTo>
                  <a:cubicBezTo>
                    <a:pt x="763" y="497"/>
                    <a:pt x="763" y="498"/>
                    <a:pt x="763" y="499"/>
                  </a:cubicBezTo>
                  <a:cubicBezTo>
                    <a:pt x="763" y="502"/>
                    <a:pt x="761" y="503"/>
                    <a:pt x="759" y="504"/>
                  </a:cubicBezTo>
                  <a:cubicBezTo>
                    <a:pt x="758" y="505"/>
                    <a:pt x="756" y="506"/>
                    <a:pt x="755" y="506"/>
                  </a:cubicBezTo>
                  <a:cubicBezTo>
                    <a:pt x="753" y="506"/>
                    <a:pt x="751" y="505"/>
                    <a:pt x="749" y="503"/>
                  </a:cubicBezTo>
                  <a:cubicBezTo>
                    <a:pt x="746" y="499"/>
                    <a:pt x="742" y="496"/>
                    <a:pt x="739" y="495"/>
                  </a:cubicBezTo>
                  <a:cubicBezTo>
                    <a:pt x="738" y="496"/>
                    <a:pt x="736" y="497"/>
                    <a:pt x="734" y="498"/>
                  </a:cubicBezTo>
                  <a:cubicBezTo>
                    <a:pt x="734" y="499"/>
                    <a:pt x="734" y="500"/>
                    <a:pt x="734" y="501"/>
                  </a:cubicBezTo>
                  <a:cubicBezTo>
                    <a:pt x="734" y="504"/>
                    <a:pt x="734" y="507"/>
                    <a:pt x="735" y="510"/>
                  </a:cubicBezTo>
                  <a:cubicBezTo>
                    <a:pt x="735" y="512"/>
                    <a:pt x="735" y="513"/>
                    <a:pt x="735" y="514"/>
                  </a:cubicBezTo>
                  <a:cubicBezTo>
                    <a:pt x="735" y="518"/>
                    <a:pt x="733" y="518"/>
                    <a:pt x="731" y="519"/>
                  </a:cubicBezTo>
                  <a:cubicBezTo>
                    <a:pt x="730" y="520"/>
                    <a:pt x="728" y="520"/>
                    <a:pt x="727" y="520"/>
                  </a:cubicBezTo>
                  <a:cubicBezTo>
                    <a:pt x="725" y="520"/>
                    <a:pt x="723" y="519"/>
                    <a:pt x="721" y="516"/>
                  </a:cubicBezTo>
                  <a:cubicBezTo>
                    <a:pt x="719" y="512"/>
                    <a:pt x="716" y="508"/>
                    <a:pt x="713" y="507"/>
                  </a:cubicBezTo>
                  <a:cubicBezTo>
                    <a:pt x="711" y="508"/>
                    <a:pt x="709" y="508"/>
                    <a:pt x="707" y="509"/>
                  </a:cubicBezTo>
                  <a:cubicBezTo>
                    <a:pt x="706" y="511"/>
                    <a:pt x="706" y="514"/>
                    <a:pt x="706" y="517"/>
                  </a:cubicBezTo>
                  <a:cubicBezTo>
                    <a:pt x="706" y="519"/>
                    <a:pt x="706" y="520"/>
                    <a:pt x="706" y="521"/>
                  </a:cubicBezTo>
                  <a:cubicBezTo>
                    <a:pt x="706" y="522"/>
                    <a:pt x="706" y="523"/>
                    <a:pt x="706" y="523"/>
                  </a:cubicBezTo>
                  <a:cubicBezTo>
                    <a:pt x="706" y="529"/>
                    <a:pt x="703" y="529"/>
                    <a:pt x="701" y="530"/>
                  </a:cubicBezTo>
                  <a:cubicBezTo>
                    <a:pt x="700" y="530"/>
                    <a:pt x="698" y="530"/>
                    <a:pt x="697" y="530"/>
                  </a:cubicBezTo>
                  <a:cubicBezTo>
                    <a:pt x="695" y="530"/>
                    <a:pt x="693" y="529"/>
                    <a:pt x="692" y="525"/>
                  </a:cubicBezTo>
                  <a:cubicBezTo>
                    <a:pt x="690" y="521"/>
                    <a:pt x="687" y="516"/>
                    <a:pt x="685" y="515"/>
                  </a:cubicBezTo>
                  <a:cubicBezTo>
                    <a:pt x="683" y="515"/>
                    <a:pt x="681" y="515"/>
                    <a:pt x="679" y="516"/>
                  </a:cubicBezTo>
                  <a:cubicBezTo>
                    <a:pt x="677" y="518"/>
                    <a:pt x="676" y="523"/>
                    <a:pt x="676" y="528"/>
                  </a:cubicBezTo>
                  <a:cubicBezTo>
                    <a:pt x="675" y="535"/>
                    <a:pt x="672" y="535"/>
                    <a:pt x="669" y="535"/>
                  </a:cubicBezTo>
                  <a:cubicBezTo>
                    <a:pt x="668" y="535"/>
                    <a:pt x="668" y="535"/>
                    <a:pt x="667" y="535"/>
                  </a:cubicBezTo>
                  <a:cubicBezTo>
                    <a:pt x="665" y="535"/>
                    <a:pt x="662" y="534"/>
                    <a:pt x="661" y="529"/>
                  </a:cubicBezTo>
                  <a:cubicBezTo>
                    <a:pt x="660" y="525"/>
                    <a:pt x="658" y="520"/>
                    <a:pt x="656" y="518"/>
                  </a:cubicBezTo>
                  <a:cubicBezTo>
                    <a:pt x="654" y="518"/>
                    <a:pt x="652" y="518"/>
                    <a:pt x="650" y="518"/>
                  </a:cubicBezTo>
                  <a:cubicBezTo>
                    <a:pt x="648" y="520"/>
                    <a:pt x="646" y="525"/>
                    <a:pt x="645" y="529"/>
                  </a:cubicBezTo>
                  <a:cubicBezTo>
                    <a:pt x="644" y="535"/>
                    <a:pt x="641" y="536"/>
                    <a:pt x="639" y="536"/>
                  </a:cubicBezTo>
                  <a:cubicBezTo>
                    <a:pt x="638" y="536"/>
                    <a:pt x="638" y="536"/>
                    <a:pt x="637" y="535"/>
                  </a:cubicBezTo>
                  <a:cubicBezTo>
                    <a:pt x="634" y="535"/>
                    <a:pt x="631" y="536"/>
                    <a:pt x="630" y="528"/>
                  </a:cubicBezTo>
                  <a:cubicBezTo>
                    <a:pt x="630" y="524"/>
                    <a:pt x="629" y="519"/>
                    <a:pt x="627" y="516"/>
                  </a:cubicBezTo>
                  <a:cubicBezTo>
                    <a:pt x="625" y="516"/>
                    <a:pt x="623" y="516"/>
                    <a:pt x="621" y="515"/>
                  </a:cubicBezTo>
                  <a:cubicBezTo>
                    <a:pt x="618" y="517"/>
                    <a:pt x="616" y="522"/>
                    <a:pt x="614" y="526"/>
                  </a:cubicBezTo>
                  <a:cubicBezTo>
                    <a:pt x="612" y="530"/>
                    <a:pt x="610" y="531"/>
                    <a:pt x="608" y="531"/>
                  </a:cubicBezTo>
                  <a:cubicBezTo>
                    <a:pt x="607" y="531"/>
                    <a:pt x="606" y="531"/>
                    <a:pt x="605" y="531"/>
                  </a:cubicBezTo>
                  <a:cubicBezTo>
                    <a:pt x="603" y="530"/>
                    <a:pt x="600" y="530"/>
                    <a:pt x="600" y="524"/>
                  </a:cubicBezTo>
                  <a:cubicBezTo>
                    <a:pt x="600" y="524"/>
                    <a:pt x="600" y="523"/>
                    <a:pt x="600" y="523"/>
                  </a:cubicBezTo>
                  <a:cubicBezTo>
                    <a:pt x="600" y="522"/>
                    <a:pt x="600" y="521"/>
                    <a:pt x="600" y="520"/>
                  </a:cubicBezTo>
                  <a:cubicBezTo>
                    <a:pt x="600" y="517"/>
                    <a:pt x="599" y="513"/>
                    <a:pt x="598" y="510"/>
                  </a:cubicBezTo>
                  <a:cubicBezTo>
                    <a:pt x="596" y="510"/>
                    <a:pt x="594" y="509"/>
                    <a:pt x="592" y="509"/>
                  </a:cubicBezTo>
                  <a:cubicBezTo>
                    <a:pt x="590" y="510"/>
                    <a:pt x="587" y="514"/>
                    <a:pt x="584" y="518"/>
                  </a:cubicBezTo>
                  <a:cubicBezTo>
                    <a:pt x="582" y="522"/>
                    <a:pt x="580" y="523"/>
                    <a:pt x="579" y="523"/>
                  </a:cubicBezTo>
                  <a:cubicBezTo>
                    <a:pt x="577" y="523"/>
                    <a:pt x="576" y="522"/>
                    <a:pt x="575" y="522"/>
                  </a:cubicBezTo>
                  <a:cubicBezTo>
                    <a:pt x="573" y="521"/>
                    <a:pt x="570" y="520"/>
                    <a:pt x="570" y="516"/>
                  </a:cubicBezTo>
                  <a:cubicBezTo>
                    <a:pt x="570" y="515"/>
                    <a:pt x="570" y="514"/>
                    <a:pt x="571" y="513"/>
                  </a:cubicBezTo>
                  <a:cubicBezTo>
                    <a:pt x="571" y="510"/>
                    <a:pt x="572" y="507"/>
                    <a:pt x="572" y="504"/>
                  </a:cubicBezTo>
                  <a:cubicBezTo>
                    <a:pt x="572" y="503"/>
                    <a:pt x="571" y="501"/>
                    <a:pt x="571" y="500"/>
                  </a:cubicBezTo>
                  <a:cubicBezTo>
                    <a:pt x="569" y="499"/>
                    <a:pt x="567" y="498"/>
                    <a:pt x="566" y="497"/>
                  </a:cubicBezTo>
                  <a:cubicBezTo>
                    <a:pt x="563" y="499"/>
                    <a:pt x="559" y="502"/>
                    <a:pt x="556" y="506"/>
                  </a:cubicBezTo>
                  <a:cubicBezTo>
                    <a:pt x="554" y="508"/>
                    <a:pt x="552" y="509"/>
                    <a:pt x="550" y="509"/>
                  </a:cubicBezTo>
                  <a:cubicBezTo>
                    <a:pt x="549" y="509"/>
                    <a:pt x="547" y="508"/>
                    <a:pt x="546" y="507"/>
                  </a:cubicBezTo>
                  <a:cubicBezTo>
                    <a:pt x="545" y="506"/>
                    <a:pt x="542" y="505"/>
                    <a:pt x="542" y="502"/>
                  </a:cubicBezTo>
                  <a:cubicBezTo>
                    <a:pt x="542" y="501"/>
                    <a:pt x="543" y="500"/>
                    <a:pt x="543" y="498"/>
                  </a:cubicBezTo>
                  <a:cubicBezTo>
                    <a:pt x="545" y="494"/>
                    <a:pt x="546" y="490"/>
                    <a:pt x="546" y="487"/>
                  </a:cubicBezTo>
                  <a:cubicBezTo>
                    <a:pt x="546" y="487"/>
                    <a:pt x="546" y="486"/>
                    <a:pt x="546" y="486"/>
                  </a:cubicBezTo>
                  <a:cubicBezTo>
                    <a:pt x="544" y="485"/>
                    <a:pt x="542" y="483"/>
                    <a:pt x="541" y="482"/>
                  </a:cubicBezTo>
                  <a:cubicBezTo>
                    <a:pt x="538" y="483"/>
                    <a:pt x="533" y="486"/>
                    <a:pt x="530" y="489"/>
                  </a:cubicBezTo>
                  <a:cubicBezTo>
                    <a:pt x="528" y="491"/>
                    <a:pt x="526" y="491"/>
                    <a:pt x="525" y="491"/>
                  </a:cubicBezTo>
                  <a:cubicBezTo>
                    <a:pt x="523" y="491"/>
                    <a:pt x="521" y="490"/>
                    <a:pt x="520" y="489"/>
                  </a:cubicBezTo>
                  <a:cubicBezTo>
                    <a:pt x="519" y="488"/>
                    <a:pt x="517" y="487"/>
                    <a:pt x="517" y="484"/>
                  </a:cubicBezTo>
                  <a:cubicBezTo>
                    <a:pt x="517" y="483"/>
                    <a:pt x="517" y="481"/>
                    <a:pt x="519" y="479"/>
                  </a:cubicBezTo>
                  <a:cubicBezTo>
                    <a:pt x="521" y="475"/>
                    <a:pt x="523" y="471"/>
                    <a:pt x="523" y="467"/>
                  </a:cubicBezTo>
                  <a:cubicBezTo>
                    <a:pt x="522" y="466"/>
                    <a:pt x="520" y="465"/>
                    <a:pt x="519" y="463"/>
                  </a:cubicBezTo>
                  <a:cubicBezTo>
                    <a:pt x="516" y="463"/>
                    <a:pt x="511" y="466"/>
                    <a:pt x="507" y="468"/>
                  </a:cubicBezTo>
                  <a:cubicBezTo>
                    <a:pt x="505" y="469"/>
                    <a:pt x="503" y="470"/>
                    <a:pt x="502" y="470"/>
                  </a:cubicBezTo>
                  <a:cubicBezTo>
                    <a:pt x="500" y="470"/>
                    <a:pt x="498" y="468"/>
                    <a:pt x="497" y="467"/>
                  </a:cubicBezTo>
                  <a:cubicBezTo>
                    <a:pt x="496" y="466"/>
                    <a:pt x="495" y="464"/>
                    <a:pt x="495" y="462"/>
                  </a:cubicBezTo>
                  <a:cubicBezTo>
                    <a:pt x="495" y="461"/>
                    <a:pt x="495" y="459"/>
                    <a:pt x="497" y="457"/>
                  </a:cubicBezTo>
                  <a:cubicBezTo>
                    <a:pt x="500" y="453"/>
                    <a:pt x="503" y="449"/>
                    <a:pt x="503" y="446"/>
                  </a:cubicBezTo>
                  <a:cubicBezTo>
                    <a:pt x="502" y="444"/>
                    <a:pt x="501" y="443"/>
                    <a:pt x="500" y="441"/>
                  </a:cubicBezTo>
                  <a:cubicBezTo>
                    <a:pt x="499" y="441"/>
                    <a:pt x="499" y="441"/>
                    <a:pt x="499" y="441"/>
                  </a:cubicBezTo>
                  <a:cubicBezTo>
                    <a:pt x="496" y="441"/>
                    <a:pt x="491" y="442"/>
                    <a:pt x="488" y="444"/>
                  </a:cubicBezTo>
                  <a:cubicBezTo>
                    <a:pt x="486" y="445"/>
                    <a:pt x="484" y="445"/>
                    <a:pt x="483" y="445"/>
                  </a:cubicBezTo>
                  <a:cubicBezTo>
                    <a:pt x="480" y="445"/>
                    <a:pt x="479" y="443"/>
                    <a:pt x="478" y="441"/>
                  </a:cubicBezTo>
                  <a:cubicBezTo>
                    <a:pt x="477" y="440"/>
                    <a:pt x="476" y="439"/>
                    <a:pt x="476" y="437"/>
                  </a:cubicBezTo>
                  <a:cubicBezTo>
                    <a:pt x="476" y="435"/>
                    <a:pt x="477" y="434"/>
                    <a:pt x="480" y="431"/>
                  </a:cubicBezTo>
                  <a:cubicBezTo>
                    <a:pt x="483" y="428"/>
                    <a:pt x="487" y="425"/>
                    <a:pt x="488" y="422"/>
                  </a:cubicBezTo>
                  <a:cubicBezTo>
                    <a:pt x="487" y="420"/>
                    <a:pt x="486" y="418"/>
                    <a:pt x="485" y="416"/>
                  </a:cubicBezTo>
                  <a:cubicBezTo>
                    <a:pt x="484" y="416"/>
                    <a:pt x="482" y="416"/>
                    <a:pt x="481" y="416"/>
                  </a:cubicBezTo>
                  <a:cubicBezTo>
                    <a:pt x="478" y="416"/>
                    <a:pt x="475" y="416"/>
                    <a:pt x="472" y="417"/>
                  </a:cubicBezTo>
                  <a:cubicBezTo>
                    <a:pt x="471" y="417"/>
                    <a:pt x="470" y="418"/>
                    <a:pt x="469" y="418"/>
                  </a:cubicBezTo>
                  <a:cubicBezTo>
                    <a:pt x="465" y="418"/>
                    <a:pt x="464" y="415"/>
                    <a:pt x="463" y="413"/>
                  </a:cubicBezTo>
                  <a:cubicBezTo>
                    <a:pt x="463" y="412"/>
                    <a:pt x="462" y="411"/>
                    <a:pt x="462" y="409"/>
                  </a:cubicBezTo>
                  <a:cubicBezTo>
                    <a:pt x="462" y="407"/>
                    <a:pt x="463" y="406"/>
                    <a:pt x="466" y="404"/>
                  </a:cubicBezTo>
                  <a:cubicBezTo>
                    <a:pt x="470" y="401"/>
                    <a:pt x="474" y="398"/>
                    <a:pt x="476" y="395"/>
                  </a:cubicBezTo>
                  <a:cubicBezTo>
                    <a:pt x="475" y="393"/>
                    <a:pt x="474" y="391"/>
                    <a:pt x="474" y="389"/>
                  </a:cubicBezTo>
                  <a:cubicBezTo>
                    <a:pt x="472" y="388"/>
                    <a:pt x="468" y="388"/>
                    <a:pt x="465" y="388"/>
                  </a:cubicBezTo>
                  <a:cubicBezTo>
                    <a:pt x="464" y="388"/>
                    <a:pt x="462" y="388"/>
                    <a:pt x="461" y="388"/>
                  </a:cubicBezTo>
                  <a:cubicBezTo>
                    <a:pt x="460" y="388"/>
                    <a:pt x="460" y="388"/>
                    <a:pt x="459" y="388"/>
                  </a:cubicBezTo>
                  <a:cubicBezTo>
                    <a:pt x="454" y="388"/>
                    <a:pt x="453" y="385"/>
                    <a:pt x="453" y="383"/>
                  </a:cubicBezTo>
                  <a:cubicBezTo>
                    <a:pt x="453" y="382"/>
                    <a:pt x="452" y="381"/>
                    <a:pt x="452" y="380"/>
                  </a:cubicBezTo>
                  <a:cubicBezTo>
                    <a:pt x="452" y="378"/>
                    <a:pt x="453" y="376"/>
                    <a:pt x="457" y="374"/>
                  </a:cubicBezTo>
                  <a:cubicBezTo>
                    <a:pt x="462" y="372"/>
                    <a:pt x="466" y="369"/>
                    <a:pt x="468" y="367"/>
                  </a:cubicBezTo>
                  <a:cubicBezTo>
                    <a:pt x="467" y="365"/>
                    <a:pt x="467" y="363"/>
                    <a:pt x="467" y="361"/>
                  </a:cubicBezTo>
                  <a:cubicBezTo>
                    <a:pt x="464" y="359"/>
                    <a:pt x="459" y="358"/>
                    <a:pt x="455" y="358"/>
                  </a:cubicBezTo>
                  <a:cubicBezTo>
                    <a:pt x="448" y="358"/>
                    <a:pt x="448" y="354"/>
                    <a:pt x="447" y="351"/>
                  </a:cubicBezTo>
                  <a:cubicBezTo>
                    <a:pt x="447" y="351"/>
                    <a:pt x="447" y="350"/>
                    <a:pt x="447" y="349"/>
                  </a:cubicBezTo>
                  <a:cubicBezTo>
                    <a:pt x="447" y="347"/>
                    <a:pt x="448" y="344"/>
                    <a:pt x="453" y="343"/>
                  </a:cubicBezTo>
                  <a:cubicBezTo>
                    <a:pt x="458" y="342"/>
                    <a:pt x="463" y="340"/>
                    <a:pt x="465" y="338"/>
                  </a:cubicBezTo>
                  <a:cubicBezTo>
                    <a:pt x="465" y="336"/>
                    <a:pt x="465" y="334"/>
                    <a:pt x="465" y="332"/>
                  </a:cubicBezTo>
                  <a:cubicBezTo>
                    <a:pt x="462" y="330"/>
                    <a:pt x="457" y="328"/>
                    <a:pt x="453" y="327"/>
                  </a:cubicBezTo>
                  <a:cubicBezTo>
                    <a:pt x="448" y="326"/>
                    <a:pt x="447" y="324"/>
                    <a:pt x="447" y="321"/>
                  </a:cubicBezTo>
                  <a:cubicBezTo>
                    <a:pt x="447" y="321"/>
                    <a:pt x="447" y="320"/>
                    <a:pt x="447" y="319"/>
                  </a:cubicBezTo>
                  <a:cubicBezTo>
                    <a:pt x="447" y="317"/>
                    <a:pt x="447" y="313"/>
                    <a:pt x="454" y="312"/>
                  </a:cubicBezTo>
                  <a:cubicBezTo>
                    <a:pt x="458" y="312"/>
                    <a:pt x="464" y="311"/>
                    <a:pt x="466" y="309"/>
                  </a:cubicBezTo>
                  <a:cubicBezTo>
                    <a:pt x="466" y="307"/>
                    <a:pt x="467" y="305"/>
                    <a:pt x="467" y="303"/>
                  </a:cubicBezTo>
                  <a:cubicBezTo>
                    <a:pt x="465" y="301"/>
                    <a:pt x="460" y="298"/>
                    <a:pt x="456" y="296"/>
                  </a:cubicBezTo>
                  <a:cubicBezTo>
                    <a:pt x="452" y="295"/>
                    <a:pt x="451" y="293"/>
                    <a:pt x="451" y="291"/>
                  </a:cubicBezTo>
                  <a:cubicBezTo>
                    <a:pt x="451" y="290"/>
                    <a:pt x="451" y="289"/>
                    <a:pt x="452" y="288"/>
                  </a:cubicBezTo>
                  <a:cubicBezTo>
                    <a:pt x="452" y="285"/>
                    <a:pt x="452" y="282"/>
                    <a:pt x="458" y="282"/>
                  </a:cubicBezTo>
                  <a:cubicBezTo>
                    <a:pt x="458" y="282"/>
                    <a:pt x="459" y="282"/>
                    <a:pt x="460" y="282"/>
                  </a:cubicBezTo>
                  <a:cubicBezTo>
                    <a:pt x="460" y="282"/>
                    <a:pt x="461" y="282"/>
                    <a:pt x="462" y="282"/>
                  </a:cubicBezTo>
                  <a:cubicBezTo>
                    <a:pt x="466" y="282"/>
                    <a:pt x="470" y="282"/>
                    <a:pt x="472" y="280"/>
                  </a:cubicBezTo>
                  <a:cubicBezTo>
                    <a:pt x="473" y="279"/>
                    <a:pt x="473" y="277"/>
                    <a:pt x="474" y="275"/>
                  </a:cubicBezTo>
                  <a:cubicBezTo>
                    <a:pt x="472" y="272"/>
                    <a:pt x="468" y="269"/>
                    <a:pt x="464" y="266"/>
                  </a:cubicBezTo>
                  <a:cubicBezTo>
                    <a:pt x="461" y="264"/>
                    <a:pt x="460" y="263"/>
                    <a:pt x="460" y="261"/>
                  </a:cubicBezTo>
                  <a:cubicBezTo>
                    <a:pt x="460" y="259"/>
                    <a:pt x="460" y="258"/>
                    <a:pt x="461" y="257"/>
                  </a:cubicBezTo>
                  <a:cubicBezTo>
                    <a:pt x="462" y="255"/>
                    <a:pt x="463" y="252"/>
                    <a:pt x="467" y="252"/>
                  </a:cubicBezTo>
                  <a:cubicBezTo>
                    <a:pt x="467" y="252"/>
                    <a:pt x="468" y="252"/>
                    <a:pt x="470" y="253"/>
                  </a:cubicBezTo>
                  <a:cubicBezTo>
                    <a:pt x="472" y="253"/>
                    <a:pt x="475" y="254"/>
                    <a:pt x="478" y="254"/>
                  </a:cubicBezTo>
                  <a:cubicBezTo>
                    <a:pt x="480" y="254"/>
                    <a:pt x="481" y="254"/>
                    <a:pt x="482" y="253"/>
                  </a:cubicBezTo>
                  <a:cubicBezTo>
                    <a:pt x="483" y="251"/>
                    <a:pt x="484" y="250"/>
                    <a:pt x="485" y="248"/>
                  </a:cubicBezTo>
                  <a:cubicBezTo>
                    <a:pt x="484" y="245"/>
                    <a:pt x="480" y="241"/>
                    <a:pt x="477" y="238"/>
                  </a:cubicBezTo>
                  <a:cubicBezTo>
                    <a:pt x="474" y="236"/>
                    <a:pt x="473" y="234"/>
                    <a:pt x="473" y="233"/>
                  </a:cubicBezTo>
                  <a:cubicBezTo>
                    <a:pt x="473" y="231"/>
                    <a:pt x="474" y="230"/>
                    <a:pt x="475" y="228"/>
                  </a:cubicBezTo>
                  <a:cubicBezTo>
                    <a:pt x="476" y="227"/>
                    <a:pt x="477" y="224"/>
                    <a:pt x="480" y="224"/>
                  </a:cubicBezTo>
                  <a:cubicBezTo>
                    <a:pt x="481" y="224"/>
                    <a:pt x="483" y="225"/>
                    <a:pt x="484" y="226"/>
                  </a:cubicBezTo>
                  <a:cubicBezTo>
                    <a:pt x="488" y="227"/>
                    <a:pt x="492" y="228"/>
                    <a:pt x="495" y="228"/>
                  </a:cubicBezTo>
                  <a:cubicBezTo>
                    <a:pt x="496" y="228"/>
                    <a:pt x="496" y="228"/>
                    <a:pt x="497" y="228"/>
                  </a:cubicBezTo>
                  <a:cubicBezTo>
                    <a:pt x="498" y="226"/>
                    <a:pt x="499" y="225"/>
                    <a:pt x="500" y="223"/>
                  </a:cubicBezTo>
                  <a:cubicBezTo>
                    <a:pt x="500" y="220"/>
                    <a:pt x="497" y="216"/>
                    <a:pt x="494" y="212"/>
                  </a:cubicBezTo>
                  <a:cubicBezTo>
                    <a:pt x="492" y="210"/>
                    <a:pt x="491" y="208"/>
                    <a:pt x="491" y="207"/>
                  </a:cubicBezTo>
                  <a:cubicBezTo>
                    <a:pt x="491" y="205"/>
                    <a:pt x="492" y="204"/>
                    <a:pt x="493" y="202"/>
                  </a:cubicBezTo>
                  <a:cubicBezTo>
                    <a:pt x="495" y="201"/>
                    <a:pt x="496" y="199"/>
                    <a:pt x="498" y="199"/>
                  </a:cubicBezTo>
                  <a:cubicBezTo>
                    <a:pt x="500" y="199"/>
                    <a:pt x="501" y="200"/>
                    <a:pt x="503" y="201"/>
                  </a:cubicBezTo>
                  <a:cubicBezTo>
                    <a:pt x="507" y="203"/>
                    <a:pt x="512" y="205"/>
                    <a:pt x="515" y="205"/>
                  </a:cubicBezTo>
                  <a:cubicBezTo>
                    <a:pt x="516" y="204"/>
                    <a:pt x="518" y="202"/>
                    <a:pt x="519" y="201"/>
                  </a:cubicBezTo>
                  <a:cubicBezTo>
                    <a:pt x="519" y="198"/>
                    <a:pt x="517" y="193"/>
                    <a:pt x="515" y="189"/>
                  </a:cubicBezTo>
                  <a:cubicBezTo>
                    <a:pt x="513" y="187"/>
                    <a:pt x="513" y="186"/>
                    <a:pt x="513" y="184"/>
                  </a:cubicBezTo>
                  <a:cubicBezTo>
                    <a:pt x="513" y="182"/>
                    <a:pt x="514" y="181"/>
                    <a:pt x="516" y="179"/>
                  </a:cubicBezTo>
                  <a:cubicBezTo>
                    <a:pt x="517" y="178"/>
                    <a:pt x="518" y="177"/>
                    <a:pt x="520" y="177"/>
                  </a:cubicBezTo>
                  <a:cubicBezTo>
                    <a:pt x="522" y="177"/>
                    <a:pt x="523" y="178"/>
                    <a:pt x="526" y="180"/>
                  </a:cubicBezTo>
                  <a:cubicBezTo>
                    <a:pt x="529" y="182"/>
                    <a:pt x="533" y="185"/>
                    <a:pt x="537" y="186"/>
                  </a:cubicBezTo>
                  <a:cubicBezTo>
                    <a:pt x="538" y="184"/>
                    <a:pt x="540" y="183"/>
                    <a:pt x="541" y="182"/>
                  </a:cubicBezTo>
                  <a:cubicBezTo>
                    <a:pt x="541" y="182"/>
                    <a:pt x="541" y="181"/>
                    <a:pt x="541" y="181"/>
                  </a:cubicBezTo>
                  <a:cubicBezTo>
                    <a:pt x="541" y="178"/>
                    <a:pt x="540" y="173"/>
                    <a:pt x="539" y="170"/>
                  </a:cubicBezTo>
                  <a:cubicBezTo>
                    <a:pt x="538" y="168"/>
                    <a:pt x="537" y="167"/>
                    <a:pt x="537" y="165"/>
                  </a:cubicBezTo>
                  <a:cubicBezTo>
                    <a:pt x="537" y="162"/>
                    <a:pt x="540" y="161"/>
                    <a:pt x="541" y="160"/>
                  </a:cubicBezTo>
                  <a:cubicBezTo>
                    <a:pt x="542" y="160"/>
                    <a:pt x="544" y="159"/>
                    <a:pt x="546" y="159"/>
                  </a:cubicBezTo>
                  <a:cubicBezTo>
                    <a:pt x="547" y="159"/>
                    <a:pt x="549" y="159"/>
                    <a:pt x="551" y="162"/>
                  </a:cubicBezTo>
                  <a:cubicBezTo>
                    <a:pt x="554" y="165"/>
                    <a:pt x="558" y="169"/>
                    <a:pt x="561" y="170"/>
                  </a:cubicBezTo>
                  <a:cubicBezTo>
                    <a:pt x="563" y="169"/>
                    <a:pt x="564" y="168"/>
                    <a:pt x="566" y="167"/>
                  </a:cubicBezTo>
                  <a:cubicBezTo>
                    <a:pt x="566" y="166"/>
                    <a:pt x="567" y="165"/>
                    <a:pt x="567" y="163"/>
                  </a:cubicBezTo>
                  <a:cubicBezTo>
                    <a:pt x="567" y="161"/>
                    <a:pt x="566" y="157"/>
                    <a:pt x="565" y="154"/>
                  </a:cubicBezTo>
                  <a:cubicBezTo>
                    <a:pt x="565" y="153"/>
                    <a:pt x="565" y="152"/>
                    <a:pt x="565" y="151"/>
                  </a:cubicBezTo>
                  <a:cubicBezTo>
                    <a:pt x="565" y="147"/>
                    <a:pt x="568" y="146"/>
                    <a:pt x="570" y="145"/>
                  </a:cubicBezTo>
                  <a:cubicBezTo>
                    <a:pt x="571" y="145"/>
                    <a:pt x="572" y="144"/>
                    <a:pt x="573" y="144"/>
                  </a:cubicBezTo>
                  <a:cubicBezTo>
                    <a:pt x="575" y="144"/>
                    <a:pt x="577" y="145"/>
                    <a:pt x="579" y="148"/>
                  </a:cubicBezTo>
                  <a:cubicBezTo>
                    <a:pt x="581" y="152"/>
                    <a:pt x="585" y="156"/>
                    <a:pt x="587" y="158"/>
                  </a:cubicBezTo>
                  <a:cubicBezTo>
                    <a:pt x="589" y="157"/>
                    <a:pt x="591" y="156"/>
                    <a:pt x="593" y="156"/>
                  </a:cubicBezTo>
                  <a:cubicBezTo>
                    <a:pt x="594" y="154"/>
                    <a:pt x="594" y="151"/>
                    <a:pt x="594" y="147"/>
                  </a:cubicBezTo>
                  <a:cubicBezTo>
                    <a:pt x="594" y="146"/>
                    <a:pt x="594" y="145"/>
                    <a:pt x="594" y="143"/>
                  </a:cubicBezTo>
                  <a:cubicBezTo>
                    <a:pt x="594" y="143"/>
                    <a:pt x="594" y="142"/>
                    <a:pt x="594" y="141"/>
                  </a:cubicBezTo>
                  <a:cubicBezTo>
                    <a:pt x="594" y="136"/>
                    <a:pt x="597" y="136"/>
                    <a:pt x="600" y="135"/>
                  </a:cubicBezTo>
                  <a:cubicBezTo>
                    <a:pt x="601" y="135"/>
                    <a:pt x="602" y="134"/>
                    <a:pt x="603" y="134"/>
                  </a:cubicBezTo>
                  <a:cubicBezTo>
                    <a:pt x="605" y="134"/>
                    <a:pt x="607" y="135"/>
                    <a:pt x="608" y="140"/>
                  </a:cubicBezTo>
                  <a:cubicBezTo>
                    <a:pt x="610" y="144"/>
                    <a:pt x="613" y="148"/>
                    <a:pt x="615" y="150"/>
                  </a:cubicBezTo>
                  <a:cubicBezTo>
                    <a:pt x="617" y="150"/>
                    <a:pt x="619" y="149"/>
                    <a:pt x="621" y="149"/>
                  </a:cubicBezTo>
                  <a:cubicBezTo>
                    <a:pt x="623" y="147"/>
                    <a:pt x="624" y="141"/>
                    <a:pt x="625" y="137"/>
                  </a:cubicBezTo>
                  <a:cubicBezTo>
                    <a:pt x="625" y="130"/>
                    <a:pt x="629" y="130"/>
                    <a:pt x="631" y="130"/>
                  </a:cubicBezTo>
                  <a:cubicBezTo>
                    <a:pt x="632" y="130"/>
                    <a:pt x="633" y="129"/>
                    <a:pt x="633" y="129"/>
                  </a:cubicBezTo>
                  <a:cubicBezTo>
                    <a:pt x="636" y="129"/>
                    <a:pt x="638" y="130"/>
                    <a:pt x="639" y="135"/>
                  </a:cubicBezTo>
                  <a:cubicBezTo>
                    <a:pt x="640" y="140"/>
                    <a:pt x="642" y="145"/>
                    <a:pt x="644" y="147"/>
                  </a:cubicBezTo>
                  <a:moveTo>
                    <a:pt x="735" y="134"/>
                  </a:moveTo>
                  <a:cubicBezTo>
                    <a:pt x="732" y="134"/>
                    <a:pt x="729" y="133"/>
                    <a:pt x="727" y="131"/>
                  </a:cubicBezTo>
                  <a:cubicBezTo>
                    <a:pt x="721" y="126"/>
                    <a:pt x="720" y="119"/>
                    <a:pt x="723" y="113"/>
                  </a:cubicBezTo>
                  <a:cubicBezTo>
                    <a:pt x="745" y="129"/>
                    <a:pt x="745" y="129"/>
                    <a:pt x="745" y="129"/>
                  </a:cubicBezTo>
                  <a:cubicBezTo>
                    <a:pt x="743" y="132"/>
                    <a:pt x="739" y="134"/>
                    <a:pt x="735" y="134"/>
                  </a:cubicBezTo>
                  <a:moveTo>
                    <a:pt x="747" y="127"/>
                  </a:moveTo>
                  <a:cubicBezTo>
                    <a:pt x="725" y="111"/>
                    <a:pt x="725" y="111"/>
                    <a:pt x="725" y="111"/>
                  </a:cubicBezTo>
                  <a:cubicBezTo>
                    <a:pt x="728" y="108"/>
                    <a:pt x="732" y="106"/>
                    <a:pt x="735" y="106"/>
                  </a:cubicBezTo>
                  <a:cubicBezTo>
                    <a:pt x="738" y="106"/>
                    <a:pt x="741" y="107"/>
                    <a:pt x="744" y="110"/>
                  </a:cubicBezTo>
                  <a:cubicBezTo>
                    <a:pt x="749" y="114"/>
                    <a:pt x="750" y="121"/>
                    <a:pt x="747" y="127"/>
                  </a:cubicBezTo>
                  <a:moveTo>
                    <a:pt x="635" y="0"/>
                  </a:moveTo>
                  <a:cubicBezTo>
                    <a:pt x="635" y="2"/>
                    <a:pt x="633" y="4"/>
                    <a:pt x="629" y="6"/>
                  </a:cubicBezTo>
                  <a:cubicBezTo>
                    <a:pt x="624" y="9"/>
                    <a:pt x="619" y="13"/>
                    <a:pt x="618" y="16"/>
                  </a:cubicBezTo>
                  <a:cubicBezTo>
                    <a:pt x="619" y="19"/>
                    <a:pt x="626" y="22"/>
                    <a:pt x="633" y="23"/>
                  </a:cubicBezTo>
                  <a:cubicBezTo>
                    <a:pt x="640" y="24"/>
                    <a:pt x="640" y="27"/>
                    <a:pt x="640" y="30"/>
                  </a:cubicBezTo>
                  <a:cubicBezTo>
                    <a:pt x="640" y="33"/>
                    <a:pt x="640" y="37"/>
                    <a:pt x="633" y="38"/>
                  </a:cubicBezTo>
                  <a:cubicBezTo>
                    <a:pt x="627" y="39"/>
                    <a:pt x="621" y="41"/>
                    <a:pt x="619" y="44"/>
                  </a:cubicBezTo>
                  <a:cubicBezTo>
                    <a:pt x="619" y="47"/>
                    <a:pt x="625" y="52"/>
                    <a:pt x="631" y="55"/>
                  </a:cubicBezTo>
                  <a:cubicBezTo>
                    <a:pt x="638" y="58"/>
                    <a:pt x="636" y="61"/>
                    <a:pt x="635" y="64"/>
                  </a:cubicBezTo>
                  <a:cubicBezTo>
                    <a:pt x="635" y="66"/>
                    <a:pt x="634" y="69"/>
                    <a:pt x="629" y="69"/>
                  </a:cubicBezTo>
                  <a:cubicBezTo>
                    <a:pt x="628" y="69"/>
                    <a:pt x="627" y="69"/>
                    <a:pt x="626" y="69"/>
                  </a:cubicBezTo>
                  <a:cubicBezTo>
                    <a:pt x="624" y="69"/>
                    <a:pt x="622" y="69"/>
                    <a:pt x="620" y="69"/>
                  </a:cubicBezTo>
                  <a:cubicBezTo>
                    <a:pt x="617" y="69"/>
                    <a:pt x="613" y="69"/>
                    <a:pt x="611" y="71"/>
                  </a:cubicBezTo>
                  <a:cubicBezTo>
                    <a:pt x="611" y="74"/>
                    <a:pt x="615" y="80"/>
                    <a:pt x="619" y="84"/>
                  </a:cubicBezTo>
                  <a:cubicBezTo>
                    <a:pt x="625" y="90"/>
                    <a:pt x="622" y="92"/>
                    <a:pt x="620" y="95"/>
                  </a:cubicBezTo>
                  <a:cubicBezTo>
                    <a:pt x="619" y="97"/>
                    <a:pt x="618" y="99"/>
                    <a:pt x="615" y="99"/>
                  </a:cubicBezTo>
                  <a:cubicBezTo>
                    <a:pt x="614" y="99"/>
                    <a:pt x="612" y="98"/>
                    <a:pt x="610" y="97"/>
                  </a:cubicBezTo>
                  <a:cubicBezTo>
                    <a:pt x="606" y="95"/>
                    <a:pt x="601" y="93"/>
                    <a:pt x="597" y="93"/>
                  </a:cubicBezTo>
                  <a:cubicBezTo>
                    <a:pt x="595" y="93"/>
                    <a:pt x="594" y="94"/>
                    <a:pt x="593" y="95"/>
                  </a:cubicBezTo>
                  <a:cubicBezTo>
                    <a:pt x="591" y="97"/>
                    <a:pt x="594" y="105"/>
                    <a:pt x="597" y="111"/>
                  </a:cubicBezTo>
                  <a:cubicBezTo>
                    <a:pt x="601" y="118"/>
                    <a:pt x="597" y="119"/>
                    <a:pt x="595" y="121"/>
                  </a:cubicBezTo>
                  <a:cubicBezTo>
                    <a:pt x="594" y="122"/>
                    <a:pt x="592" y="123"/>
                    <a:pt x="591" y="123"/>
                  </a:cubicBezTo>
                  <a:cubicBezTo>
                    <a:pt x="589" y="123"/>
                    <a:pt x="587" y="123"/>
                    <a:pt x="585" y="120"/>
                  </a:cubicBezTo>
                  <a:cubicBezTo>
                    <a:pt x="580" y="116"/>
                    <a:pt x="574" y="112"/>
                    <a:pt x="571" y="112"/>
                  </a:cubicBezTo>
                  <a:cubicBezTo>
                    <a:pt x="571" y="112"/>
                    <a:pt x="570" y="112"/>
                    <a:pt x="570" y="112"/>
                  </a:cubicBezTo>
                  <a:cubicBezTo>
                    <a:pt x="569" y="116"/>
                    <a:pt x="568" y="122"/>
                    <a:pt x="569" y="128"/>
                  </a:cubicBezTo>
                  <a:cubicBezTo>
                    <a:pt x="571" y="135"/>
                    <a:pt x="567" y="136"/>
                    <a:pt x="565" y="137"/>
                  </a:cubicBezTo>
                  <a:cubicBezTo>
                    <a:pt x="564" y="137"/>
                    <a:pt x="562" y="138"/>
                    <a:pt x="561" y="138"/>
                  </a:cubicBezTo>
                  <a:cubicBezTo>
                    <a:pt x="559" y="138"/>
                    <a:pt x="557" y="137"/>
                    <a:pt x="555" y="133"/>
                  </a:cubicBezTo>
                  <a:cubicBezTo>
                    <a:pt x="552" y="127"/>
                    <a:pt x="547" y="122"/>
                    <a:pt x="544" y="121"/>
                  </a:cubicBezTo>
                  <a:cubicBezTo>
                    <a:pt x="541" y="123"/>
                    <a:pt x="539" y="130"/>
                    <a:pt x="538" y="135"/>
                  </a:cubicBezTo>
                  <a:cubicBezTo>
                    <a:pt x="538" y="143"/>
                    <a:pt x="534" y="143"/>
                    <a:pt x="531" y="143"/>
                  </a:cubicBezTo>
                  <a:cubicBezTo>
                    <a:pt x="530" y="143"/>
                    <a:pt x="530" y="143"/>
                    <a:pt x="529" y="143"/>
                  </a:cubicBezTo>
                  <a:cubicBezTo>
                    <a:pt x="527" y="143"/>
                    <a:pt x="524" y="142"/>
                    <a:pt x="523" y="136"/>
                  </a:cubicBezTo>
                  <a:cubicBezTo>
                    <a:pt x="522" y="130"/>
                    <a:pt x="519" y="123"/>
                    <a:pt x="516" y="121"/>
                  </a:cubicBezTo>
                  <a:cubicBezTo>
                    <a:pt x="513" y="123"/>
                    <a:pt x="509" y="128"/>
                    <a:pt x="507" y="133"/>
                  </a:cubicBezTo>
                  <a:cubicBezTo>
                    <a:pt x="505" y="137"/>
                    <a:pt x="502" y="139"/>
                    <a:pt x="501" y="139"/>
                  </a:cubicBezTo>
                  <a:cubicBezTo>
                    <a:pt x="499" y="139"/>
                    <a:pt x="498" y="138"/>
                    <a:pt x="497" y="138"/>
                  </a:cubicBezTo>
                  <a:cubicBezTo>
                    <a:pt x="494" y="137"/>
                    <a:pt x="491" y="137"/>
                    <a:pt x="492" y="129"/>
                  </a:cubicBezTo>
                  <a:cubicBezTo>
                    <a:pt x="493" y="123"/>
                    <a:pt x="492" y="115"/>
                    <a:pt x="489" y="113"/>
                  </a:cubicBezTo>
                  <a:cubicBezTo>
                    <a:pt x="486" y="113"/>
                    <a:pt x="481" y="117"/>
                    <a:pt x="477" y="121"/>
                  </a:cubicBezTo>
                  <a:cubicBezTo>
                    <a:pt x="474" y="124"/>
                    <a:pt x="472" y="125"/>
                    <a:pt x="471" y="125"/>
                  </a:cubicBezTo>
                  <a:cubicBezTo>
                    <a:pt x="469" y="125"/>
                    <a:pt x="468" y="124"/>
                    <a:pt x="466" y="123"/>
                  </a:cubicBezTo>
                  <a:cubicBezTo>
                    <a:pt x="464" y="121"/>
                    <a:pt x="461" y="120"/>
                    <a:pt x="464" y="113"/>
                  </a:cubicBezTo>
                  <a:cubicBezTo>
                    <a:pt x="467" y="107"/>
                    <a:pt x="468" y="100"/>
                    <a:pt x="467" y="97"/>
                  </a:cubicBezTo>
                  <a:cubicBezTo>
                    <a:pt x="466" y="97"/>
                    <a:pt x="466" y="97"/>
                    <a:pt x="465" y="97"/>
                  </a:cubicBezTo>
                  <a:cubicBezTo>
                    <a:pt x="462" y="97"/>
                    <a:pt x="457" y="98"/>
                    <a:pt x="452" y="101"/>
                  </a:cubicBezTo>
                  <a:cubicBezTo>
                    <a:pt x="450" y="102"/>
                    <a:pt x="448" y="103"/>
                    <a:pt x="447" y="103"/>
                  </a:cubicBezTo>
                  <a:cubicBezTo>
                    <a:pt x="444" y="103"/>
                    <a:pt x="443" y="101"/>
                    <a:pt x="442" y="99"/>
                  </a:cubicBezTo>
                  <a:cubicBezTo>
                    <a:pt x="440" y="97"/>
                    <a:pt x="437" y="94"/>
                    <a:pt x="443" y="89"/>
                  </a:cubicBezTo>
                  <a:cubicBezTo>
                    <a:pt x="447" y="84"/>
                    <a:pt x="451" y="78"/>
                    <a:pt x="450" y="74"/>
                  </a:cubicBezTo>
                  <a:cubicBezTo>
                    <a:pt x="448" y="73"/>
                    <a:pt x="446" y="73"/>
                    <a:pt x="442" y="73"/>
                  </a:cubicBezTo>
                  <a:cubicBezTo>
                    <a:pt x="440" y="73"/>
                    <a:pt x="437" y="73"/>
                    <a:pt x="435" y="74"/>
                  </a:cubicBezTo>
                  <a:cubicBezTo>
                    <a:pt x="434" y="74"/>
                    <a:pt x="432" y="74"/>
                    <a:pt x="431" y="74"/>
                  </a:cubicBezTo>
                  <a:cubicBezTo>
                    <a:pt x="427" y="74"/>
                    <a:pt x="426" y="71"/>
                    <a:pt x="426" y="69"/>
                  </a:cubicBezTo>
                  <a:cubicBezTo>
                    <a:pt x="424" y="66"/>
                    <a:pt x="423" y="63"/>
                    <a:pt x="430" y="60"/>
                  </a:cubicBezTo>
                  <a:cubicBezTo>
                    <a:pt x="435" y="56"/>
                    <a:pt x="441" y="51"/>
                    <a:pt x="441" y="48"/>
                  </a:cubicBezTo>
                  <a:cubicBezTo>
                    <a:pt x="439" y="46"/>
                    <a:pt x="432" y="44"/>
                    <a:pt x="427" y="43"/>
                  </a:cubicBezTo>
                  <a:cubicBezTo>
                    <a:pt x="419" y="42"/>
                    <a:pt x="419" y="39"/>
                    <a:pt x="419" y="36"/>
                  </a:cubicBezTo>
                  <a:cubicBezTo>
                    <a:pt x="419" y="33"/>
                    <a:pt x="418" y="29"/>
                    <a:pt x="426" y="28"/>
                  </a:cubicBezTo>
                  <a:cubicBezTo>
                    <a:pt x="432" y="26"/>
                    <a:pt x="439" y="23"/>
                    <a:pt x="441" y="20"/>
                  </a:cubicBezTo>
                  <a:cubicBezTo>
                    <a:pt x="441" y="20"/>
                    <a:pt x="441" y="20"/>
                    <a:pt x="440" y="20"/>
                  </a:cubicBezTo>
                  <a:cubicBezTo>
                    <a:pt x="417" y="26"/>
                    <a:pt x="394" y="34"/>
                    <a:pt x="371" y="44"/>
                  </a:cubicBezTo>
                  <a:cubicBezTo>
                    <a:pt x="375" y="43"/>
                    <a:pt x="381" y="41"/>
                    <a:pt x="387" y="39"/>
                  </a:cubicBezTo>
                  <a:cubicBezTo>
                    <a:pt x="390" y="38"/>
                    <a:pt x="391" y="37"/>
                    <a:pt x="393" y="37"/>
                  </a:cubicBezTo>
                  <a:cubicBezTo>
                    <a:pt x="396" y="37"/>
                    <a:pt x="397" y="39"/>
                    <a:pt x="398" y="41"/>
                  </a:cubicBezTo>
                  <a:cubicBezTo>
                    <a:pt x="399" y="42"/>
                    <a:pt x="399" y="42"/>
                    <a:pt x="399" y="42"/>
                  </a:cubicBezTo>
                  <a:cubicBezTo>
                    <a:pt x="401" y="46"/>
                    <a:pt x="403" y="48"/>
                    <a:pt x="397" y="54"/>
                  </a:cubicBezTo>
                  <a:cubicBezTo>
                    <a:pt x="392" y="58"/>
                    <a:pt x="386" y="65"/>
                    <a:pt x="384" y="70"/>
                  </a:cubicBezTo>
                  <a:cubicBezTo>
                    <a:pt x="384" y="71"/>
                    <a:pt x="384" y="71"/>
                    <a:pt x="384" y="72"/>
                  </a:cubicBezTo>
                  <a:cubicBezTo>
                    <a:pt x="386" y="75"/>
                    <a:pt x="388" y="78"/>
                    <a:pt x="389" y="80"/>
                  </a:cubicBezTo>
                  <a:cubicBezTo>
                    <a:pt x="389" y="81"/>
                    <a:pt x="390" y="81"/>
                    <a:pt x="391" y="82"/>
                  </a:cubicBezTo>
                  <a:cubicBezTo>
                    <a:pt x="392" y="82"/>
                    <a:pt x="394" y="82"/>
                    <a:pt x="396" y="82"/>
                  </a:cubicBezTo>
                  <a:cubicBezTo>
                    <a:pt x="401" y="82"/>
                    <a:pt x="406" y="81"/>
                    <a:pt x="411" y="80"/>
                  </a:cubicBezTo>
                  <a:cubicBezTo>
                    <a:pt x="413" y="79"/>
                    <a:pt x="415" y="79"/>
                    <a:pt x="416" y="79"/>
                  </a:cubicBezTo>
                  <a:cubicBezTo>
                    <a:pt x="419" y="79"/>
                    <a:pt x="420" y="81"/>
                    <a:pt x="422" y="84"/>
                  </a:cubicBezTo>
                  <a:cubicBezTo>
                    <a:pt x="422" y="85"/>
                    <a:pt x="422" y="85"/>
                    <a:pt x="422" y="85"/>
                  </a:cubicBezTo>
                  <a:cubicBezTo>
                    <a:pt x="424" y="89"/>
                    <a:pt x="425" y="92"/>
                    <a:pt x="418" y="96"/>
                  </a:cubicBezTo>
                  <a:cubicBezTo>
                    <a:pt x="413" y="100"/>
                    <a:pt x="406" y="105"/>
                    <a:pt x="403" y="110"/>
                  </a:cubicBezTo>
                  <a:cubicBezTo>
                    <a:pt x="403" y="111"/>
                    <a:pt x="403" y="112"/>
                    <a:pt x="403" y="112"/>
                  </a:cubicBezTo>
                  <a:cubicBezTo>
                    <a:pt x="404" y="115"/>
                    <a:pt x="405" y="118"/>
                    <a:pt x="406" y="121"/>
                  </a:cubicBezTo>
                  <a:cubicBezTo>
                    <a:pt x="406" y="122"/>
                    <a:pt x="407" y="122"/>
                    <a:pt x="408" y="123"/>
                  </a:cubicBezTo>
                  <a:cubicBezTo>
                    <a:pt x="412" y="124"/>
                    <a:pt x="417" y="125"/>
                    <a:pt x="421" y="125"/>
                  </a:cubicBezTo>
                  <a:cubicBezTo>
                    <a:pt x="424" y="125"/>
                    <a:pt x="426" y="125"/>
                    <a:pt x="428" y="124"/>
                  </a:cubicBezTo>
                  <a:cubicBezTo>
                    <a:pt x="429" y="124"/>
                    <a:pt x="430" y="124"/>
                    <a:pt x="431" y="124"/>
                  </a:cubicBezTo>
                  <a:cubicBezTo>
                    <a:pt x="437" y="124"/>
                    <a:pt x="437" y="127"/>
                    <a:pt x="438" y="130"/>
                  </a:cubicBezTo>
                  <a:cubicBezTo>
                    <a:pt x="438" y="132"/>
                    <a:pt x="438" y="132"/>
                    <a:pt x="438" y="132"/>
                  </a:cubicBezTo>
                  <a:cubicBezTo>
                    <a:pt x="440" y="135"/>
                    <a:pt x="440" y="138"/>
                    <a:pt x="433" y="142"/>
                  </a:cubicBezTo>
                  <a:cubicBezTo>
                    <a:pt x="427" y="144"/>
                    <a:pt x="419" y="149"/>
                    <a:pt x="416" y="153"/>
                  </a:cubicBezTo>
                  <a:cubicBezTo>
                    <a:pt x="415" y="154"/>
                    <a:pt x="415" y="155"/>
                    <a:pt x="415" y="155"/>
                  </a:cubicBezTo>
                  <a:cubicBezTo>
                    <a:pt x="416" y="158"/>
                    <a:pt x="416" y="160"/>
                    <a:pt x="417" y="163"/>
                  </a:cubicBezTo>
                  <a:cubicBezTo>
                    <a:pt x="417" y="164"/>
                    <a:pt x="417" y="164"/>
                    <a:pt x="417" y="164"/>
                  </a:cubicBezTo>
                  <a:cubicBezTo>
                    <a:pt x="417" y="165"/>
                    <a:pt x="418" y="166"/>
                    <a:pt x="418" y="166"/>
                  </a:cubicBezTo>
                  <a:cubicBezTo>
                    <a:pt x="423" y="169"/>
                    <a:pt x="432" y="171"/>
                    <a:pt x="438" y="171"/>
                  </a:cubicBezTo>
                  <a:cubicBezTo>
                    <a:pt x="447" y="171"/>
                    <a:pt x="447" y="174"/>
                    <a:pt x="447" y="178"/>
                  </a:cubicBezTo>
                  <a:cubicBezTo>
                    <a:pt x="447" y="180"/>
                    <a:pt x="447" y="180"/>
                    <a:pt x="447" y="180"/>
                  </a:cubicBezTo>
                  <a:cubicBezTo>
                    <a:pt x="448" y="184"/>
                    <a:pt x="448" y="187"/>
                    <a:pt x="440" y="189"/>
                  </a:cubicBezTo>
                  <a:cubicBezTo>
                    <a:pt x="434" y="190"/>
                    <a:pt x="425" y="194"/>
                    <a:pt x="421" y="198"/>
                  </a:cubicBezTo>
                  <a:cubicBezTo>
                    <a:pt x="421" y="198"/>
                    <a:pt x="421" y="199"/>
                    <a:pt x="421" y="199"/>
                  </a:cubicBezTo>
                  <a:cubicBezTo>
                    <a:pt x="421" y="200"/>
                    <a:pt x="421" y="200"/>
                    <a:pt x="421" y="200"/>
                  </a:cubicBezTo>
                  <a:cubicBezTo>
                    <a:pt x="421" y="203"/>
                    <a:pt x="421" y="206"/>
                    <a:pt x="421" y="209"/>
                  </a:cubicBezTo>
                  <a:cubicBezTo>
                    <a:pt x="421" y="209"/>
                    <a:pt x="421" y="210"/>
                    <a:pt x="422" y="211"/>
                  </a:cubicBezTo>
                  <a:cubicBezTo>
                    <a:pt x="426" y="214"/>
                    <a:pt x="434" y="217"/>
                    <a:pt x="441" y="219"/>
                  </a:cubicBezTo>
                  <a:cubicBezTo>
                    <a:pt x="449" y="220"/>
                    <a:pt x="449" y="223"/>
                    <a:pt x="448" y="227"/>
                  </a:cubicBezTo>
                  <a:cubicBezTo>
                    <a:pt x="448" y="228"/>
                    <a:pt x="448" y="228"/>
                    <a:pt x="448" y="228"/>
                  </a:cubicBezTo>
                  <a:cubicBezTo>
                    <a:pt x="448" y="232"/>
                    <a:pt x="448" y="236"/>
                    <a:pt x="440" y="236"/>
                  </a:cubicBezTo>
                  <a:cubicBezTo>
                    <a:pt x="433" y="237"/>
                    <a:pt x="425" y="239"/>
                    <a:pt x="420" y="242"/>
                  </a:cubicBezTo>
                  <a:cubicBezTo>
                    <a:pt x="420" y="243"/>
                    <a:pt x="419" y="243"/>
                    <a:pt x="419" y="244"/>
                  </a:cubicBezTo>
                  <a:cubicBezTo>
                    <a:pt x="419" y="247"/>
                    <a:pt x="418" y="250"/>
                    <a:pt x="418" y="253"/>
                  </a:cubicBezTo>
                  <a:cubicBezTo>
                    <a:pt x="418" y="254"/>
                    <a:pt x="418" y="254"/>
                    <a:pt x="418" y="255"/>
                  </a:cubicBezTo>
                  <a:cubicBezTo>
                    <a:pt x="422" y="259"/>
                    <a:pt x="430" y="264"/>
                    <a:pt x="436" y="266"/>
                  </a:cubicBezTo>
                  <a:cubicBezTo>
                    <a:pt x="444" y="269"/>
                    <a:pt x="443" y="272"/>
                    <a:pt x="442" y="276"/>
                  </a:cubicBezTo>
                  <a:cubicBezTo>
                    <a:pt x="442" y="277"/>
                    <a:pt x="442" y="277"/>
                    <a:pt x="442" y="277"/>
                  </a:cubicBezTo>
                  <a:cubicBezTo>
                    <a:pt x="441" y="280"/>
                    <a:pt x="441" y="283"/>
                    <a:pt x="434" y="283"/>
                  </a:cubicBezTo>
                  <a:cubicBezTo>
                    <a:pt x="434" y="283"/>
                    <a:pt x="433" y="283"/>
                    <a:pt x="432" y="283"/>
                  </a:cubicBezTo>
                  <a:cubicBezTo>
                    <a:pt x="431" y="283"/>
                    <a:pt x="430" y="283"/>
                    <a:pt x="429" y="283"/>
                  </a:cubicBezTo>
                  <a:cubicBezTo>
                    <a:pt x="425" y="283"/>
                    <a:pt x="417" y="283"/>
                    <a:pt x="412" y="286"/>
                  </a:cubicBezTo>
                  <a:cubicBezTo>
                    <a:pt x="411" y="286"/>
                    <a:pt x="411" y="287"/>
                    <a:pt x="411" y="288"/>
                  </a:cubicBezTo>
                  <a:cubicBezTo>
                    <a:pt x="410" y="290"/>
                    <a:pt x="409" y="293"/>
                    <a:pt x="408" y="296"/>
                  </a:cubicBezTo>
                  <a:cubicBezTo>
                    <a:pt x="408" y="297"/>
                    <a:pt x="408" y="298"/>
                    <a:pt x="408" y="298"/>
                  </a:cubicBezTo>
                  <a:cubicBezTo>
                    <a:pt x="411" y="303"/>
                    <a:pt x="418" y="309"/>
                    <a:pt x="424" y="312"/>
                  </a:cubicBezTo>
                  <a:cubicBezTo>
                    <a:pt x="431" y="316"/>
                    <a:pt x="430" y="319"/>
                    <a:pt x="428" y="322"/>
                  </a:cubicBezTo>
                  <a:cubicBezTo>
                    <a:pt x="428" y="324"/>
                    <a:pt x="428" y="324"/>
                    <a:pt x="428" y="324"/>
                  </a:cubicBezTo>
                  <a:cubicBezTo>
                    <a:pt x="427" y="327"/>
                    <a:pt x="426" y="329"/>
                    <a:pt x="422" y="329"/>
                  </a:cubicBezTo>
                  <a:cubicBezTo>
                    <a:pt x="421" y="329"/>
                    <a:pt x="419" y="329"/>
                    <a:pt x="417" y="328"/>
                  </a:cubicBezTo>
                  <a:cubicBezTo>
                    <a:pt x="413" y="328"/>
                    <a:pt x="408" y="327"/>
                    <a:pt x="405" y="327"/>
                  </a:cubicBezTo>
                  <a:cubicBezTo>
                    <a:pt x="402" y="327"/>
                    <a:pt x="399" y="327"/>
                    <a:pt x="397" y="328"/>
                  </a:cubicBezTo>
                  <a:cubicBezTo>
                    <a:pt x="396" y="328"/>
                    <a:pt x="396" y="329"/>
                    <a:pt x="395" y="329"/>
                  </a:cubicBezTo>
                  <a:cubicBezTo>
                    <a:pt x="394" y="332"/>
                    <a:pt x="393" y="335"/>
                    <a:pt x="391" y="337"/>
                  </a:cubicBezTo>
                  <a:cubicBezTo>
                    <a:pt x="391" y="338"/>
                    <a:pt x="391" y="338"/>
                    <a:pt x="391" y="338"/>
                  </a:cubicBezTo>
                  <a:cubicBezTo>
                    <a:pt x="391" y="338"/>
                    <a:pt x="391" y="339"/>
                    <a:pt x="391" y="340"/>
                  </a:cubicBezTo>
                  <a:cubicBezTo>
                    <a:pt x="393" y="345"/>
                    <a:pt x="399" y="351"/>
                    <a:pt x="405" y="356"/>
                  </a:cubicBezTo>
                  <a:cubicBezTo>
                    <a:pt x="411" y="360"/>
                    <a:pt x="409" y="363"/>
                    <a:pt x="407" y="367"/>
                  </a:cubicBezTo>
                  <a:cubicBezTo>
                    <a:pt x="407" y="368"/>
                    <a:pt x="407" y="368"/>
                    <a:pt x="407" y="368"/>
                  </a:cubicBezTo>
                  <a:cubicBezTo>
                    <a:pt x="405" y="371"/>
                    <a:pt x="404" y="372"/>
                    <a:pt x="401" y="372"/>
                  </a:cubicBezTo>
                  <a:cubicBezTo>
                    <a:pt x="400" y="372"/>
                    <a:pt x="398" y="372"/>
                    <a:pt x="396" y="371"/>
                  </a:cubicBezTo>
                  <a:cubicBezTo>
                    <a:pt x="389" y="368"/>
                    <a:pt x="383" y="367"/>
                    <a:pt x="378" y="367"/>
                  </a:cubicBezTo>
                  <a:cubicBezTo>
                    <a:pt x="377" y="367"/>
                    <a:pt x="376" y="367"/>
                    <a:pt x="375" y="367"/>
                  </a:cubicBezTo>
                  <a:cubicBezTo>
                    <a:pt x="375" y="367"/>
                    <a:pt x="374" y="368"/>
                    <a:pt x="374" y="368"/>
                  </a:cubicBezTo>
                  <a:cubicBezTo>
                    <a:pt x="372" y="371"/>
                    <a:pt x="370" y="373"/>
                    <a:pt x="368" y="376"/>
                  </a:cubicBezTo>
                  <a:cubicBezTo>
                    <a:pt x="368" y="376"/>
                    <a:pt x="368" y="377"/>
                    <a:pt x="368" y="378"/>
                  </a:cubicBezTo>
                  <a:cubicBezTo>
                    <a:pt x="369" y="383"/>
                    <a:pt x="374" y="391"/>
                    <a:pt x="379" y="396"/>
                  </a:cubicBezTo>
                  <a:cubicBezTo>
                    <a:pt x="384" y="401"/>
                    <a:pt x="382" y="404"/>
                    <a:pt x="380" y="407"/>
                  </a:cubicBezTo>
                  <a:cubicBezTo>
                    <a:pt x="379" y="408"/>
                    <a:pt x="379" y="408"/>
                    <a:pt x="379" y="408"/>
                  </a:cubicBezTo>
                  <a:cubicBezTo>
                    <a:pt x="377" y="410"/>
                    <a:pt x="376" y="412"/>
                    <a:pt x="374" y="412"/>
                  </a:cubicBezTo>
                  <a:cubicBezTo>
                    <a:pt x="372" y="412"/>
                    <a:pt x="370" y="411"/>
                    <a:pt x="368" y="409"/>
                  </a:cubicBezTo>
                  <a:cubicBezTo>
                    <a:pt x="362" y="406"/>
                    <a:pt x="354" y="402"/>
                    <a:pt x="348" y="402"/>
                  </a:cubicBezTo>
                  <a:cubicBezTo>
                    <a:pt x="347" y="402"/>
                    <a:pt x="347" y="403"/>
                    <a:pt x="346" y="403"/>
                  </a:cubicBezTo>
                  <a:cubicBezTo>
                    <a:pt x="344" y="405"/>
                    <a:pt x="342" y="408"/>
                    <a:pt x="340" y="410"/>
                  </a:cubicBezTo>
                  <a:cubicBezTo>
                    <a:pt x="339" y="410"/>
                    <a:pt x="339" y="411"/>
                    <a:pt x="339" y="412"/>
                  </a:cubicBezTo>
                  <a:cubicBezTo>
                    <a:pt x="339" y="417"/>
                    <a:pt x="343" y="425"/>
                    <a:pt x="347" y="431"/>
                  </a:cubicBezTo>
                  <a:cubicBezTo>
                    <a:pt x="352" y="438"/>
                    <a:pt x="349" y="440"/>
                    <a:pt x="346" y="442"/>
                  </a:cubicBezTo>
                  <a:cubicBezTo>
                    <a:pt x="345" y="443"/>
                    <a:pt x="345" y="443"/>
                    <a:pt x="345" y="443"/>
                  </a:cubicBezTo>
                  <a:cubicBezTo>
                    <a:pt x="344" y="445"/>
                    <a:pt x="342" y="446"/>
                    <a:pt x="340" y="446"/>
                  </a:cubicBezTo>
                  <a:cubicBezTo>
                    <a:pt x="338" y="446"/>
                    <a:pt x="336" y="445"/>
                    <a:pt x="334" y="443"/>
                  </a:cubicBezTo>
                  <a:cubicBezTo>
                    <a:pt x="329" y="439"/>
                    <a:pt x="321" y="434"/>
                    <a:pt x="316" y="433"/>
                  </a:cubicBezTo>
                  <a:cubicBezTo>
                    <a:pt x="315" y="433"/>
                    <a:pt x="315" y="433"/>
                    <a:pt x="315" y="433"/>
                  </a:cubicBezTo>
                  <a:cubicBezTo>
                    <a:pt x="315" y="433"/>
                    <a:pt x="314" y="433"/>
                    <a:pt x="314" y="433"/>
                  </a:cubicBezTo>
                  <a:cubicBezTo>
                    <a:pt x="311" y="435"/>
                    <a:pt x="309" y="437"/>
                    <a:pt x="306" y="439"/>
                  </a:cubicBezTo>
                  <a:cubicBezTo>
                    <a:pt x="306" y="440"/>
                    <a:pt x="305" y="440"/>
                    <a:pt x="305" y="441"/>
                  </a:cubicBezTo>
                  <a:cubicBezTo>
                    <a:pt x="305" y="447"/>
                    <a:pt x="307" y="455"/>
                    <a:pt x="310" y="461"/>
                  </a:cubicBezTo>
                  <a:cubicBezTo>
                    <a:pt x="313" y="468"/>
                    <a:pt x="311" y="470"/>
                    <a:pt x="307" y="472"/>
                  </a:cubicBezTo>
                  <a:cubicBezTo>
                    <a:pt x="306" y="473"/>
                    <a:pt x="306" y="473"/>
                    <a:pt x="306" y="473"/>
                  </a:cubicBezTo>
                  <a:cubicBezTo>
                    <a:pt x="305" y="474"/>
                    <a:pt x="303" y="475"/>
                    <a:pt x="302" y="475"/>
                  </a:cubicBezTo>
                  <a:cubicBezTo>
                    <a:pt x="300" y="475"/>
                    <a:pt x="298" y="474"/>
                    <a:pt x="295" y="471"/>
                  </a:cubicBezTo>
                  <a:cubicBezTo>
                    <a:pt x="291" y="466"/>
                    <a:pt x="284" y="460"/>
                    <a:pt x="279" y="458"/>
                  </a:cubicBezTo>
                  <a:cubicBezTo>
                    <a:pt x="278" y="458"/>
                    <a:pt x="278" y="458"/>
                    <a:pt x="278" y="458"/>
                  </a:cubicBezTo>
                  <a:cubicBezTo>
                    <a:pt x="277" y="458"/>
                    <a:pt x="277" y="458"/>
                    <a:pt x="276" y="458"/>
                  </a:cubicBezTo>
                  <a:cubicBezTo>
                    <a:pt x="274" y="460"/>
                    <a:pt x="271" y="461"/>
                    <a:pt x="268" y="463"/>
                  </a:cubicBezTo>
                  <a:cubicBezTo>
                    <a:pt x="268" y="463"/>
                    <a:pt x="267" y="464"/>
                    <a:pt x="267" y="464"/>
                  </a:cubicBezTo>
                  <a:cubicBezTo>
                    <a:pt x="266" y="470"/>
                    <a:pt x="267" y="479"/>
                    <a:pt x="269" y="485"/>
                  </a:cubicBezTo>
                  <a:cubicBezTo>
                    <a:pt x="271" y="493"/>
                    <a:pt x="268" y="494"/>
                    <a:pt x="265" y="496"/>
                  </a:cubicBezTo>
                  <a:cubicBezTo>
                    <a:pt x="263" y="496"/>
                    <a:pt x="263" y="496"/>
                    <a:pt x="263" y="496"/>
                  </a:cubicBezTo>
                  <a:cubicBezTo>
                    <a:pt x="262" y="497"/>
                    <a:pt x="260" y="497"/>
                    <a:pt x="259" y="497"/>
                  </a:cubicBezTo>
                  <a:cubicBezTo>
                    <a:pt x="258" y="497"/>
                    <a:pt x="256" y="497"/>
                    <a:pt x="253" y="492"/>
                  </a:cubicBezTo>
                  <a:cubicBezTo>
                    <a:pt x="249" y="487"/>
                    <a:pt x="243" y="480"/>
                    <a:pt x="238" y="477"/>
                  </a:cubicBezTo>
                  <a:cubicBezTo>
                    <a:pt x="238" y="477"/>
                    <a:pt x="238" y="477"/>
                    <a:pt x="237" y="477"/>
                  </a:cubicBezTo>
                  <a:cubicBezTo>
                    <a:pt x="237" y="477"/>
                    <a:pt x="237" y="477"/>
                    <a:pt x="236" y="477"/>
                  </a:cubicBezTo>
                  <a:cubicBezTo>
                    <a:pt x="233" y="478"/>
                    <a:pt x="230" y="479"/>
                    <a:pt x="228" y="480"/>
                  </a:cubicBezTo>
                  <a:cubicBezTo>
                    <a:pt x="227" y="480"/>
                    <a:pt x="226" y="481"/>
                    <a:pt x="226" y="481"/>
                  </a:cubicBezTo>
                  <a:cubicBezTo>
                    <a:pt x="224" y="487"/>
                    <a:pt x="224" y="495"/>
                    <a:pt x="224" y="502"/>
                  </a:cubicBezTo>
                  <a:cubicBezTo>
                    <a:pt x="225" y="510"/>
                    <a:pt x="222" y="511"/>
                    <a:pt x="218" y="512"/>
                  </a:cubicBezTo>
                  <a:cubicBezTo>
                    <a:pt x="217" y="512"/>
                    <a:pt x="217" y="512"/>
                    <a:pt x="217" y="512"/>
                  </a:cubicBezTo>
                  <a:cubicBezTo>
                    <a:pt x="216" y="513"/>
                    <a:pt x="215" y="513"/>
                    <a:pt x="213" y="513"/>
                  </a:cubicBezTo>
                  <a:cubicBezTo>
                    <a:pt x="212" y="513"/>
                    <a:pt x="210" y="513"/>
                    <a:pt x="207" y="507"/>
                  </a:cubicBezTo>
                  <a:cubicBezTo>
                    <a:pt x="204" y="501"/>
                    <a:pt x="200" y="493"/>
                    <a:pt x="195" y="490"/>
                  </a:cubicBezTo>
                  <a:cubicBezTo>
                    <a:pt x="195" y="489"/>
                    <a:pt x="194" y="489"/>
                    <a:pt x="194" y="489"/>
                  </a:cubicBezTo>
                  <a:cubicBezTo>
                    <a:pt x="194" y="489"/>
                    <a:pt x="194" y="489"/>
                    <a:pt x="193" y="489"/>
                  </a:cubicBezTo>
                  <a:cubicBezTo>
                    <a:pt x="191" y="490"/>
                    <a:pt x="188" y="490"/>
                    <a:pt x="186" y="491"/>
                  </a:cubicBezTo>
                  <a:cubicBezTo>
                    <a:pt x="184" y="491"/>
                    <a:pt x="184" y="491"/>
                    <a:pt x="184" y="491"/>
                  </a:cubicBezTo>
                  <a:cubicBezTo>
                    <a:pt x="184" y="491"/>
                    <a:pt x="183" y="491"/>
                    <a:pt x="183" y="492"/>
                  </a:cubicBezTo>
                  <a:cubicBezTo>
                    <a:pt x="180" y="497"/>
                    <a:pt x="178" y="505"/>
                    <a:pt x="178" y="512"/>
                  </a:cubicBezTo>
                  <a:cubicBezTo>
                    <a:pt x="178" y="520"/>
                    <a:pt x="174" y="521"/>
                    <a:pt x="170" y="521"/>
                  </a:cubicBezTo>
                  <a:cubicBezTo>
                    <a:pt x="169" y="521"/>
                    <a:pt x="169" y="521"/>
                    <a:pt x="169" y="521"/>
                  </a:cubicBezTo>
                  <a:cubicBezTo>
                    <a:pt x="168" y="521"/>
                    <a:pt x="167" y="521"/>
                    <a:pt x="167" y="521"/>
                  </a:cubicBezTo>
                  <a:cubicBezTo>
                    <a:pt x="165" y="521"/>
                    <a:pt x="162" y="521"/>
                    <a:pt x="160" y="514"/>
                  </a:cubicBezTo>
                  <a:cubicBezTo>
                    <a:pt x="158" y="507"/>
                    <a:pt x="155" y="499"/>
                    <a:pt x="151" y="495"/>
                  </a:cubicBezTo>
                  <a:cubicBezTo>
                    <a:pt x="151" y="495"/>
                    <a:pt x="150" y="494"/>
                    <a:pt x="149" y="494"/>
                  </a:cubicBezTo>
                  <a:cubicBezTo>
                    <a:pt x="149" y="494"/>
                    <a:pt x="149" y="494"/>
                    <a:pt x="149" y="494"/>
                  </a:cubicBezTo>
                  <a:cubicBezTo>
                    <a:pt x="149" y="495"/>
                    <a:pt x="149" y="495"/>
                    <a:pt x="149" y="495"/>
                  </a:cubicBezTo>
                  <a:cubicBezTo>
                    <a:pt x="146" y="495"/>
                    <a:pt x="143" y="495"/>
                    <a:pt x="140" y="495"/>
                  </a:cubicBezTo>
                  <a:cubicBezTo>
                    <a:pt x="139" y="495"/>
                    <a:pt x="139" y="495"/>
                    <a:pt x="138" y="496"/>
                  </a:cubicBezTo>
                  <a:cubicBezTo>
                    <a:pt x="134" y="500"/>
                    <a:pt x="132" y="508"/>
                    <a:pt x="130" y="515"/>
                  </a:cubicBezTo>
                  <a:cubicBezTo>
                    <a:pt x="129" y="522"/>
                    <a:pt x="126" y="522"/>
                    <a:pt x="124" y="522"/>
                  </a:cubicBezTo>
                  <a:cubicBezTo>
                    <a:pt x="123" y="522"/>
                    <a:pt x="122" y="522"/>
                    <a:pt x="122" y="522"/>
                  </a:cubicBezTo>
                  <a:cubicBezTo>
                    <a:pt x="120" y="522"/>
                    <a:pt x="120" y="522"/>
                    <a:pt x="120" y="522"/>
                  </a:cubicBezTo>
                  <a:cubicBezTo>
                    <a:pt x="116" y="522"/>
                    <a:pt x="113" y="522"/>
                    <a:pt x="113" y="514"/>
                  </a:cubicBezTo>
                  <a:cubicBezTo>
                    <a:pt x="112" y="507"/>
                    <a:pt x="110" y="498"/>
                    <a:pt x="107" y="494"/>
                  </a:cubicBezTo>
                  <a:cubicBezTo>
                    <a:pt x="106" y="493"/>
                    <a:pt x="105" y="493"/>
                    <a:pt x="105" y="493"/>
                  </a:cubicBezTo>
                  <a:cubicBezTo>
                    <a:pt x="102" y="492"/>
                    <a:pt x="99" y="492"/>
                    <a:pt x="96" y="492"/>
                  </a:cubicBezTo>
                  <a:cubicBezTo>
                    <a:pt x="95" y="492"/>
                    <a:pt x="95" y="492"/>
                    <a:pt x="95" y="492"/>
                  </a:cubicBezTo>
                  <a:cubicBezTo>
                    <a:pt x="95" y="492"/>
                    <a:pt x="94" y="492"/>
                    <a:pt x="94" y="492"/>
                  </a:cubicBezTo>
                  <a:cubicBezTo>
                    <a:pt x="89" y="496"/>
                    <a:pt x="85" y="504"/>
                    <a:pt x="83" y="510"/>
                  </a:cubicBezTo>
                  <a:cubicBezTo>
                    <a:pt x="80" y="516"/>
                    <a:pt x="78" y="516"/>
                    <a:pt x="77" y="516"/>
                  </a:cubicBezTo>
                  <a:cubicBezTo>
                    <a:pt x="75" y="516"/>
                    <a:pt x="74" y="516"/>
                    <a:pt x="73" y="516"/>
                  </a:cubicBezTo>
                  <a:cubicBezTo>
                    <a:pt x="72" y="516"/>
                    <a:pt x="72" y="516"/>
                    <a:pt x="72" y="516"/>
                  </a:cubicBezTo>
                  <a:cubicBezTo>
                    <a:pt x="68" y="515"/>
                    <a:pt x="65" y="514"/>
                    <a:pt x="66" y="506"/>
                  </a:cubicBezTo>
                  <a:cubicBezTo>
                    <a:pt x="66" y="500"/>
                    <a:pt x="65" y="491"/>
                    <a:pt x="63" y="486"/>
                  </a:cubicBezTo>
                  <a:cubicBezTo>
                    <a:pt x="62" y="485"/>
                    <a:pt x="62" y="485"/>
                    <a:pt x="61" y="484"/>
                  </a:cubicBezTo>
                  <a:cubicBezTo>
                    <a:pt x="58" y="484"/>
                    <a:pt x="55" y="483"/>
                    <a:pt x="52" y="482"/>
                  </a:cubicBezTo>
                  <a:cubicBezTo>
                    <a:pt x="52" y="482"/>
                    <a:pt x="52" y="482"/>
                    <a:pt x="52" y="482"/>
                  </a:cubicBezTo>
                  <a:cubicBezTo>
                    <a:pt x="51" y="482"/>
                    <a:pt x="51" y="482"/>
                    <a:pt x="50" y="482"/>
                  </a:cubicBezTo>
                  <a:cubicBezTo>
                    <a:pt x="45" y="485"/>
                    <a:pt x="40" y="492"/>
                    <a:pt x="37" y="498"/>
                  </a:cubicBezTo>
                  <a:cubicBezTo>
                    <a:pt x="34" y="503"/>
                    <a:pt x="31" y="503"/>
                    <a:pt x="30" y="503"/>
                  </a:cubicBezTo>
                  <a:cubicBezTo>
                    <a:pt x="29" y="503"/>
                    <a:pt x="28" y="503"/>
                    <a:pt x="26" y="502"/>
                  </a:cubicBezTo>
                  <a:cubicBezTo>
                    <a:pt x="25" y="502"/>
                    <a:pt x="25" y="502"/>
                    <a:pt x="25" y="502"/>
                  </a:cubicBezTo>
                  <a:cubicBezTo>
                    <a:pt x="21" y="500"/>
                    <a:pt x="18" y="499"/>
                    <a:pt x="20" y="491"/>
                  </a:cubicBezTo>
                  <a:cubicBezTo>
                    <a:pt x="22" y="485"/>
                    <a:pt x="22" y="476"/>
                    <a:pt x="21" y="471"/>
                  </a:cubicBezTo>
                  <a:cubicBezTo>
                    <a:pt x="21" y="470"/>
                    <a:pt x="20" y="469"/>
                    <a:pt x="19" y="469"/>
                  </a:cubicBezTo>
                  <a:cubicBezTo>
                    <a:pt x="17" y="468"/>
                    <a:pt x="15" y="467"/>
                    <a:pt x="12" y="466"/>
                  </a:cubicBezTo>
                  <a:cubicBezTo>
                    <a:pt x="11" y="465"/>
                    <a:pt x="11" y="465"/>
                    <a:pt x="11" y="465"/>
                  </a:cubicBezTo>
                  <a:cubicBezTo>
                    <a:pt x="11" y="465"/>
                    <a:pt x="11" y="465"/>
                    <a:pt x="11" y="465"/>
                  </a:cubicBezTo>
                  <a:cubicBezTo>
                    <a:pt x="6" y="484"/>
                    <a:pt x="3" y="502"/>
                    <a:pt x="0" y="521"/>
                  </a:cubicBezTo>
                  <a:cubicBezTo>
                    <a:pt x="0" y="523"/>
                    <a:pt x="0" y="526"/>
                    <a:pt x="0" y="528"/>
                  </a:cubicBezTo>
                  <a:cubicBezTo>
                    <a:pt x="0" y="538"/>
                    <a:pt x="1" y="547"/>
                    <a:pt x="1" y="557"/>
                  </a:cubicBezTo>
                  <a:cubicBezTo>
                    <a:pt x="1" y="560"/>
                    <a:pt x="1" y="563"/>
                    <a:pt x="2" y="566"/>
                  </a:cubicBezTo>
                  <a:cubicBezTo>
                    <a:pt x="2" y="565"/>
                    <a:pt x="3" y="563"/>
                    <a:pt x="4" y="562"/>
                  </a:cubicBezTo>
                  <a:cubicBezTo>
                    <a:pt x="5" y="556"/>
                    <a:pt x="8" y="556"/>
                    <a:pt x="9" y="556"/>
                  </a:cubicBezTo>
                  <a:cubicBezTo>
                    <a:pt x="10" y="556"/>
                    <a:pt x="11" y="557"/>
                    <a:pt x="12" y="557"/>
                  </a:cubicBezTo>
                  <a:cubicBezTo>
                    <a:pt x="13" y="557"/>
                    <a:pt x="13" y="557"/>
                    <a:pt x="13" y="557"/>
                  </a:cubicBezTo>
                  <a:cubicBezTo>
                    <a:pt x="16" y="558"/>
                    <a:pt x="19" y="558"/>
                    <a:pt x="18" y="565"/>
                  </a:cubicBezTo>
                  <a:cubicBezTo>
                    <a:pt x="18" y="570"/>
                    <a:pt x="18" y="578"/>
                    <a:pt x="20" y="582"/>
                  </a:cubicBezTo>
                  <a:cubicBezTo>
                    <a:pt x="20" y="583"/>
                    <a:pt x="21" y="583"/>
                    <a:pt x="22" y="583"/>
                  </a:cubicBezTo>
                  <a:cubicBezTo>
                    <a:pt x="24" y="584"/>
                    <a:pt x="26" y="585"/>
                    <a:pt x="29" y="585"/>
                  </a:cubicBezTo>
                  <a:cubicBezTo>
                    <a:pt x="29" y="585"/>
                    <a:pt x="29" y="585"/>
                    <a:pt x="30" y="585"/>
                  </a:cubicBezTo>
                  <a:cubicBezTo>
                    <a:pt x="30" y="585"/>
                    <a:pt x="30" y="585"/>
                    <a:pt x="31" y="585"/>
                  </a:cubicBezTo>
                  <a:cubicBezTo>
                    <a:pt x="35" y="583"/>
                    <a:pt x="39" y="577"/>
                    <a:pt x="42" y="572"/>
                  </a:cubicBezTo>
                  <a:cubicBezTo>
                    <a:pt x="44" y="567"/>
                    <a:pt x="47" y="567"/>
                    <a:pt x="47" y="567"/>
                  </a:cubicBezTo>
                  <a:cubicBezTo>
                    <a:pt x="48" y="567"/>
                    <a:pt x="50" y="568"/>
                    <a:pt x="51" y="568"/>
                  </a:cubicBezTo>
                  <a:cubicBezTo>
                    <a:pt x="52" y="569"/>
                    <a:pt x="52" y="569"/>
                    <a:pt x="52" y="569"/>
                  </a:cubicBezTo>
                  <a:cubicBezTo>
                    <a:pt x="55" y="570"/>
                    <a:pt x="57" y="571"/>
                    <a:pt x="56" y="577"/>
                  </a:cubicBezTo>
                  <a:cubicBezTo>
                    <a:pt x="55" y="583"/>
                    <a:pt x="54" y="590"/>
                    <a:pt x="55" y="595"/>
                  </a:cubicBezTo>
                  <a:cubicBezTo>
                    <a:pt x="55" y="595"/>
                    <a:pt x="56" y="596"/>
                    <a:pt x="56" y="596"/>
                  </a:cubicBezTo>
                  <a:cubicBezTo>
                    <a:pt x="58" y="597"/>
                    <a:pt x="60" y="598"/>
                    <a:pt x="62" y="598"/>
                  </a:cubicBezTo>
                  <a:cubicBezTo>
                    <a:pt x="63" y="599"/>
                    <a:pt x="63" y="599"/>
                    <a:pt x="63" y="599"/>
                  </a:cubicBezTo>
                  <a:cubicBezTo>
                    <a:pt x="64" y="599"/>
                    <a:pt x="64" y="599"/>
                    <a:pt x="64" y="599"/>
                  </a:cubicBezTo>
                  <a:cubicBezTo>
                    <a:pt x="65" y="599"/>
                    <a:pt x="65" y="599"/>
                    <a:pt x="65" y="599"/>
                  </a:cubicBezTo>
                  <a:cubicBezTo>
                    <a:pt x="69" y="598"/>
                    <a:pt x="75" y="592"/>
                    <a:pt x="78" y="588"/>
                  </a:cubicBezTo>
                  <a:cubicBezTo>
                    <a:pt x="80" y="586"/>
                    <a:pt x="82" y="584"/>
                    <a:pt x="84" y="584"/>
                  </a:cubicBezTo>
                  <a:cubicBezTo>
                    <a:pt x="85" y="584"/>
                    <a:pt x="86" y="585"/>
                    <a:pt x="87" y="586"/>
                  </a:cubicBezTo>
                  <a:cubicBezTo>
                    <a:pt x="88" y="586"/>
                    <a:pt x="88" y="586"/>
                    <a:pt x="88" y="586"/>
                  </a:cubicBezTo>
                  <a:cubicBezTo>
                    <a:pt x="91" y="588"/>
                    <a:pt x="94" y="589"/>
                    <a:pt x="91" y="596"/>
                  </a:cubicBezTo>
                  <a:cubicBezTo>
                    <a:pt x="89" y="601"/>
                    <a:pt x="87" y="608"/>
                    <a:pt x="88" y="613"/>
                  </a:cubicBezTo>
                  <a:cubicBezTo>
                    <a:pt x="88" y="613"/>
                    <a:pt x="88" y="614"/>
                    <a:pt x="89" y="614"/>
                  </a:cubicBezTo>
                  <a:cubicBezTo>
                    <a:pt x="91" y="615"/>
                    <a:pt x="93" y="617"/>
                    <a:pt x="95" y="618"/>
                  </a:cubicBezTo>
                  <a:cubicBezTo>
                    <a:pt x="95" y="619"/>
                    <a:pt x="96" y="619"/>
                    <a:pt x="96" y="619"/>
                  </a:cubicBezTo>
                  <a:cubicBezTo>
                    <a:pt x="96" y="619"/>
                    <a:pt x="97" y="619"/>
                    <a:pt x="97" y="619"/>
                  </a:cubicBezTo>
                  <a:cubicBezTo>
                    <a:pt x="101" y="618"/>
                    <a:pt x="107" y="613"/>
                    <a:pt x="112" y="610"/>
                  </a:cubicBezTo>
                  <a:cubicBezTo>
                    <a:pt x="114" y="608"/>
                    <a:pt x="116" y="607"/>
                    <a:pt x="117" y="607"/>
                  </a:cubicBezTo>
                  <a:cubicBezTo>
                    <a:pt x="119" y="607"/>
                    <a:pt x="120" y="608"/>
                    <a:pt x="121" y="609"/>
                  </a:cubicBezTo>
                  <a:cubicBezTo>
                    <a:pt x="122" y="610"/>
                    <a:pt x="122" y="610"/>
                    <a:pt x="122" y="610"/>
                  </a:cubicBezTo>
                  <a:cubicBezTo>
                    <a:pt x="125" y="612"/>
                    <a:pt x="127" y="613"/>
                    <a:pt x="123" y="619"/>
                  </a:cubicBezTo>
                  <a:cubicBezTo>
                    <a:pt x="120" y="624"/>
                    <a:pt x="117" y="631"/>
                    <a:pt x="117" y="635"/>
                  </a:cubicBezTo>
                  <a:cubicBezTo>
                    <a:pt x="117" y="636"/>
                    <a:pt x="118" y="636"/>
                    <a:pt x="118" y="637"/>
                  </a:cubicBezTo>
                  <a:cubicBezTo>
                    <a:pt x="120" y="639"/>
                    <a:pt x="122" y="640"/>
                    <a:pt x="124" y="642"/>
                  </a:cubicBezTo>
                  <a:cubicBezTo>
                    <a:pt x="124" y="643"/>
                    <a:pt x="125" y="643"/>
                    <a:pt x="125" y="643"/>
                  </a:cubicBezTo>
                  <a:cubicBezTo>
                    <a:pt x="125" y="643"/>
                    <a:pt x="125" y="643"/>
                    <a:pt x="125" y="643"/>
                  </a:cubicBezTo>
                  <a:cubicBezTo>
                    <a:pt x="130" y="642"/>
                    <a:pt x="137" y="639"/>
                    <a:pt x="141" y="636"/>
                  </a:cubicBezTo>
                  <a:cubicBezTo>
                    <a:pt x="143" y="635"/>
                    <a:pt x="145" y="634"/>
                    <a:pt x="146" y="634"/>
                  </a:cubicBezTo>
                  <a:cubicBezTo>
                    <a:pt x="148" y="634"/>
                    <a:pt x="149" y="635"/>
                    <a:pt x="151" y="637"/>
                  </a:cubicBezTo>
                  <a:cubicBezTo>
                    <a:pt x="151" y="638"/>
                    <a:pt x="151" y="638"/>
                    <a:pt x="151" y="638"/>
                  </a:cubicBezTo>
                  <a:cubicBezTo>
                    <a:pt x="154" y="640"/>
                    <a:pt x="156" y="642"/>
                    <a:pt x="151" y="647"/>
                  </a:cubicBezTo>
                  <a:cubicBezTo>
                    <a:pt x="148" y="651"/>
                    <a:pt x="144" y="658"/>
                    <a:pt x="143" y="662"/>
                  </a:cubicBezTo>
                  <a:cubicBezTo>
                    <a:pt x="143" y="663"/>
                    <a:pt x="143" y="664"/>
                    <a:pt x="143" y="664"/>
                  </a:cubicBezTo>
                  <a:cubicBezTo>
                    <a:pt x="144" y="665"/>
                    <a:pt x="144" y="665"/>
                    <a:pt x="144" y="665"/>
                  </a:cubicBezTo>
                  <a:cubicBezTo>
                    <a:pt x="145" y="667"/>
                    <a:pt x="147" y="668"/>
                    <a:pt x="148" y="670"/>
                  </a:cubicBezTo>
                  <a:cubicBezTo>
                    <a:pt x="148" y="671"/>
                    <a:pt x="149" y="671"/>
                    <a:pt x="150" y="671"/>
                  </a:cubicBezTo>
                  <a:cubicBezTo>
                    <a:pt x="150" y="671"/>
                    <a:pt x="150" y="671"/>
                    <a:pt x="151" y="671"/>
                  </a:cubicBezTo>
                  <a:cubicBezTo>
                    <a:pt x="155" y="671"/>
                    <a:pt x="160" y="670"/>
                    <a:pt x="166" y="667"/>
                  </a:cubicBezTo>
                  <a:cubicBezTo>
                    <a:pt x="168" y="666"/>
                    <a:pt x="170" y="666"/>
                    <a:pt x="171" y="666"/>
                  </a:cubicBezTo>
                  <a:cubicBezTo>
                    <a:pt x="173" y="666"/>
                    <a:pt x="174" y="667"/>
                    <a:pt x="176" y="669"/>
                  </a:cubicBezTo>
                  <a:cubicBezTo>
                    <a:pt x="176" y="670"/>
                    <a:pt x="176" y="670"/>
                    <a:pt x="176" y="670"/>
                  </a:cubicBezTo>
                  <a:cubicBezTo>
                    <a:pt x="178" y="673"/>
                    <a:pt x="179" y="675"/>
                    <a:pt x="174" y="679"/>
                  </a:cubicBezTo>
                  <a:cubicBezTo>
                    <a:pt x="170" y="683"/>
                    <a:pt x="165" y="689"/>
                    <a:pt x="164" y="693"/>
                  </a:cubicBezTo>
                  <a:cubicBezTo>
                    <a:pt x="164" y="694"/>
                    <a:pt x="164" y="694"/>
                    <a:pt x="164" y="695"/>
                  </a:cubicBezTo>
                  <a:cubicBezTo>
                    <a:pt x="165" y="697"/>
                    <a:pt x="166" y="699"/>
                    <a:pt x="168" y="702"/>
                  </a:cubicBezTo>
                  <a:cubicBezTo>
                    <a:pt x="168" y="702"/>
                    <a:pt x="168" y="703"/>
                    <a:pt x="169" y="703"/>
                  </a:cubicBezTo>
                  <a:cubicBezTo>
                    <a:pt x="170" y="703"/>
                    <a:pt x="172" y="703"/>
                    <a:pt x="174" y="703"/>
                  </a:cubicBezTo>
                  <a:cubicBezTo>
                    <a:pt x="177" y="703"/>
                    <a:pt x="182" y="703"/>
                    <a:pt x="186" y="701"/>
                  </a:cubicBezTo>
                  <a:cubicBezTo>
                    <a:pt x="188" y="701"/>
                    <a:pt x="189" y="701"/>
                    <a:pt x="190" y="701"/>
                  </a:cubicBezTo>
                  <a:cubicBezTo>
                    <a:pt x="193" y="701"/>
                    <a:pt x="194" y="702"/>
                    <a:pt x="195" y="705"/>
                  </a:cubicBezTo>
                  <a:cubicBezTo>
                    <a:pt x="196" y="706"/>
                    <a:pt x="196" y="706"/>
                    <a:pt x="196" y="706"/>
                  </a:cubicBezTo>
                  <a:cubicBezTo>
                    <a:pt x="197" y="709"/>
                    <a:pt x="198" y="711"/>
                    <a:pt x="192" y="715"/>
                  </a:cubicBezTo>
                  <a:cubicBezTo>
                    <a:pt x="188" y="718"/>
                    <a:pt x="182" y="723"/>
                    <a:pt x="180" y="727"/>
                  </a:cubicBezTo>
                  <a:cubicBezTo>
                    <a:pt x="179" y="727"/>
                    <a:pt x="179" y="728"/>
                    <a:pt x="180" y="728"/>
                  </a:cubicBezTo>
                  <a:cubicBezTo>
                    <a:pt x="180" y="731"/>
                    <a:pt x="181" y="733"/>
                    <a:pt x="182" y="736"/>
                  </a:cubicBezTo>
                  <a:cubicBezTo>
                    <a:pt x="182" y="736"/>
                    <a:pt x="183" y="737"/>
                    <a:pt x="183" y="737"/>
                  </a:cubicBezTo>
                  <a:cubicBezTo>
                    <a:pt x="187" y="738"/>
                    <a:pt x="191" y="739"/>
                    <a:pt x="195" y="739"/>
                  </a:cubicBezTo>
                  <a:cubicBezTo>
                    <a:pt x="197" y="739"/>
                    <a:pt x="199" y="739"/>
                    <a:pt x="201" y="738"/>
                  </a:cubicBezTo>
                  <a:cubicBezTo>
                    <a:pt x="201" y="738"/>
                    <a:pt x="202" y="738"/>
                    <a:pt x="203" y="738"/>
                  </a:cubicBezTo>
                  <a:cubicBezTo>
                    <a:pt x="207" y="738"/>
                    <a:pt x="208" y="740"/>
                    <a:pt x="209" y="743"/>
                  </a:cubicBezTo>
                  <a:cubicBezTo>
                    <a:pt x="209" y="744"/>
                    <a:pt x="209" y="744"/>
                    <a:pt x="209" y="744"/>
                  </a:cubicBezTo>
                  <a:cubicBezTo>
                    <a:pt x="210" y="748"/>
                    <a:pt x="211" y="750"/>
                    <a:pt x="204" y="753"/>
                  </a:cubicBezTo>
                  <a:cubicBezTo>
                    <a:pt x="199" y="755"/>
                    <a:pt x="193" y="759"/>
                    <a:pt x="190" y="763"/>
                  </a:cubicBezTo>
                  <a:cubicBezTo>
                    <a:pt x="190" y="763"/>
                    <a:pt x="190" y="764"/>
                    <a:pt x="190" y="764"/>
                  </a:cubicBezTo>
                  <a:cubicBezTo>
                    <a:pt x="190" y="766"/>
                    <a:pt x="191" y="768"/>
                    <a:pt x="191" y="771"/>
                  </a:cubicBezTo>
                  <a:cubicBezTo>
                    <a:pt x="191" y="772"/>
                    <a:pt x="191" y="772"/>
                    <a:pt x="191" y="772"/>
                  </a:cubicBezTo>
                  <a:cubicBezTo>
                    <a:pt x="191" y="772"/>
                    <a:pt x="192" y="773"/>
                    <a:pt x="192" y="773"/>
                  </a:cubicBezTo>
                  <a:cubicBezTo>
                    <a:pt x="196" y="776"/>
                    <a:pt x="203" y="777"/>
                    <a:pt x="209" y="777"/>
                  </a:cubicBezTo>
                  <a:cubicBezTo>
                    <a:pt x="216" y="777"/>
                    <a:pt x="216" y="780"/>
                    <a:pt x="216" y="783"/>
                  </a:cubicBezTo>
                  <a:cubicBezTo>
                    <a:pt x="216" y="784"/>
                    <a:pt x="216" y="784"/>
                    <a:pt x="216" y="784"/>
                  </a:cubicBezTo>
                  <a:cubicBezTo>
                    <a:pt x="217" y="788"/>
                    <a:pt x="217" y="790"/>
                    <a:pt x="210" y="792"/>
                  </a:cubicBezTo>
                  <a:cubicBezTo>
                    <a:pt x="205" y="793"/>
                    <a:pt x="198" y="796"/>
                    <a:pt x="195" y="799"/>
                  </a:cubicBezTo>
                  <a:cubicBezTo>
                    <a:pt x="194" y="800"/>
                    <a:pt x="194" y="800"/>
                    <a:pt x="194" y="801"/>
                  </a:cubicBezTo>
                  <a:cubicBezTo>
                    <a:pt x="194" y="802"/>
                    <a:pt x="194" y="802"/>
                    <a:pt x="194" y="802"/>
                  </a:cubicBezTo>
                  <a:cubicBezTo>
                    <a:pt x="194" y="804"/>
                    <a:pt x="194" y="806"/>
                    <a:pt x="194" y="809"/>
                  </a:cubicBezTo>
                  <a:cubicBezTo>
                    <a:pt x="194" y="809"/>
                    <a:pt x="195" y="810"/>
                    <a:pt x="195" y="810"/>
                  </a:cubicBezTo>
                  <a:cubicBezTo>
                    <a:pt x="199" y="813"/>
                    <a:pt x="206" y="816"/>
                    <a:pt x="211" y="817"/>
                  </a:cubicBezTo>
                  <a:cubicBezTo>
                    <a:pt x="218" y="818"/>
                    <a:pt x="218" y="821"/>
                    <a:pt x="217" y="824"/>
                  </a:cubicBezTo>
                  <a:cubicBezTo>
                    <a:pt x="217" y="825"/>
                    <a:pt x="217" y="825"/>
                    <a:pt x="217" y="825"/>
                  </a:cubicBezTo>
                  <a:cubicBezTo>
                    <a:pt x="217" y="829"/>
                    <a:pt x="217" y="831"/>
                    <a:pt x="210" y="832"/>
                  </a:cubicBezTo>
                  <a:cubicBezTo>
                    <a:pt x="205" y="832"/>
                    <a:pt x="197" y="834"/>
                    <a:pt x="194" y="837"/>
                  </a:cubicBezTo>
                  <a:cubicBezTo>
                    <a:pt x="193" y="837"/>
                    <a:pt x="193" y="838"/>
                    <a:pt x="193" y="838"/>
                  </a:cubicBezTo>
                  <a:cubicBezTo>
                    <a:pt x="192" y="841"/>
                    <a:pt x="192" y="843"/>
                    <a:pt x="192" y="846"/>
                  </a:cubicBezTo>
                  <a:cubicBezTo>
                    <a:pt x="192" y="846"/>
                    <a:pt x="192" y="847"/>
                    <a:pt x="192" y="847"/>
                  </a:cubicBezTo>
                  <a:cubicBezTo>
                    <a:pt x="195" y="851"/>
                    <a:pt x="202" y="854"/>
                    <a:pt x="207" y="856"/>
                  </a:cubicBezTo>
                  <a:cubicBezTo>
                    <a:pt x="213" y="859"/>
                    <a:pt x="213" y="861"/>
                    <a:pt x="212" y="865"/>
                  </a:cubicBezTo>
                  <a:cubicBezTo>
                    <a:pt x="212" y="866"/>
                    <a:pt x="212" y="866"/>
                    <a:pt x="212" y="866"/>
                  </a:cubicBezTo>
                  <a:cubicBezTo>
                    <a:pt x="211" y="869"/>
                    <a:pt x="211" y="871"/>
                    <a:pt x="206" y="871"/>
                  </a:cubicBezTo>
                  <a:cubicBezTo>
                    <a:pt x="205" y="871"/>
                    <a:pt x="204" y="871"/>
                    <a:pt x="204" y="871"/>
                  </a:cubicBezTo>
                  <a:cubicBezTo>
                    <a:pt x="203" y="871"/>
                    <a:pt x="202" y="871"/>
                    <a:pt x="201" y="871"/>
                  </a:cubicBezTo>
                  <a:cubicBezTo>
                    <a:pt x="198" y="871"/>
                    <a:pt x="191" y="871"/>
                    <a:pt x="187" y="873"/>
                  </a:cubicBezTo>
                  <a:cubicBezTo>
                    <a:pt x="186" y="873"/>
                    <a:pt x="186" y="874"/>
                    <a:pt x="186" y="874"/>
                  </a:cubicBezTo>
                  <a:cubicBezTo>
                    <a:pt x="185" y="877"/>
                    <a:pt x="184" y="879"/>
                    <a:pt x="183" y="882"/>
                  </a:cubicBezTo>
                  <a:cubicBezTo>
                    <a:pt x="183" y="882"/>
                    <a:pt x="183" y="883"/>
                    <a:pt x="184" y="884"/>
                  </a:cubicBezTo>
                  <a:cubicBezTo>
                    <a:pt x="186" y="888"/>
                    <a:pt x="192" y="892"/>
                    <a:pt x="197" y="895"/>
                  </a:cubicBezTo>
                  <a:cubicBezTo>
                    <a:pt x="203" y="898"/>
                    <a:pt x="202" y="901"/>
                    <a:pt x="201" y="904"/>
                  </a:cubicBezTo>
                  <a:cubicBezTo>
                    <a:pt x="200" y="905"/>
                    <a:pt x="200" y="905"/>
                    <a:pt x="200" y="905"/>
                  </a:cubicBezTo>
                  <a:cubicBezTo>
                    <a:pt x="199" y="907"/>
                    <a:pt x="198" y="909"/>
                    <a:pt x="195" y="909"/>
                  </a:cubicBezTo>
                  <a:cubicBezTo>
                    <a:pt x="194" y="909"/>
                    <a:pt x="193" y="909"/>
                    <a:pt x="191" y="909"/>
                  </a:cubicBezTo>
                  <a:cubicBezTo>
                    <a:pt x="188" y="908"/>
                    <a:pt x="184" y="907"/>
                    <a:pt x="181" y="907"/>
                  </a:cubicBezTo>
                  <a:cubicBezTo>
                    <a:pt x="178" y="907"/>
                    <a:pt x="176" y="908"/>
                    <a:pt x="174" y="908"/>
                  </a:cubicBezTo>
                  <a:cubicBezTo>
                    <a:pt x="174" y="908"/>
                    <a:pt x="173" y="909"/>
                    <a:pt x="173" y="909"/>
                  </a:cubicBezTo>
                  <a:cubicBezTo>
                    <a:pt x="172" y="912"/>
                    <a:pt x="171" y="914"/>
                    <a:pt x="170" y="916"/>
                  </a:cubicBezTo>
                  <a:cubicBezTo>
                    <a:pt x="170" y="916"/>
                    <a:pt x="170" y="916"/>
                    <a:pt x="170" y="916"/>
                  </a:cubicBezTo>
                  <a:cubicBezTo>
                    <a:pt x="169" y="917"/>
                    <a:pt x="169" y="917"/>
                    <a:pt x="170" y="918"/>
                  </a:cubicBezTo>
                  <a:cubicBezTo>
                    <a:pt x="171" y="922"/>
                    <a:pt x="176" y="928"/>
                    <a:pt x="181" y="931"/>
                  </a:cubicBezTo>
                  <a:cubicBezTo>
                    <a:pt x="186" y="935"/>
                    <a:pt x="185" y="938"/>
                    <a:pt x="183" y="940"/>
                  </a:cubicBezTo>
                  <a:cubicBezTo>
                    <a:pt x="182" y="941"/>
                    <a:pt x="182" y="941"/>
                    <a:pt x="182" y="941"/>
                  </a:cubicBezTo>
                  <a:cubicBezTo>
                    <a:pt x="181" y="944"/>
                    <a:pt x="180" y="945"/>
                    <a:pt x="178" y="945"/>
                  </a:cubicBezTo>
                  <a:cubicBezTo>
                    <a:pt x="177" y="945"/>
                    <a:pt x="175" y="945"/>
                    <a:pt x="173" y="944"/>
                  </a:cubicBezTo>
                  <a:cubicBezTo>
                    <a:pt x="170" y="943"/>
                    <a:pt x="167" y="942"/>
                    <a:pt x="164" y="941"/>
                  </a:cubicBezTo>
                  <a:cubicBezTo>
                    <a:pt x="279" y="1061"/>
                    <a:pt x="433" y="1124"/>
                    <a:pt x="589" y="1127"/>
                  </a:cubicBezTo>
                  <a:cubicBezTo>
                    <a:pt x="588" y="1125"/>
                    <a:pt x="587" y="1123"/>
                    <a:pt x="589" y="1119"/>
                  </a:cubicBezTo>
                  <a:cubicBezTo>
                    <a:pt x="591" y="1114"/>
                    <a:pt x="593" y="1109"/>
                    <a:pt x="592" y="1105"/>
                  </a:cubicBezTo>
                  <a:cubicBezTo>
                    <a:pt x="591" y="1104"/>
                    <a:pt x="589" y="1103"/>
                    <a:pt x="587" y="1101"/>
                  </a:cubicBezTo>
                  <a:cubicBezTo>
                    <a:pt x="584" y="1102"/>
                    <a:pt x="579" y="1105"/>
                    <a:pt x="575" y="1108"/>
                  </a:cubicBezTo>
                  <a:cubicBezTo>
                    <a:pt x="573" y="1110"/>
                    <a:pt x="571" y="1111"/>
                    <a:pt x="569" y="1111"/>
                  </a:cubicBezTo>
                  <a:cubicBezTo>
                    <a:pt x="567" y="1111"/>
                    <a:pt x="565" y="1109"/>
                    <a:pt x="564" y="1108"/>
                  </a:cubicBezTo>
                  <a:cubicBezTo>
                    <a:pt x="562" y="1106"/>
                    <a:pt x="559" y="1103"/>
                    <a:pt x="563" y="1097"/>
                  </a:cubicBezTo>
                  <a:cubicBezTo>
                    <a:pt x="566" y="1093"/>
                    <a:pt x="568" y="1088"/>
                    <a:pt x="568" y="1084"/>
                  </a:cubicBezTo>
                  <a:cubicBezTo>
                    <a:pt x="567" y="1083"/>
                    <a:pt x="565" y="1081"/>
                    <a:pt x="564" y="1079"/>
                  </a:cubicBezTo>
                  <a:cubicBezTo>
                    <a:pt x="560" y="1079"/>
                    <a:pt x="555" y="1082"/>
                    <a:pt x="551" y="1084"/>
                  </a:cubicBezTo>
                  <a:cubicBezTo>
                    <a:pt x="548" y="1085"/>
                    <a:pt x="547" y="1086"/>
                    <a:pt x="545" y="1086"/>
                  </a:cubicBezTo>
                  <a:cubicBezTo>
                    <a:pt x="543" y="1086"/>
                    <a:pt x="541" y="1084"/>
                    <a:pt x="540" y="1082"/>
                  </a:cubicBezTo>
                  <a:cubicBezTo>
                    <a:pt x="538" y="1080"/>
                    <a:pt x="535" y="1077"/>
                    <a:pt x="540" y="1072"/>
                  </a:cubicBezTo>
                  <a:cubicBezTo>
                    <a:pt x="544" y="1068"/>
                    <a:pt x="547" y="1063"/>
                    <a:pt x="548" y="1060"/>
                  </a:cubicBezTo>
                  <a:cubicBezTo>
                    <a:pt x="546" y="1058"/>
                    <a:pt x="545" y="1056"/>
                    <a:pt x="544" y="1054"/>
                  </a:cubicBezTo>
                  <a:cubicBezTo>
                    <a:pt x="543" y="1054"/>
                    <a:pt x="543" y="1054"/>
                    <a:pt x="542" y="1054"/>
                  </a:cubicBezTo>
                  <a:cubicBezTo>
                    <a:pt x="539" y="1054"/>
                    <a:pt x="534" y="1055"/>
                    <a:pt x="530" y="1057"/>
                  </a:cubicBezTo>
                  <a:cubicBezTo>
                    <a:pt x="528" y="1058"/>
                    <a:pt x="527" y="1058"/>
                    <a:pt x="526" y="1058"/>
                  </a:cubicBezTo>
                  <a:cubicBezTo>
                    <a:pt x="522" y="1058"/>
                    <a:pt x="521" y="1055"/>
                    <a:pt x="520" y="1053"/>
                  </a:cubicBezTo>
                  <a:cubicBezTo>
                    <a:pt x="519" y="1051"/>
                    <a:pt x="516" y="1048"/>
                    <a:pt x="522" y="1043"/>
                  </a:cubicBezTo>
                  <a:cubicBezTo>
                    <a:pt x="526" y="1040"/>
                    <a:pt x="530" y="1035"/>
                    <a:pt x="531" y="1032"/>
                  </a:cubicBezTo>
                  <a:cubicBezTo>
                    <a:pt x="530" y="1030"/>
                    <a:pt x="529" y="1028"/>
                    <a:pt x="528" y="1026"/>
                  </a:cubicBezTo>
                  <a:cubicBezTo>
                    <a:pt x="527" y="1026"/>
                    <a:pt x="525" y="1026"/>
                    <a:pt x="523" y="1026"/>
                  </a:cubicBezTo>
                  <a:cubicBezTo>
                    <a:pt x="521" y="1026"/>
                    <a:pt x="517" y="1026"/>
                    <a:pt x="515" y="1027"/>
                  </a:cubicBezTo>
                  <a:cubicBezTo>
                    <a:pt x="513" y="1027"/>
                    <a:pt x="512" y="1027"/>
                    <a:pt x="511" y="1027"/>
                  </a:cubicBezTo>
                  <a:cubicBezTo>
                    <a:pt x="507" y="1027"/>
                    <a:pt x="506" y="1024"/>
                    <a:pt x="505" y="1022"/>
                  </a:cubicBezTo>
                  <a:cubicBezTo>
                    <a:pt x="504" y="1019"/>
                    <a:pt x="502" y="1015"/>
                    <a:pt x="509" y="1012"/>
                  </a:cubicBezTo>
                  <a:cubicBezTo>
                    <a:pt x="513" y="1009"/>
                    <a:pt x="518" y="1006"/>
                    <a:pt x="519" y="1003"/>
                  </a:cubicBezTo>
                  <a:cubicBezTo>
                    <a:pt x="519" y="1001"/>
                    <a:pt x="518" y="998"/>
                    <a:pt x="517" y="996"/>
                  </a:cubicBezTo>
                  <a:cubicBezTo>
                    <a:pt x="515" y="995"/>
                    <a:pt x="510" y="994"/>
                    <a:pt x="506" y="994"/>
                  </a:cubicBezTo>
                  <a:cubicBezTo>
                    <a:pt x="505" y="994"/>
                    <a:pt x="504" y="994"/>
                    <a:pt x="504" y="994"/>
                  </a:cubicBezTo>
                  <a:cubicBezTo>
                    <a:pt x="503" y="995"/>
                    <a:pt x="503" y="995"/>
                    <a:pt x="502" y="995"/>
                  </a:cubicBezTo>
                  <a:cubicBezTo>
                    <a:pt x="496" y="995"/>
                    <a:pt x="495" y="991"/>
                    <a:pt x="495" y="988"/>
                  </a:cubicBezTo>
                  <a:cubicBezTo>
                    <a:pt x="494" y="985"/>
                    <a:pt x="493" y="981"/>
                    <a:pt x="500" y="979"/>
                  </a:cubicBezTo>
                  <a:cubicBezTo>
                    <a:pt x="505" y="977"/>
                    <a:pt x="510" y="974"/>
                    <a:pt x="512" y="971"/>
                  </a:cubicBezTo>
                  <a:cubicBezTo>
                    <a:pt x="512" y="969"/>
                    <a:pt x="511" y="967"/>
                    <a:pt x="511" y="965"/>
                  </a:cubicBezTo>
                  <a:cubicBezTo>
                    <a:pt x="508" y="963"/>
                    <a:pt x="503" y="961"/>
                    <a:pt x="498" y="961"/>
                  </a:cubicBezTo>
                  <a:cubicBezTo>
                    <a:pt x="490" y="960"/>
                    <a:pt x="490" y="956"/>
                    <a:pt x="490" y="953"/>
                  </a:cubicBezTo>
                  <a:cubicBezTo>
                    <a:pt x="490" y="950"/>
                    <a:pt x="489" y="946"/>
                    <a:pt x="497" y="945"/>
                  </a:cubicBezTo>
                  <a:cubicBezTo>
                    <a:pt x="502" y="944"/>
                    <a:pt x="507" y="942"/>
                    <a:pt x="510" y="940"/>
                  </a:cubicBezTo>
                  <a:cubicBezTo>
                    <a:pt x="510" y="937"/>
                    <a:pt x="510" y="935"/>
                    <a:pt x="510" y="933"/>
                  </a:cubicBezTo>
                  <a:cubicBezTo>
                    <a:pt x="508" y="930"/>
                    <a:pt x="502" y="928"/>
                    <a:pt x="498" y="927"/>
                  </a:cubicBezTo>
                  <a:cubicBezTo>
                    <a:pt x="490" y="925"/>
                    <a:pt x="491" y="921"/>
                    <a:pt x="491" y="918"/>
                  </a:cubicBezTo>
                  <a:cubicBezTo>
                    <a:pt x="491" y="915"/>
                    <a:pt x="491" y="911"/>
                    <a:pt x="499" y="911"/>
                  </a:cubicBezTo>
                  <a:cubicBezTo>
                    <a:pt x="504" y="911"/>
                    <a:pt x="510" y="909"/>
                    <a:pt x="513" y="908"/>
                  </a:cubicBezTo>
                  <a:cubicBezTo>
                    <a:pt x="513" y="905"/>
                    <a:pt x="513" y="903"/>
                    <a:pt x="514" y="901"/>
                  </a:cubicBezTo>
                  <a:cubicBezTo>
                    <a:pt x="512" y="898"/>
                    <a:pt x="507" y="895"/>
                    <a:pt x="502" y="893"/>
                  </a:cubicBezTo>
                  <a:cubicBezTo>
                    <a:pt x="495" y="890"/>
                    <a:pt x="497" y="886"/>
                    <a:pt x="498" y="884"/>
                  </a:cubicBezTo>
                  <a:cubicBezTo>
                    <a:pt x="498" y="881"/>
                    <a:pt x="499" y="878"/>
                    <a:pt x="504" y="878"/>
                  </a:cubicBezTo>
                  <a:cubicBezTo>
                    <a:pt x="505" y="878"/>
                    <a:pt x="506" y="878"/>
                    <a:pt x="507" y="878"/>
                  </a:cubicBezTo>
                  <a:cubicBezTo>
                    <a:pt x="508" y="878"/>
                    <a:pt x="510" y="878"/>
                    <a:pt x="511" y="878"/>
                  </a:cubicBezTo>
                  <a:cubicBezTo>
                    <a:pt x="515" y="878"/>
                    <a:pt x="518" y="878"/>
                    <a:pt x="520" y="877"/>
                  </a:cubicBezTo>
                  <a:cubicBezTo>
                    <a:pt x="521" y="874"/>
                    <a:pt x="522" y="872"/>
                    <a:pt x="523" y="870"/>
                  </a:cubicBezTo>
                  <a:cubicBezTo>
                    <a:pt x="521" y="867"/>
                    <a:pt x="517" y="863"/>
                    <a:pt x="513" y="861"/>
                  </a:cubicBezTo>
                  <a:cubicBezTo>
                    <a:pt x="506" y="857"/>
                    <a:pt x="508" y="853"/>
                    <a:pt x="509" y="850"/>
                  </a:cubicBezTo>
                  <a:cubicBezTo>
                    <a:pt x="510" y="848"/>
                    <a:pt x="511" y="845"/>
                    <a:pt x="515" y="845"/>
                  </a:cubicBezTo>
                  <a:cubicBezTo>
                    <a:pt x="516" y="845"/>
                    <a:pt x="518" y="846"/>
                    <a:pt x="519" y="846"/>
                  </a:cubicBezTo>
                  <a:cubicBezTo>
                    <a:pt x="522" y="847"/>
                    <a:pt x="526" y="848"/>
                    <a:pt x="529" y="848"/>
                  </a:cubicBezTo>
                  <a:cubicBezTo>
                    <a:pt x="531" y="848"/>
                    <a:pt x="532" y="847"/>
                    <a:pt x="533" y="847"/>
                  </a:cubicBezTo>
                  <a:cubicBezTo>
                    <a:pt x="534" y="845"/>
                    <a:pt x="535" y="843"/>
                    <a:pt x="536" y="841"/>
                  </a:cubicBezTo>
                  <a:cubicBezTo>
                    <a:pt x="535" y="838"/>
                    <a:pt x="531" y="834"/>
                    <a:pt x="528" y="830"/>
                  </a:cubicBezTo>
                  <a:cubicBezTo>
                    <a:pt x="522" y="825"/>
                    <a:pt x="524" y="822"/>
                    <a:pt x="526" y="820"/>
                  </a:cubicBezTo>
                  <a:cubicBezTo>
                    <a:pt x="527" y="818"/>
                    <a:pt x="528" y="815"/>
                    <a:pt x="532" y="815"/>
                  </a:cubicBezTo>
                  <a:cubicBezTo>
                    <a:pt x="533" y="815"/>
                    <a:pt x="534" y="816"/>
                    <a:pt x="536" y="817"/>
                  </a:cubicBezTo>
                  <a:cubicBezTo>
                    <a:pt x="541" y="819"/>
                    <a:pt x="545" y="820"/>
                    <a:pt x="549" y="820"/>
                  </a:cubicBezTo>
                  <a:cubicBezTo>
                    <a:pt x="549" y="820"/>
                    <a:pt x="550" y="820"/>
                    <a:pt x="550" y="820"/>
                  </a:cubicBezTo>
                  <a:cubicBezTo>
                    <a:pt x="551" y="818"/>
                    <a:pt x="553" y="816"/>
                    <a:pt x="554" y="815"/>
                  </a:cubicBezTo>
                  <a:cubicBezTo>
                    <a:pt x="553" y="811"/>
                    <a:pt x="550" y="806"/>
                    <a:pt x="547" y="803"/>
                  </a:cubicBezTo>
                  <a:cubicBezTo>
                    <a:pt x="544" y="799"/>
                    <a:pt x="544" y="797"/>
                    <a:pt x="545" y="795"/>
                  </a:cubicBezTo>
                  <a:cubicBezTo>
                    <a:pt x="544" y="795"/>
                    <a:pt x="543" y="794"/>
                    <a:pt x="542" y="793"/>
                  </a:cubicBezTo>
                  <a:cubicBezTo>
                    <a:pt x="538" y="791"/>
                    <a:pt x="534" y="789"/>
                    <a:pt x="531" y="789"/>
                  </a:cubicBezTo>
                  <a:cubicBezTo>
                    <a:pt x="529" y="790"/>
                    <a:pt x="528" y="791"/>
                    <a:pt x="526" y="793"/>
                  </a:cubicBezTo>
                  <a:cubicBezTo>
                    <a:pt x="526" y="796"/>
                    <a:pt x="528" y="801"/>
                    <a:pt x="530" y="805"/>
                  </a:cubicBezTo>
                  <a:cubicBezTo>
                    <a:pt x="534" y="811"/>
                    <a:pt x="531" y="813"/>
                    <a:pt x="529" y="814"/>
                  </a:cubicBezTo>
                  <a:cubicBezTo>
                    <a:pt x="528" y="815"/>
                    <a:pt x="526" y="817"/>
                    <a:pt x="524" y="817"/>
                  </a:cubicBezTo>
                  <a:cubicBezTo>
                    <a:pt x="523" y="817"/>
                    <a:pt x="521" y="816"/>
                    <a:pt x="519" y="814"/>
                  </a:cubicBezTo>
                  <a:cubicBezTo>
                    <a:pt x="516" y="811"/>
                    <a:pt x="511" y="808"/>
                    <a:pt x="508" y="807"/>
                  </a:cubicBezTo>
                  <a:cubicBezTo>
                    <a:pt x="507" y="808"/>
                    <a:pt x="505" y="810"/>
                    <a:pt x="503" y="811"/>
                  </a:cubicBezTo>
                  <a:cubicBezTo>
                    <a:pt x="503" y="814"/>
                    <a:pt x="504" y="819"/>
                    <a:pt x="506" y="823"/>
                  </a:cubicBezTo>
                  <a:cubicBezTo>
                    <a:pt x="508" y="830"/>
                    <a:pt x="505" y="831"/>
                    <a:pt x="503" y="832"/>
                  </a:cubicBezTo>
                  <a:cubicBezTo>
                    <a:pt x="501" y="833"/>
                    <a:pt x="500" y="834"/>
                    <a:pt x="498" y="834"/>
                  </a:cubicBezTo>
                  <a:cubicBezTo>
                    <a:pt x="497" y="834"/>
                    <a:pt x="495" y="833"/>
                    <a:pt x="493" y="830"/>
                  </a:cubicBezTo>
                  <a:cubicBezTo>
                    <a:pt x="490" y="827"/>
                    <a:pt x="486" y="823"/>
                    <a:pt x="484" y="822"/>
                  </a:cubicBezTo>
                  <a:cubicBezTo>
                    <a:pt x="482" y="823"/>
                    <a:pt x="480" y="824"/>
                    <a:pt x="478" y="825"/>
                  </a:cubicBezTo>
                  <a:cubicBezTo>
                    <a:pt x="477" y="828"/>
                    <a:pt x="478" y="833"/>
                    <a:pt x="478" y="837"/>
                  </a:cubicBezTo>
                  <a:cubicBezTo>
                    <a:pt x="480" y="844"/>
                    <a:pt x="476" y="845"/>
                    <a:pt x="474" y="846"/>
                  </a:cubicBezTo>
                  <a:cubicBezTo>
                    <a:pt x="473" y="846"/>
                    <a:pt x="472" y="847"/>
                    <a:pt x="470" y="847"/>
                  </a:cubicBezTo>
                  <a:cubicBezTo>
                    <a:pt x="469" y="847"/>
                    <a:pt x="467" y="846"/>
                    <a:pt x="465" y="843"/>
                  </a:cubicBezTo>
                  <a:cubicBezTo>
                    <a:pt x="463" y="839"/>
                    <a:pt x="459" y="835"/>
                    <a:pt x="457" y="833"/>
                  </a:cubicBezTo>
                  <a:cubicBezTo>
                    <a:pt x="455" y="834"/>
                    <a:pt x="453" y="834"/>
                    <a:pt x="451" y="835"/>
                  </a:cubicBezTo>
                  <a:cubicBezTo>
                    <a:pt x="449" y="838"/>
                    <a:pt x="449" y="843"/>
                    <a:pt x="449" y="847"/>
                  </a:cubicBezTo>
                  <a:cubicBezTo>
                    <a:pt x="450" y="854"/>
                    <a:pt x="446" y="855"/>
                    <a:pt x="443" y="855"/>
                  </a:cubicBezTo>
                  <a:cubicBezTo>
                    <a:pt x="443" y="855"/>
                    <a:pt x="442" y="856"/>
                    <a:pt x="441" y="856"/>
                  </a:cubicBezTo>
                  <a:cubicBezTo>
                    <a:pt x="439" y="856"/>
                    <a:pt x="437" y="855"/>
                    <a:pt x="435" y="850"/>
                  </a:cubicBezTo>
                  <a:cubicBezTo>
                    <a:pt x="433" y="846"/>
                    <a:pt x="431" y="842"/>
                    <a:pt x="428" y="840"/>
                  </a:cubicBezTo>
                  <a:cubicBezTo>
                    <a:pt x="426" y="840"/>
                    <a:pt x="424" y="840"/>
                    <a:pt x="422" y="840"/>
                  </a:cubicBezTo>
                  <a:cubicBezTo>
                    <a:pt x="421" y="843"/>
                    <a:pt x="419" y="848"/>
                    <a:pt x="419" y="852"/>
                  </a:cubicBezTo>
                  <a:cubicBezTo>
                    <a:pt x="418" y="859"/>
                    <a:pt x="415" y="859"/>
                    <a:pt x="412" y="859"/>
                  </a:cubicBezTo>
                  <a:cubicBezTo>
                    <a:pt x="411" y="859"/>
                    <a:pt x="411" y="859"/>
                    <a:pt x="410" y="859"/>
                  </a:cubicBezTo>
                  <a:cubicBezTo>
                    <a:pt x="408" y="859"/>
                    <a:pt x="405" y="859"/>
                    <a:pt x="404" y="853"/>
                  </a:cubicBezTo>
                  <a:cubicBezTo>
                    <a:pt x="403" y="849"/>
                    <a:pt x="402" y="844"/>
                    <a:pt x="400" y="842"/>
                  </a:cubicBezTo>
                  <a:cubicBezTo>
                    <a:pt x="398" y="842"/>
                    <a:pt x="396" y="841"/>
                    <a:pt x="394" y="841"/>
                  </a:cubicBezTo>
                  <a:cubicBezTo>
                    <a:pt x="391" y="844"/>
                    <a:pt x="389" y="848"/>
                    <a:pt x="388" y="853"/>
                  </a:cubicBezTo>
                  <a:cubicBezTo>
                    <a:pt x="387" y="858"/>
                    <a:pt x="385" y="859"/>
                    <a:pt x="382" y="859"/>
                  </a:cubicBezTo>
                  <a:cubicBezTo>
                    <a:pt x="382" y="859"/>
                    <a:pt x="381" y="859"/>
                    <a:pt x="380" y="858"/>
                  </a:cubicBezTo>
                  <a:cubicBezTo>
                    <a:pt x="378" y="858"/>
                    <a:pt x="374" y="858"/>
                    <a:pt x="374" y="851"/>
                  </a:cubicBezTo>
                  <a:cubicBezTo>
                    <a:pt x="373" y="847"/>
                    <a:pt x="372" y="842"/>
                    <a:pt x="371" y="839"/>
                  </a:cubicBezTo>
                  <a:cubicBezTo>
                    <a:pt x="369" y="839"/>
                    <a:pt x="367" y="838"/>
                    <a:pt x="365" y="838"/>
                  </a:cubicBezTo>
                  <a:cubicBezTo>
                    <a:pt x="362" y="840"/>
                    <a:pt x="360" y="844"/>
                    <a:pt x="358" y="848"/>
                  </a:cubicBezTo>
                  <a:cubicBezTo>
                    <a:pt x="356" y="852"/>
                    <a:pt x="354" y="853"/>
                    <a:pt x="352" y="853"/>
                  </a:cubicBezTo>
                  <a:cubicBezTo>
                    <a:pt x="351" y="853"/>
                    <a:pt x="350" y="853"/>
                    <a:pt x="349" y="853"/>
                  </a:cubicBezTo>
                  <a:cubicBezTo>
                    <a:pt x="346" y="852"/>
                    <a:pt x="343" y="851"/>
                    <a:pt x="344" y="845"/>
                  </a:cubicBezTo>
                  <a:cubicBezTo>
                    <a:pt x="344" y="840"/>
                    <a:pt x="344" y="835"/>
                    <a:pt x="343" y="832"/>
                  </a:cubicBezTo>
                  <a:cubicBezTo>
                    <a:pt x="341" y="831"/>
                    <a:pt x="339" y="831"/>
                    <a:pt x="337" y="830"/>
                  </a:cubicBezTo>
                  <a:cubicBezTo>
                    <a:pt x="334" y="831"/>
                    <a:pt x="331" y="835"/>
                    <a:pt x="328" y="839"/>
                  </a:cubicBezTo>
                  <a:cubicBezTo>
                    <a:pt x="326" y="842"/>
                    <a:pt x="324" y="843"/>
                    <a:pt x="323" y="843"/>
                  </a:cubicBezTo>
                  <a:cubicBezTo>
                    <a:pt x="321" y="843"/>
                    <a:pt x="320" y="843"/>
                    <a:pt x="319" y="842"/>
                  </a:cubicBezTo>
                  <a:cubicBezTo>
                    <a:pt x="317" y="841"/>
                    <a:pt x="313" y="840"/>
                    <a:pt x="315" y="833"/>
                  </a:cubicBezTo>
                  <a:cubicBezTo>
                    <a:pt x="316" y="829"/>
                    <a:pt x="317" y="824"/>
                    <a:pt x="316" y="821"/>
                  </a:cubicBezTo>
                  <a:cubicBezTo>
                    <a:pt x="314" y="820"/>
                    <a:pt x="312" y="819"/>
                    <a:pt x="311" y="818"/>
                  </a:cubicBezTo>
                  <a:cubicBezTo>
                    <a:pt x="308" y="819"/>
                    <a:pt x="304" y="822"/>
                    <a:pt x="301" y="825"/>
                  </a:cubicBezTo>
                  <a:cubicBezTo>
                    <a:pt x="299" y="828"/>
                    <a:pt x="297" y="829"/>
                    <a:pt x="295" y="829"/>
                  </a:cubicBezTo>
                  <a:cubicBezTo>
                    <a:pt x="294" y="829"/>
                    <a:pt x="292" y="828"/>
                    <a:pt x="291" y="827"/>
                  </a:cubicBezTo>
                  <a:cubicBezTo>
                    <a:pt x="289" y="826"/>
                    <a:pt x="285" y="824"/>
                    <a:pt x="288" y="818"/>
                  </a:cubicBezTo>
                  <a:cubicBezTo>
                    <a:pt x="290" y="813"/>
                    <a:pt x="292" y="808"/>
                    <a:pt x="291" y="805"/>
                  </a:cubicBezTo>
                  <a:cubicBezTo>
                    <a:pt x="290" y="804"/>
                    <a:pt x="288" y="803"/>
                    <a:pt x="287" y="802"/>
                  </a:cubicBezTo>
                  <a:cubicBezTo>
                    <a:pt x="284" y="802"/>
                    <a:pt x="279" y="805"/>
                    <a:pt x="276" y="808"/>
                  </a:cubicBezTo>
                  <a:cubicBezTo>
                    <a:pt x="273" y="810"/>
                    <a:pt x="272" y="810"/>
                    <a:pt x="270" y="810"/>
                  </a:cubicBezTo>
                  <a:cubicBezTo>
                    <a:pt x="268" y="810"/>
                    <a:pt x="267" y="809"/>
                    <a:pt x="266" y="808"/>
                  </a:cubicBezTo>
                  <a:cubicBezTo>
                    <a:pt x="264" y="806"/>
                    <a:pt x="261" y="804"/>
                    <a:pt x="265" y="798"/>
                  </a:cubicBezTo>
                  <a:cubicBezTo>
                    <a:pt x="267" y="794"/>
                    <a:pt x="269" y="789"/>
                    <a:pt x="269" y="786"/>
                  </a:cubicBezTo>
                  <a:cubicBezTo>
                    <a:pt x="268" y="785"/>
                    <a:pt x="267" y="783"/>
                    <a:pt x="265" y="782"/>
                  </a:cubicBezTo>
                  <a:cubicBezTo>
                    <a:pt x="262" y="782"/>
                    <a:pt x="257" y="784"/>
                    <a:pt x="254" y="786"/>
                  </a:cubicBezTo>
                  <a:cubicBezTo>
                    <a:pt x="252" y="787"/>
                    <a:pt x="250" y="788"/>
                    <a:pt x="249" y="788"/>
                  </a:cubicBezTo>
                  <a:cubicBezTo>
                    <a:pt x="246" y="788"/>
                    <a:pt x="245" y="786"/>
                    <a:pt x="244" y="785"/>
                  </a:cubicBezTo>
                  <a:cubicBezTo>
                    <a:pt x="242" y="783"/>
                    <a:pt x="239" y="780"/>
                    <a:pt x="244" y="775"/>
                  </a:cubicBezTo>
                  <a:cubicBezTo>
                    <a:pt x="247" y="771"/>
                    <a:pt x="250" y="767"/>
                    <a:pt x="251" y="764"/>
                  </a:cubicBezTo>
                  <a:cubicBezTo>
                    <a:pt x="250" y="762"/>
                    <a:pt x="249" y="761"/>
                    <a:pt x="247" y="759"/>
                  </a:cubicBezTo>
                  <a:cubicBezTo>
                    <a:pt x="247" y="759"/>
                    <a:pt x="247" y="759"/>
                    <a:pt x="246" y="759"/>
                  </a:cubicBezTo>
                  <a:cubicBezTo>
                    <a:pt x="243" y="759"/>
                    <a:pt x="239" y="760"/>
                    <a:pt x="235" y="761"/>
                  </a:cubicBezTo>
                  <a:cubicBezTo>
                    <a:pt x="233" y="762"/>
                    <a:pt x="232" y="762"/>
                    <a:pt x="231" y="762"/>
                  </a:cubicBezTo>
                  <a:cubicBezTo>
                    <a:pt x="228" y="762"/>
                    <a:pt x="227" y="760"/>
                    <a:pt x="226" y="758"/>
                  </a:cubicBezTo>
                  <a:cubicBezTo>
                    <a:pt x="224" y="756"/>
                    <a:pt x="222" y="753"/>
                    <a:pt x="228" y="749"/>
                  </a:cubicBezTo>
                  <a:cubicBezTo>
                    <a:pt x="231" y="746"/>
                    <a:pt x="235" y="742"/>
                    <a:pt x="236" y="739"/>
                  </a:cubicBezTo>
                  <a:cubicBezTo>
                    <a:pt x="235" y="737"/>
                    <a:pt x="234" y="736"/>
                    <a:pt x="233" y="734"/>
                  </a:cubicBezTo>
                  <a:cubicBezTo>
                    <a:pt x="232" y="733"/>
                    <a:pt x="231" y="733"/>
                    <a:pt x="229" y="733"/>
                  </a:cubicBezTo>
                  <a:cubicBezTo>
                    <a:pt x="226" y="733"/>
                    <a:pt x="223" y="734"/>
                    <a:pt x="221" y="734"/>
                  </a:cubicBezTo>
                  <a:cubicBezTo>
                    <a:pt x="220" y="735"/>
                    <a:pt x="219" y="735"/>
                    <a:pt x="218" y="735"/>
                  </a:cubicBezTo>
                  <a:cubicBezTo>
                    <a:pt x="214" y="735"/>
                    <a:pt x="213" y="732"/>
                    <a:pt x="212" y="730"/>
                  </a:cubicBezTo>
                  <a:cubicBezTo>
                    <a:pt x="211" y="727"/>
                    <a:pt x="209" y="724"/>
                    <a:pt x="216" y="721"/>
                  </a:cubicBezTo>
                  <a:cubicBezTo>
                    <a:pt x="219" y="718"/>
                    <a:pt x="224" y="715"/>
                    <a:pt x="225" y="712"/>
                  </a:cubicBezTo>
                  <a:cubicBezTo>
                    <a:pt x="225" y="711"/>
                    <a:pt x="224" y="709"/>
                    <a:pt x="223" y="707"/>
                  </a:cubicBezTo>
                  <a:cubicBezTo>
                    <a:pt x="221" y="705"/>
                    <a:pt x="217" y="705"/>
                    <a:pt x="213" y="705"/>
                  </a:cubicBezTo>
                  <a:cubicBezTo>
                    <a:pt x="212" y="705"/>
                    <a:pt x="212" y="705"/>
                    <a:pt x="211" y="705"/>
                  </a:cubicBezTo>
                  <a:cubicBezTo>
                    <a:pt x="210" y="705"/>
                    <a:pt x="210" y="705"/>
                    <a:pt x="210" y="705"/>
                  </a:cubicBezTo>
                  <a:cubicBezTo>
                    <a:pt x="204" y="705"/>
                    <a:pt x="204" y="702"/>
                    <a:pt x="203" y="699"/>
                  </a:cubicBezTo>
                  <a:cubicBezTo>
                    <a:pt x="203" y="697"/>
                    <a:pt x="201" y="693"/>
                    <a:pt x="208" y="691"/>
                  </a:cubicBezTo>
                  <a:cubicBezTo>
                    <a:pt x="212" y="689"/>
                    <a:pt x="217" y="687"/>
                    <a:pt x="219" y="684"/>
                  </a:cubicBezTo>
                  <a:cubicBezTo>
                    <a:pt x="218" y="682"/>
                    <a:pt x="218" y="680"/>
                    <a:pt x="218" y="678"/>
                  </a:cubicBezTo>
                  <a:cubicBezTo>
                    <a:pt x="215" y="676"/>
                    <a:pt x="210" y="675"/>
                    <a:pt x="206" y="675"/>
                  </a:cubicBezTo>
                  <a:cubicBezTo>
                    <a:pt x="199" y="674"/>
                    <a:pt x="199" y="670"/>
                    <a:pt x="199" y="668"/>
                  </a:cubicBezTo>
                  <a:cubicBezTo>
                    <a:pt x="199" y="665"/>
                    <a:pt x="198" y="661"/>
                    <a:pt x="205" y="660"/>
                  </a:cubicBezTo>
                  <a:cubicBezTo>
                    <a:pt x="209" y="659"/>
                    <a:pt x="214" y="657"/>
                    <a:pt x="217" y="655"/>
                  </a:cubicBezTo>
                  <a:cubicBezTo>
                    <a:pt x="217" y="653"/>
                    <a:pt x="217" y="651"/>
                    <a:pt x="217" y="649"/>
                  </a:cubicBezTo>
                  <a:cubicBezTo>
                    <a:pt x="215" y="647"/>
                    <a:pt x="210" y="645"/>
                    <a:pt x="205" y="644"/>
                  </a:cubicBezTo>
                  <a:cubicBezTo>
                    <a:pt x="199" y="642"/>
                    <a:pt x="199" y="639"/>
                    <a:pt x="200" y="636"/>
                  </a:cubicBezTo>
                  <a:cubicBezTo>
                    <a:pt x="200" y="633"/>
                    <a:pt x="200" y="630"/>
                    <a:pt x="207" y="629"/>
                  </a:cubicBezTo>
                  <a:cubicBezTo>
                    <a:pt x="211" y="629"/>
                    <a:pt x="217" y="628"/>
                    <a:pt x="219" y="626"/>
                  </a:cubicBezTo>
                  <a:cubicBezTo>
                    <a:pt x="220" y="624"/>
                    <a:pt x="220" y="622"/>
                    <a:pt x="220" y="621"/>
                  </a:cubicBezTo>
                  <a:cubicBezTo>
                    <a:pt x="218" y="618"/>
                    <a:pt x="214" y="615"/>
                    <a:pt x="210" y="613"/>
                  </a:cubicBezTo>
                  <a:cubicBezTo>
                    <a:pt x="203" y="611"/>
                    <a:pt x="205" y="607"/>
                    <a:pt x="205" y="605"/>
                  </a:cubicBezTo>
                  <a:cubicBezTo>
                    <a:pt x="206" y="602"/>
                    <a:pt x="207" y="599"/>
                    <a:pt x="212" y="599"/>
                  </a:cubicBezTo>
                  <a:cubicBezTo>
                    <a:pt x="212" y="599"/>
                    <a:pt x="213" y="599"/>
                    <a:pt x="214" y="599"/>
                  </a:cubicBezTo>
                  <a:cubicBezTo>
                    <a:pt x="215" y="599"/>
                    <a:pt x="217" y="600"/>
                    <a:pt x="218" y="600"/>
                  </a:cubicBezTo>
                  <a:cubicBezTo>
                    <a:pt x="221" y="600"/>
                    <a:pt x="224" y="599"/>
                    <a:pt x="226" y="598"/>
                  </a:cubicBezTo>
                  <a:cubicBezTo>
                    <a:pt x="227" y="596"/>
                    <a:pt x="227" y="595"/>
                    <a:pt x="228" y="593"/>
                  </a:cubicBezTo>
                  <a:cubicBezTo>
                    <a:pt x="227" y="590"/>
                    <a:pt x="223" y="587"/>
                    <a:pt x="219" y="584"/>
                  </a:cubicBezTo>
                  <a:cubicBezTo>
                    <a:pt x="213" y="580"/>
                    <a:pt x="215" y="577"/>
                    <a:pt x="216" y="575"/>
                  </a:cubicBezTo>
                  <a:cubicBezTo>
                    <a:pt x="217" y="573"/>
                    <a:pt x="218" y="570"/>
                    <a:pt x="222" y="570"/>
                  </a:cubicBezTo>
                  <a:cubicBezTo>
                    <a:pt x="222" y="570"/>
                    <a:pt x="224" y="570"/>
                    <a:pt x="225" y="571"/>
                  </a:cubicBezTo>
                  <a:cubicBezTo>
                    <a:pt x="228" y="572"/>
                    <a:pt x="231" y="572"/>
                    <a:pt x="234" y="572"/>
                  </a:cubicBezTo>
                  <a:cubicBezTo>
                    <a:pt x="235" y="572"/>
                    <a:pt x="237" y="572"/>
                    <a:pt x="237" y="572"/>
                  </a:cubicBezTo>
                  <a:cubicBezTo>
                    <a:pt x="238" y="570"/>
                    <a:pt x="239" y="568"/>
                    <a:pt x="240" y="566"/>
                  </a:cubicBezTo>
                  <a:cubicBezTo>
                    <a:pt x="239" y="563"/>
                    <a:pt x="236" y="559"/>
                    <a:pt x="233" y="556"/>
                  </a:cubicBezTo>
                  <a:cubicBezTo>
                    <a:pt x="227" y="552"/>
                    <a:pt x="230" y="549"/>
                    <a:pt x="231" y="547"/>
                  </a:cubicBezTo>
                  <a:cubicBezTo>
                    <a:pt x="232" y="545"/>
                    <a:pt x="233" y="543"/>
                    <a:pt x="236" y="543"/>
                  </a:cubicBezTo>
                  <a:cubicBezTo>
                    <a:pt x="237" y="543"/>
                    <a:pt x="239" y="543"/>
                    <a:pt x="241" y="544"/>
                  </a:cubicBezTo>
                  <a:cubicBezTo>
                    <a:pt x="244" y="546"/>
                    <a:pt x="249" y="547"/>
                    <a:pt x="252" y="547"/>
                  </a:cubicBezTo>
                  <a:cubicBezTo>
                    <a:pt x="252" y="547"/>
                    <a:pt x="253" y="547"/>
                    <a:pt x="253" y="547"/>
                  </a:cubicBezTo>
                  <a:cubicBezTo>
                    <a:pt x="254" y="546"/>
                    <a:pt x="255" y="544"/>
                    <a:pt x="257" y="542"/>
                  </a:cubicBezTo>
                  <a:cubicBezTo>
                    <a:pt x="256" y="539"/>
                    <a:pt x="253" y="535"/>
                    <a:pt x="251" y="531"/>
                  </a:cubicBezTo>
                  <a:cubicBezTo>
                    <a:pt x="246" y="526"/>
                    <a:pt x="249" y="524"/>
                    <a:pt x="251" y="522"/>
                  </a:cubicBezTo>
                  <a:cubicBezTo>
                    <a:pt x="252" y="520"/>
                    <a:pt x="253" y="519"/>
                    <a:pt x="255" y="519"/>
                  </a:cubicBezTo>
                  <a:cubicBezTo>
                    <a:pt x="257" y="519"/>
                    <a:pt x="258" y="519"/>
                    <a:pt x="260" y="520"/>
                  </a:cubicBezTo>
                  <a:cubicBezTo>
                    <a:pt x="264" y="523"/>
                    <a:pt x="269" y="525"/>
                    <a:pt x="272" y="525"/>
                  </a:cubicBezTo>
                  <a:cubicBezTo>
                    <a:pt x="273" y="524"/>
                    <a:pt x="275" y="523"/>
                    <a:pt x="276" y="521"/>
                  </a:cubicBezTo>
                  <a:cubicBezTo>
                    <a:pt x="276" y="518"/>
                    <a:pt x="274" y="513"/>
                    <a:pt x="272" y="509"/>
                  </a:cubicBezTo>
                  <a:cubicBezTo>
                    <a:pt x="268" y="503"/>
                    <a:pt x="272" y="501"/>
                    <a:pt x="274" y="500"/>
                  </a:cubicBezTo>
                  <a:cubicBezTo>
                    <a:pt x="275" y="499"/>
                    <a:pt x="276" y="497"/>
                    <a:pt x="278" y="497"/>
                  </a:cubicBezTo>
                  <a:cubicBezTo>
                    <a:pt x="279" y="497"/>
                    <a:pt x="281" y="498"/>
                    <a:pt x="283" y="500"/>
                  </a:cubicBezTo>
                  <a:cubicBezTo>
                    <a:pt x="287" y="503"/>
                    <a:pt x="291" y="506"/>
                    <a:pt x="294" y="507"/>
                  </a:cubicBezTo>
                  <a:cubicBezTo>
                    <a:pt x="296" y="506"/>
                    <a:pt x="297" y="504"/>
                    <a:pt x="299" y="503"/>
                  </a:cubicBezTo>
                  <a:cubicBezTo>
                    <a:pt x="299" y="500"/>
                    <a:pt x="298" y="495"/>
                    <a:pt x="297" y="491"/>
                  </a:cubicBezTo>
                  <a:cubicBezTo>
                    <a:pt x="294" y="484"/>
                    <a:pt x="297" y="483"/>
                    <a:pt x="300" y="482"/>
                  </a:cubicBezTo>
                  <a:cubicBezTo>
                    <a:pt x="301" y="481"/>
                    <a:pt x="302" y="480"/>
                    <a:pt x="304" y="480"/>
                  </a:cubicBezTo>
                  <a:cubicBezTo>
                    <a:pt x="305" y="480"/>
                    <a:pt x="307" y="481"/>
                    <a:pt x="309" y="484"/>
                  </a:cubicBezTo>
                  <a:cubicBezTo>
                    <a:pt x="312" y="487"/>
                    <a:pt x="316" y="491"/>
                    <a:pt x="319" y="492"/>
                  </a:cubicBezTo>
                  <a:cubicBezTo>
                    <a:pt x="321" y="491"/>
                    <a:pt x="323" y="490"/>
                    <a:pt x="324" y="489"/>
                  </a:cubicBezTo>
                  <a:cubicBezTo>
                    <a:pt x="325" y="486"/>
                    <a:pt x="325" y="481"/>
                    <a:pt x="324" y="477"/>
                  </a:cubicBezTo>
                  <a:cubicBezTo>
                    <a:pt x="322" y="470"/>
                    <a:pt x="326" y="469"/>
                    <a:pt x="328" y="468"/>
                  </a:cubicBezTo>
                  <a:cubicBezTo>
                    <a:pt x="330" y="468"/>
                    <a:pt x="331" y="467"/>
                    <a:pt x="332" y="467"/>
                  </a:cubicBezTo>
                  <a:cubicBezTo>
                    <a:pt x="334" y="467"/>
                    <a:pt x="336" y="468"/>
                    <a:pt x="338" y="471"/>
                  </a:cubicBezTo>
                  <a:cubicBezTo>
                    <a:pt x="340" y="475"/>
                    <a:pt x="343" y="479"/>
                    <a:pt x="346" y="481"/>
                  </a:cubicBezTo>
                  <a:cubicBezTo>
                    <a:pt x="348" y="480"/>
                    <a:pt x="350" y="480"/>
                    <a:pt x="352" y="479"/>
                  </a:cubicBezTo>
                  <a:cubicBezTo>
                    <a:pt x="353" y="476"/>
                    <a:pt x="353" y="471"/>
                    <a:pt x="353" y="467"/>
                  </a:cubicBezTo>
                  <a:cubicBezTo>
                    <a:pt x="353" y="460"/>
                    <a:pt x="356" y="459"/>
                    <a:pt x="359" y="459"/>
                  </a:cubicBezTo>
                  <a:cubicBezTo>
                    <a:pt x="360" y="459"/>
                    <a:pt x="361" y="458"/>
                    <a:pt x="362" y="458"/>
                  </a:cubicBezTo>
                  <a:cubicBezTo>
                    <a:pt x="364" y="458"/>
                    <a:pt x="366" y="459"/>
                    <a:pt x="367" y="464"/>
                  </a:cubicBezTo>
                  <a:cubicBezTo>
                    <a:pt x="369" y="468"/>
                    <a:pt x="372" y="472"/>
                    <a:pt x="374" y="474"/>
                  </a:cubicBezTo>
                  <a:cubicBezTo>
                    <a:pt x="376" y="474"/>
                    <a:pt x="378" y="474"/>
                    <a:pt x="380" y="474"/>
                  </a:cubicBezTo>
                  <a:cubicBezTo>
                    <a:pt x="382" y="471"/>
                    <a:pt x="383" y="466"/>
                    <a:pt x="383" y="462"/>
                  </a:cubicBezTo>
                  <a:cubicBezTo>
                    <a:pt x="384" y="455"/>
                    <a:pt x="388" y="455"/>
                    <a:pt x="390" y="455"/>
                  </a:cubicBezTo>
                  <a:cubicBezTo>
                    <a:pt x="391" y="455"/>
                    <a:pt x="392" y="455"/>
                    <a:pt x="392" y="455"/>
                  </a:cubicBezTo>
                  <a:cubicBezTo>
                    <a:pt x="395" y="455"/>
                    <a:pt x="397" y="455"/>
                    <a:pt x="398" y="461"/>
                  </a:cubicBezTo>
                  <a:cubicBezTo>
                    <a:pt x="399" y="465"/>
                    <a:pt x="401" y="470"/>
                    <a:pt x="403" y="472"/>
                  </a:cubicBezTo>
                  <a:cubicBezTo>
                    <a:pt x="405" y="472"/>
                    <a:pt x="407" y="473"/>
                    <a:pt x="409" y="473"/>
                  </a:cubicBezTo>
                  <a:cubicBezTo>
                    <a:pt x="411" y="470"/>
                    <a:pt x="413" y="466"/>
                    <a:pt x="414" y="461"/>
                  </a:cubicBezTo>
                  <a:cubicBezTo>
                    <a:pt x="415" y="456"/>
                    <a:pt x="418" y="455"/>
                    <a:pt x="420" y="455"/>
                  </a:cubicBezTo>
                  <a:cubicBezTo>
                    <a:pt x="421" y="455"/>
                    <a:pt x="422" y="455"/>
                    <a:pt x="422" y="456"/>
                  </a:cubicBezTo>
                  <a:cubicBezTo>
                    <a:pt x="425" y="456"/>
                    <a:pt x="429" y="456"/>
                    <a:pt x="429" y="463"/>
                  </a:cubicBezTo>
                  <a:cubicBezTo>
                    <a:pt x="429" y="467"/>
                    <a:pt x="430" y="472"/>
                    <a:pt x="432" y="475"/>
                  </a:cubicBezTo>
                  <a:cubicBezTo>
                    <a:pt x="434" y="475"/>
                    <a:pt x="436" y="476"/>
                    <a:pt x="438" y="476"/>
                  </a:cubicBezTo>
                  <a:cubicBezTo>
                    <a:pt x="440" y="474"/>
                    <a:pt x="443" y="470"/>
                    <a:pt x="445" y="466"/>
                  </a:cubicBezTo>
                  <a:cubicBezTo>
                    <a:pt x="446" y="462"/>
                    <a:pt x="448" y="461"/>
                    <a:pt x="450" y="461"/>
                  </a:cubicBezTo>
                  <a:cubicBezTo>
                    <a:pt x="451" y="461"/>
                    <a:pt x="453" y="461"/>
                    <a:pt x="453" y="461"/>
                  </a:cubicBezTo>
                  <a:cubicBezTo>
                    <a:pt x="456" y="462"/>
                    <a:pt x="460" y="462"/>
                    <a:pt x="459" y="469"/>
                  </a:cubicBezTo>
                  <a:cubicBezTo>
                    <a:pt x="458" y="474"/>
                    <a:pt x="459" y="479"/>
                    <a:pt x="460" y="482"/>
                  </a:cubicBezTo>
                  <a:cubicBezTo>
                    <a:pt x="462" y="483"/>
                    <a:pt x="464" y="483"/>
                    <a:pt x="466" y="484"/>
                  </a:cubicBezTo>
                  <a:cubicBezTo>
                    <a:pt x="468" y="483"/>
                    <a:pt x="472" y="479"/>
                    <a:pt x="474" y="475"/>
                  </a:cubicBezTo>
                  <a:cubicBezTo>
                    <a:pt x="476" y="472"/>
                    <a:pt x="478" y="471"/>
                    <a:pt x="480" y="471"/>
                  </a:cubicBezTo>
                  <a:cubicBezTo>
                    <a:pt x="481" y="471"/>
                    <a:pt x="482" y="471"/>
                    <a:pt x="483" y="472"/>
                  </a:cubicBezTo>
                  <a:cubicBezTo>
                    <a:pt x="486" y="473"/>
                    <a:pt x="489" y="474"/>
                    <a:pt x="487" y="481"/>
                  </a:cubicBezTo>
                  <a:cubicBezTo>
                    <a:pt x="486" y="485"/>
                    <a:pt x="486" y="490"/>
                    <a:pt x="486" y="493"/>
                  </a:cubicBezTo>
                  <a:cubicBezTo>
                    <a:pt x="488" y="494"/>
                    <a:pt x="490" y="495"/>
                    <a:pt x="492" y="496"/>
                  </a:cubicBezTo>
                  <a:cubicBezTo>
                    <a:pt x="495" y="495"/>
                    <a:pt x="499" y="492"/>
                    <a:pt x="502" y="489"/>
                  </a:cubicBezTo>
                  <a:cubicBezTo>
                    <a:pt x="504" y="486"/>
                    <a:pt x="506" y="485"/>
                    <a:pt x="507" y="485"/>
                  </a:cubicBezTo>
                  <a:cubicBezTo>
                    <a:pt x="509" y="485"/>
                    <a:pt x="510" y="486"/>
                    <a:pt x="511" y="487"/>
                  </a:cubicBezTo>
                  <a:cubicBezTo>
                    <a:pt x="514" y="488"/>
                    <a:pt x="517" y="490"/>
                    <a:pt x="514" y="496"/>
                  </a:cubicBezTo>
                  <a:cubicBezTo>
                    <a:pt x="512" y="501"/>
                    <a:pt x="511" y="505"/>
                    <a:pt x="511" y="509"/>
                  </a:cubicBezTo>
                  <a:cubicBezTo>
                    <a:pt x="513" y="510"/>
                    <a:pt x="514" y="511"/>
                    <a:pt x="516" y="512"/>
                  </a:cubicBezTo>
                  <a:cubicBezTo>
                    <a:pt x="519" y="512"/>
                    <a:pt x="523" y="509"/>
                    <a:pt x="527" y="506"/>
                  </a:cubicBezTo>
                  <a:cubicBezTo>
                    <a:pt x="529" y="504"/>
                    <a:pt x="531" y="504"/>
                    <a:pt x="532" y="504"/>
                  </a:cubicBezTo>
                  <a:cubicBezTo>
                    <a:pt x="534" y="504"/>
                    <a:pt x="535" y="505"/>
                    <a:pt x="537" y="506"/>
                  </a:cubicBezTo>
                  <a:cubicBezTo>
                    <a:pt x="539" y="508"/>
                    <a:pt x="542" y="510"/>
                    <a:pt x="538" y="516"/>
                  </a:cubicBezTo>
                  <a:cubicBezTo>
                    <a:pt x="535" y="520"/>
                    <a:pt x="533" y="525"/>
                    <a:pt x="533" y="528"/>
                  </a:cubicBezTo>
                  <a:cubicBezTo>
                    <a:pt x="534" y="529"/>
                    <a:pt x="536" y="531"/>
                    <a:pt x="537" y="532"/>
                  </a:cubicBezTo>
                  <a:cubicBezTo>
                    <a:pt x="540" y="532"/>
                    <a:pt x="545" y="530"/>
                    <a:pt x="549" y="528"/>
                  </a:cubicBezTo>
                  <a:cubicBezTo>
                    <a:pt x="551" y="527"/>
                    <a:pt x="552" y="526"/>
                    <a:pt x="554" y="526"/>
                  </a:cubicBezTo>
                  <a:cubicBezTo>
                    <a:pt x="556" y="526"/>
                    <a:pt x="557" y="528"/>
                    <a:pt x="559" y="529"/>
                  </a:cubicBezTo>
                  <a:cubicBezTo>
                    <a:pt x="560" y="531"/>
                    <a:pt x="563" y="534"/>
                    <a:pt x="558" y="539"/>
                  </a:cubicBezTo>
                  <a:cubicBezTo>
                    <a:pt x="555" y="543"/>
                    <a:pt x="552" y="547"/>
                    <a:pt x="551" y="550"/>
                  </a:cubicBezTo>
                  <a:cubicBezTo>
                    <a:pt x="553" y="552"/>
                    <a:pt x="554" y="553"/>
                    <a:pt x="555" y="555"/>
                  </a:cubicBezTo>
                  <a:cubicBezTo>
                    <a:pt x="555" y="555"/>
                    <a:pt x="556" y="555"/>
                    <a:pt x="556" y="555"/>
                  </a:cubicBezTo>
                  <a:cubicBezTo>
                    <a:pt x="559" y="555"/>
                    <a:pt x="564" y="554"/>
                    <a:pt x="567" y="553"/>
                  </a:cubicBezTo>
                  <a:cubicBezTo>
                    <a:pt x="569" y="552"/>
                    <a:pt x="570" y="552"/>
                    <a:pt x="571" y="552"/>
                  </a:cubicBezTo>
                  <a:cubicBezTo>
                    <a:pt x="575" y="552"/>
                    <a:pt x="576" y="554"/>
                    <a:pt x="577" y="556"/>
                  </a:cubicBezTo>
                  <a:cubicBezTo>
                    <a:pt x="578" y="558"/>
                    <a:pt x="580" y="561"/>
                    <a:pt x="575" y="565"/>
                  </a:cubicBezTo>
                  <a:cubicBezTo>
                    <a:pt x="571" y="568"/>
                    <a:pt x="568" y="572"/>
                    <a:pt x="566" y="575"/>
                  </a:cubicBezTo>
                  <a:cubicBezTo>
                    <a:pt x="567" y="576"/>
                    <a:pt x="568" y="578"/>
                    <a:pt x="569" y="580"/>
                  </a:cubicBezTo>
                  <a:cubicBezTo>
                    <a:pt x="570" y="581"/>
                    <a:pt x="572" y="581"/>
                    <a:pt x="574" y="581"/>
                  </a:cubicBezTo>
                  <a:cubicBezTo>
                    <a:pt x="576" y="581"/>
                    <a:pt x="579" y="580"/>
                    <a:pt x="582" y="580"/>
                  </a:cubicBezTo>
                  <a:cubicBezTo>
                    <a:pt x="583" y="579"/>
                    <a:pt x="584" y="579"/>
                    <a:pt x="585" y="579"/>
                  </a:cubicBezTo>
                  <a:cubicBezTo>
                    <a:pt x="589" y="579"/>
                    <a:pt x="589" y="582"/>
                    <a:pt x="590" y="584"/>
                  </a:cubicBezTo>
                  <a:cubicBezTo>
                    <a:pt x="591" y="587"/>
                    <a:pt x="593" y="590"/>
                    <a:pt x="587" y="593"/>
                  </a:cubicBezTo>
                  <a:cubicBezTo>
                    <a:pt x="583" y="596"/>
                    <a:pt x="579" y="599"/>
                    <a:pt x="577" y="602"/>
                  </a:cubicBezTo>
                  <a:cubicBezTo>
                    <a:pt x="578" y="603"/>
                    <a:pt x="578" y="605"/>
                    <a:pt x="579" y="607"/>
                  </a:cubicBezTo>
                  <a:cubicBezTo>
                    <a:pt x="581" y="608"/>
                    <a:pt x="585" y="609"/>
                    <a:pt x="589" y="609"/>
                  </a:cubicBezTo>
                  <a:cubicBezTo>
                    <a:pt x="590" y="609"/>
                    <a:pt x="591" y="609"/>
                    <a:pt x="591" y="609"/>
                  </a:cubicBezTo>
                  <a:cubicBezTo>
                    <a:pt x="592" y="609"/>
                    <a:pt x="592" y="609"/>
                    <a:pt x="593" y="609"/>
                  </a:cubicBezTo>
                  <a:cubicBezTo>
                    <a:pt x="598" y="609"/>
                    <a:pt x="599" y="612"/>
                    <a:pt x="599" y="615"/>
                  </a:cubicBezTo>
                  <a:cubicBezTo>
                    <a:pt x="600" y="617"/>
                    <a:pt x="601" y="621"/>
                    <a:pt x="594" y="623"/>
                  </a:cubicBezTo>
                  <a:cubicBezTo>
                    <a:pt x="590" y="625"/>
                    <a:pt x="586" y="627"/>
                    <a:pt x="584" y="630"/>
                  </a:cubicBezTo>
                  <a:cubicBezTo>
                    <a:pt x="584" y="632"/>
                    <a:pt x="584" y="634"/>
                    <a:pt x="585" y="636"/>
                  </a:cubicBezTo>
                  <a:cubicBezTo>
                    <a:pt x="587" y="638"/>
                    <a:pt x="592" y="639"/>
                    <a:pt x="597" y="639"/>
                  </a:cubicBezTo>
                  <a:cubicBezTo>
                    <a:pt x="604" y="640"/>
                    <a:pt x="603" y="644"/>
                    <a:pt x="603" y="646"/>
                  </a:cubicBezTo>
                  <a:cubicBezTo>
                    <a:pt x="604" y="649"/>
                    <a:pt x="604" y="653"/>
                    <a:pt x="597" y="654"/>
                  </a:cubicBezTo>
                  <a:cubicBezTo>
                    <a:pt x="593" y="655"/>
                    <a:pt x="588" y="657"/>
                    <a:pt x="586" y="659"/>
                  </a:cubicBezTo>
                  <a:cubicBezTo>
                    <a:pt x="586" y="661"/>
                    <a:pt x="586" y="663"/>
                    <a:pt x="586" y="665"/>
                  </a:cubicBezTo>
                  <a:cubicBezTo>
                    <a:pt x="588" y="667"/>
                    <a:pt x="593" y="669"/>
                    <a:pt x="597" y="670"/>
                  </a:cubicBezTo>
                  <a:cubicBezTo>
                    <a:pt x="604" y="672"/>
                    <a:pt x="603" y="675"/>
                    <a:pt x="603" y="678"/>
                  </a:cubicBezTo>
                  <a:cubicBezTo>
                    <a:pt x="602" y="681"/>
                    <a:pt x="602" y="684"/>
                    <a:pt x="595" y="685"/>
                  </a:cubicBezTo>
                  <a:cubicBezTo>
                    <a:pt x="591" y="685"/>
                    <a:pt x="586" y="686"/>
                    <a:pt x="583" y="688"/>
                  </a:cubicBezTo>
                  <a:cubicBezTo>
                    <a:pt x="583" y="690"/>
                    <a:pt x="583" y="691"/>
                    <a:pt x="582" y="693"/>
                  </a:cubicBezTo>
                  <a:cubicBezTo>
                    <a:pt x="584" y="696"/>
                    <a:pt x="588" y="699"/>
                    <a:pt x="592" y="701"/>
                  </a:cubicBezTo>
                  <a:cubicBezTo>
                    <a:pt x="599" y="703"/>
                    <a:pt x="598" y="707"/>
                    <a:pt x="597" y="709"/>
                  </a:cubicBezTo>
                  <a:cubicBezTo>
                    <a:pt x="596" y="712"/>
                    <a:pt x="596" y="715"/>
                    <a:pt x="591" y="715"/>
                  </a:cubicBezTo>
                  <a:cubicBezTo>
                    <a:pt x="590" y="715"/>
                    <a:pt x="589" y="715"/>
                    <a:pt x="589" y="715"/>
                  </a:cubicBezTo>
                  <a:cubicBezTo>
                    <a:pt x="587" y="714"/>
                    <a:pt x="586" y="714"/>
                    <a:pt x="584" y="714"/>
                  </a:cubicBezTo>
                  <a:cubicBezTo>
                    <a:pt x="581" y="714"/>
                    <a:pt x="578" y="715"/>
                    <a:pt x="576" y="716"/>
                  </a:cubicBezTo>
                  <a:cubicBezTo>
                    <a:pt x="576" y="718"/>
                    <a:pt x="575" y="719"/>
                    <a:pt x="574" y="721"/>
                  </a:cubicBezTo>
                  <a:cubicBezTo>
                    <a:pt x="576" y="724"/>
                    <a:pt x="580" y="727"/>
                    <a:pt x="583" y="730"/>
                  </a:cubicBezTo>
                  <a:cubicBezTo>
                    <a:pt x="589" y="734"/>
                    <a:pt x="587" y="737"/>
                    <a:pt x="586" y="739"/>
                  </a:cubicBezTo>
                  <a:cubicBezTo>
                    <a:pt x="585" y="741"/>
                    <a:pt x="585" y="744"/>
                    <a:pt x="581" y="744"/>
                  </a:cubicBezTo>
                  <a:cubicBezTo>
                    <a:pt x="580" y="744"/>
                    <a:pt x="579" y="744"/>
                    <a:pt x="577" y="743"/>
                  </a:cubicBezTo>
                  <a:cubicBezTo>
                    <a:pt x="574" y="742"/>
                    <a:pt x="571" y="742"/>
                    <a:pt x="568" y="742"/>
                  </a:cubicBezTo>
                  <a:cubicBezTo>
                    <a:pt x="567" y="742"/>
                    <a:pt x="566" y="742"/>
                    <a:pt x="565" y="742"/>
                  </a:cubicBezTo>
                  <a:cubicBezTo>
                    <a:pt x="564" y="744"/>
                    <a:pt x="563" y="746"/>
                    <a:pt x="562" y="748"/>
                  </a:cubicBezTo>
                  <a:cubicBezTo>
                    <a:pt x="563" y="751"/>
                    <a:pt x="566" y="754"/>
                    <a:pt x="570" y="758"/>
                  </a:cubicBezTo>
                  <a:cubicBezTo>
                    <a:pt x="575" y="762"/>
                    <a:pt x="573" y="765"/>
                    <a:pt x="571" y="767"/>
                  </a:cubicBezTo>
                  <a:cubicBezTo>
                    <a:pt x="570" y="769"/>
                    <a:pt x="569" y="771"/>
                    <a:pt x="566" y="771"/>
                  </a:cubicBezTo>
                  <a:cubicBezTo>
                    <a:pt x="565" y="771"/>
                    <a:pt x="564" y="771"/>
                    <a:pt x="562" y="770"/>
                  </a:cubicBezTo>
                  <a:cubicBezTo>
                    <a:pt x="558" y="768"/>
                    <a:pt x="554" y="767"/>
                    <a:pt x="550" y="767"/>
                  </a:cubicBezTo>
                  <a:cubicBezTo>
                    <a:pt x="550" y="767"/>
                    <a:pt x="550" y="767"/>
                    <a:pt x="550" y="767"/>
                  </a:cubicBezTo>
                  <a:cubicBezTo>
                    <a:pt x="548" y="768"/>
                    <a:pt x="547" y="770"/>
                    <a:pt x="546" y="772"/>
                  </a:cubicBezTo>
                  <a:cubicBezTo>
                    <a:pt x="546" y="775"/>
                    <a:pt x="549" y="779"/>
                    <a:pt x="552" y="783"/>
                  </a:cubicBezTo>
                  <a:cubicBezTo>
                    <a:pt x="554" y="785"/>
                    <a:pt x="555" y="787"/>
                    <a:pt x="554" y="789"/>
                  </a:cubicBezTo>
                  <a:cubicBezTo>
                    <a:pt x="555" y="789"/>
                    <a:pt x="557" y="790"/>
                    <a:pt x="558" y="791"/>
                  </a:cubicBezTo>
                  <a:cubicBezTo>
                    <a:pt x="562" y="793"/>
                    <a:pt x="567" y="796"/>
                    <a:pt x="571" y="796"/>
                  </a:cubicBezTo>
                  <a:cubicBezTo>
                    <a:pt x="572" y="794"/>
                    <a:pt x="574" y="793"/>
                    <a:pt x="576" y="791"/>
                  </a:cubicBezTo>
                  <a:cubicBezTo>
                    <a:pt x="576" y="788"/>
                    <a:pt x="574" y="783"/>
                    <a:pt x="571" y="778"/>
                  </a:cubicBezTo>
                  <a:cubicBezTo>
                    <a:pt x="567" y="772"/>
                    <a:pt x="571" y="769"/>
                    <a:pt x="573" y="768"/>
                  </a:cubicBezTo>
                  <a:cubicBezTo>
                    <a:pt x="574" y="766"/>
                    <a:pt x="576" y="765"/>
                    <a:pt x="578" y="765"/>
                  </a:cubicBezTo>
                  <a:cubicBezTo>
                    <a:pt x="579" y="765"/>
                    <a:pt x="581" y="766"/>
                    <a:pt x="584" y="768"/>
                  </a:cubicBezTo>
                  <a:cubicBezTo>
                    <a:pt x="587" y="771"/>
                    <a:pt x="592" y="775"/>
                    <a:pt x="595" y="775"/>
                  </a:cubicBezTo>
                  <a:cubicBezTo>
                    <a:pt x="597" y="774"/>
                    <a:pt x="599" y="773"/>
                    <a:pt x="601" y="771"/>
                  </a:cubicBezTo>
                  <a:cubicBezTo>
                    <a:pt x="601" y="768"/>
                    <a:pt x="600" y="763"/>
                    <a:pt x="598" y="758"/>
                  </a:cubicBezTo>
                  <a:cubicBezTo>
                    <a:pt x="595" y="751"/>
                    <a:pt x="599" y="749"/>
                    <a:pt x="602" y="748"/>
                  </a:cubicBezTo>
                  <a:cubicBezTo>
                    <a:pt x="603" y="747"/>
                    <a:pt x="605" y="746"/>
                    <a:pt x="606" y="746"/>
                  </a:cubicBezTo>
                  <a:cubicBezTo>
                    <a:pt x="608" y="746"/>
                    <a:pt x="610" y="747"/>
                    <a:pt x="612" y="750"/>
                  </a:cubicBezTo>
                  <a:cubicBezTo>
                    <a:pt x="615" y="754"/>
                    <a:pt x="620" y="758"/>
                    <a:pt x="623" y="759"/>
                  </a:cubicBezTo>
                  <a:cubicBezTo>
                    <a:pt x="625" y="758"/>
                    <a:pt x="627" y="757"/>
                    <a:pt x="629" y="756"/>
                  </a:cubicBezTo>
                  <a:cubicBezTo>
                    <a:pt x="630" y="753"/>
                    <a:pt x="629" y="747"/>
                    <a:pt x="628" y="742"/>
                  </a:cubicBezTo>
                  <a:cubicBezTo>
                    <a:pt x="627" y="735"/>
                    <a:pt x="631" y="733"/>
                    <a:pt x="633" y="732"/>
                  </a:cubicBezTo>
                  <a:cubicBezTo>
                    <a:pt x="635" y="732"/>
                    <a:pt x="636" y="731"/>
                    <a:pt x="637" y="731"/>
                  </a:cubicBezTo>
                  <a:cubicBezTo>
                    <a:pt x="639" y="731"/>
                    <a:pt x="641" y="732"/>
                    <a:pt x="644" y="736"/>
                  </a:cubicBezTo>
                  <a:cubicBezTo>
                    <a:pt x="646" y="741"/>
                    <a:pt x="650" y="745"/>
                    <a:pt x="653" y="747"/>
                  </a:cubicBezTo>
                  <a:cubicBezTo>
                    <a:pt x="655" y="746"/>
                    <a:pt x="657" y="745"/>
                    <a:pt x="659" y="745"/>
                  </a:cubicBezTo>
                  <a:cubicBezTo>
                    <a:pt x="660" y="742"/>
                    <a:pt x="661" y="736"/>
                    <a:pt x="661" y="731"/>
                  </a:cubicBezTo>
                  <a:cubicBezTo>
                    <a:pt x="660" y="723"/>
                    <a:pt x="664" y="723"/>
                    <a:pt x="667" y="722"/>
                  </a:cubicBezTo>
                  <a:cubicBezTo>
                    <a:pt x="668" y="722"/>
                    <a:pt x="669" y="722"/>
                    <a:pt x="670" y="722"/>
                  </a:cubicBezTo>
                  <a:cubicBezTo>
                    <a:pt x="673" y="722"/>
                    <a:pt x="675" y="723"/>
                    <a:pt x="676" y="728"/>
                  </a:cubicBezTo>
                  <a:cubicBezTo>
                    <a:pt x="678" y="732"/>
                    <a:pt x="681" y="737"/>
                    <a:pt x="684" y="740"/>
                  </a:cubicBezTo>
                  <a:cubicBezTo>
                    <a:pt x="686" y="739"/>
                    <a:pt x="688" y="739"/>
                    <a:pt x="690" y="739"/>
                  </a:cubicBezTo>
                  <a:cubicBezTo>
                    <a:pt x="692" y="736"/>
                    <a:pt x="694" y="730"/>
                    <a:pt x="694" y="725"/>
                  </a:cubicBezTo>
                  <a:cubicBezTo>
                    <a:pt x="695" y="718"/>
                    <a:pt x="699" y="718"/>
                    <a:pt x="702" y="718"/>
                  </a:cubicBezTo>
                  <a:cubicBezTo>
                    <a:pt x="703" y="718"/>
                    <a:pt x="703" y="718"/>
                    <a:pt x="704" y="718"/>
                  </a:cubicBezTo>
                  <a:cubicBezTo>
                    <a:pt x="706" y="718"/>
                    <a:pt x="709" y="719"/>
                    <a:pt x="710" y="725"/>
                  </a:cubicBezTo>
                  <a:cubicBezTo>
                    <a:pt x="711" y="729"/>
                    <a:pt x="713" y="735"/>
                    <a:pt x="716" y="737"/>
                  </a:cubicBezTo>
                  <a:cubicBezTo>
                    <a:pt x="718" y="737"/>
                    <a:pt x="720" y="737"/>
                    <a:pt x="722" y="738"/>
                  </a:cubicBezTo>
                  <a:cubicBezTo>
                    <a:pt x="725" y="735"/>
                    <a:pt x="727" y="730"/>
                    <a:pt x="728" y="725"/>
                  </a:cubicBezTo>
                  <a:cubicBezTo>
                    <a:pt x="730" y="719"/>
                    <a:pt x="732" y="719"/>
                    <a:pt x="735" y="719"/>
                  </a:cubicBezTo>
                  <a:cubicBezTo>
                    <a:pt x="735" y="719"/>
                    <a:pt x="736" y="719"/>
                    <a:pt x="737" y="719"/>
                  </a:cubicBezTo>
                  <a:cubicBezTo>
                    <a:pt x="740" y="719"/>
                    <a:pt x="744" y="719"/>
                    <a:pt x="744" y="727"/>
                  </a:cubicBezTo>
                  <a:cubicBezTo>
                    <a:pt x="745" y="732"/>
                    <a:pt x="746" y="737"/>
                    <a:pt x="748" y="740"/>
                  </a:cubicBezTo>
                  <a:cubicBezTo>
                    <a:pt x="750" y="741"/>
                    <a:pt x="752" y="741"/>
                    <a:pt x="754" y="741"/>
                  </a:cubicBezTo>
                  <a:cubicBezTo>
                    <a:pt x="757" y="739"/>
                    <a:pt x="760" y="735"/>
                    <a:pt x="762" y="730"/>
                  </a:cubicBezTo>
                  <a:cubicBezTo>
                    <a:pt x="764" y="725"/>
                    <a:pt x="766" y="724"/>
                    <a:pt x="768" y="724"/>
                  </a:cubicBezTo>
                  <a:cubicBezTo>
                    <a:pt x="769" y="724"/>
                    <a:pt x="771" y="725"/>
                    <a:pt x="772" y="725"/>
                  </a:cubicBezTo>
                  <a:cubicBezTo>
                    <a:pt x="774" y="726"/>
                    <a:pt x="779" y="726"/>
                    <a:pt x="778" y="734"/>
                  </a:cubicBezTo>
                  <a:cubicBezTo>
                    <a:pt x="777" y="739"/>
                    <a:pt x="777" y="745"/>
                    <a:pt x="779" y="748"/>
                  </a:cubicBezTo>
                  <a:cubicBezTo>
                    <a:pt x="781" y="749"/>
                    <a:pt x="783" y="749"/>
                    <a:pt x="785" y="750"/>
                  </a:cubicBezTo>
                  <a:cubicBezTo>
                    <a:pt x="788" y="749"/>
                    <a:pt x="792" y="744"/>
                    <a:pt x="794" y="740"/>
                  </a:cubicBezTo>
                  <a:cubicBezTo>
                    <a:pt x="797" y="737"/>
                    <a:pt x="799" y="735"/>
                    <a:pt x="800" y="735"/>
                  </a:cubicBezTo>
                  <a:cubicBezTo>
                    <a:pt x="802" y="735"/>
                    <a:pt x="803" y="736"/>
                    <a:pt x="805" y="737"/>
                  </a:cubicBezTo>
                  <a:cubicBezTo>
                    <a:pt x="807" y="738"/>
                    <a:pt x="811" y="739"/>
                    <a:pt x="809" y="747"/>
                  </a:cubicBezTo>
                  <a:cubicBezTo>
                    <a:pt x="808" y="751"/>
                    <a:pt x="807" y="757"/>
                    <a:pt x="808" y="760"/>
                  </a:cubicBezTo>
                  <a:cubicBezTo>
                    <a:pt x="810" y="761"/>
                    <a:pt x="812" y="763"/>
                    <a:pt x="814" y="764"/>
                  </a:cubicBezTo>
                  <a:cubicBezTo>
                    <a:pt x="817" y="763"/>
                    <a:pt x="822" y="759"/>
                    <a:pt x="825" y="755"/>
                  </a:cubicBezTo>
                  <a:cubicBezTo>
                    <a:pt x="827" y="752"/>
                    <a:pt x="829" y="752"/>
                    <a:pt x="831" y="752"/>
                  </a:cubicBezTo>
                  <a:cubicBezTo>
                    <a:pt x="833" y="752"/>
                    <a:pt x="834" y="753"/>
                    <a:pt x="836" y="754"/>
                  </a:cubicBezTo>
                  <a:cubicBezTo>
                    <a:pt x="838" y="755"/>
                    <a:pt x="842" y="757"/>
                    <a:pt x="838" y="764"/>
                  </a:cubicBezTo>
                  <a:cubicBezTo>
                    <a:pt x="836" y="768"/>
                    <a:pt x="835" y="774"/>
                    <a:pt x="835" y="777"/>
                  </a:cubicBezTo>
                  <a:cubicBezTo>
                    <a:pt x="837" y="779"/>
                    <a:pt x="839" y="780"/>
                    <a:pt x="840" y="781"/>
                  </a:cubicBezTo>
                  <a:cubicBezTo>
                    <a:pt x="844" y="781"/>
                    <a:pt x="849" y="778"/>
                    <a:pt x="853" y="775"/>
                  </a:cubicBezTo>
                  <a:cubicBezTo>
                    <a:pt x="855" y="773"/>
                    <a:pt x="857" y="772"/>
                    <a:pt x="858" y="772"/>
                  </a:cubicBezTo>
                  <a:cubicBezTo>
                    <a:pt x="861" y="772"/>
                    <a:pt x="862" y="774"/>
                    <a:pt x="863" y="775"/>
                  </a:cubicBezTo>
                  <a:cubicBezTo>
                    <a:pt x="866" y="777"/>
                    <a:pt x="869" y="779"/>
                    <a:pt x="865" y="786"/>
                  </a:cubicBezTo>
                  <a:cubicBezTo>
                    <a:pt x="862" y="790"/>
                    <a:pt x="860" y="795"/>
                    <a:pt x="859" y="798"/>
                  </a:cubicBezTo>
                  <a:cubicBezTo>
                    <a:pt x="861" y="800"/>
                    <a:pt x="862" y="802"/>
                    <a:pt x="864" y="803"/>
                  </a:cubicBezTo>
                  <a:cubicBezTo>
                    <a:pt x="867" y="803"/>
                    <a:pt x="873" y="801"/>
                    <a:pt x="877" y="799"/>
                  </a:cubicBezTo>
                  <a:cubicBezTo>
                    <a:pt x="879" y="797"/>
                    <a:pt x="881" y="797"/>
                    <a:pt x="882" y="797"/>
                  </a:cubicBezTo>
                  <a:cubicBezTo>
                    <a:pt x="885" y="797"/>
                    <a:pt x="886" y="799"/>
                    <a:pt x="888" y="800"/>
                  </a:cubicBezTo>
                  <a:cubicBezTo>
                    <a:pt x="890" y="803"/>
                    <a:pt x="893" y="806"/>
                    <a:pt x="887" y="811"/>
                  </a:cubicBezTo>
                  <a:cubicBezTo>
                    <a:pt x="884" y="815"/>
                    <a:pt x="881" y="820"/>
                    <a:pt x="880" y="823"/>
                  </a:cubicBezTo>
                  <a:cubicBezTo>
                    <a:pt x="881" y="825"/>
                    <a:pt x="882" y="827"/>
                    <a:pt x="884" y="828"/>
                  </a:cubicBezTo>
                  <a:cubicBezTo>
                    <a:pt x="884" y="829"/>
                    <a:pt x="885" y="829"/>
                    <a:pt x="885" y="829"/>
                  </a:cubicBezTo>
                  <a:cubicBezTo>
                    <a:pt x="889" y="829"/>
                    <a:pt x="893" y="827"/>
                    <a:pt x="897" y="826"/>
                  </a:cubicBezTo>
                  <a:cubicBezTo>
                    <a:pt x="899" y="825"/>
                    <a:pt x="901" y="825"/>
                    <a:pt x="902" y="825"/>
                  </a:cubicBezTo>
                  <a:cubicBezTo>
                    <a:pt x="905" y="825"/>
                    <a:pt x="907" y="827"/>
                    <a:pt x="908" y="829"/>
                  </a:cubicBezTo>
                  <a:cubicBezTo>
                    <a:pt x="909" y="832"/>
                    <a:pt x="912" y="835"/>
                    <a:pt x="905" y="840"/>
                  </a:cubicBezTo>
                  <a:cubicBezTo>
                    <a:pt x="902" y="843"/>
                    <a:pt x="898" y="847"/>
                    <a:pt x="896" y="850"/>
                  </a:cubicBezTo>
                  <a:cubicBezTo>
                    <a:pt x="897" y="852"/>
                    <a:pt x="898" y="854"/>
                    <a:pt x="899" y="856"/>
                  </a:cubicBezTo>
                  <a:cubicBezTo>
                    <a:pt x="901" y="857"/>
                    <a:pt x="902" y="857"/>
                    <a:pt x="904" y="857"/>
                  </a:cubicBezTo>
                  <a:cubicBezTo>
                    <a:pt x="907" y="857"/>
                    <a:pt x="910" y="857"/>
                    <a:pt x="913" y="856"/>
                  </a:cubicBezTo>
                  <a:cubicBezTo>
                    <a:pt x="914" y="856"/>
                    <a:pt x="916" y="856"/>
                    <a:pt x="917" y="856"/>
                  </a:cubicBezTo>
                  <a:cubicBezTo>
                    <a:pt x="921" y="856"/>
                    <a:pt x="922" y="859"/>
                    <a:pt x="923" y="861"/>
                  </a:cubicBezTo>
                  <a:cubicBezTo>
                    <a:pt x="924" y="864"/>
                    <a:pt x="926" y="867"/>
                    <a:pt x="919" y="871"/>
                  </a:cubicBezTo>
                  <a:cubicBezTo>
                    <a:pt x="915" y="874"/>
                    <a:pt x="910" y="877"/>
                    <a:pt x="908" y="880"/>
                  </a:cubicBezTo>
                  <a:cubicBezTo>
                    <a:pt x="909" y="882"/>
                    <a:pt x="910" y="884"/>
                    <a:pt x="910" y="886"/>
                  </a:cubicBezTo>
                  <a:cubicBezTo>
                    <a:pt x="913" y="888"/>
                    <a:pt x="917" y="888"/>
                    <a:pt x="922" y="888"/>
                  </a:cubicBezTo>
                  <a:cubicBezTo>
                    <a:pt x="922" y="888"/>
                    <a:pt x="923" y="888"/>
                    <a:pt x="924" y="888"/>
                  </a:cubicBezTo>
                  <a:cubicBezTo>
                    <a:pt x="925" y="888"/>
                    <a:pt x="925" y="888"/>
                    <a:pt x="926" y="888"/>
                  </a:cubicBezTo>
                  <a:cubicBezTo>
                    <a:pt x="932" y="888"/>
                    <a:pt x="932" y="892"/>
                    <a:pt x="933" y="895"/>
                  </a:cubicBezTo>
                  <a:cubicBezTo>
                    <a:pt x="933" y="895"/>
                    <a:pt x="933" y="895"/>
                    <a:pt x="933" y="895"/>
                  </a:cubicBezTo>
                  <a:cubicBezTo>
                    <a:pt x="933" y="890"/>
                    <a:pt x="936" y="885"/>
                    <a:pt x="939" y="881"/>
                  </a:cubicBezTo>
                  <a:cubicBezTo>
                    <a:pt x="944" y="877"/>
                    <a:pt x="950" y="875"/>
                    <a:pt x="956" y="875"/>
                  </a:cubicBezTo>
                  <a:cubicBezTo>
                    <a:pt x="962" y="875"/>
                    <a:pt x="968" y="877"/>
                    <a:pt x="973" y="881"/>
                  </a:cubicBezTo>
                  <a:cubicBezTo>
                    <a:pt x="982" y="891"/>
                    <a:pt x="982" y="906"/>
                    <a:pt x="973" y="915"/>
                  </a:cubicBezTo>
                  <a:cubicBezTo>
                    <a:pt x="968" y="919"/>
                    <a:pt x="962" y="922"/>
                    <a:pt x="956" y="922"/>
                  </a:cubicBezTo>
                  <a:cubicBezTo>
                    <a:pt x="950" y="922"/>
                    <a:pt x="944" y="919"/>
                    <a:pt x="939" y="915"/>
                  </a:cubicBezTo>
                  <a:cubicBezTo>
                    <a:pt x="935" y="911"/>
                    <a:pt x="933" y="906"/>
                    <a:pt x="933" y="900"/>
                  </a:cubicBezTo>
                  <a:cubicBezTo>
                    <a:pt x="932" y="902"/>
                    <a:pt x="930" y="903"/>
                    <a:pt x="927" y="904"/>
                  </a:cubicBezTo>
                  <a:cubicBezTo>
                    <a:pt x="923" y="906"/>
                    <a:pt x="918" y="909"/>
                    <a:pt x="916" y="911"/>
                  </a:cubicBezTo>
                  <a:cubicBezTo>
                    <a:pt x="916" y="913"/>
                    <a:pt x="916" y="916"/>
                    <a:pt x="916" y="918"/>
                  </a:cubicBezTo>
                  <a:cubicBezTo>
                    <a:pt x="919" y="920"/>
                    <a:pt x="925" y="921"/>
                    <a:pt x="930" y="922"/>
                  </a:cubicBezTo>
                  <a:cubicBezTo>
                    <a:pt x="937" y="922"/>
                    <a:pt x="937" y="927"/>
                    <a:pt x="937" y="929"/>
                  </a:cubicBezTo>
                  <a:cubicBezTo>
                    <a:pt x="938" y="932"/>
                    <a:pt x="938" y="937"/>
                    <a:pt x="931" y="938"/>
                  </a:cubicBezTo>
                  <a:cubicBezTo>
                    <a:pt x="926" y="939"/>
                    <a:pt x="920" y="941"/>
                    <a:pt x="918" y="943"/>
                  </a:cubicBezTo>
                  <a:cubicBezTo>
                    <a:pt x="918" y="945"/>
                    <a:pt x="918" y="948"/>
                    <a:pt x="918" y="950"/>
                  </a:cubicBezTo>
                  <a:cubicBezTo>
                    <a:pt x="920" y="952"/>
                    <a:pt x="925" y="954"/>
                    <a:pt x="930" y="956"/>
                  </a:cubicBezTo>
                  <a:cubicBezTo>
                    <a:pt x="938" y="958"/>
                    <a:pt x="937" y="962"/>
                    <a:pt x="936" y="965"/>
                  </a:cubicBezTo>
                  <a:cubicBezTo>
                    <a:pt x="936" y="968"/>
                    <a:pt x="936" y="972"/>
                    <a:pt x="928" y="972"/>
                  </a:cubicBezTo>
                  <a:cubicBezTo>
                    <a:pt x="923" y="972"/>
                    <a:pt x="918" y="973"/>
                    <a:pt x="915" y="975"/>
                  </a:cubicBezTo>
                  <a:cubicBezTo>
                    <a:pt x="915" y="977"/>
                    <a:pt x="914" y="979"/>
                    <a:pt x="914" y="982"/>
                  </a:cubicBezTo>
                  <a:cubicBezTo>
                    <a:pt x="916" y="984"/>
                    <a:pt x="921" y="987"/>
                    <a:pt x="925" y="989"/>
                  </a:cubicBezTo>
                  <a:cubicBezTo>
                    <a:pt x="932" y="992"/>
                    <a:pt x="931" y="996"/>
                    <a:pt x="930" y="999"/>
                  </a:cubicBezTo>
                  <a:cubicBezTo>
                    <a:pt x="929" y="1002"/>
                    <a:pt x="929" y="1005"/>
                    <a:pt x="923" y="1005"/>
                  </a:cubicBezTo>
                  <a:cubicBezTo>
                    <a:pt x="923" y="1005"/>
                    <a:pt x="922" y="1005"/>
                    <a:pt x="921" y="1005"/>
                  </a:cubicBezTo>
                  <a:cubicBezTo>
                    <a:pt x="919" y="1005"/>
                    <a:pt x="918" y="1005"/>
                    <a:pt x="916" y="1005"/>
                  </a:cubicBezTo>
                  <a:cubicBezTo>
                    <a:pt x="913" y="1005"/>
                    <a:pt x="909" y="1005"/>
                    <a:pt x="907" y="1006"/>
                  </a:cubicBezTo>
                  <a:cubicBezTo>
                    <a:pt x="907" y="1008"/>
                    <a:pt x="906" y="1010"/>
                    <a:pt x="905" y="1012"/>
                  </a:cubicBezTo>
                  <a:cubicBezTo>
                    <a:pt x="907" y="1015"/>
                    <a:pt x="911" y="1019"/>
                    <a:pt x="915" y="1022"/>
                  </a:cubicBezTo>
                  <a:cubicBezTo>
                    <a:pt x="922" y="1026"/>
                    <a:pt x="920" y="1030"/>
                    <a:pt x="918" y="1032"/>
                  </a:cubicBezTo>
                  <a:cubicBezTo>
                    <a:pt x="917" y="1034"/>
                    <a:pt x="916" y="1037"/>
                    <a:pt x="912" y="1037"/>
                  </a:cubicBezTo>
                  <a:cubicBezTo>
                    <a:pt x="911" y="1037"/>
                    <a:pt x="910" y="1037"/>
                    <a:pt x="909" y="1037"/>
                  </a:cubicBezTo>
                  <a:cubicBezTo>
                    <a:pt x="905" y="1036"/>
                    <a:pt x="901" y="1035"/>
                    <a:pt x="898" y="1035"/>
                  </a:cubicBezTo>
                  <a:cubicBezTo>
                    <a:pt x="897" y="1035"/>
                    <a:pt x="896" y="1035"/>
                    <a:pt x="895" y="1036"/>
                  </a:cubicBezTo>
                  <a:cubicBezTo>
                    <a:pt x="894" y="1038"/>
                    <a:pt x="893" y="1040"/>
                    <a:pt x="892" y="1041"/>
                  </a:cubicBezTo>
                  <a:cubicBezTo>
                    <a:pt x="892" y="1044"/>
                    <a:pt x="894" y="1046"/>
                    <a:pt x="896" y="1049"/>
                  </a:cubicBezTo>
                  <a:cubicBezTo>
                    <a:pt x="927" y="1032"/>
                    <a:pt x="956" y="1011"/>
                    <a:pt x="984" y="988"/>
                  </a:cubicBezTo>
                  <a:cubicBezTo>
                    <a:pt x="1085" y="905"/>
                    <a:pt x="1151" y="796"/>
                    <a:pt x="1182" y="678"/>
                  </a:cubicBezTo>
                  <a:cubicBezTo>
                    <a:pt x="1156" y="775"/>
                    <a:pt x="1107" y="862"/>
                    <a:pt x="1041" y="934"/>
                  </a:cubicBezTo>
                  <a:cubicBezTo>
                    <a:pt x="1038" y="935"/>
                    <a:pt x="1036" y="936"/>
                    <a:pt x="1033" y="938"/>
                  </a:cubicBezTo>
                  <a:cubicBezTo>
                    <a:pt x="1030" y="940"/>
                    <a:pt x="1027" y="941"/>
                    <a:pt x="1024" y="941"/>
                  </a:cubicBezTo>
                  <a:cubicBezTo>
                    <a:pt x="1020" y="941"/>
                    <a:pt x="1017" y="938"/>
                    <a:pt x="1015" y="936"/>
                  </a:cubicBezTo>
                  <a:cubicBezTo>
                    <a:pt x="1014" y="936"/>
                    <a:pt x="1014" y="936"/>
                    <a:pt x="1014" y="936"/>
                  </a:cubicBezTo>
                  <a:cubicBezTo>
                    <a:pt x="1012" y="933"/>
                    <a:pt x="1006" y="927"/>
                    <a:pt x="1015" y="918"/>
                  </a:cubicBezTo>
                  <a:cubicBezTo>
                    <a:pt x="1019" y="912"/>
                    <a:pt x="1022" y="907"/>
                    <a:pt x="1023" y="903"/>
                  </a:cubicBezTo>
                  <a:cubicBezTo>
                    <a:pt x="1023" y="902"/>
                    <a:pt x="1023" y="902"/>
                    <a:pt x="1023" y="902"/>
                  </a:cubicBezTo>
                  <a:cubicBezTo>
                    <a:pt x="1021" y="901"/>
                    <a:pt x="1020" y="899"/>
                    <a:pt x="1019" y="897"/>
                  </a:cubicBezTo>
                  <a:cubicBezTo>
                    <a:pt x="1015" y="897"/>
                    <a:pt x="1008" y="899"/>
                    <a:pt x="1002" y="901"/>
                  </a:cubicBezTo>
                  <a:cubicBezTo>
                    <a:pt x="999" y="903"/>
                    <a:pt x="997" y="904"/>
                    <a:pt x="994" y="904"/>
                  </a:cubicBezTo>
                  <a:cubicBezTo>
                    <a:pt x="989" y="904"/>
                    <a:pt x="986" y="900"/>
                    <a:pt x="985" y="897"/>
                  </a:cubicBezTo>
                  <a:cubicBezTo>
                    <a:pt x="984" y="896"/>
                    <a:pt x="984" y="896"/>
                    <a:pt x="984" y="896"/>
                  </a:cubicBezTo>
                  <a:cubicBezTo>
                    <a:pt x="982" y="893"/>
                    <a:pt x="978" y="886"/>
                    <a:pt x="987" y="878"/>
                  </a:cubicBezTo>
                  <a:cubicBezTo>
                    <a:pt x="992" y="874"/>
                    <a:pt x="996" y="869"/>
                    <a:pt x="998" y="865"/>
                  </a:cubicBezTo>
                  <a:cubicBezTo>
                    <a:pt x="997" y="863"/>
                    <a:pt x="996" y="861"/>
                    <a:pt x="995" y="859"/>
                  </a:cubicBezTo>
                  <a:cubicBezTo>
                    <a:pt x="994" y="859"/>
                    <a:pt x="993" y="859"/>
                    <a:pt x="991" y="859"/>
                  </a:cubicBezTo>
                  <a:cubicBezTo>
                    <a:pt x="988" y="859"/>
                    <a:pt x="982" y="859"/>
                    <a:pt x="978" y="861"/>
                  </a:cubicBezTo>
                  <a:cubicBezTo>
                    <a:pt x="975" y="861"/>
                    <a:pt x="973" y="862"/>
                    <a:pt x="972" y="862"/>
                  </a:cubicBezTo>
                  <a:cubicBezTo>
                    <a:pt x="965" y="862"/>
                    <a:pt x="962" y="856"/>
                    <a:pt x="961" y="853"/>
                  </a:cubicBezTo>
                  <a:cubicBezTo>
                    <a:pt x="961" y="852"/>
                    <a:pt x="961" y="852"/>
                    <a:pt x="961" y="852"/>
                  </a:cubicBezTo>
                  <a:cubicBezTo>
                    <a:pt x="959" y="849"/>
                    <a:pt x="956" y="842"/>
                    <a:pt x="967" y="835"/>
                  </a:cubicBezTo>
                  <a:cubicBezTo>
                    <a:pt x="972" y="832"/>
                    <a:pt x="977" y="827"/>
                    <a:pt x="979" y="824"/>
                  </a:cubicBezTo>
                  <a:cubicBezTo>
                    <a:pt x="978" y="822"/>
                    <a:pt x="978" y="820"/>
                    <a:pt x="977" y="817"/>
                  </a:cubicBezTo>
                  <a:cubicBezTo>
                    <a:pt x="974" y="816"/>
                    <a:pt x="971" y="816"/>
                    <a:pt x="966" y="816"/>
                  </a:cubicBezTo>
                  <a:cubicBezTo>
                    <a:pt x="964" y="816"/>
                    <a:pt x="962" y="816"/>
                    <a:pt x="960" y="816"/>
                  </a:cubicBezTo>
                  <a:cubicBezTo>
                    <a:pt x="959" y="816"/>
                    <a:pt x="957" y="817"/>
                    <a:pt x="956" y="817"/>
                  </a:cubicBezTo>
                  <a:cubicBezTo>
                    <a:pt x="947" y="817"/>
                    <a:pt x="945" y="810"/>
                    <a:pt x="944" y="807"/>
                  </a:cubicBezTo>
                  <a:cubicBezTo>
                    <a:pt x="944" y="806"/>
                    <a:pt x="944" y="806"/>
                    <a:pt x="944" y="806"/>
                  </a:cubicBezTo>
                  <a:cubicBezTo>
                    <a:pt x="943" y="802"/>
                    <a:pt x="941" y="794"/>
                    <a:pt x="953" y="790"/>
                  </a:cubicBezTo>
                  <a:cubicBezTo>
                    <a:pt x="959" y="787"/>
                    <a:pt x="964" y="783"/>
                    <a:pt x="967" y="780"/>
                  </a:cubicBezTo>
                  <a:cubicBezTo>
                    <a:pt x="966" y="778"/>
                    <a:pt x="966" y="776"/>
                    <a:pt x="966" y="773"/>
                  </a:cubicBezTo>
                  <a:cubicBezTo>
                    <a:pt x="962" y="772"/>
                    <a:pt x="956" y="770"/>
                    <a:pt x="949" y="770"/>
                  </a:cubicBezTo>
                  <a:cubicBezTo>
                    <a:pt x="936" y="769"/>
                    <a:pt x="936" y="762"/>
                    <a:pt x="935" y="758"/>
                  </a:cubicBezTo>
                  <a:cubicBezTo>
                    <a:pt x="935" y="757"/>
                    <a:pt x="935" y="757"/>
                    <a:pt x="935" y="757"/>
                  </a:cubicBezTo>
                  <a:cubicBezTo>
                    <a:pt x="935" y="753"/>
                    <a:pt x="934" y="745"/>
                    <a:pt x="946" y="742"/>
                  </a:cubicBezTo>
                  <a:cubicBezTo>
                    <a:pt x="953" y="741"/>
                    <a:pt x="959" y="738"/>
                    <a:pt x="962" y="735"/>
                  </a:cubicBezTo>
                  <a:cubicBezTo>
                    <a:pt x="962" y="733"/>
                    <a:pt x="962" y="731"/>
                    <a:pt x="962" y="728"/>
                  </a:cubicBezTo>
                  <a:cubicBezTo>
                    <a:pt x="958" y="726"/>
                    <a:pt x="952" y="723"/>
                    <a:pt x="946" y="722"/>
                  </a:cubicBezTo>
                  <a:cubicBezTo>
                    <a:pt x="933" y="720"/>
                    <a:pt x="934" y="712"/>
                    <a:pt x="934" y="708"/>
                  </a:cubicBezTo>
                  <a:cubicBezTo>
                    <a:pt x="934" y="707"/>
                    <a:pt x="934" y="707"/>
                    <a:pt x="934" y="707"/>
                  </a:cubicBezTo>
                  <a:cubicBezTo>
                    <a:pt x="934" y="703"/>
                    <a:pt x="935" y="695"/>
                    <a:pt x="947" y="695"/>
                  </a:cubicBezTo>
                  <a:cubicBezTo>
                    <a:pt x="954" y="694"/>
                    <a:pt x="960" y="692"/>
                    <a:pt x="964" y="690"/>
                  </a:cubicBezTo>
                  <a:cubicBezTo>
                    <a:pt x="964" y="688"/>
                    <a:pt x="964" y="685"/>
                    <a:pt x="964" y="683"/>
                  </a:cubicBezTo>
                  <a:cubicBezTo>
                    <a:pt x="962" y="680"/>
                    <a:pt x="956" y="677"/>
                    <a:pt x="950" y="674"/>
                  </a:cubicBezTo>
                  <a:cubicBezTo>
                    <a:pt x="938" y="670"/>
                    <a:pt x="940" y="663"/>
                    <a:pt x="940" y="659"/>
                  </a:cubicBezTo>
                  <a:cubicBezTo>
                    <a:pt x="941" y="658"/>
                    <a:pt x="941" y="658"/>
                    <a:pt x="941" y="658"/>
                  </a:cubicBezTo>
                  <a:cubicBezTo>
                    <a:pt x="941" y="654"/>
                    <a:pt x="943" y="647"/>
                    <a:pt x="953" y="647"/>
                  </a:cubicBezTo>
                  <a:cubicBezTo>
                    <a:pt x="954" y="647"/>
                    <a:pt x="955" y="647"/>
                    <a:pt x="955" y="648"/>
                  </a:cubicBezTo>
                  <a:cubicBezTo>
                    <a:pt x="956" y="648"/>
                    <a:pt x="958" y="648"/>
                    <a:pt x="959" y="648"/>
                  </a:cubicBezTo>
                  <a:cubicBezTo>
                    <a:pt x="964" y="648"/>
                    <a:pt x="969" y="647"/>
                    <a:pt x="972" y="646"/>
                  </a:cubicBezTo>
                  <a:cubicBezTo>
                    <a:pt x="973" y="643"/>
                    <a:pt x="974" y="641"/>
                    <a:pt x="974" y="639"/>
                  </a:cubicBezTo>
                  <a:cubicBezTo>
                    <a:pt x="972" y="636"/>
                    <a:pt x="967" y="631"/>
                    <a:pt x="961" y="628"/>
                  </a:cubicBezTo>
                  <a:cubicBezTo>
                    <a:pt x="950" y="622"/>
                    <a:pt x="953" y="615"/>
                    <a:pt x="955" y="611"/>
                  </a:cubicBezTo>
                  <a:cubicBezTo>
                    <a:pt x="955" y="610"/>
                    <a:pt x="955" y="610"/>
                    <a:pt x="955" y="610"/>
                  </a:cubicBezTo>
                  <a:cubicBezTo>
                    <a:pt x="956" y="607"/>
                    <a:pt x="958" y="602"/>
                    <a:pt x="966" y="602"/>
                  </a:cubicBezTo>
                  <a:cubicBezTo>
                    <a:pt x="967" y="602"/>
                    <a:pt x="969" y="602"/>
                    <a:pt x="971" y="602"/>
                  </a:cubicBezTo>
                  <a:cubicBezTo>
                    <a:pt x="975" y="603"/>
                    <a:pt x="979" y="604"/>
                    <a:pt x="983" y="604"/>
                  </a:cubicBezTo>
                  <a:cubicBezTo>
                    <a:pt x="985" y="604"/>
                    <a:pt x="987" y="604"/>
                    <a:pt x="988" y="603"/>
                  </a:cubicBezTo>
                  <a:cubicBezTo>
                    <a:pt x="989" y="601"/>
                    <a:pt x="990" y="599"/>
                    <a:pt x="991" y="597"/>
                  </a:cubicBezTo>
                  <a:cubicBezTo>
                    <a:pt x="989" y="593"/>
                    <a:pt x="985" y="588"/>
                    <a:pt x="980" y="584"/>
                  </a:cubicBezTo>
                  <a:cubicBezTo>
                    <a:pt x="970" y="576"/>
                    <a:pt x="974" y="570"/>
                    <a:pt x="976" y="567"/>
                  </a:cubicBezTo>
                  <a:cubicBezTo>
                    <a:pt x="976" y="566"/>
                    <a:pt x="976" y="566"/>
                    <a:pt x="976" y="566"/>
                  </a:cubicBezTo>
                  <a:cubicBezTo>
                    <a:pt x="978" y="563"/>
                    <a:pt x="980" y="559"/>
                    <a:pt x="986" y="559"/>
                  </a:cubicBezTo>
                  <a:cubicBezTo>
                    <a:pt x="988" y="559"/>
                    <a:pt x="991" y="559"/>
                    <a:pt x="994" y="560"/>
                  </a:cubicBezTo>
                  <a:cubicBezTo>
                    <a:pt x="999" y="562"/>
                    <a:pt x="1006" y="564"/>
                    <a:pt x="1010" y="564"/>
                  </a:cubicBezTo>
                  <a:cubicBezTo>
                    <a:pt x="1010" y="564"/>
                    <a:pt x="1010" y="564"/>
                    <a:pt x="1010" y="564"/>
                  </a:cubicBezTo>
                  <a:cubicBezTo>
                    <a:pt x="1012" y="562"/>
                    <a:pt x="1013" y="560"/>
                    <a:pt x="1014" y="558"/>
                  </a:cubicBezTo>
                  <a:cubicBezTo>
                    <a:pt x="1013" y="554"/>
                    <a:pt x="1010" y="549"/>
                    <a:pt x="1005" y="544"/>
                  </a:cubicBezTo>
                  <a:cubicBezTo>
                    <a:pt x="996" y="534"/>
                    <a:pt x="1001" y="529"/>
                    <a:pt x="1004" y="526"/>
                  </a:cubicBezTo>
                  <a:cubicBezTo>
                    <a:pt x="1005" y="525"/>
                    <a:pt x="1005" y="525"/>
                    <a:pt x="1005" y="525"/>
                  </a:cubicBezTo>
                  <a:cubicBezTo>
                    <a:pt x="1006" y="522"/>
                    <a:pt x="1009" y="519"/>
                    <a:pt x="1014" y="519"/>
                  </a:cubicBezTo>
                  <a:cubicBezTo>
                    <a:pt x="1016" y="519"/>
                    <a:pt x="1019" y="520"/>
                    <a:pt x="1023" y="522"/>
                  </a:cubicBezTo>
                  <a:cubicBezTo>
                    <a:pt x="1028" y="526"/>
                    <a:pt x="1035" y="528"/>
                    <a:pt x="1039" y="528"/>
                  </a:cubicBezTo>
                  <a:cubicBezTo>
                    <a:pt x="1040" y="527"/>
                    <a:pt x="1042" y="525"/>
                    <a:pt x="1043" y="523"/>
                  </a:cubicBezTo>
                  <a:cubicBezTo>
                    <a:pt x="1043" y="519"/>
                    <a:pt x="1040" y="513"/>
                    <a:pt x="1036" y="507"/>
                  </a:cubicBezTo>
                  <a:cubicBezTo>
                    <a:pt x="1029" y="497"/>
                    <a:pt x="1035" y="492"/>
                    <a:pt x="1038" y="490"/>
                  </a:cubicBezTo>
                  <a:cubicBezTo>
                    <a:pt x="1039" y="489"/>
                    <a:pt x="1039" y="489"/>
                    <a:pt x="1039" y="489"/>
                  </a:cubicBezTo>
                  <a:cubicBezTo>
                    <a:pt x="1041" y="487"/>
                    <a:pt x="1043" y="485"/>
                    <a:pt x="1047" y="485"/>
                  </a:cubicBezTo>
                  <a:cubicBezTo>
                    <a:pt x="1050" y="485"/>
                    <a:pt x="1053" y="486"/>
                    <a:pt x="1057" y="489"/>
                  </a:cubicBezTo>
                  <a:cubicBezTo>
                    <a:pt x="1062" y="493"/>
                    <a:pt x="1068" y="497"/>
                    <a:pt x="1072" y="498"/>
                  </a:cubicBezTo>
                  <a:cubicBezTo>
                    <a:pt x="1072" y="497"/>
                    <a:pt x="1072" y="497"/>
                    <a:pt x="1072" y="497"/>
                  </a:cubicBezTo>
                  <a:cubicBezTo>
                    <a:pt x="1074" y="496"/>
                    <a:pt x="1076" y="495"/>
                    <a:pt x="1077" y="493"/>
                  </a:cubicBezTo>
                  <a:cubicBezTo>
                    <a:pt x="1077" y="489"/>
                    <a:pt x="1076" y="483"/>
                    <a:pt x="1073" y="477"/>
                  </a:cubicBezTo>
                  <a:cubicBezTo>
                    <a:pt x="1068" y="465"/>
                    <a:pt x="1074" y="461"/>
                    <a:pt x="1077" y="459"/>
                  </a:cubicBezTo>
                  <a:cubicBezTo>
                    <a:pt x="1078" y="459"/>
                    <a:pt x="1078" y="459"/>
                    <a:pt x="1078" y="459"/>
                  </a:cubicBezTo>
                  <a:cubicBezTo>
                    <a:pt x="1080" y="457"/>
                    <a:pt x="1083" y="456"/>
                    <a:pt x="1086" y="456"/>
                  </a:cubicBezTo>
                  <a:cubicBezTo>
                    <a:pt x="1089" y="456"/>
                    <a:pt x="1093" y="458"/>
                    <a:pt x="1096" y="462"/>
                  </a:cubicBezTo>
                  <a:cubicBezTo>
                    <a:pt x="1101" y="467"/>
                    <a:pt x="1106" y="471"/>
                    <a:pt x="1109" y="472"/>
                  </a:cubicBezTo>
                  <a:cubicBezTo>
                    <a:pt x="1112" y="471"/>
                    <a:pt x="1114" y="470"/>
                    <a:pt x="1116" y="469"/>
                  </a:cubicBezTo>
                  <a:cubicBezTo>
                    <a:pt x="1116" y="465"/>
                    <a:pt x="1116" y="459"/>
                    <a:pt x="1114" y="452"/>
                  </a:cubicBezTo>
                  <a:cubicBezTo>
                    <a:pt x="1111" y="443"/>
                    <a:pt x="1115" y="439"/>
                    <a:pt x="1118" y="437"/>
                  </a:cubicBezTo>
                  <a:cubicBezTo>
                    <a:pt x="1116" y="429"/>
                    <a:pt x="1114" y="421"/>
                    <a:pt x="1112" y="413"/>
                  </a:cubicBezTo>
                  <a:cubicBezTo>
                    <a:pt x="1112" y="413"/>
                    <a:pt x="1112" y="413"/>
                    <a:pt x="1112" y="413"/>
                  </a:cubicBezTo>
                  <a:cubicBezTo>
                    <a:pt x="1109" y="417"/>
                    <a:pt x="1108" y="427"/>
                    <a:pt x="1109" y="435"/>
                  </a:cubicBezTo>
                  <a:cubicBezTo>
                    <a:pt x="1110" y="446"/>
                    <a:pt x="1105" y="447"/>
                    <a:pt x="1101" y="448"/>
                  </a:cubicBezTo>
                  <a:cubicBezTo>
                    <a:pt x="1099" y="448"/>
                    <a:pt x="1098" y="449"/>
                    <a:pt x="1096" y="449"/>
                  </a:cubicBezTo>
                  <a:cubicBezTo>
                    <a:pt x="1093" y="449"/>
                    <a:pt x="1090" y="447"/>
                    <a:pt x="1088" y="441"/>
                  </a:cubicBezTo>
                  <a:cubicBezTo>
                    <a:pt x="1083" y="432"/>
                    <a:pt x="1076" y="423"/>
                    <a:pt x="1071" y="423"/>
                  </a:cubicBezTo>
                  <a:cubicBezTo>
                    <a:pt x="1071" y="423"/>
                    <a:pt x="1071" y="423"/>
                    <a:pt x="1071" y="423"/>
                  </a:cubicBezTo>
                  <a:cubicBezTo>
                    <a:pt x="1067" y="426"/>
                    <a:pt x="1064" y="436"/>
                    <a:pt x="1063" y="444"/>
                  </a:cubicBezTo>
                  <a:cubicBezTo>
                    <a:pt x="1062" y="454"/>
                    <a:pt x="1057" y="454"/>
                    <a:pt x="1053" y="454"/>
                  </a:cubicBezTo>
                  <a:cubicBezTo>
                    <a:pt x="1053" y="454"/>
                    <a:pt x="1053" y="454"/>
                    <a:pt x="1053" y="454"/>
                  </a:cubicBezTo>
                  <a:cubicBezTo>
                    <a:pt x="1052" y="454"/>
                    <a:pt x="1052" y="454"/>
                    <a:pt x="1052" y="454"/>
                  </a:cubicBezTo>
                  <a:cubicBezTo>
                    <a:pt x="1051" y="454"/>
                    <a:pt x="1051" y="455"/>
                    <a:pt x="1050" y="455"/>
                  </a:cubicBezTo>
                  <a:cubicBezTo>
                    <a:pt x="1046" y="455"/>
                    <a:pt x="1042" y="454"/>
                    <a:pt x="1041" y="444"/>
                  </a:cubicBezTo>
                  <a:cubicBezTo>
                    <a:pt x="1039" y="435"/>
                    <a:pt x="1034" y="424"/>
                    <a:pt x="1030" y="423"/>
                  </a:cubicBezTo>
                  <a:cubicBezTo>
                    <a:pt x="1025" y="425"/>
                    <a:pt x="1020" y="433"/>
                    <a:pt x="1016" y="440"/>
                  </a:cubicBezTo>
                  <a:cubicBezTo>
                    <a:pt x="1014" y="447"/>
                    <a:pt x="1011" y="449"/>
                    <a:pt x="1008" y="449"/>
                  </a:cubicBezTo>
                  <a:cubicBezTo>
                    <a:pt x="1006" y="449"/>
                    <a:pt x="1005" y="448"/>
                    <a:pt x="1003" y="448"/>
                  </a:cubicBezTo>
                  <a:cubicBezTo>
                    <a:pt x="999" y="447"/>
                    <a:pt x="994" y="446"/>
                    <a:pt x="995" y="435"/>
                  </a:cubicBezTo>
                  <a:cubicBezTo>
                    <a:pt x="996" y="426"/>
                    <a:pt x="994" y="414"/>
                    <a:pt x="990" y="412"/>
                  </a:cubicBezTo>
                  <a:cubicBezTo>
                    <a:pt x="985" y="412"/>
                    <a:pt x="977" y="419"/>
                    <a:pt x="972" y="425"/>
                  </a:cubicBezTo>
                  <a:cubicBezTo>
                    <a:pt x="969" y="430"/>
                    <a:pt x="966" y="431"/>
                    <a:pt x="963" y="431"/>
                  </a:cubicBezTo>
                  <a:cubicBezTo>
                    <a:pt x="961" y="431"/>
                    <a:pt x="959" y="430"/>
                    <a:pt x="957" y="429"/>
                  </a:cubicBezTo>
                  <a:cubicBezTo>
                    <a:pt x="954" y="427"/>
                    <a:pt x="949" y="425"/>
                    <a:pt x="953" y="414"/>
                  </a:cubicBezTo>
                  <a:cubicBezTo>
                    <a:pt x="956" y="405"/>
                    <a:pt x="958" y="394"/>
                    <a:pt x="954" y="390"/>
                  </a:cubicBezTo>
                  <a:cubicBezTo>
                    <a:pt x="954" y="390"/>
                    <a:pt x="954" y="390"/>
                    <a:pt x="953" y="390"/>
                  </a:cubicBezTo>
                  <a:cubicBezTo>
                    <a:pt x="948" y="390"/>
                    <a:pt x="940" y="394"/>
                    <a:pt x="934" y="399"/>
                  </a:cubicBezTo>
                  <a:cubicBezTo>
                    <a:pt x="930" y="402"/>
                    <a:pt x="927" y="403"/>
                    <a:pt x="925" y="403"/>
                  </a:cubicBezTo>
                  <a:cubicBezTo>
                    <a:pt x="922" y="403"/>
                    <a:pt x="920" y="401"/>
                    <a:pt x="918" y="399"/>
                  </a:cubicBezTo>
                  <a:cubicBezTo>
                    <a:pt x="915" y="396"/>
                    <a:pt x="911" y="393"/>
                    <a:pt x="918" y="384"/>
                  </a:cubicBezTo>
                  <a:cubicBezTo>
                    <a:pt x="923" y="376"/>
                    <a:pt x="928" y="365"/>
                    <a:pt x="925" y="361"/>
                  </a:cubicBezTo>
                  <a:cubicBezTo>
                    <a:pt x="924" y="360"/>
                    <a:pt x="922" y="360"/>
                    <a:pt x="920" y="360"/>
                  </a:cubicBezTo>
                  <a:cubicBezTo>
                    <a:pt x="915" y="360"/>
                    <a:pt x="909" y="362"/>
                    <a:pt x="903" y="364"/>
                  </a:cubicBezTo>
                  <a:cubicBezTo>
                    <a:pt x="900" y="365"/>
                    <a:pt x="898" y="366"/>
                    <a:pt x="896" y="366"/>
                  </a:cubicBezTo>
                  <a:cubicBezTo>
                    <a:pt x="891" y="366"/>
                    <a:pt x="890" y="362"/>
                    <a:pt x="888" y="360"/>
                  </a:cubicBezTo>
                  <a:cubicBezTo>
                    <a:pt x="886" y="356"/>
                    <a:pt x="883" y="352"/>
                    <a:pt x="892" y="345"/>
                  </a:cubicBezTo>
                  <a:cubicBezTo>
                    <a:pt x="899" y="339"/>
                    <a:pt x="906" y="329"/>
                    <a:pt x="905" y="325"/>
                  </a:cubicBezTo>
                  <a:cubicBezTo>
                    <a:pt x="902" y="323"/>
                    <a:pt x="896" y="322"/>
                    <a:pt x="889" y="322"/>
                  </a:cubicBezTo>
                  <a:cubicBezTo>
                    <a:pt x="887" y="322"/>
                    <a:pt x="885" y="322"/>
                    <a:pt x="883" y="322"/>
                  </a:cubicBezTo>
                  <a:cubicBezTo>
                    <a:pt x="881" y="322"/>
                    <a:pt x="880" y="322"/>
                    <a:pt x="879" y="322"/>
                  </a:cubicBezTo>
                  <a:cubicBezTo>
                    <a:pt x="871" y="322"/>
                    <a:pt x="870" y="318"/>
                    <a:pt x="869" y="314"/>
                  </a:cubicBezTo>
                  <a:cubicBezTo>
                    <a:pt x="868" y="310"/>
                    <a:pt x="866" y="305"/>
                    <a:pt x="877" y="301"/>
                  </a:cubicBezTo>
                  <a:cubicBezTo>
                    <a:pt x="885" y="297"/>
                    <a:pt x="895" y="289"/>
                    <a:pt x="894" y="284"/>
                  </a:cubicBezTo>
                  <a:cubicBezTo>
                    <a:pt x="891" y="281"/>
                    <a:pt x="882" y="277"/>
                    <a:pt x="874" y="276"/>
                  </a:cubicBezTo>
                  <a:cubicBezTo>
                    <a:pt x="862" y="275"/>
                    <a:pt x="863" y="270"/>
                    <a:pt x="863" y="265"/>
                  </a:cubicBezTo>
                  <a:cubicBezTo>
                    <a:pt x="863" y="261"/>
                    <a:pt x="862" y="256"/>
                    <a:pt x="874" y="254"/>
                  </a:cubicBezTo>
                  <a:cubicBezTo>
                    <a:pt x="883" y="253"/>
                    <a:pt x="894" y="248"/>
                    <a:pt x="895" y="243"/>
                  </a:cubicBezTo>
                  <a:cubicBezTo>
                    <a:pt x="893" y="239"/>
                    <a:pt x="885" y="233"/>
                    <a:pt x="877" y="230"/>
                  </a:cubicBezTo>
                  <a:cubicBezTo>
                    <a:pt x="867" y="225"/>
                    <a:pt x="868" y="221"/>
                    <a:pt x="870" y="216"/>
                  </a:cubicBezTo>
                  <a:cubicBezTo>
                    <a:pt x="870" y="213"/>
                    <a:pt x="871" y="208"/>
                    <a:pt x="879" y="208"/>
                  </a:cubicBezTo>
                  <a:cubicBezTo>
                    <a:pt x="880" y="208"/>
                    <a:pt x="881" y="208"/>
                    <a:pt x="882" y="208"/>
                  </a:cubicBezTo>
                  <a:cubicBezTo>
                    <a:pt x="884" y="208"/>
                    <a:pt x="886" y="209"/>
                    <a:pt x="887" y="209"/>
                  </a:cubicBezTo>
                  <a:cubicBezTo>
                    <a:pt x="895" y="209"/>
                    <a:pt x="904" y="207"/>
                    <a:pt x="906" y="203"/>
                  </a:cubicBezTo>
                  <a:cubicBezTo>
                    <a:pt x="905" y="198"/>
                    <a:pt x="899" y="191"/>
                    <a:pt x="892" y="186"/>
                  </a:cubicBezTo>
                  <a:cubicBezTo>
                    <a:pt x="883" y="179"/>
                    <a:pt x="886" y="175"/>
                    <a:pt x="889" y="171"/>
                  </a:cubicBezTo>
                  <a:cubicBezTo>
                    <a:pt x="890" y="168"/>
                    <a:pt x="891" y="165"/>
                    <a:pt x="896" y="165"/>
                  </a:cubicBezTo>
                  <a:cubicBezTo>
                    <a:pt x="898" y="165"/>
                    <a:pt x="900" y="165"/>
                    <a:pt x="903" y="166"/>
                  </a:cubicBezTo>
                  <a:cubicBezTo>
                    <a:pt x="908" y="168"/>
                    <a:pt x="915" y="170"/>
                    <a:pt x="919" y="170"/>
                  </a:cubicBezTo>
                  <a:cubicBezTo>
                    <a:pt x="922" y="170"/>
                    <a:pt x="925" y="169"/>
                    <a:pt x="926" y="168"/>
                  </a:cubicBezTo>
                  <a:cubicBezTo>
                    <a:pt x="928" y="163"/>
                    <a:pt x="924" y="153"/>
                    <a:pt x="919" y="146"/>
                  </a:cubicBezTo>
                  <a:cubicBezTo>
                    <a:pt x="912" y="137"/>
                    <a:pt x="916" y="134"/>
                    <a:pt x="920" y="131"/>
                  </a:cubicBezTo>
                  <a:cubicBezTo>
                    <a:pt x="920" y="130"/>
                    <a:pt x="920" y="130"/>
                    <a:pt x="921" y="129"/>
                  </a:cubicBezTo>
                  <a:cubicBezTo>
                    <a:pt x="909" y="121"/>
                    <a:pt x="898" y="112"/>
                    <a:pt x="886" y="104"/>
                  </a:cubicBezTo>
                  <a:cubicBezTo>
                    <a:pt x="884" y="106"/>
                    <a:pt x="883" y="107"/>
                    <a:pt x="882" y="108"/>
                  </a:cubicBezTo>
                  <a:cubicBezTo>
                    <a:pt x="883" y="111"/>
                    <a:pt x="888" y="113"/>
                    <a:pt x="893" y="114"/>
                  </a:cubicBezTo>
                  <a:cubicBezTo>
                    <a:pt x="899" y="115"/>
                    <a:pt x="898" y="118"/>
                    <a:pt x="898" y="120"/>
                  </a:cubicBezTo>
                  <a:cubicBezTo>
                    <a:pt x="898" y="123"/>
                    <a:pt x="898" y="125"/>
                    <a:pt x="892" y="126"/>
                  </a:cubicBezTo>
                  <a:cubicBezTo>
                    <a:pt x="888" y="126"/>
                    <a:pt x="883" y="128"/>
                    <a:pt x="882" y="130"/>
                  </a:cubicBezTo>
                  <a:cubicBezTo>
                    <a:pt x="882" y="132"/>
                    <a:pt x="885" y="137"/>
                    <a:pt x="889" y="139"/>
                  </a:cubicBezTo>
                  <a:cubicBezTo>
                    <a:pt x="894" y="143"/>
                    <a:pt x="893" y="145"/>
                    <a:pt x="892" y="147"/>
                  </a:cubicBezTo>
                  <a:cubicBezTo>
                    <a:pt x="891" y="148"/>
                    <a:pt x="890" y="150"/>
                    <a:pt x="888" y="150"/>
                  </a:cubicBezTo>
                  <a:cubicBezTo>
                    <a:pt x="887" y="150"/>
                    <a:pt x="886" y="150"/>
                    <a:pt x="884" y="150"/>
                  </a:cubicBezTo>
                  <a:cubicBezTo>
                    <a:pt x="882" y="149"/>
                    <a:pt x="879" y="148"/>
                    <a:pt x="877" y="148"/>
                  </a:cubicBezTo>
                  <a:cubicBezTo>
                    <a:pt x="876" y="148"/>
                    <a:pt x="875" y="149"/>
                    <a:pt x="874" y="149"/>
                  </a:cubicBezTo>
                  <a:cubicBezTo>
                    <a:pt x="874" y="151"/>
                    <a:pt x="876" y="156"/>
                    <a:pt x="878" y="159"/>
                  </a:cubicBezTo>
                  <a:cubicBezTo>
                    <a:pt x="882" y="163"/>
                    <a:pt x="880" y="165"/>
                    <a:pt x="878" y="167"/>
                  </a:cubicBezTo>
                  <a:cubicBezTo>
                    <a:pt x="877" y="168"/>
                    <a:pt x="876" y="169"/>
                    <a:pt x="875" y="169"/>
                  </a:cubicBezTo>
                  <a:cubicBezTo>
                    <a:pt x="874" y="169"/>
                    <a:pt x="872" y="168"/>
                    <a:pt x="870" y="167"/>
                  </a:cubicBezTo>
                  <a:cubicBezTo>
                    <a:pt x="867" y="165"/>
                    <a:pt x="863" y="163"/>
                    <a:pt x="860" y="163"/>
                  </a:cubicBezTo>
                  <a:cubicBezTo>
                    <a:pt x="859" y="163"/>
                    <a:pt x="859" y="163"/>
                    <a:pt x="859" y="163"/>
                  </a:cubicBezTo>
                  <a:cubicBezTo>
                    <a:pt x="857" y="165"/>
                    <a:pt x="858" y="170"/>
                    <a:pt x="859" y="174"/>
                  </a:cubicBezTo>
                  <a:cubicBezTo>
                    <a:pt x="860" y="180"/>
                    <a:pt x="858" y="181"/>
                    <a:pt x="856" y="182"/>
                  </a:cubicBezTo>
                  <a:cubicBezTo>
                    <a:pt x="855" y="182"/>
                    <a:pt x="854" y="183"/>
                    <a:pt x="853" y="183"/>
                  </a:cubicBezTo>
                  <a:cubicBezTo>
                    <a:pt x="851" y="183"/>
                    <a:pt x="850" y="182"/>
                    <a:pt x="848" y="179"/>
                  </a:cubicBezTo>
                  <a:cubicBezTo>
                    <a:pt x="846" y="175"/>
                    <a:pt x="841" y="171"/>
                    <a:pt x="839" y="171"/>
                  </a:cubicBezTo>
                  <a:cubicBezTo>
                    <a:pt x="837" y="172"/>
                    <a:pt x="835" y="177"/>
                    <a:pt x="835" y="181"/>
                  </a:cubicBezTo>
                  <a:cubicBezTo>
                    <a:pt x="834" y="187"/>
                    <a:pt x="832" y="187"/>
                    <a:pt x="830" y="187"/>
                  </a:cubicBezTo>
                  <a:cubicBezTo>
                    <a:pt x="829" y="187"/>
                    <a:pt x="829" y="187"/>
                    <a:pt x="829" y="187"/>
                  </a:cubicBezTo>
                  <a:cubicBezTo>
                    <a:pt x="829" y="187"/>
                    <a:pt x="828" y="187"/>
                    <a:pt x="828" y="187"/>
                  </a:cubicBezTo>
                  <a:cubicBezTo>
                    <a:pt x="826" y="187"/>
                    <a:pt x="824" y="186"/>
                    <a:pt x="823" y="181"/>
                  </a:cubicBezTo>
                  <a:cubicBezTo>
                    <a:pt x="822" y="177"/>
                    <a:pt x="820" y="171"/>
                    <a:pt x="818" y="170"/>
                  </a:cubicBezTo>
                  <a:cubicBezTo>
                    <a:pt x="815" y="171"/>
                    <a:pt x="812" y="175"/>
                    <a:pt x="810" y="178"/>
                  </a:cubicBezTo>
                  <a:cubicBezTo>
                    <a:pt x="808" y="181"/>
                    <a:pt x="806" y="182"/>
                    <a:pt x="805" y="182"/>
                  </a:cubicBezTo>
                  <a:cubicBezTo>
                    <a:pt x="804" y="182"/>
                    <a:pt x="803" y="182"/>
                    <a:pt x="802" y="181"/>
                  </a:cubicBezTo>
                  <a:cubicBezTo>
                    <a:pt x="800" y="181"/>
                    <a:pt x="798" y="180"/>
                    <a:pt x="799" y="174"/>
                  </a:cubicBezTo>
                  <a:cubicBezTo>
                    <a:pt x="800" y="169"/>
                    <a:pt x="800" y="164"/>
                    <a:pt x="798" y="162"/>
                  </a:cubicBezTo>
                  <a:cubicBezTo>
                    <a:pt x="798" y="162"/>
                    <a:pt x="798" y="162"/>
                    <a:pt x="798" y="162"/>
                  </a:cubicBezTo>
                  <a:cubicBezTo>
                    <a:pt x="795" y="162"/>
                    <a:pt x="791" y="164"/>
                    <a:pt x="788" y="166"/>
                  </a:cubicBezTo>
                  <a:cubicBezTo>
                    <a:pt x="786" y="168"/>
                    <a:pt x="785" y="168"/>
                    <a:pt x="783" y="168"/>
                  </a:cubicBezTo>
                  <a:cubicBezTo>
                    <a:pt x="782" y="168"/>
                    <a:pt x="781" y="167"/>
                    <a:pt x="780" y="166"/>
                  </a:cubicBezTo>
                  <a:cubicBezTo>
                    <a:pt x="778" y="164"/>
                    <a:pt x="776" y="163"/>
                    <a:pt x="780" y="158"/>
                  </a:cubicBezTo>
                  <a:cubicBezTo>
                    <a:pt x="783" y="154"/>
                    <a:pt x="785" y="149"/>
                    <a:pt x="784" y="146"/>
                  </a:cubicBezTo>
                  <a:cubicBezTo>
                    <a:pt x="783" y="146"/>
                    <a:pt x="781" y="146"/>
                    <a:pt x="779" y="146"/>
                  </a:cubicBezTo>
                  <a:cubicBezTo>
                    <a:pt x="777" y="146"/>
                    <a:pt x="774" y="146"/>
                    <a:pt x="772" y="146"/>
                  </a:cubicBezTo>
                  <a:cubicBezTo>
                    <a:pt x="771" y="147"/>
                    <a:pt x="770" y="147"/>
                    <a:pt x="769" y="147"/>
                  </a:cubicBezTo>
                  <a:cubicBezTo>
                    <a:pt x="766" y="147"/>
                    <a:pt x="766" y="145"/>
                    <a:pt x="765" y="143"/>
                  </a:cubicBezTo>
                  <a:cubicBezTo>
                    <a:pt x="764" y="141"/>
                    <a:pt x="763" y="139"/>
                    <a:pt x="768" y="136"/>
                  </a:cubicBezTo>
                  <a:cubicBezTo>
                    <a:pt x="772" y="133"/>
                    <a:pt x="776" y="129"/>
                    <a:pt x="776" y="127"/>
                  </a:cubicBezTo>
                  <a:cubicBezTo>
                    <a:pt x="775" y="125"/>
                    <a:pt x="770" y="123"/>
                    <a:pt x="766" y="122"/>
                  </a:cubicBezTo>
                  <a:cubicBezTo>
                    <a:pt x="760" y="121"/>
                    <a:pt x="760" y="119"/>
                    <a:pt x="760" y="116"/>
                  </a:cubicBezTo>
                  <a:cubicBezTo>
                    <a:pt x="760" y="114"/>
                    <a:pt x="760" y="112"/>
                    <a:pt x="766" y="111"/>
                  </a:cubicBezTo>
                  <a:cubicBezTo>
                    <a:pt x="771" y="110"/>
                    <a:pt x="776" y="108"/>
                    <a:pt x="777" y="105"/>
                  </a:cubicBezTo>
                  <a:cubicBezTo>
                    <a:pt x="776" y="103"/>
                    <a:pt x="773" y="100"/>
                    <a:pt x="769" y="97"/>
                  </a:cubicBezTo>
                  <a:cubicBezTo>
                    <a:pt x="764" y="94"/>
                    <a:pt x="765" y="92"/>
                    <a:pt x="766" y="90"/>
                  </a:cubicBezTo>
                  <a:cubicBezTo>
                    <a:pt x="767" y="88"/>
                    <a:pt x="768" y="86"/>
                    <a:pt x="771" y="86"/>
                  </a:cubicBezTo>
                  <a:cubicBezTo>
                    <a:pt x="771" y="86"/>
                    <a:pt x="772" y="87"/>
                    <a:pt x="774" y="87"/>
                  </a:cubicBezTo>
                  <a:cubicBezTo>
                    <a:pt x="776" y="87"/>
                    <a:pt x="778" y="88"/>
                    <a:pt x="780" y="88"/>
                  </a:cubicBezTo>
                  <a:cubicBezTo>
                    <a:pt x="782" y="88"/>
                    <a:pt x="784" y="88"/>
                    <a:pt x="785" y="87"/>
                  </a:cubicBezTo>
                  <a:cubicBezTo>
                    <a:pt x="785" y="84"/>
                    <a:pt x="783" y="80"/>
                    <a:pt x="781" y="77"/>
                  </a:cubicBezTo>
                  <a:cubicBezTo>
                    <a:pt x="777" y="72"/>
                    <a:pt x="779" y="70"/>
                    <a:pt x="781" y="69"/>
                  </a:cubicBezTo>
                  <a:cubicBezTo>
                    <a:pt x="782" y="68"/>
                    <a:pt x="783" y="67"/>
                    <a:pt x="784" y="67"/>
                  </a:cubicBezTo>
                  <a:cubicBezTo>
                    <a:pt x="786" y="67"/>
                    <a:pt x="787" y="67"/>
                    <a:pt x="789" y="69"/>
                  </a:cubicBezTo>
                  <a:cubicBezTo>
                    <a:pt x="792" y="71"/>
                    <a:pt x="796" y="74"/>
                    <a:pt x="799" y="74"/>
                  </a:cubicBezTo>
                  <a:cubicBezTo>
                    <a:pt x="799" y="74"/>
                    <a:pt x="799" y="74"/>
                    <a:pt x="799" y="74"/>
                  </a:cubicBezTo>
                  <a:cubicBezTo>
                    <a:pt x="801" y="72"/>
                    <a:pt x="801" y="66"/>
                    <a:pt x="800" y="61"/>
                  </a:cubicBezTo>
                  <a:cubicBezTo>
                    <a:pt x="800" y="60"/>
                    <a:pt x="800" y="59"/>
                    <a:pt x="800" y="58"/>
                  </a:cubicBezTo>
                  <a:cubicBezTo>
                    <a:pt x="751" y="36"/>
                    <a:pt x="698" y="22"/>
                    <a:pt x="644" y="16"/>
                  </a:cubicBezTo>
                  <a:cubicBezTo>
                    <a:pt x="645" y="1"/>
                    <a:pt x="645" y="1"/>
                    <a:pt x="645" y="1"/>
                  </a:cubicBezTo>
                  <a:cubicBezTo>
                    <a:pt x="644" y="1"/>
                    <a:pt x="644" y="1"/>
                    <a:pt x="644" y="1"/>
                  </a:cubicBezTo>
                  <a:cubicBezTo>
                    <a:pt x="641" y="1"/>
                    <a:pt x="638" y="1"/>
                    <a:pt x="635"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1" name="Freeform 21460">
              <a:extLst>
                <a:ext uri="{FF2B5EF4-FFF2-40B4-BE49-F238E27FC236}">
                  <a16:creationId xmlns:a16="http://schemas.microsoft.com/office/drawing/2014/main" id="{CCA984E6-EBA6-4046-A922-D25F569E8A2B}"/>
                </a:ext>
              </a:extLst>
            </p:cNvPr>
            <p:cNvSpPr>
              <a:spLocks noEditPoints="1"/>
            </p:cNvSpPr>
            <p:nvPr userDrawn="1"/>
          </p:nvSpPr>
          <p:spPr bwMode="auto">
            <a:xfrm>
              <a:off x="8857615" y="3680778"/>
              <a:ext cx="676275" cy="673100"/>
            </a:xfrm>
            <a:custGeom>
              <a:avLst/>
              <a:gdLst>
                <a:gd name="T0" fmla="*/ 171 w 334"/>
                <a:gd name="T1" fmla="*/ 208 h 334"/>
                <a:gd name="T2" fmla="*/ 129 w 334"/>
                <a:gd name="T3" fmla="*/ 193 h 334"/>
                <a:gd name="T4" fmla="*/ 129 w 334"/>
                <a:gd name="T5" fmla="*/ 179 h 334"/>
                <a:gd name="T6" fmla="*/ 149 w 334"/>
                <a:gd name="T7" fmla="*/ 162 h 334"/>
                <a:gd name="T8" fmla="*/ 194 w 334"/>
                <a:gd name="T9" fmla="*/ 162 h 334"/>
                <a:gd name="T10" fmla="*/ 214 w 334"/>
                <a:gd name="T11" fmla="*/ 179 h 334"/>
                <a:gd name="T12" fmla="*/ 214 w 334"/>
                <a:gd name="T13" fmla="*/ 193 h 334"/>
                <a:gd name="T14" fmla="*/ 171 w 334"/>
                <a:gd name="T15" fmla="*/ 208 h 334"/>
                <a:gd name="T16" fmla="*/ 184 w 334"/>
                <a:gd name="T17" fmla="*/ 242 h 334"/>
                <a:gd name="T18" fmla="*/ 254 w 334"/>
                <a:gd name="T19" fmla="*/ 160 h 334"/>
                <a:gd name="T20" fmla="*/ 251 w 334"/>
                <a:gd name="T21" fmla="*/ 139 h 334"/>
                <a:gd name="T22" fmla="*/ 265 w 334"/>
                <a:gd name="T23" fmla="*/ 145 h 334"/>
                <a:gd name="T24" fmla="*/ 267 w 334"/>
                <a:gd name="T25" fmla="*/ 160 h 334"/>
                <a:gd name="T26" fmla="*/ 186 w 334"/>
                <a:gd name="T27" fmla="*/ 254 h 334"/>
                <a:gd name="T28" fmla="*/ 190 w 334"/>
                <a:gd name="T29" fmla="*/ 263 h 334"/>
                <a:gd name="T30" fmla="*/ 186 w 334"/>
                <a:gd name="T31" fmla="*/ 270 h 334"/>
                <a:gd name="T32" fmla="*/ 183 w 334"/>
                <a:gd name="T33" fmla="*/ 269 h 334"/>
                <a:gd name="T34" fmla="*/ 145 w 334"/>
                <a:gd name="T35" fmla="*/ 252 h 334"/>
                <a:gd name="T36" fmla="*/ 177 w 334"/>
                <a:gd name="T37" fmla="*/ 227 h 334"/>
                <a:gd name="T38" fmla="*/ 182 w 334"/>
                <a:gd name="T39" fmla="*/ 225 h 334"/>
                <a:gd name="T40" fmla="*/ 186 w 334"/>
                <a:gd name="T41" fmla="*/ 230 h 334"/>
                <a:gd name="T42" fmla="*/ 184 w 334"/>
                <a:gd name="T43" fmla="*/ 242 h 334"/>
                <a:gd name="T44" fmla="*/ 171 w 334"/>
                <a:gd name="T45" fmla="*/ 152 h 334"/>
                <a:gd name="T46" fmla="*/ 145 w 334"/>
                <a:gd name="T47" fmla="*/ 126 h 334"/>
                <a:gd name="T48" fmla="*/ 171 w 334"/>
                <a:gd name="T49" fmla="*/ 99 h 334"/>
                <a:gd name="T50" fmla="*/ 198 w 334"/>
                <a:gd name="T51" fmla="*/ 126 h 334"/>
                <a:gd name="T52" fmla="*/ 171 w 334"/>
                <a:gd name="T53" fmla="*/ 152 h 334"/>
                <a:gd name="T54" fmla="*/ 138 w 334"/>
                <a:gd name="T55" fmla="*/ 249 h 334"/>
                <a:gd name="T56" fmla="*/ 76 w 334"/>
                <a:gd name="T57" fmla="*/ 160 h 334"/>
                <a:gd name="T58" fmla="*/ 83 w 334"/>
                <a:gd name="T59" fmla="*/ 127 h 334"/>
                <a:gd name="T60" fmla="*/ 72 w 334"/>
                <a:gd name="T61" fmla="*/ 125 h 334"/>
                <a:gd name="T62" fmla="*/ 71 w 334"/>
                <a:gd name="T63" fmla="*/ 116 h 334"/>
                <a:gd name="T64" fmla="*/ 104 w 334"/>
                <a:gd name="T65" fmla="*/ 92 h 334"/>
                <a:gd name="T66" fmla="*/ 110 w 334"/>
                <a:gd name="T67" fmla="*/ 132 h 334"/>
                <a:gd name="T68" fmla="*/ 106 w 334"/>
                <a:gd name="T69" fmla="*/ 139 h 334"/>
                <a:gd name="T70" fmla="*/ 103 w 334"/>
                <a:gd name="T71" fmla="*/ 138 h 334"/>
                <a:gd name="T72" fmla="*/ 94 w 334"/>
                <a:gd name="T73" fmla="*/ 131 h 334"/>
                <a:gd name="T74" fmla="*/ 89 w 334"/>
                <a:gd name="T75" fmla="*/ 160 h 334"/>
                <a:gd name="T76" fmla="*/ 150 w 334"/>
                <a:gd name="T77" fmla="*/ 240 h 334"/>
                <a:gd name="T78" fmla="*/ 138 w 334"/>
                <a:gd name="T79" fmla="*/ 249 h 334"/>
                <a:gd name="T80" fmla="*/ 113 w 334"/>
                <a:gd name="T81" fmla="*/ 102 h 334"/>
                <a:gd name="T82" fmla="*/ 111 w 334"/>
                <a:gd name="T83" fmla="*/ 87 h 334"/>
                <a:gd name="T84" fmla="*/ 171 w 334"/>
                <a:gd name="T85" fmla="*/ 65 h 334"/>
                <a:gd name="T86" fmla="*/ 245 w 334"/>
                <a:gd name="T87" fmla="*/ 99 h 334"/>
                <a:gd name="T88" fmla="*/ 251 w 334"/>
                <a:gd name="T89" fmla="*/ 92 h 334"/>
                <a:gd name="T90" fmla="*/ 255 w 334"/>
                <a:gd name="T91" fmla="*/ 90 h 334"/>
                <a:gd name="T92" fmla="*/ 259 w 334"/>
                <a:gd name="T93" fmla="*/ 96 h 334"/>
                <a:gd name="T94" fmla="*/ 263 w 334"/>
                <a:gd name="T95" fmla="*/ 136 h 334"/>
                <a:gd name="T96" fmla="*/ 225 w 334"/>
                <a:gd name="T97" fmla="*/ 121 h 334"/>
                <a:gd name="T98" fmla="*/ 224 w 334"/>
                <a:gd name="T99" fmla="*/ 112 h 334"/>
                <a:gd name="T100" fmla="*/ 235 w 334"/>
                <a:gd name="T101" fmla="*/ 107 h 334"/>
                <a:gd name="T102" fmla="*/ 171 w 334"/>
                <a:gd name="T103" fmla="*/ 78 h 334"/>
                <a:gd name="T104" fmla="*/ 113 w 334"/>
                <a:gd name="T105" fmla="*/ 102 h 334"/>
                <a:gd name="T106" fmla="*/ 167 w 334"/>
                <a:gd name="T107" fmla="*/ 0 h 334"/>
                <a:gd name="T108" fmla="*/ 39 w 334"/>
                <a:gd name="T109" fmla="*/ 61 h 334"/>
                <a:gd name="T110" fmla="*/ 0 w 334"/>
                <a:gd name="T111" fmla="*/ 167 h 334"/>
                <a:gd name="T112" fmla="*/ 61 w 334"/>
                <a:gd name="T113" fmla="*/ 296 h 334"/>
                <a:gd name="T114" fmla="*/ 167 w 334"/>
                <a:gd name="T115" fmla="*/ 334 h 334"/>
                <a:gd name="T116" fmla="*/ 296 w 334"/>
                <a:gd name="T117" fmla="*/ 274 h 334"/>
                <a:gd name="T118" fmla="*/ 334 w 334"/>
                <a:gd name="T119" fmla="*/ 167 h 334"/>
                <a:gd name="T120" fmla="*/ 274 w 334"/>
                <a:gd name="T121" fmla="*/ 39 h 334"/>
                <a:gd name="T122" fmla="*/ 167 w 334"/>
                <a:gd name="T12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4" h="334">
                  <a:moveTo>
                    <a:pt x="171" y="208"/>
                  </a:moveTo>
                  <a:cubicBezTo>
                    <a:pt x="140" y="208"/>
                    <a:pt x="129" y="193"/>
                    <a:pt x="129" y="193"/>
                  </a:cubicBezTo>
                  <a:cubicBezTo>
                    <a:pt x="129" y="179"/>
                    <a:pt x="129" y="179"/>
                    <a:pt x="129" y="179"/>
                  </a:cubicBezTo>
                  <a:cubicBezTo>
                    <a:pt x="129" y="170"/>
                    <a:pt x="138" y="162"/>
                    <a:pt x="149" y="162"/>
                  </a:cubicBezTo>
                  <a:cubicBezTo>
                    <a:pt x="194" y="162"/>
                    <a:pt x="194" y="162"/>
                    <a:pt x="194" y="162"/>
                  </a:cubicBezTo>
                  <a:cubicBezTo>
                    <a:pt x="205" y="162"/>
                    <a:pt x="214" y="170"/>
                    <a:pt x="214" y="179"/>
                  </a:cubicBezTo>
                  <a:cubicBezTo>
                    <a:pt x="214" y="193"/>
                    <a:pt x="214" y="193"/>
                    <a:pt x="214" y="193"/>
                  </a:cubicBezTo>
                  <a:cubicBezTo>
                    <a:pt x="214" y="193"/>
                    <a:pt x="201" y="208"/>
                    <a:pt x="171" y="208"/>
                  </a:cubicBezTo>
                  <a:moveTo>
                    <a:pt x="184" y="242"/>
                  </a:moveTo>
                  <a:cubicBezTo>
                    <a:pt x="224" y="235"/>
                    <a:pt x="254" y="201"/>
                    <a:pt x="254" y="160"/>
                  </a:cubicBezTo>
                  <a:cubicBezTo>
                    <a:pt x="254" y="153"/>
                    <a:pt x="253" y="146"/>
                    <a:pt x="251" y="139"/>
                  </a:cubicBezTo>
                  <a:cubicBezTo>
                    <a:pt x="256" y="141"/>
                    <a:pt x="261" y="143"/>
                    <a:pt x="265" y="145"/>
                  </a:cubicBezTo>
                  <a:cubicBezTo>
                    <a:pt x="266" y="150"/>
                    <a:pt x="267" y="155"/>
                    <a:pt x="267" y="160"/>
                  </a:cubicBezTo>
                  <a:cubicBezTo>
                    <a:pt x="267" y="207"/>
                    <a:pt x="232" y="247"/>
                    <a:pt x="186" y="254"/>
                  </a:cubicBezTo>
                  <a:cubicBezTo>
                    <a:pt x="188" y="258"/>
                    <a:pt x="190" y="262"/>
                    <a:pt x="190" y="263"/>
                  </a:cubicBezTo>
                  <a:cubicBezTo>
                    <a:pt x="191" y="266"/>
                    <a:pt x="190" y="270"/>
                    <a:pt x="186" y="270"/>
                  </a:cubicBezTo>
                  <a:cubicBezTo>
                    <a:pt x="185" y="270"/>
                    <a:pt x="184" y="269"/>
                    <a:pt x="183" y="269"/>
                  </a:cubicBezTo>
                  <a:cubicBezTo>
                    <a:pt x="176" y="265"/>
                    <a:pt x="145" y="252"/>
                    <a:pt x="145" y="252"/>
                  </a:cubicBezTo>
                  <a:cubicBezTo>
                    <a:pt x="145" y="252"/>
                    <a:pt x="172" y="231"/>
                    <a:pt x="177" y="227"/>
                  </a:cubicBezTo>
                  <a:cubicBezTo>
                    <a:pt x="179" y="225"/>
                    <a:pt x="181" y="225"/>
                    <a:pt x="182" y="225"/>
                  </a:cubicBezTo>
                  <a:cubicBezTo>
                    <a:pt x="185" y="225"/>
                    <a:pt x="186" y="227"/>
                    <a:pt x="186" y="230"/>
                  </a:cubicBezTo>
                  <a:cubicBezTo>
                    <a:pt x="186" y="231"/>
                    <a:pt x="185" y="237"/>
                    <a:pt x="184" y="242"/>
                  </a:cubicBezTo>
                  <a:moveTo>
                    <a:pt x="171" y="152"/>
                  </a:moveTo>
                  <a:cubicBezTo>
                    <a:pt x="157" y="152"/>
                    <a:pt x="145" y="140"/>
                    <a:pt x="145" y="126"/>
                  </a:cubicBezTo>
                  <a:cubicBezTo>
                    <a:pt x="145" y="111"/>
                    <a:pt x="157" y="99"/>
                    <a:pt x="171" y="99"/>
                  </a:cubicBezTo>
                  <a:cubicBezTo>
                    <a:pt x="186" y="99"/>
                    <a:pt x="198" y="111"/>
                    <a:pt x="198" y="126"/>
                  </a:cubicBezTo>
                  <a:cubicBezTo>
                    <a:pt x="198" y="140"/>
                    <a:pt x="186" y="152"/>
                    <a:pt x="171" y="152"/>
                  </a:cubicBezTo>
                  <a:moveTo>
                    <a:pt x="138" y="249"/>
                  </a:moveTo>
                  <a:cubicBezTo>
                    <a:pt x="102" y="235"/>
                    <a:pt x="76" y="201"/>
                    <a:pt x="76" y="160"/>
                  </a:cubicBezTo>
                  <a:cubicBezTo>
                    <a:pt x="76" y="148"/>
                    <a:pt x="79" y="137"/>
                    <a:pt x="83" y="127"/>
                  </a:cubicBezTo>
                  <a:cubicBezTo>
                    <a:pt x="78" y="126"/>
                    <a:pt x="73" y="125"/>
                    <a:pt x="72" y="125"/>
                  </a:cubicBezTo>
                  <a:cubicBezTo>
                    <a:pt x="68" y="124"/>
                    <a:pt x="65" y="120"/>
                    <a:pt x="71" y="116"/>
                  </a:cubicBezTo>
                  <a:cubicBezTo>
                    <a:pt x="77" y="112"/>
                    <a:pt x="104" y="92"/>
                    <a:pt x="104" y="92"/>
                  </a:cubicBezTo>
                  <a:cubicBezTo>
                    <a:pt x="104" y="92"/>
                    <a:pt x="109" y="125"/>
                    <a:pt x="110" y="132"/>
                  </a:cubicBezTo>
                  <a:cubicBezTo>
                    <a:pt x="111" y="137"/>
                    <a:pt x="109" y="139"/>
                    <a:pt x="106" y="139"/>
                  </a:cubicBezTo>
                  <a:cubicBezTo>
                    <a:pt x="105" y="139"/>
                    <a:pt x="104" y="139"/>
                    <a:pt x="103" y="138"/>
                  </a:cubicBezTo>
                  <a:cubicBezTo>
                    <a:pt x="102" y="137"/>
                    <a:pt x="98" y="134"/>
                    <a:pt x="94" y="131"/>
                  </a:cubicBezTo>
                  <a:cubicBezTo>
                    <a:pt x="91" y="140"/>
                    <a:pt x="89" y="150"/>
                    <a:pt x="89" y="160"/>
                  </a:cubicBezTo>
                  <a:cubicBezTo>
                    <a:pt x="89" y="198"/>
                    <a:pt x="115" y="230"/>
                    <a:pt x="150" y="240"/>
                  </a:cubicBezTo>
                  <a:cubicBezTo>
                    <a:pt x="146" y="243"/>
                    <a:pt x="141" y="246"/>
                    <a:pt x="138" y="249"/>
                  </a:cubicBezTo>
                  <a:moveTo>
                    <a:pt x="113" y="102"/>
                  </a:moveTo>
                  <a:cubicBezTo>
                    <a:pt x="112" y="97"/>
                    <a:pt x="111" y="92"/>
                    <a:pt x="111" y="87"/>
                  </a:cubicBezTo>
                  <a:cubicBezTo>
                    <a:pt x="127" y="73"/>
                    <a:pt x="148" y="65"/>
                    <a:pt x="171" y="65"/>
                  </a:cubicBezTo>
                  <a:cubicBezTo>
                    <a:pt x="201" y="65"/>
                    <a:pt x="227" y="78"/>
                    <a:pt x="245" y="99"/>
                  </a:cubicBezTo>
                  <a:cubicBezTo>
                    <a:pt x="247" y="96"/>
                    <a:pt x="250" y="92"/>
                    <a:pt x="251" y="92"/>
                  </a:cubicBezTo>
                  <a:cubicBezTo>
                    <a:pt x="252" y="91"/>
                    <a:pt x="253" y="90"/>
                    <a:pt x="255" y="90"/>
                  </a:cubicBezTo>
                  <a:cubicBezTo>
                    <a:pt x="257" y="90"/>
                    <a:pt x="259" y="92"/>
                    <a:pt x="259" y="96"/>
                  </a:cubicBezTo>
                  <a:cubicBezTo>
                    <a:pt x="260" y="102"/>
                    <a:pt x="263" y="136"/>
                    <a:pt x="263" y="136"/>
                  </a:cubicBezTo>
                  <a:cubicBezTo>
                    <a:pt x="263" y="136"/>
                    <a:pt x="232" y="123"/>
                    <a:pt x="225" y="121"/>
                  </a:cubicBezTo>
                  <a:cubicBezTo>
                    <a:pt x="219" y="119"/>
                    <a:pt x="220" y="114"/>
                    <a:pt x="224" y="112"/>
                  </a:cubicBezTo>
                  <a:cubicBezTo>
                    <a:pt x="225" y="111"/>
                    <a:pt x="230" y="109"/>
                    <a:pt x="235" y="107"/>
                  </a:cubicBezTo>
                  <a:cubicBezTo>
                    <a:pt x="220" y="89"/>
                    <a:pt x="197" y="78"/>
                    <a:pt x="171" y="78"/>
                  </a:cubicBezTo>
                  <a:cubicBezTo>
                    <a:pt x="148" y="78"/>
                    <a:pt x="128" y="87"/>
                    <a:pt x="113" y="102"/>
                  </a:cubicBezTo>
                  <a:moveTo>
                    <a:pt x="167" y="0"/>
                  </a:moveTo>
                  <a:cubicBezTo>
                    <a:pt x="119" y="0"/>
                    <a:pt x="72" y="21"/>
                    <a:pt x="39" y="61"/>
                  </a:cubicBezTo>
                  <a:cubicBezTo>
                    <a:pt x="13" y="92"/>
                    <a:pt x="0" y="130"/>
                    <a:pt x="0" y="167"/>
                  </a:cubicBezTo>
                  <a:cubicBezTo>
                    <a:pt x="0" y="215"/>
                    <a:pt x="21" y="263"/>
                    <a:pt x="61" y="296"/>
                  </a:cubicBezTo>
                  <a:cubicBezTo>
                    <a:pt x="92" y="322"/>
                    <a:pt x="129" y="334"/>
                    <a:pt x="167" y="334"/>
                  </a:cubicBezTo>
                  <a:cubicBezTo>
                    <a:pt x="215" y="334"/>
                    <a:pt x="263" y="314"/>
                    <a:pt x="296" y="274"/>
                  </a:cubicBezTo>
                  <a:cubicBezTo>
                    <a:pt x="322" y="243"/>
                    <a:pt x="334" y="205"/>
                    <a:pt x="334" y="167"/>
                  </a:cubicBezTo>
                  <a:cubicBezTo>
                    <a:pt x="334" y="119"/>
                    <a:pt x="314" y="72"/>
                    <a:pt x="274" y="39"/>
                  </a:cubicBezTo>
                  <a:cubicBezTo>
                    <a:pt x="243" y="13"/>
                    <a:pt x="205" y="0"/>
                    <a:pt x="167" y="0"/>
                  </a:cubicBezTo>
                </a:path>
              </a:pathLst>
            </a:custGeom>
            <a:solidFill>
              <a:srgbClr val="93C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2" name="Freeform 21461">
              <a:extLst>
                <a:ext uri="{FF2B5EF4-FFF2-40B4-BE49-F238E27FC236}">
                  <a16:creationId xmlns:a16="http://schemas.microsoft.com/office/drawing/2014/main" id="{E286A5BD-EC35-450F-94B6-7DC56780A77A}"/>
                </a:ext>
              </a:extLst>
            </p:cNvPr>
            <p:cNvSpPr>
              <a:spLocks noEditPoints="1"/>
            </p:cNvSpPr>
            <p:nvPr userDrawn="1"/>
          </p:nvSpPr>
          <p:spPr bwMode="auto">
            <a:xfrm>
              <a:off x="8786178" y="3607753"/>
              <a:ext cx="820738" cy="820738"/>
            </a:xfrm>
            <a:custGeom>
              <a:avLst/>
              <a:gdLst>
                <a:gd name="T0" fmla="*/ 332 w 406"/>
                <a:gd name="T1" fmla="*/ 310 h 407"/>
                <a:gd name="T2" fmla="*/ 203 w 406"/>
                <a:gd name="T3" fmla="*/ 18 h 407"/>
                <a:gd name="T4" fmla="*/ 174 w 406"/>
                <a:gd name="T5" fmla="*/ 20 h 407"/>
                <a:gd name="T6" fmla="*/ 147 w 406"/>
                <a:gd name="T7" fmla="*/ 14 h 407"/>
                <a:gd name="T8" fmla="*/ 123 w 406"/>
                <a:gd name="T9" fmla="*/ 16 h 407"/>
                <a:gd name="T10" fmla="*/ 104 w 406"/>
                <a:gd name="T11" fmla="*/ 33 h 407"/>
                <a:gd name="T12" fmla="*/ 94 w 406"/>
                <a:gd name="T13" fmla="*/ 53 h 407"/>
                <a:gd name="T14" fmla="*/ 68 w 406"/>
                <a:gd name="T15" fmla="*/ 60 h 407"/>
                <a:gd name="T16" fmla="*/ 46 w 406"/>
                <a:gd name="T17" fmla="*/ 73 h 407"/>
                <a:gd name="T18" fmla="*/ 48 w 406"/>
                <a:gd name="T19" fmla="*/ 99 h 407"/>
                <a:gd name="T20" fmla="*/ 38 w 406"/>
                <a:gd name="T21" fmla="*/ 119 h 407"/>
                <a:gd name="T22" fmla="*/ 14 w 406"/>
                <a:gd name="T23" fmla="*/ 128 h 407"/>
                <a:gd name="T24" fmla="*/ 15 w 406"/>
                <a:gd name="T25" fmla="*/ 153 h 407"/>
                <a:gd name="T26" fmla="*/ 20 w 406"/>
                <a:gd name="T27" fmla="*/ 174 h 407"/>
                <a:gd name="T28" fmla="*/ 6 w 406"/>
                <a:gd name="T29" fmla="*/ 198 h 407"/>
                <a:gd name="T30" fmla="*/ 0 w 406"/>
                <a:gd name="T31" fmla="*/ 222 h 407"/>
                <a:gd name="T32" fmla="*/ 5 w 406"/>
                <a:gd name="T33" fmla="*/ 251 h 407"/>
                <a:gd name="T34" fmla="*/ 29 w 406"/>
                <a:gd name="T35" fmla="*/ 266 h 407"/>
                <a:gd name="T36" fmla="*/ 25 w 406"/>
                <a:gd name="T37" fmla="*/ 288 h 407"/>
                <a:gd name="T38" fmla="*/ 29 w 406"/>
                <a:gd name="T39" fmla="*/ 308 h 407"/>
                <a:gd name="T40" fmla="*/ 56 w 406"/>
                <a:gd name="T41" fmla="*/ 317 h 407"/>
                <a:gd name="T42" fmla="*/ 60 w 406"/>
                <a:gd name="T43" fmla="*/ 339 h 407"/>
                <a:gd name="T44" fmla="*/ 73 w 406"/>
                <a:gd name="T45" fmla="*/ 360 h 407"/>
                <a:gd name="T46" fmla="*/ 96 w 406"/>
                <a:gd name="T47" fmla="*/ 369 h 407"/>
                <a:gd name="T48" fmla="*/ 124 w 406"/>
                <a:gd name="T49" fmla="*/ 371 h 407"/>
                <a:gd name="T50" fmla="*/ 137 w 406"/>
                <a:gd name="T51" fmla="*/ 389 h 407"/>
                <a:gd name="T52" fmla="*/ 158 w 406"/>
                <a:gd name="T53" fmla="*/ 402 h 407"/>
                <a:gd name="T54" fmla="*/ 190 w 406"/>
                <a:gd name="T55" fmla="*/ 406 h 407"/>
                <a:gd name="T56" fmla="*/ 220 w 406"/>
                <a:gd name="T57" fmla="*/ 406 h 407"/>
                <a:gd name="T58" fmla="*/ 250 w 406"/>
                <a:gd name="T59" fmla="*/ 401 h 407"/>
                <a:gd name="T60" fmla="*/ 266 w 406"/>
                <a:gd name="T61" fmla="*/ 378 h 407"/>
                <a:gd name="T62" fmla="*/ 287 w 406"/>
                <a:gd name="T63" fmla="*/ 372 h 407"/>
                <a:gd name="T64" fmla="*/ 316 w 406"/>
                <a:gd name="T65" fmla="*/ 370 h 407"/>
                <a:gd name="T66" fmla="*/ 333 w 406"/>
                <a:gd name="T67" fmla="*/ 359 h 407"/>
                <a:gd name="T68" fmla="*/ 338 w 406"/>
                <a:gd name="T69" fmla="*/ 330 h 407"/>
                <a:gd name="T70" fmla="*/ 353 w 406"/>
                <a:gd name="T71" fmla="*/ 313 h 407"/>
                <a:gd name="T72" fmla="*/ 378 w 406"/>
                <a:gd name="T73" fmla="*/ 307 h 407"/>
                <a:gd name="T74" fmla="*/ 375 w 406"/>
                <a:gd name="T75" fmla="*/ 282 h 407"/>
                <a:gd name="T76" fmla="*/ 379 w 406"/>
                <a:gd name="T77" fmla="*/ 261 h 407"/>
                <a:gd name="T78" fmla="*/ 402 w 406"/>
                <a:gd name="T79" fmla="*/ 248 h 407"/>
                <a:gd name="T80" fmla="*/ 399 w 406"/>
                <a:gd name="T81" fmla="*/ 223 h 407"/>
                <a:gd name="T82" fmla="*/ 389 w 406"/>
                <a:gd name="T83" fmla="*/ 198 h 407"/>
                <a:gd name="T84" fmla="*/ 385 w 406"/>
                <a:gd name="T85" fmla="*/ 169 h 407"/>
                <a:gd name="T86" fmla="*/ 392 w 406"/>
                <a:gd name="T87" fmla="*/ 147 h 407"/>
                <a:gd name="T88" fmla="*/ 391 w 406"/>
                <a:gd name="T89" fmla="*/ 126 h 407"/>
                <a:gd name="T90" fmla="*/ 366 w 406"/>
                <a:gd name="T91" fmla="*/ 114 h 407"/>
                <a:gd name="T92" fmla="*/ 366 w 406"/>
                <a:gd name="T93" fmla="*/ 92 h 407"/>
                <a:gd name="T94" fmla="*/ 358 w 406"/>
                <a:gd name="T95" fmla="*/ 73 h 407"/>
                <a:gd name="T96" fmla="*/ 330 w 406"/>
                <a:gd name="T97" fmla="*/ 68 h 407"/>
                <a:gd name="T98" fmla="*/ 312 w 406"/>
                <a:gd name="T99" fmla="*/ 53 h 407"/>
                <a:gd name="T100" fmla="*/ 303 w 406"/>
                <a:gd name="T101" fmla="*/ 27 h 407"/>
                <a:gd name="T102" fmla="*/ 283 w 406"/>
                <a:gd name="T103" fmla="*/ 20 h 407"/>
                <a:gd name="T104" fmla="*/ 253 w 406"/>
                <a:gd name="T105" fmla="*/ 15 h 407"/>
                <a:gd name="T106" fmla="*/ 232 w 406"/>
                <a:gd name="T107" fmla="*/ 2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6" h="407">
                  <a:moveTo>
                    <a:pt x="36" y="203"/>
                  </a:moveTo>
                  <a:cubicBezTo>
                    <a:pt x="36" y="166"/>
                    <a:pt x="49" y="128"/>
                    <a:pt x="75" y="97"/>
                  </a:cubicBezTo>
                  <a:cubicBezTo>
                    <a:pt x="108" y="57"/>
                    <a:pt x="155" y="36"/>
                    <a:pt x="203" y="36"/>
                  </a:cubicBezTo>
                  <a:cubicBezTo>
                    <a:pt x="241" y="36"/>
                    <a:pt x="279" y="49"/>
                    <a:pt x="310" y="75"/>
                  </a:cubicBezTo>
                  <a:cubicBezTo>
                    <a:pt x="350" y="108"/>
                    <a:pt x="370" y="155"/>
                    <a:pt x="370" y="203"/>
                  </a:cubicBezTo>
                  <a:cubicBezTo>
                    <a:pt x="370" y="241"/>
                    <a:pt x="358" y="279"/>
                    <a:pt x="332" y="310"/>
                  </a:cubicBezTo>
                  <a:cubicBezTo>
                    <a:pt x="299" y="350"/>
                    <a:pt x="251" y="370"/>
                    <a:pt x="203" y="370"/>
                  </a:cubicBezTo>
                  <a:cubicBezTo>
                    <a:pt x="165" y="370"/>
                    <a:pt x="128" y="358"/>
                    <a:pt x="97" y="332"/>
                  </a:cubicBezTo>
                  <a:cubicBezTo>
                    <a:pt x="57" y="299"/>
                    <a:pt x="36" y="251"/>
                    <a:pt x="36" y="203"/>
                  </a:cubicBezTo>
                  <a:moveTo>
                    <a:pt x="214" y="0"/>
                  </a:moveTo>
                  <a:cubicBezTo>
                    <a:pt x="212" y="0"/>
                    <a:pt x="209" y="1"/>
                    <a:pt x="208" y="6"/>
                  </a:cubicBezTo>
                  <a:cubicBezTo>
                    <a:pt x="207" y="11"/>
                    <a:pt x="206" y="16"/>
                    <a:pt x="203" y="18"/>
                  </a:cubicBezTo>
                  <a:cubicBezTo>
                    <a:pt x="201" y="18"/>
                    <a:pt x="199" y="18"/>
                    <a:pt x="197" y="18"/>
                  </a:cubicBezTo>
                  <a:cubicBezTo>
                    <a:pt x="195" y="16"/>
                    <a:pt x="193" y="11"/>
                    <a:pt x="192" y="6"/>
                  </a:cubicBezTo>
                  <a:cubicBezTo>
                    <a:pt x="191" y="1"/>
                    <a:pt x="189" y="0"/>
                    <a:pt x="186" y="0"/>
                  </a:cubicBezTo>
                  <a:cubicBezTo>
                    <a:pt x="186" y="0"/>
                    <a:pt x="185" y="1"/>
                    <a:pt x="184" y="1"/>
                  </a:cubicBezTo>
                  <a:cubicBezTo>
                    <a:pt x="182" y="1"/>
                    <a:pt x="178" y="1"/>
                    <a:pt x="178" y="8"/>
                  </a:cubicBezTo>
                  <a:cubicBezTo>
                    <a:pt x="177" y="12"/>
                    <a:pt x="176" y="18"/>
                    <a:pt x="174" y="20"/>
                  </a:cubicBezTo>
                  <a:cubicBezTo>
                    <a:pt x="172" y="20"/>
                    <a:pt x="170" y="21"/>
                    <a:pt x="168" y="21"/>
                  </a:cubicBezTo>
                  <a:cubicBezTo>
                    <a:pt x="166" y="19"/>
                    <a:pt x="163" y="15"/>
                    <a:pt x="161" y="11"/>
                  </a:cubicBezTo>
                  <a:cubicBezTo>
                    <a:pt x="160" y="6"/>
                    <a:pt x="158" y="5"/>
                    <a:pt x="156" y="5"/>
                  </a:cubicBezTo>
                  <a:cubicBezTo>
                    <a:pt x="155" y="5"/>
                    <a:pt x="154" y="6"/>
                    <a:pt x="153" y="6"/>
                  </a:cubicBezTo>
                  <a:cubicBezTo>
                    <a:pt x="150" y="7"/>
                    <a:pt x="147" y="7"/>
                    <a:pt x="147" y="12"/>
                  </a:cubicBezTo>
                  <a:cubicBezTo>
                    <a:pt x="147" y="13"/>
                    <a:pt x="147" y="14"/>
                    <a:pt x="147" y="14"/>
                  </a:cubicBezTo>
                  <a:cubicBezTo>
                    <a:pt x="147" y="16"/>
                    <a:pt x="147" y="17"/>
                    <a:pt x="147" y="18"/>
                  </a:cubicBezTo>
                  <a:cubicBezTo>
                    <a:pt x="147" y="22"/>
                    <a:pt x="147" y="25"/>
                    <a:pt x="146" y="27"/>
                  </a:cubicBezTo>
                  <a:cubicBezTo>
                    <a:pt x="144" y="27"/>
                    <a:pt x="142" y="28"/>
                    <a:pt x="140" y="29"/>
                  </a:cubicBezTo>
                  <a:cubicBezTo>
                    <a:pt x="138" y="27"/>
                    <a:pt x="134" y="23"/>
                    <a:pt x="132" y="19"/>
                  </a:cubicBezTo>
                  <a:cubicBezTo>
                    <a:pt x="130" y="16"/>
                    <a:pt x="128" y="15"/>
                    <a:pt x="126" y="15"/>
                  </a:cubicBezTo>
                  <a:cubicBezTo>
                    <a:pt x="125" y="15"/>
                    <a:pt x="124" y="16"/>
                    <a:pt x="123" y="16"/>
                  </a:cubicBezTo>
                  <a:cubicBezTo>
                    <a:pt x="121" y="17"/>
                    <a:pt x="118" y="18"/>
                    <a:pt x="118" y="22"/>
                  </a:cubicBezTo>
                  <a:cubicBezTo>
                    <a:pt x="118" y="23"/>
                    <a:pt x="118" y="24"/>
                    <a:pt x="118" y="25"/>
                  </a:cubicBezTo>
                  <a:cubicBezTo>
                    <a:pt x="119" y="28"/>
                    <a:pt x="120" y="32"/>
                    <a:pt x="120" y="34"/>
                  </a:cubicBezTo>
                  <a:cubicBezTo>
                    <a:pt x="120" y="36"/>
                    <a:pt x="119" y="37"/>
                    <a:pt x="119" y="38"/>
                  </a:cubicBezTo>
                  <a:cubicBezTo>
                    <a:pt x="117" y="39"/>
                    <a:pt x="116" y="40"/>
                    <a:pt x="114" y="41"/>
                  </a:cubicBezTo>
                  <a:cubicBezTo>
                    <a:pt x="111" y="40"/>
                    <a:pt x="107" y="36"/>
                    <a:pt x="104" y="33"/>
                  </a:cubicBezTo>
                  <a:cubicBezTo>
                    <a:pt x="102" y="30"/>
                    <a:pt x="100" y="30"/>
                    <a:pt x="99" y="30"/>
                  </a:cubicBezTo>
                  <a:cubicBezTo>
                    <a:pt x="97" y="30"/>
                    <a:pt x="95" y="31"/>
                    <a:pt x="94" y="31"/>
                  </a:cubicBezTo>
                  <a:cubicBezTo>
                    <a:pt x="93" y="32"/>
                    <a:pt x="90" y="33"/>
                    <a:pt x="90" y="36"/>
                  </a:cubicBezTo>
                  <a:cubicBezTo>
                    <a:pt x="90" y="38"/>
                    <a:pt x="91" y="39"/>
                    <a:pt x="92" y="41"/>
                  </a:cubicBezTo>
                  <a:cubicBezTo>
                    <a:pt x="93" y="44"/>
                    <a:pt x="94" y="49"/>
                    <a:pt x="94" y="52"/>
                  </a:cubicBezTo>
                  <a:cubicBezTo>
                    <a:pt x="94" y="52"/>
                    <a:pt x="94" y="53"/>
                    <a:pt x="94" y="53"/>
                  </a:cubicBezTo>
                  <a:cubicBezTo>
                    <a:pt x="93" y="54"/>
                    <a:pt x="91" y="55"/>
                    <a:pt x="90" y="57"/>
                  </a:cubicBezTo>
                  <a:cubicBezTo>
                    <a:pt x="86" y="56"/>
                    <a:pt x="82" y="53"/>
                    <a:pt x="79" y="51"/>
                  </a:cubicBezTo>
                  <a:cubicBezTo>
                    <a:pt x="76" y="49"/>
                    <a:pt x="75" y="48"/>
                    <a:pt x="73" y="48"/>
                  </a:cubicBezTo>
                  <a:cubicBezTo>
                    <a:pt x="71" y="48"/>
                    <a:pt x="70" y="49"/>
                    <a:pt x="69" y="50"/>
                  </a:cubicBezTo>
                  <a:cubicBezTo>
                    <a:pt x="67" y="52"/>
                    <a:pt x="66" y="53"/>
                    <a:pt x="66" y="55"/>
                  </a:cubicBezTo>
                  <a:cubicBezTo>
                    <a:pt x="66" y="57"/>
                    <a:pt x="66" y="58"/>
                    <a:pt x="68" y="60"/>
                  </a:cubicBezTo>
                  <a:cubicBezTo>
                    <a:pt x="70" y="64"/>
                    <a:pt x="72" y="69"/>
                    <a:pt x="72" y="72"/>
                  </a:cubicBezTo>
                  <a:cubicBezTo>
                    <a:pt x="72" y="72"/>
                    <a:pt x="72" y="72"/>
                    <a:pt x="72" y="72"/>
                  </a:cubicBezTo>
                  <a:cubicBezTo>
                    <a:pt x="71" y="73"/>
                    <a:pt x="69" y="75"/>
                    <a:pt x="68" y="76"/>
                  </a:cubicBezTo>
                  <a:cubicBezTo>
                    <a:pt x="65" y="76"/>
                    <a:pt x="60" y="74"/>
                    <a:pt x="56" y="72"/>
                  </a:cubicBezTo>
                  <a:cubicBezTo>
                    <a:pt x="54" y="71"/>
                    <a:pt x="53" y="70"/>
                    <a:pt x="51" y="70"/>
                  </a:cubicBezTo>
                  <a:cubicBezTo>
                    <a:pt x="49" y="70"/>
                    <a:pt x="48" y="72"/>
                    <a:pt x="46" y="73"/>
                  </a:cubicBezTo>
                  <a:cubicBezTo>
                    <a:pt x="45" y="75"/>
                    <a:pt x="44" y="76"/>
                    <a:pt x="44" y="78"/>
                  </a:cubicBezTo>
                  <a:cubicBezTo>
                    <a:pt x="44" y="79"/>
                    <a:pt x="45" y="81"/>
                    <a:pt x="47" y="83"/>
                  </a:cubicBezTo>
                  <a:cubicBezTo>
                    <a:pt x="50" y="87"/>
                    <a:pt x="53" y="91"/>
                    <a:pt x="53" y="94"/>
                  </a:cubicBezTo>
                  <a:cubicBezTo>
                    <a:pt x="53" y="94"/>
                    <a:pt x="53" y="94"/>
                    <a:pt x="53" y="94"/>
                  </a:cubicBezTo>
                  <a:cubicBezTo>
                    <a:pt x="52" y="96"/>
                    <a:pt x="51" y="97"/>
                    <a:pt x="50" y="99"/>
                  </a:cubicBezTo>
                  <a:cubicBezTo>
                    <a:pt x="49" y="99"/>
                    <a:pt x="49" y="99"/>
                    <a:pt x="48" y="99"/>
                  </a:cubicBezTo>
                  <a:cubicBezTo>
                    <a:pt x="45" y="99"/>
                    <a:pt x="41" y="98"/>
                    <a:pt x="37" y="97"/>
                  </a:cubicBezTo>
                  <a:cubicBezTo>
                    <a:pt x="36" y="96"/>
                    <a:pt x="34" y="95"/>
                    <a:pt x="33" y="95"/>
                  </a:cubicBezTo>
                  <a:cubicBezTo>
                    <a:pt x="30" y="95"/>
                    <a:pt x="29" y="98"/>
                    <a:pt x="28" y="99"/>
                  </a:cubicBezTo>
                  <a:cubicBezTo>
                    <a:pt x="27" y="101"/>
                    <a:pt x="26" y="102"/>
                    <a:pt x="26" y="104"/>
                  </a:cubicBezTo>
                  <a:cubicBezTo>
                    <a:pt x="26" y="105"/>
                    <a:pt x="27" y="107"/>
                    <a:pt x="30" y="109"/>
                  </a:cubicBezTo>
                  <a:cubicBezTo>
                    <a:pt x="33" y="112"/>
                    <a:pt x="37" y="116"/>
                    <a:pt x="38" y="119"/>
                  </a:cubicBezTo>
                  <a:cubicBezTo>
                    <a:pt x="38" y="119"/>
                    <a:pt x="38" y="119"/>
                    <a:pt x="38" y="119"/>
                  </a:cubicBezTo>
                  <a:cubicBezTo>
                    <a:pt x="37" y="121"/>
                    <a:pt x="36" y="122"/>
                    <a:pt x="35" y="124"/>
                  </a:cubicBezTo>
                  <a:cubicBezTo>
                    <a:pt x="34" y="125"/>
                    <a:pt x="33" y="125"/>
                    <a:pt x="31" y="125"/>
                  </a:cubicBezTo>
                  <a:cubicBezTo>
                    <a:pt x="28" y="125"/>
                    <a:pt x="25" y="124"/>
                    <a:pt x="23" y="124"/>
                  </a:cubicBezTo>
                  <a:cubicBezTo>
                    <a:pt x="21" y="123"/>
                    <a:pt x="20" y="123"/>
                    <a:pt x="20" y="123"/>
                  </a:cubicBezTo>
                  <a:cubicBezTo>
                    <a:pt x="16" y="123"/>
                    <a:pt x="15" y="126"/>
                    <a:pt x="14" y="128"/>
                  </a:cubicBezTo>
                  <a:cubicBezTo>
                    <a:pt x="13" y="129"/>
                    <a:pt x="13" y="130"/>
                    <a:pt x="13" y="132"/>
                  </a:cubicBezTo>
                  <a:cubicBezTo>
                    <a:pt x="13" y="134"/>
                    <a:pt x="14" y="135"/>
                    <a:pt x="17" y="137"/>
                  </a:cubicBezTo>
                  <a:cubicBezTo>
                    <a:pt x="21" y="140"/>
                    <a:pt x="25" y="143"/>
                    <a:pt x="27" y="146"/>
                  </a:cubicBezTo>
                  <a:cubicBezTo>
                    <a:pt x="27" y="146"/>
                    <a:pt x="27" y="146"/>
                    <a:pt x="27" y="146"/>
                  </a:cubicBezTo>
                  <a:cubicBezTo>
                    <a:pt x="26" y="148"/>
                    <a:pt x="26" y="150"/>
                    <a:pt x="25" y="151"/>
                  </a:cubicBezTo>
                  <a:cubicBezTo>
                    <a:pt x="23" y="153"/>
                    <a:pt x="19" y="153"/>
                    <a:pt x="15" y="153"/>
                  </a:cubicBezTo>
                  <a:cubicBezTo>
                    <a:pt x="14" y="153"/>
                    <a:pt x="13" y="153"/>
                    <a:pt x="13" y="153"/>
                  </a:cubicBezTo>
                  <a:cubicBezTo>
                    <a:pt x="12" y="153"/>
                    <a:pt x="11" y="153"/>
                    <a:pt x="11" y="153"/>
                  </a:cubicBezTo>
                  <a:cubicBezTo>
                    <a:pt x="5" y="153"/>
                    <a:pt x="5" y="156"/>
                    <a:pt x="5" y="159"/>
                  </a:cubicBezTo>
                  <a:cubicBezTo>
                    <a:pt x="4" y="160"/>
                    <a:pt x="4" y="161"/>
                    <a:pt x="4" y="162"/>
                  </a:cubicBezTo>
                  <a:cubicBezTo>
                    <a:pt x="4" y="164"/>
                    <a:pt x="5" y="166"/>
                    <a:pt x="9" y="167"/>
                  </a:cubicBezTo>
                  <a:cubicBezTo>
                    <a:pt x="13" y="169"/>
                    <a:pt x="18" y="172"/>
                    <a:pt x="20" y="174"/>
                  </a:cubicBezTo>
                  <a:cubicBezTo>
                    <a:pt x="20" y="174"/>
                    <a:pt x="20" y="174"/>
                    <a:pt x="20" y="174"/>
                  </a:cubicBezTo>
                  <a:cubicBezTo>
                    <a:pt x="20" y="176"/>
                    <a:pt x="19" y="178"/>
                    <a:pt x="19" y="180"/>
                  </a:cubicBezTo>
                  <a:cubicBezTo>
                    <a:pt x="17" y="182"/>
                    <a:pt x="11" y="183"/>
                    <a:pt x="7" y="183"/>
                  </a:cubicBezTo>
                  <a:cubicBezTo>
                    <a:pt x="0" y="184"/>
                    <a:pt x="0" y="188"/>
                    <a:pt x="0" y="190"/>
                  </a:cubicBezTo>
                  <a:cubicBezTo>
                    <a:pt x="0" y="191"/>
                    <a:pt x="0" y="192"/>
                    <a:pt x="0" y="192"/>
                  </a:cubicBezTo>
                  <a:cubicBezTo>
                    <a:pt x="0" y="195"/>
                    <a:pt x="1" y="197"/>
                    <a:pt x="6" y="198"/>
                  </a:cubicBezTo>
                  <a:cubicBezTo>
                    <a:pt x="10" y="199"/>
                    <a:pt x="15" y="201"/>
                    <a:pt x="18" y="203"/>
                  </a:cubicBezTo>
                  <a:cubicBezTo>
                    <a:pt x="18" y="205"/>
                    <a:pt x="18" y="207"/>
                    <a:pt x="18" y="209"/>
                  </a:cubicBezTo>
                  <a:cubicBezTo>
                    <a:pt x="18" y="209"/>
                    <a:pt x="18" y="209"/>
                    <a:pt x="18" y="209"/>
                  </a:cubicBezTo>
                  <a:cubicBezTo>
                    <a:pt x="16" y="211"/>
                    <a:pt x="11" y="213"/>
                    <a:pt x="6" y="214"/>
                  </a:cubicBezTo>
                  <a:cubicBezTo>
                    <a:pt x="1" y="215"/>
                    <a:pt x="0" y="218"/>
                    <a:pt x="0" y="220"/>
                  </a:cubicBezTo>
                  <a:cubicBezTo>
                    <a:pt x="0" y="221"/>
                    <a:pt x="0" y="222"/>
                    <a:pt x="0" y="222"/>
                  </a:cubicBezTo>
                  <a:cubicBezTo>
                    <a:pt x="1" y="225"/>
                    <a:pt x="1" y="229"/>
                    <a:pt x="8" y="229"/>
                  </a:cubicBezTo>
                  <a:cubicBezTo>
                    <a:pt x="12" y="229"/>
                    <a:pt x="17" y="230"/>
                    <a:pt x="20" y="232"/>
                  </a:cubicBezTo>
                  <a:cubicBezTo>
                    <a:pt x="20" y="234"/>
                    <a:pt x="20" y="236"/>
                    <a:pt x="21" y="238"/>
                  </a:cubicBezTo>
                  <a:cubicBezTo>
                    <a:pt x="21" y="238"/>
                    <a:pt x="21" y="238"/>
                    <a:pt x="21" y="238"/>
                  </a:cubicBezTo>
                  <a:cubicBezTo>
                    <a:pt x="19" y="240"/>
                    <a:pt x="15" y="243"/>
                    <a:pt x="10" y="245"/>
                  </a:cubicBezTo>
                  <a:cubicBezTo>
                    <a:pt x="6" y="247"/>
                    <a:pt x="5" y="249"/>
                    <a:pt x="5" y="251"/>
                  </a:cubicBezTo>
                  <a:cubicBezTo>
                    <a:pt x="5" y="252"/>
                    <a:pt x="6" y="253"/>
                    <a:pt x="6" y="254"/>
                  </a:cubicBezTo>
                  <a:cubicBezTo>
                    <a:pt x="6" y="256"/>
                    <a:pt x="7" y="259"/>
                    <a:pt x="12" y="259"/>
                  </a:cubicBezTo>
                  <a:cubicBezTo>
                    <a:pt x="13" y="259"/>
                    <a:pt x="13" y="259"/>
                    <a:pt x="14" y="259"/>
                  </a:cubicBezTo>
                  <a:cubicBezTo>
                    <a:pt x="15" y="259"/>
                    <a:pt x="17" y="259"/>
                    <a:pt x="18" y="259"/>
                  </a:cubicBezTo>
                  <a:cubicBezTo>
                    <a:pt x="21" y="259"/>
                    <a:pt x="25" y="259"/>
                    <a:pt x="27" y="260"/>
                  </a:cubicBezTo>
                  <a:cubicBezTo>
                    <a:pt x="27" y="262"/>
                    <a:pt x="28" y="264"/>
                    <a:pt x="29" y="266"/>
                  </a:cubicBezTo>
                  <a:cubicBezTo>
                    <a:pt x="29" y="266"/>
                    <a:pt x="29" y="266"/>
                    <a:pt x="29" y="266"/>
                  </a:cubicBezTo>
                  <a:cubicBezTo>
                    <a:pt x="27" y="269"/>
                    <a:pt x="23" y="272"/>
                    <a:pt x="19" y="275"/>
                  </a:cubicBezTo>
                  <a:cubicBezTo>
                    <a:pt x="16" y="277"/>
                    <a:pt x="15" y="278"/>
                    <a:pt x="15" y="280"/>
                  </a:cubicBezTo>
                  <a:cubicBezTo>
                    <a:pt x="15" y="282"/>
                    <a:pt x="16" y="283"/>
                    <a:pt x="16" y="284"/>
                  </a:cubicBezTo>
                  <a:cubicBezTo>
                    <a:pt x="17" y="286"/>
                    <a:pt x="18" y="289"/>
                    <a:pt x="22" y="289"/>
                  </a:cubicBezTo>
                  <a:cubicBezTo>
                    <a:pt x="23" y="289"/>
                    <a:pt x="24" y="288"/>
                    <a:pt x="25" y="288"/>
                  </a:cubicBezTo>
                  <a:cubicBezTo>
                    <a:pt x="28" y="287"/>
                    <a:pt x="31" y="287"/>
                    <a:pt x="34" y="287"/>
                  </a:cubicBezTo>
                  <a:cubicBezTo>
                    <a:pt x="35" y="287"/>
                    <a:pt x="37" y="287"/>
                    <a:pt x="38" y="287"/>
                  </a:cubicBezTo>
                  <a:cubicBezTo>
                    <a:pt x="39" y="289"/>
                    <a:pt x="40" y="291"/>
                    <a:pt x="41" y="293"/>
                  </a:cubicBezTo>
                  <a:cubicBezTo>
                    <a:pt x="41" y="293"/>
                    <a:pt x="41" y="293"/>
                    <a:pt x="41" y="293"/>
                  </a:cubicBezTo>
                  <a:cubicBezTo>
                    <a:pt x="40" y="296"/>
                    <a:pt x="36" y="299"/>
                    <a:pt x="33" y="302"/>
                  </a:cubicBezTo>
                  <a:cubicBezTo>
                    <a:pt x="30" y="305"/>
                    <a:pt x="29" y="306"/>
                    <a:pt x="29" y="308"/>
                  </a:cubicBezTo>
                  <a:cubicBezTo>
                    <a:pt x="29" y="310"/>
                    <a:pt x="30" y="311"/>
                    <a:pt x="31" y="312"/>
                  </a:cubicBezTo>
                  <a:cubicBezTo>
                    <a:pt x="32" y="314"/>
                    <a:pt x="33" y="316"/>
                    <a:pt x="36" y="316"/>
                  </a:cubicBezTo>
                  <a:cubicBezTo>
                    <a:pt x="37" y="316"/>
                    <a:pt x="39" y="316"/>
                    <a:pt x="41" y="315"/>
                  </a:cubicBezTo>
                  <a:cubicBezTo>
                    <a:pt x="44" y="313"/>
                    <a:pt x="49" y="312"/>
                    <a:pt x="52" y="312"/>
                  </a:cubicBezTo>
                  <a:cubicBezTo>
                    <a:pt x="52" y="312"/>
                    <a:pt x="52" y="312"/>
                    <a:pt x="53" y="312"/>
                  </a:cubicBezTo>
                  <a:cubicBezTo>
                    <a:pt x="54" y="314"/>
                    <a:pt x="55" y="315"/>
                    <a:pt x="56" y="317"/>
                  </a:cubicBezTo>
                  <a:cubicBezTo>
                    <a:pt x="56" y="317"/>
                    <a:pt x="56" y="317"/>
                    <a:pt x="56" y="317"/>
                  </a:cubicBezTo>
                  <a:cubicBezTo>
                    <a:pt x="56" y="320"/>
                    <a:pt x="53" y="324"/>
                    <a:pt x="50" y="328"/>
                  </a:cubicBezTo>
                  <a:cubicBezTo>
                    <a:pt x="48" y="330"/>
                    <a:pt x="48" y="332"/>
                    <a:pt x="48" y="333"/>
                  </a:cubicBezTo>
                  <a:cubicBezTo>
                    <a:pt x="48" y="335"/>
                    <a:pt x="49" y="337"/>
                    <a:pt x="50" y="338"/>
                  </a:cubicBezTo>
                  <a:cubicBezTo>
                    <a:pt x="51" y="339"/>
                    <a:pt x="53" y="341"/>
                    <a:pt x="55" y="341"/>
                  </a:cubicBezTo>
                  <a:cubicBezTo>
                    <a:pt x="56" y="341"/>
                    <a:pt x="58" y="340"/>
                    <a:pt x="60" y="339"/>
                  </a:cubicBezTo>
                  <a:cubicBezTo>
                    <a:pt x="64" y="337"/>
                    <a:pt x="69" y="334"/>
                    <a:pt x="72" y="334"/>
                  </a:cubicBezTo>
                  <a:cubicBezTo>
                    <a:pt x="73" y="336"/>
                    <a:pt x="75" y="337"/>
                    <a:pt x="76" y="338"/>
                  </a:cubicBezTo>
                  <a:cubicBezTo>
                    <a:pt x="76" y="338"/>
                    <a:pt x="76" y="338"/>
                    <a:pt x="76" y="338"/>
                  </a:cubicBezTo>
                  <a:cubicBezTo>
                    <a:pt x="76" y="342"/>
                    <a:pt x="74" y="346"/>
                    <a:pt x="72" y="350"/>
                  </a:cubicBezTo>
                  <a:cubicBezTo>
                    <a:pt x="70" y="352"/>
                    <a:pt x="70" y="354"/>
                    <a:pt x="70" y="355"/>
                  </a:cubicBezTo>
                  <a:cubicBezTo>
                    <a:pt x="70" y="358"/>
                    <a:pt x="72" y="359"/>
                    <a:pt x="73" y="360"/>
                  </a:cubicBezTo>
                  <a:cubicBezTo>
                    <a:pt x="74" y="361"/>
                    <a:pt x="76" y="362"/>
                    <a:pt x="78" y="362"/>
                  </a:cubicBezTo>
                  <a:cubicBezTo>
                    <a:pt x="79" y="362"/>
                    <a:pt x="81" y="362"/>
                    <a:pt x="83" y="360"/>
                  </a:cubicBezTo>
                  <a:cubicBezTo>
                    <a:pt x="86" y="357"/>
                    <a:pt x="91" y="354"/>
                    <a:pt x="94" y="353"/>
                  </a:cubicBezTo>
                  <a:cubicBezTo>
                    <a:pt x="95" y="354"/>
                    <a:pt x="97" y="356"/>
                    <a:pt x="99" y="357"/>
                  </a:cubicBezTo>
                  <a:cubicBezTo>
                    <a:pt x="99" y="357"/>
                    <a:pt x="99" y="358"/>
                    <a:pt x="99" y="358"/>
                  </a:cubicBezTo>
                  <a:cubicBezTo>
                    <a:pt x="99" y="361"/>
                    <a:pt x="98" y="365"/>
                    <a:pt x="96" y="369"/>
                  </a:cubicBezTo>
                  <a:cubicBezTo>
                    <a:pt x="96" y="371"/>
                    <a:pt x="95" y="372"/>
                    <a:pt x="95" y="373"/>
                  </a:cubicBezTo>
                  <a:cubicBezTo>
                    <a:pt x="95" y="376"/>
                    <a:pt x="98" y="377"/>
                    <a:pt x="99" y="378"/>
                  </a:cubicBezTo>
                  <a:cubicBezTo>
                    <a:pt x="100" y="379"/>
                    <a:pt x="102" y="380"/>
                    <a:pt x="103" y="380"/>
                  </a:cubicBezTo>
                  <a:cubicBezTo>
                    <a:pt x="105" y="380"/>
                    <a:pt x="107" y="379"/>
                    <a:pt x="109" y="377"/>
                  </a:cubicBezTo>
                  <a:cubicBezTo>
                    <a:pt x="112" y="373"/>
                    <a:pt x="116" y="370"/>
                    <a:pt x="119" y="368"/>
                  </a:cubicBezTo>
                  <a:cubicBezTo>
                    <a:pt x="120" y="369"/>
                    <a:pt x="122" y="370"/>
                    <a:pt x="124" y="371"/>
                  </a:cubicBezTo>
                  <a:cubicBezTo>
                    <a:pt x="124" y="372"/>
                    <a:pt x="125" y="374"/>
                    <a:pt x="125" y="375"/>
                  </a:cubicBezTo>
                  <a:cubicBezTo>
                    <a:pt x="125" y="378"/>
                    <a:pt x="124" y="381"/>
                    <a:pt x="124" y="384"/>
                  </a:cubicBezTo>
                  <a:cubicBezTo>
                    <a:pt x="123" y="385"/>
                    <a:pt x="123" y="386"/>
                    <a:pt x="123" y="387"/>
                  </a:cubicBezTo>
                  <a:cubicBezTo>
                    <a:pt x="123" y="391"/>
                    <a:pt x="126" y="392"/>
                    <a:pt x="128" y="393"/>
                  </a:cubicBezTo>
                  <a:cubicBezTo>
                    <a:pt x="129" y="393"/>
                    <a:pt x="130" y="394"/>
                    <a:pt x="132" y="394"/>
                  </a:cubicBezTo>
                  <a:cubicBezTo>
                    <a:pt x="133" y="394"/>
                    <a:pt x="135" y="393"/>
                    <a:pt x="137" y="389"/>
                  </a:cubicBezTo>
                  <a:cubicBezTo>
                    <a:pt x="140" y="385"/>
                    <a:pt x="143" y="381"/>
                    <a:pt x="145" y="380"/>
                  </a:cubicBezTo>
                  <a:cubicBezTo>
                    <a:pt x="147" y="380"/>
                    <a:pt x="149" y="381"/>
                    <a:pt x="151" y="381"/>
                  </a:cubicBezTo>
                  <a:cubicBezTo>
                    <a:pt x="152" y="384"/>
                    <a:pt x="153" y="388"/>
                    <a:pt x="153" y="391"/>
                  </a:cubicBezTo>
                  <a:cubicBezTo>
                    <a:pt x="153" y="392"/>
                    <a:pt x="153" y="393"/>
                    <a:pt x="153" y="394"/>
                  </a:cubicBezTo>
                  <a:cubicBezTo>
                    <a:pt x="153" y="394"/>
                    <a:pt x="153" y="395"/>
                    <a:pt x="153" y="395"/>
                  </a:cubicBezTo>
                  <a:cubicBezTo>
                    <a:pt x="153" y="401"/>
                    <a:pt x="156" y="401"/>
                    <a:pt x="158" y="402"/>
                  </a:cubicBezTo>
                  <a:cubicBezTo>
                    <a:pt x="159" y="402"/>
                    <a:pt x="160" y="402"/>
                    <a:pt x="161" y="402"/>
                  </a:cubicBezTo>
                  <a:cubicBezTo>
                    <a:pt x="163" y="402"/>
                    <a:pt x="165" y="401"/>
                    <a:pt x="167" y="397"/>
                  </a:cubicBezTo>
                  <a:cubicBezTo>
                    <a:pt x="169" y="393"/>
                    <a:pt x="171" y="388"/>
                    <a:pt x="174" y="386"/>
                  </a:cubicBezTo>
                  <a:cubicBezTo>
                    <a:pt x="176" y="387"/>
                    <a:pt x="178" y="387"/>
                    <a:pt x="180" y="387"/>
                  </a:cubicBezTo>
                  <a:cubicBezTo>
                    <a:pt x="182" y="390"/>
                    <a:pt x="183" y="395"/>
                    <a:pt x="183" y="399"/>
                  </a:cubicBezTo>
                  <a:cubicBezTo>
                    <a:pt x="184" y="407"/>
                    <a:pt x="187" y="406"/>
                    <a:pt x="190" y="406"/>
                  </a:cubicBezTo>
                  <a:cubicBezTo>
                    <a:pt x="191" y="407"/>
                    <a:pt x="191" y="407"/>
                    <a:pt x="192" y="407"/>
                  </a:cubicBezTo>
                  <a:cubicBezTo>
                    <a:pt x="194" y="407"/>
                    <a:pt x="197" y="406"/>
                    <a:pt x="198" y="400"/>
                  </a:cubicBezTo>
                  <a:cubicBezTo>
                    <a:pt x="199" y="396"/>
                    <a:pt x="201" y="391"/>
                    <a:pt x="203" y="389"/>
                  </a:cubicBezTo>
                  <a:cubicBezTo>
                    <a:pt x="205" y="389"/>
                    <a:pt x="207" y="389"/>
                    <a:pt x="209" y="389"/>
                  </a:cubicBezTo>
                  <a:cubicBezTo>
                    <a:pt x="211" y="391"/>
                    <a:pt x="213" y="396"/>
                    <a:pt x="214" y="400"/>
                  </a:cubicBezTo>
                  <a:cubicBezTo>
                    <a:pt x="215" y="405"/>
                    <a:pt x="218" y="406"/>
                    <a:pt x="220" y="406"/>
                  </a:cubicBezTo>
                  <a:cubicBezTo>
                    <a:pt x="221" y="406"/>
                    <a:pt x="221" y="406"/>
                    <a:pt x="222" y="406"/>
                  </a:cubicBezTo>
                  <a:cubicBezTo>
                    <a:pt x="225" y="406"/>
                    <a:pt x="228" y="406"/>
                    <a:pt x="229" y="399"/>
                  </a:cubicBezTo>
                  <a:cubicBezTo>
                    <a:pt x="229" y="394"/>
                    <a:pt x="230" y="389"/>
                    <a:pt x="232" y="387"/>
                  </a:cubicBezTo>
                  <a:cubicBezTo>
                    <a:pt x="234" y="386"/>
                    <a:pt x="236" y="386"/>
                    <a:pt x="238" y="386"/>
                  </a:cubicBezTo>
                  <a:cubicBezTo>
                    <a:pt x="240" y="387"/>
                    <a:pt x="243" y="392"/>
                    <a:pt x="245" y="396"/>
                  </a:cubicBezTo>
                  <a:cubicBezTo>
                    <a:pt x="246" y="400"/>
                    <a:pt x="248" y="401"/>
                    <a:pt x="250" y="401"/>
                  </a:cubicBezTo>
                  <a:cubicBezTo>
                    <a:pt x="251" y="401"/>
                    <a:pt x="253" y="401"/>
                    <a:pt x="254" y="401"/>
                  </a:cubicBezTo>
                  <a:cubicBezTo>
                    <a:pt x="256" y="400"/>
                    <a:pt x="259" y="400"/>
                    <a:pt x="259" y="394"/>
                  </a:cubicBezTo>
                  <a:cubicBezTo>
                    <a:pt x="259" y="394"/>
                    <a:pt x="259" y="393"/>
                    <a:pt x="259" y="392"/>
                  </a:cubicBezTo>
                  <a:cubicBezTo>
                    <a:pt x="259" y="391"/>
                    <a:pt x="259" y="390"/>
                    <a:pt x="259" y="388"/>
                  </a:cubicBezTo>
                  <a:cubicBezTo>
                    <a:pt x="259" y="385"/>
                    <a:pt x="259" y="382"/>
                    <a:pt x="260" y="380"/>
                  </a:cubicBezTo>
                  <a:cubicBezTo>
                    <a:pt x="262" y="379"/>
                    <a:pt x="264" y="379"/>
                    <a:pt x="266" y="378"/>
                  </a:cubicBezTo>
                  <a:cubicBezTo>
                    <a:pt x="269" y="379"/>
                    <a:pt x="272" y="383"/>
                    <a:pt x="274" y="387"/>
                  </a:cubicBezTo>
                  <a:cubicBezTo>
                    <a:pt x="276" y="390"/>
                    <a:pt x="278" y="391"/>
                    <a:pt x="280" y="391"/>
                  </a:cubicBezTo>
                  <a:cubicBezTo>
                    <a:pt x="281" y="391"/>
                    <a:pt x="283" y="391"/>
                    <a:pt x="284" y="390"/>
                  </a:cubicBezTo>
                  <a:cubicBezTo>
                    <a:pt x="286" y="389"/>
                    <a:pt x="288" y="389"/>
                    <a:pt x="288" y="385"/>
                  </a:cubicBezTo>
                  <a:cubicBezTo>
                    <a:pt x="288" y="384"/>
                    <a:pt x="288" y="383"/>
                    <a:pt x="288" y="381"/>
                  </a:cubicBezTo>
                  <a:cubicBezTo>
                    <a:pt x="287" y="378"/>
                    <a:pt x="287" y="375"/>
                    <a:pt x="287" y="372"/>
                  </a:cubicBezTo>
                  <a:cubicBezTo>
                    <a:pt x="287" y="371"/>
                    <a:pt x="287" y="370"/>
                    <a:pt x="287" y="369"/>
                  </a:cubicBezTo>
                  <a:cubicBezTo>
                    <a:pt x="289" y="368"/>
                    <a:pt x="291" y="367"/>
                    <a:pt x="292" y="366"/>
                  </a:cubicBezTo>
                  <a:cubicBezTo>
                    <a:pt x="295" y="367"/>
                    <a:pt x="299" y="370"/>
                    <a:pt x="302" y="374"/>
                  </a:cubicBezTo>
                  <a:cubicBezTo>
                    <a:pt x="304" y="376"/>
                    <a:pt x="306" y="377"/>
                    <a:pt x="308" y="377"/>
                  </a:cubicBezTo>
                  <a:cubicBezTo>
                    <a:pt x="309" y="377"/>
                    <a:pt x="311" y="376"/>
                    <a:pt x="312" y="375"/>
                  </a:cubicBezTo>
                  <a:cubicBezTo>
                    <a:pt x="314" y="374"/>
                    <a:pt x="316" y="373"/>
                    <a:pt x="316" y="370"/>
                  </a:cubicBezTo>
                  <a:cubicBezTo>
                    <a:pt x="316" y="369"/>
                    <a:pt x="316" y="368"/>
                    <a:pt x="315" y="366"/>
                  </a:cubicBezTo>
                  <a:cubicBezTo>
                    <a:pt x="313" y="362"/>
                    <a:pt x="312" y="358"/>
                    <a:pt x="312" y="355"/>
                  </a:cubicBezTo>
                  <a:cubicBezTo>
                    <a:pt x="312" y="354"/>
                    <a:pt x="312" y="354"/>
                    <a:pt x="312" y="354"/>
                  </a:cubicBezTo>
                  <a:cubicBezTo>
                    <a:pt x="314" y="352"/>
                    <a:pt x="315" y="351"/>
                    <a:pt x="317" y="350"/>
                  </a:cubicBezTo>
                  <a:cubicBezTo>
                    <a:pt x="320" y="351"/>
                    <a:pt x="324" y="353"/>
                    <a:pt x="328" y="356"/>
                  </a:cubicBezTo>
                  <a:cubicBezTo>
                    <a:pt x="330" y="358"/>
                    <a:pt x="332" y="359"/>
                    <a:pt x="333" y="359"/>
                  </a:cubicBezTo>
                  <a:cubicBezTo>
                    <a:pt x="335" y="359"/>
                    <a:pt x="336" y="357"/>
                    <a:pt x="338" y="356"/>
                  </a:cubicBezTo>
                  <a:cubicBezTo>
                    <a:pt x="339" y="355"/>
                    <a:pt x="341" y="354"/>
                    <a:pt x="341" y="351"/>
                  </a:cubicBezTo>
                  <a:cubicBezTo>
                    <a:pt x="341" y="350"/>
                    <a:pt x="340" y="348"/>
                    <a:pt x="339" y="346"/>
                  </a:cubicBezTo>
                  <a:cubicBezTo>
                    <a:pt x="336" y="343"/>
                    <a:pt x="334" y="338"/>
                    <a:pt x="334" y="335"/>
                  </a:cubicBezTo>
                  <a:cubicBezTo>
                    <a:pt x="334" y="335"/>
                    <a:pt x="334" y="335"/>
                    <a:pt x="334" y="335"/>
                  </a:cubicBezTo>
                  <a:cubicBezTo>
                    <a:pt x="335" y="333"/>
                    <a:pt x="337" y="332"/>
                    <a:pt x="338" y="330"/>
                  </a:cubicBezTo>
                  <a:cubicBezTo>
                    <a:pt x="341" y="330"/>
                    <a:pt x="346" y="332"/>
                    <a:pt x="350" y="335"/>
                  </a:cubicBezTo>
                  <a:cubicBezTo>
                    <a:pt x="352" y="336"/>
                    <a:pt x="354" y="337"/>
                    <a:pt x="355" y="337"/>
                  </a:cubicBezTo>
                  <a:cubicBezTo>
                    <a:pt x="357" y="337"/>
                    <a:pt x="359" y="335"/>
                    <a:pt x="360" y="333"/>
                  </a:cubicBezTo>
                  <a:cubicBezTo>
                    <a:pt x="361" y="332"/>
                    <a:pt x="362" y="331"/>
                    <a:pt x="362" y="329"/>
                  </a:cubicBezTo>
                  <a:cubicBezTo>
                    <a:pt x="362" y="327"/>
                    <a:pt x="361" y="326"/>
                    <a:pt x="359" y="323"/>
                  </a:cubicBezTo>
                  <a:cubicBezTo>
                    <a:pt x="356" y="320"/>
                    <a:pt x="354" y="316"/>
                    <a:pt x="353" y="313"/>
                  </a:cubicBezTo>
                  <a:cubicBezTo>
                    <a:pt x="353" y="313"/>
                    <a:pt x="353" y="313"/>
                    <a:pt x="353" y="313"/>
                  </a:cubicBezTo>
                  <a:cubicBezTo>
                    <a:pt x="354" y="311"/>
                    <a:pt x="355" y="309"/>
                    <a:pt x="356" y="308"/>
                  </a:cubicBezTo>
                  <a:cubicBezTo>
                    <a:pt x="357" y="308"/>
                    <a:pt x="357" y="308"/>
                    <a:pt x="358" y="308"/>
                  </a:cubicBezTo>
                  <a:cubicBezTo>
                    <a:pt x="361" y="308"/>
                    <a:pt x="365" y="309"/>
                    <a:pt x="369" y="310"/>
                  </a:cubicBezTo>
                  <a:cubicBezTo>
                    <a:pt x="371" y="311"/>
                    <a:pt x="372" y="311"/>
                    <a:pt x="373" y="311"/>
                  </a:cubicBezTo>
                  <a:cubicBezTo>
                    <a:pt x="376" y="311"/>
                    <a:pt x="377" y="309"/>
                    <a:pt x="378" y="307"/>
                  </a:cubicBezTo>
                  <a:cubicBezTo>
                    <a:pt x="379" y="306"/>
                    <a:pt x="380" y="305"/>
                    <a:pt x="380" y="303"/>
                  </a:cubicBezTo>
                  <a:cubicBezTo>
                    <a:pt x="380" y="301"/>
                    <a:pt x="379" y="300"/>
                    <a:pt x="376" y="298"/>
                  </a:cubicBezTo>
                  <a:cubicBezTo>
                    <a:pt x="373" y="295"/>
                    <a:pt x="369" y="291"/>
                    <a:pt x="368" y="288"/>
                  </a:cubicBezTo>
                  <a:cubicBezTo>
                    <a:pt x="368" y="288"/>
                    <a:pt x="368" y="288"/>
                    <a:pt x="368" y="288"/>
                  </a:cubicBezTo>
                  <a:cubicBezTo>
                    <a:pt x="369" y="286"/>
                    <a:pt x="370" y="284"/>
                    <a:pt x="371" y="282"/>
                  </a:cubicBezTo>
                  <a:cubicBezTo>
                    <a:pt x="372" y="282"/>
                    <a:pt x="374" y="282"/>
                    <a:pt x="375" y="282"/>
                  </a:cubicBezTo>
                  <a:cubicBezTo>
                    <a:pt x="378" y="282"/>
                    <a:pt x="381" y="282"/>
                    <a:pt x="384" y="283"/>
                  </a:cubicBezTo>
                  <a:cubicBezTo>
                    <a:pt x="385" y="283"/>
                    <a:pt x="386" y="283"/>
                    <a:pt x="387" y="283"/>
                  </a:cubicBezTo>
                  <a:cubicBezTo>
                    <a:pt x="391" y="283"/>
                    <a:pt x="392" y="281"/>
                    <a:pt x="392" y="278"/>
                  </a:cubicBezTo>
                  <a:cubicBezTo>
                    <a:pt x="393" y="277"/>
                    <a:pt x="393" y="276"/>
                    <a:pt x="393" y="275"/>
                  </a:cubicBezTo>
                  <a:cubicBezTo>
                    <a:pt x="393" y="273"/>
                    <a:pt x="392" y="271"/>
                    <a:pt x="389" y="269"/>
                  </a:cubicBezTo>
                  <a:cubicBezTo>
                    <a:pt x="385" y="267"/>
                    <a:pt x="381" y="264"/>
                    <a:pt x="379" y="261"/>
                  </a:cubicBezTo>
                  <a:cubicBezTo>
                    <a:pt x="379" y="261"/>
                    <a:pt x="379" y="261"/>
                    <a:pt x="379" y="261"/>
                  </a:cubicBezTo>
                  <a:cubicBezTo>
                    <a:pt x="380" y="259"/>
                    <a:pt x="381" y="257"/>
                    <a:pt x="381" y="255"/>
                  </a:cubicBezTo>
                  <a:cubicBezTo>
                    <a:pt x="384" y="254"/>
                    <a:pt x="387" y="254"/>
                    <a:pt x="391" y="254"/>
                  </a:cubicBezTo>
                  <a:cubicBezTo>
                    <a:pt x="392" y="254"/>
                    <a:pt x="393" y="254"/>
                    <a:pt x="394" y="254"/>
                  </a:cubicBezTo>
                  <a:cubicBezTo>
                    <a:pt x="394" y="254"/>
                    <a:pt x="395" y="254"/>
                    <a:pt x="395" y="254"/>
                  </a:cubicBezTo>
                  <a:cubicBezTo>
                    <a:pt x="401" y="254"/>
                    <a:pt x="401" y="250"/>
                    <a:pt x="402" y="248"/>
                  </a:cubicBezTo>
                  <a:cubicBezTo>
                    <a:pt x="402" y="247"/>
                    <a:pt x="402" y="246"/>
                    <a:pt x="402" y="245"/>
                  </a:cubicBezTo>
                  <a:cubicBezTo>
                    <a:pt x="402" y="243"/>
                    <a:pt x="401" y="241"/>
                    <a:pt x="397" y="239"/>
                  </a:cubicBezTo>
                  <a:cubicBezTo>
                    <a:pt x="393" y="238"/>
                    <a:pt x="388" y="235"/>
                    <a:pt x="386" y="233"/>
                  </a:cubicBezTo>
                  <a:cubicBezTo>
                    <a:pt x="386" y="233"/>
                    <a:pt x="386" y="233"/>
                    <a:pt x="386" y="233"/>
                  </a:cubicBezTo>
                  <a:cubicBezTo>
                    <a:pt x="387" y="231"/>
                    <a:pt x="387" y="229"/>
                    <a:pt x="387" y="227"/>
                  </a:cubicBezTo>
                  <a:cubicBezTo>
                    <a:pt x="390" y="225"/>
                    <a:pt x="395" y="224"/>
                    <a:pt x="399" y="223"/>
                  </a:cubicBezTo>
                  <a:cubicBezTo>
                    <a:pt x="406" y="223"/>
                    <a:pt x="406" y="219"/>
                    <a:pt x="406" y="216"/>
                  </a:cubicBezTo>
                  <a:cubicBezTo>
                    <a:pt x="406" y="216"/>
                    <a:pt x="406" y="215"/>
                    <a:pt x="406" y="214"/>
                  </a:cubicBezTo>
                  <a:cubicBezTo>
                    <a:pt x="406" y="212"/>
                    <a:pt x="406" y="210"/>
                    <a:pt x="400" y="209"/>
                  </a:cubicBezTo>
                  <a:cubicBezTo>
                    <a:pt x="396" y="208"/>
                    <a:pt x="391" y="206"/>
                    <a:pt x="389" y="204"/>
                  </a:cubicBezTo>
                  <a:cubicBezTo>
                    <a:pt x="389" y="202"/>
                    <a:pt x="389" y="200"/>
                    <a:pt x="389" y="198"/>
                  </a:cubicBezTo>
                  <a:cubicBezTo>
                    <a:pt x="389" y="198"/>
                    <a:pt x="389" y="198"/>
                    <a:pt x="389" y="198"/>
                  </a:cubicBezTo>
                  <a:cubicBezTo>
                    <a:pt x="391" y="195"/>
                    <a:pt x="396" y="193"/>
                    <a:pt x="400" y="192"/>
                  </a:cubicBezTo>
                  <a:cubicBezTo>
                    <a:pt x="405" y="191"/>
                    <a:pt x="406" y="189"/>
                    <a:pt x="406" y="187"/>
                  </a:cubicBezTo>
                  <a:cubicBezTo>
                    <a:pt x="406" y="186"/>
                    <a:pt x="406" y="185"/>
                    <a:pt x="406" y="184"/>
                  </a:cubicBezTo>
                  <a:cubicBezTo>
                    <a:pt x="406" y="182"/>
                    <a:pt x="406" y="178"/>
                    <a:pt x="399" y="178"/>
                  </a:cubicBezTo>
                  <a:cubicBezTo>
                    <a:pt x="394" y="177"/>
                    <a:pt x="389" y="176"/>
                    <a:pt x="386" y="175"/>
                  </a:cubicBezTo>
                  <a:cubicBezTo>
                    <a:pt x="386" y="173"/>
                    <a:pt x="386" y="171"/>
                    <a:pt x="385" y="169"/>
                  </a:cubicBezTo>
                  <a:cubicBezTo>
                    <a:pt x="385" y="169"/>
                    <a:pt x="385" y="169"/>
                    <a:pt x="385" y="169"/>
                  </a:cubicBezTo>
                  <a:cubicBezTo>
                    <a:pt x="387" y="166"/>
                    <a:pt x="392" y="163"/>
                    <a:pt x="396" y="162"/>
                  </a:cubicBezTo>
                  <a:cubicBezTo>
                    <a:pt x="400" y="160"/>
                    <a:pt x="401" y="158"/>
                    <a:pt x="401" y="156"/>
                  </a:cubicBezTo>
                  <a:cubicBezTo>
                    <a:pt x="401" y="155"/>
                    <a:pt x="401" y="154"/>
                    <a:pt x="400" y="153"/>
                  </a:cubicBezTo>
                  <a:cubicBezTo>
                    <a:pt x="400" y="151"/>
                    <a:pt x="399" y="147"/>
                    <a:pt x="394" y="147"/>
                  </a:cubicBezTo>
                  <a:cubicBezTo>
                    <a:pt x="394" y="147"/>
                    <a:pt x="393" y="147"/>
                    <a:pt x="392" y="147"/>
                  </a:cubicBezTo>
                  <a:cubicBezTo>
                    <a:pt x="391" y="148"/>
                    <a:pt x="390" y="148"/>
                    <a:pt x="388" y="148"/>
                  </a:cubicBezTo>
                  <a:cubicBezTo>
                    <a:pt x="385" y="148"/>
                    <a:pt x="382" y="147"/>
                    <a:pt x="380" y="146"/>
                  </a:cubicBezTo>
                  <a:cubicBezTo>
                    <a:pt x="379" y="144"/>
                    <a:pt x="378" y="142"/>
                    <a:pt x="378" y="141"/>
                  </a:cubicBezTo>
                  <a:cubicBezTo>
                    <a:pt x="378" y="141"/>
                    <a:pt x="378" y="141"/>
                    <a:pt x="378" y="141"/>
                  </a:cubicBezTo>
                  <a:cubicBezTo>
                    <a:pt x="379" y="138"/>
                    <a:pt x="383" y="134"/>
                    <a:pt x="387" y="132"/>
                  </a:cubicBezTo>
                  <a:cubicBezTo>
                    <a:pt x="390" y="130"/>
                    <a:pt x="391" y="128"/>
                    <a:pt x="391" y="126"/>
                  </a:cubicBezTo>
                  <a:cubicBezTo>
                    <a:pt x="391" y="125"/>
                    <a:pt x="391" y="124"/>
                    <a:pt x="390" y="123"/>
                  </a:cubicBezTo>
                  <a:cubicBezTo>
                    <a:pt x="389" y="121"/>
                    <a:pt x="388" y="118"/>
                    <a:pt x="385" y="118"/>
                  </a:cubicBezTo>
                  <a:cubicBezTo>
                    <a:pt x="384" y="118"/>
                    <a:pt x="382" y="118"/>
                    <a:pt x="381" y="119"/>
                  </a:cubicBezTo>
                  <a:cubicBezTo>
                    <a:pt x="378" y="119"/>
                    <a:pt x="375" y="120"/>
                    <a:pt x="372" y="120"/>
                  </a:cubicBezTo>
                  <a:cubicBezTo>
                    <a:pt x="371" y="120"/>
                    <a:pt x="370" y="120"/>
                    <a:pt x="369" y="119"/>
                  </a:cubicBezTo>
                  <a:cubicBezTo>
                    <a:pt x="368" y="118"/>
                    <a:pt x="367" y="116"/>
                    <a:pt x="366" y="114"/>
                  </a:cubicBezTo>
                  <a:cubicBezTo>
                    <a:pt x="366" y="114"/>
                    <a:pt x="366" y="114"/>
                    <a:pt x="366" y="114"/>
                  </a:cubicBezTo>
                  <a:cubicBezTo>
                    <a:pt x="367" y="111"/>
                    <a:pt x="370" y="107"/>
                    <a:pt x="374" y="104"/>
                  </a:cubicBezTo>
                  <a:cubicBezTo>
                    <a:pt x="376" y="102"/>
                    <a:pt x="377" y="100"/>
                    <a:pt x="377" y="99"/>
                  </a:cubicBezTo>
                  <a:cubicBezTo>
                    <a:pt x="377" y="97"/>
                    <a:pt x="376" y="96"/>
                    <a:pt x="375" y="94"/>
                  </a:cubicBezTo>
                  <a:cubicBezTo>
                    <a:pt x="374" y="93"/>
                    <a:pt x="373" y="91"/>
                    <a:pt x="370" y="91"/>
                  </a:cubicBezTo>
                  <a:cubicBezTo>
                    <a:pt x="369" y="91"/>
                    <a:pt x="367" y="91"/>
                    <a:pt x="366" y="92"/>
                  </a:cubicBezTo>
                  <a:cubicBezTo>
                    <a:pt x="362" y="93"/>
                    <a:pt x="358" y="95"/>
                    <a:pt x="354" y="95"/>
                  </a:cubicBezTo>
                  <a:cubicBezTo>
                    <a:pt x="354" y="95"/>
                    <a:pt x="354" y="95"/>
                    <a:pt x="353" y="95"/>
                  </a:cubicBezTo>
                  <a:cubicBezTo>
                    <a:pt x="352" y="93"/>
                    <a:pt x="351" y="91"/>
                    <a:pt x="350" y="90"/>
                  </a:cubicBezTo>
                  <a:cubicBezTo>
                    <a:pt x="350" y="90"/>
                    <a:pt x="350" y="90"/>
                    <a:pt x="350" y="90"/>
                  </a:cubicBezTo>
                  <a:cubicBezTo>
                    <a:pt x="350" y="87"/>
                    <a:pt x="353" y="82"/>
                    <a:pt x="356" y="79"/>
                  </a:cubicBezTo>
                  <a:cubicBezTo>
                    <a:pt x="358" y="77"/>
                    <a:pt x="358" y="75"/>
                    <a:pt x="358" y="73"/>
                  </a:cubicBezTo>
                  <a:cubicBezTo>
                    <a:pt x="358" y="71"/>
                    <a:pt x="357" y="70"/>
                    <a:pt x="356" y="69"/>
                  </a:cubicBezTo>
                  <a:cubicBezTo>
                    <a:pt x="355" y="68"/>
                    <a:pt x="354" y="66"/>
                    <a:pt x="351" y="66"/>
                  </a:cubicBezTo>
                  <a:cubicBezTo>
                    <a:pt x="350" y="66"/>
                    <a:pt x="348" y="66"/>
                    <a:pt x="346" y="68"/>
                  </a:cubicBezTo>
                  <a:cubicBezTo>
                    <a:pt x="342" y="70"/>
                    <a:pt x="338" y="72"/>
                    <a:pt x="335" y="72"/>
                  </a:cubicBezTo>
                  <a:cubicBezTo>
                    <a:pt x="333" y="71"/>
                    <a:pt x="332" y="70"/>
                    <a:pt x="330" y="68"/>
                  </a:cubicBezTo>
                  <a:cubicBezTo>
                    <a:pt x="330" y="68"/>
                    <a:pt x="330" y="68"/>
                    <a:pt x="330" y="68"/>
                  </a:cubicBezTo>
                  <a:cubicBezTo>
                    <a:pt x="330" y="65"/>
                    <a:pt x="332" y="60"/>
                    <a:pt x="335" y="56"/>
                  </a:cubicBezTo>
                  <a:cubicBezTo>
                    <a:pt x="336" y="54"/>
                    <a:pt x="336" y="53"/>
                    <a:pt x="336" y="52"/>
                  </a:cubicBezTo>
                  <a:cubicBezTo>
                    <a:pt x="336" y="49"/>
                    <a:pt x="334" y="48"/>
                    <a:pt x="333" y="47"/>
                  </a:cubicBezTo>
                  <a:cubicBezTo>
                    <a:pt x="332" y="46"/>
                    <a:pt x="331" y="44"/>
                    <a:pt x="329" y="44"/>
                  </a:cubicBezTo>
                  <a:cubicBezTo>
                    <a:pt x="327" y="44"/>
                    <a:pt x="325" y="45"/>
                    <a:pt x="323" y="47"/>
                  </a:cubicBezTo>
                  <a:cubicBezTo>
                    <a:pt x="320" y="50"/>
                    <a:pt x="315" y="53"/>
                    <a:pt x="312" y="53"/>
                  </a:cubicBezTo>
                  <a:cubicBezTo>
                    <a:pt x="311" y="52"/>
                    <a:pt x="309" y="51"/>
                    <a:pt x="307" y="50"/>
                  </a:cubicBezTo>
                  <a:cubicBezTo>
                    <a:pt x="307" y="50"/>
                    <a:pt x="307" y="49"/>
                    <a:pt x="307" y="49"/>
                  </a:cubicBezTo>
                  <a:cubicBezTo>
                    <a:pt x="307" y="45"/>
                    <a:pt x="309" y="41"/>
                    <a:pt x="310" y="38"/>
                  </a:cubicBezTo>
                  <a:cubicBezTo>
                    <a:pt x="311" y="36"/>
                    <a:pt x="311" y="34"/>
                    <a:pt x="311" y="33"/>
                  </a:cubicBezTo>
                  <a:cubicBezTo>
                    <a:pt x="311" y="30"/>
                    <a:pt x="309" y="29"/>
                    <a:pt x="307" y="28"/>
                  </a:cubicBezTo>
                  <a:cubicBezTo>
                    <a:pt x="306" y="28"/>
                    <a:pt x="304" y="27"/>
                    <a:pt x="303" y="27"/>
                  </a:cubicBezTo>
                  <a:cubicBezTo>
                    <a:pt x="301" y="27"/>
                    <a:pt x="299" y="27"/>
                    <a:pt x="297" y="30"/>
                  </a:cubicBezTo>
                  <a:cubicBezTo>
                    <a:pt x="294" y="34"/>
                    <a:pt x="291" y="37"/>
                    <a:pt x="288" y="38"/>
                  </a:cubicBezTo>
                  <a:cubicBezTo>
                    <a:pt x="286" y="37"/>
                    <a:pt x="284" y="36"/>
                    <a:pt x="282" y="35"/>
                  </a:cubicBezTo>
                  <a:cubicBezTo>
                    <a:pt x="282" y="34"/>
                    <a:pt x="282" y="33"/>
                    <a:pt x="282" y="31"/>
                  </a:cubicBezTo>
                  <a:cubicBezTo>
                    <a:pt x="282" y="29"/>
                    <a:pt x="282" y="26"/>
                    <a:pt x="283" y="23"/>
                  </a:cubicBezTo>
                  <a:cubicBezTo>
                    <a:pt x="283" y="22"/>
                    <a:pt x="283" y="21"/>
                    <a:pt x="283" y="20"/>
                  </a:cubicBezTo>
                  <a:cubicBezTo>
                    <a:pt x="283" y="16"/>
                    <a:pt x="280" y="15"/>
                    <a:pt x="278" y="14"/>
                  </a:cubicBezTo>
                  <a:cubicBezTo>
                    <a:pt x="277" y="14"/>
                    <a:pt x="276" y="13"/>
                    <a:pt x="275" y="13"/>
                  </a:cubicBezTo>
                  <a:cubicBezTo>
                    <a:pt x="273" y="13"/>
                    <a:pt x="271" y="14"/>
                    <a:pt x="269" y="18"/>
                  </a:cubicBezTo>
                  <a:cubicBezTo>
                    <a:pt x="267" y="21"/>
                    <a:pt x="263" y="25"/>
                    <a:pt x="261" y="27"/>
                  </a:cubicBezTo>
                  <a:cubicBezTo>
                    <a:pt x="259" y="26"/>
                    <a:pt x="257" y="26"/>
                    <a:pt x="255" y="25"/>
                  </a:cubicBezTo>
                  <a:cubicBezTo>
                    <a:pt x="254" y="23"/>
                    <a:pt x="253" y="19"/>
                    <a:pt x="253" y="15"/>
                  </a:cubicBezTo>
                  <a:cubicBezTo>
                    <a:pt x="253" y="15"/>
                    <a:pt x="253" y="14"/>
                    <a:pt x="254" y="13"/>
                  </a:cubicBezTo>
                  <a:cubicBezTo>
                    <a:pt x="254" y="12"/>
                    <a:pt x="254" y="12"/>
                    <a:pt x="254" y="11"/>
                  </a:cubicBezTo>
                  <a:cubicBezTo>
                    <a:pt x="254" y="6"/>
                    <a:pt x="250" y="5"/>
                    <a:pt x="248" y="5"/>
                  </a:cubicBezTo>
                  <a:cubicBezTo>
                    <a:pt x="247" y="4"/>
                    <a:pt x="246" y="4"/>
                    <a:pt x="245" y="4"/>
                  </a:cubicBezTo>
                  <a:cubicBezTo>
                    <a:pt x="243" y="4"/>
                    <a:pt x="241" y="5"/>
                    <a:pt x="239" y="9"/>
                  </a:cubicBezTo>
                  <a:cubicBezTo>
                    <a:pt x="238" y="14"/>
                    <a:pt x="235" y="18"/>
                    <a:pt x="232" y="20"/>
                  </a:cubicBezTo>
                  <a:cubicBezTo>
                    <a:pt x="230" y="20"/>
                    <a:pt x="228" y="20"/>
                    <a:pt x="226" y="19"/>
                  </a:cubicBezTo>
                  <a:cubicBezTo>
                    <a:pt x="225" y="17"/>
                    <a:pt x="223" y="12"/>
                    <a:pt x="223" y="7"/>
                  </a:cubicBezTo>
                  <a:cubicBezTo>
                    <a:pt x="223" y="0"/>
                    <a:pt x="219" y="0"/>
                    <a:pt x="216" y="0"/>
                  </a:cubicBezTo>
                  <a:cubicBezTo>
                    <a:pt x="216" y="0"/>
                    <a:pt x="215" y="0"/>
                    <a:pt x="21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1463">
              <a:extLst>
                <a:ext uri="{FF2B5EF4-FFF2-40B4-BE49-F238E27FC236}">
                  <a16:creationId xmlns:a16="http://schemas.microsoft.com/office/drawing/2014/main" id="{50FDD67E-1717-41E4-AC1B-76C85516BB76}"/>
                </a:ext>
              </a:extLst>
            </p:cNvPr>
            <p:cNvSpPr>
              <a:spLocks noEditPoints="1"/>
            </p:cNvSpPr>
            <p:nvPr userDrawn="1"/>
          </p:nvSpPr>
          <p:spPr bwMode="auto">
            <a:xfrm>
              <a:off x="8552815" y="5190490"/>
              <a:ext cx="241300" cy="215900"/>
            </a:xfrm>
            <a:custGeom>
              <a:avLst/>
              <a:gdLst>
                <a:gd name="T0" fmla="*/ 59 w 119"/>
                <a:gd name="T1" fmla="*/ 81 h 107"/>
                <a:gd name="T2" fmla="*/ 38 w 119"/>
                <a:gd name="T3" fmla="*/ 71 h 107"/>
                <a:gd name="T4" fmla="*/ 42 w 119"/>
                <a:gd name="T5" fmla="*/ 32 h 107"/>
                <a:gd name="T6" fmla="*/ 59 w 119"/>
                <a:gd name="T7" fmla="*/ 26 h 107"/>
                <a:gd name="T8" fmla="*/ 81 w 119"/>
                <a:gd name="T9" fmla="*/ 36 h 107"/>
                <a:gd name="T10" fmla="*/ 77 w 119"/>
                <a:gd name="T11" fmla="*/ 75 h 107"/>
                <a:gd name="T12" fmla="*/ 59 w 119"/>
                <a:gd name="T13" fmla="*/ 81 h 107"/>
                <a:gd name="T14" fmla="*/ 59 w 119"/>
                <a:gd name="T15" fmla="*/ 0 h 107"/>
                <a:gd name="T16" fmla="*/ 26 w 119"/>
                <a:gd name="T17" fmla="*/ 12 h 107"/>
                <a:gd name="T18" fmla="*/ 18 w 119"/>
                <a:gd name="T19" fmla="*/ 87 h 107"/>
                <a:gd name="T20" fmla="*/ 59 w 119"/>
                <a:gd name="T21" fmla="*/ 107 h 107"/>
                <a:gd name="T22" fmla="*/ 93 w 119"/>
                <a:gd name="T23" fmla="*/ 95 h 107"/>
                <a:gd name="T24" fmla="*/ 101 w 119"/>
                <a:gd name="T25" fmla="*/ 20 h 107"/>
                <a:gd name="T26" fmla="*/ 59 w 119"/>
                <a:gd name="T2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7">
                  <a:moveTo>
                    <a:pt x="59" y="81"/>
                  </a:moveTo>
                  <a:cubicBezTo>
                    <a:pt x="51" y="81"/>
                    <a:pt x="43" y="78"/>
                    <a:pt x="38" y="71"/>
                  </a:cubicBezTo>
                  <a:cubicBezTo>
                    <a:pt x="28" y="59"/>
                    <a:pt x="30" y="41"/>
                    <a:pt x="42" y="32"/>
                  </a:cubicBezTo>
                  <a:cubicBezTo>
                    <a:pt x="47" y="28"/>
                    <a:pt x="53" y="26"/>
                    <a:pt x="59" y="26"/>
                  </a:cubicBezTo>
                  <a:cubicBezTo>
                    <a:pt x="67" y="26"/>
                    <a:pt x="76" y="29"/>
                    <a:pt x="81" y="36"/>
                  </a:cubicBezTo>
                  <a:cubicBezTo>
                    <a:pt x="91" y="48"/>
                    <a:pt x="89" y="65"/>
                    <a:pt x="77" y="75"/>
                  </a:cubicBezTo>
                  <a:cubicBezTo>
                    <a:pt x="72" y="79"/>
                    <a:pt x="66" y="81"/>
                    <a:pt x="59" y="81"/>
                  </a:cubicBezTo>
                  <a:moveTo>
                    <a:pt x="59" y="0"/>
                  </a:moveTo>
                  <a:cubicBezTo>
                    <a:pt x="48" y="0"/>
                    <a:pt x="36" y="4"/>
                    <a:pt x="26" y="12"/>
                  </a:cubicBezTo>
                  <a:cubicBezTo>
                    <a:pt x="3" y="31"/>
                    <a:pt x="0" y="64"/>
                    <a:pt x="18" y="87"/>
                  </a:cubicBezTo>
                  <a:cubicBezTo>
                    <a:pt x="29" y="100"/>
                    <a:pt x="44" y="107"/>
                    <a:pt x="59" y="107"/>
                  </a:cubicBezTo>
                  <a:cubicBezTo>
                    <a:pt x="71" y="107"/>
                    <a:pt x="83" y="103"/>
                    <a:pt x="93" y="95"/>
                  </a:cubicBezTo>
                  <a:cubicBezTo>
                    <a:pt x="116" y="76"/>
                    <a:pt x="119" y="43"/>
                    <a:pt x="101" y="20"/>
                  </a:cubicBezTo>
                  <a:cubicBezTo>
                    <a:pt x="90" y="7"/>
                    <a:pt x="75" y="0"/>
                    <a:pt x="5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1464">
              <a:extLst>
                <a:ext uri="{FF2B5EF4-FFF2-40B4-BE49-F238E27FC236}">
                  <a16:creationId xmlns:a16="http://schemas.microsoft.com/office/drawing/2014/main" id="{28EFF70B-0986-4E55-9F34-582A09851AB9}"/>
                </a:ext>
              </a:extLst>
            </p:cNvPr>
            <p:cNvSpPr>
              <a:spLocks noEditPoints="1"/>
            </p:cNvSpPr>
            <p:nvPr userDrawn="1"/>
          </p:nvSpPr>
          <p:spPr bwMode="auto">
            <a:xfrm>
              <a:off x="8506778" y="5134928"/>
              <a:ext cx="331788" cy="328613"/>
            </a:xfrm>
            <a:custGeom>
              <a:avLst/>
              <a:gdLst>
                <a:gd name="T0" fmla="*/ 41 w 164"/>
                <a:gd name="T1" fmla="*/ 115 h 163"/>
                <a:gd name="T2" fmla="*/ 82 w 164"/>
                <a:gd name="T3" fmla="*/ 28 h 163"/>
                <a:gd name="T4" fmla="*/ 116 w 164"/>
                <a:gd name="T5" fmla="*/ 123 h 163"/>
                <a:gd name="T6" fmla="*/ 79 w 164"/>
                <a:gd name="T7" fmla="*/ 0 h 163"/>
                <a:gd name="T8" fmla="*/ 73 w 164"/>
                <a:gd name="T9" fmla="*/ 6 h 163"/>
                <a:gd name="T10" fmla="*/ 60 w 164"/>
                <a:gd name="T11" fmla="*/ 8 h 163"/>
                <a:gd name="T12" fmla="*/ 53 w 164"/>
                <a:gd name="T13" fmla="*/ 5 h 163"/>
                <a:gd name="T14" fmla="*/ 49 w 164"/>
                <a:gd name="T15" fmla="*/ 24 h 163"/>
                <a:gd name="T16" fmla="*/ 35 w 164"/>
                <a:gd name="T17" fmla="*/ 16 h 163"/>
                <a:gd name="T18" fmla="*/ 30 w 164"/>
                <a:gd name="T19" fmla="*/ 26 h 163"/>
                <a:gd name="T20" fmla="*/ 33 w 164"/>
                <a:gd name="T21" fmla="*/ 38 h 163"/>
                <a:gd name="T22" fmla="*/ 32 w 164"/>
                <a:gd name="T23" fmla="*/ 38 h 163"/>
                <a:gd name="T24" fmla="*/ 20 w 164"/>
                <a:gd name="T25" fmla="*/ 37 h 163"/>
                <a:gd name="T26" fmla="*/ 12 w 164"/>
                <a:gd name="T27" fmla="*/ 39 h 163"/>
                <a:gd name="T28" fmla="*/ 21 w 164"/>
                <a:gd name="T29" fmla="*/ 56 h 163"/>
                <a:gd name="T30" fmla="*/ 9 w 164"/>
                <a:gd name="T31" fmla="*/ 59 h 163"/>
                <a:gd name="T32" fmla="*/ 3 w 164"/>
                <a:gd name="T33" fmla="*/ 63 h 163"/>
                <a:gd name="T34" fmla="*/ 16 w 164"/>
                <a:gd name="T35" fmla="*/ 76 h 163"/>
                <a:gd name="T36" fmla="*/ 1 w 164"/>
                <a:gd name="T37" fmla="*/ 88 h 163"/>
                <a:gd name="T38" fmla="*/ 18 w 164"/>
                <a:gd name="T39" fmla="*/ 96 h 163"/>
                <a:gd name="T40" fmla="*/ 7 w 164"/>
                <a:gd name="T41" fmla="*/ 113 h 163"/>
                <a:gd name="T42" fmla="*/ 14 w 164"/>
                <a:gd name="T43" fmla="*/ 116 h 163"/>
                <a:gd name="T44" fmla="*/ 25 w 164"/>
                <a:gd name="T45" fmla="*/ 115 h 163"/>
                <a:gd name="T46" fmla="*/ 20 w 164"/>
                <a:gd name="T47" fmla="*/ 134 h 163"/>
                <a:gd name="T48" fmla="*/ 28 w 164"/>
                <a:gd name="T49" fmla="*/ 135 h 163"/>
                <a:gd name="T50" fmla="*/ 39 w 164"/>
                <a:gd name="T51" fmla="*/ 131 h 163"/>
                <a:gd name="T52" fmla="*/ 39 w 164"/>
                <a:gd name="T53" fmla="*/ 151 h 163"/>
                <a:gd name="T54" fmla="*/ 47 w 164"/>
                <a:gd name="T55" fmla="*/ 149 h 163"/>
                <a:gd name="T56" fmla="*/ 58 w 164"/>
                <a:gd name="T57" fmla="*/ 154 h 163"/>
                <a:gd name="T58" fmla="*/ 65 w 164"/>
                <a:gd name="T59" fmla="*/ 161 h 163"/>
                <a:gd name="T60" fmla="*/ 76 w 164"/>
                <a:gd name="T61" fmla="*/ 148 h 163"/>
                <a:gd name="T62" fmla="*/ 86 w 164"/>
                <a:gd name="T63" fmla="*/ 163 h 163"/>
                <a:gd name="T64" fmla="*/ 93 w 164"/>
                <a:gd name="T65" fmla="*/ 157 h 163"/>
                <a:gd name="T66" fmla="*/ 105 w 164"/>
                <a:gd name="T67" fmla="*/ 154 h 163"/>
                <a:gd name="T68" fmla="*/ 112 w 164"/>
                <a:gd name="T69" fmla="*/ 157 h 163"/>
                <a:gd name="T70" fmla="*/ 115 w 164"/>
                <a:gd name="T71" fmla="*/ 139 h 163"/>
                <a:gd name="T72" fmla="*/ 126 w 164"/>
                <a:gd name="T73" fmla="*/ 144 h 163"/>
                <a:gd name="T74" fmla="*/ 134 w 164"/>
                <a:gd name="T75" fmla="*/ 145 h 163"/>
                <a:gd name="T76" fmla="*/ 132 w 164"/>
                <a:gd name="T77" fmla="*/ 125 h 163"/>
                <a:gd name="T78" fmla="*/ 144 w 164"/>
                <a:gd name="T79" fmla="*/ 126 h 163"/>
                <a:gd name="T80" fmla="*/ 152 w 164"/>
                <a:gd name="T81" fmla="*/ 124 h 163"/>
                <a:gd name="T82" fmla="*/ 144 w 164"/>
                <a:gd name="T83" fmla="*/ 107 h 163"/>
                <a:gd name="T84" fmla="*/ 155 w 164"/>
                <a:gd name="T85" fmla="*/ 105 h 163"/>
                <a:gd name="T86" fmla="*/ 162 w 164"/>
                <a:gd name="T87" fmla="*/ 101 h 163"/>
                <a:gd name="T88" fmla="*/ 149 w 164"/>
                <a:gd name="T89" fmla="*/ 86 h 163"/>
                <a:gd name="T90" fmla="*/ 164 w 164"/>
                <a:gd name="T91" fmla="*/ 76 h 163"/>
                <a:gd name="T92" fmla="*/ 147 w 164"/>
                <a:gd name="T93" fmla="*/ 66 h 163"/>
                <a:gd name="T94" fmla="*/ 158 w 164"/>
                <a:gd name="T95" fmla="*/ 51 h 163"/>
                <a:gd name="T96" fmla="*/ 151 w 164"/>
                <a:gd name="T97" fmla="*/ 48 h 163"/>
                <a:gd name="T98" fmla="*/ 139 w 164"/>
                <a:gd name="T99" fmla="*/ 47 h 163"/>
                <a:gd name="T100" fmla="*/ 145 w 164"/>
                <a:gd name="T101" fmla="*/ 29 h 163"/>
                <a:gd name="T102" fmla="*/ 137 w 164"/>
                <a:gd name="T103" fmla="*/ 28 h 163"/>
                <a:gd name="T104" fmla="*/ 126 w 164"/>
                <a:gd name="T105" fmla="*/ 31 h 163"/>
                <a:gd name="T106" fmla="*/ 126 w 164"/>
                <a:gd name="T107" fmla="*/ 13 h 163"/>
                <a:gd name="T108" fmla="*/ 119 w 164"/>
                <a:gd name="T109" fmla="*/ 14 h 163"/>
                <a:gd name="T110" fmla="*/ 108 w 164"/>
                <a:gd name="T111" fmla="*/ 20 h 163"/>
                <a:gd name="T112" fmla="*/ 103 w 164"/>
                <a:gd name="T113" fmla="*/ 3 h 163"/>
                <a:gd name="T114" fmla="*/ 96 w 164"/>
                <a:gd name="T115" fmla="*/ 6 h 163"/>
                <a:gd name="T116" fmla="*/ 84 w 164"/>
                <a:gd name="T117" fmla="*/ 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3">
                  <a:moveTo>
                    <a:pt x="82" y="135"/>
                  </a:moveTo>
                  <a:cubicBezTo>
                    <a:pt x="67" y="135"/>
                    <a:pt x="52" y="128"/>
                    <a:pt x="41" y="115"/>
                  </a:cubicBezTo>
                  <a:cubicBezTo>
                    <a:pt x="23" y="92"/>
                    <a:pt x="26" y="59"/>
                    <a:pt x="49" y="40"/>
                  </a:cubicBezTo>
                  <a:cubicBezTo>
                    <a:pt x="59" y="32"/>
                    <a:pt x="71" y="28"/>
                    <a:pt x="82" y="28"/>
                  </a:cubicBezTo>
                  <a:cubicBezTo>
                    <a:pt x="98" y="28"/>
                    <a:pt x="113" y="35"/>
                    <a:pt x="124" y="48"/>
                  </a:cubicBezTo>
                  <a:cubicBezTo>
                    <a:pt x="142" y="71"/>
                    <a:pt x="139" y="104"/>
                    <a:pt x="116" y="123"/>
                  </a:cubicBezTo>
                  <a:cubicBezTo>
                    <a:pt x="106" y="131"/>
                    <a:pt x="94" y="135"/>
                    <a:pt x="82" y="135"/>
                  </a:cubicBezTo>
                  <a:moveTo>
                    <a:pt x="79" y="0"/>
                  </a:moveTo>
                  <a:cubicBezTo>
                    <a:pt x="79" y="0"/>
                    <a:pt x="78" y="0"/>
                    <a:pt x="78" y="0"/>
                  </a:cubicBezTo>
                  <a:cubicBezTo>
                    <a:pt x="76" y="0"/>
                    <a:pt x="73" y="0"/>
                    <a:pt x="73" y="6"/>
                  </a:cubicBezTo>
                  <a:cubicBezTo>
                    <a:pt x="72" y="10"/>
                    <a:pt x="70" y="15"/>
                    <a:pt x="68" y="17"/>
                  </a:cubicBezTo>
                  <a:cubicBezTo>
                    <a:pt x="66" y="16"/>
                    <a:pt x="62" y="12"/>
                    <a:pt x="60" y="8"/>
                  </a:cubicBezTo>
                  <a:cubicBezTo>
                    <a:pt x="59" y="5"/>
                    <a:pt x="57" y="5"/>
                    <a:pt x="56" y="5"/>
                  </a:cubicBezTo>
                  <a:cubicBezTo>
                    <a:pt x="55" y="5"/>
                    <a:pt x="54" y="5"/>
                    <a:pt x="53" y="5"/>
                  </a:cubicBezTo>
                  <a:cubicBezTo>
                    <a:pt x="51" y="6"/>
                    <a:pt x="48" y="7"/>
                    <a:pt x="50" y="12"/>
                  </a:cubicBezTo>
                  <a:cubicBezTo>
                    <a:pt x="51" y="17"/>
                    <a:pt x="50" y="22"/>
                    <a:pt x="49" y="24"/>
                  </a:cubicBezTo>
                  <a:cubicBezTo>
                    <a:pt x="46" y="24"/>
                    <a:pt x="42" y="21"/>
                    <a:pt x="39" y="19"/>
                  </a:cubicBezTo>
                  <a:cubicBezTo>
                    <a:pt x="37" y="17"/>
                    <a:pt x="36" y="16"/>
                    <a:pt x="35" y="16"/>
                  </a:cubicBezTo>
                  <a:cubicBezTo>
                    <a:pt x="33" y="16"/>
                    <a:pt x="32" y="17"/>
                    <a:pt x="31" y="18"/>
                  </a:cubicBezTo>
                  <a:cubicBezTo>
                    <a:pt x="30" y="19"/>
                    <a:pt x="27" y="21"/>
                    <a:pt x="30" y="26"/>
                  </a:cubicBezTo>
                  <a:cubicBezTo>
                    <a:pt x="33" y="30"/>
                    <a:pt x="34" y="36"/>
                    <a:pt x="33" y="38"/>
                  </a:cubicBezTo>
                  <a:cubicBezTo>
                    <a:pt x="33" y="38"/>
                    <a:pt x="33" y="38"/>
                    <a:pt x="33" y="38"/>
                  </a:cubicBezTo>
                  <a:cubicBezTo>
                    <a:pt x="32" y="38"/>
                    <a:pt x="32" y="38"/>
                    <a:pt x="32" y="38"/>
                  </a:cubicBezTo>
                  <a:cubicBezTo>
                    <a:pt x="32" y="38"/>
                    <a:pt x="32" y="38"/>
                    <a:pt x="32" y="38"/>
                  </a:cubicBezTo>
                  <a:cubicBezTo>
                    <a:pt x="32" y="39"/>
                    <a:pt x="30" y="39"/>
                    <a:pt x="29" y="39"/>
                  </a:cubicBezTo>
                  <a:cubicBezTo>
                    <a:pt x="26" y="39"/>
                    <a:pt x="23" y="38"/>
                    <a:pt x="20" y="37"/>
                  </a:cubicBezTo>
                  <a:cubicBezTo>
                    <a:pt x="18" y="37"/>
                    <a:pt x="17" y="36"/>
                    <a:pt x="16" y="36"/>
                  </a:cubicBezTo>
                  <a:cubicBezTo>
                    <a:pt x="14" y="36"/>
                    <a:pt x="13" y="38"/>
                    <a:pt x="12" y="39"/>
                  </a:cubicBezTo>
                  <a:cubicBezTo>
                    <a:pt x="11" y="41"/>
                    <a:pt x="10" y="43"/>
                    <a:pt x="14" y="47"/>
                  </a:cubicBezTo>
                  <a:cubicBezTo>
                    <a:pt x="17" y="50"/>
                    <a:pt x="21" y="53"/>
                    <a:pt x="21" y="56"/>
                  </a:cubicBezTo>
                  <a:cubicBezTo>
                    <a:pt x="20" y="58"/>
                    <a:pt x="15" y="59"/>
                    <a:pt x="11" y="59"/>
                  </a:cubicBezTo>
                  <a:cubicBezTo>
                    <a:pt x="10" y="59"/>
                    <a:pt x="10" y="59"/>
                    <a:pt x="9" y="59"/>
                  </a:cubicBezTo>
                  <a:cubicBezTo>
                    <a:pt x="9" y="58"/>
                    <a:pt x="8" y="58"/>
                    <a:pt x="8" y="58"/>
                  </a:cubicBezTo>
                  <a:cubicBezTo>
                    <a:pt x="4" y="58"/>
                    <a:pt x="3" y="61"/>
                    <a:pt x="3" y="63"/>
                  </a:cubicBezTo>
                  <a:cubicBezTo>
                    <a:pt x="2" y="65"/>
                    <a:pt x="2" y="68"/>
                    <a:pt x="7" y="69"/>
                  </a:cubicBezTo>
                  <a:cubicBezTo>
                    <a:pt x="11" y="71"/>
                    <a:pt x="15" y="74"/>
                    <a:pt x="16" y="76"/>
                  </a:cubicBezTo>
                  <a:cubicBezTo>
                    <a:pt x="15" y="78"/>
                    <a:pt x="10" y="81"/>
                    <a:pt x="6" y="82"/>
                  </a:cubicBezTo>
                  <a:cubicBezTo>
                    <a:pt x="0" y="83"/>
                    <a:pt x="1" y="86"/>
                    <a:pt x="1" y="88"/>
                  </a:cubicBezTo>
                  <a:cubicBezTo>
                    <a:pt x="1" y="90"/>
                    <a:pt x="1" y="93"/>
                    <a:pt x="7" y="93"/>
                  </a:cubicBezTo>
                  <a:cubicBezTo>
                    <a:pt x="11" y="93"/>
                    <a:pt x="16" y="95"/>
                    <a:pt x="18" y="96"/>
                  </a:cubicBezTo>
                  <a:cubicBezTo>
                    <a:pt x="17" y="99"/>
                    <a:pt x="14" y="103"/>
                    <a:pt x="10" y="105"/>
                  </a:cubicBezTo>
                  <a:cubicBezTo>
                    <a:pt x="5" y="108"/>
                    <a:pt x="6" y="111"/>
                    <a:pt x="7" y="113"/>
                  </a:cubicBezTo>
                  <a:cubicBezTo>
                    <a:pt x="8" y="114"/>
                    <a:pt x="8" y="116"/>
                    <a:pt x="11" y="116"/>
                  </a:cubicBezTo>
                  <a:cubicBezTo>
                    <a:pt x="12" y="116"/>
                    <a:pt x="13" y="116"/>
                    <a:pt x="14" y="116"/>
                  </a:cubicBezTo>
                  <a:cubicBezTo>
                    <a:pt x="16" y="115"/>
                    <a:pt x="19" y="115"/>
                    <a:pt x="21" y="115"/>
                  </a:cubicBezTo>
                  <a:cubicBezTo>
                    <a:pt x="23" y="115"/>
                    <a:pt x="24" y="115"/>
                    <a:pt x="25" y="115"/>
                  </a:cubicBezTo>
                  <a:cubicBezTo>
                    <a:pt x="26" y="118"/>
                    <a:pt x="23" y="123"/>
                    <a:pt x="21" y="126"/>
                  </a:cubicBezTo>
                  <a:cubicBezTo>
                    <a:pt x="17" y="131"/>
                    <a:pt x="19" y="132"/>
                    <a:pt x="20" y="134"/>
                  </a:cubicBezTo>
                  <a:cubicBezTo>
                    <a:pt x="21" y="135"/>
                    <a:pt x="22" y="136"/>
                    <a:pt x="24" y="136"/>
                  </a:cubicBezTo>
                  <a:cubicBezTo>
                    <a:pt x="25" y="136"/>
                    <a:pt x="26" y="136"/>
                    <a:pt x="28" y="135"/>
                  </a:cubicBezTo>
                  <a:cubicBezTo>
                    <a:pt x="31" y="133"/>
                    <a:pt x="35" y="131"/>
                    <a:pt x="38" y="131"/>
                  </a:cubicBezTo>
                  <a:cubicBezTo>
                    <a:pt x="38" y="131"/>
                    <a:pt x="38" y="131"/>
                    <a:pt x="39" y="131"/>
                  </a:cubicBezTo>
                  <a:cubicBezTo>
                    <a:pt x="40" y="133"/>
                    <a:pt x="39" y="139"/>
                    <a:pt x="37" y="143"/>
                  </a:cubicBezTo>
                  <a:cubicBezTo>
                    <a:pt x="35" y="149"/>
                    <a:pt x="37" y="150"/>
                    <a:pt x="39" y="151"/>
                  </a:cubicBezTo>
                  <a:cubicBezTo>
                    <a:pt x="40" y="151"/>
                    <a:pt x="41" y="152"/>
                    <a:pt x="42" y="152"/>
                  </a:cubicBezTo>
                  <a:cubicBezTo>
                    <a:pt x="44" y="152"/>
                    <a:pt x="45" y="151"/>
                    <a:pt x="47" y="149"/>
                  </a:cubicBezTo>
                  <a:cubicBezTo>
                    <a:pt x="49" y="146"/>
                    <a:pt x="53" y="143"/>
                    <a:pt x="56" y="142"/>
                  </a:cubicBezTo>
                  <a:cubicBezTo>
                    <a:pt x="58" y="144"/>
                    <a:pt x="59" y="149"/>
                    <a:pt x="58" y="154"/>
                  </a:cubicBezTo>
                  <a:cubicBezTo>
                    <a:pt x="58" y="160"/>
                    <a:pt x="60" y="160"/>
                    <a:pt x="62" y="161"/>
                  </a:cubicBezTo>
                  <a:cubicBezTo>
                    <a:pt x="63" y="161"/>
                    <a:pt x="64" y="161"/>
                    <a:pt x="65" y="161"/>
                  </a:cubicBezTo>
                  <a:cubicBezTo>
                    <a:pt x="66" y="161"/>
                    <a:pt x="68" y="160"/>
                    <a:pt x="69" y="157"/>
                  </a:cubicBezTo>
                  <a:cubicBezTo>
                    <a:pt x="71" y="153"/>
                    <a:pt x="74" y="149"/>
                    <a:pt x="76" y="148"/>
                  </a:cubicBezTo>
                  <a:cubicBezTo>
                    <a:pt x="78" y="149"/>
                    <a:pt x="81" y="154"/>
                    <a:pt x="82" y="158"/>
                  </a:cubicBezTo>
                  <a:cubicBezTo>
                    <a:pt x="83" y="162"/>
                    <a:pt x="84" y="163"/>
                    <a:pt x="86" y="163"/>
                  </a:cubicBezTo>
                  <a:cubicBezTo>
                    <a:pt x="87" y="163"/>
                    <a:pt x="87" y="163"/>
                    <a:pt x="88" y="163"/>
                  </a:cubicBezTo>
                  <a:cubicBezTo>
                    <a:pt x="90" y="163"/>
                    <a:pt x="93" y="163"/>
                    <a:pt x="93" y="157"/>
                  </a:cubicBezTo>
                  <a:cubicBezTo>
                    <a:pt x="93" y="153"/>
                    <a:pt x="94" y="148"/>
                    <a:pt x="96" y="146"/>
                  </a:cubicBezTo>
                  <a:cubicBezTo>
                    <a:pt x="99" y="147"/>
                    <a:pt x="103" y="151"/>
                    <a:pt x="105" y="154"/>
                  </a:cubicBezTo>
                  <a:cubicBezTo>
                    <a:pt x="107" y="157"/>
                    <a:pt x="108" y="158"/>
                    <a:pt x="109" y="158"/>
                  </a:cubicBezTo>
                  <a:cubicBezTo>
                    <a:pt x="110" y="158"/>
                    <a:pt x="111" y="158"/>
                    <a:pt x="112" y="157"/>
                  </a:cubicBezTo>
                  <a:cubicBezTo>
                    <a:pt x="114" y="157"/>
                    <a:pt x="117" y="156"/>
                    <a:pt x="115" y="150"/>
                  </a:cubicBezTo>
                  <a:cubicBezTo>
                    <a:pt x="114" y="146"/>
                    <a:pt x="114" y="141"/>
                    <a:pt x="115" y="139"/>
                  </a:cubicBezTo>
                  <a:cubicBezTo>
                    <a:pt x="116" y="139"/>
                    <a:pt x="116" y="139"/>
                    <a:pt x="116" y="139"/>
                  </a:cubicBezTo>
                  <a:cubicBezTo>
                    <a:pt x="119" y="139"/>
                    <a:pt x="123" y="141"/>
                    <a:pt x="126" y="144"/>
                  </a:cubicBezTo>
                  <a:cubicBezTo>
                    <a:pt x="128" y="146"/>
                    <a:pt x="130" y="146"/>
                    <a:pt x="131" y="146"/>
                  </a:cubicBezTo>
                  <a:cubicBezTo>
                    <a:pt x="132" y="146"/>
                    <a:pt x="133" y="145"/>
                    <a:pt x="134" y="145"/>
                  </a:cubicBezTo>
                  <a:cubicBezTo>
                    <a:pt x="136" y="143"/>
                    <a:pt x="138" y="142"/>
                    <a:pt x="135" y="137"/>
                  </a:cubicBezTo>
                  <a:cubicBezTo>
                    <a:pt x="132" y="133"/>
                    <a:pt x="131" y="127"/>
                    <a:pt x="132" y="125"/>
                  </a:cubicBezTo>
                  <a:cubicBezTo>
                    <a:pt x="132" y="124"/>
                    <a:pt x="134" y="124"/>
                    <a:pt x="135" y="124"/>
                  </a:cubicBezTo>
                  <a:cubicBezTo>
                    <a:pt x="138" y="124"/>
                    <a:pt x="141" y="125"/>
                    <a:pt x="144" y="126"/>
                  </a:cubicBezTo>
                  <a:cubicBezTo>
                    <a:pt x="146" y="127"/>
                    <a:pt x="147" y="127"/>
                    <a:pt x="148" y="127"/>
                  </a:cubicBezTo>
                  <a:cubicBezTo>
                    <a:pt x="150" y="127"/>
                    <a:pt x="151" y="125"/>
                    <a:pt x="152" y="124"/>
                  </a:cubicBezTo>
                  <a:cubicBezTo>
                    <a:pt x="153" y="122"/>
                    <a:pt x="155" y="120"/>
                    <a:pt x="150" y="117"/>
                  </a:cubicBezTo>
                  <a:cubicBezTo>
                    <a:pt x="147" y="114"/>
                    <a:pt x="144" y="109"/>
                    <a:pt x="144" y="107"/>
                  </a:cubicBezTo>
                  <a:cubicBezTo>
                    <a:pt x="146" y="105"/>
                    <a:pt x="149" y="105"/>
                    <a:pt x="152" y="105"/>
                  </a:cubicBezTo>
                  <a:cubicBezTo>
                    <a:pt x="153" y="105"/>
                    <a:pt x="154" y="105"/>
                    <a:pt x="155" y="105"/>
                  </a:cubicBezTo>
                  <a:cubicBezTo>
                    <a:pt x="156" y="105"/>
                    <a:pt x="156" y="105"/>
                    <a:pt x="157" y="105"/>
                  </a:cubicBezTo>
                  <a:cubicBezTo>
                    <a:pt x="161" y="105"/>
                    <a:pt x="161" y="103"/>
                    <a:pt x="162" y="101"/>
                  </a:cubicBezTo>
                  <a:cubicBezTo>
                    <a:pt x="162" y="99"/>
                    <a:pt x="163" y="96"/>
                    <a:pt x="158" y="94"/>
                  </a:cubicBezTo>
                  <a:cubicBezTo>
                    <a:pt x="154" y="92"/>
                    <a:pt x="149" y="89"/>
                    <a:pt x="149" y="86"/>
                  </a:cubicBezTo>
                  <a:cubicBezTo>
                    <a:pt x="150" y="84"/>
                    <a:pt x="155" y="82"/>
                    <a:pt x="159" y="82"/>
                  </a:cubicBezTo>
                  <a:cubicBezTo>
                    <a:pt x="164" y="81"/>
                    <a:pt x="164" y="78"/>
                    <a:pt x="164" y="76"/>
                  </a:cubicBezTo>
                  <a:cubicBezTo>
                    <a:pt x="164" y="73"/>
                    <a:pt x="164" y="71"/>
                    <a:pt x="158" y="70"/>
                  </a:cubicBezTo>
                  <a:cubicBezTo>
                    <a:pt x="153" y="70"/>
                    <a:pt x="148" y="68"/>
                    <a:pt x="147" y="66"/>
                  </a:cubicBezTo>
                  <a:cubicBezTo>
                    <a:pt x="148" y="64"/>
                    <a:pt x="151" y="60"/>
                    <a:pt x="155" y="58"/>
                  </a:cubicBezTo>
                  <a:cubicBezTo>
                    <a:pt x="160" y="55"/>
                    <a:pt x="159" y="53"/>
                    <a:pt x="158" y="51"/>
                  </a:cubicBezTo>
                  <a:cubicBezTo>
                    <a:pt x="157" y="49"/>
                    <a:pt x="157" y="47"/>
                    <a:pt x="154" y="47"/>
                  </a:cubicBezTo>
                  <a:cubicBezTo>
                    <a:pt x="153" y="47"/>
                    <a:pt x="152" y="47"/>
                    <a:pt x="151" y="48"/>
                  </a:cubicBezTo>
                  <a:cubicBezTo>
                    <a:pt x="149" y="48"/>
                    <a:pt x="147" y="48"/>
                    <a:pt x="145" y="48"/>
                  </a:cubicBezTo>
                  <a:cubicBezTo>
                    <a:pt x="143" y="48"/>
                    <a:pt x="140" y="48"/>
                    <a:pt x="139" y="47"/>
                  </a:cubicBezTo>
                  <a:cubicBezTo>
                    <a:pt x="139" y="44"/>
                    <a:pt x="142" y="40"/>
                    <a:pt x="144" y="37"/>
                  </a:cubicBezTo>
                  <a:cubicBezTo>
                    <a:pt x="148" y="33"/>
                    <a:pt x="147" y="31"/>
                    <a:pt x="145" y="29"/>
                  </a:cubicBezTo>
                  <a:cubicBezTo>
                    <a:pt x="144" y="28"/>
                    <a:pt x="143" y="27"/>
                    <a:pt x="142" y="27"/>
                  </a:cubicBezTo>
                  <a:cubicBezTo>
                    <a:pt x="140" y="27"/>
                    <a:pt x="139" y="27"/>
                    <a:pt x="137" y="28"/>
                  </a:cubicBezTo>
                  <a:cubicBezTo>
                    <a:pt x="134" y="30"/>
                    <a:pt x="130" y="32"/>
                    <a:pt x="128" y="32"/>
                  </a:cubicBezTo>
                  <a:cubicBezTo>
                    <a:pt x="127" y="32"/>
                    <a:pt x="126" y="31"/>
                    <a:pt x="126" y="31"/>
                  </a:cubicBezTo>
                  <a:cubicBezTo>
                    <a:pt x="125" y="29"/>
                    <a:pt x="126" y="24"/>
                    <a:pt x="128" y="20"/>
                  </a:cubicBezTo>
                  <a:cubicBezTo>
                    <a:pt x="130" y="15"/>
                    <a:pt x="128" y="14"/>
                    <a:pt x="126" y="13"/>
                  </a:cubicBezTo>
                  <a:cubicBezTo>
                    <a:pt x="125" y="12"/>
                    <a:pt x="124" y="11"/>
                    <a:pt x="123" y="11"/>
                  </a:cubicBezTo>
                  <a:cubicBezTo>
                    <a:pt x="122" y="11"/>
                    <a:pt x="120" y="12"/>
                    <a:pt x="119" y="14"/>
                  </a:cubicBezTo>
                  <a:cubicBezTo>
                    <a:pt x="116" y="17"/>
                    <a:pt x="111" y="20"/>
                    <a:pt x="109" y="20"/>
                  </a:cubicBezTo>
                  <a:cubicBezTo>
                    <a:pt x="109" y="20"/>
                    <a:pt x="108" y="20"/>
                    <a:pt x="108" y="20"/>
                  </a:cubicBezTo>
                  <a:cubicBezTo>
                    <a:pt x="107" y="18"/>
                    <a:pt x="107" y="13"/>
                    <a:pt x="107" y="9"/>
                  </a:cubicBezTo>
                  <a:cubicBezTo>
                    <a:pt x="108" y="3"/>
                    <a:pt x="105" y="3"/>
                    <a:pt x="103" y="3"/>
                  </a:cubicBezTo>
                  <a:cubicBezTo>
                    <a:pt x="102" y="2"/>
                    <a:pt x="101" y="2"/>
                    <a:pt x="101" y="2"/>
                  </a:cubicBezTo>
                  <a:cubicBezTo>
                    <a:pt x="99" y="2"/>
                    <a:pt x="98" y="3"/>
                    <a:pt x="96" y="6"/>
                  </a:cubicBezTo>
                  <a:cubicBezTo>
                    <a:pt x="94" y="10"/>
                    <a:pt x="91" y="15"/>
                    <a:pt x="88" y="15"/>
                  </a:cubicBezTo>
                  <a:cubicBezTo>
                    <a:pt x="86" y="14"/>
                    <a:pt x="85" y="9"/>
                    <a:pt x="84" y="5"/>
                  </a:cubicBezTo>
                  <a:cubicBezTo>
                    <a:pt x="83" y="1"/>
                    <a:pt x="81" y="0"/>
                    <a:pt x="7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6" name="Freeform 21465">
              <a:extLst>
                <a:ext uri="{FF2B5EF4-FFF2-40B4-BE49-F238E27FC236}">
                  <a16:creationId xmlns:a16="http://schemas.microsoft.com/office/drawing/2014/main" id="{3F1AB67A-E663-4735-9611-8E7F315A3FDE}"/>
                </a:ext>
              </a:extLst>
            </p:cNvPr>
            <p:cNvSpPr>
              <a:spLocks noEditPoints="1"/>
            </p:cNvSpPr>
            <p:nvPr userDrawn="1"/>
          </p:nvSpPr>
          <p:spPr bwMode="auto">
            <a:xfrm>
              <a:off x="8609965" y="5242878"/>
              <a:ext cx="127000" cy="111125"/>
            </a:xfrm>
            <a:custGeom>
              <a:avLst/>
              <a:gdLst>
                <a:gd name="T0" fmla="*/ 31 w 63"/>
                <a:gd name="T1" fmla="*/ 45 h 55"/>
                <a:gd name="T2" fmla="*/ 18 w 63"/>
                <a:gd name="T3" fmla="*/ 38 h 55"/>
                <a:gd name="T4" fmla="*/ 20 w 63"/>
                <a:gd name="T5" fmla="*/ 14 h 55"/>
                <a:gd name="T6" fmla="*/ 31 w 63"/>
                <a:gd name="T7" fmla="*/ 10 h 55"/>
                <a:gd name="T8" fmla="*/ 45 w 63"/>
                <a:gd name="T9" fmla="*/ 17 h 55"/>
                <a:gd name="T10" fmla="*/ 42 w 63"/>
                <a:gd name="T11" fmla="*/ 41 h 55"/>
                <a:gd name="T12" fmla="*/ 31 w 63"/>
                <a:gd name="T13" fmla="*/ 45 h 55"/>
                <a:gd name="T14" fmla="*/ 31 w 63"/>
                <a:gd name="T15" fmla="*/ 0 h 55"/>
                <a:gd name="T16" fmla="*/ 14 w 63"/>
                <a:gd name="T17" fmla="*/ 6 h 55"/>
                <a:gd name="T18" fmla="*/ 10 w 63"/>
                <a:gd name="T19" fmla="*/ 45 h 55"/>
                <a:gd name="T20" fmla="*/ 31 w 63"/>
                <a:gd name="T21" fmla="*/ 55 h 55"/>
                <a:gd name="T22" fmla="*/ 49 w 63"/>
                <a:gd name="T23" fmla="*/ 49 h 55"/>
                <a:gd name="T24" fmla="*/ 53 w 63"/>
                <a:gd name="T25" fmla="*/ 10 h 55"/>
                <a:gd name="T26" fmla="*/ 31 w 63"/>
                <a:gd name="T2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5">
                  <a:moveTo>
                    <a:pt x="31" y="45"/>
                  </a:moveTo>
                  <a:cubicBezTo>
                    <a:pt x="26" y="45"/>
                    <a:pt x="21" y="43"/>
                    <a:pt x="18" y="38"/>
                  </a:cubicBezTo>
                  <a:cubicBezTo>
                    <a:pt x="12" y="31"/>
                    <a:pt x="13" y="20"/>
                    <a:pt x="20" y="14"/>
                  </a:cubicBezTo>
                  <a:cubicBezTo>
                    <a:pt x="24" y="11"/>
                    <a:pt x="28" y="10"/>
                    <a:pt x="31" y="10"/>
                  </a:cubicBezTo>
                  <a:cubicBezTo>
                    <a:pt x="36" y="10"/>
                    <a:pt x="41" y="12"/>
                    <a:pt x="45" y="17"/>
                  </a:cubicBezTo>
                  <a:cubicBezTo>
                    <a:pt x="51" y="24"/>
                    <a:pt x="50" y="35"/>
                    <a:pt x="42" y="41"/>
                  </a:cubicBezTo>
                  <a:cubicBezTo>
                    <a:pt x="39" y="44"/>
                    <a:pt x="35" y="45"/>
                    <a:pt x="31" y="45"/>
                  </a:cubicBezTo>
                  <a:moveTo>
                    <a:pt x="31" y="0"/>
                  </a:moveTo>
                  <a:cubicBezTo>
                    <a:pt x="25" y="0"/>
                    <a:pt x="19" y="2"/>
                    <a:pt x="14" y="6"/>
                  </a:cubicBezTo>
                  <a:cubicBezTo>
                    <a:pt x="2" y="15"/>
                    <a:pt x="0" y="33"/>
                    <a:pt x="10" y="45"/>
                  </a:cubicBezTo>
                  <a:cubicBezTo>
                    <a:pt x="15" y="52"/>
                    <a:pt x="23" y="55"/>
                    <a:pt x="31" y="55"/>
                  </a:cubicBezTo>
                  <a:cubicBezTo>
                    <a:pt x="38" y="55"/>
                    <a:pt x="44" y="53"/>
                    <a:pt x="49" y="49"/>
                  </a:cubicBezTo>
                  <a:cubicBezTo>
                    <a:pt x="61" y="39"/>
                    <a:pt x="63" y="22"/>
                    <a:pt x="53" y="10"/>
                  </a:cubicBezTo>
                  <a:cubicBezTo>
                    <a:pt x="48" y="3"/>
                    <a:pt x="39" y="0"/>
                    <a:pt x="3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7" name="Freeform 21466">
              <a:extLst>
                <a:ext uri="{FF2B5EF4-FFF2-40B4-BE49-F238E27FC236}">
                  <a16:creationId xmlns:a16="http://schemas.microsoft.com/office/drawing/2014/main" id="{E54EB5C3-FC60-4E84-A532-6C902EAAF23C}"/>
                </a:ext>
              </a:extLst>
            </p:cNvPr>
            <p:cNvSpPr>
              <a:spLocks noEditPoints="1"/>
            </p:cNvSpPr>
            <p:nvPr userDrawn="1"/>
          </p:nvSpPr>
          <p:spPr bwMode="auto">
            <a:xfrm>
              <a:off x="9203690" y="4501515"/>
              <a:ext cx="242888" cy="214313"/>
            </a:xfrm>
            <a:custGeom>
              <a:avLst/>
              <a:gdLst>
                <a:gd name="T0" fmla="*/ 60 w 120"/>
                <a:gd name="T1" fmla="*/ 81 h 106"/>
                <a:gd name="T2" fmla="*/ 38 w 120"/>
                <a:gd name="T3" fmla="*/ 71 h 106"/>
                <a:gd name="T4" fmla="*/ 42 w 120"/>
                <a:gd name="T5" fmla="*/ 32 h 106"/>
                <a:gd name="T6" fmla="*/ 60 w 120"/>
                <a:gd name="T7" fmla="*/ 25 h 106"/>
                <a:gd name="T8" fmla="*/ 82 w 120"/>
                <a:gd name="T9" fmla="*/ 36 h 106"/>
                <a:gd name="T10" fmla="*/ 78 w 120"/>
                <a:gd name="T11" fmla="*/ 75 h 106"/>
                <a:gd name="T12" fmla="*/ 60 w 120"/>
                <a:gd name="T13" fmla="*/ 81 h 106"/>
                <a:gd name="T14" fmla="*/ 60 w 120"/>
                <a:gd name="T15" fmla="*/ 0 h 106"/>
                <a:gd name="T16" fmla="*/ 27 w 120"/>
                <a:gd name="T17" fmla="*/ 12 h 106"/>
                <a:gd name="T18" fmla="*/ 19 w 120"/>
                <a:gd name="T19" fmla="*/ 87 h 106"/>
                <a:gd name="T20" fmla="*/ 60 w 120"/>
                <a:gd name="T21" fmla="*/ 106 h 106"/>
                <a:gd name="T22" fmla="*/ 93 w 120"/>
                <a:gd name="T23" fmla="*/ 95 h 106"/>
                <a:gd name="T24" fmla="*/ 101 w 120"/>
                <a:gd name="T25" fmla="*/ 20 h 106"/>
                <a:gd name="T26" fmla="*/ 60 w 120"/>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6">
                  <a:moveTo>
                    <a:pt x="60" y="81"/>
                  </a:moveTo>
                  <a:cubicBezTo>
                    <a:pt x="52" y="81"/>
                    <a:pt x="44" y="78"/>
                    <a:pt x="38" y="71"/>
                  </a:cubicBezTo>
                  <a:cubicBezTo>
                    <a:pt x="29" y="59"/>
                    <a:pt x="30" y="41"/>
                    <a:pt x="42" y="32"/>
                  </a:cubicBezTo>
                  <a:cubicBezTo>
                    <a:pt x="48" y="27"/>
                    <a:pt x="54" y="25"/>
                    <a:pt x="60" y="25"/>
                  </a:cubicBezTo>
                  <a:cubicBezTo>
                    <a:pt x="68" y="25"/>
                    <a:pt x="76" y="29"/>
                    <a:pt x="82" y="36"/>
                  </a:cubicBezTo>
                  <a:cubicBezTo>
                    <a:pt x="91" y="48"/>
                    <a:pt x="90" y="65"/>
                    <a:pt x="78" y="75"/>
                  </a:cubicBezTo>
                  <a:cubicBezTo>
                    <a:pt x="72" y="79"/>
                    <a:pt x="66" y="81"/>
                    <a:pt x="60" y="81"/>
                  </a:cubicBezTo>
                  <a:moveTo>
                    <a:pt x="60" y="0"/>
                  </a:moveTo>
                  <a:cubicBezTo>
                    <a:pt x="48" y="0"/>
                    <a:pt x="36" y="4"/>
                    <a:pt x="27" y="12"/>
                  </a:cubicBezTo>
                  <a:cubicBezTo>
                    <a:pt x="4" y="31"/>
                    <a:pt x="0" y="64"/>
                    <a:pt x="19" y="87"/>
                  </a:cubicBezTo>
                  <a:cubicBezTo>
                    <a:pt x="29" y="100"/>
                    <a:pt x="45" y="106"/>
                    <a:pt x="60" y="106"/>
                  </a:cubicBezTo>
                  <a:cubicBezTo>
                    <a:pt x="72" y="106"/>
                    <a:pt x="84" y="103"/>
                    <a:pt x="93" y="95"/>
                  </a:cubicBezTo>
                  <a:cubicBezTo>
                    <a:pt x="116" y="76"/>
                    <a:pt x="120" y="43"/>
                    <a:pt x="101" y="20"/>
                  </a:cubicBezTo>
                  <a:cubicBezTo>
                    <a:pt x="91" y="7"/>
                    <a:pt x="75" y="0"/>
                    <a:pt x="6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8" name="Freeform 21467">
              <a:extLst>
                <a:ext uri="{FF2B5EF4-FFF2-40B4-BE49-F238E27FC236}">
                  <a16:creationId xmlns:a16="http://schemas.microsoft.com/office/drawing/2014/main" id="{84687E48-C63C-49BF-9462-40C5012FCB16}"/>
                </a:ext>
              </a:extLst>
            </p:cNvPr>
            <p:cNvSpPr>
              <a:spLocks noEditPoints="1"/>
            </p:cNvSpPr>
            <p:nvPr userDrawn="1"/>
          </p:nvSpPr>
          <p:spPr bwMode="auto">
            <a:xfrm>
              <a:off x="9159240" y="4444365"/>
              <a:ext cx="331788" cy="328613"/>
            </a:xfrm>
            <a:custGeom>
              <a:avLst/>
              <a:gdLst>
                <a:gd name="T0" fmla="*/ 41 w 164"/>
                <a:gd name="T1" fmla="*/ 115 h 163"/>
                <a:gd name="T2" fmla="*/ 82 w 164"/>
                <a:gd name="T3" fmla="*/ 28 h 163"/>
                <a:gd name="T4" fmla="*/ 115 w 164"/>
                <a:gd name="T5" fmla="*/ 123 h 163"/>
                <a:gd name="T6" fmla="*/ 79 w 164"/>
                <a:gd name="T7" fmla="*/ 0 h 163"/>
                <a:gd name="T8" fmla="*/ 72 w 164"/>
                <a:gd name="T9" fmla="*/ 6 h 163"/>
                <a:gd name="T10" fmla="*/ 60 w 164"/>
                <a:gd name="T11" fmla="*/ 8 h 163"/>
                <a:gd name="T12" fmla="*/ 53 w 164"/>
                <a:gd name="T13" fmla="*/ 5 h 163"/>
                <a:gd name="T14" fmla="*/ 48 w 164"/>
                <a:gd name="T15" fmla="*/ 24 h 163"/>
                <a:gd name="T16" fmla="*/ 34 w 164"/>
                <a:gd name="T17" fmla="*/ 16 h 163"/>
                <a:gd name="T18" fmla="*/ 30 w 164"/>
                <a:gd name="T19" fmla="*/ 26 h 163"/>
                <a:gd name="T20" fmla="*/ 32 w 164"/>
                <a:gd name="T21" fmla="*/ 38 h 163"/>
                <a:gd name="T22" fmla="*/ 32 w 164"/>
                <a:gd name="T23" fmla="*/ 38 h 163"/>
                <a:gd name="T24" fmla="*/ 20 w 164"/>
                <a:gd name="T25" fmla="*/ 37 h 163"/>
                <a:gd name="T26" fmla="*/ 12 w 164"/>
                <a:gd name="T27" fmla="*/ 39 h 163"/>
                <a:gd name="T28" fmla="*/ 21 w 164"/>
                <a:gd name="T29" fmla="*/ 56 h 163"/>
                <a:gd name="T30" fmla="*/ 9 w 164"/>
                <a:gd name="T31" fmla="*/ 58 h 163"/>
                <a:gd name="T32" fmla="*/ 3 w 164"/>
                <a:gd name="T33" fmla="*/ 63 h 163"/>
                <a:gd name="T34" fmla="*/ 16 w 164"/>
                <a:gd name="T35" fmla="*/ 76 h 163"/>
                <a:gd name="T36" fmla="*/ 1 w 164"/>
                <a:gd name="T37" fmla="*/ 88 h 163"/>
                <a:gd name="T38" fmla="*/ 17 w 164"/>
                <a:gd name="T39" fmla="*/ 96 h 163"/>
                <a:gd name="T40" fmla="*/ 7 w 164"/>
                <a:gd name="T41" fmla="*/ 112 h 163"/>
                <a:gd name="T42" fmla="*/ 14 w 164"/>
                <a:gd name="T43" fmla="*/ 116 h 163"/>
                <a:gd name="T44" fmla="*/ 25 w 164"/>
                <a:gd name="T45" fmla="*/ 115 h 163"/>
                <a:gd name="T46" fmla="*/ 20 w 164"/>
                <a:gd name="T47" fmla="*/ 134 h 163"/>
                <a:gd name="T48" fmla="*/ 28 w 164"/>
                <a:gd name="T49" fmla="*/ 135 h 163"/>
                <a:gd name="T50" fmla="*/ 38 w 164"/>
                <a:gd name="T51" fmla="*/ 131 h 163"/>
                <a:gd name="T52" fmla="*/ 39 w 164"/>
                <a:gd name="T53" fmla="*/ 151 h 163"/>
                <a:gd name="T54" fmla="*/ 46 w 164"/>
                <a:gd name="T55" fmla="*/ 149 h 163"/>
                <a:gd name="T56" fmla="*/ 58 w 164"/>
                <a:gd name="T57" fmla="*/ 154 h 163"/>
                <a:gd name="T58" fmla="*/ 64 w 164"/>
                <a:gd name="T59" fmla="*/ 161 h 163"/>
                <a:gd name="T60" fmla="*/ 75 w 164"/>
                <a:gd name="T61" fmla="*/ 147 h 163"/>
                <a:gd name="T62" fmla="*/ 86 w 164"/>
                <a:gd name="T63" fmla="*/ 163 h 163"/>
                <a:gd name="T64" fmla="*/ 92 w 164"/>
                <a:gd name="T65" fmla="*/ 157 h 163"/>
                <a:gd name="T66" fmla="*/ 105 w 164"/>
                <a:gd name="T67" fmla="*/ 154 h 163"/>
                <a:gd name="T68" fmla="*/ 112 w 164"/>
                <a:gd name="T69" fmla="*/ 157 h 163"/>
                <a:gd name="T70" fmla="*/ 115 w 164"/>
                <a:gd name="T71" fmla="*/ 139 h 163"/>
                <a:gd name="T72" fmla="*/ 126 w 164"/>
                <a:gd name="T73" fmla="*/ 144 h 163"/>
                <a:gd name="T74" fmla="*/ 134 w 164"/>
                <a:gd name="T75" fmla="*/ 145 h 163"/>
                <a:gd name="T76" fmla="*/ 131 w 164"/>
                <a:gd name="T77" fmla="*/ 125 h 163"/>
                <a:gd name="T78" fmla="*/ 144 w 164"/>
                <a:gd name="T79" fmla="*/ 126 h 163"/>
                <a:gd name="T80" fmla="*/ 151 w 164"/>
                <a:gd name="T81" fmla="*/ 124 h 163"/>
                <a:gd name="T82" fmla="*/ 143 w 164"/>
                <a:gd name="T83" fmla="*/ 106 h 163"/>
                <a:gd name="T84" fmla="*/ 155 w 164"/>
                <a:gd name="T85" fmla="*/ 105 h 163"/>
                <a:gd name="T86" fmla="*/ 161 w 164"/>
                <a:gd name="T87" fmla="*/ 101 h 163"/>
                <a:gd name="T88" fmla="*/ 148 w 164"/>
                <a:gd name="T89" fmla="*/ 86 h 163"/>
                <a:gd name="T90" fmla="*/ 163 w 164"/>
                <a:gd name="T91" fmla="*/ 76 h 163"/>
                <a:gd name="T92" fmla="*/ 147 w 164"/>
                <a:gd name="T93" fmla="*/ 66 h 163"/>
                <a:gd name="T94" fmla="*/ 158 w 164"/>
                <a:gd name="T95" fmla="*/ 51 h 163"/>
                <a:gd name="T96" fmla="*/ 151 w 164"/>
                <a:gd name="T97" fmla="*/ 48 h 163"/>
                <a:gd name="T98" fmla="*/ 139 w 164"/>
                <a:gd name="T99" fmla="*/ 47 h 163"/>
                <a:gd name="T100" fmla="*/ 145 w 164"/>
                <a:gd name="T101" fmla="*/ 29 h 163"/>
                <a:gd name="T102" fmla="*/ 137 w 164"/>
                <a:gd name="T103" fmla="*/ 28 h 163"/>
                <a:gd name="T104" fmla="*/ 125 w 164"/>
                <a:gd name="T105" fmla="*/ 31 h 163"/>
                <a:gd name="T106" fmla="*/ 126 w 164"/>
                <a:gd name="T107" fmla="*/ 13 h 163"/>
                <a:gd name="T108" fmla="*/ 118 w 164"/>
                <a:gd name="T109" fmla="*/ 14 h 163"/>
                <a:gd name="T110" fmla="*/ 108 w 164"/>
                <a:gd name="T111" fmla="*/ 20 h 163"/>
                <a:gd name="T112" fmla="*/ 103 w 164"/>
                <a:gd name="T113" fmla="*/ 2 h 163"/>
                <a:gd name="T114" fmla="*/ 96 w 164"/>
                <a:gd name="T115" fmla="*/ 6 h 163"/>
                <a:gd name="T116" fmla="*/ 83 w 164"/>
                <a:gd name="T117" fmla="*/ 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3">
                  <a:moveTo>
                    <a:pt x="82" y="134"/>
                  </a:moveTo>
                  <a:cubicBezTo>
                    <a:pt x="67" y="134"/>
                    <a:pt x="51" y="128"/>
                    <a:pt x="41" y="115"/>
                  </a:cubicBezTo>
                  <a:cubicBezTo>
                    <a:pt x="22" y="92"/>
                    <a:pt x="26" y="59"/>
                    <a:pt x="49" y="40"/>
                  </a:cubicBezTo>
                  <a:cubicBezTo>
                    <a:pt x="58" y="32"/>
                    <a:pt x="70" y="28"/>
                    <a:pt x="82" y="28"/>
                  </a:cubicBezTo>
                  <a:cubicBezTo>
                    <a:pt x="97" y="28"/>
                    <a:pt x="113" y="35"/>
                    <a:pt x="123" y="48"/>
                  </a:cubicBezTo>
                  <a:cubicBezTo>
                    <a:pt x="142" y="71"/>
                    <a:pt x="138" y="104"/>
                    <a:pt x="115" y="123"/>
                  </a:cubicBezTo>
                  <a:cubicBezTo>
                    <a:pt x="106" y="131"/>
                    <a:pt x="94" y="134"/>
                    <a:pt x="82" y="134"/>
                  </a:cubicBezTo>
                  <a:moveTo>
                    <a:pt x="79" y="0"/>
                  </a:moveTo>
                  <a:cubicBezTo>
                    <a:pt x="78" y="0"/>
                    <a:pt x="78" y="0"/>
                    <a:pt x="77" y="0"/>
                  </a:cubicBezTo>
                  <a:cubicBezTo>
                    <a:pt x="75" y="0"/>
                    <a:pt x="73" y="0"/>
                    <a:pt x="72" y="6"/>
                  </a:cubicBezTo>
                  <a:cubicBezTo>
                    <a:pt x="72" y="10"/>
                    <a:pt x="70" y="15"/>
                    <a:pt x="68" y="17"/>
                  </a:cubicBezTo>
                  <a:cubicBezTo>
                    <a:pt x="65" y="16"/>
                    <a:pt x="62" y="12"/>
                    <a:pt x="60" y="8"/>
                  </a:cubicBezTo>
                  <a:cubicBezTo>
                    <a:pt x="58" y="5"/>
                    <a:pt x="57" y="4"/>
                    <a:pt x="55" y="4"/>
                  </a:cubicBezTo>
                  <a:cubicBezTo>
                    <a:pt x="55" y="4"/>
                    <a:pt x="54" y="5"/>
                    <a:pt x="53" y="5"/>
                  </a:cubicBezTo>
                  <a:cubicBezTo>
                    <a:pt x="51" y="6"/>
                    <a:pt x="48" y="6"/>
                    <a:pt x="49" y="12"/>
                  </a:cubicBezTo>
                  <a:cubicBezTo>
                    <a:pt x="50" y="17"/>
                    <a:pt x="50" y="22"/>
                    <a:pt x="48" y="24"/>
                  </a:cubicBezTo>
                  <a:cubicBezTo>
                    <a:pt x="46" y="24"/>
                    <a:pt x="42" y="21"/>
                    <a:pt x="39" y="19"/>
                  </a:cubicBezTo>
                  <a:cubicBezTo>
                    <a:pt x="37" y="17"/>
                    <a:pt x="35" y="16"/>
                    <a:pt x="34" y="16"/>
                  </a:cubicBezTo>
                  <a:cubicBezTo>
                    <a:pt x="33" y="16"/>
                    <a:pt x="32" y="17"/>
                    <a:pt x="31" y="18"/>
                  </a:cubicBezTo>
                  <a:cubicBezTo>
                    <a:pt x="29" y="19"/>
                    <a:pt x="27" y="20"/>
                    <a:pt x="30" y="26"/>
                  </a:cubicBezTo>
                  <a:cubicBezTo>
                    <a:pt x="32" y="30"/>
                    <a:pt x="34" y="36"/>
                    <a:pt x="32" y="38"/>
                  </a:cubicBezTo>
                  <a:cubicBezTo>
                    <a:pt x="32" y="38"/>
                    <a:pt x="32" y="38"/>
                    <a:pt x="32" y="38"/>
                  </a:cubicBezTo>
                  <a:cubicBezTo>
                    <a:pt x="32" y="38"/>
                    <a:pt x="32" y="38"/>
                    <a:pt x="32" y="38"/>
                  </a:cubicBezTo>
                  <a:cubicBezTo>
                    <a:pt x="32" y="38"/>
                    <a:pt x="32" y="38"/>
                    <a:pt x="32" y="38"/>
                  </a:cubicBezTo>
                  <a:cubicBezTo>
                    <a:pt x="31" y="39"/>
                    <a:pt x="30" y="39"/>
                    <a:pt x="28" y="39"/>
                  </a:cubicBezTo>
                  <a:cubicBezTo>
                    <a:pt x="26" y="39"/>
                    <a:pt x="22" y="38"/>
                    <a:pt x="20" y="37"/>
                  </a:cubicBezTo>
                  <a:cubicBezTo>
                    <a:pt x="18" y="37"/>
                    <a:pt x="17" y="36"/>
                    <a:pt x="16" y="36"/>
                  </a:cubicBezTo>
                  <a:cubicBezTo>
                    <a:pt x="14" y="36"/>
                    <a:pt x="13" y="38"/>
                    <a:pt x="12" y="39"/>
                  </a:cubicBezTo>
                  <a:cubicBezTo>
                    <a:pt x="11" y="41"/>
                    <a:pt x="9" y="43"/>
                    <a:pt x="14" y="47"/>
                  </a:cubicBezTo>
                  <a:cubicBezTo>
                    <a:pt x="17" y="50"/>
                    <a:pt x="20" y="53"/>
                    <a:pt x="21" y="56"/>
                  </a:cubicBezTo>
                  <a:cubicBezTo>
                    <a:pt x="19" y="58"/>
                    <a:pt x="15" y="58"/>
                    <a:pt x="10" y="58"/>
                  </a:cubicBezTo>
                  <a:cubicBezTo>
                    <a:pt x="10" y="58"/>
                    <a:pt x="10" y="58"/>
                    <a:pt x="9" y="58"/>
                  </a:cubicBezTo>
                  <a:cubicBezTo>
                    <a:pt x="9" y="58"/>
                    <a:pt x="8" y="58"/>
                    <a:pt x="8" y="58"/>
                  </a:cubicBezTo>
                  <a:cubicBezTo>
                    <a:pt x="3" y="58"/>
                    <a:pt x="3" y="61"/>
                    <a:pt x="3" y="63"/>
                  </a:cubicBezTo>
                  <a:cubicBezTo>
                    <a:pt x="2" y="65"/>
                    <a:pt x="1" y="67"/>
                    <a:pt x="7" y="69"/>
                  </a:cubicBezTo>
                  <a:cubicBezTo>
                    <a:pt x="10" y="71"/>
                    <a:pt x="15" y="74"/>
                    <a:pt x="16" y="76"/>
                  </a:cubicBezTo>
                  <a:cubicBezTo>
                    <a:pt x="15" y="78"/>
                    <a:pt x="10" y="81"/>
                    <a:pt x="6" y="82"/>
                  </a:cubicBezTo>
                  <a:cubicBezTo>
                    <a:pt x="0" y="83"/>
                    <a:pt x="0" y="86"/>
                    <a:pt x="1" y="88"/>
                  </a:cubicBezTo>
                  <a:cubicBezTo>
                    <a:pt x="1" y="90"/>
                    <a:pt x="1" y="93"/>
                    <a:pt x="7" y="93"/>
                  </a:cubicBezTo>
                  <a:cubicBezTo>
                    <a:pt x="11" y="93"/>
                    <a:pt x="15" y="95"/>
                    <a:pt x="17" y="96"/>
                  </a:cubicBezTo>
                  <a:cubicBezTo>
                    <a:pt x="17" y="99"/>
                    <a:pt x="13" y="103"/>
                    <a:pt x="9" y="105"/>
                  </a:cubicBezTo>
                  <a:cubicBezTo>
                    <a:pt x="4" y="108"/>
                    <a:pt x="6" y="110"/>
                    <a:pt x="7" y="112"/>
                  </a:cubicBezTo>
                  <a:cubicBezTo>
                    <a:pt x="7" y="114"/>
                    <a:pt x="8" y="116"/>
                    <a:pt x="11" y="116"/>
                  </a:cubicBezTo>
                  <a:cubicBezTo>
                    <a:pt x="12" y="116"/>
                    <a:pt x="13" y="116"/>
                    <a:pt x="14" y="116"/>
                  </a:cubicBezTo>
                  <a:cubicBezTo>
                    <a:pt x="16" y="115"/>
                    <a:pt x="18" y="115"/>
                    <a:pt x="20" y="115"/>
                  </a:cubicBezTo>
                  <a:cubicBezTo>
                    <a:pt x="22" y="115"/>
                    <a:pt x="24" y="115"/>
                    <a:pt x="25" y="115"/>
                  </a:cubicBezTo>
                  <a:cubicBezTo>
                    <a:pt x="26" y="118"/>
                    <a:pt x="23" y="123"/>
                    <a:pt x="20" y="126"/>
                  </a:cubicBezTo>
                  <a:cubicBezTo>
                    <a:pt x="16" y="131"/>
                    <a:pt x="18" y="132"/>
                    <a:pt x="20" y="134"/>
                  </a:cubicBezTo>
                  <a:cubicBezTo>
                    <a:pt x="21" y="135"/>
                    <a:pt x="22" y="136"/>
                    <a:pt x="23" y="136"/>
                  </a:cubicBezTo>
                  <a:cubicBezTo>
                    <a:pt x="24" y="136"/>
                    <a:pt x="26" y="136"/>
                    <a:pt x="28" y="135"/>
                  </a:cubicBezTo>
                  <a:cubicBezTo>
                    <a:pt x="31" y="133"/>
                    <a:pt x="35" y="131"/>
                    <a:pt x="37" y="131"/>
                  </a:cubicBezTo>
                  <a:cubicBezTo>
                    <a:pt x="38" y="131"/>
                    <a:pt x="38" y="131"/>
                    <a:pt x="38" y="131"/>
                  </a:cubicBezTo>
                  <a:cubicBezTo>
                    <a:pt x="39" y="133"/>
                    <a:pt x="39" y="139"/>
                    <a:pt x="37" y="143"/>
                  </a:cubicBezTo>
                  <a:cubicBezTo>
                    <a:pt x="34" y="148"/>
                    <a:pt x="37" y="149"/>
                    <a:pt x="39" y="151"/>
                  </a:cubicBezTo>
                  <a:cubicBezTo>
                    <a:pt x="40" y="151"/>
                    <a:pt x="41" y="152"/>
                    <a:pt x="42" y="152"/>
                  </a:cubicBezTo>
                  <a:cubicBezTo>
                    <a:pt x="43" y="152"/>
                    <a:pt x="45" y="151"/>
                    <a:pt x="46" y="149"/>
                  </a:cubicBezTo>
                  <a:cubicBezTo>
                    <a:pt x="49" y="146"/>
                    <a:pt x="53" y="143"/>
                    <a:pt x="55" y="142"/>
                  </a:cubicBezTo>
                  <a:cubicBezTo>
                    <a:pt x="57" y="144"/>
                    <a:pt x="58" y="149"/>
                    <a:pt x="58" y="154"/>
                  </a:cubicBezTo>
                  <a:cubicBezTo>
                    <a:pt x="57" y="160"/>
                    <a:pt x="60" y="160"/>
                    <a:pt x="62" y="160"/>
                  </a:cubicBezTo>
                  <a:cubicBezTo>
                    <a:pt x="63" y="161"/>
                    <a:pt x="64" y="161"/>
                    <a:pt x="64" y="161"/>
                  </a:cubicBezTo>
                  <a:cubicBezTo>
                    <a:pt x="66" y="161"/>
                    <a:pt x="67" y="160"/>
                    <a:pt x="69" y="156"/>
                  </a:cubicBezTo>
                  <a:cubicBezTo>
                    <a:pt x="70" y="153"/>
                    <a:pt x="73" y="149"/>
                    <a:pt x="75" y="147"/>
                  </a:cubicBezTo>
                  <a:cubicBezTo>
                    <a:pt x="78" y="148"/>
                    <a:pt x="80" y="153"/>
                    <a:pt x="81" y="158"/>
                  </a:cubicBezTo>
                  <a:cubicBezTo>
                    <a:pt x="82" y="162"/>
                    <a:pt x="84" y="163"/>
                    <a:pt x="86" y="163"/>
                  </a:cubicBezTo>
                  <a:cubicBezTo>
                    <a:pt x="86" y="163"/>
                    <a:pt x="87" y="163"/>
                    <a:pt x="87" y="163"/>
                  </a:cubicBezTo>
                  <a:cubicBezTo>
                    <a:pt x="89" y="163"/>
                    <a:pt x="92" y="163"/>
                    <a:pt x="92" y="157"/>
                  </a:cubicBezTo>
                  <a:cubicBezTo>
                    <a:pt x="93" y="153"/>
                    <a:pt x="94" y="148"/>
                    <a:pt x="96" y="146"/>
                  </a:cubicBezTo>
                  <a:cubicBezTo>
                    <a:pt x="98" y="147"/>
                    <a:pt x="102" y="151"/>
                    <a:pt x="105" y="154"/>
                  </a:cubicBezTo>
                  <a:cubicBezTo>
                    <a:pt x="106" y="157"/>
                    <a:pt x="108" y="158"/>
                    <a:pt x="109" y="158"/>
                  </a:cubicBezTo>
                  <a:cubicBezTo>
                    <a:pt x="110" y="158"/>
                    <a:pt x="111" y="158"/>
                    <a:pt x="112" y="157"/>
                  </a:cubicBezTo>
                  <a:cubicBezTo>
                    <a:pt x="114" y="156"/>
                    <a:pt x="117" y="156"/>
                    <a:pt x="115" y="150"/>
                  </a:cubicBezTo>
                  <a:cubicBezTo>
                    <a:pt x="114" y="146"/>
                    <a:pt x="114" y="141"/>
                    <a:pt x="115" y="139"/>
                  </a:cubicBezTo>
                  <a:cubicBezTo>
                    <a:pt x="115" y="139"/>
                    <a:pt x="116" y="139"/>
                    <a:pt x="116" y="139"/>
                  </a:cubicBezTo>
                  <a:cubicBezTo>
                    <a:pt x="118" y="139"/>
                    <a:pt x="123" y="141"/>
                    <a:pt x="126" y="144"/>
                  </a:cubicBezTo>
                  <a:cubicBezTo>
                    <a:pt x="128" y="146"/>
                    <a:pt x="129" y="146"/>
                    <a:pt x="130" y="146"/>
                  </a:cubicBezTo>
                  <a:cubicBezTo>
                    <a:pt x="132" y="146"/>
                    <a:pt x="133" y="145"/>
                    <a:pt x="134" y="145"/>
                  </a:cubicBezTo>
                  <a:cubicBezTo>
                    <a:pt x="135" y="143"/>
                    <a:pt x="138" y="142"/>
                    <a:pt x="134" y="137"/>
                  </a:cubicBezTo>
                  <a:cubicBezTo>
                    <a:pt x="132" y="133"/>
                    <a:pt x="130" y="127"/>
                    <a:pt x="131" y="125"/>
                  </a:cubicBezTo>
                  <a:cubicBezTo>
                    <a:pt x="132" y="124"/>
                    <a:pt x="133" y="124"/>
                    <a:pt x="135" y="124"/>
                  </a:cubicBezTo>
                  <a:cubicBezTo>
                    <a:pt x="137" y="124"/>
                    <a:pt x="141" y="125"/>
                    <a:pt x="144" y="126"/>
                  </a:cubicBezTo>
                  <a:cubicBezTo>
                    <a:pt x="145" y="127"/>
                    <a:pt x="147" y="127"/>
                    <a:pt x="148" y="127"/>
                  </a:cubicBezTo>
                  <a:cubicBezTo>
                    <a:pt x="150" y="127"/>
                    <a:pt x="151" y="125"/>
                    <a:pt x="151" y="124"/>
                  </a:cubicBezTo>
                  <a:cubicBezTo>
                    <a:pt x="153" y="122"/>
                    <a:pt x="154" y="120"/>
                    <a:pt x="150" y="116"/>
                  </a:cubicBezTo>
                  <a:cubicBezTo>
                    <a:pt x="147" y="113"/>
                    <a:pt x="143" y="109"/>
                    <a:pt x="143" y="106"/>
                  </a:cubicBezTo>
                  <a:cubicBezTo>
                    <a:pt x="145" y="105"/>
                    <a:pt x="149" y="105"/>
                    <a:pt x="152" y="105"/>
                  </a:cubicBezTo>
                  <a:cubicBezTo>
                    <a:pt x="153" y="105"/>
                    <a:pt x="154" y="105"/>
                    <a:pt x="155" y="105"/>
                  </a:cubicBezTo>
                  <a:cubicBezTo>
                    <a:pt x="155" y="105"/>
                    <a:pt x="156" y="105"/>
                    <a:pt x="156" y="105"/>
                  </a:cubicBezTo>
                  <a:cubicBezTo>
                    <a:pt x="160" y="105"/>
                    <a:pt x="161" y="103"/>
                    <a:pt x="161" y="101"/>
                  </a:cubicBezTo>
                  <a:cubicBezTo>
                    <a:pt x="162" y="99"/>
                    <a:pt x="163" y="96"/>
                    <a:pt x="157" y="94"/>
                  </a:cubicBezTo>
                  <a:cubicBezTo>
                    <a:pt x="153" y="92"/>
                    <a:pt x="149" y="89"/>
                    <a:pt x="148" y="86"/>
                  </a:cubicBezTo>
                  <a:cubicBezTo>
                    <a:pt x="150" y="84"/>
                    <a:pt x="154" y="82"/>
                    <a:pt x="158" y="82"/>
                  </a:cubicBezTo>
                  <a:cubicBezTo>
                    <a:pt x="164" y="80"/>
                    <a:pt x="163" y="78"/>
                    <a:pt x="163" y="76"/>
                  </a:cubicBezTo>
                  <a:cubicBezTo>
                    <a:pt x="163" y="73"/>
                    <a:pt x="163" y="71"/>
                    <a:pt x="158" y="70"/>
                  </a:cubicBezTo>
                  <a:cubicBezTo>
                    <a:pt x="153" y="70"/>
                    <a:pt x="148" y="68"/>
                    <a:pt x="147" y="66"/>
                  </a:cubicBezTo>
                  <a:cubicBezTo>
                    <a:pt x="147" y="63"/>
                    <a:pt x="151" y="60"/>
                    <a:pt x="155" y="58"/>
                  </a:cubicBezTo>
                  <a:cubicBezTo>
                    <a:pt x="160" y="55"/>
                    <a:pt x="158" y="53"/>
                    <a:pt x="158" y="51"/>
                  </a:cubicBezTo>
                  <a:cubicBezTo>
                    <a:pt x="157" y="49"/>
                    <a:pt x="157" y="47"/>
                    <a:pt x="153" y="47"/>
                  </a:cubicBezTo>
                  <a:cubicBezTo>
                    <a:pt x="153" y="47"/>
                    <a:pt x="152" y="47"/>
                    <a:pt x="151" y="48"/>
                  </a:cubicBezTo>
                  <a:cubicBezTo>
                    <a:pt x="149" y="48"/>
                    <a:pt x="147" y="48"/>
                    <a:pt x="145" y="48"/>
                  </a:cubicBezTo>
                  <a:cubicBezTo>
                    <a:pt x="142" y="48"/>
                    <a:pt x="140" y="48"/>
                    <a:pt x="139" y="47"/>
                  </a:cubicBezTo>
                  <a:cubicBezTo>
                    <a:pt x="139" y="44"/>
                    <a:pt x="141" y="40"/>
                    <a:pt x="144" y="37"/>
                  </a:cubicBezTo>
                  <a:cubicBezTo>
                    <a:pt x="148" y="33"/>
                    <a:pt x="146" y="31"/>
                    <a:pt x="145" y="29"/>
                  </a:cubicBezTo>
                  <a:cubicBezTo>
                    <a:pt x="144" y="28"/>
                    <a:pt x="143" y="27"/>
                    <a:pt x="141" y="27"/>
                  </a:cubicBezTo>
                  <a:cubicBezTo>
                    <a:pt x="140" y="27"/>
                    <a:pt x="139" y="27"/>
                    <a:pt x="137" y="28"/>
                  </a:cubicBezTo>
                  <a:cubicBezTo>
                    <a:pt x="134" y="30"/>
                    <a:pt x="130" y="31"/>
                    <a:pt x="127" y="31"/>
                  </a:cubicBezTo>
                  <a:cubicBezTo>
                    <a:pt x="126" y="31"/>
                    <a:pt x="126" y="31"/>
                    <a:pt x="125" y="31"/>
                  </a:cubicBezTo>
                  <a:cubicBezTo>
                    <a:pt x="125" y="29"/>
                    <a:pt x="126" y="24"/>
                    <a:pt x="128" y="20"/>
                  </a:cubicBezTo>
                  <a:cubicBezTo>
                    <a:pt x="130" y="15"/>
                    <a:pt x="128" y="14"/>
                    <a:pt x="126" y="13"/>
                  </a:cubicBezTo>
                  <a:cubicBezTo>
                    <a:pt x="125" y="12"/>
                    <a:pt x="124" y="11"/>
                    <a:pt x="123" y="11"/>
                  </a:cubicBezTo>
                  <a:cubicBezTo>
                    <a:pt x="121" y="11"/>
                    <a:pt x="120" y="12"/>
                    <a:pt x="118" y="14"/>
                  </a:cubicBezTo>
                  <a:cubicBezTo>
                    <a:pt x="115" y="17"/>
                    <a:pt x="111" y="20"/>
                    <a:pt x="108" y="20"/>
                  </a:cubicBezTo>
                  <a:cubicBezTo>
                    <a:pt x="108" y="20"/>
                    <a:pt x="108" y="20"/>
                    <a:pt x="108" y="20"/>
                  </a:cubicBezTo>
                  <a:cubicBezTo>
                    <a:pt x="107" y="18"/>
                    <a:pt x="106" y="13"/>
                    <a:pt x="107" y="9"/>
                  </a:cubicBezTo>
                  <a:cubicBezTo>
                    <a:pt x="107" y="3"/>
                    <a:pt x="105" y="3"/>
                    <a:pt x="103" y="2"/>
                  </a:cubicBezTo>
                  <a:cubicBezTo>
                    <a:pt x="102" y="2"/>
                    <a:pt x="101" y="2"/>
                    <a:pt x="100" y="2"/>
                  </a:cubicBezTo>
                  <a:cubicBezTo>
                    <a:pt x="99" y="2"/>
                    <a:pt x="97" y="3"/>
                    <a:pt x="96" y="6"/>
                  </a:cubicBezTo>
                  <a:cubicBezTo>
                    <a:pt x="94" y="10"/>
                    <a:pt x="90" y="15"/>
                    <a:pt x="88" y="15"/>
                  </a:cubicBezTo>
                  <a:cubicBezTo>
                    <a:pt x="86" y="14"/>
                    <a:pt x="84" y="9"/>
                    <a:pt x="83" y="5"/>
                  </a:cubicBezTo>
                  <a:cubicBezTo>
                    <a:pt x="83" y="0"/>
                    <a:pt x="81" y="0"/>
                    <a:pt x="7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9" name="Freeform 21468">
              <a:extLst>
                <a:ext uri="{FF2B5EF4-FFF2-40B4-BE49-F238E27FC236}">
                  <a16:creationId xmlns:a16="http://schemas.microsoft.com/office/drawing/2014/main" id="{62780FF1-9524-442C-AE60-5CC5C0B0C791}"/>
                </a:ext>
              </a:extLst>
            </p:cNvPr>
            <p:cNvSpPr>
              <a:spLocks noEditPoints="1"/>
            </p:cNvSpPr>
            <p:nvPr userDrawn="1"/>
          </p:nvSpPr>
          <p:spPr bwMode="auto">
            <a:xfrm>
              <a:off x="9262428" y="4552315"/>
              <a:ext cx="125413" cy="112713"/>
            </a:xfrm>
            <a:custGeom>
              <a:avLst/>
              <a:gdLst>
                <a:gd name="T0" fmla="*/ 31 w 62"/>
                <a:gd name="T1" fmla="*/ 46 h 56"/>
                <a:gd name="T2" fmla="*/ 17 w 62"/>
                <a:gd name="T3" fmla="*/ 39 h 56"/>
                <a:gd name="T4" fmla="*/ 20 w 62"/>
                <a:gd name="T5" fmla="*/ 15 h 56"/>
                <a:gd name="T6" fmla="*/ 31 w 62"/>
                <a:gd name="T7" fmla="*/ 11 h 56"/>
                <a:gd name="T8" fmla="*/ 44 w 62"/>
                <a:gd name="T9" fmla="*/ 17 h 56"/>
                <a:gd name="T10" fmla="*/ 42 w 62"/>
                <a:gd name="T11" fmla="*/ 42 h 56"/>
                <a:gd name="T12" fmla="*/ 31 w 62"/>
                <a:gd name="T13" fmla="*/ 46 h 56"/>
                <a:gd name="T14" fmla="*/ 31 w 62"/>
                <a:gd name="T15" fmla="*/ 0 h 56"/>
                <a:gd name="T16" fmla="*/ 13 w 62"/>
                <a:gd name="T17" fmla="*/ 7 h 56"/>
                <a:gd name="T18" fmla="*/ 9 w 62"/>
                <a:gd name="T19" fmla="*/ 46 h 56"/>
                <a:gd name="T20" fmla="*/ 31 w 62"/>
                <a:gd name="T21" fmla="*/ 56 h 56"/>
                <a:gd name="T22" fmla="*/ 49 w 62"/>
                <a:gd name="T23" fmla="*/ 50 h 56"/>
                <a:gd name="T24" fmla="*/ 53 w 62"/>
                <a:gd name="T25" fmla="*/ 11 h 56"/>
                <a:gd name="T26" fmla="*/ 31 w 62"/>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6">
                  <a:moveTo>
                    <a:pt x="31" y="46"/>
                  </a:moveTo>
                  <a:cubicBezTo>
                    <a:pt x="26" y="46"/>
                    <a:pt x="21" y="44"/>
                    <a:pt x="17" y="39"/>
                  </a:cubicBezTo>
                  <a:cubicBezTo>
                    <a:pt x="11" y="32"/>
                    <a:pt x="13" y="21"/>
                    <a:pt x="20" y="15"/>
                  </a:cubicBezTo>
                  <a:cubicBezTo>
                    <a:pt x="23" y="12"/>
                    <a:pt x="27" y="11"/>
                    <a:pt x="31" y="11"/>
                  </a:cubicBezTo>
                  <a:cubicBezTo>
                    <a:pt x="36" y="11"/>
                    <a:pt x="41" y="13"/>
                    <a:pt x="44" y="17"/>
                  </a:cubicBezTo>
                  <a:cubicBezTo>
                    <a:pt x="50" y="25"/>
                    <a:pt x="49" y="36"/>
                    <a:pt x="42" y="42"/>
                  </a:cubicBezTo>
                  <a:cubicBezTo>
                    <a:pt x="39" y="44"/>
                    <a:pt x="35" y="46"/>
                    <a:pt x="31" y="46"/>
                  </a:cubicBezTo>
                  <a:moveTo>
                    <a:pt x="31" y="0"/>
                  </a:moveTo>
                  <a:cubicBezTo>
                    <a:pt x="25" y="0"/>
                    <a:pt x="19" y="2"/>
                    <a:pt x="13" y="7"/>
                  </a:cubicBezTo>
                  <a:cubicBezTo>
                    <a:pt x="1" y="16"/>
                    <a:pt x="0" y="34"/>
                    <a:pt x="9" y="46"/>
                  </a:cubicBezTo>
                  <a:cubicBezTo>
                    <a:pt x="15" y="53"/>
                    <a:pt x="23" y="56"/>
                    <a:pt x="31" y="56"/>
                  </a:cubicBezTo>
                  <a:cubicBezTo>
                    <a:pt x="37" y="56"/>
                    <a:pt x="43" y="54"/>
                    <a:pt x="49" y="50"/>
                  </a:cubicBezTo>
                  <a:cubicBezTo>
                    <a:pt x="61" y="40"/>
                    <a:pt x="62" y="23"/>
                    <a:pt x="53" y="11"/>
                  </a:cubicBezTo>
                  <a:cubicBezTo>
                    <a:pt x="47" y="4"/>
                    <a:pt x="39" y="0"/>
                    <a:pt x="3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0" name="Freeform 21469">
              <a:extLst>
                <a:ext uri="{FF2B5EF4-FFF2-40B4-BE49-F238E27FC236}">
                  <a16:creationId xmlns:a16="http://schemas.microsoft.com/office/drawing/2014/main" id="{DF1081EF-8004-4358-8DF7-371F4B264621}"/>
                </a:ext>
              </a:extLst>
            </p:cNvPr>
            <p:cNvSpPr>
              <a:spLocks noEditPoints="1"/>
            </p:cNvSpPr>
            <p:nvPr userDrawn="1"/>
          </p:nvSpPr>
          <p:spPr bwMode="auto">
            <a:xfrm>
              <a:off x="9557703" y="3733165"/>
              <a:ext cx="63500" cy="60325"/>
            </a:xfrm>
            <a:custGeom>
              <a:avLst/>
              <a:gdLst>
                <a:gd name="T0" fmla="*/ 16 w 31"/>
                <a:gd name="T1" fmla="*/ 27 h 30"/>
                <a:gd name="T2" fmla="*/ 3 w 31"/>
                <a:gd name="T3" fmla="*/ 15 h 30"/>
                <a:gd name="T4" fmla="*/ 16 w 31"/>
                <a:gd name="T5" fmla="*/ 3 h 30"/>
                <a:gd name="T6" fmla="*/ 28 w 31"/>
                <a:gd name="T7" fmla="*/ 15 h 30"/>
                <a:gd name="T8" fmla="*/ 16 w 31"/>
                <a:gd name="T9" fmla="*/ 27 h 30"/>
                <a:gd name="T10" fmla="*/ 16 w 31"/>
                <a:gd name="T11" fmla="*/ 0 h 30"/>
                <a:gd name="T12" fmla="*/ 0 w 31"/>
                <a:gd name="T13" fmla="*/ 15 h 30"/>
                <a:gd name="T14" fmla="*/ 16 w 31"/>
                <a:gd name="T15" fmla="*/ 30 h 30"/>
                <a:gd name="T16" fmla="*/ 31 w 31"/>
                <a:gd name="T17" fmla="*/ 15 h 30"/>
                <a:gd name="T18" fmla="*/ 16 w 3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27"/>
                  </a:moveTo>
                  <a:cubicBezTo>
                    <a:pt x="9" y="27"/>
                    <a:pt x="3" y="22"/>
                    <a:pt x="3" y="15"/>
                  </a:cubicBezTo>
                  <a:cubicBezTo>
                    <a:pt x="3" y="8"/>
                    <a:pt x="9" y="3"/>
                    <a:pt x="16" y="3"/>
                  </a:cubicBezTo>
                  <a:cubicBezTo>
                    <a:pt x="23" y="3"/>
                    <a:pt x="28" y="8"/>
                    <a:pt x="28" y="15"/>
                  </a:cubicBezTo>
                  <a:cubicBezTo>
                    <a:pt x="28" y="22"/>
                    <a:pt x="23" y="27"/>
                    <a:pt x="16" y="27"/>
                  </a:cubicBezTo>
                  <a:moveTo>
                    <a:pt x="16" y="0"/>
                  </a:moveTo>
                  <a:cubicBezTo>
                    <a:pt x="7" y="0"/>
                    <a:pt x="0" y="6"/>
                    <a:pt x="0" y="15"/>
                  </a:cubicBezTo>
                  <a:cubicBezTo>
                    <a:pt x="0" y="23"/>
                    <a:pt x="7" y="30"/>
                    <a:pt x="16" y="30"/>
                  </a:cubicBezTo>
                  <a:cubicBezTo>
                    <a:pt x="24" y="30"/>
                    <a:pt x="31" y="23"/>
                    <a:pt x="31" y="15"/>
                  </a:cubicBezTo>
                  <a:cubicBezTo>
                    <a:pt x="31" y="6"/>
                    <a:pt x="24" y="0"/>
                    <a:pt x="16"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1" name="Freeform 21470">
              <a:extLst>
                <a:ext uri="{FF2B5EF4-FFF2-40B4-BE49-F238E27FC236}">
                  <a16:creationId xmlns:a16="http://schemas.microsoft.com/office/drawing/2014/main" id="{8C8CDFB1-912D-4E48-804E-7288DEF40661}"/>
                </a:ext>
              </a:extLst>
            </p:cNvPr>
            <p:cNvSpPr>
              <a:spLocks noEditPoints="1"/>
            </p:cNvSpPr>
            <p:nvPr userDrawn="1"/>
          </p:nvSpPr>
          <p:spPr bwMode="auto">
            <a:xfrm>
              <a:off x="8292465" y="5184140"/>
              <a:ext cx="84138" cy="84138"/>
            </a:xfrm>
            <a:custGeom>
              <a:avLst/>
              <a:gdLst>
                <a:gd name="T0" fmla="*/ 21 w 42"/>
                <a:gd name="T1" fmla="*/ 36 h 41"/>
                <a:gd name="T2" fmla="*/ 5 w 42"/>
                <a:gd name="T3" fmla="*/ 20 h 41"/>
                <a:gd name="T4" fmla="*/ 21 w 42"/>
                <a:gd name="T5" fmla="*/ 4 h 41"/>
                <a:gd name="T6" fmla="*/ 37 w 42"/>
                <a:gd name="T7" fmla="*/ 20 h 41"/>
                <a:gd name="T8" fmla="*/ 21 w 42"/>
                <a:gd name="T9" fmla="*/ 36 h 41"/>
                <a:gd name="T10" fmla="*/ 21 w 42"/>
                <a:gd name="T11" fmla="*/ 0 h 41"/>
                <a:gd name="T12" fmla="*/ 0 w 42"/>
                <a:gd name="T13" fmla="*/ 20 h 41"/>
                <a:gd name="T14" fmla="*/ 21 w 42"/>
                <a:gd name="T15" fmla="*/ 41 h 41"/>
                <a:gd name="T16" fmla="*/ 42 w 42"/>
                <a:gd name="T17" fmla="*/ 20 h 41"/>
                <a:gd name="T18" fmla="*/ 21 w 42"/>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36"/>
                  </a:moveTo>
                  <a:cubicBezTo>
                    <a:pt x="12" y="36"/>
                    <a:pt x="5" y="29"/>
                    <a:pt x="5" y="20"/>
                  </a:cubicBezTo>
                  <a:cubicBezTo>
                    <a:pt x="5" y="12"/>
                    <a:pt x="12" y="4"/>
                    <a:pt x="21" y="4"/>
                  </a:cubicBezTo>
                  <a:cubicBezTo>
                    <a:pt x="30" y="4"/>
                    <a:pt x="37" y="12"/>
                    <a:pt x="37" y="20"/>
                  </a:cubicBezTo>
                  <a:cubicBezTo>
                    <a:pt x="37" y="29"/>
                    <a:pt x="30" y="36"/>
                    <a:pt x="21" y="36"/>
                  </a:cubicBezTo>
                  <a:moveTo>
                    <a:pt x="21" y="0"/>
                  </a:moveTo>
                  <a:cubicBezTo>
                    <a:pt x="9" y="0"/>
                    <a:pt x="0" y="9"/>
                    <a:pt x="0" y="20"/>
                  </a:cubicBezTo>
                  <a:cubicBezTo>
                    <a:pt x="0" y="32"/>
                    <a:pt x="9" y="41"/>
                    <a:pt x="21" y="41"/>
                  </a:cubicBezTo>
                  <a:cubicBezTo>
                    <a:pt x="32" y="41"/>
                    <a:pt x="42" y="32"/>
                    <a:pt x="42" y="20"/>
                  </a:cubicBezTo>
                  <a:cubicBezTo>
                    <a:pt x="42" y="9"/>
                    <a:pt x="32" y="0"/>
                    <a:pt x="2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2" name="Freeform 21471">
              <a:extLst>
                <a:ext uri="{FF2B5EF4-FFF2-40B4-BE49-F238E27FC236}">
                  <a16:creationId xmlns:a16="http://schemas.microsoft.com/office/drawing/2014/main" id="{5342059C-7BE8-4926-9980-EEC8378B778D}"/>
                </a:ext>
              </a:extLst>
            </p:cNvPr>
            <p:cNvSpPr>
              <a:spLocks noEditPoints="1"/>
            </p:cNvSpPr>
            <p:nvPr userDrawn="1"/>
          </p:nvSpPr>
          <p:spPr bwMode="auto">
            <a:xfrm>
              <a:off x="9610090" y="4093528"/>
              <a:ext cx="82550" cy="84138"/>
            </a:xfrm>
            <a:custGeom>
              <a:avLst/>
              <a:gdLst>
                <a:gd name="T0" fmla="*/ 20 w 41"/>
                <a:gd name="T1" fmla="*/ 36 h 41"/>
                <a:gd name="T2" fmla="*/ 4 w 41"/>
                <a:gd name="T3" fmla="*/ 20 h 41"/>
                <a:gd name="T4" fmla="*/ 20 w 41"/>
                <a:gd name="T5" fmla="*/ 4 h 41"/>
                <a:gd name="T6" fmla="*/ 37 w 41"/>
                <a:gd name="T7" fmla="*/ 20 h 41"/>
                <a:gd name="T8" fmla="*/ 20 w 41"/>
                <a:gd name="T9" fmla="*/ 36 h 41"/>
                <a:gd name="T10" fmla="*/ 20 w 41"/>
                <a:gd name="T11" fmla="*/ 0 h 41"/>
                <a:gd name="T12" fmla="*/ 0 w 41"/>
                <a:gd name="T13" fmla="*/ 20 h 41"/>
                <a:gd name="T14" fmla="*/ 20 w 41"/>
                <a:gd name="T15" fmla="*/ 41 h 41"/>
                <a:gd name="T16" fmla="*/ 41 w 41"/>
                <a:gd name="T17" fmla="*/ 20 h 41"/>
                <a:gd name="T18" fmla="*/ 20 w 41"/>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0" y="36"/>
                  </a:moveTo>
                  <a:cubicBezTo>
                    <a:pt x="11" y="36"/>
                    <a:pt x="4" y="29"/>
                    <a:pt x="4" y="20"/>
                  </a:cubicBezTo>
                  <a:cubicBezTo>
                    <a:pt x="4" y="11"/>
                    <a:pt x="11" y="4"/>
                    <a:pt x="20" y="4"/>
                  </a:cubicBezTo>
                  <a:cubicBezTo>
                    <a:pt x="29" y="4"/>
                    <a:pt x="37" y="11"/>
                    <a:pt x="37" y="20"/>
                  </a:cubicBezTo>
                  <a:cubicBezTo>
                    <a:pt x="37" y="29"/>
                    <a:pt x="29" y="36"/>
                    <a:pt x="20" y="36"/>
                  </a:cubicBezTo>
                  <a:moveTo>
                    <a:pt x="20" y="0"/>
                  </a:moveTo>
                  <a:cubicBezTo>
                    <a:pt x="9" y="0"/>
                    <a:pt x="0" y="9"/>
                    <a:pt x="0" y="20"/>
                  </a:cubicBezTo>
                  <a:cubicBezTo>
                    <a:pt x="0" y="31"/>
                    <a:pt x="9" y="41"/>
                    <a:pt x="20" y="41"/>
                  </a:cubicBezTo>
                  <a:cubicBezTo>
                    <a:pt x="32" y="41"/>
                    <a:pt x="41" y="31"/>
                    <a:pt x="41" y="20"/>
                  </a:cubicBezTo>
                  <a:cubicBezTo>
                    <a:pt x="41" y="9"/>
                    <a:pt x="32" y="0"/>
                    <a:pt x="2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3" name="Freeform 21472">
              <a:extLst>
                <a:ext uri="{FF2B5EF4-FFF2-40B4-BE49-F238E27FC236}">
                  <a16:creationId xmlns:a16="http://schemas.microsoft.com/office/drawing/2014/main" id="{DB326F6A-AE52-466C-920F-62A7EA3030A8}"/>
                </a:ext>
              </a:extLst>
            </p:cNvPr>
            <p:cNvSpPr>
              <a:spLocks noEditPoints="1"/>
            </p:cNvSpPr>
            <p:nvPr userDrawn="1"/>
          </p:nvSpPr>
          <p:spPr bwMode="auto">
            <a:xfrm>
              <a:off x="8387715" y="5215890"/>
              <a:ext cx="82550" cy="82550"/>
            </a:xfrm>
            <a:custGeom>
              <a:avLst/>
              <a:gdLst>
                <a:gd name="T0" fmla="*/ 21 w 41"/>
                <a:gd name="T1" fmla="*/ 36 h 41"/>
                <a:gd name="T2" fmla="*/ 4 w 41"/>
                <a:gd name="T3" fmla="*/ 20 h 41"/>
                <a:gd name="T4" fmla="*/ 21 w 41"/>
                <a:gd name="T5" fmla="*/ 4 h 41"/>
                <a:gd name="T6" fmla="*/ 37 w 41"/>
                <a:gd name="T7" fmla="*/ 20 h 41"/>
                <a:gd name="T8" fmla="*/ 21 w 41"/>
                <a:gd name="T9" fmla="*/ 36 h 41"/>
                <a:gd name="T10" fmla="*/ 21 w 41"/>
                <a:gd name="T11" fmla="*/ 0 h 41"/>
                <a:gd name="T12" fmla="*/ 0 w 41"/>
                <a:gd name="T13" fmla="*/ 20 h 41"/>
                <a:gd name="T14" fmla="*/ 21 w 41"/>
                <a:gd name="T15" fmla="*/ 41 h 41"/>
                <a:gd name="T16" fmla="*/ 41 w 41"/>
                <a:gd name="T17" fmla="*/ 20 h 41"/>
                <a:gd name="T18" fmla="*/ 21 w 41"/>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36"/>
                  </a:moveTo>
                  <a:cubicBezTo>
                    <a:pt x="12" y="36"/>
                    <a:pt x="4" y="29"/>
                    <a:pt x="4" y="20"/>
                  </a:cubicBezTo>
                  <a:cubicBezTo>
                    <a:pt x="4" y="12"/>
                    <a:pt x="12" y="4"/>
                    <a:pt x="21" y="4"/>
                  </a:cubicBezTo>
                  <a:cubicBezTo>
                    <a:pt x="30" y="4"/>
                    <a:pt x="37" y="12"/>
                    <a:pt x="37" y="20"/>
                  </a:cubicBezTo>
                  <a:cubicBezTo>
                    <a:pt x="37" y="29"/>
                    <a:pt x="30" y="36"/>
                    <a:pt x="21" y="36"/>
                  </a:cubicBezTo>
                  <a:moveTo>
                    <a:pt x="21" y="0"/>
                  </a:moveTo>
                  <a:cubicBezTo>
                    <a:pt x="9" y="0"/>
                    <a:pt x="0" y="9"/>
                    <a:pt x="0" y="20"/>
                  </a:cubicBezTo>
                  <a:cubicBezTo>
                    <a:pt x="0" y="32"/>
                    <a:pt x="9" y="41"/>
                    <a:pt x="21" y="41"/>
                  </a:cubicBezTo>
                  <a:cubicBezTo>
                    <a:pt x="32" y="41"/>
                    <a:pt x="41" y="32"/>
                    <a:pt x="41" y="20"/>
                  </a:cubicBezTo>
                  <a:cubicBezTo>
                    <a:pt x="41" y="9"/>
                    <a:pt x="32" y="0"/>
                    <a:pt x="2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4" name="Freeform 21473">
              <a:extLst>
                <a:ext uri="{FF2B5EF4-FFF2-40B4-BE49-F238E27FC236}">
                  <a16:creationId xmlns:a16="http://schemas.microsoft.com/office/drawing/2014/main" id="{94C8C2CE-7BBF-40EE-A8EA-07209A11EA19}"/>
                </a:ext>
              </a:extLst>
            </p:cNvPr>
            <p:cNvSpPr>
              <a:spLocks noEditPoints="1"/>
            </p:cNvSpPr>
            <p:nvPr userDrawn="1"/>
          </p:nvSpPr>
          <p:spPr bwMode="auto">
            <a:xfrm>
              <a:off x="8797290" y="3634740"/>
              <a:ext cx="103188" cy="103188"/>
            </a:xfrm>
            <a:custGeom>
              <a:avLst/>
              <a:gdLst>
                <a:gd name="T0" fmla="*/ 25 w 51"/>
                <a:gd name="T1" fmla="*/ 45 h 51"/>
                <a:gd name="T2" fmla="*/ 5 w 51"/>
                <a:gd name="T3" fmla="*/ 25 h 51"/>
                <a:gd name="T4" fmla="*/ 25 w 51"/>
                <a:gd name="T5" fmla="*/ 6 h 51"/>
                <a:gd name="T6" fmla="*/ 46 w 51"/>
                <a:gd name="T7" fmla="*/ 25 h 51"/>
                <a:gd name="T8" fmla="*/ 25 w 51"/>
                <a:gd name="T9" fmla="*/ 45 h 51"/>
                <a:gd name="T10" fmla="*/ 25 w 51"/>
                <a:gd name="T11" fmla="*/ 0 h 51"/>
                <a:gd name="T12" fmla="*/ 0 w 51"/>
                <a:gd name="T13" fmla="*/ 25 h 51"/>
                <a:gd name="T14" fmla="*/ 25 w 51"/>
                <a:gd name="T15" fmla="*/ 51 h 51"/>
                <a:gd name="T16" fmla="*/ 51 w 51"/>
                <a:gd name="T17" fmla="*/ 25 h 51"/>
                <a:gd name="T18" fmla="*/ 25 w 51"/>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5" y="45"/>
                  </a:moveTo>
                  <a:cubicBezTo>
                    <a:pt x="14" y="45"/>
                    <a:pt x="5" y="36"/>
                    <a:pt x="5" y="25"/>
                  </a:cubicBezTo>
                  <a:cubicBezTo>
                    <a:pt x="5" y="14"/>
                    <a:pt x="14" y="6"/>
                    <a:pt x="25" y="6"/>
                  </a:cubicBezTo>
                  <a:cubicBezTo>
                    <a:pt x="37" y="6"/>
                    <a:pt x="46" y="14"/>
                    <a:pt x="46" y="25"/>
                  </a:cubicBezTo>
                  <a:cubicBezTo>
                    <a:pt x="46" y="36"/>
                    <a:pt x="37" y="45"/>
                    <a:pt x="25" y="45"/>
                  </a:cubicBezTo>
                  <a:moveTo>
                    <a:pt x="25" y="0"/>
                  </a:moveTo>
                  <a:cubicBezTo>
                    <a:pt x="11" y="0"/>
                    <a:pt x="0" y="11"/>
                    <a:pt x="0" y="25"/>
                  </a:cubicBezTo>
                  <a:cubicBezTo>
                    <a:pt x="0" y="39"/>
                    <a:pt x="11" y="51"/>
                    <a:pt x="25" y="51"/>
                  </a:cubicBezTo>
                  <a:cubicBezTo>
                    <a:pt x="40" y="51"/>
                    <a:pt x="51" y="39"/>
                    <a:pt x="51" y="25"/>
                  </a:cubicBezTo>
                  <a:cubicBezTo>
                    <a:pt x="51" y="11"/>
                    <a:pt x="40" y="0"/>
                    <a:pt x="25"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5" name="Freeform 21474">
              <a:extLst>
                <a:ext uri="{FF2B5EF4-FFF2-40B4-BE49-F238E27FC236}">
                  <a16:creationId xmlns:a16="http://schemas.microsoft.com/office/drawing/2014/main" id="{1066B2C8-5021-42E9-9716-0A19E7AD30B3}"/>
                </a:ext>
              </a:extLst>
            </p:cNvPr>
            <p:cNvSpPr>
              <a:spLocks noEditPoints="1"/>
            </p:cNvSpPr>
            <p:nvPr userDrawn="1"/>
          </p:nvSpPr>
          <p:spPr bwMode="auto">
            <a:xfrm>
              <a:off x="9406890" y="4388803"/>
              <a:ext cx="69850" cy="69850"/>
            </a:xfrm>
            <a:custGeom>
              <a:avLst/>
              <a:gdLst>
                <a:gd name="T0" fmla="*/ 18 w 35"/>
                <a:gd name="T1" fmla="*/ 31 h 35"/>
                <a:gd name="T2" fmla="*/ 4 w 35"/>
                <a:gd name="T3" fmla="*/ 17 h 35"/>
                <a:gd name="T4" fmla="*/ 18 w 35"/>
                <a:gd name="T5" fmla="*/ 4 h 35"/>
                <a:gd name="T6" fmla="*/ 31 w 35"/>
                <a:gd name="T7" fmla="*/ 17 h 35"/>
                <a:gd name="T8" fmla="*/ 18 w 35"/>
                <a:gd name="T9" fmla="*/ 31 h 35"/>
                <a:gd name="T10" fmla="*/ 18 w 35"/>
                <a:gd name="T11" fmla="*/ 0 h 35"/>
                <a:gd name="T12" fmla="*/ 0 w 35"/>
                <a:gd name="T13" fmla="*/ 17 h 35"/>
                <a:gd name="T14" fmla="*/ 18 w 35"/>
                <a:gd name="T15" fmla="*/ 35 h 35"/>
                <a:gd name="T16" fmla="*/ 35 w 35"/>
                <a:gd name="T17" fmla="*/ 17 h 35"/>
                <a:gd name="T18" fmla="*/ 18 w 3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31"/>
                  </a:moveTo>
                  <a:cubicBezTo>
                    <a:pt x="10" y="31"/>
                    <a:pt x="4" y="25"/>
                    <a:pt x="4" y="17"/>
                  </a:cubicBezTo>
                  <a:cubicBezTo>
                    <a:pt x="4" y="10"/>
                    <a:pt x="10" y="4"/>
                    <a:pt x="18" y="4"/>
                  </a:cubicBezTo>
                  <a:cubicBezTo>
                    <a:pt x="25" y="4"/>
                    <a:pt x="31" y="10"/>
                    <a:pt x="31" y="17"/>
                  </a:cubicBezTo>
                  <a:cubicBezTo>
                    <a:pt x="31" y="25"/>
                    <a:pt x="25" y="31"/>
                    <a:pt x="18" y="31"/>
                  </a:cubicBezTo>
                  <a:moveTo>
                    <a:pt x="18" y="0"/>
                  </a:moveTo>
                  <a:cubicBezTo>
                    <a:pt x="8" y="0"/>
                    <a:pt x="0" y="8"/>
                    <a:pt x="0" y="17"/>
                  </a:cubicBezTo>
                  <a:cubicBezTo>
                    <a:pt x="0" y="27"/>
                    <a:pt x="8" y="35"/>
                    <a:pt x="18" y="35"/>
                  </a:cubicBezTo>
                  <a:cubicBezTo>
                    <a:pt x="27" y="35"/>
                    <a:pt x="35" y="27"/>
                    <a:pt x="35" y="17"/>
                  </a:cubicBezTo>
                  <a:cubicBezTo>
                    <a:pt x="35" y="8"/>
                    <a:pt x="27" y="0"/>
                    <a:pt x="1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6" name="Freeform 21475">
              <a:extLst>
                <a:ext uri="{FF2B5EF4-FFF2-40B4-BE49-F238E27FC236}">
                  <a16:creationId xmlns:a16="http://schemas.microsoft.com/office/drawing/2014/main" id="{8705D7AF-FFBA-4264-B95C-F38B688F99DF}"/>
                </a:ext>
              </a:extLst>
            </p:cNvPr>
            <p:cNvSpPr>
              <a:spLocks/>
            </p:cNvSpPr>
            <p:nvPr userDrawn="1"/>
          </p:nvSpPr>
          <p:spPr bwMode="auto">
            <a:xfrm>
              <a:off x="9418003" y="3464878"/>
              <a:ext cx="280988" cy="260350"/>
            </a:xfrm>
            <a:custGeom>
              <a:avLst/>
              <a:gdLst>
                <a:gd name="T0" fmla="*/ 40 w 139"/>
                <a:gd name="T1" fmla="*/ 3 h 129"/>
                <a:gd name="T2" fmla="*/ 39 w 139"/>
                <a:gd name="T3" fmla="*/ 16 h 129"/>
                <a:gd name="T4" fmla="*/ 24 w 139"/>
                <a:gd name="T5" fmla="*/ 9 h 129"/>
                <a:gd name="T6" fmla="*/ 21 w 139"/>
                <a:gd name="T7" fmla="*/ 19 h 129"/>
                <a:gd name="T8" fmla="*/ 20 w 139"/>
                <a:gd name="T9" fmla="*/ 30 h 129"/>
                <a:gd name="T10" fmla="*/ 11 w 139"/>
                <a:gd name="T11" fmla="*/ 28 h 129"/>
                <a:gd name="T12" fmla="*/ 9 w 139"/>
                <a:gd name="T13" fmla="*/ 39 h 129"/>
                <a:gd name="T14" fmla="*/ 6 w 139"/>
                <a:gd name="T15" fmla="*/ 53 h 129"/>
                <a:gd name="T16" fmla="*/ 6 w 139"/>
                <a:gd name="T17" fmla="*/ 64 h 129"/>
                <a:gd name="T18" fmla="*/ 8 w 139"/>
                <a:gd name="T19" fmla="*/ 78 h 129"/>
                <a:gd name="T20" fmla="*/ 9 w 139"/>
                <a:gd name="T21" fmla="*/ 89 h 129"/>
                <a:gd name="T22" fmla="*/ 19 w 139"/>
                <a:gd name="T23" fmla="*/ 88 h 129"/>
                <a:gd name="T24" fmla="*/ 20 w 139"/>
                <a:gd name="T25" fmla="*/ 100 h 129"/>
                <a:gd name="T26" fmla="*/ 23 w 139"/>
                <a:gd name="T27" fmla="*/ 110 h 129"/>
                <a:gd name="T28" fmla="*/ 38 w 139"/>
                <a:gd name="T29" fmla="*/ 104 h 129"/>
                <a:gd name="T30" fmla="*/ 39 w 139"/>
                <a:gd name="T31" fmla="*/ 116 h 129"/>
                <a:gd name="T32" fmla="*/ 45 w 139"/>
                <a:gd name="T33" fmla="*/ 124 h 129"/>
                <a:gd name="T34" fmla="*/ 58 w 139"/>
                <a:gd name="T35" fmla="*/ 112 h 129"/>
                <a:gd name="T36" fmla="*/ 68 w 139"/>
                <a:gd name="T37" fmla="*/ 129 h 129"/>
                <a:gd name="T38" fmla="*/ 70 w 139"/>
                <a:gd name="T39" fmla="*/ 129 h 129"/>
                <a:gd name="T40" fmla="*/ 79 w 139"/>
                <a:gd name="T41" fmla="*/ 113 h 129"/>
                <a:gd name="T42" fmla="*/ 93 w 139"/>
                <a:gd name="T43" fmla="*/ 125 h 129"/>
                <a:gd name="T44" fmla="*/ 99 w 139"/>
                <a:gd name="T45" fmla="*/ 116 h 129"/>
                <a:gd name="T46" fmla="*/ 100 w 139"/>
                <a:gd name="T47" fmla="*/ 105 h 129"/>
                <a:gd name="T48" fmla="*/ 115 w 139"/>
                <a:gd name="T49" fmla="*/ 111 h 129"/>
                <a:gd name="T50" fmla="*/ 118 w 139"/>
                <a:gd name="T51" fmla="*/ 101 h 129"/>
                <a:gd name="T52" fmla="*/ 117 w 139"/>
                <a:gd name="T53" fmla="*/ 90 h 129"/>
                <a:gd name="T54" fmla="*/ 128 w 139"/>
                <a:gd name="T55" fmla="*/ 92 h 129"/>
                <a:gd name="T56" fmla="*/ 129 w 139"/>
                <a:gd name="T57" fmla="*/ 81 h 129"/>
                <a:gd name="T58" fmla="*/ 132 w 139"/>
                <a:gd name="T59" fmla="*/ 68 h 129"/>
                <a:gd name="T60" fmla="*/ 133 w 139"/>
                <a:gd name="T61" fmla="*/ 56 h 129"/>
                <a:gd name="T62" fmla="*/ 126 w 139"/>
                <a:gd name="T63" fmla="*/ 46 h 129"/>
                <a:gd name="T64" fmla="*/ 99 w 139"/>
                <a:gd name="T65" fmla="*/ 30 h 129"/>
                <a:gd name="T66" fmla="*/ 69 w 139"/>
                <a:gd name="T67" fmla="*/ 103 h 129"/>
                <a:gd name="T68" fmla="*/ 39 w 139"/>
                <a:gd name="T69" fmla="*/ 30 h 129"/>
                <a:gd name="T70" fmla="*/ 79 w 139"/>
                <a:gd name="T71" fmla="*/ 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9" h="129">
                  <a:moveTo>
                    <a:pt x="40" y="0"/>
                  </a:moveTo>
                  <a:cubicBezTo>
                    <a:pt x="40" y="1"/>
                    <a:pt x="40" y="2"/>
                    <a:pt x="40" y="3"/>
                  </a:cubicBezTo>
                  <a:cubicBezTo>
                    <a:pt x="41" y="8"/>
                    <a:pt x="41" y="14"/>
                    <a:pt x="39" y="16"/>
                  </a:cubicBezTo>
                  <a:cubicBezTo>
                    <a:pt x="39" y="16"/>
                    <a:pt x="39" y="16"/>
                    <a:pt x="39" y="16"/>
                  </a:cubicBezTo>
                  <a:cubicBezTo>
                    <a:pt x="36" y="16"/>
                    <a:pt x="32" y="13"/>
                    <a:pt x="29" y="11"/>
                  </a:cubicBezTo>
                  <a:cubicBezTo>
                    <a:pt x="27" y="9"/>
                    <a:pt x="26" y="9"/>
                    <a:pt x="24" y="9"/>
                  </a:cubicBezTo>
                  <a:cubicBezTo>
                    <a:pt x="23" y="9"/>
                    <a:pt x="22" y="10"/>
                    <a:pt x="21" y="11"/>
                  </a:cubicBezTo>
                  <a:cubicBezTo>
                    <a:pt x="19" y="12"/>
                    <a:pt x="17" y="14"/>
                    <a:pt x="21" y="19"/>
                  </a:cubicBezTo>
                  <a:cubicBezTo>
                    <a:pt x="23" y="22"/>
                    <a:pt x="25" y="26"/>
                    <a:pt x="25" y="29"/>
                  </a:cubicBezTo>
                  <a:cubicBezTo>
                    <a:pt x="24" y="30"/>
                    <a:pt x="22" y="30"/>
                    <a:pt x="20" y="30"/>
                  </a:cubicBezTo>
                  <a:cubicBezTo>
                    <a:pt x="18" y="30"/>
                    <a:pt x="16" y="29"/>
                    <a:pt x="14" y="29"/>
                  </a:cubicBezTo>
                  <a:cubicBezTo>
                    <a:pt x="12" y="29"/>
                    <a:pt x="11" y="28"/>
                    <a:pt x="11" y="28"/>
                  </a:cubicBezTo>
                  <a:cubicBezTo>
                    <a:pt x="8" y="28"/>
                    <a:pt x="7" y="30"/>
                    <a:pt x="6" y="32"/>
                  </a:cubicBezTo>
                  <a:cubicBezTo>
                    <a:pt x="5" y="34"/>
                    <a:pt x="4" y="36"/>
                    <a:pt x="9" y="39"/>
                  </a:cubicBezTo>
                  <a:cubicBezTo>
                    <a:pt x="13" y="42"/>
                    <a:pt x="16" y="45"/>
                    <a:pt x="17" y="47"/>
                  </a:cubicBezTo>
                  <a:cubicBezTo>
                    <a:pt x="16" y="50"/>
                    <a:pt x="11" y="52"/>
                    <a:pt x="6" y="53"/>
                  </a:cubicBezTo>
                  <a:cubicBezTo>
                    <a:pt x="0" y="54"/>
                    <a:pt x="0" y="56"/>
                    <a:pt x="0" y="58"/>
                  </a:cubicBezTo>
                  <a:cubicBezTo>
                    <a:pt x="0" y="61"/>
                    <a:pt x="0" y="63"/>
                    <a:pt x="6" y="64"/>
                  </a:cubicBezTo>
                  <a:cubicBezTo>
                    <a:pt x="10" y="65"/>
                    <a:pt x="15" y="67"/>
                    <a:pt x="16" y="69"/>
                  </a:cubicBezTo>
                  <a:cubicBezTo>
                    <a:pt x="16" y="71"/>
                    <a:pt x="12" y="75"/>
                    <a:pt x="8" y="78"/>
                  </a:cubicBezTo>
                  <a:cubicBezTo>
                    <a:pt x="3" y="81"/>
                    <a:pt x="4" y="83"/>
                    <a:pt x="5" y="85"/>
                  </a:cubicBezTo>
                  <a:cubicBezTo>
                    <a:pt x="6" y="87"/>
                    <a:pt x="6" y="89"/>
                    <a:pt x="9" y="89"/>
                  </a:cubicBezTo>
                  <a:cubicBezTo>
                    <a:pt x="10" y="89"/>
                    <a:pt x="11" y="89"/>
                    <a:pt x="12" y="88"/>
                  </a:cubicBezTo>
                  <a:cubicBezTo>
                    <a:pt x="14" y="88"/>
                    <a:pt x="17" y="88"/>
                    <a:pt x="19" y="88"/>
                  </a:cubicBezTo>
                  <a:cubicBezTo>
                    <a:pt x="21" y="88"/>
                    <a:pt x="23" y="88"/>
                    <a:pt x="24" y="88"/>
                  </a:cubicBezTo>
                  <a:cubicBezTo>
                    <a:pt x="25" y="91"/>
                    <a:pt x="23" y="96"/>
                    <a:pt x="20" y="100"/>
                  </a:cubicBezTo>
                  <a:cubicBezTo>
                    <a:pt x="16" y="105"/>
                    <a:pt x="18" y="106"/>
                    <a:pt x="20" y="108"/>
                  </a:cubicBezTo>
                  <a:cubicBezTo>
                    <a:pt x="21" y="109"/>
                    <a:pt x="22" y="110"/>
                    <a:pt x="23" y="110"/>
                  </a:cubicBezTo>
                  <a:cubicBezTo>
                    <a:pt x="25" y="110"/>
                    <a:pt x="26" y="110"/>
                    <a:pt x="28" y="108"/>
                  </a:cubicBezTo>
                  <a:cubicBezTo>
                    <a:pt x="31" y="106"/>
                    <a:pt x="35" y="104"/>
                    <a:pt x="38" y="104"/>
                  </a:cubicBezTo>
                  <a:cubicBezTo>
                    <a:pt x="38" y="104"/>
                    <a:pt x="38" y="104"/>
                    <a:pt x="38" y="104"/>
                  </a:cubicBezTo>
                  <a:cubicBezTo>
                    <a:pt x="40" y="106"/>
                    <a:pt x="40" y="111"/>
                    <a:pt x="39" y="116"/>
                  </a:cubicBezTo>
                  <a:cubicBezTo>
                    <a:pt x="38" y="122"/>
                    <a:pt x="40" y="123"/>
                    <a:pt x="42" y="123"/>
                  </a:cubicBezTo>
                  <a:cubicBezTo>
                    <a:pt x="43" y="124"/>
                    <a:pt x="44" y="124"/>
                    <a:pt x="45" y="124"/>
                  </a:cubicBezTo>
                  <a:cubicBezTo>
                    <a:pt x="46" y="124"/>
                    <a:pt x="48" y="123"/>
                    <a:pt x="50" y="120"/>
                  </a:cubicBezTo>
                  <a:cubicBezTo>
                    <a:pt x="52" y="117"/>
                    <a:pt x="55" y="113"/>
                    <a:pt x="58" y="112"/>
                  </a:cubicBezTo>
                  <a:cubicBezTo>
                    <a:pt x="60" y="113"/>
                    <a:pt x="62" y="119"/>
                    <a:pt x="63" y="123"/>
                  </a:cubicBezTo>
                  <a:cubicBezTo>
                    <a:pt x="64" y="128"/>
                    <a:pt x="66" y="129"/>
                    <a:pt x="68" y="129"/>
                  </a:cubicBezTo>
                  <a:cubicBezTo>
                    <a:pt x="68" y="129"/>
                    <a:pt x="69" y="129"/>
                    <a:pt x="69" y="129"/>
                  </a:cubicBezTo>
                  <a:cubicBezTo>
                    <a:pt x="69" y="129"/>
                    <a:pt x="69" y="129"/>
                    <a:pt x="70" y="129"/>
                  </a:cubicBezTo>
                  <a:cubicBezTo>
                    <a:pt x="72" y="129"/>
                    <a:pt x="74" y="129"/>
                    <a:pt x="75" y="123"/>
                  </a:cubicBezTo>
                  <a:cubicBezTo>
                    <a:pt x="75" y="119"/>
                    <a:pt x="77" y="114"/>
                    <a:pt x="79" y="113"/>
                  </a:cubicBezTo>
                  <a:cubicBezTo>
                    <a:pt x="81" y="113"/>
                    <a:pt x="86" y="117"/>
                    <a:pt x="88" y="121"/>
                  </a:cubicBezTo>
                  <a:cubicBezTo>
                    <a:pt x="90" y="124"/>
                    <a:pt x="91" y="125"/>
                    <a:pt x="93" y="125"/>
                  </a:cubicBezTo>
                  <a:cubicBezTo>
                    <a:pt x="94" y="125"/>
                    <a:pt x="95" y="124"/>
                    <a:pt x="96" y="124"/>
                  </a:cubicBezTo>
                  <a:cubicBezTo>
                    <a:pt x="98" y="123"/>
                    <a:pt x="100" y="122"/>
                    <a:pt x="99" y="116"/>
                  </a:cubicBezTo>
                  <a:cubicBezTo>
                    <a:pt x="98" y="112"/>
                    <a:pt x="97" y="107"/>
                    <a:pt x="99" y="105"/>
                  </a:cubicBezTo>
                  <a:cubicBezTo>
                    <a:pt x="99" y="105"/>
                    <a:pt x="99" y="105"/>
                    <a:pt x="100" y="105"/>
                  </a:cubicBezTo>
                  <a:cubicBezTo>
                    <a:pt x="103" y="105"/>
                    <a:pt x="107" y="107"/>
                    <a:pt x="110" y="109"/>
                  </a:cubicBezTo>
                  <a:cubicBezTo>
                    <a:pt x="112" y="110"/>
                    <a:pt x="114" y="111"/>
                    <a:pt x="115" y="111"/>
                  </a:cubicBezTo>
                  <a:cubicBezTo>
                    <a:pt x="116" y="111"/>
                    <a:pt x="117" y="110"/>
                    <a:pt x="118" y="109"/>
                  </a:cubicBezTo>
                  <a:cubicBezTo>
                    <a:pt x="120" y="107"/>
                    <a:pt x="122" y="105"/>
                    <a:pt x="118" y="101"/>
                  </a:cubicBezTo>
                  <a:cubicBezTo>
                    <a:pt x="116" y="98"/>
                    <a:pt x="114" y="93"/>
                    <a:pt x="114" y="91"/>
                  </a:cubicBezTo>
                  <a:cubicBezTo>
                    <a:pt x="115" y="91"/>
                    <a:pt x="116" y="90"/>
                    <a:pt x="117" y="90"/>
                  </a:cubicBezTo>
                  <a:cubicBezTo>
                    <a:pt x="119" y="90"/>
                    <a:pt x="122" y="91"/>
                    <a:pt x="124" y="92"/>
                  </a:cubicBezTo>
                  <a:cubicBezTo>
                    <a:pt x="126" y="92"/>
                    <a:pt x="127" y="92"/>
                    <a:pt x="128" y="92"/>
                  </a:cubicBezTo>
                  <a:cubicBezTo>
                    <a:pt x="130" y="92"/>
                    <a:pt x="131" y="90"/>
                    <a:pt x="132" y="89"/>
                  </a:cubicBezTo>
                  <a:cubicBezTo>
                    <a:pt x="133" y="87"/>
                    <a:pt x="134" y="85"/>
                    <a:pt x="129" y="81"/>
                  </a:cubicBezTo>
                  <a:cubicBezTo>
                    <a:pt x="125" y="79"/>
                    <a:pt x="122" y="74"/>
                    <a:pt x="122" y="72"/>
                  </a:cubicBezTo>
                  <a:cubicBezTo>
                    <a:pt x="123" y="70"/>
                    <a:pt x="128" y="68"/>
                    <a:pt x="132" y="68"/>
                  </a:cubicBezTo>
                  <a:cubicBezTo>
                    <a:pt x="138" y="67"/>
                    <a:pt x="138" y="65"/>
                    <a:pt x="138" y="62"/>
                  </a:cubicBezTo>
                  <a:cubicBezTo>
                    <a:pt x="138" y="60"/>
                    <a:pt x="139" y="57"/>
                    <a:pt x="133" y="56"/>
                  </a:cubicBezTo>
                  <a:cubicBezTo>
                    <a:pt x="128" y="55"/>
                    <a:pt x="123" y="53"/>
                    <a:pt x="122" y="50"/>
                  </a:cubicBezTo>
                  <a:cubicBezTo>
                    <a:pt x="123" y="49"/>
                    <a:pt x="124" y="48"/>
                    <a:pt x="126" y="46"/>
                  </a:cubicBezTo>
                  <a:cubicBezTo>
                    <a:pt x="117" y="40"/>
                    <a:pt x="108" y="35"/>
                    <a:pt x="99" y="30"/>
                  </a:cubicBezTo>
                  <a:cubicBezTo>
                    <a:pt x="99" y="30"/>
                    <a:pt x="99" y="30"/>
                    <a:pt x="99" y="30"/>
                  </a:cubicBezTo>
                  <a:cubicBezTo>
                    <a:pt x="116" y="47"/>
                    <a:pt x="116" y="74"/>
                    <a:pt x="99" y="90"/>
                  </a:cubicBezTo>
                  <a:cubicBezTo>
                    <a:pt x="91" y="99"/>
                    <a:pt x="80" y="103"/>
                    <a:pt x="69" y="103"/>
                  </a:cubicBezTo>
                  <a:cubicBezTo>
                    <a:pt x="58" y="103"/>
                    <a:pt x="47" y="98"/>
                    <a:pt x="39" y="90"/>
                  </a:cubicBezTo>
                  <a:cubicBezTo>
                    <a:pt x="22" y="73"/>
                    <a:pt x="22" y="46"/>
                    <a:pt x="39" y="30"/>
                  </a:cubicBezTo>
                  <a:cubicBezTo>
                    <a:pt x="47" y="21"/>
                    <a:pt x="58" y="17"/>
                    <a:pt x="69" y="17"/>
                  </a:cubicBezTo>
                  <a:cubicBezTo>
                    <a:pt x="73" y="17"/>
                    <a:pt x="76" y="18"/>
                    <a:pt x="79" y="19"/>
                  </a:cubicBezTo>
                  <a:cubicBezTo>
                    <a:pt x="67" y="12"/>
                    <a:pt x="53" y="5"/>
                    <a:pt x="4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7" name="Freeform 21476">
              <a:extLst>
                <a:ext uri="{FF2B5EF4-FFF2-40B4-BE49-F238E27FC236}">
                  <a16:creationId xmlns:a16="http://schemas.microsoft.com/office/drawing/2014/main" id="{97D6826D-3557-402F-A949-43A98588D5DE}"/>
                </a:ext>
              </a:extLst>
            </p:cNvPr>
            <p:cNvSpPr>
              <a:spLocks noEditPoints="1"/>
            </p:cNvSpPr>
            <p:nvPr userDrawn="1"/>
          </p:nvSpPr>
          <p:spPr bwMode="auto">
            <a:xfrm>
              <a:off x="9503728" y="3536315"/>
              <a:ext cx="111125" cy="100013"/>
            </a:xfrm>
            <a:custGeom>
              <a:avLst/>
              <a:gdLst>
                <a:gd name="T0" fmla="*/ 27 w 55"/>
                <a:gd name="T1" fmla="*/ 40 h 50"/>
                <a:gd name="T2" fmla="*/ 16 w 55"/>
                <a:gd name="T3" fmla="*/ 36 h 50"/>
                <a:gd name="T4" fmla="*/ 16 w 55"/>
                <a:gd name="T5" fmla="*/ 14 h 50"/>
                <a:gd name="T6" fmla="*/ 27 w 55"/>
                <a:gd name="T7" fmla="*/ 10 h 50"/>
                <a:gd name="T8" fmla="*/ 38 w 55"/>
                <a:gd name="T9" fmla="*/ 14 h 50"/>
                <a:gd name="T10" fmla="*/ 38 w 55"/>
                <a:gd name="T11" fmla="*/ 36 h 50"/>
                <a:gd name="T12" fmla="*/ 27 w 55"/>
                <a:gd name="T13" fmla="*/ 40 h 50"/>
                <a:gd name="T14" fmla="*/ 27 w 55"/>
                <a:gd name="T15" fmla="*/ 0 h 50"/>
                <a:gd name="T16" fmla="*/ 10 w 55"/>
                <a:gd name="T17" fmla="*/ 7 h 50"/>
                <a:gd name="T18" fmla="*/ 10 w 55"/>
                <a:gd name="T19" fmla="*/ 43 h 50"/>
                <a:gd name="T20" fmla="*/ 27 w 55"/>
                <a:gd name="T21" fmla="*/ 50 h 50"/>
                <a:gd name="T22" fmla="*/ 45 w 55"/>
                <a:gd name="T23" fmla="*/ 43 h 50"/>
                <a:gd name="T24" fmla="*/ 45 w 55"/>
                <a:gd name="T25" fmla="*/ 7 h 50"/>
                <a:gd name="T26" fmla="*/ 27 w 55"/>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0">
                  <a:moveTo>
                    <a:pt x="27" y="40"/>
                  </a:moveTo>
                  <a:cubicBezTo>
                    <a:pt x="23" y="40"/>
                    <a:pt x="19" y="39"/>
                    <a:pt x="16" y="36"/>
                  </a:cubicBezTo>
                  <a:cubicBezTo>
                    <a:pt x="10" y="30"/>
                    <a:pt x="10" y="20"/>
                    <a:pt x="16" y="14"/>
                  </a:cubicBezTo>
                  <a:cubicBezTo>
                    <a:pt x="19" y="11"/>
                    <a:pt x="23" y="10"/>
                    <a:pt x="27" y="10"/>
                  </a:cubicBezTo>
                  <a:cubicBezTo>
                    <a:pt x="31" y="10"/>
                    <a:pt x="35" y="11"/>
                    <a:pt x="38" y="14"/>
                  </a:cubicBezTo>
                  <a:cubicBezTo>
                    <a:pt x="44" y="20"/>
                    <a:pt x="44" y="30"/>
                    <a:pt x="38" y="36"/>
                  </a:cubicBezTo>
                  <a:cubicBezTo>
                    <a:pt x="35" y="39"/>
                    <a:pt x="31" y="40"/>
                    <a:pt x="27" y="40"/>
                  </a:cubicBezTo>
                  <a:moveTo>
                    <a:pt x="27" y="0"/>
                  </a:moveTo>
                  <a:cubicBezTo>
                    <a:pt x="21" y="0"/>
                    <a:pt x="15" y="3"/>
                    <a:pt x="10" y="7"/>
                  </a:cubicBezTo>
                  <a:cubicBezTo>
                    <a:pt x="0" y="17"/>
                    <a:pt x="0" y="33"/>
                    <a:pt x="10" y="43"/>
                  </a:cubicBezTo>
                  <a:cubicBezTo>
                    <a:pt x="15" y="47"/>
                    <a:pt x="21" y="50"/>
                    <a:pt x="27" y="50"/>
                  </a:cubicBezTo>
                  <a:cubicBezTo>
                    <a:pt x="34" y="50"/>
                    <a:pt x="40" y="47"/>
                    <a:pt x="45" y="43"/>
                  </a:cubicBezTo>
                  <a:cubicBezTo>
                    <a:pt x="55" y="33"/>
                    <a:pt x="55" y="17"/>
                    <a:pt x="45" y="7"/>
                  </a:cubicBezTo>
                  <a:cubicBezTo>
                    <a:pt x="40" y="3"/>
                    <a:pt x="34" y="0"/>
                    <a:pt x="27"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8" name="Freeform 21477">
              <a:extLst>
                <a:ext uri="{FF2B5EF4-FFF2-40B4-BE49-F238E27FC236}">
                  <a16:creationId xmlns:a16="http://schemas.microsoft.com/office/drawing/2014/main" id="{6C2EB87F-50D2-4F89-982F-48EF94C2559C}"/>
                </a:ext>
              </a:extLst>
            </p:cNvPr>
            <p:cNvSpPr>
              <a:spLocks noEditPoints="1"/>
            </p:cNvSpPr>
            <p:nvPr userDrawn="1"/>
          </p:nvSpPr>
          <p:spPr bwMode="auto">
            <a:xfrm>
              <a:off x="9497378" y="4179253"/>
              <a:ext cx="387350" cy="384175"/>
            </a:xfrm>
            <a:custGeom>
              <a:avLst/>
              <a:gdLst>
                <a:gd name="T0" fmla="*/ 54 w 192"/>
                <a:gd name="T1" fmla="*/ 137 h 191"/>
                <a:gd name="T2" fmla="*/ 96 w 192"/>
                <a:gd name="T3" fmla="*/ 37 h 191"/>
                <a:gd name="T4" fmla="*/ 138 w 192"/>
                <a:gd name="T5" fmla="*/ 137 h 191"/>
                <a:gd name="T6" fmla="*/ 96 w 192"/>
                <a:gd name="T7" fmla="*/ 0 h 191"/>
                <a:gd name="T8" fmla="*/ 81 w 192"/>
                <a:gd name="T9" fmla="*/ 23 h 191"/>
                <a:gd name="T10" fmla="*/ 64 w 192"/>
                <a:gd name="T11" fmla="*/ 6 h 191"/>
                <a:gd name="T12" fmla="*/ 56 w 192"/>
                <a:gd name="T13" fmla="*/ 17 h 191"/>
                <a:gd name="T14" fmla="*/ 54 w 192"/>
                <a:gd name="T15" fmla="*/ 34 h 191"/>
                <a:gd name="T16" fmla="*/ 34 w 192"/>
                <a:gd name="T17" fmla="*/ 25 h 191"/>
                <a:gd name="T18" fmla="*/ 29 w 192"/>
                <a:gd name="T19" fmla="*/ 39 h 191"/>
                <a:gd name="T20" fmla="*/ 28 w 192"/>
                <a:gd name="T21" fmla="*/ 54 h 191"/>
                <a:gd name="T22" fmla="*/ 15 w 192"/>
                <a:gd name="T23" fmla="*/ 52 h 191"/>
                <a:gd name="T24" fmla="*/ 13 w 192"/>
                <a:gd name="T25" fmla="*/ 67 h 191"/>
                <a:gd name="T26" fmla="*/ 8 w 192"/>
                <a:gd name="T27" fmla="*/ 86 h 191"/>
                <a:gd name="T28" fmla="*/ 8 w 192"/>
                <a:gd name="T29" fmla="*/ 101 h 191"/>
                <a:gd name="T30" fmla="*/ 11 w 192"/>
                <a:gd name="T31" fmla="*/ 120 h 191"/>
                <a:gd name="T32" fmla="*/ 13 w 192"/>
                <a:gd name="T33" fmla="*/ 136 h 191"/>
                <a:gd name="T34" fmla="*/ 26 w 192"/>
                <a:gd name="T35" fmla="*/ 134 h 191"/>
                <a:gd name="T36" fmla="*/ 27 w 192"/>
                <a:gd name="T37" fmla="*/ 151 h 191"/>
                <a:gd name="T38" fmla="*/ 33 w 192"/>
                <a:gd name="T39" fmla="*/ 165 h 191"/>
                <a:gd name="T40" fmla="*/ 53 w 192"/>
                <a:gd name="T41" fmla="*/ 156 h 191"/>
                <a:gd name="T42" fmla="*/ 54 w 192"/>
                <a:gd name="T43" fmla="*/ 173 h 191"/>
                <a:gd name="T44" fmla="*/ 63 w 192"/>
                <a:gd name="T45" fmla="*/ 185 h 191"/>
                <a:gd name="T46" fmla="*/ 80 w 192"/>
                <a:gd name="T47" fmla="*/ 168 h 191"/>
                <a:gd name="T48" fmla="*/ 94 w 192"/>
                <a:gd name="T49" fmla="*/ 191 h 191"/>
                <a:gd name="T50" fmla="*/ 96 w 192"/>
                <a:gd name="T51" fmla="*/ 191 h 191"/>
                <a:gd name="T52" fmla="*/ 109 w 192"/>
                <a:gd name="T53" fmla="*/ 169 h 191"/>
                <a:gd name="T54" fmla="*/ 128 w 192"/>
                <a:gd name="T55" fmla="*/ 185 h 191"/>
                <a:gd name="T56" fmla="*/ 137 w 192"/>
                <a:gd name="T57" fmla="*/ 174 h 191"/>
                <a:gd name="T58" fmla="*/ 138 w 192"/>
                <a:gd name="T59" fmla="*/ 157 h 191"/>
                <a:gd name="T60" fmla="*/ 159 w 192"/>
                <a:gd name="T61" fmla="*/ 166 h 191"/>
                <a:gd name="T62" fmla="*/ 164 w 192"/>
                <a:gd name="T63" fmla="*/ 152 h 191"/>
                <a:gd name="T64" fmla="*/ 162 w 192"/>
                <a:gd name="T65" fmla="*/ 138 h 191"/>
                <a:gd name="T66" fmla="*/ 177 w 192"/>
                <a:gd name="T67" fmla="*/ 140 h 191"/>
                <a:gd name="T68" fmla="*/ 179 w 192"/>
                <a:gd name="T69" fmla="*/ 125 h 191"/>
                <a:gd name="T70" fmla="*/ 183 w 192"/>
                <a:gd name="T71" fmla="*/ 106 h 191"/>
                <a:gd name="T72" fmla="*/ 184 w 192"/>
                <a:gd name="T73" fmla="*/ 91 h 191"/>
                <a:gd name="T74" fmla="*/ 181 w 192"/>
                <a:gd name="T75" fmla="*/ 72 h 191"/>
                <a:gd name="T76" fmla="*/ 179 w 192"/>
                <a:gd name="T77" fmla="*/ 57 h 191"/>
                <a:gd name="T78" fmla="*/ 168 w 192"/>
                <a:gd name="T79" fmla="*/ 58 h 191"/>
                <a:gd name="T80" fmla="*/ 165 w 192"/>
                <a:gd name="T81" fmla="*/ 41 h 191"/>
                <a:gd name="T82" fmla="*/ 160 w 192"/>
                <a:gd name="T83" fmla="*/ 27 h 191"/>
                <a:gd name="T84" fmla="*/ 140 w 192"/>
                <a:gd name="T85" fmla="*/ 35 h 191"/>
                <a:gd name="T86" fmla="*/ 138 w 192"/>
                <a:gd name="T87" fmla="*/ 19 h 191"/>
                <a:gd name="T88" fmla="*/ 130 w 192"/>
                <a:gd name="T89" fmla="*/ 7 h 191"/>
                <a:gd name="T90" fmla="*/ 111 w 192"/>
                <a:gd name="T91" fmla="*/ 23 h 191"/>
                <a:gd name="T92" fmla="*/ 105 w 192"/>
                <a:gd name="T93" fmla="*/ 8 h 191"/>
                <a:gd name="T94" fmla="*/ 96 w 192"/>
                <a:gd name="T95"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191">
                  <a:moveTo>
                    <a:pt x="96" y="155"/>
                  </a:moveTo>
                  <a:cubicBezTo>
                    <a:pt x="81" y="155"/>
                    <a:pt x="66" y="149"/>
                    <a:pt x="54" y="137"/>
                  </a:cubicBezTo>
                  <a:cubicBezTo>
                    <a:pt x="31" y="114"/>
                    <a:pt x="31" y="77"/>
                    <a:pt x="54" y="54"/>
                  </a:cubicBezTo>
                  <a:cubicBezTo>
                    <a:pt x="66" y="42"/>
                    <a:pt x="81" y="37"/>
                    <a:pt x="96" y="37"/>
                  </a:cubicBezTo>
                  <a:cubicBezTo>
                    <a:pt x="111" y="37"/>
                    <a:pt x="126" y="42"/>
                    <a:pt x="138" y="54"/>
                  </a:cubicBezTo>
                  <a:cubicBezTo>
                    <a:pt x="161" y="77"/>
                    <a:pt x="161" y="114"/>
                    <a:pt x="138" y="137"/>
                  </a:cubicBezTo>
                  <a:cubicBezTo>
                    <a:pt x="126" y="149"/>
                    <a:pt x="111" y="155"/>
                    <a:pt x="96" y="155"/>
                  </a:cubicBezTo>
                  <a:moveTo>
                    <a:pt x="96" y="0"/>
                  </a:moveTo>
                  <a:cubicBezTo>
                    <a:pt x="93" y="0"/>
                    <a:pt x="90" y="1"/>
                    <a:pt x="89" y="8"/>
                  </a:cubicBezTo>
                  <a:cubicBezTo>
                    <a:pt x="88" y="14"/>
                    <a:pt x="85" y="22"/>
                    <a:pt x="81" y="23"/>
                  </a:cubicBezTo>
                  <a:cubicBezTo>
                    <a:pt x="78" y="22"/>
                    <a:pt x="74" y="16"/>
                    <a:pt x="71" y="11"/>
                  </a:cubicBezTo>
                  <a:cubicBezTo>
                    <a:pt x="68" y="7"/>
                    <a:pt x="66" y="6"/>
                    <a:pt x="64" y="6"/>
                  </a:cubicBezTo>
                  <a:cubicBezTo>
                    <a:pt x="63" y="6"/>
                    <a:pt x="62" y="7"/>
                    <a:pt x="61" y="7"/>
                  </a:cubicBezTo>
                  <a:cubicBezTo>
                    <a:pt x="58" y="8"/>
                    <a:pt x="54" y="9"/>
                    <a:pt x="56" y="17"/>
                  </a:cubicBezTo>
                  <a:cubicBezTo>
                    <a:pt x="57" y="24"/>
                    <a:pt x="57" y="32"/>
                    <a:pt x="55" y="34"/>
                  </a:cubicBezTo>
                  <a:cubicBezTo>
                    <a:pt x="54" y="34"/>
                    <a:pt x="54" y="34"/>
                    <a:pt x="54" y="34"/>
                  </a:cubicBezTo>
                  <a:cubicBezTo>
                    <a:pt x="51" y="34"/>
                    <a:pt x="45" y="31"/>
                    <a:pt x="40" y="28"/>
                  </a:cubicBezTo>
                  <a:cubicBezTo>
                    <a:pt x="37" y="26"/>
                    <a:pt x="35" y="25"/>
                    <a:pt x="34" y="25"/>
                  </a:cubicBezTo>
                  <a:cubicBezTo>
                    <a:pt x="32" y="25"/>
                    <a:pt x="30" y="26"/>
                    <a:pt x="29" y="28"/>
                  </a:cubicBezTo>
                  <a:cubicBezTo>
                    <a:pt x="27" y="30"/>
                    <a:pt x="24" y="32"/>
                    <a:pt x="29" y="39"/>
                  </a:cubicBezTo>
                  <a:cubicBezTo>
                    <a:pt x="32" y="43"/>
                    <a:pt x="34" y="49"/>
                    <a:pt x="34" y="53"/>
                  </a:cubicBezTo>
                  <a:cubicBezTo>
                    <a:pt x="33" y="53"/>
                    <a:pt x="31" y="54"/>
                    <a:pt x="28" y="54"/>
                  </a:cubicBezTo>
                  <a:cubicBezTo>
                    <a:pt x="25" y="54"/>
                    <a:pt x="22" y="53"/>
                    <a:pt x="19" y="53"/>
                  </a:cubicBezTo>
                  <a:cubicBezTo>
                    <a:pt x="17" y="52"/>
                    <a:pt x="16" y="52"/>
                    <a:pt x="15" y="52"/>
                  </a:cubicBezTo>
                  <a:cubicBezTo>
                    <a:pt x="11" y="52"/>
                    <a:pt x="10" y="55"/>
                    <a:pt x="9" y="57"/>
                  </a:cubicBezTo>
                  <a:cubicBezTo>
                    <a:pt x="8" y="60"/>
                    <a:pt x="6" y="63"/>
                    <a:pt x="13" y="67"/>
                  </a:cubicBezTo>
                  <a:cubicBezTo>
                    <a:pt x="18" y="70"/>
                    <a:pt x="23" y="75"/>
                    <a:pt x="24" y="78"/>
                  </a:cubicBezTo>
                  <a:cubicBezTo>
                    <a:pt x="23" y="82"/>
                    <a:pt x="15" y="85"/>
                    <a:pt x="8" y="86"/>
                  </a:cubicBezTo>
                  <a:cubicBezTo>
                    <a:pt x="0" y="87"/>
                    <a:pt x="1" y="90"/>
                    <a:pt x="1" y="93"/>
                  </a:cubicBezTo>
                  <a:cubicBezTo>
                    <a:pt x="1" y="97"/>
                    <a:pt x="0" y="100"/>
                    <a:pt x="8" y="101"/>
                  </a:cubicBezTo>
                  <a:cubicBezTo>
                    <a:pt x="14" y="102"/>
                    <a:pt x="20" y="105"/>
                    <a:pt x="23" y="108"/>
                  </a:cubicBezTo>
                  <a:cubicBezTo>
                    <a:pt x="23" y="111"/>
                    <a:pt x="17" y="117"/>
                    <a:pt x="11" y="120"/>
                  </a:cubicBezTo>
                  <a:cubicBezTo>
                    <a:pt x="4" y="124"/>
                    <a:pt x="6" y="128"/>
                    <a:pt x="7" y="130"/>
                  </a:cubicBezTo>
                  <a:cubicBezTo>
                    <a:pt x="8" y="133"/>
                    <a:pt x="9" y="136"/>
                    <a:pt x="13" y="136"/>
                  </a:cubicBezTo>
                  <a:cubicBezTo>
                    <a:pt x="14" y="136"/>
                    <a:pt x="16" y="135"/>
                    <a:pt x="17" y="135"/>
                  </a:cubicBezTo>
                  <a:cubicBezTo>
                    <a:pt x="20" y="134"/>
                    <a:pt x="23" y="134"/>
                    <a:pt x="26" y="134"/>
                  </a:cubicBezTo>
                  <a:cubicBezTo>
                    <a:pt x="29" y="134"/>
                    <a:pt x="31" y="134"/>
                    <a:pt x="33" y="135"/>
                  </a:cubicBezTo>
                  <a:cubicBezTo>
                    <a:pt x="34" y="138"/>
                    <a:pt x="31" y="146"/>
                    <a:pt x="27" y="151"/>
                  </a:cubicBezTo>
                  <a:cubicBezTo>
                    <a:pt x="22" y="158"/>
                    <a:pt x="25" y="160"/>
                    <a:pt x="28" y="162"/>
                  </a:cubicBezTo>
                  <a:cubicBezTo>
                    <a:pt x="29" y="163"/>
                    <a:pt x="30" y="165"/>
                    <a:pt x="33" y="165"/>
                  </a:cubicBezTo>
                  <a:cubicBezTo>
                    <a:pt x="34" y="165"/>
                    <a:pt x="36" y="164"/>
                    <a:pt x="39" y="162"/>
                  </a:cubicBezTo>
                  <a:cubicBezTo>
                    <a:pt x="43" y="159"/>
                    <a:pt x="49" y="156"/>
                    <a:pt x="53" y="156"/>
                  </a:cubicBezTo>
                  <a:cubicBezTo>
                    <a:pt x="53" y="156"/>
                    <a:pt x="53" y="156"/>
                    <a:pt x="53" y="156"/>
                  </a:cubicBezTo>
                  <a:cubicBezTo>
                    <a:pt x="56" y="159"/>
                    <a:pt x="56" y="167"/>
                    <a:pt x="54" y="173"/>
                  </a:cubicBezTo>
                  <a:cubicBezTo>
                    <a:pt x="52" y="181"/>
                    <a:pt x="56" y="182"/>
                    <a:pt x="59" y="183"/>
                  </a:cubicBezTo>
                  <a:cubicBezTo>
                    <a:pt x="60" y="184"/>
                    <a:pt x="61" y="185"/>
                    <a:pt x="63" y="185"/>
                  </a:cubicBezTo>
                  <a:cubicBezTo>
                    <a:pt x="64" y="185"/>
                    <a:pt x="67" y="183"/>
                    <a:pt x="69" y="179"/>
                  </a:cubicBezTo>
                  <a:cubicBezTo>
                    <a:pt x="72" y="174"/>
                    <a:pt x="77" y="169"/>
                    <a:pt x="80" y="168"/>
                  </a:cubicBezTo>
                  <a:cubicBezTo>
                    <a:pt x="83" y="169"/>
                    <a:pt x="86" y="177"/>
                    <a:pt x="88" y="183"/>
                  </a:cubicBezTo>
                  <a:cubicBezTo>
                    <a:pt x="88" y="190"/>
                    <a:pt x="91" y="191"/>
                    <a:pt x="94" y="191"/>
                  </a:cubicBezTo>
                  <a:cubicBezTo>
                    <a:pt x="95" y="191"/>
                    <a:pt x="95" y="191"/>
                    <a:pt x="95" y="191"/>
                  </a:cubicBezTo>
                  <a:cubicBezTo>
                    <a:pt x="96" y="191"/>
                    <a:pt x="96" y="191"/>
                    <a:pt x="96" y="191"/>
                  </a:cubicBezTo>
                  <a:cubicBezTo>
                    <a:pt x="99" y="191"/>
                    <a:pt x="102" y="191"/>
                    <a:pt x="103" y="183"/>
                  </a:cubicBezTo>
                  <a:cubicBezTo>
                    <a:pt x="104" y="178"/>
                    <a:pt x="107" y="171"/>
                    <a:pt x="109" y="169"/>
                  </a:cubicBezTo>
                  <a:cubicBezTo>
                    <a:pt x="113" y="169"/>
                    <a:pt x="119" y="174"/>
                    <a:pt x="122" y="180"/>
                  </a:cubicBezTo>
                  <a:cubicBezTo>
                    <a:pt x="124" y="184"/>
                    <a:pt x="127" y="185"/>
                    <a:pt x="128" y="185"/>
                  </a:cubicBezTo>
                  <a:cubicBezTo>
                    <a:pt x="130" y="185"/>
                    <a:pt x="131" y="184"/>
                    <a:pt x="132" y="184"/>
                  </a:cubicBezTo>
                  <a:cubicBezTo>
                    <a:pt x="135" y="183"/>
                    <a:pt x="139" y="182"/>
                    <a:pt x="137" y="174"/>
                  </a:cubicBezTo>
                  <a:cubicBezTo>
                    <a:pt x="135" y="168"/>
                    <a:pt x="135" y="161"/>
                    <a:pt x="136" y="158"/>
                  </a:cubicBezTo>
                  <a:cubicBezTo>
                    <a:pt x="137" y="158"/>
                    <a:pt x="138" y="157"/>
                    <a:pt x="138" y="157"/>
                  </a:cubicBezTo>
                  <a:cubicBezTo>
                    <a:pt x="142" y="157"/>
                    <a:pt x="148" y="160"/>
                    <a:pt x="153" y="163"/>
                  </a:cubicBezTo>
                  <a:cubicBezTo>
                    <a:pt x="155" y="165"/>
                    <a:pt x="157" y="166"/>
                    <a:pt x="159" y="166"/>
                  </a:cubicBezTo>
                  <a:cubicBezTo>
                    <a:pt x="161" y="166"/>
                    <a:pt x="162" y="164"/>
                    <a:pt x="164" y="163"/>
                  </a:cubicBezTo>
                  <a:cubicBezTo>
                    <a:pt x="166" y="161"/>
                    <a:pt x="169" y="158"/>
                    <a:pt x="164" y="152"/>
                  </a:cubicBezTo>
                  <a:cubicBezTo>
                    <a:pt x="160" y="148"/>
                    <a:pt x="158" y="142"/>
                    <a:pt x="157" y="138"/>
                  </a:cubicBezTo>
                  <a:cubicBezTo>
                    <a:pt x="159" y="138"/>
                    <a:pt x="160" y="138"/>
                    <a:pt x="162" y="138"/>
                  </a:cubicBezTo>
                  <a:cubicBezTo>
                    <a:pt x="165" y="138"/>
                    <a:pt x="169" y="138"/>
                    <a:pt x="172" y="139"/>
                  </a:cubicBezTo>
                  <a:cubicBezTo>
                    <a:pt x="174" y="140"/>
                    <a:pt x="176" y="140"/>
                    <a:pt x="177" y="140"/>
                  </a:cubicBezTo>
                  <a:cubicBezTo>
                    <a:pt x="181" y="140"/>
                    <a:pt x="182" y="138"/>
                    <a:pt x="183" y="135"/>
                  </a:cubicBezTo>
                  <a:cubicBezTo>
                    <a:pt x="184" y="133"/>
                    <a:pt x="186" y="130"/>
                    <a:pt x="179" y="125"/>
                  </a:cubicBezTo>
                  <a:cubicBezTo>
                    <a:pt x="174" y="121"/>
                    <a:pt x="168" y="115"/>
                    <a:pt x="168" y="112"/>
                  </a:cubicBezTo>
                  <a:cubicBezTo>
                    <a:pt x="171" y="109"/>
                    <a:pt x="177" y="107"/>
                    <a:pt x="183" y="106"/>
                  </a:cubicBezTo>
                  <a:cubicBezTo>
                    <a:pt x="191" y="106"/>
                    <a:pt x="191" y="102"/>
                    <a:pt x="191" y="99"/>
                  </a:cubicBezTo>
                  <a:cubicBezTo>
                    <a:pt x="191" y="96"/>
                    <a:pt x="192" y="92"/>
                    <a:pt x="184" y="91"/>
                  </a:cubicBezTo>
                  <a:cubicBezTo>
                    <a:pt x="177" y="89"/>
                    <a:pt x="170" y="86"/>
                    <a:pt x="169" y="83"/>
                  </a:cubicBezTo>
                  <a:cubicBezTo>
                    <a:pt x="170" y="79"/>
                    <a:pt x="176" y="75"/>
                    <a:pt x="181" y="72"/>
                  </a:cubicBezTo>
                  <a:cubicBezTo>
                    <a:pt x="188" y="68"/>
                    <a:pt x="186" y="65"/>
                    <a:pt x="185" y="62"/>
                  </a:cubicBezTo>
                  <a:cubicBezTo>
                    <a:pt x="184" y="59"/>
                    <a:pt x="184" y="57"/>
                    <a:pt x="179" y="57"/>
                  </a:cubicBezTo>
                  <a:cubicBezTo>
                    <a:pt x="178" y="57"/>
                    <a:pt x="177" y="57"/>
                    <a:pt x="175" y="57"/>
                  </a:cubicBezTo>
                  <a:cubicBezTo>
                    <a:pt x="173" y="57"/>
                    <a:pt x="170" y="58"/>
                    <a:pt x="168" y="58"/>
                  </a:cubicBezTo>
                  <a:cubicBezTo>
                    <a:pt x="164" y="58"/>
                    <a:pt x="160" y="57"/>
                    <a:pt x="158" y="55"/>
                  </a:cubicBezTo>
                  <a:cubicBezTo>
                    <a:pt x="158" y="52"/>
                    <a:pt x="161" y="46"/>
                    <a:pt x="165" y="41"/>
                  </a:cubicBezTo>
                  <a:cubicBezTo>
                    <a:pt x="170" y="35"/>
                    <a:pt x="167" y="32"/>
                    <a:pt x="165" y="30"/>
                  </a:cubicBezTo>
                  <a:cubicBezTo>
                    <a:pt x="164" y="29"/>
                    <a:pt x="162" y="27"/>
                    <a:pt x="160" y="27"/>
                  </a:cubicBezTo>
                  <a:cubicBezTo>
                    <a:pt x="159" y="27"/>
                    <a:pt x="157" y="28"/>
                    <a:pt x="154" y="29"/>
                  </a:cubicBezTo>
                  <a:cubicBezTo>
                    <a:pt x="150" y="32"/>
                    <a:pt x="144" y="35"/>
                    <a:pt x="140" y="35"/>
                  </a:cubicBezTo>
                  <a:cubicBezTo>
                    <a:pt x="139" y="35"/>
                    <a:pt x="138" y="35"/>
                    <a:pt x="138" y="34"/>
                  </a:cubicBezTo>
                  <a:cubicBezTo>
                    <a:pt x="136" y="31"/>
                    <a:pt x="137" y="24"/>
                    <a:pt x="138" y="19"/>
                  </a:cubicBezTo>
                  <a:cubicBezTo>
                    <a:pt x="141" y="11"/>
                    <a:pt x="137" y="10"/>
                    <a:pt x="134" y="8"/>
                  </a:cubicBezTo>
                  <a:cubicBezTo>
                    <a:pt x="133" y="8"/>
                    <a:pt x="132" y="7"/>
                    <a:pt x="130" y="7"/>
                  </a:cubicBezTo>
                  <a:cubicBezTo>
                    <a:pt x="128" y="7"/>
                    <a:pt x="126" y="8"/>
                    <a:pt x="124" y="12"/>
                  </a:cubicBezTo>
                  <a:cubicBezTo>
                    <a:pt x="120" y="17"/>
                    <a:pt x="114" y="23"/>
                    <a:pt x="111" y="23"/>
                  </a:cubicBezTo>
                  <a:cubicBezTo>
                    <a:pt x="111" y="23"/>
                    <a:pt x="111" y="23"/>
                    <a:pt x="111" y="23"/>
                  </a:cubicBezTo>
                  <a:cubicBezTo>
                    <a:pt x="108" y="21"/>
                    <a:pt x="106" y="14"/>
                    <a:pt x="105" y="8"/>
                  </a:cubicBezTo>
                  <a:cubicBezTo>
                    <a:pt x="104" y="0"/>
                    <a:pt x="101" y="0"/>
                    <a:pt x="97" y="0"/>
                  </a:cubicBezTo>
                  <a:cubicBezTo>
                    <a:pt x="97" y="0"/>
                    <a:pt x="96" y="0"/>
                    <a:pt x="96"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9" name="Freeform 21478">
              <a:extLst>
                <a:ext uri="{FF2B5EF4-FFF2-40B4-BE49-F238E27FC236}">
                  <a16:creationId xmlns:a16="http://schemas.microsoft.com/office/drawing/2014/main" id="{912C1FB5-10E9-4A1E-8FA9-994A94E820B0}"/>
                </a:ext>
              </a:extLst>
            </p:cNvPr>
            <p:cNvSpPr>
              <a:spLocks noEditPoints="1"/>
            </p:cNvSpPr>
            <p:nvPr userDrawn="1"/>
          </p:nvSpPr>
          <p:spPr bwMode="auto">
            <a:xfrm>
              <a:off x="9614853" y="4301490"/>
              <a:ext cx="153988" cy="139700"/>
            </a:xfrm>
            <a:custGeom>
              <a:avLst/>
              <a:gdLst>
                <a:gd name="T0" fmla="*/ 38 w 76"/>
                <a:gd name="T1" fmla="*/ 56 h 69"/>
                <a:gd name="T2" fmla="*/ 23 w 76"/>
                <a:gd name="T3" fmla="*/ 50 h 69"/>
                <a:gd name="T4" fmla="*/ 23 w 76"/>
                <a:gd name="T5" fmla="*/ 19 h 69"/>
                <a:gd name="T6" fmla="*/ 38 w 76"/>
                <a:gd name="T7" fmla="*/ 13 h 69"/>
                <a:gd name="T8" fmla="*/ 53 w 76"/>
                <a:gd name="T9" fmla="*/ 20 h 69"/>
                <a:gd name="T10" fmla="*/ 53 w 76"/>
                <a:gd name="T11" fmla="*/ 50 h 69"/>
                <a:gd name="T12" fmla="*/ 38 w 76"/>
                <a:gd name="T13" fmla="*/ 56 h 69"/>
                <a:gd name="T14" fmla="*/ 38 w 76"/>
                <a:gd name="T15" fmla="*/ 0 h 69"/>
                <a:gd name="T16" fmla="*/ 14 w 76"/>
                <a:gd name="T17" fmla="*/ 10 h 69"/>
                <a:gd name="T18" fmla="*/ 14 w 76"/>
                <a:gd name="T19" fmla="*/ 59 h 69"/>
                <a:gd name="T20" fmla="*/ 38 w 76"/>
                <a:gd name="T21" fmla="*/ 69 h 69"/>
                <a:gd name="T22" fmla="*/ 62 w 76"/>
                <a:gd name="T23" fmla="*/ 59 h 69"/>
                <a:gd name="T24" fmla="*/ 62 w 76"/>
                <a:gd name="T25" fmla="*/ 10 h 69"/>
                <a:gd name="T26" fmla="*/ 38 w 76"/>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9">
                  <a:moveTo>
                    <a:pt x="38" y="56"/>
                  </a:moveTo>
                  <a:cubicBezTo>
                    <a:pt x="32" y="56"/>
                    <a:pt x="27" y="54"/>
                    <a:pt x="23" y="50"/>
                  </a:cubicBezTo>
                  <a:cubicBezTo>
                    <a:pt x="14" y="41"/>
                    <a:pt x="15" y="28"/>
                    <a:pt x="23" y="19"/>
                  </a:cubicBezTo>
                  <a:cubicBezTo>
                    <a:pt x="27" y="15"/>
                    <a:pt x="33" y="13"/>
                    <a:pt x="38" y="13"/>
                  </a:cubicBezTo>
                  <a:cubicBezTo>
                    <a:pt x="43" y="13"/>
                    <a:pt x="49" y="15"/>
                    <a:pt x="53" y="20"/>
                  </a:cubicBezTo>
                  <a:cubicBezTo>
                    <a:pt x="61" y="28"/>
                    <a:pt x="61" y="41"/>
                    <a:pt x="53" y="50"/>
                  </a:cubicBezTo>
                  <a:cubicBezTo>
                    <a:pt x="49" y="54"/>
                    <a:pt x="43" y="56"/>
                    <a:pt x="38" y="56"/>
                  </a:cubicBezTo>
                  <a:moveTo>
                    <a:pt x="38" y="0"/>
                  </a:moveTo>
                  <a:cubicBezTo>
                    <a:pt x="29" y="0"/>
                    <a:pt x="20" y="4"/>
                    <a:pt x="14" y="10"/>
                  </a:cubicBezTo>
                  <a:cubicBezTo>
                    <a:pt x="0" y="24"/>
                    <a:pt x="0" y="45"/>
                    <a:pt x="14" y="59"/>
                  </a:cubicBezTo>
                  <a:cubicBezTo>
                    <a:pt x="20" y="66"/>
                    <a:pt x="29" y="69"/>
                    <a:pt x="38" y="69"/>
                  </a:cubicBezTo>
                  <a:cubicBezTo>
                    <a:pt x="47" y="69"/>
                    <a:pt x="56" y="66"/>
                    <a:pt x="62" y="59"/>
                  </a:cubicBezTo>
                  <a:cubicBezTo>
                    <a:pt x="76" y="46"/>
                    <a:pt x="76" y="24"/>
                    <a:pt x="62" y="10"/>
                  </a:cubicBezTo>
                  <a:cubicBezTo>
                    <a:pt x="56" y="4"/>
                    <a:pt x="47" y="0"/>
                    <a:pt x="3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1" name="Freeform 21479">
              <a:extLst>
                <a:ext uri="{FF2B5EF4-FFF2-40B4-BE49-F238E27FC236}">
                  <a16:creationId xmlns:a16="http://schemas.microsoft.com/office/drawing/2014/main" id="{6200E591-1696-4BD9-BE05-DFA5173AA9F1}"/>
                </a:ext>
              </a:extLst>
            </p:cNvPr>
            <p:cNvSpPr>
              <a:spLocks/>
            </p:cNvSpPr>
            <p:nvPr userDrawn="1"/>
          </p:nvSpPr>
          <p:spPr bwMode="auto">
            <a:xfrm>
              <a:off x="8802053" y="3345815"/>
              <a:ext cx="311150" cy="212725"/>
            </a:xfrm>
            <a:custGeom>
              <a:avLst/>
              <a:gdLst>
                <a:gd name="T0" fmla="*/ 138 w 154"/>
                <a:gd name="T1" fmla="*/ 0 h 105"/>
                <a:gd name="T2" fmla="*/ 96 w 154"/>
                <a:gd name="T3" fmla="*/ 2 h 105"/>
                <a:gd name="T4" fmla="*/ 105 w 154"/>
                <a:gd name="T5" fmla="*/ 11 h 105"/>
                <a:gd name="T6" fmla="*/ 97 w 154"/>
                <a:gd name="T7" fmla="*/ 64 h 105"/>
                <a:gd name="T8" fmla="*/ 75 w 154"/>
                <a:gd name="T9" fmla="*/ 71 h 105"/>
                <a:gd name="T10" fmla="*/ 44 w 154"/>
                <a:gd name="T11" fmla="*/ 56 h 105"/>
                <a:gd name="T12" fmla="*/ 47 w 154"/>
                <a:gd name="T13" fmla="*/ 8 h 105"/>
                <a:gd name="T14" fmla="*/ 5 w 154"/>
                <a:gd name="T15" fmla="*/ 16 h 105"/>
                <a:gd name="T16" fmla="*/ 17 w 154"/>
                <a:gd name="T17" fmla="*/ 76 h 105"/>
                <a:gd name="T18" fmla="*/ 75 w 154"/>
                <a:gd name="T19" fmla="*/ 105 h 105"/>
                <a:gd name="T20" fmla="*/ 117 w 154"/>
                <a:gd name="T21" fmla="*/ 91 h 105"/>
                <a:gd name="T22" fmla="*/ 138 w 154"/>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05">
                  <a:moveTo>
                    <a:pt x="138" y="0"/>
                  </a:moveTo>
                  <a:cubicBezTo>
                    <a:pt x="124" y="0"/>
                    <a:pt x="110" y="1"/>
                    <a:pt x="96" y="2"/>
                  </a:cubicBezTo>
                  <a:cubicBezTo>
                    <a:pt x="99" y="4"/>
                    <a:pt x="102" y="7"/>
                    <a:pt x="105" y="11"/>
                  </a:cubicBezTo>
                  <a:cubicBezTo>
                    <a:pt x="117" y="28"/>
                    <a:pt x="114" y="52"/>
                    <a:pt x="97" y="64"/>
                  </a:cubicBezTo>
                  <a:cubicBezTo>
                    <a:pt x="90" y="69"/>
                    <a:pt x="82" y="71"/>
                    <a:pt x="75" y="71"/>
                  </a:cubicBezTo>
                  <a:cubicBezTo>
                    <a:pt x="63" y="71"/>
                    <a:pt x="51" y="66"/>
                    <a:pt x="44" y="56"/>
                  </a:cubicBezTo>
                  <a:cubicBezTo>
                    <a:pt x="33" y="41"/>
                    <a:pt x="35" y="21"/>
                    <a:pt x="47" y="8"/>
                  </a:cubicBezTo>
                  <a:cubicBezTo>
                    <a:pt x="33" y="10"/>
                    <a:pt x="19" y="13"/>
                    <a:pt x="5" y="16"/>
                  </a:cubicBezTo>
                  <a:cubicBezTo>
                    <a:pt x="0" y="36"/>
                    <a:pt x="4" y="58"/>
                    <a:pt x="17" y="76"/>
                  </a:cubicBezTo>
                  <a:cubicBezTo>
                    <a:pt x="31" y="95"/>
                    <a:pt x="52" y="105"/>
                    <a:pt x="75" y="105"/>
                  </a:cubicBezTo>
                  <a:cubicBezTo>
                    <a:pt x="89" y="105"/>
                    <a:pt x="104" y="101"/>
                    <a:pt x="117" y="91"/>
                  </a:cubicBezTo>
                  <a:cubicBezTo>
                    <a:pt x="146" y="70"/>
                    <a:pt x="154" y="31"/>
                    <a:pt x="13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2" name="Freeform 21480">
              <a:extLst>
                <a:ext uri="{FF2B5EF4-FFF2-40B4-BE49-F238E27FC236}">
                  <a16:creationId xmlns:a16="http://schemas.microsoft.com/office/drawing/2014/main" id="{F52954A7-154A-4BE7-9CF1-C508F202BC9F}"/>
                </a:ext>
              </a:extLst>
            </p:cNvPr>
            <p:cNvSpPr>
              <a:spLocks/>
            </p:cNvSpPr>
            <p:nvPr userDrawn="1"/>
          </p:nvSpPr>
          <p:spPr bwMode="auto">
            <a:xfrm>
              <a:off x="8727440" y="3345815"/>
              <a:ext cx="447675" cy="290513"/>
            </a:xfrm>
            <a:custGeom>
              <a:avLst/>
              <a:gdLst>
                <a:gd name="T0" fmla="*/ 175 w 222"/>
                <a:gd name="T1" fmla="*/ 0 h 144"/>
                <a:gd name="T2" fmla="*/ 112 w 222"/>
                <a:gd name="T3" fmla="*/ 105 h 144"/>
                <a:gd name="T4" fmla="*/ 42 w 222"/>
                <a:gd name="T5" fmla="*/ 16 h 144"/>
                <a:gd name="T6" fmla="*/ 23 w 222"/>
                <a:gd name="T7" fmla="*/ 21 h 144"/>
                <a:gd name="T8" fmla="*/ 1 w 222"/>
                <a:gd name="T9" fmla="*/ 37 h 144"/>
                <a:gd name="T10" fmla="*/ 23 w 222"/>
                <a:gd name="T11" fmla="*/ 49 h 144"/>
                <a:gd name="T12" fmla="*/ 8 w 222"/>
                <a:gd name="T13" fmla="*/ 70 h 144"/>
                <a:gd name="T14" fmla="*/ 17 w 222"/>
                <a:gd name="T15" fmla="*/ 75 h 144"/>
                <a:gd name="T16" fmla="*/ 32 w 222"/>
                <a:gd name="T17" fmla="*/ 75 h 144"/>
                <a:gd name="T18" fmla="*/ 24 w 222"/>
                <a:gd name="T19" fmla="*/ 100 h 144"/>
                <a:gd name="T20" fmla="*/ 34 w 222"/>
                <a:gd name="T21" fmla="*/ 102 h 144"/>
                <a:gd name="T22" fmla="*/ 49 w 222"/>
                <a:gd name="T23" fmla="*/ 98 h 144"/>
                <a:gd name="T24" fmla="*/ 48 w 222"/>
                <a:gd name="T25" fmla="*/ 124 h 144"/>
                <a:gd name="T26" fmla="*/ 59 w 222"/>
                <a:gd name="T27" fmla="*/ 122 h 144"/>
                <a:gd name="T28" fmla="*/ 74 w 222"/>
                <a:gd name="T29" fmla="*/ 130 h 144"/>
                <a:gd name="T30" fmla="*/ 83 w 222"/>
                <a:gd name="T31" fmla="*/ 140 h 144"/>
                <a:gd name="T32" fmla="*/ 98 w 222"/>
                <a:gd name="T33" fmla="*/ 122 h 144"/>
                <a:gd name="T34" fmla="*/ 111 w 222"/>
                <a:gd name="T35" fmla="*/ 144 h 144"/>
                <a:gd name="T36" fmla="*/ 120 w 222"/>
                <a:gd name="T37" fmla="*/ 136 h 144"/>
                <a:gd name="T38" fmla="*/ 137 w 222"/>
                <a:gd name="T39" fmla="*/ 134 h 144"/>
                <a:gd name="T40" fmla="*/ 147 w 222"/>
                <a:gd name="T41" fmla="*/ 138 h 144"/>
                <a:gd name="T42" fmla="*/ 152 w 222"/>
                <a:gd name="T43" fmla="*/ 113 h 144"/>
                <a:gd name="T44" fmla="*/ 167 w 222"/>
                <a:gd name="T45" fmla="*/ 121 h 144"/>
                <a:gd name="T46" fmla="*/ 177 w 222"/>
                <a:gd name="T47" fmla="*/ 122 h 144"/>
                <a:gd name="T48" fmla="*/ 175 w 222"/>
                <a:gd name="T49" fmla="*/ 96 h 144"/>
                <a:gd name="T50" fmla="*/ 192 w 222"/>
                <a:gd name="T51" fmla="*/ 98 h 144"/>
                <a:gd name="T52" fmla="*/ 202 w 222"/>
                <a:gd name="T53" fmla="*/ 96 h 144"/>
                <a:gd name="T54" fmla="*/ 193 w 222"/>
                <a:gd name="T55" fmla="*/ 72 h 144"/>
                <a:gd name="T56" fmla="*/ 208 w 222"/>
                <a:gd name="T57" fmla="*/ 70 h 144"/>
                <a:gd name="T58" fmla="*/ 217 w 222"/>
                <a:gd name="T59" fmla="*/ 65 h 144"/>
                <a:gd name="T60" fmla="*/ 201 w 222"/>
                <a:gd name="T61" fmla="*/ 45 h 144"/>
                <a:gd name="T62" fmla="*/ 222 w 222"/>
                <a:gd name="T63" fmla="*/ 31 h 144"/>
                <a:gd name="T64" fmla="*/ 200 w 222"/>
                <a:gd name="T65" fmla="*/ 17 h 144"/>
                <a:gd name="T66" fmla="*/ 217 w 222"/>
                <a:gd name="T67" fmla="*/ 1 h 144"/>
                <a:gd name="T68" fmla="*/ 200 w 222"/>
                <a:gd name="T69" fmla="*/ 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144">
                  <a:moveTo>
                    <a:pt x="180" y="0"/>
                  </a:moveTo>
                  <a:cubicBezTo>
                    <a:pt x="178" y="0"/>
                    <a:pt x="177" y="0"/>
                    <a:pt x="175" y="0"/>
                  </a:cubicBezTo>
                  <a:cubicBezTo>
                    <a:pt x="191" y="31"/>
                    <a:pt x="183" y="70"/>
                    <a:pt x="154" y="91"/>
                  </a:cubicBezTo>
                  <a:cubicBezTo>
                    <a:pt x="141" y="101"/>
                    <a:pt x="126" y="105"/>
                    <a:pt x="112" y="105"/>
                  </a:cubicBezTo>
                  <a:cubicBezTo>
                    <a:pt x="89" y="105"/>
                    <a:pt x="68" y="95"/>
                    <a:pt x="54" y="76"/>
                  </a:cubicBezTo>
                  <a:cubicBezTo>
                    <a:pt x="41" y="58"/>
                    <a:pt x="37" y="36"/>
                    <a:pt x="42" y="16"/>
                  </a:cubicBezTo>
                  <a:cubicBezTo>
                    <a:pt x="35" y="18"/>
                    <a:pt x="29" y="19"/>
                    <a:pt x="22" y="21"/>
                  </a:cubicBezTo>
                  <a:cubicBezTo>
                    <a:pt x="23" y="21"/>
                    <a:pt x="23" y="21"/>
                    <a:pt x="23" y="21"/>
                  </a:cubicBezTo>
                  <a:cubicBezTo>
                    <a:pt x="21" y="24"/>
                    <a:pt x="14" y="27"/>
                    <a:pt x="8" y="29"/>
                  </a:cubicBezTo>
                  <a:cubicBezTo>
                    <a:pt x="0" y="30"/>
                    <a:pt x="1" y="34"/>
                    <a:pt x="1" y="37"/>
                  </a:cubicBezTo>
                  <a:cubicBezTo>
                    <a:pt x="1" y="40"/>
                    <a:pt x="1" y="43"/>
                    <a:pt x="9" y="44"/>
                  </a:cubicBezTo>
                  <a:cubicBezTo>
                    <a:pt x="14" y="45"/>
                    <a:pt x="21" y="47"/>
                    <a:pt x="23" y="49"/>
                  </a:cubicBezTo>
                  <a:cubicBezTo>
                    <a:pt x="23" y="52"/>
                    <a:pt x="17" y="57"/>
                    <a:pt x="12" y="61"/>
                  </a:cubicBezTo>
                  <a:cubicBezTo>
                    <a:pt x="5" y="64"/>
                    <a:pt x="6" y="67"/>
                    <a:pt x="8" y="70"/>
                  </a:cubicBezTo>
                  <a:cubicBezTo>
                    <a:pt x="8" y="72"/>
                    <a:pt x="9" y="75"/>
                    <a:pt x="13" y="75"/>
                  </a:cubicBezTo>
                  <a:cubicBezTo>
                    <a:pt x="14" y="75"/>
                    <a:pt x="16" y="75"/>
                    <a:pt x="17" y="75"/>
                  </a:cubicBezTo>
                  <a:cubicBezTo>
                    <a:pt x="19" y="74"/>
                    <a:pt x="22" y="74"/>
                    <a:pt x="24" y="74"/>
                  </a:cubicBezTo>
                  <a:cubicBezTo>
                    <a:pt x="28" y="74"/>
                    <a:pt x="30" y="74"/>
                    <a:pt x="32" y="75"/>
                  </a:cubicBezTo>
                  <a:cubicBezTo>
                    <a:pt x="33" y="79"/>
                    <a:pt x="29" y="85"/>
                    <a:pt x="25" y="90"/>
                  </a:cubicBezTo>
                  <a:cubicBezTo>
                    <a:pt x="19" y="95"/>
                    <a:pt x="22" y="98"/>
                    <a:pt x="24" y="100"/>
                  </a:cubicBezTo>
                  <a:cubicBezTo>
                    <a:pt x="25" y="102"/>
                    <a:pt x="26" y="104"/>
                    <a:pt x="29" y="104"/>
                  </a:cubicBezTo>
                  <a:cubicBezTo>
                    <a:pt x="30" y="104"/>
                    <a:pt x="32" y="103"/>
                    <a:pt x="34" y="102"/>
                  </a:cubicBezTo>
                  <a:cubicBezTo>
                    <a:pt x="39" y="99"/>
                    <a:pt x="44" y="98"/>
                    <a:pt x="47" y="98"/>
                  </a:cubicBezTo>
                  <a:cubicBezTo>
                    <a:pt x="48" y="98"/>
                    <a:pt x="48" y="98"/>
                    <a:pt x="49" y="98"/>
                  </a:cubicBezTo>
                  <a:cubicBezTo>
                    <a:pt x="50" y="101"/>
                    <a:pt x="49" y="108"/>
                    <a:pt x="46" y="114"/>
                  </a:cubicBezTo>
                  <a:cubicBezTo>
                    <a:pt x="43" y="121"/>
                    <a:pt x="46" y="122"/>
                    <a:pt x="48" y="124"/>
                  </a:cubicBezTo>
                  <a:cubicBezTo>
                    <a:pt x="50" y="125"/>
                    <a:pt x="51" y="126"/>
                    <a:pt x="53" y="126"/>
                  </a:cubicBezTo>
                  <a:cubicBezTo>
                    <a:pt x="54" y="126"/>
                    <a:pt x="56" y="125"/>
                    <a:pt x="59" y="122"/>
                  </a:cubicBezTo>
                  <a:cubicBezTo>
                    <a:pt x="63" y="118"/>
                    <a:pt x="68" y="114"/>
                    <a:pt x="71" y="114"/>
                  </a:cubicBezTo>
                  <a:cubicBezTo>
                    <a:pt x="74" y="116"/>
                    <a:pt x="75" y="124"/>
                    <a:pt x="74" y="130"/>
                  </a:cubicBezTo>
                  <a:cubicBezTo>
                    <a:pt x="73" y="138"/>
                    <a:pt x="76" y="138"/>
                    <a:pt x="79" y="139"/>
                  </a:cubicBezTo>
                  <a:cubicBezTo>
                    <a:pt x="80" y="139"/>
                    <a:pt x="81" y="140"/>
                    <a:pt x="83" y="140"/>
                  </a:cubicBezTo>
                  <a:cubicBezTo>
                    <a:pt x="84" y="140"/>
                    <a:pt x="87" y="138"/>
                    <a:pt x="89" y="134"/>
                  </a:cubicBezTo>
                  <a:cubicBezTo>
                    <a:pt x="91" y="129"/>
                    <a:pt x="95" y="124"/>
                    <a:pt x="98" y="122"/>
                  </a:cubicBezTo>
                  <a:cubicBezTo>
                    <a:pt x="101" y="124"/>
                    <a:pt x="104" y="131"/>
                    <a:pt x="105" y="137"/>
                  </a:cubicBezTo>
                  <a:cubicBezTo>
                    <a:pt x="106" y="143"/>
                    <a:pt x="109" y="144"/>
                    <a:pt x="111" y="144"/>
                  </a:cubicBezTo>
                  <a:cubicBezTo>
                    <a:pt x="112" y="144"/>
                    <a:pt x="112" y="144"/>
                    <a:pt x="113" y="144"/>
                  </a:cubicBezTo>
                  <a:cubicBezTo>
                    <a:pt x="116" y="144"/>
                    <a:pt x="120" y="144"/>
                    <a:pt x="120" y="136"/>
                  </a:cubicBezTo>
                  <a:cubicBezTo>
                    <a:pt x="121" y="131"/>
                    <a:pt x="123" y="124"/>
                    <a:pt x="126" y="122"/>
                  </a:cubicBezTo>
                  <a:cubicBezTo>
                    <a:pt x="129" y="123"/>
                    <a:pt x="134" y="128"/>
                    <a:pt x="137" y="134"/>
                  </a:cubicBezTo>
                  <a:cubicBezTo>
                    <a:pt x="139" y="138"/>
                    <a:pt x="141" y="139"/>
                    <a:pt x="143" y="139"/>
                  </a:cubicBezTo>
                  <a:cubicBezTo>
                    <a:pt x="144" y="139"/>
                    <a:pt x="146" y="138"/>
                    <a:pt x="147" y="138"/>
                  </a:cubicBezTo>
                  <a:cubicBezTo>
                    <a:pt x="149" y="137"/>
                    <a:pt x="153" y="136"/>
                    <a:pt x="151" y="129"/>
                  </a:cubicBezTo>
                  <a:cubicBezTo>
                    <a:pt x="150" y="123"/>
                    <a:pt x="151" y="117"/>
                    <a:pt x="152" y="113"/>
                  </a:cubicBezTo>
                  <a:cubicBezTo>
                    <a:pt x="152" y="113"/>
                    <a:pt x="153" y="113"/>
                    <a:pt x="153" y="113"/>
                  </a:cubicBezTo>
                  <a:cubicBezTo>
                    <a:pt x="156" y="113"/>
                    <a:pt x="162" y="117"/>
                    <a:pt x="167" y="121"/>
                  </a:cubicBezTo>
                  <a:cubicBezTo>
                    <a:pt x="169" y="124"/>
                    <a:pt x="171" y="124"/>
                    <a:pt x="173" y="124"/>
                  </a:cubicBezTo>
                  <a:cubicBezTo>
                    <a:pt x="174" y="124"/>
                    <a:pt x="176" y="123"/>
                    <a:pt x="177" y="122"/>
                  </a:cubicBezTo>
                  <a:cubicBezTo>
                    <a:pt x="179" y="120"/>
                    <a:pt x="183" y="119"/>
                    <a:pt x="179" y="112"/>
                  </a:cubicBezTo>
                  <a:cubicBezTo>
                    <a:pt x="176" y="106"/>
                    <a:pt x="173" y="98"/>
                    <a:pt x="175" y="96"/>
                  </a:cubicBezTo>
                  <a:cubicBezTo>
                    <a:pt x="176" y="95"/>
                    <a:pt x="177" y="94"/>
                    <a:pt x="179" y="94"/>
                  </a:cubicBezTo>
                  <a:cubicBezTo>
                    <a:pt x="183" y="94"/>
                    <a:pt x="188" y="96"/>
                    <a:pt x="192" y="98"/>
                  </a:cubicBezTo>
                  <a:cubicBezTo>
                    <a:pt x="194" y="99"/>
                    <a:pt x="196" y="100"/>
                    <a:pt x="197" y="100"/>
                  </a:cubicBezTo>
                  <a:cubicBezTo>
                    <a:pt x="200" y="100"/>
                    <a:pt x="201" y="98"/>
                    <a:pt x="202" y="96"/>
                  </a:cubicBezTo>
                  <a:cubicBezTo>
                    <a:pt x="204" y="93"/>
                    <a:pt x="207" y="91"/>
                    <a:pt x="201" y="85"/>
                  </a:cubicBezTo>
                  <a:cubicBezTo>
                    <a:pt x="197" y="81"/>
                    <a:pt x="193" y="75"/>
                    <a:pt x="193" y="72"/>
                  </a:cubicBezTo>
                  <a:cubicBezTo>
                    <a:pt x="195" y="70"/>
                    <a:pt x="199" y="70"/>
                    <a:pt x="202" y="70"/>
                  </a:cubicBezTo>
                  <a:cubicBezTo>
                    <a:pt x="204" y="70"/>
                    <a:pt x="206" y="70"/>
                    <a:pt x="208" y="70"/>
                  </a:cubicBezTo>
                  <a:cubicBezTo>
                    <a:pt x="209" y="70"/>
                    <a:pt x="210" y="70"/>
                    <a:pt x="211" y="70"/>
                  </a:cubicBezTo>
                  <a:cubicBezTo>
                    <a:pt x="216" y="70"/>
                    <a:pt x="217" y="67"/>
                    <a:pt x="217" y="65"/>
                  </a:cubicBezTo>
                  <a:cubicBezTo>
                    <a:pt x="218" y="62"/>
                    <a:pt x="220" y="59"/>
                    <a:pt x="213" y="56"/>
                  </a:cubicBezTo>
                  <a:cubicBezTo>
                    <a:pt x="207" y="53"/>
                    <a:pt x="201" y="48"/>
                    <a:pt x="201" y="45"/>
                  </a:cubicBezTo>
                  <a:cubicBezTo>
                    <a:pt x="203" y="42"/>
                    <a:pt x="209" y="40"/>
                    <a:pt x="215" y="39"/>
                  </a:cubicBezTo>
                  <a:cubicBezTo>
                    <a:pt x="222" y="38"/>
                    <a:pt x="222" y="34"/>
                    <a:pt x="222" y="31"/>
                  </a:cubicBezTo>
                  <a:cubicBezTo>
                    <a:pt x="222" y="28"/>
                    <a:pt x="222" y="25"/>
                    <a:pt x="215" y="24"/>
                  </a:cubicBezTo>
                  <a:cubicBezTo>
                    <a:pt x="208" y="23"/>
                    <a:pt x="201" y="20"/>
                    <a:pt x="200" y="17"/>
                  </a:cubicBezTo>
                  <a:cubicBezTo>
                    <a:pt x="201" y="14"/>
                    <a:pt x="206" y="10"/>
                    <a:pt x="211" y="7"/>
                  </a:cubicBezTo>
                  <a:cubicBezTo>
                    <a:pt x="215" y="5"/>
                    <a:pt x="217" y="3"/>
                    <a:pt x="217" y="1"/>
                  </a:cubicBezTo>
                  <a:cubicBezTo>
                    <a:pt x="212" y="1"/>
                    <a:pt x="207" y="1"/>
                    <a:pt x="202" y="1"/>
                  </a:cubicBezTo>
                  <a:cubicBezTo>
                    <a:pt x="201" y="1"/>
                    <a:pt x="201" y="1"/>
                    <a:pt x="200" y="1"/>
                  </a:cubicBezTo>
                  <a:cubicBezTo>
                    <a:pt x="194" y="0"/>
                    <a:pt x="187" y="0"/>
                    <a:pt x="18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3" name="Freeform 21481">
              <a:extLst>
                <a:ext uri="{FF2B5EF4-FFF2-40B4-BE49-F238E27FC236}">
                  <a16:creationId xmlns:a16="http://schemas.microsoft.com/office/drawing/2014/main" id="{51AEEA5A-3179-4AE8-9683-0B0FB5AFC773}"/>
                </a:ext>
              </a:extLst>
            </p:cNvPr>
            <p:cNvSpPr>
              <a:spLocks noEditPoints="1"/>
            </p:cNvSpPr>
            <p:nvPr userDrawn="1"/>
          </p:nvSpPr>
          <p:spPr bwMode="auto">
            <a:xfrm>
              <a:off x="8868728" y="3350578"/>
              <a:ext cx="169863" cy="139700"/>
            </a:xfrm>
            <a:custGeom>
              <a:avLst/>
              <a:gdLst>
                <a:gd name="T0" fmla="*/ 42 w 84"/>
                <a:gd name="T1" fmla="*/ 55 h 69"/>
                <a:gd name="T2" fmla="*/ 23 w 84"/>
                <a:gd name="T3" fmla="*/ 45 h 69"/>
                <a:gd name="T4" fmla="*/ 28 w 84"/>
                <a:gd name="T5" fmla="*/ 12 h 69"/>
                <a:gd name="T6" fmla="*/ 42 w 84"/>
                <a:gd name="T7" fmla="*/ 8 h 69"/>
                <a:gd name="T8" fmla="*/ 61 w 84"/>
                <a:gd name="T9" fmla="*/ 18 h 69"/>
                <a:gd name="T10" fmla="*/ 55 w 84"/>
                <a:gd name="T11" fmla="*/ 50 h 69"/>
                <a:gd name="T12" fmla="*/ 42 w 84"/>
                <a:gd name="T13" fmla="*/ 55 h 69"/>
                <a:gd name="T14" fmla="*/ 63 w 84"/>
                <a:gd name="T15" fmla="*/ 0 h 69"/>
                <a:gd name="T16" fmla="*/ 14 w 84"/>
                <a:gd name="T17" fmla="*/ 6 h 69"/>
                <a:gd name="T18" fmla="*/ 11 w 84"/>
                <a:gd name="T19" fmla="*/ 54 h 69"/>
                <a:gd name="T20" fmla="*/ 42 w 84"/>
                <a:gd name="T21" fmla="*/ 69 h 69"/>
                <a:gd name="T22" fmla="*/ 64 w 84"/>
                <a:gd name="T23" fmla="*/ 62 h 69"/>
                <a:gd name="T24" fmla="*/ 72 w 84"/>
                <a:gd name="T25" fmla="*/ 9 h 69"/>
                <a:gd name="T26" fmla="*/ 63 w 84"/>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69">
                  <a:moveTo>
                    <a:pt x="42" y="55"/>
                  </a:moveTo>
                  <a:cubicBezTo>
                    <a:pt x="34" y="55"/>
                    <a:pt x="27" y="52"/>
                    <a:pt x="23" y="45"/>
                  </a:cubicBezTo>
                  <a:cubicBezTo>
                    <a:pt x="15" y="35"/>
                    <a:pt x="17" y="20"/>
                    <a:pt x="28" y="12"/>
                  </a:cubicBezTo>
                  <a:cubicBezTo>
                    <a:pt x="32" y="9"/>
                    <a:pt x="37" y="8"/>
                    <a:pt x="42" y="8"/>
                  </a:cubicBezTo>
                  <a:cubicBezTo>
                    <a:pt x="49" y="8"/>
                    <a:pt x="56" y="11"/>
                    <a:pt x="61" y="18"/>
                  </a:cubicBezTo>
                  <a:cubicBezTo>
                    <a:pt x="68" y="28"/>
                    <a:pt x="66" y="43"/>
                    <a:pt x="55" y="50"/>
                  </a:cubicBezTo>
                  <a:cubicBezTo>
                    <a:pt x="51" y="53"/>
                    <a:pt x="46" y="55"/>
                    <a:pt x="42" y="55"/>
                  </a:cubicBezTo>
                  <a:moveTo>
                    <a:pt x="63" y="0"/>
                  </a:moveTo>
                  <a:cubicBezTo>
                    <a:pt x="46" y="1"/>
                    <a:pt x="30" y="3"/>
                    <a:pt x="14" y="6"/>
                  </a:cubicBezTo>
                  <a:cubicBezTo>
                    <a:pt x="2" y="19"/>
                    <a:pt x="0" y="39"/>
                    <a:pt x="11" y="54"/>
                  </a:cubicBezTo>
                  <a:cubicBezTo>
                    <a:pt x="18" y="64"/>
                    <a:pt x="30" y="69"/>
                    <a:pt x="42" y="69"/>
                  </a:cubicBezTo>
                  <a:cubicBezTo>
                    <a:pt x="49" y="69"/>
                    <a:pt x="57" y="67"/>
                    <a:pt x="64" y="62"/>
                  </a:cubicBezTo>
                  <a:cubicBezTo>
                    <a:pt x="81" y="50"/>
                    <a:pt x="84" y="26"/>
                    <a:pt x="72" y="9"/>
                  </a:cubicBezTo>
                  <a:cubicBezTo>
                    <a:pt x="69" y="5"/>
                    <a:pt x="66" y="2"/>
                    <a:pt x="6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4" name="Freeform 21482">
              <a:extLst>
                <a:ext uri="{FF2B5EF4-FFF2-40B4-BE49-F238E27FC236}">
                  <a16:creationId xmlns:a16="http://schemas.microsoft.com/office/drawing/2014/main" id="{FFAFF656-C27C-4267-A1CA-D3737B9D29DB}"/>
                </a:ext>
              </a:extLst>
            </p:cNvPr>
            <p:cNvSpPr>
              <a:spLocks noEditPoints="1"/>
            </p:cNvSpPr>
            <p:nvPr userDrawn="1"/>
          </p:nvSpPr>
          <p:spPr bwMode="auto">
            <a:xfrm>
              <a:off x="8314690" y="4338003"/>
              <a:ext cx="755650" cy="669925"/>
            </a:xfrm>
            <a:custGeom>
              <a:avLst/>
              <a:gdLst>
                <a:gd name="T0" fmla="*/ 109 w 374"/>
                <a:gd name="T1" fmla="*/ 237 h 332"/>
                <a:gd name="T2" fmla="*/ 111 w 374"/>
                <a:gd name="T3" fmla="*/ 181 h 332"/>
                <a:gd name="T4" fmla="*/ 131 w 374"/>
                <a:gd name="T5" fmla="*/ 171 h 332"/>
                <a:gd name="T6" fmla="*/ 136 w 374"/>
                <a:gd name="T7" fmla="*/ 237 h 332"/>
                <a:gd name="T8" fmla="*/ 114 w 374"/>
                <a:gd name="T9" fmla="*/ 242 h 332"/>
                <a:gd name="T10" fmla="*/ 188 w 374"/>
                <a:gd name="T11" fmla="*/ 237 h 332"/>
                <a:gd name="T12" fmla="*/ 191 w 374"/>
                <a:gd name="T13" fmla="*/ 172 h 332"/>
                <a:gd name="T14" fmla="*/ 211 w 374"/>
                <a:gd name="T15" fmla="*/ 161 h 332"/>
                <a:gd name="T16" fmla="*/ 216 w 374"/>
                <a:gd name="T17" fmla="*/ 237 h 332"/>
                <a:gd name="T18" fmla="*/ 193 w 374"/>
                <a:gd name="T19" fmla="*/ 242 h 332"/>
                <a:gd name="T20" fmla="*/ 151 w 374"/>
                <a:gd name="T21" fmla="*/ 237 h 332"/>
                <a:gd name="T22" fmla="*/ 154 w 374"/>
                <a:gd name="T23" fmla="*/ 161 h 332"/>
                <a:gd name="T24" fmla="*/ 167 w 374"/>
                <a:gd name="T25" fmla="*/ 155 h 332"/>
                <a:gd name="T26" fmla="*/ 178 w 374"/>
                <a:gd name="T27" fmla="*/ 165 h 332"/>
                <a:gd name="T28" fmla="*/ 178 w 374"/>
                <a:gd name="T29" fmla="*/ 237 h 332"/>
                <a:gd name="T30" fmla="*/ 156 w 374"/>
                <a:gd name="T31" fmla="*/ 242 h 332"/>
                <a:gd name="T32" fmla="*/ 226 w 374"/>
                <a:gd name="T33" fmla="*/ 237 h 332"/>
                <a:gd name="T34" fmla="*/ 228 w 374"/>
                <a:gd name="T35" fmla="*/ 150 h 332"/>
                <a:gd name="T36" fmla="*/ 249 w 374"/>
                <a:gd name="T37" fmla="*/ 139 h 332"/>
                <a:gd name="T38" fmla="*/ 253 w 374"/>
                <a:gd name="T39" fmla="*/ 237 h 332"/>
                <a:gd name="T40" fmla="*/ 231 w 374"/>
                <a:gd name="T41" fmla="*/ 242 h 332"/>
                <a:gd name="T42" fmla="*/ 241 w 374"/>
                <a:gd name="T43" fmla="*/ 100 h 332"/>
                <a:gd name="T44" fmla="*/ 228 w 374"/>
                <a:gd name="T45" fmla="*/ 77 h 332"/>
                <a:gd name="T46" fmla="*/ 292 w 374"/>
                <a:gd name="T47" fmla="*/ 85 h 332"/>
                <a:gd name="T48" fmla="*/ 255 w 374"/>
                <a:gd name="T49" fmla="*/ 123 h 332"/>
                <a:gd name="T50" fmla="*/ 180 w 374"/>
                <a:gd name="T51" fmla="*/ 152 h 332"/>
                <a:gd name="T52" fmla="*/ 107 w 374"/>
                <a:gd name="T53" fmla="*/ 175 h 332"/>
                <a:gd name="T54" fmla="*/ 94 w 374"/>
                <a:gd name="T55" fmla="*/ 151 h 332"/>
                <a:gd name="T56" fmla="*/ 175 w 374"/>
                <a:gd name="T57" fmla="*/ 109 h 332"/>
                <a:gd name="T58" fmla="*/ 195 w 374"/>
                <a:gd name="T59" fmla="*/ 127 h 332"/>
                <a:gd name="T60" fmla="*/ 83 w 374"/>
                <a:gd name="T61" fmla="*/ 37 h 332"/>
                <a:gd name="T62" fmla="*/ 187 w 374"/>
                <a:gd name="T63" fmla="*/ 332 h 332"/>
                <a:gd name="T64" fmla="*/ 316 w 374"/>
                <a:gd name="T65" fmla="*/ 6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4" h="332">
                  <a:moveTo>
                    <a:pt x="114" y="242"/>
                  </a:moveTo>
                  <a:cubicBezTo>
                    <a:pt x="111" y="242"/>
                    <a:pt x="109" y="240"/>
                    <a:pt x="109" y="237"/>
                  </a:cubicBezTo>
                  <a:cubicBezTo>
                    <a:pt x="109" y="186"/>
                    <a:pt x="109" y="186"/>
                    <a:pt x="109" y="186"/>
                  </a:cubicBezTo>
                  <a:cubicBezTo>
                    <a:pt x="109" y="184"/>
                    <a:pt x="110" y="182"/>
                    <a:pt x="111" y="181"/>
                  </a:cubicBezTo>
                  <a:cubicBezTo>
                    <a:pt x="117" y="178"/>
                    <a:pt x="123" y="175"/>
                    <a:pt x="129" y="172"/>
                  </a:cubicBezTo>
                  <a:cubicBezTo>
                    <a:pt x="130" y="172"/>
                    <a:pt x="131" y="171"/>
                    <a:pt x="131" y="171"/>
                  </a:cubicBezTo>
                  <a:cubicBezTo>
                    <a:pt x="134" y="171"/>
                    <a:pt x="136" y="173"/>
                    <a:pt x="136" y="176"/>
                  </a:cubicBezTo>
                  <a:cubicBezTo>
                    <a:pt x="136" y="237"/>
                    <a:pt x="136" y="237"/>
                    <a:pt x="136" y="237"/>
                  </a:cubicBezTo>
                  <a:cubicBezTo>
                    <a:pt x="136" y="240"/>
                    <a:pt x="134" y="242"/>
                    <a:pt x="131" y="242"/>
                  </a:cubicBezTo>
                  <a:cubicBezTo>
                    <a:pt x="114" y="242"/>
                    <a:pt x="114" y="242"/>
                    <a:pt x="114" y="242"/>
                  </a:cubicBezTo>
                  <a:moveTo>
                    <a:pt x="193" y="242"/>
                  </a:moveTo>
                  <a:cubicBezTo>
                    <a:pt x="191" y="242"/>
                    <a:pt x="188" y="240"/>
                    <a:pt x="188" y="237"/>
                  </a:cubicBezTo>
                  <a:cubicBezTo>
                    <a:pt x="188" y="177"/>
                    <a:pt x="188" y="177"/>
                    <a:pt x="188" y="177"/>
                  </a:cubicBezTo>
                  <a:cubicBezTo>
                    <a:pt x="188" y="175"/>
                    <a:pt x="189" y="173"/>
                    <a:pt x="191" y="172"/>
                  </a:cubicBezTo>
                  <a:cubicBezTo>
                    <a:pt x="197" y="169"/>
                    <a:pt x="203" y="165"/>
                    <a:pt x="209" y="162"/>
                  </a:cubicBezTo>
                  <a:cubicBezTo>
                    <a:pt x="209" y="161"/>
                    <a:pt x="210" y="161"/>
                    <a:pt x="211" y="161"/>
                  </a:cubicBezTo>
                  <a:cubicBezTo>
                    <a:pt x="214" y="161"/>
                    <a:pt x="216" y="163"/>
                    <a:pt x="216" y="166"/>
                  </a:cubicBezTo>
                  <a:cubicBezTo>
                    <a:pt x="216" y="237"/>
                    <a:pt x="216" y="237"/>
                    <a:pt x="216" y="237"/>
                  </a:cubicBezTo>
                  <a:cubicBezTo>
                    <a:pt x="216" y="240"/>
                    <a:pt x="214" y="242"/>
                    <a:pt x="211" y="242"/>
                  </a:cubicBezTo>
                  <a:cubicBezTo>
                    <a:pt x="193" y="242"/>
                    <a:pt x="193" y="242"/>
                    <a:pt x="193" y="242"/>
                  </a:cubicBezTo>
                  <a:moveTo>
                    <a:pt x="156" y="242"/>
                  </a:moveTo>
                  <a:cubicBezTo>
                    <a:pt x="153" y="242"/>
                    <a:pt x="151" y="240"/>
                    <a:pt x="151" y="237"/>
                  </a:cubicBezTo>
                  <a:cubicBezTo>
                    <a:pt x="151" y="166"/>
                    <a:pt x="151" y="166"/>
                    <a:pt x="151" y="166"/>
                  </a:cubicBezTo>
                  <a:cubicBezTo>
                    <a:pt x="151" y="164"/>
                    <a:pt x="152" y="162"/>
                    <a:pt x="154" y="161"/>
                  </a:cubicBezTo>
                  <a:cubicBezTo>
                    <a:pt x="158" y="160"/>
                    <a:pt x="161" y="157"/>
                    <a:pt x="165" y="156"/>
                  </a:cubicBezTo>
                  <a:cubicBezTo>
                    <a:pt x="166" y="155"/>
                    <a:pt x="166" y="155"/>
                    <a:pt x="167" y="155"/>
                  </a:cubicBezTo>
                  <a:cubicBezTo>
                    <a:pt x="168" y="155"/>
                    <a:pt x="169" y="155"/>
                    <a:pt x="170" y="156"/>
                  </a:cubicBezTo>
                  <a:cubicBezTo>
                    <a:pt x="173" y="159"/>
                    <a:pt x="178" y="162"/>
                    <a:pt x="178" y="165"/>
                  </a:cubicBezTo>
                  <a:cubicBezTo>
                    <a:pt x="179" y="167"/>
                    <a:pt x="178" y="171"/>
                    <a:pt x="178" y="174"/>
                  </a:cubicBezTo>
                  <a:cubicBezTo>
                    <a:pt x="178" y="237"/>
                    <a:pt x="178" y="237"/>
                    <a:pt x="178" y="237"/>
                  </a:cubicBezTo>
                  <a:cubicBezTo>
                    <a:pt x="178" y="240"/>
                    <a:pt x="176" y="242"/>
                    <a:pt x="174" y="242"/>
                  </a:cubicBezTo>
                  <a:cubicBezTo>
                    <a:pt x="156" y="242"/>
                    <a:pt x="156" y="242"/>
                    <a:pt x="156" y="242"/>
                  </a:cubicBezTo>
                  <a:moveTo>
                    <a:pt x="231" y="242"/>
                  </a:moveTo>
                  <a:cubicBezTo>
                    <a:pt x="228" y="242"/>
                    <a:pt x="226" y="240"/>
                    <a:pt x="226" y="237"/>
                  </a:cubicBezTo>
                  <a:cubicBezTo>
                    <a:pt x="226" y="154"/>
                    <a:pt x="226" y="154"/>
                    <a:pt x="226" y="154"/>
                  </a:cubicBezTo>
                  <a:cubicBezTo>
                    <a:pt x="226" y="153"/>
                    <a:pt x="227" y="151"/>
                    <a:pt x="228" y="150"/>
                  </a:cubicBezTo>
                  <a:cubicBezTo>
                    <a:pt x="234" y="147"/>
                    <a:pt x="240" y="143"/>
                    <a:pt x="246" y="140"/>
                  </a:cubicBezTo>
                  <a:cubicBezTo>
                    <a:pt x="247" y="139"/>
                    <a:pt x="248" y="139"/>
                    <a:pt x="249" y="139"/>
                  </a:cubicBezTo>
                  <a:cubicBezTo>
                    <a:pt x="251" y="139"/>
                    <a:pt x="253" y="141"/>
                    <a:pt x="253" y="144"/>
                  </a:cubicBezTo>
                  <a:cubicBezTo>
                    <a:pt x="253" y="237"/>
                    <a:pt x="253" y="237"/>
                    <a:pt x="253" y="237"/>
                  </a:cubicBezTo>
                  <a:cubicBezTo>
                    <a:pt x="253" y="240"/>
                    <a:pt x="251" y="242"/>
                    <a:pt x="249" y="242"/>
                  </a:cubicBezTo>
                  <a:cubicBezTo>
                    <a:pt x="231" y="242"/>
                    <a:pt x="231" y="242"/>
                    <a:pt x="231" y="242"/>
                  </a:cubicBezTo>
                  <a:moveTo>
                    <a:pt x="195" y="127"/>
                  </a:moveTo>
                  <a:cubicBezTo>
                    <a:pt x="210" y="118"/>
                    <a:pt x="226" y="109"/>
                    <a:pt x="241" y="100"/>
                  </a:cubicBezTo>
                  <a:cubicBezTo>
                    <a:pt x="233" y="92"/>
                    <a:pt x="232" y="85"/>
                    <a:pt x="228" y="77"/>
                  </a:cubicBezTo>
                  <a:cubicBezTo>
                    <a:pt x="228" y="77"/>
                    <a:pt x="228" y="77"/>
                    <a:pt x="228" y="77"/>
                  </a:cubicBezTo>
                  <a:cubicBezTo>
                    <a:pt x="249" y="80"/>
                    <a:pt x="271" y="82"/>
                    <a:pt x="292" y="85"/>
                  </a:cubicBezTo>
                  <a:cubicBezTo>
                    <a:pt x="292" y="85"/>
                    <a:pt x="292" y="85"/>
                    <a:pt x="292" y="85"/>
                  </a:cubicBezTo>
                  <a:cubicBezTo>
                    <a:pt x="288" y="105"/>
                    <a:pt x="282" y="124"/>
                    <a:pt x="269" y="145"/>
                  </a:cubicBezTo>
                  <a:cubicBezTo>
                    <a:pt x="264" y="138"/>
                    <a:pt x="259" y="133"/>
                    <a:pt x="255" y="123"/>
                  </a:cubicBezTo>
                  <a:cubicBezTo>
                    <a:pt x="233" y="136"/>
                    <a:pt x="212" y="149"/>
                    <a:pt x="190" y="162"/>
                  </a:cubicBezTo>
                  <a:cubicBezTo>
                    <a:pt x="186" y="159"/>
                    <a:pt x="183" y="155"/>
                    <a:pt x="180" y="152"/>
                  </a:cubicBezTo>
                  <a:cubicBezTo>
                    <a:pt x="176" y="149"/>
                    <a:pt x="173" y="145"/>
                    <a:pt x="170" y="142"/>
                  </a:cubicBezTo>
                  <a:cubicBezTo>
                    <a:pt x="149" y="153"/>
                    <a:pt x="128" y="164"/>
                    <a:pt x="107" y="175"/>
                  </a:cubicBezTo>
                  <a:cubicBezTo>
                    <a:pt x="106" y="167"/>
                    <a:pt x="93" y="161"/>
                    <a:pt x="94" y="151"/>
                  </a:cubicBezTo>
                  <a:cubicBezTo>
                    <a:pt x="94" y="151"/>
                    <a:pt x="94" y="151"/>
                    <a:pt x="94" y="151"/>
                  </a:cubicBezTo>
                  <a:cubicBezTo>
                    <a:pt x="121" y="137"/>
                    <a:pt x="148" y="123"/>
                    <a:pt x="175" y="109"/>
                  </a:cubicBezTo>
                  <a:cubicBezTo>
                    <a:pt x="175" y="109"/>
                    <a:pt x="175" y="109"/>
                    <a:pt x="175" y="109"/>
                  </a:cubicBezTo>
                  <a:cubicBezTo>
                    <a:pt x="179" y="109"/>
                    <a:pt x="182" y="112"/>
                    <a:pt x="186" y="117"/>
                  </a:cubicBezTo>
                  <a:cubicBezTo>
                    <a:pt x="189" y="121"/>
                    <a:pt x="191" y="125"/>
                    <a:pt x="195" y="127"/>
                  </a:cubicBezTo>
                  <a:moveTo>
                    <a:pt x="187" y="0"/>
                  </a:moveTo>
                  <a:cubicBezTo>
                    <a:pt x="150" y="0"/>
                    <a:pt x="113" y="12"/>
                    <a:pt x="83" y="37"/>
                  </a:cubicBezTo>
                  <a:cubicBezTo>
                    <a:pt x="11" y="95"/>
                    <a:pt x="0" y="199"/>
                    <a:pt x="58" y="271"/>
                  </a:cubicBezTo>
                  <a:cubicBezTo>
                    <a:pt x="91" y="311"/>
                    <a:pt x="139" y="332"/>
                    <a:pt x="187" y="332"/>
                  </a:cubicBezTo>
                  <a:cubicBezTo>
                    <a:pt x="224" y="332"/>
                    <a:pt x="261" y="320"/>
                    <a:pt x="292" y="295"/>
                  </a:cubicBezTo>
                  <a:cubicBezTo>
                    <a:pt x="363" y="237"/>
                    <a:pt x="374" y="133"/>
                    <a:pt x="316" y="61"/>
                  </a:cubicBezTo>
                  <a:cubicBezTo>
                    <a:pt x="283" y="21"/>
                    <a:pt x="235" y="0"/>
                    <a:pt x="187" y="0"/>
                  </a:cubicBezTo>
                </a:path>
              </a:pathLst>
            </a:cu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5" name="Freeform 21483">
              <a:extLst>
                <a:ext uri="{FF2B5EF4-FFF2-40B4-BE49-F238E27FC236}">
                  <a16:creationId xmlns:a16="http://schemas.microsoft.com/office/drawing/2014/main" id="{DAF9A1FB-4454-4E14-BCF9-59C866E917DB}"/>
                </a:ext>
              </a:extLst>
            </p:cNvPr>
            <p:cNvSpPr>
              <a:spLocks noEditPoints="1"/>
            </p:cNvSpPr>
            <p:nvPr userDrawn="1"/>
          </p:nvSpPr>
          <p:spPr bwMode="auto">
            <a:xfrm>
              <a:off x="8282940" y="4264978"/>
              <a:ext cx="820738" cy="814388"/>
            </a:xfrm>
            <a:custGeom>
              <a:avLst/>
              <a:gdLst>
                <a:gd name="T0" fmla="*/ 332 w 406"/>
                <a:gd name="T1" fmla="*/ 97 h 404"/>
                <a:gd name="T2" fmla="*/ 185 w 406"/>
                <a:gd name="T3" fmla="*/ 7 h 404"/>
                <a:gd name="T4" fmla="*/ 161 w 406"/>
                <a:gd name="T5" fmla="*/ 4 h 404"/>
                <a:gd name="T6" fmla="*/ 134 w 406"/>
                <a:gd name="T7" fmla="*/ 12 h 404"/>
                <a:gd name="T8" fmla="*/ 111 w 406"/>
                <a:gd name="T9" fmla="*/ 29 h 404"/>
                <a:gd name="T10" fmla="*/ 96 w 406"/>
                <a:gd name="T11" fmla="*/ 52 h 404"/>
                <a:gd name="T12" fmla="*/ 78 w 406"/>
                <a:gd name="T13" fmla="*/ 66 h 404"/>
                <a:gd name="T14" fmla="*/ 53 w 406"/>
                <a:gd name="T15" fmla="*/ 76 h 404"/>
                <a:gd name="T16" fmla="*/ 38 w 406"/>
                <a:gd name="T17" fmla="*/ 88 h 404"/>
                <a:gd name="T18" fmla="*/ 36 w 406"/>
                <a:gd name="T19" fmla="*/ 117 h 404"/>
                <a:gd name="T20" fmla="*/ 30 w 406"/>
                <a:gd name="T21" fmla="*/ 138 h 404"/>
                <a:gd name="T22" fmla="*/ 7 w 406"/>
                <a:gd name="T23" fmla="*/ 150 h 404"/>
                <a:gd name="T24" fmla="*/ 2 w 406"/>
                <a:gd name="T25" fmla="*/ 181 h 404"/>
                <a:gd name="T26" fmla="*/ 1 w 406"/>
                <a:gd name="T27" fmla="*/ 213 h 404"/>
                <a:gd name="T28" fmla="*/ 5 w 406"/>
                <a:gd name="T29" fmla="*/ 244 h 404"/>
                <a:gd name="T30" fmla="*/ 27 w 406"/>
                <a:gd name="T31" fmla="*/ 257 h 404"/>
                <a:gd name="T32" fmla="*/ 31 w 406"/>
                <a:gd name="T33" fmla="*/ 278 h 404"/>
                <a:gd name="T34" fmla="*/ 33 w 406"/>
                <a:gd name="T35" fmla="*/ 307 h 404"/>
                <a:gd name="T36" fmla="*/ 46 w 406"/>
                <a:gd name="T37" fmla="*/ 320 h 404"/>
                <a:gd name="T38" fmla="*/ 71 w 406"/>
                <a:gd name="T39" fmla="*/ 331 h 404"/>
                <a:gd name="T40" fmla="*/ 89 w 406"/>
                <a:gd name="T41" fmla="*/ 347 h 404"/>
                <a:gd name="T42" fmla="*/ 103 w 406"/>
                <a:gd name="T43" fmla="*/ 370 h 404"/>
                <a:gd name="T44" fmla="*/ 125 w 406"/>
                <a:gd name="T45" fmla="*/ 388 h 404"/>
                <a:gd name="T46" fmla="*/ 151 w 406"/>
                <a:gd name="T47" fmla="*/ 398 h 404"/>
                <a:gd name="T48" fmla="*/ 176 w 406"/>
                <a:gd name="T49" fmla="*/ 396 h 404"/>
                <a:gd name="T50" fmla="*/ 202 w 406"/>
                <a:gd name="T51" fmla="*/ 387 h 404"/>
                <a:gd name="T52" fmla="*/ 224 w 406"/>
                <a:gd name="T53" fmla="*/ 385 h 404"/>
                <a:gd name="T54" fmla="*/ 251 w 406"/>
                <a:gd name="T55" fmla="*/ 392 h 404"/>
                <a:gd name="T56" fmla="*/ 276 w 406"/>
                <a:gd name="T57" fmla="*/ 391 h 404"/>
                <a:gd name="T58" fmla="*/ 300 w 406"/>
                <a:gd name="T59" fmla="*/ 379 h 404"/>
                <a:gd name="T60" fmla="*/ 321 w 406"/>
                <a:gd name="T61" fmla="*/ 359 h 404"/>
                <a:gd name="T62" fmla="*/ 333 w 406"/>
                <a:gd name="T63" fmla="*/ 334 h 404"/>
                <a:gd name="T64" fmla="*/ 356 w 406"/>
                <a:gd name="T65" fmla="*/ 334 h 404"/>
                <a:gd name="T66" fmla="*/ 364 w 406"/>
                <a:gd name="T67" fmla="*/ 315 h 404"/>
                <a:gd name="T68" fmla="*/ 367 w 406"/>
                <a:gd name="T69" fmla="*/ 287 h 404"/>
                <a:gd name="T70" fmla="*/ 385 w 406"/>
                <a:gd name="T71" fmla="*/ 275 h 404"/>
                <a:gd name="T72" fmla="*/ 393 w 406"/>
                <a:gd name="T73" fmla="*/ 260 h 404"/>
                <a:gd name="T74" fmla="*/ 397 w 406"/>
                <a:gd name="T75" fmla="*/ 230 h 404"/>
                <a:gd name="T76" fmla="*/ 399 w 406"/>
                <a:gd name="T77" fmla="*/ 199 h 404"/>
                <a:gd name="T78" fmla="*/ 396 w 406"/>
                <a:gd name="T79" fmla="*/ 168 h 404"/>
                <a:gd name="T80" fmla="*/ 381 w 406"/>
                <a:gd name="T81" fmla="*/ 152 h 404"/>
                <a:gd name="T82" fmla="*/ 384 w 406"/>
                <a:gd name="T83" fmla="*/ 125 h 404"/>
                <a:gd name="T84" fmla="*/ 379 w 406"/>
                <a:gd name="T85" fmla="*/ 101 h 404"/>
                <a:gd name="T86" fmla="*/ 353 w 406"/>
                <a:gd name="T87" fmla="*/ 95 h 404"/>
                <a:gd name="T88" fmla="*/ 339 w 406"/>
                <a:gd name="T89" fmla="*/ 77 h 404"/>
                <a:gd name="T90" fmla="*/ 329 w 406"/>
                <a:gd name="T91" fmla="*/ 51 h 404"/>
                <a:gd name="T92" fmla="*/ 309 w 406"/>
                <a:gd name="T93" fmla="*/ 30 h 404"/>
                <a:gd name="T94" fmla="*/ 285 w 406"/>
                <a:gd name="T95" fmla="*/ 17 h 404"/>
                <a:gd name="T96" fmla="*/ 261 w 406"/>
                <a:gd name="T97" fmla="*/ 14 h 404"/>
                <a:gd name="T98" fmla="*/ 234 w 406"/>
                <a:gd name="T99" fmla="*/ 20 h 404"/>
                <a:gd name="T100" fmla="*/ 211 w 406"/>
                <a:gd name="T101" fmla="*/ 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6" h="404">
                  <a:moveTo>
                    <a:pt x="203" y="368"/>
                  </a:moveTo>
                  <a:cubicBezTo>
                    <a:pt x="155" y="368"/>
                    <a:pt x="107" y="347"/>
                    <a:pt x="74" y="307"/>
                  </a:cubicBezTo>
                  <a:cubicBezTo>
                    <a:pt x="16" y="235"/>
                    <a:pt x="27" y="131"/>
                    <a:pt x="99" y="73"/>
                  </a:cubicBezTo>
                  <a:cubicBezTo>
                    <a:pt x="129" y="48"/>
                    <a:pt x="166" y="36"/>
                    <a:pt x="203" y="36"/>
                  </a:cubicBezTo>
                  <a:cubicBezTo>
                    <a:pt x="251" y="36"/>
                    <a:pt x="299" y="57"/>
                    <a:pt x="332" y="97"/>
                  </a:cubicBezTo>
                  <a:cubicBezTo>
                    <a:pt x="390" y="169"/>
                    <a:pt x="379" y="273"/>
                    <a:pt x="308" y="331"/>
                  </a:cubicBezTo>
                  <a:cubicBezTo>
                    <a:pt x="277" y="356"/>
                    <a:pt x="240" y="368"/>
                    <a:pt x="203" y="368"/>
                  </a:cubicBezTo>
                  <a:moveTo>
                    <a:pt x="194" y="0"/>
                  </a:moveTo>
                  <a:cubicBezTo>
                    <a:pt x="194" y="0"/>
                    <a:pt x="193" y="0"/>
                    <a:pt x="192" y="0"/>
                  </a:cubicBezTo>
                  <a:cubicBezTo>
                    <a:pt x="190" y="0"/>
                    <a:pt x="186" y="0"/>
                    <a:pt x="185" y="7"/>
                  </a:cubicBezTo>
                  <a:cubicBezTo>
                    <a:pt x="185" y="11"/>
                    <a:pt x="184" y="16"/>
                    <a:pt x="182" y="19"/>
                  </a:cubicBezTo>
                  <a:cubicBezTo>
                    <a:pt x="180" y="19"/>
                    <a:pt x="178" y="19"/>
                    <a:pt x="176" y="19"/>
                  </a:cubicBezTo>
                  <a:cubicBezTo>
                    <a:pt x="174" y="17"/>
                    <a:pt x="171" y="13"/>
                    <a:pt x="169" y="9"/>
                  </a:cubicBezTo>
                  <a:cubicBezTo>
                    <a:pt x="168" y="4"/>
                    <a:pt x="166" y="3"/>
                    <a:pt x="164" y="3"/>
                  </a:cubicBezTo>
                  <a:cubicBezTo>
                    <a:pt x="163" y="3"/>
                    <a:pt x="162" y="4"/>
                    <a:pt x="161" y="4"/>
                  </a:cubicBezTo>
                  <a:cubicBezTo>
                    <a:pt x="158" y="4"/>
                    <a:pt x="155" y="5"/>
                    <a:pt x="155" y="12"/>
                  </a:cubicBezTo>
                  <a:cubicBezTo>
                    <a:pt x="155" y="16"/>
                    <a:pt x="155" y="21"/>
                    <a:pt x="154" y="24"/>
                  </a:cubicBezTo>
                  <a:cubicBezTo>
                    <a:pt x="152" y="25"/>
                    <a:pt x="150" y="25"/>
                    <a:pt x="148" y="26"/>
                  </a:cubicBezTo>
                  <a:cubicBezTo>
                    <a:pt x="145" y="24"/>
                    <a:pt x="142" y="20"/>
                    <a:pt x="140" y="16"/>
                  </a:cubicBezTo>
                  <a:cubicBezTo>
                    <a:pt x="138" y="13"/>
                    <a:pt x="136" y="12"/>
                    <a:pt x="134" y="12"/>
                  </a:cubicBezTo>
                  <a:cubicBezTo>
                    <a:pt x="133" y="12"/>
                    <a:pt x="132" y="13"/>
                    <a:pt x="130" y="13"/>
                  </a:cubicBezTo>
                  <a:cubicBezTo>
                    <a:pt x="128" y="14"/>
                    <a:pt x="124" y="15"/>
                    <a:pt x="126" y="22"/>
                  </a:cubicBezTo>
                  <a:cubicBezTo>
                    <a:pt x="127" y="26"/>
                    <a:pt x="127" y="31"/>
                    <a:pt x="126" y="34"/>
                  </a:cubicBezTo>
                  <a:cubicBezTo>
                    <a:pt x="125" y="35"/>
                    <a:pt x="123" y="36"/>
                    <a:pt x="121" y="37"/>
                  </a:cubicBezTo>
                  <a:cubicBezTo>
                    <a:pt x="118" y="36"/>
                    <a:pt x="114" y="32"/>
                    <a:pt x="111" y="29"/>
                  </a:cubicBezTo>
                  <a:cubicBezTo>
                    <a:pt x="109" y="26"/>
                    <a:pt x="107" y="25"/>
                    <a:pt x="106" y="25"/>
                  </a:cubicBezTo>
                  <a:cubicBezTo>
                    <a:pt x="104" y="25"/>
                    <a:pt x="103" y="26"/>
                    <a:pt x="102" y="27"/>
                  </a:cubicBezTo>
                  <a:cubicBezTo>
                    <a:pt x="99" y="28"/>
                    <a:pt x="96" y="29"/>
                    <a:pt x="99" y="36"/>
                  </a:cubicBezTo>
                  <a:cubicBezTo>
                    <a:pt x="100" y="40"/>
                    <a:pt x="101" y="45"/>
                    <a:pt x="101" y="48"/>
                  </a:cubicBezTo>
                  <a:cubicBezTo>
                    <a:pt x="99" y="49"/>
                    <a:pt x="98" y="51"/>
                    <a:pt x="96" y="52"/>
                  </a:cubicBezTo>
                  <a:cubicBezTo>
                    <a:pt x="93" y="51"/>
                    <a:pt x="89" y="48"/>
                    <a:pt x="85" y="45"/>
                  </a:cubicBezTo>
                  <a:cubicBezTo>
                    <a:pt x="83" y="43"/>
                    <a:pt x="81" y="42"/>
                    <a:pt x="80" y="42"/>
                  </a:cubicBezTo>
                  <a:cubicBezTo>
                    <a:pt x="78" y="42"/>
                    <a:pt x="77" y="44"/>
                    <a:pt x="76" y="45"/>
                  </a:cubicBezTo>
                  <a:cubicBezTo>
                    <a:pt x="74" y="46"/>
                    <a:pt x="70" y="48"/>
                    <a:pt x="74" y="54"/>
                  </a:cubicBezTo>
                  <a:cubicBezTo>
                    <a:pt x="76" y="58"/>
                    <a:pt x="78" y="63"/>
                    <a:pt x="78" y="66"/>
                  </a:cubicBezTo>
                  <a:cubicBezTo>
                    <a:pt x="77" y="68"/>
                    <a:pt x="75" y="69"/>
                    <a:pt x="74" y="70"/>
                  </a:cubicBezTo>
                  <a:cubicBezTo>
                    <a:pt x="71" y="70"/>
                    <a:pt x="66" y="68"/>
                    <a:pt x="62" y="65"/>
                  </a:cubicBezTo>
                  <a:cubicBezTo>
                    <a:pt x="60" y="64"/>
                    <a:pt x="59" y="64"/>
                    <a:pt x="57" y="64"/>
                  </a:cubicBezTo>
                  <a:cubicBezTo>
                    <a:pt x="55" y="64"/>
                    <a:pt x="54" y="65"/>
                    <a:pt x="53" y="67"/>
                  </a:cubicBezTo>
                  <a:cubicBezTo>
                    <a:pt x="51" y="69"/>
                    <a:pt x="48" y="71"/>
                    <a:pt x="53" y="76"/>
                  </a:cubicBezTo>
                  <a:cubicBezTo>
                    <a:pt x="55" y="80"/>
                    <a:pt x="58" y="84"/>
                    <a:pt x="59" y="87"/>
                  </a:cubicBezTo>
                  <a:cubicBezTo>
                    <a:pt x="57" y="89"/>
                    <a:pt x="56" y="91"/>
                    <a:pt x="55" y="92"/>
                  </a:cubicBezTo>
                  <a:cubicBezTo>
                    <a:pt x="55" y="92"/>
                    <a:pt x="54" y="92"/>
                    <a:pt x="54" y="92"/>
                  </a:cubicBezTo>
                  <a:cubicBezTo>
                    <a:pt x="51" y="92"/>
                    <a:pt x="46" y="91"/>
                    <a:pt x="43" y="89"/>
                  </a:cubicBezTo>
                  <a:cubicBezTo>
                    <a:pt x="41" y="88"/>
                    <a:pt x="39" y="88"/>
                    <a:pt x="38" y="88"/>
                  </a:cubicBezTo>
                  <a:cubicBezTo>
                    <a:pt x="35" y="88"/>
                    <a:pt x="34" y="90"/>
                    <a:pt x="33" y="92"/>
                  </a:cubicBezTo>
                  <a:cubicBezTo>
                    <a:pt x="32" y="94"/>
                    <a:pt x="29" y="97"/>
                    <a:pt x="35" y="101"/>
                  </a:cubicBezTo>
                  <a:cubicBezTo>
                    <a:pt x="38" y="104"/>
                    <a:pt x="41" y="108"/>
                    <a:pt x="42" y="111"/>
                  </a:cubicBezTo>
                  <a:cubicBezTo>
                    <a:pt x="41" y="113"/>
                    <a:pt x="40" y="115"/>
                    <a:pt x="39" y="117"/>
                  </a:cubicBezTo>
                  <a:cubicBezTo>
                    <a:pt x="39" y="117"/>
                    <a:pt x="37" y="117"/>
                    <a:pt x="36" y="117"/>
                  </a:cubicBezTo>
                  <a:cubicBezTo>
                    <a:pt x="33" y="117"/>
                    <a:pt x="30" y="117"/>
                    <a:pt x="27" y="116"/>
                  </a:cubicBezTo>
                  <a:cubicBezTo>
                    <a:pt x="26" y="115"/>
                    <a:pt x="24" y="115"/>
                    <a:pt x="24" y="115"/>
                  </a:cubicBezTo>
                  <a:cubicBezTo>
                    <a:pt x="20" y="115"/>
                    <a:pt x="19" y="118"/>
                    <a:pt x="18" y="120"/>
                  </a:cubicBezTo>
                  <a:cubicBezTo>
                    <a:pt x="17" y="122"/>
                    <a:pt x="15" y="125"/>
                    <a:pt x="21" y="129"/>
                  </a:cubicBezTo>
                  <a:cubicBezTo>
                    <a:pt x="25" y="132"/>
                    <a:pt x="29" y="135"/>
                    <a:pt x="30" y="138"/>
                  </a:cubicBezTo>
                  <a:cubicBezTo>
                    <a:pt x="29" y="140"/>
                    <a:pt x="29" y="141"/>
                    <a:pt x="28" y="143"/>
                  </a:cubicBezTo>
                  <a:cubicBezTo>
                    <a:pt x="26" y="144"/>
                    <a:pt x="23" y="145"/>
                    <a:pt x="20" y="145"/>
                  </a:cubicBezTo>
                  <a:cubicBezTo>
                    <a:pt x="19" y="145"/>
                    <a:pt x="17" y="144"/>
                    <a:pt x="16" y="144"/>
                  </a:cubicBezTo>
                  <a:cubicBezTo>
                    <a:pt x="15" y="144"/>
                    <a:pt x="14" y="144"/>
                    <a:pt x="14" y="144"/>
                  </a:cubicBezTo>
                  <a:cubicBezTo>
                    <a:pt x="9" y="144"/>
                    <a:pt x="8" y="147"/>
                    <a:pt x="7" y="150"/>
                  </a:cubicBezTo>
                  <a:cubicBezTo>
                    <a:pt x="7" y="152"/>
                    <a:pt x="5" y="156"/>
                    <a:pt x="12" y="158"/>
                  </a:cubicBezTo>
                  <a:cubicBezTo>
                    <a:pt x="16" y="160"/>
                    <a:pt x="20" y="163"/>
                    <a:pt x="22" y="166"/>
                  </a:cubicBezTo>
                  <a:cubicBezTo>
                    <a:pt x="22" y="167"/>
                    <a:pt x="22" y="169"/>
                    <a:pt x="21" y="171"/>
                  </a:cubicBezTo>
                  <a:cubicBezTo>
                    <a:pt x="19" y="173"/>
                    <a:pt x="13" y="174"/>
                    <a:pt x="9" y="174"/>
                  </a:cubicBezTo>
                  <a:cubicBezTo>
                    <a:pt x="2" y="175"/>
                    <a:pt x="2" y="178"/>
                    <a:pt x="2" y="181"/>
                  </a:cubicBezTo>
                  <a:cubicBezTo>
                    <a:pt x="1" y="184"/>
                    <a:pt x="1" y="187"/>
                    <a:pt x="7" y="189"/>
                  </a:cubicBezTo>
                  <a:cubicBezTo>
                    <a:pt x="12" y="190"/>
                    <a:pt x="17" y="192"/>
                    <a:pt x="19" y="194"/>
                  </a:cubicBezTo>
                  <a:cubicBezTo>
                    <a:pt x="19" y="196"/>
                    <a:pt x="19" y="198"/>
                    <a:pt x="19" y="200"/>
                  </a:cubicBezTo>
                  <a:cubicBezTo>
                    <a:pt x="16" y="202"/>
                    <a:pt x="11" y="204"/>
                    <a:pt x="7" y="205"/>
                  </a:cubicBezTo>
                  <a:cubicBezTo>
                    <a:pt x="0" y="206"/>
                    <a:pt x="1" y="210"/>
                    <a:pt x="1" y="213"/>
                  </a:cubicBezTo>
                  <a:cubicBezTo>
                    <a:pt x="1" y="215"/>
                    <a:pt x="1" y="219"/>
                    <a:pt x="8" y="220"/>
                  </a:cubicBezTo>
                  <a:cubicBezTo>
                    <a:pt x="12" y="220"/>
                    <a:pt x="17" y="221"/>
                    <a:pt x="20" y="223"/>
                  </a:cubicBezTo>
                  <a:cubicBezTo>
                    <a:pt x="20" y="225"/>
                    <a:pt x="20" y="227"/>
                    <a:pt x="21" y="229"/>
                  </a:cubicBezTo>
                  <a:cubicBezTo>
                    <a:pt x="19" y="232"/>
                    <a:pt x="14" y="234"/>
                    <a:pt x="10" y="236"/>
                  </a:cubicBezTo>
                  <a:cubicBezTo>
                    <a:pt x="3" y="238"/>
                    <a:pt x="5" y="242"/>
                    <a:pt x="5" y="244"/>
                  </a:cubicBezTo>
                  <a:cubicBezTo>
                    <a:pt x="6" y="247"/>
                    <a:pt x="6" y="250"/>
                    <a:pt x="12" y="250"/>
                  </a:cubicBezTo>
                  <a:cubicBezTo>
                    <a:pt x="12" y="250"/>
                    <a:pt x="12" y="250"/>
                    <a:pt x="13" y="250"/>
                  </a:cubicBezTo>
                  <a:cubicBezTo>
                    <a:pt x="14" y="250"/>
                    <a:pt x="14" y="250"/>
                    <a:pt x="15" y="250"/>
                  </a:cubicBezTo>
                  <a:cubicBezTo>
                    <a:pt x="19" y="250"/>
                    <a:pt x="23" y="250"/>
                    <a:pt x="25" y="252"/>
                  </a:cubicBezTo>
                  <a:cubicBezTo>
                    <a:pt x="26" y="254"/>
                    <a:pt x="27" y="256"/>
                    <a:pt x="27" y="257"/>
                  </a:cubicBezTo>
                  <a:cubicBezTo>
                    <a:pt x="26" y="260"/>
                    <a:pt x="21" y="263"/>
                    <a:pt x="18" y="266"/>
                  </a:cubicBezTo>
                  <a:cubicBezTo>
                    <a:pt x="11" y="269"/>
                    <a:pt x="13" y="272"/>
                    <a:pt x="14" y="275"/>
                  </a:cubicBezTo>
                  <a:cubicBezTo>
                    <a:pt x="15" y="277"/>
                    <a:pt x="16" y="280"/>
                    <a:pt x="20" y="280"/>
                  </a:cubicBezTo>
                  <a:cubicBezTo>
                    <a:pt x="21" y="280"/>
                    <a:pt x="22" y="280"/>
                    <a:pt x="23" y="279"/>
                  </a:cubicBezTo>
                  <a:cubicBezTo>
                    <a:pt x="25" y="279"/>
                    <a:pt x="28" y="278"/>
                    <a:pt x="31" y="278"/>
                  </a:cubicBezTo>
                  <a:cubicBezTo>
                    <a:pt x="33" y="278"/>
                    <a:pt x="34" y="278"/>
                    <a:pt x="35" y="279"/>
                  </a:cubicBezTo>
                  <a:cubicBezTo>
                    <a:pt x="36" y="281"/>
                    <a:pt x="37" y="282"/>
                    <a:pt x="38" y="284"/>
                  </a:cubicBezTo>
                  <a:cubicBezTo>
                    <a:pt x="37" y="287"/>
                    <a:pt x="33" y="291"/>
                    <a:pt x="30" y="294"/>
                  </a:cubicBezTo>
                  <a:cubicBezTo>
                    <a:pt x="24" y="298"/>
                    <a:pt x="26" y="301"/>
                    <a:pt x="28" y="303"/>
                  </a:cubicBezTo>
                  <a:cubicBezTo>
                    <a:pt x="29" y="305"/>
                    <a:pt x="30" y="307"/>
                    <a:pt x="33" y="307"/>
                  </a:cubicBezTo>
                  <a:cubicBezTo>
                    <a:pt x="34" y="307"/>
                    <a:pt x="35" y="307"/>
                    <a:pt x="37" y="306"/>
                  </a:cubicBezTo>
                  <a:cubicBezTo>
                    <a:pt x="41" y="305"/>
                    <a:pt x="45" y="304"/>
                    <a:pt x="48" y="304"/>
                  </a:cubicBezTo>
                  <a:cubicBezTo>
                    <a:pt x="49" y="304"/>
                    <a:pt x="49" y="304"/>
                    <a:pt x="49" y="304"/>
                  </a:cubicBezTo>
                  <a:cubicBezTo>
                    <a:pt x="51" y="306"/>
                    <a:pt x="52" y="307"/>
                    <a:pt x="53" y="309"/>
                  </a:cubicBezTo>
                  <a:cubicBezTo>
                    <a:pt x="52" y="312"/>
                    <a:pt x="49" y="316"/>
                    <a:pt x="46" y="320"/>
                  </a:cubicBezTo>
                  <a:cubicBezTo>
                    <a:pt x="41" y="325"/>
                    <a:pt x="44" y="328"/>
                    <a:pt x="46" y="330"/>
                  </a:cubicBezTo>
                  <a:cubicBezTo>
                    <a:pt x="47" y="331"/>
                    <a:pt x="48" y="333"/>
                    <a:pt x="51" y="333"/>
                  </a:cubicBezTo>
                  <a:cubicBezTo>
                    <a:pt x="52" y="333"/>
                    <a:pt x="54" y="332"/>
                    <a:pt x="56" y="331"/>
                  </a:cubicBezTo>
                  <a:cubicBezTo>
                    <a:pt x="59" y="329"/>
                    <a:pt x="64" y="327"/>
                    <a:pt x="67" y="327"/>
                  </a:cubicBezTo>
                  <a:cubicBezTo>
                    <a:pt x="69" y="328"/>
                    <a:pt x="70" y="330"/>
                    <a:pt x="71" y="331"/>
                  </a:cubicBezTo>
                  <a:cubicBezTo>
                    <a:pt x="71" y="334"/>
                    <a:pt x="69" y="339"/>
                    <a:pt x="67" y="343"/>
                  </a:cubicBezTo>
                  <a:cubicBezTo>
                    <a:pt x="63" y="349"/>
                    <a:pt x="66" y="351"/>
                    <a:pt x="68" y="353"/>
                  </a:cubicBezTo>
                  <a:cubicBezTo>
                    <a:pt x="69" y="354"/>
                    <a:pt x="70" y="355"/>
                    <a:pt x="72" y="355"/>
                  </a:cubicBezTo>
                  <a:cubicBezTo>
                    <a:pt x="74" y="355"/>
                    <a:pt x="75" y="355"/>
                    <a:pt x="78" y="353"/>
                  </a:cubicBezTo>
                  <a:cubicBezTo>
                    <a:pt x="81" y="350"/>
                    <a:pt x="86" y="347"/>
                    <a:pt x="89" y="347"/>
                  </a:cubicBezTo>
                  <a:cubicBezTo>
                    <a:pt x="90" y="348"/>
                    <a:pt x="92" y="349"/>
                    <a:pt x="93" y="350"/>
                  </a:cubicBezTo>
                  <a:cubicBezTo>
                    <a:pt x="94" y="353"/>
                    <a:pt x="92" y="358"/>
                    <a:pt x="90" y="363"/>
                  </a:cubicBezTo>
                  <a:cubicBezTo>
                    <a:pt x="87" y="369"/>
                    <a:pt x="91" y="371"/>
                    <a:pt x="93" y="372"/>
                  </a:cubicBezTo>
                  <a:cubicBezTo>
                    <a:pt x="94" y="373"/>
                    <a:pt x="96" y="374"/>
                    <a:pt x="97" y="374"/>
                  </a:cubicBezTo>
                  <a:cubicBezTo>
                    <a:pt x="99" y="374"/>
                    <a:pt x="101" y="373"/>
                    <a:pt x="103" y="370"/>
                  </a:cubicBezTo>
                  <a:cubicBezTo>
                    <a:pt x="106" y="367"/>
                    <a:pt x="110" y="364"/>
                    <a:pt x="113" y="363"/>
                  </a:cubicBezTo>
                  <a:cubicBezTo>
                    <a:pt x="114" y="364"/>
                    <a:pt x="116" y="365"/>
                    <a:pt x="118" y="366"/>
                  </a:cubicBezTo>
                  <a:cubicBezTo>
                    <a:pt x="119" y="369"/>
                    <a:pt x="118" y="374"/>
                    <a:pt x="117" y="378"/>
                  </a:cubicBezTo>
                  <a:cubicBezTo>
                    <a:pt x="115" y="385"/>
                    <a:pt x="119" y="386"/>
                    <a:pt x="121" y="387"/>
                  </a:cubicBezTo>
                  <a:cubicBezTo>
                    <a:pt x="122" y="388"/>
                    <a:pt x="123" y="388"/>
                    <a:pt x="125" y="388"/>
                  </a:cubicBezTo>
                  <a:cubicBezTo>
                    <a:pt x="126" y="388"/>
                    <a:pt x="128" y="387"/>
                    <a:pt x="130" y="384"/>
                  </a:cubicBezTo>
                  <a:cubicBezTo>
                    <a:pt x="133" y="380"/>
                    <a:pt x="136" y="376"/>
                    <a:pt x="139" y="375"/>
                  </a:cubicBezTo>
                  <a:cubicBezTo>
                    <a:pt x="141" y="376"/>
                    <a:pt x="143" y="376"/>
                    <a:pt x="145" y="377"/>
                  </a:cubicBezTo>
                  <a:cubicBezTo>
                    <a:pt x="146" y="380"/>
                    <a:pt x="146" y="385"/>
                    <a:pt x="146" y="390"/>
                  </a:cubicBezTo>
                  <a:cubicBezTo>
                    <a:pt x="145" y="396"/>
                    <a:pt x="148" y="397"/>
                    <a:pt x="151" y="398"/>
                  </a:cubicBezTo>
                  <a:cubicBezTo>
                    <a:pt x="152" y="398"/>
                    <a:pt x="153" y="398"/>
                    <a:pt x="154" y="398"/>
                  </a:cubicBezTo>
                  <a:cubicBezTo>
                    <a:pt x="156" y="398"/>
                    <a:pt x="158" y="397"/>
                    <a:pt x="160" y="393"/>
                  </a:cubicBezTo>
                  <a:cubicBezTo>
                    <a:pt x="162" y="389"/>
                    <a:pt x="164" y="385"/>
                    <a:pt x="167" y="383"/>
                  </a:cubicBezTo>
                  <a:cubicBezTo>
                    <a:pt x="169" y="383"/>
                    <a:pt x="171" y="384"/>
                    <a:pt x="173" y="384"/>
                  </a:cubicBezTo>
                  <a:cubicBezTo>
                    <a:pt x="174" y="387"/>
                    <a:pt x="175" y="392"/>
                    <a:pt x="176" y="396"/>
                  </a:cubicBezTo>
                  <a:cubicBezTo>
                    <a:pt x="176" y="403"/>
                    <a:pt x="180" y="403"/>
                    <a:pt x="182" y="403"/>
                  </a:cubicBezTo>
                  <a:cubicBezTo>
                    <a:pt x="183" y="404"/>
                    <a:pt x="184" y="404"/>
                    <a:pt x="184" y="404"/>
                  </a:cubicBezTo>
                  <a:cubicBezTo>
                    <a:pt x="187" y="404"/>
                    <a:pt x="189" y="403"/>
                    <a:pt x="190" y="398"/>
                  </a:cubicBezTo>
                  <a:cubicBezTo>
                    <a:pt x="191" y="393"/>
                    <a:pt x="193" y="389"/>
                    <a:pt x="196" y="386"/>
                  </a:cubicBezTo>
                  <a:cubicBezTo>
                    <a:pt x="198" y="386"/>
                    <a:pt x="200" y="387"/>
                    <a:pt x="202" y="387"/>
                  </a:cubicBezTo>
                  <a:cubicBezTo>
                    <a:pt x="204" y="389"/>
                    <a:pt x="205" y="394"/>
                    <a:pt x="206" y="398"/>
                  </a:cubicBezTo>
                  <a:cubicBezTo>
                    <a:pt x="207" y="404"/>
                    <a:pt x="210" y="404"/>
                    <a:pt x="212" y="404"/>
                  </a:cubicBezTo>
                  <a:cubicBezTo>
                    <a:pt x="213" y="404"/>
                    <a:pt x="213" y="404"/>
                    <a:pt x="214" y="404"/>
                  </a:cubicBezTo>
                  <a:cubicBezTo>
                    <a:pt x="217" y="404"/>
                    <a:pt x="220" y="404"/>
                    <a:pt x="221" y="397"/>
                  </a:cubicBezTo>
                  <a:cubicBezTo>
                    <a:pt x="221" y="393"/>
                    <a:pt x="223" y="388"/>
                    <a:pt x="224" y="385"/>
                  </a:cubicBezTo>
                  <a:cubicBezTo>
                    <a:pt x="226" y="385"/>
                    <a:pt x="228" y="385"/>
                    <a:pt x="230" y="385"/>
                  </a:cubicBezTo>
                  <a:cubicBezTo>
                    <a:pt x="233" y="387"/>
                    <a:pt x="235" y="391"/>
                    <a:pt x="237" y="395"/>
                  </a:cubicBezTo>
                  <a:cubicBezTo>
                    <a:pt x="239" y="400"/>
                    <a:pt x="241" y="401"/>
                    <a:pt x="243" y="401"/>
                  </a:cubicBezTo>
                  <a:cubicBezTo>
                    <a:pt x="244" y="401"/>
                    <a:pt x="245" y="400"/>
                    <a:pt x="245" y="400"/>
                  </a:cubicBezTo>
                  <a:cubicBezTo>
                    <a:pt x="248" y="400"/>
                    <a:pt x="252" y="399"/>
                    <a:pt x="251" y="392"/>
                  </a:cubicBezTo>
                  <a:cubicBezTo>
                    <a:pt x="251" y="388"/>
                    <a:pt x="251" y="383"/>
                    <a:pt x="253" y="380"/>
                  </a:cubicBezTo>
                  <a:cubicBezTo>
                    <a:pt x="255" y="379"/>
                    <a:pt x="257" y="379"/>
                    <a:pt x="259" y="378"/>
                  </a:cubicBezTo>
                  <a:cubicBezTo>
                    <a:pt x="261" y="380"/>
                    <a:pt x="265" y="384"/>
                    <a:pt x="267" y="388"/>
                  </a:cubicBezTo>
                  <a:cubicBezTo>
                    <a:pt x="269" y="391"/>
                    <a:pt x="271" y="392"/>
                    <a:pt x="272" y="392"/>
                  </a:cubicBezTo>
                  <a:cubicBezTo>
                    <a:pt x="274" y="392"/>
                    <a:pt x="275" y="391"/>
                    <a:pt x="276" y="391"/>
                  </a:cubicBezTo>
                  <a:cubicBezTo>
                    <a:pt x="278" y="390"/>
                    <a:pt x="282" y="389"/>
                    <a:pt x="280" y="382"/>
                  </a:cubicBezTo>
                  <a:cubicBezTo>
                    <a:pt x="280" y="378"/>
                    <a:pt x="279" y="373"/>
                    <a:pt x="280" y="370"/>
                  </a:cubicBezTo>
                  <a:cubicBezTo>
                    <a:pt x="282" y="369"/>
                    <a:pt x="284" y="368"/>
                    <a:pt x="286" y="367"/>
                  </a:cubicBezTo>
                  <a:cubicBezTo>
                    <a:pt x="288" y="368"/>
                    <a:pt x="292" y="372"/>
                    <a:pt x="295" y="375"/>
                  </a:cubicBezTo>
                  <a:cubicBezTo>
                    <a:pt x="297" y="378"/>
                    <a:pt x="299" y="379"/>
                    <a:pt x="300" y="379"/>
                  </a:cubicBezTo>
                  <a:cubicBezTo>
                    <a:pt x="302" y="379"/>
                    <a:pt x="303" y="378"/>
                    <a:pt x="305" y="377"/>
                  </a:cubicBezTo>
                  <a:cubicBezTo>
                    <a:pt x="307" y="376"/>
                    <a:pt x="310" y="375"/>
                    <a:pt x="308" y="368"/>
                  </a:cubicBezTo>
                  <a:cubicBezTo>
                    <a:pt x="306" y="364"/>
                    <a:pt x="305" y="359"/>
                    <a:pt x="305" y="356"/>
                  </a:cubicBezTo>
                  <a:cubicBezTo>
                    <a:pt x="307" y="355"/>
                    <a:pt x="309" y="353"/>
                    <a:pt x="310" y="352"/>
                  </a:cubicBezTo>
                  <a:cubicBezTo>
                    <a:pt x="313" y="353"/>
                    <a:pt x="318" y="356"/>
                    <a:pt x="321" y="359"/>
                  </a:cubicBezTo>
                  <a:cubicBezTo>
                    <a:pt x="323" y="361"/>
                    <a:pt x="325" y="362"/>
                    <a:pt x="326" y="362"/>
                  </a:cubicBezTo>
                  <a:cubicBezTo>
                    <a:pt x="328" y="362"/>
                    <a:pt x="330" y="360"/>
                    <a:pt x="331" y="359"/>
                  </a:cubicBezTo>
                  <a:cubicBezTo>
                    <a:pt x="333" y="358"/>
                    <a:pt x="336" y="356"/>
                    <a:pt x="332" y="350"/>
                  </a:cubicBezTo>
                  <a:cubicBezTo>
                    <a:pt x="330" y="346"/>
                    <a:pt x="328" y="341"/>
                    <a:pt x="328" y="338"/>
                  </a:cubicBezTo>
                  <a:cubicBezTo>
                    <a:pt x="330" y="336"/>
                    <a:pt x="331" y="335"/>
                    <a:pt x="333" y="334"/>
                  </a:cubicBezTo>
                  <a:cubicBezTo>
                    <a:pt x="336" y="334"/>
                    <a:pt x="340" y="336"/>
                    <a:pt x="344" y="338"/>
                  </a:cubicBezTo>
                  <a:cubicBezTo>
                    <a:pt x="345" y="339"/>
                    <a:pt x="346" y="340"/>
                    <a:pt x="347" y="340"/>
                  </a:cubicBezTo>
                  <a:cubicBezTo>
                    <a:pt x="347" y="339"/>
                    <a:pt x="348" y="338"/>
                    <a:pt x="349" y="337"/>
                  </a:cubicBezTo>
                  <a:cubicBezTo>
                    <a:pt x="351" y="335"/>
                    <a:pt x="352" y="333"/>
                    <a:pt x="355" y="333"/>
                  </a:cubicBezTo>
                  <a:cubicBezTo>
                    <a:pt x="355" y="333"/>
                    <a:pt x="356" y="333"/>
                    <a:pt x="356" y="334"/>
                  </a:cubicBezTo>
                  <a:cubicBezTo>
                    <a:pt x="357" y="332"/>
                    <a:pt x="356" y="330"/>
                    <a:pt x="354" y="328"/>
                  </a:cubicBezTo>
                  <a:cubicBezTo>
                    <a:pt x="351" y="324"/>
                    <a:pt x="348" y="320"/>
                    <a:pt x="348" y="317"/>
                  </a:cubicBezTo>
                  <a:cubicBezTo>
                    <a:pt x="349" y="315"/>
                    <a:pt x="350" y="313"/>
                    <a:pt x="352" y="312"/>
                  </a:cubicBezTo>
                  <a:cubicBezTo>
                    <a:pt x="352" y="312"/>
                    <a:pt x="352" y="312"/>
                    <a:pt x="352" y="312"/>
                  </a:cubicBezTo>
                  <a:cubicBezTo>
                    <a:pt x="356" y="312"/>
                    <a:pt x="360" y="313"/>
                    <a:pt x="364" y="315"/>
                  </a:cubicBezTo>
                  <a:cubicBezTo>
                    <a:pt x="366" y="316"/>
                    <a:pt x="367" y="316"/>
                    <a:pt x="368" y="316"/>
                  </a:cubicBezTo>
                  <a:cubicBezTo>
                    <a:pt x="371" y="316"/>
                    <a:pt x="372" y="314"/>
                    <a:pt x="373" y="312"/>
                  </a:cubicBezTo>
                  <a:cubicBezTo>
                    <a:pt x="375" y="310"/>
                    <a:pt x="377" y="307"/>
                    <a:pt x="372" y="303"/>
                  </a:cubicBezTo>
                  <a:cubicBezTo>
                    <a:pt x="368" y="299"/>
                    <a:pt x="365" y="296"/>
                    <a:pt x="364" y="293"/>
                  </a:cubicBezTo>
                  <a:cubicBezTo>
                    <a:pt x="365" y="291"/>
                    <a:pt x="366" y="289"/>
                    <a:pt x="367" y="287"/>
                  </a:cubicBezTo>
                  <a:cubicBezTo>
                    <a:pt x="368" y="287"/>
                    <a:pt x="369" y="287"/>
                    <a:pt x="370" y="287"/>
                  </a:cubicBezTo>
                  <a:cubicBezTo>
                    <a:pt x="373" y="287"/>
                    <a:pt x="376" y="287"/>
                    <a:pt x="379" y="288"/>
                  </a:cubicBezTo>
                  <a:cubicBezTo>
                    <a:pt x="381" y="289"/>
                    <a:pt x="382" y="289"/>
                    <a:pt x="383" y="289"/>
                  </a:cubicBezTo>
                  <a:cubicBezTo>
                    <a:pt x="387" y="289"/>
                    <a:pt x="387" y="286"/>
                    <a:pt x="388" y="284"/>
                  </a:cubicBezTo>
                  <a:cubicBezTo>
                    <a:pt x="389" y="282"/>
                    <a:pt x="391" y="279"/>
                    <a:pt x="385" y="275"/>
                  </a:cubicBezTo>
                  <a:cubicBezTo>
                    <a:pt x="382" y="272"/>
                    <a:pt x="378" y="269"/>
                    <a:pt x="376" y="266"/>
                  </a:cubicBezTo>
                  <a:cubicBezTo>
                    <a:pt x="377" y="264"/>
                    <a:pt x="378" y="263"/>
                    <a:pt x="378" y="261"/>
                  </a:cubicBezTo>
                  <a:cubicBezTo>
                    <a:pt x="380" y="260"/>
                    <a:pt x="383" y="259"/>
                    <a:pt x="386" y="259"/>
                  </a:cubicBezTo>
                  <a:cubicBezTo>
                    <a:pt x="388" y="259"/>
                    <a:pt x="389" y="259"/>
                    <a:pt x="391" y="260"/>
                  </a:cubicBezTo>
                  <a:cubicBezTo>
                    <a:pt x="391" y="260"/>
                    <a:pt x="392" y="260"/>
                    <a:pt x="393" y="260"/>
                  </a:cubicBezTo>
                  <a:cubicBezTo>
                    <a:pt x="398" y="260"/>
                    <a:pt x="398" y="257"/>
                    <a:pt x="399" y="254"/>
                  </a:cubicBezTo>
                  <a:cubicBezTo>
                    <a:pt x="400" y="252"/>
                    <a:pt x="401" y="248"/>
                    <a:pt x="394" y="246"/>
                  </a:cubicBezTo>
                  <a:cubicBezTo>
                    <a:pt x="390" y="244"/>
                    <a:pt x="386" y="241"/>
                    <a:pt x="384" y="238"/>
                  </a:cubicBezTo>
                  <a:cubicBezTo>
                    <a:pt x="385" y="236"/>
                    <a:pt x="385" y="235"/>
                    <a:pt x="385" y="233"/>
                  </a:cubicBezTo>
                  <a:cubicBezTo>
                    <a:pt x="388" y="231"/>
                    <a:pt x="393" y="230"/>
                    <a:pt x="397" y="230"/>
                  </a:cubicBezTo>
                  <a:cubicBezTo>
                    <a:pt x="404" y="229"/>
                    <a:pt x="404" y="226"/>
                    <a:pt x="405" y="223"/>
                  </a:cubicBezTo>
                  <a:cubicBezTo>
                    <a:pt x="405" y="220"/>
                    <a:pt x="406" y="217"/>
                    <a:pt x="399" y="215"/>
                  </a:cubicBezTo>
                  <a:cubicBezTo>
                    <a:pt x="395" y="214"/>
                    <a:pt x="390" y="212"/>
                    <a:pt x="388" y="210"/>
                  </a:cubicBezTo>
                  <a:cubicBezTo>
                    <a:pt x="388" y="208"/>
                    <a:pt x="388" y="206"/>
                    <a:pt x="388" y="204"/>
                  </a:cubicBezTo>
                  <a:cubicBezTo>
                    <a:pt x="390" y="202"/>
                    <a:pt x="395" y="200"/>
                    <a:pt x="399" y="199"/>
                  </a:cubicBezTo>
                  <a:cubicBezTo>
                    <a:pt x="406" y="198"/>
                    <a:pt x="406" y="194"/>
                    <a:pt x="405" y="191"/>
                  </a:cubicBezTo>
                  <a:cubicBezTo>
                    <a:pt x="405" y="189"/>
                    <a:pt x="406" y="185"/>
                    <a:pt x="399" y="184"/>
                  </a:cubicBezTo>
                  <a:cubicBezTo>
                    <a:pt x="394" y="184"/>
                    <a:pt x="389" y="183"/>
                    <a:pt x="387" y="181"/>
                  </a:cubicBezTo>
                  <a:cubicBezTo>
                    <a:pt x="386" y="179"/>
                    <a:pt x="386" y="177"/>
                    <a:pt x="386" y="175"/>
                  </a:cubicBezTo>
                  <a:cubicBezTo>
                    <a:pt x="388" y="172"/>
                    <a:pt x="392" y="170"/>
                    <a:pt x="396" y="168"/>
                  </a:cubicBezTo>
                  <a:cubicBezTo>
                    <a:pt x="403" y="166"/>
                    <a:pt x="402" y="162"/>
                    <a:pt x="401" y="160"/>
                  </a:cubicBezTo>
                  <a:cubicBezTo>
                    <a:pt x="401" y="157"/>
                    <a:pt x="400" y="154"/>
                    <a:pt x="395" y="154"/>
                  </a:cubicBezTo>
                  <a:cubicBezTo>
                    <a:pt x="394" y="154"/>
                    <a:pt x="394" y="154"/>
                    <a:pt x="393" y="154"/>
                  </a:cubicBezTo>
                  <a:cubicBezTo>
                    <a:pt x="393" y="154"/>
                    <a:pt x="392" y="154"/>
                    <a:pt x="391" y="154"/>
                  </a:cubicBezTo>
                  <a:cubicBezTo>
                    <a:pt x="387" y="154"/>
                    <a:pt x="383" y="153"/>
                    <a:pt x="381" y="152"/>
                  </a:cubicBezTo>
                  <a:cubicBezTo>
                    <a:pt x="380" y="150"/>
                    <a:pt x="380" y="148"/>
                    <a:pt x="379" y="147"/>
                  </a:cubicBezTo>
                  <a:cubicBezTo>
                    <a:pt x="381" y="144"/>
                    <a:pt x="385" y="141"/>
                    <a:pt x="389" y="138"/>
                  </a:cubicBezTo>
                  <a:cubicBezTo>
                    <a:pt x="395" y="135"/>
                    <a:pt x="393" y="132"/>
                    <a:pt x="392" y="129"/>
                  </a:cubicBezTo>
                  <a:cubicBezTo>
                    <a:pt x="391" y="127"/>
                    <a:pt x="391" y="124"/>
                    <a:pt x="387" y="124"/>
                  </a:cubicBezTo>
                  <a:cubicBezTo>
                    <a:pt x="386" y="124"/>
                    <a:pt x="385" y="124"/>
                    <a:pt x="384" y="125"/>
                  </a:cubicBezTo>
                  <a:cubicBezTo>
                    <a:pt x="381" y="125"/>
                    <a:pt x="378" y="126"/>
                    <a:pt x="376" y="126"/>
                  </a:cubicBezTo>
                  <a:cubicBezTo>
                    <a:pt x="374" y="126"/>
                    <a:pt x="372" y="126"/>
                    <a:pt x="371" y="125"/>
                  </a:cubicBezTo>
                  <a:cubicBezTo>
                    <a:pt x="370" y="123"/>
                    <a:pt x="369" y="121"/>
                    <a:pt x="368" y="120"/>
                  </a:cubicBezTo>
                  <a:cubicBezTo>
                    <a:pt x="370" y="117"/>
                    <a:pt x="373" y="113"/>
                    <a:pt x="377" y="110"/>
                  </a:cubicBezTo>
                  <a:cubicBezTo>
                    <a:pt x="382" y="106"/>
                    <a:pt x="380" y="103"/>
                    <a:pt x="379" y="101"/>
                  </a:cubicBezTo>
                  <a:cubicBezTo>
                    <a:pt x="378" y="99"/>
                    <a:pt x="377" y="97"/>
                    <a:pt x="373" y="97"/>
                  </a:cubicBezTo>
                  <a:cubicBezTo>
                    <a:pt x="372" y="97"/>
                    <a:pt x="371" y="97"/>
                    <a:pt x="369" y="98"/>
                  </a:cubicBezTo>
                  <a:cubicBezTo>
                    <a:pt x="366" y="99"/>
                    <a:pt x="361" y="100"/>
                    <a:pt x="358" y="100"/>
                  </a:cubicBezTo>
                  <a:cubicBezTo>
                    <a:pt x="358" y="100"/>
                    <a:pt x="357" y="100"/>
                    <a:pt x="357" y="100"/>
                  </a:cubicBezTo>
                  <a:cubicBezTo>
                    <a:pt x="356" y="98"/>
                    <a:pt x="355" y="97"/>
                    <a:pt x="353" y="95"/>
                  </a:cubicBezTo>
                  <a:cubicBezTo>
                    <a:pt x="354" y="92"/>
                    <a:pt x="357" y="88"/>
                    <a:pt x="360" y="84"/>
                  </a:cubicBezTo>
                  <a:cubicBezTo>
                    <a:pt x="365" y="79"/>
                    <a:pt x="362" y="76"/>
                    <a:pt x="361" y="74"/>
                  </a:cubicBezTo>
                  <a:cubicBezTo>
                    <a:pt x="359" y="73"/>
                    <a:pt x="358" y="71"/>
                    <a:pt x="356" y="71"/>
                  </a:cubicBezTo>
                  <a:cubicBezTo>
                    <a:pt x="354" y="71"/>
                    <a:pt x="353" y="72"/>
                    <a:pt x="351" y="73"/>
                  </a:cubicBezTo>
                  <a:cubicBezTo>
                    <a:pt x="347" y="75"/>
                    <a:pt x="342" y="77"/>
                    <a:pt x="339" y="77"/>
                  </a:cubicBezTo>
                  <a:cubicBezTo>
                    <a:pt x="338" y="76"/>
                    <a:pt x="336" y="74"/>
                    <a:pt x="335" y="73"/>
                  </a:cubicBezTo>
                  <a:cubicBezTo>
                    <a:pt x="335" y="70"/>
                    <a:pt x="337" y="65"/>
                    <a:pt x="340" y="61"/>
                  </a:cubicBezTo>
                  <a:cubicBezTo>
                    <a:pt x="344" y="55"/>
                    <a:pt x="341" y="53"/>
                    <a:pt x="339" y="51"/>
                  </a:cubicBezTo>
                  <a:cubicBezTo>
                    <a:pt x="337" y="50"/>
                    <a:pt x="336" y="49"/>
                    <a:pt x="334" y="49"/>
                  </a:cubicBezTo>
                  <a:cubicBezTo>
                    <a:pt x="333" y="49"/>
                    <a:pt x="331" y="49"/>
                    <a:pt x="329" y="51"/>
                  </a:cubicBezTo>
                  <a:cubicBezTo>
                    <a:pt x="325" y="54"/>
                    <a:pt x="321" y="57"/>
                    <a:pt x="318" y="57"/>
                  </a:cubicBezTo>
                  <a:cubicBezTo>
                    <a:pt x="316" y="56"/>
                    <a:pt x="315" y="55"/>
                    <a:pt x="313" y="54"/>
                  </a:cubicBezTo>
                  <a:cubicBezTo>
                    <a:pt x="313" y="50"/>
                    <a:pt x="314" y="46"/>
                    <a:pt x="316" y="41"/>
                  </a:cubicBezTo>
                  <a:cubicBezTo>
                    <a:pt x="319" y="35"/>
                    <a:pt x="316" y="33"/>
                    <a:pt x="313" y="32"/>
                  </a:cubicBezTo>
                  <a:cubicBezTo>
                    <a:pt x="312" y="31"/>
                    <a:pt x="311" y="30"/>
                    <a:pt x="309" y="30"/>
                  </a:cubicBezTo>
                  <a:cubicBezTo>
                    <a:pt x="308" y="30"/>
                    <a:pt x="306" y="31"/>
                    <a:pt x="304" y="34"/>
                  </a:cubicBezTo>
                  <a:cubicBezTo>
                    <a:pt x="301" y="37"/>
                    <a:pt x="297" y="40"/>
                    <a:pt x="294" y="41"/>
                  </a:cubicBezTo>
                  <a:cubicBezTo>
                    <a:pt x="292" y="40"/>
                    <a:pt x="290" y="39"/>
                    <a:pt x="288" y="38"/>
                  </a:cubicBezTo>
                  <a:cubicBezTo>
                    <a:pt x="288" y="35"/>
                    <a:pt x="288" y="30"/>
                    <a:pt x="289" y="26"/>
                  </a:cubicBezTo>
                  <a:cubicBezTo>
                    <a:pt x="291" y="19"/>
                    <a:pt x="288" y="18"/>
                    <a:pt x="285" y="17"/>
                  </a:cubicBezTo>
                  <a:cubicBezTo>
                    <a:pt x="284" y="16"/>
                    <a:pt x="283" y="16"/>
                    <a:pt x="282" y="16"/>
                  </a:cubicBezTo>
                  <a:cubicBezTo>
                    <a:pt x="280" y="16"/>
                    <a:pt x="278" y="17"/>
                    <a:pt x="276" y="20"/>
                  </a:cubicBezTo>
                  <a:cubicBezTo>
                    <a:pt x="274" y="24"/>
                    <a:pt x="270" y="28"/>
                    <a:pt x="268" y="29"/>
                  </a:cubicBezTo>
                  <a:cubicBezTo>
                    <a:pt x="266" y="28"/>
                    <a:pt x="264" y="28"/>
                    <a:pt x="262" y="27"/>
                  </a:cubicBezTo>
                  <a:cubicBezTo>
                    <a:pt x="261" y="24"/>
                    <a:pt x="260" y="19"/>
                    <a:pt x="261" y="14"/>
                  </a:cubicBezTo>
                  <a:cubicBezTo>
                    <a:pt x="262" y="7"/>
                    <a:pt x="258" y="7"/>
                    <a:pt x="255" y="6"/>
                  </a:cubicBezTo>
                  <a:cubicBezTo>
                    <a:pt x="255" y="6"/>
                    <a:pt x="253" y="6"/>
                    <a:pt x="252" y="6"/>
                  </a:cubicBezTo>
                  <a:cubicBezTo>
                    <a:pt x="250" y="6"/>
                    <a:pt x="248" y="7"/>
                    <a:pt x="247" y="11"/>
                  </a:cubicBezTo>
                  <a:cubicBezTo>
                    <a:pt x="245" y="15"/>
                    <a:pt x="242" y="19"/>
                    <a:pt x="240" y="21"/>
                  </a:cubicBezTo>
                  <a:cubicBezTo>
                    <a:pt x="238" y="21"/>
                    <a:pt x="236" y="20"/>
                    <a:pt x="234" y="20"/>
                  </a:cubicBezTo>
                  <a:cubicBezTo>
                    <a:pt x="232" y="17"/>
                    <a:pt x="231" y="12"/>
                    <a:pt x="231" y="8"/>
                  </a:cubicBezTo>
                  <a:cubicBezTo>
                    <a:pt x="231" y="1"/>
                    <a:pt x="227" y="1"/>
                    <a:pt x="224" y="1"/>
                  </a:cubicBezTo>
                  <a:cubicBezTo>
                    <a:pt x="224" y="0"/>
                    <a:pt x="223" y="0"/>
                    <a:pt x="222" y="0"/>
                  </a:cubicBezTo>
                  <a:cubicBezTo>
                    <a:pt x="220" y="0"/>
                    <a:pt x="217" y="1"/>
                    <a:pt x="216" y="6"/>
                  </a:cubicBezTo>
                  <a:cubicBezTo>
                    <a:pt x="215" y="11"/>
                    <a:pt x="213" y="15"/>
                    <a:pt x="211" y="18"/>
                  </a:cubicBezTo>
                  <a:cubicBezTo>
                    <a:pt x="209" y="18"/>
                    <a:pt x="207" y="17"/>
                    <a:pt x="205" y="17"/>
                  </a:cubicBezTo>
                  <a:cubicBezTo>
                    <a:pt x="203" y="15"/>
                    <a:pt x="201" y="10"/>
                    <a:pt x="200" y="6"/>
                  </a:cubicBezTo>
                  <a:cubicBezTo>
                    <a:pt x="199" y="0"/>
                    <a:pt x="197" y="0"/>
                    <a:pt x="19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6" name="Freeform 21484">
              <a:extLst>
                <a:ext uri="{FF2B5EF4-FFF2-40B4-BE49-F238E27FC236}">
                  <a16:creationId xmlns:a16="http://schemas.microsoft.com/office/drawing/2014/main" id="{5B7E3EB9-76CE-4DD1-AFCB-6125AB9BB85D}"/>
                </a:ext>
              </a:extLst>
            </p:cNvPr>
            <p:cNvSpPr>
              <a:spLocks noEditPoints="1"/>
            </p:cNvSpPr>
            <p:nvPr userDrawn="1"/>
          </p:nvSpPr>
          <p:spPr bwMode="auto">
            <a:xfrm>
              <a:off x="8906828" y="4876165"/>
              <a:ext cx="833438" cy="733425"/>
            </a:xfrm>
            <a:custGeom>
              <a:avLst/>
              <a:gdLst>
                <a:gd name="T0" fmla="*/ 213 w 412"/>
                <a:gd name="T1" fmla="*/ 267 h 364"/>
                <a:gd name="T2" fmla="*/ 135 w 412"/>
                <a:gd name="T3" fmla="*/ 212 h 364"/>
                <a:gd name="T4" fmla="*/ 138 w 412"/>
                <a:gd name="T5" fmla="*/ 147 h 364"/>
                <a:gd name="T6" fmla="*/ 168 w 412"/>
                <a:gd name="T7" fmla="*/ 147 h 364"/>
                <a:gd name="T8" fmla="*/ 164 w 412"/>
                <a:gd name="T9" fmla="*/ 185 h 364"/>
                <a:gd name="T10" fmla="*/ 200 w 412"/>
                <a:gd name="T11" fmla="*/ 172 h 364"/>
                <a:gd name="T12" fmla="*/ 273 w 412"/>
                <a:gd name="T13" fmla="*/ 225 h 364"/>
                <a:gd name="T14" fmla="*/ 239 w 412"/>
                <a:gd name="T15" fmla="*/ 211 h 364"/>
                <a:gd name="T16" fmla="*/ 215 w 412"/>
                <a:gd name="T17" fmla="*/ 205 h 364"/>
                <a:gd name="T18" fmla="*/ 259 w 412"/>
                <a:gd name="T19" fmla="*/ 238 h 364"/>
                <a:gd name="T20" fmla="*/ 251 w 412"/>
                <a:gd name="T21" fmla="*/ 249 h 364"/>
                <a:gd name="T22" fmla="*/ 207 w 412"/>
                <a:gd name="T23" fmla="*/ 217 h 364"/>
                <a:gd name="T24" fmla="*/ 238 w 412"/>
                <a:gd name="T25" fmla="*/ 250 h 364"/>
                <a:gd name="T26" fmla="*/ 230 w 412"/>
                <a:gd name="T27" fmla="*/ 262 h 364"/>
                <a:gd name="T28" fmla="*/ 196 w 412"/>
                <a:gd name="T29" fmla="*/ 233 h 364"/>
                <a:gd name="T30" fmla="*/ 223 w 412"/>
                <a:gd name="T31" fmla="*/ 263 h 364"/>
                <a:gd name="T32" fmla="*/ 170 w 412"/>
                <a:gd name="T33" fmla="*/ 183 h 364"/>
                <a:gd name="T34" fmla="*/ 162 w 412"/>
                <a:gd name="T35" fmla="*/ 172 h 364"/>
                <a:gd name="T36" fmla="*/ 181 w 412"/>
                <a:gd name="T37" fmla="*/ 147 h 364"/>
                <a:gd name="T38" fmla="*/ 208 w 412"/>
                <a:gd name="T39" fmla="*/ 140 h 364"/>
                <a:gd name="T40" fmla="*/ 251 w 412"/>
                <a:gd name="T41" fmla="*/ 151 h 364"/>
                <a:gd name="T42" fmla="*/ 292 w 412"/>
                <a:gd name="T43" fmla="*/ 206 h 364"/>
                <a:gd name="T44" fmla="*/ 273 w 412"/>
                <a:gd name="T45" fmla="*/ 219 h 364"/>
                <a:gd name="T46" fmla="*/ 207 w 412"/>
                <a:gd name="T47" fmla="*/ 170 h 364"/>
                <a:gd name="T48" fmla="*/ 170 w 412"/>
                <a:gd name="T49" fmla="*/ 183 h 364"/>
                <a:gd name="T50" fmla="*/ 303 w 412"/>
                <a:gd name="T51" fmla="*/ 202 h 364"/>
                <a:gd name="T52" fmla="*/ 281 w 412"/>
                <a:gd name="T53" fmla="*/ 157 h 364"/>
                <a:gd name="T54" fmla="*/ 279 w 412"/>
                <a:gd name="T55" fmla="*/ 142 h 364"/>
                <a:gd name="T56" fmla="*/ 339 w 412"/>
                <a:gd name="T57" fmla="*/ 189 h 364"/>
                <a:gd name="T58" fmla="*/ 325 w 412"/>
                <a:gd name="T59" fmla="*/ 195 h 364"/>
                <a:gd name="T60" fmla="*/ 107 w 412"/>
                <a:gd name="T61" fmla="*/ 196 h 364"/>
                <a:gd name="T62" fmla="*/ 68 w 412"/>
                <a:gd name="T63" fmla="*/ 183 h 364"/>
                <a:gd name="T64" fmla="*/ 131 w 412"/>
                <a:gd name="T65" fmla="*/ 137 h 364"/>
                <a:gd name="T66" fmla="*/ 115 w 412"/>
                <a:gd name="T67" fmla="*/ 184 h 364"/>
                <a:gd name="T68" fmla="*/ 107 w 412"/>
                <a:gd name="T69" fmla="*/ 196 h 364"/>
                <a:gd name="T70" fmla="*/ 91 w 412"/>
                <a:gd name="T71" fmla="*/ 41 h 364"/>
                <a:gd name="T72" fmla="*/ 173 w 412"/>
                <a:gd name="T73" fmla="*/ 364 h 364"/>
                <a:gd name="T74" fmla="*/ 349 w 412"/>
                <a:gd name="T75" fmla="*/ 6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2" h="364">
                  <a:moveTo>
                    <a:pt x="216" y="268"/>
                  </a:moveTo>
                  <a:cubicBezTo>
                    <a:pt x="215" y="268"/>
                    <a:pt x="214" y="268"/>
                    <a:pt x="213" y="267"/>
                  </a:cubicBezTo>
                  <a:cubicBezTo>
                    <a:pt x="206" y="264"/>
                    <a:pt x="175" y="245"/>
                    <a:pt x="175" y="245"/>
                  </a:cubicBezTo>
                  <a:cubicBezTo>
                    <a:pt x="135" y="212"/>
                    <a:pt x="135" y="212"/>
                    <a:pt x="135" y="212"/>
                  </a:cubicBezTo>
                  <a:cubicBezTo>
                    <a:pt x="118" y="194"/>
                    <a:pt x="118" y="194"/>
                    <a:pt x="118" y="194"/>
                  </a:cubicBezTo>
                  <a:cubicBezTo>
                    <a:pt x="138" y="147"/>
                    <a:pt x="138" y="147"/>
                    <a:pt x="138" y="147"/>
                  </a:cubicBezTo>
                  <a:cubicBezTo>
                    <a:pt x="138" y="147"/>
                    <a:pt x="150" y="147"/>
                    <a:pt x="160" y="147"/>
                  </a:cubicBezTo>
                  <a:cubicBezTo>
                    <a:pt x="163" y="147"/>
                    <a:pt x="166" y="147"/>
                    <a:pt x="168" y="147"/>
                  </a:cubicBezTo>
                  <a:cubicBezTo>
                    <a:pt x="157" y="167"/>
                    <a:pt x="157" y="167"/>
                    <a:pt x="157" y="167"/>
                  </a:cubicBezTo>
                  <a:cubicBezTo>
                    <a:pt x="157" y="167"/>
                    <a:pt x="151" y="179"/>
                    <a:pt x="164" y="185"/>
                  </a:cubicBezTo>
                  <a:cubicBezTo>
                    <a:pt x="166" y="186"/>
                    <a:pt x="169" y="186"/>
                    <a:pt x="171" y="186"/>
                  </a:cubicBezTo>
                  <a:cubicBezTo>
                    <a:pt x="182" y="186"/>
                    <a:pt x="193" y="179"/>
                    <a:pt x="200" y="172"/>
                  </a:cubicBezTo>
                  <a:cubicBezTo>
                    <a:pt x="240" y="191"/>
                    <a:pt x="240" y="191"/>
                    <a:pt x="240" y="191"/>
                  </a:cubicBezTo>
                  <a:cubicBezTo>
                    <a:pt x="273" y="225"/>
                    <a:pt x="273" y="225"/>
                    <a:pt x="273" y="225"/>
                  </a:cubicBezTo>
                  <a:cubicBezTo>
                    <a:pt x="273" y="225"/>
                    <a:pt x="278" y="237"/>
                    <a:pt x="267" y="238"/>
                  </a:cubicBezTo>
                  <a:cubicBezTo>
                    <a:pt x="239" y="211"/>
                    <a:pt x="239" y="211"/>
                    <a:pt x="239" y="211"/>
                  </a:cubicBezTo>
                  <a:cubicBezTo>
                    <a:pt x="218" y="202"/>
                    <a:pt x="218" y="202"/>
                    <a:pt x="218" y="202"/>
                  </a:cubicBezTo>
                  <a:cubicBezTo>
                    <a:pt x="215" y="205"/>
                    <a:pt x="215" y="205"/>
                    <a:pt x="215" y="205"/>
                  </a:cubicBezTo>
                  <a:cubicBezTo>
                    <a:pt x="236" y="214"/>
                    <a:pt x="236" y="214"/>
                    <a:pt x="236" y="214"/>
                  </a:cubicBezTo>
                  <a:cubicBezTo>
                    <a:pt x="259" y="238"/>
                    <a:pt x="259" y="238"/>
                    <a:pt x="259" y="238"/>
                  </a:cubicBezTo>
                  <a:cubicBezTo>
                    <a:pt x="259" y="238"/>
                    <a:pt x="262" y="243"/>
                    <a:pt x="257" y="247"/>
                  </a:cubicBezTo>
                  <a:cubicBezTo>
                    <a:pt x="255" y="248"/>
                    <a:pt x="253" y="249"/>
                    <a:pt x="251" y="249"/>
                  </a:cubicBezTo>
                  <a:cubicBezTo>
                    <a:pt x="246" y="249"/>
                    <a:pt x="241" y="246"/>
                    <a:pt x="237" y="243"/>
                  </a:cubicBezTo>
                  <a:cubicBezTo>
                    <a:pt x="230" y="237"/>
                    <a:pt x="207" y="217"/>
                    <a:pt x="207" y="217"/>
                  </a:cubicBezTo>
                  <a:cubicBezTo>
                    <a:pt x="204" y="221"/>
                    <a:pt x="204" y="221"/>
                    <a:pt x="204" y="221"/>
                  </a:cubicBezTo>
                  <a:cubicBezTo>
                    <a:pt x="238" y="250"/>
                    <a:pt x="238" y="250"/>
                    <a:pt x="238" y="250"/>
                  </a:cubicBezTo>
                  <a:cubicBezTo>
                    <a:pt x="238" y="250"/>
                    <a:pt x="241" y="254"/>
                    <a:pt x="236" y="259"/>
                  </a:cubicBezTo>
                  <a:cubicBezTo>
                    <a:pt x="233" y="261"/>
                    <a:pt x="232" y="262"/>
                    <a:pt x="230" y="262"/>
                  </a:cubicBezTo>
                  <a:cubicBezTo>
                    <a:pt x="227" y="262"/>
                    <a:pt x="225" y="260"/>
                    <a:pt x="221" y="256"/>
                  </a:cubicBezTo>
                  <a:cubicBezTo>
                    <a:pt x="214" y="249"/>
                    <a:pt x="196" y="233"/>
                    <a:pt x="196" y="233"/>
                  </a:cubicBezTo>
                  <a:cubicBezTo>
                    <a:pt x="193" y="236"/>
                    <a:pt x="193" y="236"/>
                    <a:pt x="193" y="236"/>
                  </a:cubicBezTo>
                  <a:cubicBezTo>
                    <a:pt x="223" y="263"/>
                    <a:pt x="223" y="263"/>
                    <a:pt x="223" y="263"/>
                  </a:cubicBezTo>
                  <a:cubicBezTo>
                    <a:pt x="223" y="263"/>
                    <a:pt x="220" y="268"/>
                    <a:pt x="216" y="268"/>
                  </a:cubicBezTo>
                  <a:moveTo>
                    <a:pt x="170" y="183"/>
                  </a:moveTo>
                  <a:cubicBezTo>
                    <a:pt x="169" y="183"/>
                    <a:pt x="168" y="183"/>
                    <a:pt x="168" y="183"/>
                  </a:cubicBezTo>
                  <a:cubicBezTo>
                    <a:pt x="154" y="181"/>
                    <a:pt x="162" y="172"/>
                    <a:pt x="162" y="172"/>
                  </a:cubicBezTo>
                  <a:cubicBezTo>
                    <a:pt x="172" y="152"/>
                    <a:pt x="172" y="152"/>
                    <a:pt x="172" y="152"/>
                  </a:cubicBezTo>
                  <a:cubicBezTo>
                    <a:pt x="172" y="152"/>
                    <a:pt x="172" y="150"/>
                    <a:pt x="181" y="147"/>
                  </a:cubicBezTo>
                  <a:cubicBezTo>
                    <a:pt x="189" y="144"/>
                    <a:pt x="206" y="140"/>
                    <a:pt x="206" y="140"/>
                  </a:cubicBezTo>
                  <a:cubicBezTo>
                    <a:pt x="206" y="140"/>
                    <a:pt x="207" y="140"/>
                    <a:pt x="208" y="140"/>
                  </a:cubicBezTo>
                  <a:cubicBezTo>
                    <a:pt x="210" y="140"/>
                    <a:pt x="215" y="140"/>
                    <a:pt x="224" y="144"/>
                  </a:cubicBezTo>
                  <a:cubicBezTo>
                    <a:pt x="237" y="149"/>
                    <a:pt x="251" y="151"/>
                    <a:pt x="251" y="151"/>
                  </a:cubicBezTo>
                  <a:cubicBezTo>
                    <a:pt x="271" y="147"/>
                    <a:pt x="271" y="147"/>
                    <a:pt x="271" y="147"/>
                  </a:cubicBezTo>
                  <a:cubicBezTo>
                    <a:pt x="292" y="206"/>
                    <a:pt x="292" y="206"/>
                    <a:pt x="292" y="206"/>
                  </a:cubicBezTo>
                  <a:cubicBezTo>
                    <a:pt x="292" y="206"/>
                    <a:pt x="292" y="206"/>
                    <a:pt x="292" y="206"/>
                  </a:cubicBezTo>
                  <a:cubicBezTo>
                    <a:pt x="283" y="206"/>
                    <a:pt x="273" y="219"/>
                    <a:pt x="273" y="219"/>
                  </a:cubicBezTo>
                  <a:cubicBezTo>
                    <a:pt x="243" y="188"/>
                    <a:pt x="243" y="188"/>
                    <a:pt x="243" y="188"/>
                  </a:cubicBezTo>
                  <a:cubicBezTo>
                    <a:pt x="207" y="170"/>
                    <a:pt x="207" y="170"/>
                    <a:pt x="207" y="170"/>
                  </a:cubicBezTo>
                  <a:cubicBezTo>
                    <a:pt x="195" y="169"/>
                    <a:pt x="195" y="169"/>
                    <a:pt x="195" y="169"/>
                  </a:cubicBezTo>
                  <a:cubicBezTo>
                    <a:pt x="195" y="169"/>
                    <a:pt x="183" y="183"/>
                    <a:pt x="170" y="183"/>
                  </a:cubicBezTo>
                  <a:moveTo>
                    <a:pt x="306" y="202"/>
                  </a:moveTo>
                  <a:cubicBezTo>
                    <a:pt x="305" y="202"/>
                    <a:pt x="304" y="202"/>
                    <a:pt x="303" y="202"/>
                  </a:cubicBezTo>
                  <a:cubicBezTo>
                    <a:pt x="302" y="201"/>
                    <a:pt x="297" y="199"/>
                    <a:pt x="296" y="197"/>
                  </a:cubicBezTo>
                  <a:cubicBezTo>
                    <a:pt x="291" y="184"/>
                    <a:pt x="286" y="171"/>
                    <a:pt x="281" y="157"/>
                  </a:cubicBezTo>
                  <a:cubicBezTo>
                    <a:pt x="280" y="154"/>
                    <a:pt x="279" y="151"/>
                    <a:pt x="277" y="148"/>
                  </a:cubicBezTo>
                  <a:cubicBezTo>
                    <a:pt x="276" y="146"/>
                    <a:pt x="277" y="143"/>
                    <a:pt x="279" y="142"/>
                  </a:cubicBezTo>
                  <a:cubicBezTo>
                    <a:pt x="291" y="136"/>
                    <a:pt x="303" y="131"/>
                    <a:pt x="315" y="125"/>
                  </a:cubicBezTo>
                  <a:cubicBezTo>
                    <a:pt x="323" y="146"/>
                    <a:pt x="331" y="167"/>
                    <a:pt x="339" y="189"/>
                  </a:cubicBezTo>
                  <a:cubicBezTo>
                    <a:pt x="339" y="189"/>
                    <a:pt x="339" y="189"/>
                    <a:pt x="339" y="189"/>
                  </a:cubicBezTo>
                  <a:cubicBezTo>
                    <a:pt x="334" y="189"/>
                    <a:pt x="330" y="192"/>
                    <a:pt x="325" y="195"/>
                  </a:cubicBezTo>
                  <a:cubicBezTo>
                    <a:pt x="320" y="198"/>
                    <a:pt x="314" y="202"/>
                    <a:pt x="306" y="202"/>
                  </a:cubicBezTo>
                  <a:moveTo>
                    <a:pt x="107" y="196"/>
                  </a:moveTo>
                  <a:cubicBezTo>
                    <a:pt x="107" y="196"/>
                    <a:pt x="106" y="196"/>
                    <a:pt x="106" y="196"/>
                  </a:cubicBezTo>
                  <a:cubicBezTo>
                    <a:pt x="93" y="191"/>
                    <a:pt x="81" y="187"/>
                    <a:pt x="68" y="183"/>
                  </a:cubicBezTo>
                  <a:cubicBezTo>
                    <a:pt x="78" y="162"/>
                    <a:pt x="87" y="141"/>
                    <a:pt x="96" y="120"/>
                  </a:cubicBezTo>
                  <a:cubicBezTo>
                    <a:pt x="104" y="128"/>
                    <a:pt x="118" y="122"/>
                    <a:pt x="131" y="137"/>
                  </a:cubicBezTo>
                  <a:cubicBezTo>
                    <a:pt x="132" y="138"/>
                    <a:pt x="134" y="142"/>
                    <a:pt x="132" y="145"/>
                  </a:cubicBezTo>
                  <a:cubicBezTo>
                    <a:pt x="127" y="158"/>
                    <a:pt x="121" y="171"/>
                    <a:pt x="115" y="184"/>
                  </a:cubicBezTo>
                  <a:cubicBezTo>
                    <a:pt x="114" y="187"/>
                    <a:pt x="113" y="189"/>
                    <a:pt x="111" y="192"/>
                  </a:cubicBezTo>
                  <a:cubicBezTo>
                    <a:pt x="110" y="194"/>
                    <a:pt x="109" y="196"/>
                    <a:pt x="107" y="196"/>
                  </a:cubicBezTo>
                  <a:moveTo>
                    <a:pt x="207" y="0"/>
                  </a:moveTo>
                  <a:cubicBezTo>
                    <a:pt x="166" y="0"/>
                    <a:pt x="125" y="13"/>
                    <a:pt x="91" y="41"/>
                  </a:cubicBezTo>
                  <a:cubicBezTo>
                    <a:pt x="12" y="105"/>
                    <a:pt x="0" y="220"/>
                    <a:pt x="64" y="299"/>
                  </a:cubicBezTo>
                  <a:cubicBezTo>
                    <a:pt x="93" y="334"/>
                    <a:pt x="131" y="356"/>
                    <a:pt x="173" y="364"/>
                  </a:cubicBezTo>
                  <a:cubicBezTo>
                    <a:pt x="226" y="357"/>
                    <a:pt x="278" y="343"/>
                    <a:pt x="328" y="321"/>
                  </a:cubicBezTo>
                  <a:cubicBezTo>
                    <a:pt x="402" y="257"/>
                    <a:pt x="412" y="145"/>
                    <a:pt x="349" y="68"/>
                  </a:cubicBezTo>
                  <a:cubicBezTo>
                    <a:pt x="313" y="23"/>
                    <a:pt x="260" y="0"/>
                    <a:pt x="207"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7" name="Freeform 21485">
              <a:extLst>
                <a:ext uri="{FF2B5EF4-FFF2-40B4-BE49-F238E27FC236}">
                  <a16:creationId xmlns:a16="http://schemas.microsoft.com/office/drawing/2014/main" id="{862E2D46-A26E-4C70-95A7-BBC106B04840}"/>
                </a:ext>
              </a:extLst>
            </p:cNvPr>
            <p:cNvSpPr>
              <a:spLocks/>
            </p:cNvSpPr>
            <p:nvPr userDrawn="1"/>
          </p:nvSpPr>
          <p:spPr bwMode="auto">
            <a:xfrm>
              <a:off x="8870315" y="4795203"/>
              <a:ext cx="908050" cy="825500"/>
            </a:xfrm>
            <a:custGeom>
              <a:avLst/>
              <a:gdLst>
                <a:gd name="T0" fmla="*/ 201 w 449"/>
                <a:gd name="T1" fmla="*/ 21 h 409"/>
                <a:gd name="T2" fmla="*/ 178 w 449"/>
                <a:gd name="T3" fmla="*/ 4 h 409"/>
                <a:gd name="T4" fmla="*/ 155 w 449"/>
                <a:gd name="T5" fmla="*/ 18 h 409"/>
                <a:gd name="T6" fmla="*/ 140 w 449"/>
                <a:gd name="T7" fmla="*/ 38 h 409"/>
                <a:gd name="T8" fmla="*/ 113 w 449"/>
                <a:gd name="T9" fmla="*/ 30 h 409"/>
                <a:gd name="T10" fmla="*/ 95 w 449"/>
                <a:gd name="T11" fmla="*/ 50 h 409"/>
                <a:gd name="T12" fmla="*/ 87 w 449"/>
                <a:gd name="T13" fmla="*/ 73 h 409"/>
                <a:gd name="T14" fmla="*/ 64 w 449"/>
                <a:gd name="T15" fmla="*/ 70 h 409"/>
                <a:gd name="T16" fmla="*/ 65 w 449"/>
                <a:gd name="T17" fmla="*/ 97 h 409"/>
                <a:gd name="T18" fmla="*/ 43 w 449"/>
                <a:gd name="T19" fmla="*/ 97 h 409"/>
                <a:gd name="T20" fmla="*/ 44 w 449"/>
                <a:gd name="T21" fmla="*/ 129 h 409"/>
                <a:gd name="T22" fmla="*/ 20 w 449"/>
                <a:gd name="T23" fmla="*/ 132 h 409"/>
                <a:gd name="T24" fmla="*/ 22 w 449"/>
                <a:gd name="T25" fmla="*/ 160 h 409"/>
                <a:gd name="T26" fmla="*/ 13 w 449"/>
                <a:gd name="T27" fmla="*/ 175 h 409"/>
                <a:gd name="T28" fmla="*/ 2 w 449"/>
                <a:gd name="T29" fmla="*/ 200 h 409"/>
                <a:gd name="T30" fmla="*/ 8 w 449"/>
                <a:gd name="T31" fmla="*/ 227 h 409"/>
                <a:gd name="T32" fmla="*/ 23 w 449"/>
                <a:gd name="T33" fmla="*/ 253 h 409"/>
                <a:gd name="T34" fmla="*/ 15 w 449"/>
                <a:gd name="T35" fmla="*/ 276 h 409"/>
                <a:gd name="T36" fmla="*/ 20 w 449"/>
                <a:gd name="T37" fmla="*/ 294 h 409"/>
                <a:gd name="T38" fmla="*/ 34 w 449"/>
                <a:gd name="T39" fmla="*/ 308 h 409"/>
                <a:gd name="T40" fmla="*/ 31 w 449"/>
                <a:gd name="T41" fmla="*/ 335 h 409"/>
                <a:gd name="T42" fmla="*/ 55 w 449"/>
                <a:gd name="T43" fmla="*/ 336 h 409"/>
                <a:gd name="T44" fmla="*/ 56 w 449"/>
                <a:gd name="T45" fmla="*/ 368 h 409"/>
                <a:gd name="T46" fmla="*/ 74 w 449"/>
                <a:gd name="T47" fmla="*/ 379 h 409"/>
                <a:gd name="T48" fmla="*/ 98 w 449"/>
                <a:gd name="T49" fmla="*/ 383 h 409"/>
                <a:gd name="T50" fmla="*/ 111 w 449"/>
                <a:gd name="T51" fmla="*/ 409 h 409"/>
                <a:gd name="T52" fmla="*/ 125 w 449"/>
                <a:gd name="T53" fmla="*/ 401 h 409"/>
                <a:gd name="T54" fmla="*/ 82 w 449"/>
                <a:gd name="T55" fmla="*/ 339 h 409"/>
                <a:gd name="T56" fmla="*/ 346 w 449"/>
                <a:gd name="T57" fmla="*/ 361 h 409"/>
                <a:gd name="T58" fmla="*/ 409 w 449"/>
                <a:gd name="T59" fmla="*/ 317 h 409"/>
                <a:gd name="T60" fmla="*/ 426 w 449"/>
                <a:gd name="T61" fmla="*/ 304 h 409"/>
                <a:gd name="T62" fmla="*/ 432 w 449"/>
                <a:gd name="T63" fmla="*/ 287 h 409"/>
                <a:gd name="T64" fmla="*/ 425 w 449"/>
                <a:gd name="T65" fmla="*/ 264 h 409"/>
                <a:gd name="T66" fmla="*/ 441 w 449"/>
                <a:gd name="T67" fmla="*/ 238 h 409"/>
                <a:gd name="T68" fmla="*/ 448 w 449"/>
                <a:gd name="T69" fmla="*/ 211 h 409"/>
                <a:gd name="T70" fmla="*/ 438 w 449"/>
                <a:gd name="T71" fmla="*/ 186 h 409"/>
                <a:gd name="T72" fmla="*/ 437 w 449"/>
                <a:gd name="T73" fmla="*/ 170 h 409"/>
                <a:gd name="T74" fmla="*/ 419 w 449"/>
                <a:gd name="T75" fmla="*/ 162 h 409"/>
                <a:gd name="T76" fmla="*/ 424 w 449"/>
                <a:gd name="T77" fmla="*/ 138 h 409"/>
                <a:gd name="T78" fmla="*/ 416 w 449"/>
                <a:gd name="T79" fmla="*/ 122 h 409"/>
                <a:gd name="T80" fmla="*/ 396 w 449"/>
                <a:gd name="T81" fmla="*/ 111 h 409"/>
                <a:gd name="T82" fmla="*/ 399 w 449"/>
                <a:gd name="T83" fmla="*/ 82 h 409"/>
                <a:gd name="T84" fmla="*/ 370 w 449"/>
                <a:gd name="T85" fmla="*/ 80 h 409"/>
                <a:gd name="T86" fmla="*/ 364 w 449"/>
                <a:gd name="T87" fmla="*/ 57 h 409"/>
                <a:gd name="T88" fmla="*/ 347 w 449"/>
                <a:gd name="T89" fmla="*/ 36 h 409"/>
                <a:gd name="T90" fmla="*/ 319 w 449"/>
                <a:gd name="T91" fmla="*/ 42 h 409"/>
                <a:gd name="T92" fmla="*/ 305 w 449"/>
                <a:gd name="T93" fmla="*/ 22 h 409"/>
                <a:gd name="T94" fmla="*/ 283 w 449"/>
                <a:gd name="T95" fmla="*/ 7 h 409"/>
                <a:gd name="T96" fmla="*/ 259 w 449"/>
                <a:gd name="T97" fmla="*/ 22 h 409"/>
                <a:gd name="T98" fmla="*/ 239 w 449"/>
                <a:gd name="T99" fmla="*/ 7 h 409"/>
                <a:gd name="T100" fmla="*/ 215 w 449"/>
                <a:gd name="T10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409">
                  <a:moveTo>
                    <a:pt x="215" y="0"/>
                  </a:moveTo>
                  <a:cubicBezTo>
                    <a:pt x="214" y="0"/>
                    <a:pt x="214" y="0"/>
                    <a:pt x="213" y="0"/>
                  </a:cubicBezTo>
                  <a:cubicBezTo>
                    <a:pt x="210" y="0"/>
                    <a:pt x="206" y="0"/>
                    <a:pt x="205" y="7"/>
                  </a:cubicBezTo>
                  <a:cubicBezTo>
                    <a:pt x="205" y="12"/>
                    <a:pt x="203" y="18"/>
                    <a:pt x="201" y="21"/>
                  </a:cubicBezTo>
                  <a:cubicBezTo>
                    <a:pt x="199" y="21"/>
                    <a:pt x="197" y="21"/>
                    <a:pt x="195" y="22"/>
                  </a:cubicBezTo>
                  <a:cubicBezTo>
                    <a:pt x="192" y="19"/>
                    <a:pt x="189" y="14"/>
                    <a:pt x="187" y="10"/>
                  </a:cubicBezTo>
                  <a:cubicBezTo>
                    <a:pt x="186" y="5"/>
                    <a:pt x="184" y="4"/>
                    <a:pt x="181" y="4"/>
                  </a:cubicBezTo>
                  <a:cubicBezTo>
                    <a:pt x="180" y="4"/>
                    <a:pt x="179" y="4"/>
                    <a:pt x="178" y="4"/>
                  </a:cubicBezTo>
                  <a:cubicBezTo>
                    <a:pt x="175" y="5"/>
                    <a:pt x="171" y="5"/>
                    <a:pt x="172" y="13"/>
                  </a:cubicBezTo>
                  <a:cubicBezTo>
                    <a:pt x="172" y="18"/>
                    <a:pt x="171" y="24"/>
                    <a:pt x="170" y="27"/>
                  </a:cubicBezTo>
                  <a:cubicBezTo>
                    <a:pt x="168" y="27"/>
                    <a:pt x="166" y="28"/>
                    <a:pt x="164" y="29"/>
                  </a:cubicBezTo>
                  <a:cubicBezTo>
                    <a:pt x="161" y="27"/>
                    <a:pt x="157" y="23"/>
                    <a:pt x="155" y="18"/>
                  </a:cubicBezTo>
                  <a:cubicBezTo>
                    <a:pt x="152" y="14"/>
                    <a:pt x="150" y="13"/>
                    <a:pt x="148" y="13"/>
                  </a:cubicBezTo>
                  <a:cubicBezTo>
                    <a:pt x="147" y="13"/>
                    <a:pt x="146" y="14"/>
                    <a:pt x="144" y="14"/>
                  </a:cubicBezTo>
                  <a:cubicBezTo>
                    <a:pt x="142" y="15"/>
                    <a:pt x="138" y="17"/>
                    <a:pt x="139" y="24"/>
                  </a:cubicBezTo>
                  <a:cubicBezTo>
                    <a:pt x="140" y="29"/>
                    <a:pt x="141" y="35"/>
                    <a:pt x="140" y="38"/>
                  </a:cubicBezTo>
                  <a:cubicBezTo>
                    <a:pt x="138" y="39"/>
                    <a:pt x="136" y="40"/>
                    <a:pt x="134" y="41"/>
                  </a:cubicBezTo>
                  <a:cubicBezTo>
                    <a:pt x="131" y="40"/>
                    <a:pt x="126" y="36"/>
                    <a:pt x="123" y="32"/>
                  </a:cubicBezTo>
                  <a:cubicBezTo>
                    <a:pt x="121" y="29"/>
                    <a:pt x="119" y="28"/>
                    <a:pt x="117" y="28"/>
                  </a:cubicBezTo>
                  <a:cubicBezTo>
                    <a:pt x="116" y="28"/>
                    <a:pt x="114" y="29"/>
                    <a:pt x="113" y="30"/>
                  </a:cubicBezTo>
                  <a:cubicBezTo>
                    <a:pt x="110" y="31"/>
                    <a:pt x="106" y="33"/>
                    <a:pt x="109" y="40"/>
                  </a:cubicBezTo>
                  <a:cubicBezTo>
                    <a:pt x="111" y="45"/>
                    <a:pt x="112" y="50"/>
                    <a:pt x="112" y="53"/>
                  </a:cubicBezTo>
                  <a:cubicBezTo>
                    <a:pt x="110" y="55"/>
                    <a:pt x="108" y="56"/>
                    <a:pt x="106" y="57"/>
                  </a:cubicBezTo>
                  <a:cubicBezTo>
                    <a:pt x="103" y="57"/>
                    <a:pt x="98" y="53"/>
                    <a:pt x="95" y="50"/>
                  </a:cubicBezTo>
                  <a:cubicBezTo>
                    <a:pt x="92" y="48"/>
                    <a:pt x="90" y="47"/>
                    <a:pt x="89" y="47"/>
                  </a:cubicBezTo>
                  <a:cubicBezTo>
                    <a:pt x="87" y="47"/>
                    <a:pt x="85" y="48"/>
                    <a:pt x="84" y="50"/>
                  </a:cubicBezTo>
                  <a:cubicBezTo>
                    <a:pt x="82" y="51"/>
                    <a:pt x="78" y="54"/>
                    <a:pt x="82" y="60"/>
                  </a:cubicBezTo>
                  <a:cubicBezTo>
                    <a:pt x="85" y="65"/>
                    <a:pt x="87" y="70"/>
                    <a:pt x="87" y="73"/>
                  </a:cubicBezTo>
                  <a:cubicBezTo>
                    <a:pt x="85" y="75"/>
                    <a:pt x="83" y="76"/>
                    <a:pt x="82" y="78"/>
                  </a:cubicBezTo>
                  <a:cubicBezTo>
                    <a:pt x="78" y="78"/>
                    <a:pt x="73" y="75"/>
                    <a:pt x="69" y="73"/>
                  </a:cubicBezTo>
                  <a:cubicBezTo>
                    <a:pt x="68" y="72"/>
                    <a:pt x="66" y="71"/>
                    <a:pt x="65" y="71"/>
                  </a:cubicBezTo>
                  <a:cubicBezTo>
                    <a:pt x="65" y="70"/>
                    <a:pt x="64" y="70"/>
                    <a:pt x="64" y="70"/>
                  </a:cubicBezTo>
                  <a:cubicBezTo>
                    <a:pt x="61" y="70"/>
                    <a:pt x="60" y="72"/>
                    <a:pt x="58" y="74"/>
                  </a:cubicBezTo>
                  <a:cubicBezTo>
                    <a:pt x="57" y="75"/>
                    <a:pt x="56" y="76"/>
                    <a:pt x="56" y="77"/>
                  </a:cubicBezTo>
                  <a:cubicBezTo>
                    <a:pt x="55" y="79"/>
                    <a:pt x="55" y="81"/>
                    <a:pt x="58" y="85"/>
                  </a:cubicBezTo>
                  <a:cubicBezTo>
                    <a:pt x="61" y="88"/>
                    <a:pt x="64" y="93"/>
                    <a:pt x="65" y="97"/>
                  </a:cubicBezTo>
                  <a:cubicBezTo>
                    <a:pt x="64" y="98"/>
                    <a:pt x="62" y="100"/>
                    <a:pt x="61" y="102"/>
                  </a:cubicBezTo>
                  <a:cubicBezTo>
                    <a:pt x="61" y="102"/>
                    <a:pt x="60" y="102"/>
                    <a:pt x="60" y="102"/>
                  </a:cubicBezTo>
                  <a:cubicBezTo>
                    <a:pt x="56" y="102"/>
                    <a:pt x="52" y="101"/>
                    <a:pt x="47" y="99"/>
                  </a:cubicBezTo>
                  <a:cubicBezTo>
                    <a:pt x="45" y="98"/>
                    <a:pt x="44" y="97"/>
                    <a:pt x="43" y="97"/>
                  </a:cubicBezTo>
                  <a:cubicBezTo>
                    <a:pt x="39" y="97"/>
                    <a:pt x="38" y="100"/>
                    <a:pt x="37" y="102"/>
                  </a:cubicBezTo>
                  <a:cubicBezTo>
                    <a:pt x="35" y="104"/>
                    <a:pt x="33" y="107"/>
                    <a:pt x="39" y="112"/>
                  </a:cubicBezTo>
                  <a:cubicBezTo>
                    <a:pt x="42" y="116"/>
                    <a:pt x="46" y="120"/>
                    <a:pt x="47" y="123"/>
                  </a:cubicBezTo>
                  <a:cubicBezTo>
                    <a:pt x="46" y="125"/>
                    <a:pt x="45" y="127"/>
                    <a:pt x="44" y="129"/>
                  </a:cubicBezTo>
                  <a:cubicBezTo>
                    <a:pt x="43" y="129"/>
                    <a:pt x="42" y="130"/>
                    <a:pt x="40" y="130"/>
                  </a:cubicBezTo>
                  <a:cubicBezTo>
                    <a:pt x="37" y="130"/>
                    <a:pt x="33" y="129"/>
                    <a:pt x="30" y="128"/>
                  </a:cubicBezTo>
                  <a:cubicBezTo>
                    <a:pt x="29" y="128"/>
                    <a:pt x="27" y="127"/>
                    <a:pt x="26" y="127"/>
                  </a:cubicBezTo>
                  <a:cubicBezTo>
                    <a:pt x="22" y="127"/>
                    <a:pt x="21" y="130"/>
                    <a:pt x="20" y="132"/>
                  </a:cubicBezTo>
                  <a:cubicBezTo>
                    <a:pt x="19" y="135"/>
                    <a:pt x="17" y="139"/>
                    <a:pt x="24" y="143"/>
                  </a:cubicBezTo>
                  <a:cubicBezTo>
                    <a:pt x="28" y="145"/>
                    <a:pt x="32" y="149"/>
                    <a:pt x="34" y="152"/>
                  </a:cubicBezTo>
                  <a:cubicBezTo>
                    <a:pt x="33" y="154"/>
                    <a:pt x="32" y="156"/>
                    <a:pt x="31" y="159"/>
                  </a:cubicBezTo>
                  <a:cubicBezTo>
                    <a:pt x="29" y="160"/>
                    <a:pt x="26" y="160"/>
                    <a:pt x="22" y="160"/>
                  </a:cubicBezTo>
                  <a:cubicBezTo>
                    <a:pt x="21" y="160"/>
                    <a:pt x="19" y="160"/>
                    <a:pt x="18" y="160"/>
                  </a:cubicBezTo>
                  <a:cubicBezTo>
                    <a:pt x="17" y="160"/>
                    <a:pt x="16" y="160"/>
                    <a:pt x="15" y="160"/>
                  </a:cubicBezTo>
                  <a:cubicBezTo>
                    <a:pt x="10" y="160"/>
                    <a:pt x="9" y="163"/>
                    <a:pt x="9" y="166"/>
                  </a:cubicBezTo>
                  <a:cubicBezTo>
                    <a:pt x="8" y="168"/>
                    <a:pt x="6" y="172"/>
                    <a:pt x="13" y="175"/>
                  </a:cubicBezTo>
                  <a:cubicBezTo>
                    <a:pt x="18" y="177"/>
                    <a:pt x="23" y="180"/>
                    <a:pt x="25" y="183"/>
                  </a:cubicBezTo>
                  <a:cubicBezTo>
                    <a:pt x="24" y="185"/>
                    <a:pt x="24" y="187"/>
                    <a:pt x="24" y="190"/>
                  </a:cubicBezTo>
                  <a:cubicBezTo>
                    <a:pt x="21" y="191"/>
                    <a:pt x="15" y="193"/>
                    <a:pt x="10" y="193"/>
                  </a:cubicBezTo>
                  <a:cubicBezTo>
                    <a:pt x="2" y="193"/>
                    <a:pt x="2" y="197"/>
                    <a:pt x="2" y="200"/>
                  </a:cubicBezTo>
                  <a:cubicBezTo>
                    <a:pt x="2" y="203"/>
                    <a:pt x="1" y="207"/>
                    <a:pt x="9" y="209"/>
                  </a:cubicBezTo>
                  <a:cubicBezTo>
                    <a:pt x="13" y="210"/>
                    <a:pt x="19" y="212"/>
                    <a:pt x="21" y="215"/>
                  </a:cubicBezTo>
                  <a:cubicBezTo>
                    <a:pt x="21" y="217"/>
                    <a:pt x="21" y="219"/>
                    <a:pt x="21" y="222"/>
                  </a:cubicBezTo>
                  <a:cubicBezTo>
                    <a:pt x="18" y="224"/>
                    <a:pt x="13" y="226"/>
                    <a:pt x="8" y="227"/>
                  </a:cubicBezTo>
                  <a:cubicBezTo>
                    <a:pt x="0" y="228"/>
                    <a:pt x="1" y="232"/>
                    <a:pt x="1" y="235"/>
                  </a:cubicBezTo>
                  <a:cubicBezTo>
                    <a:pt x="1" y="238"/>
                    <a:pt x="1" y="242"/>
                    <a:pt x="9" y="243"/>
                  </a:cubicBezTo>
                  <a:cubicBezTo>
                    <a:pt x="14" y="243"/>
                    <a:pt x="19" y="245"/>
                    <a:pt x="22" y="247"/>
                  </a:cubicBezTo>
                  <a:cubicBezTo>
                    <a:pt x="22" y="249"/>
                    <a:pt x="23" y="251"/>
                    <a:pt x="23" y="253"/>
                  </a:cubicBezTo>
                  <a:cubicBezTo>
                    <a:pt x="21" y="256"/>
                    <a:pt x="16" y="259"/>
                    <a:pt x="11" y="261"/>
                  </a:cubicBezTo>
                  <a:cubicBezTo>
                    <a:pt x="4" y="263"/>
                    <a:pt x="5" y="267"/>
                    <a:pt x="6" y="270"/>
                  </a:cubicBezTo>
                  <a:cubicBezTo>
                    <a:pt x="6" y="273"/>
                    <a:pt x="7" y="277"/>
                    <a:pt x="13" y="277"/>
                  </a:cubicBezTo>
                  <a:cubicBezTo>
                    <a:pt x="14" y="277"/>
                    <a:pt x="14" y="277"/>
                    <a:pt x="15" y="276"/>
                  </a:cubicBezTo>
                  <a:cubicBezTo>
                    <a:pt x="15" y="276"/>
                    <a:pt x="16" y="276"/>
                    <a:pt x="17" y="276"/>
                  </a:cubicBezTo>
                  <a:cubicBezTo>
                    <a:pt x="21" y="276"/>
                    <a:pt x="26" y="277"/>
                    <a:pt x="28" y="278"/>
                  </a:cubicBezTo>
                  <a:cubicBezTo>
                    <a:pt x="29" y="280"/>
                    <a:pt x="30" y="283"/>
                    <a:pt x="30" y="285"/>
                  </a:cubicBezTo>
                  <a:cubicBezTo>
                    <a:pt x="29" y="288"/>
                    <a:pt x="24" y="291"/>
                    <a:pt x="20" y="294"/>
                  </a:cubicBezTo>
                  <a:cubicBezTo>
                    <a:pt x="13" y="297"/>
                    <a:pt x="15" y="301"/>
                    <a:pt x="16" y="304"/>
                  </a:cubicBezTo>
                  <a:cubicBezTo>
                    <a:pt x="17" y="306"/>
                    <a:pt x="18" y="309"/>
                    <a:pt x="22" y="309"/>
                  </a:cubicBezTo>
                  <a:cubicBezTo>
                    <a:pt x="23" y="309"/>
                    <a:pt x="24" y="309"/>
                    <a:pt x="26" y="309"/>
                  </a:cubicBezTo>
                  <a:cubicBezTo>
                    <a:pt x="28" y="308"/>
                    <a:pt x="32" y="308"/>
                    <a:pt x="34" y="308"/>
                  </a:cubicBezTo>
                  <a:cubicBezTo>
                    <a:pt x="36" y="308"/>
                    <a:pt x="38" y="308"/>
                    <a:pt x="39" y="308"/>
                  </a:cubicBezTo>
                  <a:cubicBezTo>
                    <a:pt x="40" y="310"/>
                    <a:pt x="41" y="312"/>
                    <a:pt x="42" y="314"/>
                  </a:cubicBezTo>
                  <a:cubicBezTo>
                    <a:pt x="41" y="317"/>
                    <a:pt x="37" y="322"/>
                    <a:pt x="33" y="325"/>
                  </a:cubicBezTo>
                  <a:cubicBezTo>
                    <a:pt x="27" y="330"/>
                    <a:pt x="30" y="333"/>
                    <a:pt x="31" y="335"/>
                  </a:cubicBezTo>
                  <a:cubicBezTo>
                    <a:pt x="32" y="337"/>
                    <a:pt x="33" y="340"/>
                    <a:pt x="37" y="340"/>
                  </a:cubicBezTo>
                  <a:cubicBezTo>
                    <a:pt x="38" y="340"/>
                    <a:pt x="39" y="340"/>
                    <a:pt x="41" y="339"/>
                  </a:cubicBezTo>
                  <a:cubicBezTo>
                    <a:pt x="45" y="337"/>
                    <a:pt x="50" y="336"/>
                    <a:pt x="53" y="336"/>
                  </a:cubicBezTo>
                  <a:cubicBezTo>
                    <a:pt x="54" y="336"/>
                    <a:pt x="54" y="336"/>
                    <a:pt x="55" y="336"/>
                  </a:cubicBezTo>
                  <a:cubicBezTo>
                    <a:pt x="56" y="338"/>
                    <a:pt x="57" y="340"/>
                    <a:pt x="59" y="342"/>
                  </a:cubicBezTo>
                  <a:cubicBezTo>
                    <a:pt x="58" y="345"/>
                    <a:pt x="55" y="350"/>
                    <a:pt x="51" y="354"/>
                  </a:cubicBezTo>
                  <a:cubicBezTo>
                    <a:pt x="46" y="359"/>
                    <a:pt x="49" y="362"/>
                    <a:pt x="51" y="364"/>
                  </a:cubicBezTo>
                  <a:cubicBezTo>
                    <a:pt x="52" y="366"/>
                    <a:pt x="54" y="368"/>
                    <a:pt x="56" y="368"/>
                  </a:cubicBezTo>
                  <a:cubicBezTo>
                    <a:pt x="58" y="368"/>
                    <a:pt x="59" y="367"/>
                    <a:pt x="62" y="366"/>
                  </a:cubicBezTo>
                  <a:cubicBezTo>
                    <a:pt x="66" y="364"/>
                    <a:pt x="71" y="361"/>
                    <a:pt x="75" y="361"/>
                  </a:cubicBezTo>
                  <a:cubicBezTo>
                    <a:pt x="76" y="363"/>
                    <a:pt x="78" y="365"/>
                    <a:pt x="79" y="366"/>
                  </a:cubicBezTo>
                  <a:cubicBezTo>
                    <a:pt x="79" y="370"/>
                    <a:pt x="77" y="375"/>
                    <a:pt x="74" y="379"/>
                  </a:cubicBezTo>
                  <a:cubicBezTo>
                    <a:pt x="70" y="385"/>
                    <a:pt x="73" y="388"/>
                    <a:pt x="75" y="390"/>
                  </a:cubicBezTo>
                  <a:cubicBezTo>
                    <a:pt x="76" y="391"/>
                    <a:pt x="78" y="393"/>
                    <a:pt x="80" y="393"/>
                  </a:cubicBezTo>
                  <a:cubicBezTo>
                    <a:pt x="82" y="393"/>
                    <a:pt x="84" y="392"/>
                    <a:pt x="86" y="390"/>
                  </a:cubicBezTo>
                  <a:cubicBezTo>
                    <a:pt x="90" y="387"/>
                    <a:pt x="95" y="384"/>
                    <a:pt x="98" y="383"/>
                  </a:cubicBezTo>
                  <a:cubicBezTo>
                    <a:pt x="100" y="385"/>
                    <a:pt x="102" y="386"/>
                    <a:pt x="103" y="387"/>
                  </a:cubicBezTo>
                  <a:cubicBezTo>
                    <a:pt x="104" y="391"/>
                    <a:pt x="102" y="396"/>
                    <a:pt x="100" y="401"/>
                  </a:cubicBezTo>
                  <a:cubicBezTo>
                    <a:pt x="98" y="405"/>
                    <a:pt x="99" y="407"/>
                    <a:pt x="100" y="409"/>
                  </a:cubicBezTo>
                  <a:cubicBezTo>
                    <a:pt x="104" y="409"/>
                    <a:pt x="107" y="409"/>
                    <a:pt x="111" y="409"/>
                  </a:cubicBezTo>
                  <a:cubicBezTo>
                    <a:pt x="111" y="409"/>
                    <a:pt x="111" y="409"/>
                    <a:pt x="111" y="409"/>
                  </a:cubicBezTo>
                  <a:cubicBezTo>
                    <a:pt x="111" y="409"/>
                    <a:pt x="111" y="409"/>
                    <a:pt x="111" y="409"/>
                  </a:cubicBezTo>
                  <a:cubicBezTo>
                    <a:pt x="112" y="409"/>
                    <a:pt x="113" y="409"/>
                    <a:pt x="114" y="409"/>
                  </a:cubicBezTo>
                  <a:cubicBezTo>
                    <a:pt x="117" y="406"/>
                    <a:pt x="122" y="402"/>
                    <a:pt x="125" y="401"/>
                  </a:cubicBezTo>
                  <a:cubicBezTo>
                    <a:pt x="127" y="402"/>
                    <a:pt x="129" y="403"/>
                    <a:pt x="131" y="404"/>
                  </a:cubicBezTo>
                  <a:cubicBezTo>
                    <a:pt x="131" y="406"/>
                    <a:pt x="131" y="407"/>
                    <a:pt x="131" y="409"/>
                  </a:cubicBezTo>
                  <a:cubicBezTo>
                    <a:pt x="151" y="408"/>
                    <a:pt x="171" y="406"/>
                    <a:pt x="191" y="404"/>
                  </a:cubicBezTo>
                  <a:cubicBezTo>
                    <a:pt x="149" y="396"/>
                    <a:pt x="111" y="374"/>
                    <a:pt x="82" y="339"/>
                  </a:cubicBezTo>
                  <a:cubicBezTo>
                    <a:pt x="18" y="260"/>
                    <a:pt x="30" y="145"/>
                    <a:pt x="109" y="81"/>
                  </a:cubicBezTo>
                  <a:cubicBezTo>
                    <a:pt x="143" y="53"/>
                    <a:pt x="184" y="40"/>
                    <a:pt x="225" y="40"/>
                  </a:cubicBezTo>
                  <a:cubicBezTo>
                    <a:pt x="278" y="40"/>
                    <a:pt x="331" y="63"/>
                    <a:pt x="367" y="108"/>
                  </a:cubicBezTo>
                  <a:cubicBezTo>
                    <a:pt x="430" y="185"/>
                    <a:pt x="420" y="297"/>
                    <a:pt x="346" y="361"/>
                  </a:cubicBezTo>
                  <a:cubicBezTo>
                    <a:pt x="367" y="352"/>
                    <a:pt x="387" y="342"/>
                    <a:pt x="407" y="331"/>
                  </a:cubicBezTo>
                  <a:cubicBezTo>
                    <a:pt x="405" y="328"/>
                    <a:pt x="403" y="326"/>
                    <a:pt x="403" y="323"/>
                  </a:cubicBezTo>
                  <a:cubicBezTo>
                    <a:pt x="404" y="322"/>
                    <a:pt x="405" y="320"/>
                    <a:pt x="406" y="318"/>
                  </a:cubicBezTo>
                  <a:cubicBezTo>
                    <a:pt x="407" y="317"/>
                    <a:pt x="408" y="317"/>
                    <a:pt x="409" y="317"/>
                  </a:cubicBezTo>
                  <a:cubicBezTo>
                    <a:pt x="412" y="317"/>
                    <a:pt x="416" y="318"/>
                    <a:pt x="420" y="319"/>
                  </a:cubicBezTo>
                  <a:cubicBezTo>
                    <a:pt x="421" y="319"/>
                    <a:pt x="422" y="319"/>
                    <a:pt x="423" y="319"/>
                  </a:cubicBezTo>
                  <a:cubicBezTo>
                    <a:pt x="427" y="319"/>
                    <a:pt x="428" y="316"/>
                    <a:pt x="429" y="314"/>
                  </a:cubicBezTo>
                  <a:cubicBezTo>
                    <a:pt x="431" y="312"/>
                    <a:pt x="433" y="308"/>
                    <a:pt x="426" y="304"/>
                  </a:cubicBezTo>
                  <a:cubicBezTo>
                    <a:pt x="422" y="301"/>
                    <a:pt x="418" y="297"/>
                    <a:pt x="416" y="294"/>
                  </a:cubicBezTo>
                  <a:cubicBezTo>
                    <a:pt x="417" y="292"/>
                    <a:pt x="418" y="290"/>
                    <a:pt x="418" y="288"/>
                  </a:cubicBezTo>
                  <a:cubicBezTo>
                    <a:pt x="420" y="287"/>
                    <a:pt x="424" y="287"/>
                    <a:pt x="427" y="287"/>
                  </a:cubicBezTo>
                  <a:cubicBezTo>
                    <a:pt x="429" y="287"/>
                    <a:pt x="430" y="287"/>
                    <a:pt x="432" y="287"/>
                  </a:cubicBezTo>
                  <a:cubicBezTo>
                    <a:pt x="433" y="287"/>
                    <a:pt x="434" y="287"/>
                    <a:pt x="434" y="287"/>
                  </a:cubicBezTo>
                  <a:cubicBezTo>
                    <a:pt x="440" y="287"/>
                    <a:pt x="440" y="284"/>
                    <a:pt x="441" y="281"/>
                  </a:cubicBezTo>
                  <a:cubicBezTo>
                    <a:pt x="442" y="278"/>
                    <a:pt x="443" y="274"/>
                    <a:pt x="436" y="271"/>
                  </a:cubicBezTo>
                  <a:cubicBezTo>
                    <a:pt x="432" y="269"/>
                    <a:pt x="427" y="266"/>
                    <a:pt x="425" y="264"/>
                  </a:cubicBezTo>
                  <a:cubicBezTo>
                    <a:pt x="425" y="261"/>
                    <a:pt x="426" y="259"/>
                    <a:pt x="426" y="257"/>
                  </a:cubicBezTo>
                  <a:cubicBezTo>
                    <a:pt x="429" y="255"/>
                    <a:pt x="434" y="254"/>
                    <a:pt x="439" y="254"/>
                  </a:cubicBezTo>
                  <a:cubicBezTo>
                    <a:pt x="447" y="254"/>
                    <a:pt x="447" y="250"/>
                    <a:pt x="447" y="247"/>
                  </a:cubicBezTo>
                  <a:cubicBezTo>
                    <a:pt x="448" y="244"/>
                    <a:pt x="449" y="240"/>
                    <a:pt x="441" y="238"/>
                  </a:cubicBezTo>
                  <a:cubicBezTo>
                    <a:pt x="436" y="236"/>
                    <a:pt x="431" y="234"/>
                    <a:pt x="429" y="232"/>
                  </a:cubicBezTo>
                  <a:cubicBezTo>
                    <a:pt x="429" y="230"/>
                    <a:pt x="429" y="227"/>
                    <a:pt x="429" y="225"/>
                  </a:cubicBezTo>
                  <a:cubicBezTo>
                    <a:pt x="431" y="223"/>
                    <a:pt x="437" y="221"/>
                    <a:pt x="442" y="220"/>
                  </a:cubicBezTo>
                  <a:cubicBezTo>
                    <a:pt x="449" y="219"/>
                    <a:pt x="449" y="214"/>
                    <a:pt x="448" y="211"/>
                  </a:cubicBezTo>
                  <a:cubicBezTo>
                    <a:pt x="448" y="209"/>
                    <a:pt x="448" y="204"/>
                    <a:pt x="441" y="204"/>
                  </a:cubicBezTo>
                  <a:cubicBezTo>
                    <a:pt x="436" y="203"/>
                    <a:pt x="430" y="202"/>
                    <a:pt x="427" y="200"/>
                  </a:cubicBezTo>
                  <a:cubicBezTo>
                    <a:pt x="427" y="198"/>
                    <a:pt x="427" y="195"/>
                    <a:pt x="427" y="193"/>
                  </a:cubicBezTo>
                  <a:cubicBezTo>
                    <a:pt x="429" y="191"/>
                    <a:pt x="434" y="188"/>
                    <a:pt x="438" y="186"/>
                  </a:cubicBezTo>
                  <a:cubicBezTo>
                    <a:pt x="441" y="185"/>
                    <a:pt x="443" y="184"/>
                    <a:pt x="444" y="182"/>
                  </a:cubicBezTo>
                  <a:cubicBezTo>
                    <a:pt x="443" y="180"/>
                    <a:pt x="444" y="179"/>
                    <a:pt x="444" y="177"/>
                  </a:cubicBezTo>
                  <a:cubicBezTo>
                    <a:pt x="444" y="177"/>
                    <a:pt x="444" y="177"/>
                    <a:pt x="444" y="177"/>
                  </a:cubicBezTo>
                  <a:cubicBezTo>
                    <a:pt x="443" y="174"/>
                    <a:pt x="443" y="170"/>
                    <a:pt x="437" y="170"/>
                  </a:cubicBezTo>
                  <a:cubicBezTo>
                    <a:pt x="436" y="170"/>
                    <a:pt x="436" y="170"/>
                    <a:pt x="435" y="170"/>
                  </a:cubicBezTo>
                  <a:cubicBezTo>
                    <a:pt x="434" y="170"/>
                    <a:pt x="433" y="170"/>
                    <a:pt x="433" y="170"/>
                  </a:cubicBezTo>
                  <a:cubicBezTo>
                    <a:pt x="428" y="170"/>
                    <a:pt x="424" y="170"/>
                    <a:pt x="421" y="168"/>
                  </a:cubicBezTo>
                  <a:cubicBezTo>
                    <a:pt x="421" y="166"/>
                    <a:pt x="420" y="164"/>
                    <a:pt x="419" y="162"/>
                  </a:cubicBezTo>
                  <a:cubicBezTo>
                    <a:pt x="421" y="159"/>
                    <a:pt x="426" y="156"/>
                    <a:pt x="430" y="153"/>
                  </a:cubicBezTo>
                  <a:cubicBezTo>
                    <a:pt x="437" y="149"/>
                    <a:pt x="435" y="146"/>
                    <a:pt x="434" y="143"/>
                  </a:cubicBezTo>
                  <a:cubicBezTo>
                    <a:pt x="433" y="141"/>
                    <a:pt x="432" y="138"/>
                    <a:pt x="428" y="138"/>
                  </a:cubicBezTo>
                  <a:cubicBezTo>
                    <a:pt x="427" y="138"/>
                    <a:pt x="425" y="138"/>
                    <a:pt x="424" y="138"/>
                  </a:cubicBezTo>
                  <a:cubicBezTo>
                    <a:pt x="421" y="139"/>
                    <a:pt x="418" y="139"/>
                    <a:pt x="415" y="139"/>
                  </a:cubicBezTo>
                  <a:cubicBezTo>
                    <a:pt x="413" y="139"/>
                    <a:pt x="412" y="139"/>
                    <a:pt x="410" y="138"/>
                  </a:cubicBezTo>
                  <a:cubicBezTo>
                    <a:pt x="409" y="136"/>
                    <a:pt x="408" y="134"/>
                    <a:pt x="407" y="132"/>
                  </a:cubicBezTo>
                  <a:cubicBezTo>
                    <a:pt x="409" y="129"/>
                    <a:pt x="413" y="125"/>
                    <a:pt x="416" y="122"/>
                  </a:cubicBezTo>
                  <a:cubicBezTo>
                    <a:pt x="423" y="117"/>
                    <a:pt x="420" y="114"/>
                    <a:pt x="419" y="111"/>
                  </a:cubicBezTo>
                  <a:cubicBezTo>
                    <a:pt x="418" y="109"/>
                    <a:pt x="416" y="107"/>
                    <a:pt x="413" y="107"/>
                  </a:cubicBezTo>
                  <a:cubicBezTo>
                    <a:pt x="412" y="107"/>
                    <a:pt x="410" y="107"/>
                    <a:pt x="408" y="108"/>
                  </a:cubicBezTo>
                  <a:cubicBezTo>
                    <a:pt x="404" y="109"/>
                    <a:pt x="400" y="111"/>
                    <a:pt x="396" y="111"/>
                  </a:cubicBezTo>
                  <a:cubicBezTo>
                    <a:pt x="396" y="111"/>
                    <a:pt x="395" y="111"/>
                    <a:pt x="395" y="110"/>
                  </a:cubicBezTo>
                  <a:cubicBezTo>
                    <a:pt x="393" y="109"/>
                    <a:pt x="392" y="107"/>
                    <a:pt x="391" y="105"/>
                  </a:cubicBezTo>
                  <a:cubicBezTo>
                    <a:pt x="392" y="102"/>
                    <a:pt x="395" y="97"/>
                    <a:pt x="398" y="93"/>
                  </a:cubicBezTo>
                  <a:cubicBezTo>
                    <a:pt x="404" y="88"/>
                    <a:pt x="401" y="85"/>
                    <a:pt x="399" y="82"/>
                  </a:cubicBezTo>
                  <a:cubicBezTo>
                    <a:pt x="397" y="81"/>
                    <a:pt x="396" y="79"/>
                    <a:pt x="393" y="79"/>
                  </a:cubicBezTo>
                  <a:cubicBezTo>
                    <a:pt x="392" y="79"/>
                    <a:pt x="390" y="79"/>
                    <a:pt x="388" y="81"/>
                  </a:cubicBezTo>
                  <a:cubicBezTo>
                    <a:pt x="384" y="83"/>
                    <a:pt x="378" y="85"/>
                    <a:pt x="375" y="85"/>
                  </a:cubicBezTo>
                  <a:cubicBezTo>
                    <a:pt x="373" y="84"/>
                    <a:pt x="372" y="82"/>
                    <a:pt x="370" y="80"/>
                  </a:cubicBezTo>
                  <a:cubicBezTo>
                    <a:pt x="371" y="77"/>
                    <a:pt x="373" y="72"/>
                    <a:pt x="376" y="68"/>
                  </a:cubicBezTo>
                  <a:cubicBezTo>
                    <a:pt x="380" y="61"/>
                    <a:pt x="377" y="59"/>
                    <a:pt x="374" y="57"/>
                  </a:cubicBezTo>
                  <a:cubicBezTo>
                    <a:pt x="373" y="56"/>
                    <a:pt x="372" y="54"/>
                    <a:pt x="369" y="54"/>
                  </a:cubicBezTo>
                  <a:cubicBezTo>
                    <a:pt x="368" y="54"/>
                    <a:pt x="366" y="55"/>
                    <a:pt x="364" y="57"/>
                  </a:cubicBezTo>
                  <a:cubicBezTo>
                    <a:pt x="360" y="60"/>
                    <a:pt x="355" y="63"/>
                    <a:pt x="351" y="63"/>
                  </a:cubicBezTo>
                  <a:cubicBezTo>
                    <a:pt x="350" y="62"/>
                    <a:pt x="348" y="61"/>
                    <a:pt x="346" y="59"/>
                  </a:cubicBezTo>
                  <a:cubicBezTo>
                    <a:pt x="346" y="56"/>
                    <a:pt x="347" y="50"/>
                    <a:pt x="349" y="46"/>
                  </a:cubicBezTo>
                  <a:cubicBezTo>
                    <a:pt x="353" y="39"/>
                    <a:pt x="349" y="37"/>
                    <a:pt x="347" y="36"/>
                  </a:cubicBezTo>
                  <a:cubicBezTo>
                    <a:pt x="345" y="35"/>
                    <a:pt x="344" y="34"/>
                    <a:pt x="342" y="34"/>
                  </a:cubicBezTo>
                  <a:cubicBezTo>
                    <a:pt x="340" y="34"/>
                    <a:pt x="338" y="34"/>
                    <a:pt x="336" y="37"/>
                  </a:cubicBezTo>
                  <a:cubicBezTo>
                    <a:pt x="333" y="41"/>
                    <a:pt x="328" y="45"/>
                    <a:pt x="325" y="46"/>
                  </a:cubicBezTo>
                  <a:cubicBezTo>
                    <a:pt x="323" y="45"/>
                    <a:pt x="321" y="43"/>
                    <a:pt x="319" y="42"/>
                  </a:cubicBezTo>
                  <a:cubicBezTo>
                    <a:pt x="318" y="39"/>
                    <a:pt x="319" y="33"/>
                    <a:pt x="320" y="29"/>
                  </a:cubicBezTo>
                  <a:cubicBezTo>
                    <a:pt x="322" y="21"/>
                    <a:pt x="318" y="20"/>
                    <a:pt x="316" y="19"/>
                  </a:cubicBezTo>
                  <a:cubicBezTo>
                    <a:pt x="314" y="18"/>
                    <a:pt x="313" y="17"/>
                    <a:pt x="311" y="17"/>
                  </a:cubicBezTo>
                  <a:cubicBezTo>
                    <a:pt x="310" y="17"/>
                    <a:pt x="308" y="19"/>
                    <a:pt x="305" y="22"/>
                  </a:cubicBezTo>
                  <a:cubicBezTo>
                    <a:pt x="303" y="26"/>
                    <a:pt x="299" y="31"/>
                    <a:pt x="296" y="32"/>
                  </a:cubicBezTo>
                  <a:cubicBezTo>
                    <a:pt x="294" y="31"/>
                    <a:pt x="292" y="31"/>
                    <a:pt x="290" y="30"/>
                  </a:cubicBezTo>
                  <a:cubicBezTo>
                    <a:pt x="288" y="27"/>
                    <a:pt x="288" y="21"/>
                    <a:pt x="289" y="16"/>
                  </a:cubicBezTo>
                  <a:cubicBezTo>
                    <a:pt x="290" y="8"/>
                    <a:pt x="285" y="8"/>
                    <a:pt x="283" y="7"/>
                  </a:cubicBezTo>
                  <a:cubicBezTo>
                    <a:pt x="282" y="7"/>
                    <a:pt x="280" y="6"/>
                    <a:pt x="279" y="6"/>
                  </a:cubicBezTo>
                  <a:cubicBezTo>
                    <a:pt x="277" y="6"/>
                    <a:pt x="275" y="7"/>
                    <a:pt x="273" y="12"/>
                  </a:cubicBezTo>
                  <a:cubicBezTo>
                    <a:pt x="271" y="17"/>
                    <a:pt x="268" y="21"/>
                    <a:pt x="265" y="23"/>
                  </a:cubicBezTo>
                  <a:cubicBezTo>
                    <a:pt x="263" y="23"/>
                    <a:pt x="261" y="23"/>
                    <a:pt x="259" y="22"/>
                  </a:cubicBezTo>
                  <a:cubicBezTo>
                    <a:pt x="257" y="19"/>
                    <a:pt x="256" y="14"/>
                    <a:pt x="255" y="9"/>
                  </a:cubicBezTo>
                  <a:cubicBezTo>
                    <a:pt x="255" y="1"/>
                    <a:pt x="251" y="1"/>
                    <a:pt x="248" y="1"/>
                  </a:cubicBezTo>
                  <a:cubicBezTo>
                    <a:pt x="247" y="1"/>
                    <a:pt x="246" y="1"/>
                    <a:pt x="246" y="1"/>
                  </a:cubicBezTo>
                  <a:cubicBezTo>
                    <a:pt x="243" y="1"/>
                    <a:pt x="241" y="1"/>
                    <a:pt x="239" y="7"/>
                  </a:cubicBezTo>
                  <a:cubicBezTo>
                    <a:pt x="238" y="12"/>
                    <a:pt x="236" y="17"/>
                    <a:pt x="233" y="20"/>
                  </a:cubicBezTo>
                  <a:cubicBezTo>
                    <a:pt x="231" y="19"/>
                    <a:pt x="229" y="19"/>
                    <a:pt x="227" y="19"/>
                  </a:cubicBezTo>
                  <a:cubicBezTo>
                    <a:pt x="224" y="17"/>
                    <a:pt x="222" y="11"/>
                    <a:pt x="221" y="7"/>
                  </a:cubicBezTo>
                  <a:cubicBezTo>
                    <a:pt x="220" y="1"/>
                    <a:pt x="217" y="0"/>
                    <a:pt x="215"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8" name="Freeform 21486">
              <a:extLst>
                <a:ext uri="{FF2B5EF4-FFF2-40B4-BE49-F238E27FC236}">
                  <a16:creationId xmlns:a16="http://schemas.microsoft.com/office/drawing/2014/main" id="{ED3E1271-C270-4C07-AE1D-3EBB4962D77A}"/>
                </a:ext>
              </a:extLst>
            </p:cNvPr>
            <p:cNvSpPr>
              <a:spLocks noEditPoints="1"/>
            </p:cNvSpPr>
            <p:nvPr userDrawn="1"/>
          </p:nvSpPr>
          <p:spPr bwMode="auto">
            <a:xfrm>
              <a:off x="9765665" y="5112703"/>
              <a:ext cx="101600" cy="93663"/>
            </a:xfrm>
            <a:custGeom>
              <a:avLst/>
              <a:gdLst>
                <a:gd name="T0" fmla="*/ 24 w 50"/>
                <a:gd name="T1" fmla="*/ 33 h 47"/>
                <a:gd name="T2" fmla="*/ 17 w 50"/>
                <a:gd name="T3" fmla="*/ 30 h 47"/>
                <a:gd name="T4" fmla="*/ 17 w 50"/>
                <a:gd name="T5" fmla="*/ 16 h 47"/>
                <a:gd name="T6" fmla="*/ 24 w 50"/>
                <a:gd name="T7" fmla="*/ 13 h 47"/>
                <a:gd name="T8" fmla="*/ 31 w 50"/>
                <a:gd name="T9" fmla="*/ 16 h 47"/>
                <a:gd name="T10" fmla="*/ 31 w 50"/>
                <a:gd name="T11" fmla="*/ 30 h 47"/>
                <a:gd name="T12" fmla="*/ 24 w 50"/>
                <a:gd name="T13" fmla="*/ 33 h 47"/>
                <a:gd name="T14" fmla="*/ 24 w 50"/>
                <a:gd name="T15" fmla="*/ 0 h 47"/>
                <a:gd name="T16" fmla="*/ 7 w 50"/>
                <a:gd name="T17" fmla="*/ 6 h 47"/>
                <a:gd name="T18" fmla="*/ 1 w 50"/>
                <a:gd name="T19" fmla="*/ 20 h 47"/>
                <a:gd name="T20" fmla="*/ 1 w 50"/>
                <a:gd name="T21" fmla="*/ 25 h 47"/>
                <a:gd name="T22" fmla="*/ 7 w 50"/>
                <a:gd name="T23" fmla="*/ 40 h 47"/>
                <a:gd name="T24" fmla="*/ 24 w 50"/>
                <a:gd name="T25" fmla="*/ 47 h 47"/>
                <a:gd name="T26" fmla="*/ 41 w 50"/>
                <a:gd name="T27" fmla="*/ 40 h 47"/>
                <a:gd name="T28" fmla="*/ 41 w 50"/>
                <a:gd name="T29" fmla="*/ 6 h 47"/>
                <a:gd name="T30" fmla="*/ 24 w 50"/>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47">
                  <a:moveTo>
                    <a:pt x="24" y="33"/>
                  </a:moveTo>
                  <a:cubicBezTo>
                    <a:pt x="22" y="33"/>
                    <a:pt x="19" y="32"/>
                    <a:pt x="17" y="30"/>
                  </a:cubicBezTo>
                  <a:cubicBezTo>
                    <a:pt x="13" y="26"/>
                    <a:pt x="13" y="20"/>
                    <a:pt x="17" y="16"/>
                  </a:cubicBezTo>
                  <a:cubicBezTo>
                    <a:pt x="19" y="14"/>
                    <a:pt x="22" y="13"/>
                    <a:pt x="24" y="13"/>
                  </a:cubicBezTo>
                  <a:cubicBezTo>
                    <a:pt x="27" y="13"/>
                    <a:pt x="29" y="14"/>
                    <a:pt x="31" y="16"/>
                  </a:cubicBezTo>
                  <a:cubicBezTo>
                    <a:pt x="35" y="20"/>
                    <a:pt x="35" y="26"/>
                    <a:pt x="31" y="30"/>
                  </a:cubicBezTo>
                  <a:cubicBezTo>
                    <a:pt x="29" y="32"/>
                    <a:pt x="27" y="33"/>
                    <a:pt x="24" y="33"/>
                  </a:cubicBezTo>
                  <a:moveTo>
                    <a:pt x="24" y="0"/>
                  </a:moveTo>
                  <a:cubicBezTo>
                    <a:pt x="18" y="0"/>
                    <a:pt x="12" y="2"/>
                    <a:pt x="7" y="6"/>
                  </a:cubicBezTo>
                  <a:cubicBezTo>
                    <a:pt x="4" y="10"/>
                    <a:pt x="1" y="15"/>
                    <a:pt x="1" y="20"/>
                  </a:cubicBezTo>
                  <a:cubicBezTo>
                    <a:pt x="1" y="22"/>
                    <a:pt x="0" y="23"/>
                    <a:pt x="1" y="25"/>
                  </a:cubicBezTo>
                  <a:cubicBezTo>
                    <a:pt x="1" y="31"/>
                    <a:pt x="3" y="36"/>
                    <a:pt x="7" y="40"/>
                  </a:cubicBezTo>
                  <a:cubicBezTo>
                    <a:pt x="12" y="44"/>
                    <a:pt x="18" y="47"/>
                    <a:pt x="24" y="47"/>
                  </a:cubicBezTo>
                  <a:cubicBezTo>
                    <a:pt x="30" y="47"/>
                    <a:pt x="36" y="44"/>
                    <a:pt x="41" y="40"/>
                  </a:cubicBezTo>
                  <a:cubicBezTo>
                    <a:pt x="50" y="31"/>
                    <a:pt x="50" y="16"/>
                    <a:pt x="41" y="6"/>
                  </a:cubicBezTo>
                  <a:cubicBezTo>
                    <a:pt x="36" y="2"/>
                    <a:pt x="30" y="0"/>
                    <a:pt x="24"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9" name="Freeform 21487">
              <a:extLst>
                <a:ext uri="{FF2B5EF4-FFF2-40B4-BE49-F238E27FC236}">
                  <a16:creationId xmlns:a16="http://schemas.microsoft.com/office/drawing/2014/main" id="{9C39A2D8-0F1D-4A49-A150-C02BAB74E58B}"/>
                </a:ext>
              </a:extLst>
            </p:cNvPr>
            <p:cNvSpPr>
              <a:spLocks noEditPoints="1"/>
            </p:cNvSpPr>
            <p:nvPr userDrawn="1"/>
          </p:nvSpPr>
          <p:spPr bwMode="auto">
            <a:xfrm>
              <a:off x="8670290" y="4128453"/>
              <a:ext cx="139700" cy="127000"/>
            </a:xfrm>
            <a:custGeom>
              <a:avLst/>
              <a:gdLst>
                <a:gd name="T0" fmla="*/ 35 w 69"/>
                <a:gd name="T1" fmla="*/ 45 h 63"/>
                <a:gd name="T2" fmla="*/ 25 w 69"/>
                <a:gd name="T3" fmla="*/ 41 h 63"/>
                <a:gd name="T4" fmla="*/ 25 w 69"/>
                <a:gd name="T5" fmla="*/ 22 h 63"/>
                <a:gd name="T6" fmla="*/ 35 w 69"/>
                <a:gd name="T7" fmla="*/ 18 h 63"/>
                <a:gd name="T8" fmla="*/ 44 w 69"/>
                <a:gd name="T9" fmla="*/ 22 h 63"/>
                <a:gd name="T10" fmla="*/ 44 w 69"/>
                <a:gd name="T11" fmla="*/ 41 h 63"/>
                <a:gd name="T12" fmla="*/ 35 w 69"/>
                <a:gd name="T13" fmla="*/ 45 h 63"/>
                <a:gd name="T14" fmla="*/ 35 w 69"/>
                <a:gd name="T15" fmla="*/ 0 h 63"/>
                <a:gd name="T16" fmla="*/ 13 w 69"/>
                <a:gd name="T17" fmla="*/ 9 h 63"/>
                <a:gd name="T18" fmla="*/ 13 w 69"/>
                <a:gd name="T19" fmla="*/ 54 h 63"/>
                <a:gd name="T20" fmla="*/ 35 w 69"/>
                <a:gd name="T21" fmla="*/ 63 h 63"/>
                <a:gd name="T22" fmla="*/ 57 w 69"/>
                <a:gd name="T23" fmla="*/ 54 h 63"/>
                <a:gd name="T24" fmla="*/ 57 w 69"/>
                <a:gd name="T25" fmla="*/ 9 h 63"/>
                <a:gd name="T26" fmla="*/ 35 w 69"/>
                <a:gd name="T2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63">
                  <a:moveTo>
                    <a:pt x="35" y="45"/>
                  </a:moveTo>
                  <a:cubicBezTo>
                    <a:pt x="31" y="45"/>
                    <a:pt x="28" y="44"/>
                    <a:pt x="25" y="41"/>
                  </a:cubicBezTo>
                  <a:cubicBezTo>
                    <a:pt x="20" y="36"/>
                    <a:pt x="20" y="27"/>
                    <a:pt x="25" y="22"/>
                  </a:cubicBezTo>
                  <a:cubicBezTo>
                    <a:pt x="28" y="19"/>
                    <a:pt x="31" y="18"/>
                    <a:pt x="35" y="18"/>
                  </a:cubicBezTo>
                  <a:cubicBezTo>
                    <a:pt x="38" y="18"/>
                    <a:pt x="42" y="19"/>
                    <a:pt x="44" y="22"/>
                  </a:cubicBezTo>
                  <a:cubicBezTo>
                    <a:pt x="50" y="27"/>
                    <a:pt x="50" y="36"/>
                    <a:pt x="44" y="41"/>
                  </a:cubicBezTo>
                  <a:cubicBezTo>
                    <a:pt x="42" y="44"/>
                    <a:pt x="38" y="45"/>
                    <a:pt x="35" y="45"/>
                  </a:cubicBezTo>
                  <a:moveTo>
                    <a:pt x="35" y="0"/>
                  </a:moveTo>
                  <a:cubicBezTo>
                    <a:pt x="27" y="0"/>
                    <a:pt x="19" y="3"/>
                    <a:pt x="13" y="9"/>
                  </a:cubicBezTo>
                  <a:cubicBezTo>
                    <a:pt x="0" y="22"/>
                    <a:pt x="0" y="41"/>
                    <a:pt x="13" y="54"/>
                  </a:cubicBezTo>
                  <a:cubicBezTo>
                    <a:pt x="19" y="60"/>
                    <a:pt x="27" y="63"/>
                    <a:pt x="35" y="63"/>
                  </a:cubicBezTo>
                  <a:cubicBezTo>
                    <a:pt x="43" y="63"/>
                    <a:pt x="51" y="60"/>
                    <a:pt x="57" y="54"/>
                  </a:cubicBezTo>
                  <a:cubicBezTo>
                    <a:pt x="69" y="42"/>
                    <a:pt x="69" y="22"/>
                    <a:pt x="57" y="9"/>
                  </a:cubicBezTo>
                  <a:cubicBezTo>
                    <a:pt x="51" y="3"/>
                    <a:pt x="43" y="0"/>
                    <a:pt x="35"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0" name="Freeform 21488">
              <a:extLst>
                <a:ext uri="{FF2B5EF4-FFF2-40B4-BE49-F238E27FC236}">
                  <a16:creationId xmlns:a16="http://schemas.microsoft.com/office/drawing/2014/main" id="{0E5CC56C-0CB6-42B9-8653-D46BD93858D5}"/>
                </a:ext>
              </a:extLst>
            </p:cNvPr>
            <p:cNvSpPr>
              <a:spLocks/>
            </p:cNvSpPr>
            <p:nvPr userDrawn="1"/>
          </p:nvSpPr>
          <p:spPr bwMode="auto">
            <a:xfrm>
              <a:off x="9675178" y="4630103"/>
              <a:ext cx="50800" cy="42863"/>
            </a:xfrm>
            <a:custGeom>
              <a:avLst/>
              <a:gdLst>
                <a:gd name="T0" fmla="*/ 3 w 25"/>
                <a:gd name="T1" fmla="*/ 0 h 21"/>
                <a:gd name="T2" fmla="*/ 6 w 25"/>
                <a:gd name="T3" fmla="*/ 18 h 21"/>
                <a:gd name="T4" fmla="*/ 15 w 25"/>
                <a:gd name="T5" fmla="*/ 21 h 21"/>
                <a:gd name="T6" fmla="*/ 25 w 25"/>
                <a:gd name="T7" fmla="*/ 16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6" y="18"/>
                  </a:cubicBezTo>
                  <a:cubicBezTo>
                    <a:pt x="9" y="20"/>
                    <a:pt x="12" y="21"/>
                    <a:pt x="15" y="21"/>
                  </a:cubicBezTo>
                  <a:cubicBezTo>
                    <a:pt x="18" y="21"/>
                    <a:pt x="22"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1" name="Freeform 21489">
              <a:extLst>
                <a:ext uri="{FF2B5EF4-FFF2-40B4-BE49-F238E27FC236}">
                  <a16:creationId xmlns:a16="http://schemas.microsoft.com/office/drawing/2014/main" id="{F4BD8895-7735-46BA-B224-C37EAEBA74D5}"/>
                </a:ext>
              </a:extLst>
            </p:cNvPr>
            <p:cNvSpPr>
              <a:spLocks/>
            </p:cNvSpPr>
            <p:nvPr userDrawn="1"/>
          </p:nvSpPr>
          <p:spPr bwMode="auto">
            <a:xfrm>
              <a:off x="9684703" y="4615815"/>
              <a:ext cx="50800" cy="42863"/>
            </a:xfrm>
            <a:custGeom>
              <a:avLst/>
              <a:gdLst>
                <a:gd name="T0" fmla="*/ 10 w 25"/>
                <a:gd name="T1" fmla="*/ 0 h 21"/>
                <a:gd name="T2" fmla="*/ 0 w 25"/>
                <a:gd name="T3" fmla="*/ 5 h 21"/>
                <a:gd name="T4" fmla="*/ 22 w 25"/>
                <a:gd name="T5" fmla="*/ 21 h 21"/>
                <a:gd name="T6" fmla="*/ 18 w 25"/>
                <a:gd name="T7" fmla="*/ 4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6" y="0"/>
                    <a:pt x="2" y="2"/>
                    <a:pt x="0" y="5"/>
                  </a:cubicBezTo>
                  <a:cubicBezTo>
                    <a:pt x="22" y="21"/>
                    <a:pt x="22" y="21"/>
                    <a:pt x="22" y="21"/>
                  </a:cubicBezTo>
                  <a:cubicBezTo>
                    <a:pt x="25" y="15"/>
                    <a:pt x="24" y="8"/>
                    <a:pt x="18" y="4"/>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2" name="Freeform 21490">
              <a:extLst>
                <a:ext uri="{FF2B5EF4-FFF2-40B4-BE49-F238E27FC236}">
                  <a16:creationId xmlns:a16="http://schemas.microsoft.com/office/drawing/2014/main" id="{212318B1-DB09-419B-B355-0BCFCBA8B1F8}"/>
                </a:ext>
              </a:extLst>
            </p:cNvPr>
            <p:cNvSpPr>
              <a:spLocks/>
            </p:cNvSpPr>
            <p:nvPr userDrawn="1"/>
          </p:nvSpPr>
          <p:spPr bwMode="auto">
            <a:xfrm>
              <a:off x="9905365" y="4309428"/>
              <a:ext cx="50800" cy="42863"/>
            </a:xfrm>
            <a:custGeom>
              <a:avLst/>
              <a:gdLst>
                <a:gd name="T0" fmla="*/ 3 w 25"/>
                <a:gd name="T1" fmla="*/ 0 h 21"/>
                <a:gd name="T2" fmla="*/ 6 w 25"/>
                <a:gd name="T3" fmla="*/ 18 h 21"/>
                <a:gd name="T4" fmla="*/ 15 w 25"/>
                <a:gd name="T5" fmla="*/ 21 h 21"/>
                <a:gd name="T6" fmla="*/ 25 w 25"/>
                <a:gd name="T7" fmla="*/ 17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6" y="18"/>
                  </a:cubicBezTo>
                  <a:cubicBezTo>
                    <a:pt x="9" y="20"/>
                    <a:pt x="12" y="21"/>
                    <a:pt x="15" y="21"/>
                  </a:cubicBezTo>
                  <a:cubicBezTo>
                    <a:pt x="19" y="21"/>
                    <a:pt x="22" y="19"/>
                    <a:pt x="25" y="17"/>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3" name="Freeform 21491">
              <a:extLst>
                <a:ext uri="{FF2B5EF4-FFF2-40B4-BE49-F238E27FC236}">
                  <a16:creationId xmlns:a16="http://schemas.microsoft.com/office/drawing/2014/main" id="{0B6CD27A-2F8C-41BF-B076-79FA13B14B43}"/>
                </a:ext>
              </a:extLst>
            </p:cNvPr>
            <p:cNvSpPr>
              <a:spLocks/>
            </p:cNvSpPr>
            <p:nvPr userDrawn="1"/>
          </p:nvSpPr>
          <p:spPr bwMode="auto">
            <a:xfrm>
              <a:off x="9916478" y="4298315"/>
              <a:ext cx="49213" cy="39688"/>
            </a:xfrm>
            <a:custGeom>
              <a:avLst/>
              <a:gdLst>
                <a:gd name="T0" fmla="*/ 10 w 25"/>
                <a:gd name="T1" fmla="*/ 0 h 20"/>
                <a:gd name="T2" fmla="*/ 0 w 25"/>
                <a:gd name="T3" fmla="*/ 4 h 20"/>
                <a:gd name="T4" fmla="*/ 22 w 25"/>
                <a:gd name="T5" fmla="*/ 20 h 20"/>
                <a:gd name="T6" fmla="*/ 19 w 25"/>
                <a:gd name="T7" fmla="*/ 3 h 20"/>
                <a:gd name="T8" fmla="*/ 10 w 25"/>
                <a:gd name="T9" fmla="*/ 0 h 20"/>
              </a:gdLst>
              <a:ahLst/>
              <a:cxnLst>
                <a:cxn ang="0">
                  <a:pos x="T0" y="T1"/>
                </a:cxn>
                <a:cxn ang="0">
                  <a:pos x="T2" y="T3"/>
                </a:cxn>
                <a:cxn ang="0">
                  <a:pos x="T4" y="T5"/>
                </a:cxn>
                <a:cxn ang="0">
                  <a:pos x="T6" y="T7"/>
                </a:cxn>
                <a:cxn ang="0">
                  <a:pos x="T8" y="T9"/>
                </a:cxn>
              </a:cxnLst>
              <a:rect l="0" t="0" r="r" b="b"/>
              <a:pathLst>
                <a:path w="25" h="20">
                  <a:moveTo>
                    <a:pt x="10" y="0"/>
                  </a:moveTo>
                  <a:cubicBezTo>
                    <a:pt x="6" y="0"/>
                    <a:pt x="3" y="1"/>
                    <a:pt x="0" y="4"/>
                  </a:cubicBezTo>
                  <a:cubicBezTo>
                    <a:pt x="22" y="20"/>
                    <a:pt x="22" y="20"/>
                    <a:pt x="22" y="20"/>
                  </a:cubicBezTo>
                  <a:cubicBezTo>
                    <a:pt x="25" y="14"/>
                    <a:pt x="24" y="7"/>
                    <a:pt x="19" y="3"/>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4" name="Freeform 21492">
              <a:extLst>
                <a:ext uri="{FF2B5EF4-FFF2-40B4-BE49-F238E27FC236}">
                  <a16:creationId xmlns:a16="http://schemas.microsoft.com/office/drawing/2014/main" id="{8358ACFB-A665-44A2-A78C-9CC6BA76EAEC}"/>
                </a:ext>
              </a:extLst>
            </p:cNvPr>
            <p:cNvSpPr>
              <a:spLocks/>
            </p:cNvSpPr>
            <p:nvPr userDrawn="1"/>
          </p:nvSpPr>
          <p:spPr bwMode="auto">
            <a:xfrm>
              <a:off x="8221028" y="4453890"/>
              <a:ext cx="50800" cy="39688"/>
            </a:xfrm>
            <a:custGeom>
              <a:avLst/>
              <a:gdLst>
                <a:gd name="T0" fmla="*/ 3 w 25"/>
                <a:gd name="T1" fmla="*/ 0 h 20"/>
                <a:gd name="T2" fmla="*/ 6 w 25"/>
                <a:gd name="T3" fmla="*/ 17 h 20"/>
                <a:gd name="T4" fmla="*/ 15 w 25"/>
                <a:gd name="T5" fmla="*/ 20 h 20"/>
                <a:gd name="T6" fmla="*/ 25 w 25"/>
                <a:gd name="T7" fmla="*/ 16 h 20"/>
                <a:gd name="T8" fmla="*/ 3 w 25"/>
                <a:gd name="T9" fmla="*/ 0 h 20"/>
              </a:gdLst>
              <a:ahLst/>
              <a:cxnLst>
                <a:cxn ang="0">
                  <a:pos x="T0" y="T1"/>
                </a:cxn>
                <a:cxn ang="0">
                  <a:pos x="T2" y="T3"/>
                </a:cxn>
                <a:cxn ang="0">
                  <a:pos x="T4" y="T5"/>
                </a:cxn>
                <a:cxn ang="0">
                  <a:pos x="T6" y="T7"/>
                </a:cxn>
                <a:cxn ang="0">
                  <a:pos x="T8" y="T9"/>
                </a:cxn>
              </a:cxnLst>
              <a:rect l="0" t="0" r="r" b="b"/>
              <a:pathLst>
                <a:path w="25" h="20">
                  <a:moveTo>
                    <a:pt x="3" y="0"/>
                  </a:moveTo>
                  <a:cubicBezTo>
                    <a:pt x="0" y="6"/>
                    <a:pt x="1" y="13"/>
                    <a:pt x="6" y="17"/>
                  </a:cubicBezTo>
                  <a:cubicBezTo>
                    <a:pt x="9" y="19"/>
                    <a:pt x="12" y="20"/>
                    <a:pt x="15" y="20"/>
                  </a:cubicBezTo>
                  <a:cubicBezTo>
                    <a:pt x="19" y="20"/>
                    <a:pt x="22"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5" name="Freeform 21493">
              <a:extLst>
                <a:ext uri="{FF2B5EF4-FFF2-40B4-BE49-F238E27FC236}">
                  <a16:creationId xmlns:a16="http://schemas.microsoft.com/office/drawing/2014/main" id="{3295990F-92BE-42DB-857D-0CDC5C80C47A}"/>
                </a:ext>
              </a:extLst>
            </p:cNvPr>
            <p:cNvSpPr>
              <a:spLocks/>
            </p:cNvSpPr>
            <p:nvPr userDrawn="1"/>
          </p:nvSpPr>
          <p:spPr bwMode="auto">
            <a:xfrm>
              <a:off x="8232140" y="4439603"/>
              <a:ext cx="50800" cy="41275"/>
            </a:xfrm>
            <a:custGeom>
              <a:avLst/>
              <a:gdLst>
                <a:gd name="T0" fmla="*/ 10 w 25"/>
                <a:gd name="T1" fmla="*/ 0 h 21"/>
                <a:gd name="T2" fmla="*/ 0 w 25"/>
                <a:gd name="T3" fmla="*/ 4 h 21"/>
                <a:gd name="T4" fmla="*/ 22 w 25"/>
                <a:gd name="T5" fmla="*/ 21 h 21"/>
                <a:gd name="T6" fmla="*/ 19 w 25"/>
                <a:gd name="T7" fmla="*/ 3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6" y="0"/>
                    <a:pt x="3" y="2"/>
                    <a:pt x="0" y="4"/>
                  </a:cubicBezTo>
                  <a:cubicBezTo>
                    <a:pt x="22" y="21"/>
                    <a:pt x="22" y="21"/>
                    <a:pt x="22" y="21"/>
                  </a:cubicBezTo>
                  <a:cubicBezTo>
                    <a:pt x="25" y="15"/>
                    <a:pt x="24" y="8"/>
                    <a:pt x="19" y="3"/>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6" name="Freeform 21494">
              <a:extLst>
                <a:ext uri="{FF2B5EF4-FFF2-40B4-BE49-F238E27FC236}">
                  <a16:creationId xmlns:a16="http://schemas.microsoft.com/office/drawing/2014/main" id="{7400AD15-9178-4C8A-9BFF-BB4D7519EC9C}"/>
                </a:ext>
              </a:extLst>
            </p:cNvPr>
            <p:cNvSpPr>
              <a:spLocks/>
            </p:cNvSpPr>
            <p:nvPr userDrawn="1"/>
          </p:nvSpPr>
          <p:spPr bwMode="auto">
            <a:xfrm>
              <a:off x="9337040" y="3576003"/>
              <a:ext cx="50800" cy="42863"/>
            </a:xfrm>
            <a:custGeom>
              <a:avLst/>
              <a:gdLst>
                <a:gd name="T0" fmla="*/ 3 w 25"/>
                <a:gd name="T1" fmla="*/ 0 h 21"/>
                <a:gd name="T2" fmla="*/ 7 w 25"/>
                <a:gd name="T3" fmla="*/ 18 h 21"/>
                <a:gd name="T4" fmla="*/ 15 w 25"/>
                <a:gd name="T5" fmla="*/ 21 h 21"/>
                <a:gd name="T6" fmla="*/ 25 w 25"/>
                <a:gd name="T7" fmla="*/ 16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7" y="18"/>
                  </a:cubicBezTo>
                  <a:cubicBezTo>
                    <a:pt x="9" y="20"/>
                    <a:pt x="12" y="21"/>
                    <a:pt x="15" y="21"/>
                  </a:cubicBezTo>
                  <a:cubicBezTo>
                    <a:pt x="19" y="21"/>
                    <a:pt x="23"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7" name="Freeform 21495">
              <a:extLst>
                <a:ext uri="{FF2B5EF4-FFF2-40B4-BE49-F238E27FC236}">
                  <a16:creationId xmlns:a16="http://schemas.microsoft.com/office/drawing/2014/main" id="{86D8B231-920C-4F2A-B6D0-144A80847DFC}"/>
                </a:ext>
              </a:extLst>
            </p:cNvPr>
            <p:cNvSpPr>
              <a:spLocks/>
            </p:cNvSpPr>
            <p:nvPr userDrawn="1"/>
          </p:nvSpPr>
          <p:spPr bwMode="auto">
            <a:xfrm>
              <a:off x="9348153" y="3561715"/>
              <a:ext cx="49213" cy="42863"/>
            </a:xfrm>
            <a:custGeom>
              <a:avLst/>
              <a:gdLst>
                <a:gd name="T0" fmla="*/ 10 w 25"/>
                <a:gd name="T1" fmla="*/ 0 h 21"/>
                <a:gd name="T2" fmla="*/ 0 w 25"/>
                <a:gd name="T3" fmla="*/ 5 h 21"/>
                <a:gd name="T4" fmla="*/ 22 w 25"/>
                <a:gd name="T5" fmla="*/ 21 h 21"/>
                <a:gd name="T6" fmla="*/ 19 w 25"/>
                <a:gd name="T7" fmla="*/ 4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7" y="0"/>
                    <a:pt x="3" y="2"/>
                    <a:pt x="0" y="5"/>
                  </a:cubicBezTo>
                  <a:cubicBezTo>
                    <a:pt x="22" y="21"/>
                    <a:pt x="22" y="21"/>
                    <a:pt x="22" y="21"/>
                  </a:cubicBezTo>
                  <a:cubicBezTo>
                    <a:pt x="25" y="15"/>
                    <a:pt x="24" y="8"/>
                    <a:pt x="19" y="4"/>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0" name="Freeform 21496">
              <a:extLst>
                <a:ext uri="{FF2B5EF4-FFF2-40B4-BE49-F238E27FC236}">
                  <a16:creationId xmlns:a16="http://schemas.microsoft.com/office/drawing/2014/main" id="{FFFA9DEA-F806-44C7-9B80-F0E3B32F7DA3}"/>
                </a:ext>
              </a:extLst>
            </p:cNvPr>
            <p:cNvSpPr>
              <a:spLocks noEditPoints="1"/>
            </p:cNvSpPr>
            <p:nvPr userDrawn="1"/>
          </p:nvSpPr>
          <p:spPr bwMode="auto">
            <a:xfrm>
              <a:off x="8340090" y="5030153"/>
              <a:ext cx="180975" cy="174625"/>
            </a:xfrm>
            <a:custGeom>
              <a:avLst/>
              <a:gdLst>
                <a:gd name="T0" fmla="*/ 42 w 89"/>
                <a:gd name="T1" fmla="*/ 69 h 87"/>
                <a:gd name="T2" fmla="*/ 39 w 89"/>
                <a:gd name="T3" fmla="*/ 68 h 87"/>
                <a:gd name="T4" fmla="*/ 37 w 89"/>
                <a:gd name="T5" fmla="*/ 68 h 87"/>
                <a:gd name="T6" fmla="*/ 31 w 89"/>
                <a:gd name="T7" fmla="*/ 65 h 87"/>
                <a:gd name="T8" fmla="*/ 27 w 89"/>
                <a:gd name="T9" fmla="*/ 63 h 87"/>
                <a:gd name="T10" fmla="*/ 24 w 89"/>
                <a:gd name="T11" fmla="*/ 59 h 87"/>
                <a:gd name="T12" fmla="*/ 22 w 89"/>
                <a:gd name="T13" fmla="*/ 56 h 87"/>
                <a:gd name="T14" fmla="*/ 19 w 89"/>
                <a:gd name="T15" fmla="*/ 50 h 87"/>
                <a:gd name="T16" fmla="*/ 19 w 89"/>
                <a:gd name="T17" fmla="*/ 47 h 87"/>
                <a:gd name="T18" fmla="*/ 18 w 89"/>
                <a:gd name="T19" fmla="*/ 45 h 87"/>
                <a:gd name="T20" fmla="*/ 18 w 89"/>
                <a:gd name="T21" fmla="*/ 41 h 87"/>
                <a:gd name="T22" fmla="*/ 19 w 89"/>
                <a:gd name="T23" fmla="*/ 38 h 87"/>
                <a:gd name="T24" fmla="*/ 19 w 89"/>
                <a:gd name="T25" fmla="*/ 36 h 87"/>
                <a:gd name="T26" fmla="*/ 22 w 89"/>
                <a:gd name="T27" fmla="*/ 31 h 87"/>
                <a:gd name="T28" fmla="*/ 24 w 89"/>
                <a:gd name="T29" fmla="*/ 28 h 87"/>
                <a:gd name="T30" fmla="*/ 27 w 89"/>
                <a:gd name="T31" fmla="*/ 24 h 87"/>
                <a:gd name="T32" fmla="*/ 30 w 89"/>
                <a:gd name="T33" fmla="*/ 22 h 87"/>
                <a:gd name="T34" fmla="*/ 32 w 89"/>
                <a:gd name="T35" fmla="*/ 21 h 87"/>
                <a:gd name="T36" fmla="*/ 39 w 89"/>
                <a:gd name="T37" fmla="*/ 18 h 87"/>
                <a:gd name="T38" fmla="*/ 42 w 89"/>
                <a:gd name="T39" fmla="*/ 18 h 87"/>
                <a:gd name="T40" fmla="*/ 44 w 89"/>
                <a:gd name="T41" fmla="*/ 18 h 87"/>
                <a:gd name="T42" fmla="*/ 47 w 89"/>
                <a:gd name="T43" fmla="*/ 18 h 87"/>
                <a:gd name="T44" fmla="*/ 50 w 89"/>
                <a:gd name="T45" fmla="*/ 18 h 87"/>
                <a:gd name="T46" fmla="*/ 52 w 89"/>
                <a:gd name="T47" fmla="*/ 19 h 87"/>
                <a:gd name="T48" fmla="*/ 58 w 89"/>
                <a:gd name="T49" fmla="*/ 22 h 87"/>
                <a:gd name="T50" fmla="*/ 61 w 89"/>
                <a:gd name="T51" fmla="*/ 24 h 87"/>
                <a:gd name="T52" fmla="*/ 65 w 89"/>
                <a:gd name="T53" fmla="*/ 27 h 87"/>
                <a:gd name="T54" fmla="*/ 67 w 89"/>
                <a:gd name="T55" fmla="*/ 31 h 87"/>
                <a:gd name="T56" fmla="*/ 70 w 89"/>
                <a:gd name="T57" fmla="*/ 36 h 87"/>
                <a:gd name="T58" fmla="*/ 70 w 89"/>
                <a:gd name="T59" fmla="*/ 38 h 87"/>
                <a:gd name="T60" fmla="*/ 71 w 89"/>
                <a:gd name="T61" fmla="*/ 41 h 87"/>
                <a:gd name="T62" fmla="*/ 71 w 89"/>
                <a:gd name="T63" fmla="*/ 45 h 87"/>
                <a:gd name="T64" fmla="*/ 70 w 89"/>
                <a:gd name="T65" fmla="*/ 47 h 87"/>
                <a:gd name="T66" fmla="*/ 70 w 89"/>
                <a:gd name="T67" fmla="*/ 50 h 87"/>
                <a:gd name="T68" fmla="*/ 67 w 89"/>
                <a:gd name="T69" fmla="*/ 56 h 87"/>
                <a:gd name="T70" fmla="*/ 65 w 89"/>
                <a:gd name="T71" fmla="*/ 59 h 87"/>
                <a:gd name="T72" fmla="*/ 61 w 89"/>
                <a:gd name="T73" fmla="*/ 63 h 87"/>
                <a:gd name="T74" fmla="*/ 58 w 89"/>
                <a:gd name="T75" fmla="*/ 65 h 87"/>
                <a:gd name="T76" fmla="*/ 52 w 89"/>
                <a:gd name="T77" fmla="*/ 68 h 87"/>
                <a:gd name="T78" fmla="*/ 50 w 89"/>
                <a:gd name="T79" fmla="*/ 68 h 87"/>
                <a:gd name="T80" fmla="*/ 47 w 89"/>
                <a:gd name="T81" fmla="*/ 69 h 87"/>
                <a:gd name="T82" fmla="*/ 44 w 89"/>
                <a:gd name="T83" fmla="*/ 69 h 87"/>
                <a:gd name="T84" fmla="*/ 25 w 89"/>
                <a:gd name="T85" fmla="*/ 14 h 87"/>
                <a:gd name="T86" fmla="*/ 9 w 89"/>
                <a:gd name="T87" fmla="*/ 36 h 87"/>
                <a:gd name="T88" fmla="*/ 14 w 89"/>
                <a:gd name="T89" fmla="*/ 63 h 87"/>
                <a:gd name="T90" fmla="*/ 37 w 89"/>
                <a:gd name="T91" fmla="*/ 78 h 87"/>
                <a:gd name="T92" fmla="*/ 64 w 89"/>
                <a:gd name="T93" fmla="*/ 73 h 87"/>
                <a:gd name="T94" fmla="*/ 80 w 89"/>
                <a:gd name="T95" fmla="*/ 51 h 87"/>
                <a:gd name="T96" fmla="*/ 75 w 89"/>
                <a:gd name="T97" fmla="*/ 24 h 87"/>
                <a:gd name="T98" fmla="*/ 52 w 89"/>
                <a:gd name="T99" fmla="*/ 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87">
                  <a:moveTo>
                    <a:pt x="44" y="69"/>
                  </a:moveTo>
                  <a:cubicBezTo>
                    <a:pt x="44" y="69"/>
                    <a:pt x="44" y="69"/>
                    <a:pt x="43" y="69"/>
                  </a:cubicBezTo>
                  <a:cubicBezTo>
                    <a:pt x="43" y="69"/>
                    <a:pt x="43" y="69"/>
                    <a:pt x="43" y="69"/>
                  </a:cubicBezTo>
                  <a:cubicBezTo>
                    <a:pt x="42" y="69"/>
                    <a:pt x="42" y="69"/>
                    <a:pt x="42" y="69"/>
                  </a:cubicBezTo>
                  <a:cubicBezTo>
                    <a:pt x="42" y="69"/>
                    <a:pt x="42" y="69"/>
                    <a:pt x="42" y="69"/>
                  </a:cubicBezTo>
                  <a:cubicBezTo>
                    <a:pt x="41" y="69"/>
                    <a:pt x="41" y="69"/>
                    <a:pt x="40" y="69"/>
                  </a:cubicBezTo>
                  <a:cubicBezTo>
                    <a:pt x="40" y="69"/>
                    <a:pt x="40" y="69"/>
                    <a:pt x="40" y="69"/>
                  </a:cubicBezTo>
                  <a:cubicBezTo>
                    <a:pt x="40" y="68"/>
                    <a:pt x="40" y="68"/>
                    <a:pt x="39" y="68"/>
                  </a:cubicBezTo>
                  <a:cubicBezTo>
                    <a:pt x="39" y="68"/>
                    <a:pt x="39" y="68"/>
                    <a:pt x="39" y="68"/>
                  </a:cubicBezTo>
                  <a:cubicBezTo>
                    <a:pt x="38" y="68"/>
                    <a:pt x="38" y="68"/>
                    <a:pt x="38" y="68"/>
                  </a:cubicBezTo>
                  <a:cubicBezTo>
                    <a:pt x="38" y="68"/>
                    <a:pt x="38" y="68"/>
                    <a:pt x="38" y="68"/>
                  </a:cubicBezTo>
                  <a:cubicBezTo>
                    <a:pt x="37" y="68"/>
                    <a:pt x="37" y="68"/>
                    <a:pt x="37" y="68"/>
                  </a:cubicBezTo>
                  <a:cubicBezTo>
                    <a:pt x="35" y="67"/>
                    <a:pt x="34" y="67"/>
                    <a:pt x="32" y="66"/>
                  </a:cubicBezTo>
                  <a:cubicBezTo>
                    <a:pt x="31" y="66"/>
                    <a:pt x="31" y="66"/>
                    <a:pt x="31" y="66"/>
                  </a:cubicBezTo>
                  <a:cubicBezTo>
                    <a:pt x="31" y="65"/>
                    <a:pt x="31" y="65"/>
                    <a:pt x="31" y="65"/>
                  </a:cubicBezTo>
                  <a:cubicBezTo>
                    <a:pt x="31" y="65"/>
                    <a:pt x="31" y="65"/>
                    <a:pt x="31" y="65"/>
                  </a:cubicBezTo>
                  <a:cubicBezTo>
                    <a:pt x="30" y="65"/>
                    <a:pt x="30" y="65"/>
                    <a:pt x="30" y="65"/>
                  </a:cubicBezTo>
                  <a:cubicBezTo>
                    <a:pt x="30" y="64"/>
                    <a:pt x="29" y="64"/>
                    <a:pt x="28" y="63"/>
                  </a:cubicBezTo>
                  <a:cubicBezTo>
                    <a:pt x="28" y="63"/>
                    <a:pt x="28" y="63"/>
                    <a:pt x="28" y="63"/>
                  </a:cubicBezTo>
                  <a:cubicBezTo>
                    <a:pt x="27" y="63"/>
                    <a:pt x="27" y="63"/>
                    <a:pt x="27" y="63"/>
                  </a:cubicBezTo>
                  <a:cubicBezTo>
                    <a:pt x="27" y="63"/>
                    <a:pt x="27" y="63"/>
                    <a:pt x="27" y="63"/>
                  </a:cubicBezTo>
                  <a:cubicBezTo>
                    <a:pt x="26" y="62"/>
                    <a:pt x="25" y="61"/>
                    <a:pt x="25" y="60"/>
                  </a:cubicBezTo>
                  <a:cubicBezTo>
                    <a:pt x="24" y="60"/>
                    <a:pt x="24" y="60"/>
                    <a:pt x="24" y="60"/>
                  </a:cubicBezTo>
                  <a:cubicBezTo>
                    <a:pt x="24" y="59"/>
                    <a:pt x="24" y="59"/>
                    <a:pt x="24" y="59"/>
                  </a:cubicBezTo>
                  <a:cubicBezTo>
                    <a:pt x="24" y="59"/>
                    <a:pt x="24" y="59"/>
                    <a:pt x="24" y="59"/>
                  </a:cubicBezTo>
                  <a:cubicBezTo>
                    <a:pt x="23" y="58"/>
                    <a:pt x="23" y="58"/>
                    <a:pt x="22" y="57"/>
                  </a:cubicBezTo>
                  <a:cubicBezTo>
                    <a:pt x="22" y="57"/>
                    <a:pt x="22" y="57"/>
                    <a:pt x="22" y="57"/>
                  </a:cubicBezTo>
                  <a:cubicBezTo>
                    <a:pt x="22" y="56"/>
                    <a:pt x="22" y="56"/>
                    <a:pt x="22" y="56"/>
                  </a:cubicBezTo>
                  <a:cubicBezTo>
                    <a:pt x="22" y="56"/>
                    <a:pt x="22" y="56"/>
                    <a:pt x="22" y="56"/>
                  </a:cubicBezTo>
                  <a:cubicBezTo>
                    <a:pt x="21" y="55"/>
                    <a:pt x="21" y="55"/>
                    <a:pt x="21" y="55"/>
                  </a:cubicBezTo>
                  <a:cubicBezTo>
                    <a:pt x="20" y="54"/>
                    <a:pt x="20" y="52"/>
                    <a:pt x="19" y="50"/>
                  </a:cubicBezTo>
                  <a:cubicBezTo>
                    <a:pt x="19" y="50"/>
                    <a:pt x="19" y="50"/>
                    <a:pt x="19" y="50"/>
                  </a:cubicBezTo>
                  <a:cubicBezTo>
                    <a:pt x="19" y="49"/>
                    <a:pt x="19" y="49"/>
                    <a:pt x="19" y="49"/>
                  </a:cubicBezTo>
                  <a:cubicBezTo>
                    <a:pt x="19" y="48"/>
                    <a:pt x="19" y="48"/>
                    <a:pt x="19" y="48"/>
                  </a:cubicBezTo>
                  <a:cubicBezTo>
                    <a:pt x="19" y="47"/>
                    <a:pt x="19" y="47"/>
                    <a:pt x="19" y="47"/>
                  </a:cubicBezTo>
                  <a:cubicBezTo>
                    <a:pt x="19" y="47"/>
                    <a:pt x="19" y="47"/>
                    <a:pt x="19" y="47"/>
                  </a:cubicBezTo>
                  <a:cubicBezTo>
                    <a:pt x="18" y="47"/>
                    <a:pt x="18" y="46"/>
                    <a:pt x="18" y="46"/>
                  </a:cubicBezTo>
                  <a:cubicBezTo>
                    <a:pt x="18" y="46"/>
                    <a:pt x="18" y="46"/>
                    <a:pt x="18" y="46"/>
                  </a:cubicBezTo>
                  <a:cubicBezTo>
                    <a:pt x="18" y="45"/>
                    <a:pt x="18" y="45"/>
                    <a:pt x="18" y="45"/>
                  </a:cubicBezTo>
                  <a:cubicBezTo>
                    <a:pt x="18" y="45"/>
                    <a:pt x="18" y="45"/>
                    <a:pt x="18" y="45"/>
                  </a:cubicBezTo>
                  <a:cubicBezTo>
                    <a:pt x="18" y="44"/>
                    <a:pt x="18" y="44"/>
                    <a:pt x="18" y="43"/>
                  </a:cubicBezTo>
                  <a:cubicBezTo>
                    <a:pt x="18" y="43"/>
                    <a:pt x="18" y="43"/>
                    <a:pt x="18" y="42"/>
                  </a:cubicBezTo>
                  <a:cubicBezTo>
                    <a:pt x="18" y="42"/>
                    <a:pt x="18" y="42"/>
                    <a:pt x="18" y="42"/>
                  </a:cubicBezTo>
                  <a:cubicBezTo>
                    <a:pt x="18" y="41"/>
                    <a:pt x="18" y="41"/>
                    <a:pt x="18" y="41"/>
                  </a:cubicBezTo>
                  <a:cubicBezTo>
                    <a:pt x="18" y="41"/>
                    <a:pt x="18" y="41"/>
                    <a:pt x="18" y="41"/>
                  </a:cubicBezTo>
                  <a:cubicBezTo>
                    <a:pt x="18" y="40"/>
                    <a:pt x="18" y="40"/>
                    <a:pt x="19" y="40"/>
                  </a:cubicBezTo>
                  <a:cubicBezTo>
                    <a:pt x="19" y="39"/>
                    <a:pt x="19" y="39"/>
                    <a:pt x="19" y="39"/>
                  </a:cubicBezTo>
                  <a:cubicBezTo>
                    <a:pt x="19" y="38"/>
                    <a:pt x="19" y="38"/>
                    <a:pt x="19" y="38"/>
                  </a:cubicBezTo>
                  <a:cubicBezTo>
                    <a:pt x="19" y="38"/>
                    <a:pt x="19" y="38"/>
                    <a:pt x="19" y="38"/>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20" y="34"/>
                    <a:pt x="20" y="33"/>
                    <a:pt x="21" y="32"/>
                  </a:cubicBezTo>
                  <a:cubicBezTo>
                    <a:pt x="22" y="31"/>
                    <a:pt x="22" y="31"/>
                    <a:pt x="22" y="31"/>
                  </a:cubicBezTo>
                  <a:cubicBezTo>
                    <a:pt x="22" y="31"/>
                    <a:pt x="22" y="31"/>
                    <a:pt x="22" y="31"/>
                  </a:cubicBezTo>
                  <a:cubicBezTo>
                    <a:pt x="22" y="30"/>
                    <a:pt x="22" y="30"/>
                    <a:pt x="22" y="30"/>
                  </a:cubicBezTo>
                  <a:cubicBezTo>
                    <a:pt x="22" y="30"/>
                    <a:pt x="22" y="30"/>
                    <a:pt x="22" y="30"/>
                  </a:cubicBezTo>
                  <a:cubicBezTo>
                    <a:pt x="23" y="29"/>
                    <a:pt x="23" y="28"/>
                    <a:pt x="24" y="28"/>
                  </a:cubicBezTo>
                  <a:cubicBezTo>
                    <a:pt x="24" y="27"/>
                    <a:pt x="24" y="27"/>
                    <a:pt x="24" y="27"/>
                  </a:cubicBezTo>
                  <a:cubicBezTo>
                    <a:pt x="24" y="27"/>
                    <a:pt x="24" y="27"/>
                    <a:pt x="24" y="27"/>
                  </a:cubicBezTo>
                  <a:cubicBezTo>
                    <a:pt x="25" y="27"/>
                    <a:pt x="25" y="27"/>
                    <a:pt x="25" y="27"/>
                  </a:cubicBezTo>
                  <a:cubicBezTo>
                    <a:pt x="25" y="26"/>
                    <a:pt x="26" y="25"/>
                    <a:pt x="27" y="24"/>
                  </a:cubicBezTo>
                  <a:cubicBezTo>
                    <a:pt x="27" y="24"/>
                    <a:pt x="27" y="24"/>
                    <a:pt x="27" y="24"/>
                  </a:cubicBezTo>
                  <a:cubicBezTo>
                    <a:pt x="28" y="23"/>
                    <a:pt x="28" y="23"/>
                    <a:pt x="28" y="23"/>
                  </a:cubicBezTo>
                  <a:cubicBezTo>
                    <a:pt x="28" y="23"/>
                    <a:pt x="28" y="23"/>
                    <a:pt x="28" y="23"/>
                  </a:cubicBezTo>
                  <a:cubicBezTo>
                    <a:pt x="29" y="23"/>
                    <a:pt x="30" y="22"/>
                    <a:pt x="30" y="22"/>
                  </a:cubicBezTo>
                  <a:cubicBezTo>
                    <a:pt x="31" y="22"/>
                    <a:pt x="31" y="22"/>
                    <a:pt x="31" y="22"/>
                  </a:cubicBezTo>
                  <a:cubicBezTo>
                    <a:pt x="31" y="21"/>
                    <a:pt x="31" y="21"/>
                    <a:pt x="31" y="21"/>
                  </a:cubicBezTo>
                  <a:cubicBezTo>
                    <a:pt x="31" y="21"/>
                    <a:pt x="31" y="21"/>
                    <a:pt x="31" y="21"/>
                  </a:cubicBezTo>
                  <a:cubicBezTo>
                    <a:pt x="32" y="21"/>
                    <a:pt x="32" y="21"/>
                    <a:pt x="32" y="21"/>
                  </a:cubicBezTo>
                  <a:cubicBezTo>
                    <a:pt x="34" y="20"/>
                    <a:pt x="35" y="20"/>
                    <a:pt x="37" y="19"/>
                  </a:cubicBezTo>
                  <a:cubicBezTo>
                    <a:pt x="38" y="19"/>
                    <a:pt x="38" y="19"/>
                    <a:pt x="38" y="19"/>
                  </a:cubicBezTo>
                  <a:cubicBezTo>
                    <a:pt x="38" y="19"/>
                    <a:pt x="38" y="19"/>
                    <a:pt x="38" y="19"/>
                  </a:cubicBezTo>
                  <a:cubicBezTo>
                    <a:pt x="39" y="18"/>
                    <a:pt x="39" y="18"/>
                    <a:pt x="39" y="18"/>
                  </a:cubicBezTo>
                  <a:cubicBezTo>
                    <a:pt x="39" y="18"/>
                    <a:pt x="39" y="18"/>
                    <a:pt x="39" y="18"/>
                  </a:cubicBezTo>
                  <a:cubicBezTo>
                    <a:pt x="40" y="18"/>
                    <a:pt x="40" y="18"/>
                    <a:pt x="40" y="18"/>
                  </a:cubicBezTo>
                  <a:cubicBezTo>
                    <a:pt x="40" y="18"/>
                    <a:pt x="40" y="18"/>
                    <a:pt x="40" y="18"/>
                  </a:cubicBezTo>
                  <a:cubicBezTo>
                    <a:pt x="41" y="18"/>
                    <a:pt x="41" y="18"/>
                    <a:pt x="42" y="18"/>
                  </a:cubicBezTo>
                  <a:cubicBezTo>
                    <a:pt x="42" y="18"/>
                    <a:pt x="42" y="18"/>
                    <a:pt x="42" y="18"/>
                  </a:cubicBezTo>
                  <a:cubicBezTo>
                    <a:pt x="43" y="18"/>
                    <a:pt x="43" y="18"/>
                    <a:pt x="43" y="18"/>
                  </a:cubicBezTo>
                  <a:cubicBezTo>
                    <a:pt x="43" y="18"/>
                    <a:pt x="43" y="18"/>
                    <a:pt x="43" y="18"/>
                  </a:cubicBezTo>
                  <a:cubicBezTo>
                    <a:pt x="44" y="18"/>
                    <a:pt x="44" y="18"/>
                    <a:pt x="44" y="18"/>
                  </a:cubicBezTo>
                  <a:cubicBezTo>
                    <a:pt x="45" y="18"/>
                    <a:pt x="45" y="18"/>
                    <a:pt x="46" y="18"/>
                  </a:cubicBezTo>
                  <a:cubicBezTo>
                    <a:pt x="46" y="18"/>
                    <a:pt x="46" y="18"/>
                    <a:pt x="46" y="18"/>
                  </a:cubicBezTo>
                  <a:cubicBezTo>
                    <a:pt x="47" y="18"/>
                    <a:pt x="47" y="18"/>
                    <a:pt x="47" y="18"/>
                  </a:cubicBezTo>
                  <a:cubicBezTo>
                    <a:pt x="47" y="18"/>
                    <a:pt x="47" y="18"/>
                    <a:pt x="47" y="18"/>
                  </a:cubicBezTo>
                  <a:cubicBezTo>
                    <a:pt x="48" y="18"/>
                    <a:pt x="48" y="18"/>
                    <a:pt x="48" y="18"/>
                  </a:cubicBezTo>
                  <a:cubicBezTo>
                    <a:pt x="49" y="18"/>
                    <a:pt x="49" y="18"/>
                    <a:pt x="49" y="18"/>
                  </a:cubicBezTo>
                  <a:cubicBezTo>
                    <a:pt x="50" y="18"/>
                    <a:pt x="50" y="18"/>
                    <a:pt x="50" y="18"/>
                  </a:cubicBezTo>
                  <a:cubicBezTo>
                    <a:pt x="50" y="18"/>
                    <a:pt x="50" y="18"/>
                    <a:pt x="50" y="18"/>
                  </a:cubicBezTo>
                  <a:cubicBezTo>
                    <a:pt x="51" y="19"/>
                    <a:pt x="51" y="19"/>
                    <a:pt x="51" y="19"/>
                  </a:cubicBezTo>
                  <a:cubicBezTo>
                    <a:pt x="51" y="19"/>
                    <a:pt x="51" y="19"/>
                    <a:pt x="51" y="19"/>
                  </a:cubicBezTo>
                  <a:cubicBezTo>
                    <a:pt x="52" y="19"/>
                    <a:pt x="52" y="19"/>
                    <a:pt x="52" y="19"/>
                  </a:cubicBezTo>
                  <a:cubicBezTo>
                    <a:pt x="52" y="19"/>
                    <a:pt x="52" y="19"/>
                    <a:pt x="52" y="19"/>
                  </a:cubicBezTo>
                  <a:cubicBezTo>
                    <a:pt x="54" y="20"/>
                    <a:pt x="55" y="20"/>
                    <a:pt x="57" y="21"/>
                  </a:cubicBezTo>
                  <a:cubicBezTo>
                    <a:pt x="57" y="21"/>
                    <a:pt x="57" y="21"/>
                    <a:pt x="57" y="21"/>
                  </a:cubicBezTo>
                  <a:cubicBezTo>
                    <a:pt x="58" y="21"/>
                    <a:pt x="58" y="21"/>
                    <a:pt x="58" y="21"/>
                  </a:cubicBezTo>
                  <a:cubicBezTo>
                    <a:pt x="58" y="22"/>
                    <a:pt x="58" y="22"/>
                    <a:pt x="58" y="22"/>
                  </a:cubicBezTo>
                  <a:cubicBezTo>
                    <a:pt x="58" y="22"/>
                    <a:pt x="58" y="22"/>
                    <a:pt x="58" y="22"/>
                  </a:cubicBezTo>
                  <a:cubicBezTo>
                    <a:pt x="59" y="22"/>
                    <a:pt x="60" y="23"/>
                    <a:pt x="61" y="23"/>
                  </a:cubicBezTo>
                  <a:cubicBezTo>
                    <a:pt x="61" y="23"/>
                    <a:pt x="61" y="23"/>
                    <a:pt x="61" y="23"/>
                  </a:cubicBezTo>
                  <a:cubicBezTo>
                    <a:pt x="61" y="24"/>
                    <a:pt x="61" y="24"/>
                    <a:pt x="61" y="24"/>
                  </a:cubicBezTo>
                  <a:cubicBezTo>
                    <a:pt x="62" y="24"/>
                    <a:pt x="62" y="24"/>
                    <a:pt x="62" y="24"/>
                  </a:cubicBezTo>
                  <a:cubicBezTo>
                    <a:pt x="63" y="25"/>
                    <a:pt x="63" y="26"/>
                    <a:pt x="64" y="27"/>
                  </a:cubicBezTo>
                  <a:cubicBezTo>
                    <a:pt x="64" y="27"/>
                    <a:pt x="64" y="27"/>
                    <a:pt x="64" y="27"/>
                  </a:cubicBezTo>
                  <a:cubicBezTo>
                    <a:pt x="65" y="27"/>
                    <a:pt x="65" y="27"/>
                    <a:pt x="65" y="27"/>
                  </a:cubicBezTo>
                  <a:cubicBezTo>
                    <a:pt x="65" y="28"/>
                    <a:pt x="65" y="28"/>
                    <a:pt x="65" y="28"/>
                  </a:cubicBezTo>
                  <a:cubicBezTo>
                    <a:pt x="66" y="28"/>
                    <a:pt x="66" y="29"/>
                    <a:pt x="67" y="30"/>
                  </a:cubicBezTo>
                  <a:cubicBezTo>
                    <a:pt x="67" y="30"/>
                    <a:pt x="67" y="30"/>
                    <a:pt x="67" y="30"/>
                  </a:cubicBezTo>
                  <a:cubicBezTo>
                    <a:pt x="67" y="31"/>
                    <a:pt x="67" y="31"/>
                    <a:pt x="67" y="31"/>
                  </a:cubicBezTo>
                  <a:cubicBezTo>
                    <a:pt x="67" y="31"/>
                    <a:pt x="67" y="31"/>
                    <a:pt x="67" y="31"/>
                  </a:cubicBezTo>
                  <a:cubicBezTo>
                    <a:pt x="68" y="32"/>
                    <a:pt x="68" y="32"/>
                    <a:pt x="68" y="32"/>
                  </a:cubicBezTo>
                  <a:cubicBezTo>
                    <a:pt x="68" y="33"/>
                    <a:pt x="69" y="34"/>
                    <a:pt x="69" y="36"/>
                  </a:cubicBezTo>
                  <a:cubicBezTo>
                    <a:pt x="70" y="36"/>
                    <a:pt x="70" y="36"/>
                    <a:pt x="70" y="36"/>
                  </a:cubicBezTo>
                  <a:cubicBezTo>
                    <a:pt x="70" y="37"/>
                    <a:pt x="70" y="37"/>
                    <a:pt x="70" y="37"/>
                  </a:cubicBezTo>
                  <a:cubicBezTo>
                    <a:pt x="70" y="37"/>
                    <a:pt x="70" y="37"/>
                    <a:pt x="70" y="37"/>
                  </a:cubicBezTo>
                  <a:cubicBezTo>
                    <a:pt x="70" y="38"/>
                    <a:pt x="70" y="38"/>
                    <a:pt x="70" y="38"/>
                  </a:cubicBezTo>
                  <a:cubicBezTo>
                    <a:pt x="70" y="38"/>
                    <a:pt x="70" y="38"/>
                    <a:pt x="70" y="38"/>
                  </a:cubicBezTo>
                  <a:cubicBezTo>
                    <a:pt x="70" y="39"/>
                    <a:pt x="70" y="39"/>
                    <a:pt x="70" y="39"/>
                  </a:cubicBezTo>
                  <a:cubicBezTo>
                    <a:pt x="70" y="40"/>
                    <a:pt x="70" y="40"/>
                    <a:pt x="70" y="40"/>
                  </a:cubicBezTo>
                  <a:cubicBezTo>
                    <a:pt x="70" y="40"/>
                    <a:pt x="70" y="40"/>
                    <a:pt x="71" y="41"/>
                  </a:cubicBezTo>
                  <a:cubicBezTo>
                    <a:pt x="71" y="41"/>
                    <a:pt x="71" y="41"/>
                    <a:pt x="71" y="41"/>
                  </a:cubicBezTo>
                  <a:cubicBezTo>
                    <a:pt x="71" y="42"/>
                    <a:pt x="71" y="42"/>
                    <a:pt x="71" y="42"/>
                  </a:cubicBezTo>
                  <a:cubicBezTo>
                    <a:pt x="71" y="42"/>
                    <a:pt x="71" y="42"/>
                    <a:pt x="71" y="42"/>
                  </a:cubicBezTo>
                  <a:cubicBezTo>
                    <a:pt x="71" y="43"/>
                    <a:pt x="71" y="43"/>
                    <a:pt x="71" y="43"/>
                  </a:cubicBezTo>
                  <a:cubicBezTo>
                    <a:pt x="71" y="44"/>
                    <a:pt x="71" y="44"/>
                    <a:pt x="71" y="45"/>
                  </a:cubicBezTo>
                  <a:cubicBezTo>
                    <a:pt x="71" y="45"/>
                    <a:pt x="71" y="45"/>
                    <a:pt x="71" y="45"/>
                  </a:cubicBezTo>
                  <a:cubicBezTo>
                    <a:pt x="71" y="46"/>
                    <a:pt x="71" y="46"/>
                    <a:pt x="71" y="46"/>
                  </a:cubicBezTo>
                  <a:cubicBezTo>
                    <a:pt x="71" y="46"/>
                    <a:pt x="71" y="46"/>
                    <a:pt x="71" y="46"/>
                  </a:cubicBezTo>
                  <a:cubicBezTo>
                    <a:pt x="70" y="46"/>
                    <a:pt x="70" y="47"/>
                    <a:pt x="70" y="47"/>
                  </a:cubicBezTo>
                  <a:cubicBezTo>
                    <a:pt x="70" y="47"/>
                    <a:pt x="70" y="47"/>
                    <a:pt x="70" y="47"/>
                  </a:cubicBezTo>
                  <a:cubicBezTo>
                    <a:pt x="70" y="48"/>
                    <a:pt x="70" y="48"/>
                    <a:pt x="70" y="48"/>
                  </a:cubicBezTo>
                  <a:cubicBezTo>
                    <a:pt x="70" y="49"/>
                    <a:pt x="70" y="49"/>
                    <a:pt x="70" y="49"/>
                  </a:cubicBezTo>
                  <a:cubicBezTo>
                    <a:pt x="70" y="50"/>
                    <a:pt x="70" y="50"/>
                    <a:pt x="70" y="50"/>
                  </a:cubicBezTo>
                  <a:cubicBezTo>
                    <a:pt x="70" y="50"/>
                    <a:pt x="70" y="50"/>
                    <a:pt x="70" y="50"/>
                  </a:cubicBezTo>
                  <a:cubicBezTo>
                    <a:pt x="69" y="52"/>
                    <a:pt x="69" y="54"/>
                    <a:pt x="68" y="55"/>
                  </a:cubicBezTo>
                  <a:cubicBezTo>
                    <a:pt x="67" y="56"/>
                    <a:pt x="67" y="56"/>
                    <a:pt x="67" y="56"/>
                  </a:cubicBezTo>
                  <a:cubicBezTo>
                    <a:pt x="67" y="56"/>
                    <a:pt x="67" y="56"/>
                    <a:pt x="67" y="56"/>
                  </a:cubicBezTo>
                  <a:cubicBezTo>
                    <a:pt x="67" y="57"/>
                    <a:pt x="67" y="57"/>
                    <a:pt x="67" y="57"/>
                  </a:cubicBezTo>
                  <a:cubicBezTo>
                    <a:pt x="67" y="57"/>
                    <a:pt x="67" y="57"/>
                    <a:pt x="67" y="57"/>
                  </a:cubicBezTo>
                  <a:cubicBezTo>
                    <a:pt x="66" y="58"/>
                    <a:pt x="66" y="58"/>
                    <a:pt x="65" y="59"/>
                  </a:cubicBezTo>
                  <a:cubicBezTo>
                    <a:pt x="65" y="59"/>
                    <a:pt x="65" y="59"/>
                    <a:pt x="65" y="59"/>
                  </a:cubicBezTo>
                  <a:cubicBezTo>
                    <a:pt x="64" y="60"/>
                    <a:pt x="64" y="60"/>
                    <a:pt x="64" y="60"/>
                  </a:cubicBezTo>
                  <a:cubicBezTo>
                    <a:pt x="64" y="60"/>
                    <a:pt x="64" y="60"/>
                    <a:pt x="64" y="60"/>
                  </a:cubicBezTo>
                  <a:cubicBezTo>
                    <a:pt x="63" y="61"/>
                    <a:pt x="63" y="62"/>
                    <a:pt x="62" y="63"/>
                  </a:cubicBezTo>
                  <a:cubicBezTo>
                    <a:pt x="61" y="63"/>
                    <a:pt x="61" y="63"/>
                    <a:pt x="61" y="63"/>
                  </a:cubicBezTo>
                  <a:cubicBezTo>
                    <a:pt x="61" y="63"/>
                    <a:pt x="61" y="63"/>
                    <a:pt x="61" y="63"/>
                  </a:cubicBezTo>
                  <a:cubicBezTo>
                    <a:pt x="61" y="63"/>
                    <a:pt x="61" y="63"/>
                    <a:pt x="61" y="63"/>
                  </a:cubicBezTo>
                  <a:cubicBezTo>
                    <a:pt x="60" y="64"/>
                    <a:pt x="59" y="64"/>
                    <a:pt x="58" y="65"/>
                  </a:cubicBezTo>
                  <a:cubicBezTo>
                    <a:pt x="58" y="65"/>
                    <a:pt x="58" y="65"/>
                    <a:pt x="58" y="65"/>
                  </a:cubicBezTo>
                  <a:cubicBezTo>
                    <a:pt x="58" y="65"/>
                    <a:pt x="58" y="65"/>
                    <a:pt x="58" y="65"/>
                  </a:cubicBezTo>
                  <a:cubicBezTo>
                    <a:pt x="57" y="66"/>
                    <a:pt x="57" y="66"/>
                    <a:pt x="57" y="66"/>
                  </a:cubicBezTo>
                  <a:cubicBezTo>
                    <a:pt x="57" y="66"/>
                    <a:pt x="57" y="66"/>
                    <a:pt x="57" y="66"/>
                  </a:cubicBezTo>
                  <a:cubicBezTo>
                    <a:pt x="55" y="67"/>
                    <a:pt x="54" y="67"/>
                    <a:pt x="52" y="68"/>
                  </a:cubicBezTo>
                  <a:cubicBezTo>
                    <a:pt x="52" y="68"/>
                    <a:pt x="52" y="68"/>
                    <a:pt x="52" y="68"/>
                  </a:cubicBezTo>
                  <a:cubicBezTo>
                    <a:pt x="52" y="68"/>
                    <a:pt x="51" y="68"/>
                    <a:pt x="51" y="68"/>
                  </a:cubicBezTo>
                  <a:cubicBezTo>
                    <a:pt x="51" y="68"/>
                    <a:pt x="51" y="68"/>
                    <a:pt x="51" y="68"/>
                  </a:cubicBezTo>
                  <a:cubicBezTo>
                    <a:pt x="50" y="68"/>
                    <a:pt x="50" y="68"/>
                    <a:pt x="50" y="68"/>
                  </a:cubicBezTo>
                  <a:cubicBezTo>
                    <a:pt x="50" y="68"/>
                    <a:pt x="50" y="68"/>
                    <a:pt x="50" y="68"/>
                  </a:cubicBezTo>
                  <a:cubicBezTo>
                    <a:pt x="49" y="68"/>
                    <a:pt x="49" y="68"/>
                    <a:pt x="49" y="69"/>
                  </a:cubicBezTo>
                  <a:cubicBezTo>
                    <a:pt x="48" y="69"/>
                    <a:pt x="48" y="69"/>
                    <a:pt x="48" y="69"/>
                  </a:cubicBezTo>
                  <a:cubicBezTo>
                    <a:pt x="48" y="69"/>
                    <a:pt x="48" y="69"/>
                    <a:pt x="47" y="69"/>
                  </a:cubicBezTo>
                  <a:cubicBezTo>
                    <a:pt x="47" y="69"/>
                    <a:pt x="47" y="69"/>
                    <a:pt x="47" y="69"/>
                  </a:cubicBezTo>
                  <a:cubicBezTo>
                    <a:pt x="46" y="69"/>
                    <a:pt x="46" y="69"/>
                    <a:pt x="46" y="69"/>
                  </a:cubicBezTo>
                  <a:cubicBezTo>
                    <a:pt x="46" y="69"/>
                    <a:pt x="46" y="69"/>
                    <a:pt x="46" y="69"/>
                  </a:cubicBezTo>
                  <a:cubicBezTo>
                    <a:pt x="45" y="69"/>
                    <a:pt x="45" y="69"/>
                    <a:pt x="44" y="69"/>
                  </a:cubicBezTo>
                  <a:moveTo>
                    <a:pt x="52" y="0"/>
                  </a:moveTo>
                  <a:cubicBezTo>
                    <a:pt x="37" y="0"/>
                    <a:pt x="37" y="0"/>
                    <a:pt x="37" y="0"/>
                  </a:cubicBezTo>
                  <a:cubicBezTo>
                    <a:pt x="37" y="9"/>
                    <a:pt x="37" y="9"/>
                    <a:pt x="37" y="9"/>
                  </a:cubicBezTo>
                  <a:cubicBezTo>
                    <a:pt x="32" y="10"/>
                    <a:pt x="28" y="11"/>
                    <a:pt x="25" y="14"/>
                  </a:cubicBezTo>
                  <a:cubicBezTo>
                    <a:pt x="18" y="7"/>
                    <a:pt x="18" y="7"/>
                    <a:pt x="18" y="7"/>
                  </a:cubicBezTo>
                  <a:cubicBezTo>
                    <a:pt x="7" y="18"/>
                    <a:pt x="7" y="18"/>
                    <a:pt x="7" y="18"/>
                  </a:cubicBezTo>
                  <a:cubicBezTo>
                    <a:pt x="14" y="24"/>
                    <a:pt x="14" y="24"/>
                    <a:pt x="14" y="24"/>
                  </a:cubicBezTo>
                  <a:cubicBezTo>
                    <a:pt x="11" y="28"/>
                    <a:pt x="10" y="32"/>
                    <a:pt x="9" y="36"/>
                  </a:cubicBezTo>
                  <a:cubicBezTo>
                    <a:pt x="0" y="36"/>
                    <a:pt x="0" y="36"/>
                    <a:pt x="0" y="36"/>
                  </a:cubicBezTo>
                  <a:cubicBezTo>
                    <a:pt x="0" y="51"/>
                    <a:pt x="0" y="51"/>
                    <a:pt x="0" y="51"/>
                  </a:cubicBezTo>
                  <a:cubicBezTo>
                    <a:pt x="9" y="51"/>
                    <a:pt x="9" y="51"/>
                    <a:pt x="9" y="51"/>
                  </a:cubicBezTo>
                  <a:cubicBezTo>
                    <a:pt x="10" y="55"/>
                    <a:pt x="11" y="59"/>
                    <a:pt x="14" y="63"/>
                  </a:cubicBezTo>
                  <a:cubicBezTo>
                    <a:pt x="7" y="69"/>
                    <a:pt x="7" y="69"/>
                    <a:pt x="7" y="69"/>
                  </a:cubicBezTo>
                  <a:cubicBezTo>
                    <a:pt x="18" y="79"/>
                    <a:pt x="18" y="79"/>
                    <a:pt x="18" y="79"/>
                  </a:cubicBezTo>
                  <a:cubicBezTo>
                    <a:pt x="25" y="73"/>
                    <a:pt x="25" y="73"/>
                    <a:pt x="25" y="73"/>
                  </a:cubicBezTo>
                  <a:cubicBezTo>
                    <a:pt x="28" y="75"/>
                    <a:pt x="32" y="77"/>
                    <a:pt x="37" y="78"/>
                  </a:cubicBezTo>
                  <a:cubicBezTo>
                    <a:pt x="37" y="87"/>
                    <a:pt x="37" y="87"/>
                    <a:pt x="37" y="87"/>
                  </a:cubicBezTo>
                  <a:cubicBezTo>
                    <a:pt x="52" y="87"/>
                    <a:pt x="52" y="87"/>
                    <a:pt x="52" y="87"/>
                  </a:cubicBezTo>
                  <a:cubicBezTo>
                    <a:pt x="52" y="78"/>
                    <a:pt x="52" y="78"/>
                    <a:pt x="52" y="78"/>
                  </a:cubicBezTo>
                  <a:cubicBezTo>
                    <a:pt x="57" y="77"/>
                    <a:pt x="61" y="75"/>
                    <a:pt x="64" y="73"/>
                  </a:cubicBezTo>
                  <a:cubicBezTo>
                    <a:pt x="71" y="79"/>
                    <a:pt x="71" y="79"/>
                    <a:pt x="71" y="79"/>
                  </a:cubicBezTo>
                  <a:cubicBezTo>
                    <a:pt x="82" y="69"/>
                    <a:pt x="82" y="69"/>
                    <a:pt x="82" y="69"/>
                  </a:cubicBezTo>
                  <a:cubicBezTo>
                    <a:pt x="75" y="63"/>
                    <a:pt x="75" y="63"/>
                    <a:pt x="75" y="63"/>
                  </a:cubicBezTo>
                  <a:cubicBezTo>
                    <a:pt x="77" y="59"/>
                    <a:pt x="79" y="55"/>
                    <a:pt x="80" y="51"/>
                  </a:cubicBezTo>
                  <a:cubicBezTo>
                    <a:pt x="89" y="51"/>
                    <a:pt x="89" y="51"/>
                    <a:pt x="89" y="51"/>
                  </a:cubicBezTo>
                  <a:cubicBezTo>
                    <a:pt x="89" y="36"/>
                    <a:pt x="89" y="36"/>
                    <a:pt x="89" y="36"/>
                  </a:cubicBezTo>
                  <a:cubicBezTo>
                    <a:pt x="80" y="36"/>
                    <a:pt x="80" y="36"/>
                    <a:pt x="80" y="36"/>
                  </a:cubicBezTo>
                  <a:cubicBezTo>
                    <a:pt x="79" y="32"/>
                    <a:pt x="77" y="28"/>
                    <a:pt x="75" y="24"/>
                  </a:cubicBezTo>
                  <a:cubicBezTo>
                    <a:pt x="82" y="18"/>
                    <a:pt x="82" y="18"/>
                    <a:pt x="82" y="18"/>
                  </a:cubicBezTo>
                  <a:cubicBezTo>
                    <a:pt x="71" y="7"/>
                    <a:pt x="71" y="7"/>
                    <a:pt x="71" y="7"/>
                  </a:cubicBezTo>
                  <a:cubicBezTo>
                    <a:pt x="64" y="14"/>
                    <a:pt x="64" y="14"/>
                    <a:pt x="64" y="14"/>
                  </a:cubicBezTo>
                  <a:cubicBezTo>
                    <a:pt x="61" y="11"/>
                    <a:pt x="57" y="10"/>
                    <a:pt x="52" y="9"/>
                  </a:cubicBezTo>
                  <a:cubicBezTo>
                    <a:pt x="52" y="0"/>
                    <a:pt x="52" y="0"/>
                    <a:pt x="52"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1" name="Freeform 21497">
              <a:extLst>
                <a:ext uri="{FF2B5EF4-FFF2-40B4-BE49-F238E27FC236}">
                  <a16:creationId xmlns:a16="http://schemas.microsoft.com/office/drawing/2014/main" id="{E753F9E1-91C7-4F56-B63B-DA11A24C0592}"/>
                </a:ext>
              </a:extLst>
            </p:cNvPr>
            <p:cNvSpPr>
              <a:spLocks/>
            </p:cNvSpPr>
            <p:nvPr userDrawn="1"/>
          </p:nvSpPr>
          <p:spPr bwMode="auto">
            <a:xfrm>
              <a:off x="9768840" y="4190365"/>
              <a:ext cx="514350" cy="1055688"/>
            </a:xfrm>
            <a:custGeom>
              <a:avLst/>
              <a:gdLst>
                <a:gd name="T0" fmla="*/ 236 w 255"/>
                <a:gd name="T1" fmla="*/ 1 h 523"/>
                <a:gd name="T2" fmla="*/ 225 w 255"/>
                <a:gd name="T3" fmla="*/ 16 h 523"/>
                <a:gd name="T4" fmla="*/ 218 w 255"/>
                <a:gd name="T5" fmla="*/ 36 h 523"/>
                <a:gd name="T6" fmla="*/ 214 w 255"/>
                <a:gd name="T7" fmla="*/ 50 h 523"/>
                <a:gd name="T8" fmla="*/ 185 w 255"/>
                <a:gd name="T9" fmla="*/ 19 h 523"/>
                <a:gd name="T10" fmla="*/ 183 w 255"/>
                <a:gd name="T11" fmla="*/ 51 h 523"/>
                <a:gd name="T12" fmla="*/ 163 w 255"/>
                <a:gd name="T13" fmla="*/ 44 h 523"/>
                <a:gd name="T14" fmla="*/ 145 w 255"/>
                <a:gd name="T15" fmla="*/ 41 h 523"/>
                <a:gd name="T16" fmla="*/ 140 w 255"/>
                <a:gd name="T17" fmla="*/ 59 h 523"/>
                <a:gd name="T18" fmla="*/ 139 w 255"/>
                <a:gd name="T19" fmla="*/ 79 h 523"/>
                <a:gd name="T20" fmla="*/ 124 w 255"/>
                <a:gd name="T21" fmla="*/ 71 h 523"/>
                <a:gd name="T22" fmla="*/ 106 w 255"/>
                <a:gd name="T23" fmla="*/ 71 h 523"/>
                <a:gd name="T24" fmla="*/ 103 w 255"/>
                <a:gd name="T25" fmla="*/ 89 h 523"/>
                <a:gd name="T26" fmla="*/ 106 w 255"/>
                <a:gd name="T27" fmla="*/ 110 h 523"/>
                <a:gd name="T28" fmla="*/ 81 w 255"/>
                <a:gd name="T29" fmla="*/ 101 h 523"/>
                <a:gd name="T30" fmla="*/ 71 w 255"/>
                <a:gd name="T31" fmla="*/ 108 h 523"/>
                <a:gd name="T32" fmla="*/ 81 w 255"/>
                <a:gd name="T33" fmla="*/ 140 h 523"/>
                <a:gd name="T34" fmla="*/ 77 w 255"/>
                <a:gd name="T35" fmla="*/ 146 h 523"/>
                <a:gd name="T36" fmla="*/ 53 w 255"/>
                <a:gd name="T37" fmla="*/ 141 h 523"/>
                <a:gd name="T38" fmla="*/ 43 w 255"/>
                <a:gd name="T39" fmla="*/ 149 h 523"/>
                <a:gd name="T40" fmla="*/ 58 w 255"/>
                <a:gd name="T41" fmla="*/ 179 h 523"/>
                <a:gd name="T42" fmla="*/ 50 w 255"/>
                <a:gd name="T43" fmla="*/ 186 h 523"/>
                <a:gd name="T44" fmla="*/ 33 w 255"/>
                <a:gd name="T45" fmla="*/ 184 h 523"/>
                <a:gd name="T46" fmla="*/ 22 w 255"/>
                <a:gd name="T47" fmla="*/ 193 h 523"/>
                <a:gd name="T48" fmla="*/ 41 w 255"/>
                <a:gd name="T49" fmla="*/ 221 h 523"/>
                <a:gd name="T50" fmla="*/ 26 w 255"/>
                <a:gd name="T51" fmla="*/ 230 h 523"/>
                <a:gd name="T52" fmla="*/ 20 w 255"/>
                <a:gd name="T53" fmla="*/ 229 h 523"/>
                <a:gd name="T54" fmla="*/ 7 w 255"/>
                <a:gd name="T55" fmla="*/ 241 h 523"/>
                <a:gd name="T56" fmla="*/ 31 w 255"/>
                <a:gd name="T57" fmla="*/ 265 h 523"/>
                <a:gd name="T58" fmla="*/ 14 w 255"/>
                <a:gd name="T59" fmla="*/ 277 h 523"/>
                <a:gd name="T60" fmla="*/ 1 w 255"/>
                <a:gd name="T61" fmla="*/ 290 h 523"/>
                <a:gd name="T62" fmla="*/ 29 w 255"/>
                <a:gd name="T63" fmla="*/ 310 h 523"/>
                <a:gd name="T64" fmla="*/ 13 w 255"/>
                <a:gd name="T65" fmla="*/ 324 h 523"/>
                <a:gd name="T66" fmla="*/ 2 w 255"/>
                <a:gd name="T67" fmla="*/ 340 h 523"/>
                <a:gd name="T68" fmla="*/ 33 w 255"/>
                <a:gd name="T69" fmla="*/ 355 h 523"/>
                <a:gd name="T70" fmla="*/ 20 w 255"/>
                <a:gd name="T71" fmla="*/ 372 h 523"/>
                <a:gd name="T72" fmla="*/ 11 w 255"/>
                <a:gd name="T73" fmla="*/ 389 h 523"/>
                <a:gd name="T74" fmla="*/ 27 w 255"/>
                <a:gd name="T75" fmla="*/ 398 h 523"/>
                <a:gd name="T76" fmla="*/ 44 w 255"/>
                <a:gd name="T77" fmla="*/ 399 h 523"/>
                <a:gd name="T78" fmla="*/ 34 w 255"/>
                <a:gd name="T79" fmla="*/ 417 h 523"/>
                <a:gd name="T80" fmla="*/ 28 w 255"/>
                <a:gd name="T81" fmla="*/ 435 h 523"/>
                <a:gd name="T82" fmla="*/ 45 w 255"/>
                <a:gd name="T83" fmla="*/ 443 h 523"/>
                <a:gd name="T84" fmla="*/ 62 w 255"/>
                <a:gd name="T85" fmla="*/ 441 h 523"/>
                <a:gd name="T86" fmla="*/ 54 w 255"/>
                <a:gd name="T87" fmla="*/ 460 h 523"/>
                <a:gd name="T88" fmla="*/ 52 w 255"/>
                <a:gd name="T89" fmla="*/ 479 h 523"/>
                <a:gd name="T90" fmla="*/ 69 w 255"/>
                <a:gd name="T91" fmla="*/ 483 h 523"/>
                <a:gd name="T92" fmla="*/ 90 w 255"/>
                <a:gd name="T93" fmla="*/ 484 h 523"/>
                <a:gd name="T94" fmla="*/ 82 w 255"/>
                <a:gd name="T95" fmla="*/ 500 h 523"/>
                <a:gd name="T96" fmla="*/ 82 w 255"/>
                <a:gd name="T97" fmla="*/ 518 h 523"/>
                <a:gd name="T98" fmla="*/ 100 w 255"/>
                <a:gd name="T99" fmla="*/ 520 h 523"/>
                <a:gd name="T100" fmla="*/ 249 w 255"/>
                <a:gd name="T101" fmla="*/ 260 h 523"/>
                <a:gd name="T102" fmla="*/ 135 w 255"/>
                <a:gd name="T103" fmla="*/ 485 h 523"/>
                <a:gd name="T104" fmla="*/ 255 w 255"/>
                <a:gd name="T105" fmla="*/ 5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5" h="523">
                  <a:moveTo>
                    <a:pt x="239" y="0"/>
                  </a:moveTo>
                  <a:cubicBezTo>
                    <a:pt x="238" y="0"/>
                    <a:pt x="237" y="0"/>
                    <a:pt x="236" y="1"/>
                  </a:cubicBezTo>
                  <a:cubicBezTo>
                    <a:pt x="235" y="1"/>
                    <a:pt x="235" y="1"/>
                    <a:pt x="235" y="1"/>
                  </a:cubicBezTo>
                  <a:cubicBezTo>
                    <a:pt x="231" y="2"/>
                    <a:pt x="224" y="4"/>
                    <a:pt x="225" y="16"/>
                  </a:cubicBezTo>
                  <a:cubicBezTo>
                    <a:pt x="226" y="23"/>
                    <a:pt x="225" y="30"/>
                    <a:pt x="224" y="33"/>
                  </a:cubicBezTo>
                  <a:cubicBezTo>
                    <a:pt x="222" y="34"/>
                    <a:pt x="220" y="35"/>
                    <a:pt x="218" y="36"/>
                  </a:cubicBezTo>
                  <a:cubicBezTo>
                    <a:pt x="216" y="35"/>
                    <a:pt x="214" y="33"/>
                    <a:pt x="212" y="31"/>
                  </a:cubicBezTo>
                  <a:cubicBezTo>
                    <a:pt x="213" y="37"/>
                    <a:pt x="213" y="43"/>
                    <a:pt x="214" y="50"/>
                  </a:cubicBezTo>
                  <a:cubicBezTo>
                    <a:pt x="191" y="48"/>
                    <a:pt x="191" y="48"/>
                    <a:pt x="191" y="48"/>
                  </a:cubicBezTo>
                  <a:cubicBezTo>
                    <a:pt x="190" y="38"/>
                    <a:pt x="187" y="29"/>
                    <a:pt x="185" y="19"/>
                  </a:cubicBezTo>
                  <a:cubicBezTo>
                    <a:pt x="182" y="21"/>
                    <a:pt x="178" y="25"/>
                    <a:pt x="181" y="34"/>
                  </a:cubicBezTo>
                  <a:cubicBezTo>
                    <a:pt x="183" y="41"/>
                    <a:pt x="183" y="47"/>
                    <a:pt x="183" y="51"/>
                  </a:cubicBezTo>
                  <a:cubicBezTo>
                    <a:pt x="181" y="52"/>
                    <a:pt x="179" y="53"/>
                    <a:pt x="176" y="54"/>
                  </a:cubicBezTo>
                  <a:cubicBezTo>
                    <a:pt x="173" y="53"/>
                    <a:pt x="168" y="49"/>
                    <a:pt x="163" y="44"/>
                  </a:cubicBezTo>
                  <a:cubicBezTo>
                    <a:pt x="160" y="40"/>
                    <a:pt x="156" y="38"/>
                    <a:pt x="153" y="38"/>
                  </a:cubicBezTo>
                  <a:cubicBezTo>
                    <a:pt x="150" y="38"/>
                    <a:pt x="147" y="39"/>
                    <a:pt x="145" y="41"/>
                  </a:cubicBezTo>
                  <a:cubicBezTo>
                    <a:pt x="144" y="41"/>
                    <a:pt x="144" y="41"/>
                    <a:pt x="144" y="41"/>
                  </a:cubicBezTo>
                  <a:cubicBezTo>
                    <a:pt x="141" y="43"/>
                    <a:pt x="135" y="47"/>
                    <a:pt x="140" y="59"/>
                  </a:cubicBezTo>
                  <a:cubicBezTo>
                    <a:pt x="143" y="65"/>
                    <a:pt x="144" y="71"/>
                    <a:pt x="144" y="75"/>
                  </a:cubicBezTo>
                  <a:cubicBezTo>
                    <a:pt x="143" y="77"/>
                    <a:pt x="141" y="78"/>
                    <a:pt x="139" y="79"/>
                  </a:cubicBezTo>
                  <a:cubicBezTo>
                    <a:pt x="139" y="80"/>
                    <a:pt x="139" y="80"/>
                    <a:pt x="139" y="80"/>
                  </a:cubicBezTo>
                  <a:cubicBezTo>
                    <a:pt x="135" y="79"/>
                    <a:pt x="129" y="75"/>
                    <a:pt x="124" y="71"/>
                  </a:cubicBezTo>
                  <a:cubicBezTo>
                    <a:pt x="120" y="68"/>
                    <a:pt x="117" y="67"/>
                    <a:pt x="114" y="67"/>
                  </a:cubicBezTo>
                  <a:cubicBezTo>
                    <a:pt x="110" y="67"/>
                    <a:pt x="108" y="69"/>
                    <a:pt x="106" y="71"/>
                  </a:cubicBezTo>
                  <a:cubicBezTo>
                    <a:pt x="105" y="72"/>
                    <a:pt x="105" y="72"/>
                    <a:pt x="105" y="72"/>
                  </a:cubicBezTo>
                  <a:cubicBezTo>
                    <a:pt x="102" y="74"/>
                    <a:pt x="96" y="79"/>
                    <a:pt x="103" y="89"/>
                  </a:cubicBezTo>
                  <a:cubicBezTo>
                    <a:pt x="107" y="95"/>
                    <a:pt x="110" y="101"/>
                    <a:pt x="110" y="105"/>
                  </a:cubicBezTo>
                  <a:cubicBezTo>
                    <a:pt x="109" y="107"/>
                    <a:pt x="107" y="109"/>
                    <a:pt x="106" y="110"/>
                  </a:cubicBezTo>
                  <a:cubicBezTo>
                    <a:pt x="102" y="110"/>
                    <a:pt x="95" y="108"/>
                    <a:pt x="90" y="104"/>
                  </a:cubicBezTo>
                  <a:cubicBezTo>
                    <a:pt x="86" y="102"/>
                    <a:pt x="83" y="101"/>
                    <a:pt x="81" y="101"/>
                  </a:cubicBezTo>
                  <a:cubicBezTo>
                    <a:pt x="76" y="101"/>
                    <a:pt x="73" y="104"/>
                    <a:pt x="72" y="107"/>
                  </a:cubicBezTo>
                  <a:cubicBezTo>
                    <a:pt x="71" y="108"/>
                    <a:pt x="71" y="108"/>
                    <a:pt x="71" y="108"/>
                  </a:cubicBezTo>
                  <a:cubicBezTo>
                    <a:pt x="68" y="111"/>
                    <a:pt x="63" y="116"/>
                    <a:pt x="72" y="126"/>
                  </a:cubicBezTo>
                  <a:cubicBezTo>
                    <a:pt x="77" y="131"/>
                    <a:pt x="80" y="136"/>
                    <a:pt x="81" y="140"/>
                  </a:cubicBezTo>
                  <a:cubicBezTo>
                    <a:pt x="80" y="142"/>
                    <a:pt x="79" y="144"/>
                    <a:pt x="77" y="146"/>
                  </a:cubicBezTo>
                  <a:cubicBezTo>
                    <a:pt x="77" y="146"/>
                    <a:pt x="77" y="146"/>
                    <a:pt x="77" y="146"/>
                  </a:cubicBezTo>
                  <a:cubicBezTo>
                    <a:pt x="73" y="146"/>
                    <a:pt x="66" y="144"/>
                    <a:pt x="61" y="142"/>
                  </a:cubicBezTo>
                  <a:cubicBezTo>
                    <a:pt x="58" y="141"/>
                    <a:pt x="55" y="141"/>
                    <a:pt x="53" y="141"/>
                  </a:cubicBezTo>
                  <a:cubicBezTo>
                    <a:pt x="47" y="141"/>
                    <a:pt x="45" y="145"/>
                    <a:pt x="43" y="148"/>
                  </a:cubicBezTo>
                  <a:cubicBezTo>
                    <a:pt x="43" y="149"/>
                    <a:pt x="43" y="149"/>
                    <a:pt x="43" y="149"/>
                  </a:cubicBezTo>
                  <a:cubicBezTo>
                    <a:pt x="41" y="152"/>
                    <a:pt x="37" y="158"/>
                    <a:pt x="47" y="166"/>
                  </a:cubicBezTo>
                  <a:cubicBezTo>
                    <a:pt x="52" y="170"/>
                    <a:pt x="56" y="175"/>
                    <a:pt x="58" y="179"/>
                  </a:cubicBezTo>
                  <a:cubicBezTo>
                    <a:pt x="57" y="181"/>
                    <a:pt x="56" y="183"/>
                    <a:pt x="55" y="185"/>
                  </a:cubicBezTo>
                  <a:cubicBezTo>
                    <a:pt x="54" y="186"/>
                    <a:pt x="52" y="186"/>
                    <a:pt x="50" y="186"/>
                  </a:cubicBezTo>
                  <a:cubicBezTo>
                    <a:pt x="46" y="186"/>
                    <a:pt x="42" y="185"/>
                    <a:pt x="38" y="184"/>
                  </a:cubicBezTo>
                  <a:cubicBezTo>
                    <a:pt x="36" y="184"/>
                    <a:pt x="34" y="184"/>
                    <a:pt x="33" y="184"/>
                  </a:cubicBezTo>
                  <a:cubicBezTo>
                    <a:pt x="25" y="184"/>
                    <a:pt x="23" y="189"/>
                    <a:pt x="22" y="192"/>
                  </a:cubicBezTo>
                  <a:cubicBezTo>
                    <a:pt x="22" y="193"/>
                    <a:pt x="22" y="193"/>
                    <a:pt x="22" y="193"/>
                  </a:cubicBezTo>
                  <a:cubicBezTo>
                    <a:pt x="20" y="197"/>
                    <a:pt x="17" y="204"/>
                    <a:pt x="28" y="210"/>
                  </a:cubicBezTo>
                  <a:cubicBezTo>
                    <a:pt x="34" y="213"/>
                    <a:pt x="39" y="218"/>
                    <a:pt x="41" y="221"/>
                  </a:cubicBezTo>
                  <a:cubicBezTo>
                    <a:pt x="41" y="223"/>
                    <a:pt x="40" y="225"/>
                    <a:pt x="39" y="228"/>
                  </a:cubicBezTo>
                  <a:cubicBezTo>
                    <a:pt x="36" y="229"/>
                    <a:pt x="31" y="230"/>
                    <a:pt x="26" y="230"/>
                  </a:cubicBezTo>
                  <a:cubicBezTo>
                    <a:pt x="25" y="230"/>
                    <a:pt x="23" y="230"/>
                    <a:pt x="22" y="230"/>
                  </a:cubicBezTo>
                  <a:cubicBezTo>
                    <a:pt x="22" y="229"/>
                    <a:pt x="21" y="229"/>
                    <a:pt x="20" y="229"/>
                  </a:cubicBezTo>
                  <a:cubicBezTo>
                    <a:pt x="10" y="229"/>
                    <a:pt x="8" y="236"/>
                    <a:pt x="8" y="240"/>
                  </a:cubicBezTo>
                  <a:cubicBezTo>
                    <a:pt x="7" y="241"/>
                    <a:pt x="7" y="241"/>
                    <a:pt x="7" y="241"/>
                  </a:cubicBezTo>
                  <a:cubicBezTo>
                    <a:pt x="7" y="245"/>
                    <a:pt x="5" y="252"/>
                    <a:pt x="17" y="256"/>
                  </a:cubicBezTo>
                  <a:cubicBezTo>
                    <a:pt x="23" y="259"/>
                    <a:pt x="29" y="262"/>
                    <a:pt x="31" y="265"/>
                  </a:cubicBezTo>
                  <a:cubicBezTo>
                    <a:pt x="31" y="267"/>
                    <a:pt x="31" y="270"/>
                    <a:pt x="31" y="272"/>
                  </a:cubicBezTo>
                  <a:cubicBezTo>
                    <a:pt x="27" y="274"/>
                    <a:pt x="21" y="276"/>
                    <a:pt x="14" y="277"/>
                  </a:cubicBezTo>
                  <a:cubicBezTo>
                    <a:pt x="2" y="277"/>
                    <a:pt x="1" y="285"/>
                    <a:pt x="1" y="289"/>
                  </a:cubicBezTo>
                  <a:cubicBezTo>
                    <a:pt x="1" y="290"/>
                    <a:pt x="1" y="290"/>
                    <a:pt x="1" y="290"/>
                  </a:cubicBezTo>
                  <a:cubicBezTo>
                    <a:pt x="1" y="294"/>
                    <a:pt x="0" y="302"/>
                    <a:pt x="13" y="304"/>
                  </a:cubicBezTo>
                  <a:cubicBezTo>
                    <a:pt x="19" y="305"/>
                    <a:pt x="25" y="308"/>
                    <a:pt x="29" y="310"/>
                  </a:cubicBezTo>
                  <a:cubicBezTo>
                    <a:pt x="29" y="313"/>
                    <a:pt x="29" y="315"/>
                    <a:pt x="29" y="317"/>
                  </a:cubicBezTo>
                  <a:cubicBezTo>
                    <a:pt x="26" y="320"/>
                    <a:pt x="20" y="323"/>
                    <a:pt x="13" y="324"/>
                  </a:cubicBezTo>
                  <a:cubicBezTo>
                    <a:pt x="1" y="327"/>
                    <a:pt x="2" y="335"/>
                    <a:pt x="2" y="339"/>
                  </a:cubicBezTo>
                  <a:cubicBezTo>
                    <a:pt x="2" y="340"/>
                    <a:pt x="2" y="340"/>
                    <a:pt x="2" y="340"/>
                  </a:cubicBezTo>
                  <a:cubicBezTo>
                    <a:pt x="3" y="344"/>
                    <a:pt x="3" y="351"/>
                    <a:pt x="16" y="352"/>
                  </a:cubicBezTo>
                  <a:cubicBezTo>
                    <a:pt x="23" y="352"/>
                    <a:pt x="29" y="354"/>
                    <a:pt x="33" y="355"/>
                  </a:cubicBezTo>
                  <a:cubicBezTo>
                    <a:pt x="33" y="358"/>
                    <a:pt x="33" y="360"/>
                    <a:pt x="34" y="362"/>
                  </a:cubicBezTo>
                  <a:cubicBezTo>
                    <a:pt x="31" y="365"/>
                    <a:pt x="26" y="369"/>
                    <a:pt x="20" y="372"/>
                  </a:cubicBezTo>
                  <a:cubicBezTo>
                    <a:pt x="8" y="376"/>
                    <a:pt x="10" y="384"/>
                    <a:pt x="11" y="388"/>
                  </a:cubicBezTo>
                  <a:cubicBezTo>
                    <a:pt x="11" y="389"/>
                    <a:pt x="11" y="389"/>
                    <a:pt x="11" y="389"/>
                  </a:cubicBezTo>
                  <a:cubicBezTo>
                    <a:pt x="12" y="392"/>
                    <a:pt x="14" y="399"/>
                    <a:pt x="23" y="399"/>
                  </a:cubicBezTo>
                  <a:cubicBezTo>
                    <a:pt x="24" y="399"/>
                    <a:pt x="26" y="398"/>
                    <a:pt x="27" y="398"/>
                  </a:cubicBezTo>
                  <a:cubicBezTo>
                    <a:pt x="29" y="398"/>
                    <a:pt x="31" y="398"/>
                    <a:pt x="33" y="398"/>
                  </a:cubicBezTo>
                  <a:cubicBezTo>
                    <a:pt x="38" y="398"/>
                    <a:pt x="41" y="398"/>
                    <a:pt x="44" y="399"/>
                  </a:cubicBezTo>
                  <a:cubicBezTo>
                    <a:pt x="45" y="402"/>
                    <a:pt x="45" y="404"/>
                    <a:pt x="46" y="406"/>
                  </a:cubicBezTo>
                  <a:cubicBezTo>
                    <a:pt x="44" y="409"/>
                    <a:pt x="39" y="414"/>
                    <a:pt x="34" y="417"/>
                  </a:cubicBezTo>
                  <a:cubicBezTo>
                    <a:pt x="23" y="424"/>
                    <a:pt x="26" y="431"/>
                    <a:pt x="28" y="434"/>
                  </a:cubicBezTo>
                  <a:cubicBezTo>
                    <a:pt x="28" y="435"/>
                    <a:pt x="28" y="435"/>
                    <a:pt x="28" y="435"/>
                  </a:cubicBezTo>
                  <a:cubicBezTo>
                    <a:pt x="29" y="438"/>
                    <a:pt x="32" y="444"/>
                    <a:pt x="39" y="444"/>
                  </a:cubicBezTo>
                  <a:cubicBezTo>
                    <a:pt x="40" y="444"/>
                    <a:pt x="42" y="443"/>
                    <a:pt x="45" y="443"/>
                  </a:cubicBezTo>
                  <a:cubicBezTo>
                    <a:pt x="49" y="441"/>
                    <a:pt x="55" y="441"/>
                    <a:pt x="58" y="441"/>
                  </a:cubicBezTo>
                  <a:cubicBezTo>
                    <a:pt x="60" y="441"/>
                    <a:pt x="61" y="441"/>
                    <a:pt x="62" y="441"/>
                  </a:cubicBezTo>
                  <a:cubicBezTo>
                    <a:pt x="63" y="443"/>
                    <a:pt x="64" y="445"/>
                    <a:pt x="65" y="447"/>
                  </a:cubicBezTo>
                  <a:cubicBezTo>
                    <a:pt x="63" y="451"/>
                    <a:pt x="59" y="456"/>
                    <a:pt x="54" y="460"/>
                  </a:cubicBezTo>
                  <a:cubicBezTo>
                    <a:pt x="45" y="468"/>
                    <a:pt x="49" y="475"/>
                    <a:pt x="51" y="478"/>
                  </a:cubicBezTo>
                  <a:cubicBezTo>
                    <a:pt x="52" y="479"/>
                    <a:pt x="52" y="479"/>
                    <a:pt x="52" y="479"/>
                  </a:cubicBezTo>
                  <a:cubicBezTo>
                    <a:pt x="53" y="482"/>
                    <a:pt x="56" y="486"/>
                    <a:pt x="61" y="486"/>
                  </a:cubicBezTo>
                  <a:cubicBezTo>
                    <a:pt x="64" y="486"/>
                    <a:pt x="66" y="485"/>
                    <a:pt x="69" y="483"/>
                  </a:cubicBezTo>
                  <a:cubicBezTo>
                    <a:pt x="75" y="481"/>
                    <a:pt x="82" y="479"/>
                    <a:pt x="86" y="479"/>
                  </a:cubicBezTo>
                  <a:cubicBezTo>
                    <a:pt x="87" y="481"/>
                    <a:pt x="88" y="483"/>
                    <a:pt x="90" y="484"/>
                  </a:cubicBezTo>
                  <a:cubicBezTo>
                    <a:pt x="90" y="485"/>
                    <a:pt x="90" y="485"/>
                    <a:pt x="90" y="485"/>
                  </a:cubicBezTo>
                  <a:cubicBezTo>
                    <a:pt x="89" y="489"/>
                    <a:pt x="86" y="494"/>
                    <a:pt x="82" y="500"/>
                  </a:cubicBezTo>
                  <a:cubicBezTo>
                    <a:pt x="73" y="509"/>
                    <a:pt x="79" y="515"/>
                    <a:pt x="81" y="518"/>
                  </a:cubicBezTo>
                  <a:cubicBezTo>
                    <a:pt x="82" y="518"/>
                    <a:pt x="82" y="518"/>
                    <a:pt x="82" y="518"/>
                  </a:cubicBezTo>
                  <a:cubicBezTo>
                    <a:pt x="84" y="520"/>
                    <a:pt x="87" y="523"/>
                    <a:pt x="91" y="523"/>
                  </a:cubicBezTo>
                  <a:cubicBezTo>
                    <a:pt x="94" y="523"/>
                    <a:pt x="97" y="522"/>
                    <a:pt x="100" y="520"/>
                  </a:cubicBezTo>
                  <a:cubicBezTo>
                    <a:pt x="103" y="518"/>
                    <a:pt x="105" y="517"/>
                    <a:pt x="108" y="516"/>
                  </a:cubicBezTo>
                  <a:cubicBezTo>
                    <a:pt x="174" y="444"/>
                    <a:pt x="223" y="357"/>
                    <a:pt x="249" y="260"/>
                  </a:cubicBezTo>
                  <a:cubicBezTo>
                    <a:pt x="249" y="260"/>
                    <a:pt x="249" y="260"/>
                    <a:pt x="249" y="259"/>
                  </a:cubicBezTo>
                  <a:cubicBezTo>
                    <a:pt x="227" y="343"/>
                    <a:pt x="188" y="419"/>
                    <a:pt x="135" y="485"/>
                  </a:cubicBezTo>
                  <a:cubicBezTo>
                    <a:pt x="45" y="394"/>
                    <a:pt x="37" y="247"/>
                    <a:pt x="119" y="146"/>
                  </a:cubicBezTo>
                  <a:cubicBezTo>
                    <a:pt x="154" y="102"/>
                    <a:pt x="202" y="72"/>
                    <a:pt x="255" y="59"/>
                  </a:cubicBezTo>
                  <a:cubicBezTo>
                    <a:pt x="251" y="39"/>
                    <a:pt x="246" y="19"/>
                    <a:pt x="239"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2" name="Freeform 21498">
              <a:extLst>
                <a:ext uri="{FF2B5EF4-FFF2-40B4-BE49-F238E27FC236}">
                  <a16:creationId xmlns:a16="http://schemas.microsoft.com/office/drawing/2014/main" id="{D81588F7-0757-43AB-9C03-F54B12D66F00}"/>
                </a:ext>
              </a:extLst>
            </p:cNvPr>
            <p:cNvSpPr>
              <a:spLocks noEditPoints="1"/>
            </p:cNvSpPr>
            <p:nvPr userDrawn="1"/>
          </p:nvSpPr>
          <p:spPr bwMode="auto">
            <a:xfrm>
              <a:off x="9070340" y="5153978"/>
              <a:ext cx="465138" cy="87313"/>
            </a:xfrm>
            <a:custGeom>
              <a:avLst/>
              <a:gdLst>
                <a:gd name="T0" fmla="*/ 5 w 230"/>
                <a:gd name="T1" fmla="*/ 34 h 43"/>
                <a:gd name="T2" fmla="*/ 2 w 230"/>
                <a:gd name="T3" fmla="*/ 36 h 43"/>
                <a:gd name="T4" fmla="*/ 3 w 230"/>
                <a:gd name="T5" fmla="*/ 42 h 43"/>
                <a:gd name="T6" fmla="*/ 5 w 230"/>
                <a:gd name="T7" fmla="*/ 43 h 43"/>
                <a:gd name="T8" fmla="*/ 8 w 230"/>
                <a:gd name="T9" fmla="*/ 40 h 43"/>
                <a:gd name="T10" fmla="*/ 7 w 230"/>
                <a:gd name="T11" fmla="*/ 35 h 43"/>
                <a:gd name="T12" fmla="*/ 5 w 230"/>
                <a:gd name="T13" fmla="*/ 34 h 43"/>
                <a:gd name="T14" fmla="*/ 225 w 230"/>
                <a:gd name="T15" fmla="*/ 0 h 43"/>
                <a:gd name="T16" fmla="*/ 224 w 230"/>
                <a:gd name="T17" fmla="*/ 0 h 43"/>
                <a:gd name="T18" fmla="*/ 222 w 230"/>
                <a:gd name="T19" fmla="*/ 5 h 43"/>
                <a:gd name="T20" fmla="*/ 225 w 230"/>
                <a:gd name="T21" fmla="*/ 8 h 43"/>
                <a:gd name="T22" fmla="*/ 227 w 230"/>
                <a:gd name="T23" fmla="*/ 8 h 43"/>
                <a:gd name="T24" fmla="*/ 229 w 230"/>
                <a:gd name="T25" fmla="*/ 3 h 43"/>
                <a:gd name="T26" fmla="*/ 225 w 230"/>
                <a:gd name="T2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43">
                  <a:moveTo>
                    <a:pt x="5" y="34"/>
                  </a:moveTo>
                  <a:cubicBezTo>
                    <a:pt x="4" y="34"/>
                    <a:pt x="3" y="35"/>
                    <a:pt x="2" y="36"/>
                  </a:cubicBezTo>
                  <a:cubicBezTo>
                    <a:pt x="0" y="39"/>
                    <a:pt x="1" y="41"/>
                    <a:pt x="3" y="42"/>
                  </a:cubicBezTo>
                  <a:cubicBezTo>
                    <a:pt x="4" y="43"/>
                    <a:pt x="4" y="43"/>
                    <a:pt x="5" y="43"/>
                  </a:cubicBezTo>
                  <a:cubicBezTo>
                    <a:pt x="6" y="43"/>
                    <a:pt x="7" y="42"/>
                    <a:pt x="8" y="40"/>
                  </a:cubicBezTo>
                  <a:cubicBezTo>
                    <a:pt x="10" y="38"/>
                    <a:pt x="9" y="36"/>
                    <a:pt x="7" y="35"/>
                  </a:cubicBezTo>
                  <a:cubicBezTo>
                    <a:pt x="6" y="35"/>
                    <a:pt x="6" y="34"/>
                    <a:pt x="5" y="34"/>
                  </a:cubicBezTo>
                  <a:moveTo>
                    <a:pt x="225" y="0"/>
                  </a:moveTo>
                  <a:cubicBezTo>
                    <a:pt x="225" y="0"/>
                    <a:pt x="225" y="0"/>
                    <a:pt x="224" y="0"/>
                  </a:cubicBezTo>
                  <a:cubicBezTo>
                    <a:pt x="222" y="1"/>
                    <a:pt x="221" y="2"/>
                    <a:pt x="222" y="5"/>
                  </a:cubicBezTo>
                  <a:cubicBezTo>
                    <a:pt x="223" y="7"/>
                    <a:pt x="224" y="8"/>
                    <a:pt x="225" y="8"/>
                  </a:cubicBezTo>
                  <a:cubicBezTo>
                    <a:pt x="226" y="8"/>
                    <a:pt x="226" y="8"/>
                    <a:pt x="227" y="8"/>
                  </a:cubicBezTo>
                  <a:cubicBezTo>
                    <a:pt x="229" y="7"/>
                    <a:pt x="230" y="5"/>
                    <a:pt x="229" y="3"/>
                  </a:cubicBezTo>
                  <a:cubicBezTo>
                    <a:pt x="229" y="1"/>
                    <a:pt x="227" y="0"/>
                    <a:pt x="225"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3" name="Freeform 21499">
              <a:extLst>
                <a:ext uri="{FF2B5EF4-FFF2-40B4-BE49-F238E27FC236}">
                  <a16:creationId xmlns:a16="http://schemas.microsoft.com/office/drawing/2014/main" id="{E72E6560-EAD1-4C27-93F9-5706E48898F9}"/>
                </a:ext>
              </a:extLst>
            </p:cNvPr>
            <p:cNvSpPr>
              <a:spLocks/>
            </p:cNvSpPr>
            <p:nvPr userDrawn="1"/>
          </p:nvSpPr>
          <p:spPr bwMode="auto">
            <a:xfrm>
              <a:off x="7878128" y="4469765"/>
              <a:ext cx="444500" cy="784225"/>
            </a:xfrm>
            <a:custGeom>
              <a:avLst/>
              <a:gdLst>
                <a:gd name="T0" fmla="*/ 4 w 220"/>
                <a:gd name="T1" fmla="*/ 10 h 389"/>
                <a:gd name="T2" fmla="*/ 94 w 220"/>
                <a:gd name="T3" fmla="*/ 90 h 389"/>
                <a:gd name="T4" fmla="*/ 166 w 220"/>
                <a:gd name="T5" fmla="*/ 385 h 389"/>
                <a:gd name="T6" fmla="*/ 184 w 220"/>
                <a:gd name="T7" fmla="*/ 385 h 389"/>
                <a:gd name="T8" fmla="*/ 172 w 220"/>
                <a:gd name="T9" fmla="*/ 362 h 389"/>
                <a:gd name="T10" fmla="*/ 175 w 220"/>
                <a:gd name="T11" fmla="*/ 353 h 389"/>
                <a:gd name="T12" fmla="*/ 193 w 220"/>
                <a:gd name="T13" fmla="*/ 353 h 389"/>
                <a:gd name="T14" fmla="*/ 203 w 220"/>
                <a:gd name="T15" fmla="*/ 348 h 389"/>
                <a:gd name="T16" fmla="*/ 185 w 220"/>
                <a:gd name="T17" fmla="*/ 326 h 389"/>
                <a:gd name="T18" fmla="*/ 203 w 220"/>
                <a:gd name="T19" fmla="*/ 315 h 389"/>
                <a:gd name="T20" fmla="*/ 214 w 220"/>
                <a:gd name="T21" fmla="*/ 310 h 389"/>
                <a:gd name="T22" fmla="*/ 194 w 220"/>
                <a:gd name="T23" fmla="*/ 291 h 389"/>
                <a:gd name="T24" fmla="*/ 196 w 220"/>
                <a:gd name="T25" fmla="*/ 281 h 389"/>
                <a:gd name="T26" fmla="*/ 219 w 220"/>
                <a:gd name="T27" fmla="*/ 268 h 389"/>
                <a:gd name="T28" fmla="*/ 196 w 220"/>
                <a:gd name="T29" fmla="*/ 253 h 389"/>
                <a:gd name="T30" fmla="*/ 197 w 220"/>
                <a:gd name="T31" fmla="*/ 243 h 389"/>
                <a:gd name="T32" fmla="*/ 218 w 220"/>
                <a:gd name="T33" fmla="*/ 227 h 389"/>
                <a:gd name="T34" fmla="*/ 193 w 220"/>
                <a:gd name="T35" fmla="*/ 216 h 389"/>
                <a:gd name="T36" fmla="*/ 192 w 220"/>
                <a:gd name="T37" fmla="*/ 207 h 389"/>
                <a:gd name="T38" fmla="*/ 211 w 220"/>
                <a:gd name="T39" fmla="*/ 187 h 389"/>
                <a:gd name="T40" fmla="*/ 197 w 220"/>
                <a:gd name="T41" fmla="*/ 183 h 389"/>
                <a:gd name="T42" fmla="*/ 182 w 220"/>
                <a:gd name="T43" fmla="*/ 172 h 389"/>
                <a:gd name="T44" fmla="*/ 198 w 220"/>
                <a:gd name="T45" fmla="*/ 150 h 389"/>
                <a:gd name="T46" fmla="*/ 188 w 220"/>
                <a:gd name="T47" fmla="*/ 145 h 389"/>
                <a:gd name="T48" fmla="*/ 170 w 220"/>
                <a:gd name="T49" fmla="*/ 146 h 389"/>
                <a:gd name="T50" fmla="*/ 176 w 220"/>
                <a:gd name="T51" fmla="*/ 123 h 389"/>
                <a:gd name="T52" fmla="*/ 173 w 220"/>
                <a:gd name="T53" fmla="*/ 110 h 389"/>
                <a:gd name="T54" fmla="*/ 152 w 220"/>
                <a:gd name="T55" fmla="*/ 115 h 389"/>
                <a:gd name="T56" fmla="*/ 145 w 220"/>
                <a:gd name="T57" fmla="*/ 108 h 389"/>
                <a:gd name="T58" fmla="*/ 153 w 220"/>
                <a:gd name="T59" fmla="*/ 82 h 389"/>
                <a:gd name="T60" fmla="*/ 143 w 220"/>
                <a:gd name="T61" fmla="*/ 80 h 389"/>
                <a:gd name="T62" fmla="*/ 126 w 220"/>
                <a:gd name="T63" fmla="*/ 86 h 389"/>
                <a:gd name="T64" fmla="*/ 125 w 220"/>
                <a:gd name="T65" fmla="*/ 63 h 389"/>
                <a:gd name="T66" fmla="*/ 119 w 220"/>
                <a:gd name="T67" fmla="*/ 51 h 389"/>
                <a:gd name="T68" fmla="*/ 98 w 220"/>
                <a:gd name="T69" fmla="*/ 63 h 389"/>
                <a:gd name="T70" fmla="*/ 90 w 220"/>
                <a:gd name="T71" fmla="*/ 57 h 389"/>
                <a:gd name="T72" fmla="*/ 89 w 220"/>
                <a:gd name="T73" fmla="*/ 30 h 389"/>
                <a:gd name="T74" fmla="*/ 67 w 220"/>
                <a:gd name="T75" fmla="*/ 43 h 389"/>
                <a:gd name="T76" fmla="*/ 64 w 220"/>
                <a:gd name="T77" fmla="*/ 42 h 389"/>
                <a:gd name="T78" fmla="*/ 58 w 220"/>
                <a:gd name="T79" fmla="*/ 21 h 389"/>
                <a:gd name="T80" fmla="*/ 49 w 220"/>
                <a:gd name="T81" fmla="*/ 11 h 389"/>
                <a:gd name="T82" fmla="*/ 32 w 220"/>
                <a:gd name="T83" fmla="*/ 29 h 389"/>
                <a:gd name="T84" fmla="*/ 22 w 220"/>
                <a:gd name="T85" fmla="*/ 26 h 389"/>
                <a:gd name="T86" fmla="*/ 14 w 220"/>
                <a:gd name="T87" fmla="*/ 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0" h="389">
                  <a:moveTo>
                    <a:pt x="11" y="0"/>
                  </a:moveTo>
                  <a:cubicBezTo>
                    <a:pt x="10" y="0"/>
                    <a:pt x="7" y="0"/>
                    <a:pt x="6" y="6"/>
                  </a:cubicBezTo>
                  <a:cubicBezTo>
                    <a:pt x="5" y="7"/>
                    <a:pt x="4" y="9"/>
                    <a:pt x="4" y="10"/>
                  </a:cubicBezTo>
                  <a:cubicBezTo>
                    <a:pt x="3" y="12"/>
                    <a:pt x="2" y="14"/>
                    <a:pt x="0" y="16"/>
                  </a:cubicBezTo>
                  <a:cubicBezTo>
                    <a:pt x="1" y="26"/>
                    <a:pt x="2" y="37"/>
                    <a:pt x="3" y="47"/>
                  </a:cubicBezTo>
                  <a:cubicBezTo>
                    <a:pt x="36" y="54"/>
                    <a:pt x="68" y="68"/>
                    <a:pt x="94" y="90"/>
                  </a:cubicBezTo>
                  <a:cubicBezTo>
                    <a:pt x="138" y="125"/>
                    <a:pt x="166" y="176"/>
                    <a:pt x="171" y="233"/>
                  </a:cubicBezTo>
                  <a:cubicBezTo>
                    <a:pt x="176" y="278"/>
                    <a:pt x="166" y="323"/>
                    <a:pt x="144" y="361"/>
                  </a:cubicBezTo>
                  <a:cubicBezTo>
                    <a:pt x="151" y="369"/>
                    <a:pt x="158" y="377"/>
                    <a:pt x="166" y="385"/>
                  </a:cubicBezTo>
                  <a:cubicBezTo>
                    <a:pt x="169" y="386"/>
                    <a:pt x="172" y="387"/>
                    <a:pt x="175" y="388"/>
                  </a:cubicBezTo>
                  <a:cubicBezTo>
                    <a:pt x="177" y="389"/>
                    <a:pt x="179" y="389"/>
                    <a:pt x="180" y="389"/>
                  </a:cubicBezTo>
                  <a:cubicBezTo>
                    <a:pt x="182" y="389"/>
                    <a:pt x="183" y="388"/>
                    <a:pt x="184" y="385"/>
                  </a:cubicBezTo>
                  <a:cubicBezTo>
                    <a:pt x="185" y="384"/>
                    <a:pt x="185" y="384"/>
                    <a:pt x="185" y="384"/>
                  </a:cubicBezTo>
                  <a:cubicBezTo>
                    <a:pt x="187" y="382"/>
                    <a:pt x="188" y="379"/>
                    <a:pt x="183" y="375"/>
                  </a:cubicBezTo>
                  <a:cubicBezTo>
                    <a:pt x="178" y="372"/>
                    <a:pt x="173" y="366"/>
                    <a:pt x="172" y="362"/>
                  </a:cubicBezTo>
                  <a:cubicBezTo>
                    <a:pt x="171" y="361"/>
                    <a:pt x="171" y="361"/>
                    <a:pt x="172" y="360"/>
                  </a:cubicBezTo>
                  <a:cubicBezTo>
                    <a:pt x="172" y="360"/>
                    <a:pt x="172" y="360"/>
                    <a:pt x="172" y="360"/>
                  </a:cubicBezTo>
                  <a:cubicBezTo>
                    <a:pt x="173" y="358"/>
                    <a:pt x="174" y="356"/>
                    <a:pt x="175" y="353"/>
                  </a:cubicBezTo>
                  <a:cubicBezTo>
                    <a:pt x="175" y="353"/>
                    <a:pt x="176" y="352"/>
                    <a:pt x="176" y="352"/>
                  </a:cubicBezTo>
                  <a:cubicBezTo>
                    <a:pt x="178" y="352"/>
                    <a:pt x="180" y="351"/>
                    <a:pt x="183" y="351"/>
                  </a:cubicBezTo>
                  <a:cubicBezTo>
                    <a:pt x="186" y="351"/>
                    <a:pt x="190" y="352"/>
                    <a:pt x="193" y="353"/>
                  </a:cubicBezTo>
                  <a:cubicBezTo>
                    <a:pt x="195" y="353"/>
                    <a:pt x="196" y="353"/>
                    <a:pt x="197" y="353"/>
                  </a:cubicBezTo>
                  <a:cubicBezTo>
                    <a:pt x="200" y="353"/>
                    <a:pt x="201" y="351"/>
                    <a:pt x="202" y="349"/>
                  </a:cubicBezTo>
                  <a:cubicBezTo>
                    <a:pt x="203" y="348"/>
                    <a:pt x="203" y="348"/>
                    <a:pt x="203" y="348"/>
                  </a:cubicBezTo>
                  <a:cubicBezTo>
                    <a:pt x="204" y="345"/>
                    <a:pt x="205" y="342"/>
                    <a:pt x="199" y="339"/>
                  </a:cubicBezTo>
                  <a:cubicBezTo>
                    <a:pt x="194" y="336"/>
                    <a:pt x="188" y="332"/>
                    <a:pt x="186" y="328"/>
                  </a:cubicBezTo>
                  <a:cubicBezTo>
                    <a:pt x="185" y="327"/>
                    <a:pt x="185" y="326"/>
                    <a:pt x="185" y="326"/>
                  </a:cubicBezTo>
                  <a:cubicBezTo>
                    <a:pt x="186" y="323"/>
                    <a:pt x="187" y="321"/>
                    <a:pt x="188" y="318"/>
                  </a:cubicBezTo>
                  <a:cubicBezTo>
                    <a:pt x="188" y="318"/>
                    <a:pt x="188" y="317"/>
                    <a:pt x="189" y="317"/>
                  </a:cubicBezTo>
                  <a:cubicBezTo>
                    <a:pt x="193" y="315"/>
                    <a:pt x="200" y="315"/>
                    <a:pt x="203" y="315"/>
                  </a:cubicBezTo>
                  <a:cubicBezTo>
                    <a:pt x="204" y="315"/>
                    <a:pt x="205" y="315"/>
                    <a:pt x="206" y="315"/>
                  </a:cubicBezTo>
                  <a:cubicBezTo>
                    <a:pt x="206" y="315"/>
                    <a:pt x="207" y="315"/>
                    <a:pt x="208" y="315"/>
                  </a:cubicBezTo>
                  <a:cubicBezTo>
                    <a:pt x="213" y="315"/>
                    <a:pt x="213" y="313"/>
                    <a:pt x="214" y="310"/>
                  </a:cubicBezTo>
                  <a:cubicBezTo>
                    <a:pt x="214" y="309"/>
                    <a:pt x="214" y="309"/>
                    <a:pt x="214" y="309"/>
                  </a:cubicBezTo>
                  <a:cubicBezTo>
                    <a:pt x="215" y="305"/>
                    <a:pt x="215" y="303"/>
                    <a:pt x="209" y="300"/>
                  </a:cubicBezTo>
                  <a:cubicBezTo>
                    <a:pt x="204" y="298"/>
                    <a:pt x="197" y="295"/>
                    <a:pt x="194" y="291"/>
                  </a:cubicBezTo>
                  <a:cubicBezTo>
                    <a:pt x="194" y="291"/>
                    <a:pt x="194" y="290"/>
                    <a:pt x="194" y="290"/>
                  </a:cubicBezTo>
                  <a:cubicBezTo>
                    <a:pt x="194" y="287"/>
                    <a:pt x="194" y="285"/>
                    <a:pt x="195" y="282"/>
                  </a:cubicBezTo>
                  <a:cubicBezTo>
                    <a:pt x="195" y="282"/>
                    <a:pt x="195" y="281"/>
                    <a:pt x="196" y="281"/>
                  </a:cubicBezTo>
                  <a:cubicBezTo>
                    <a:pt x="199" y="278"/>
                    <a:pt x="207" y="276"/>
                    <a:pt x="212" y="276"/>
                  </a:cubicBezTo>
                  <a:cubicBezTo>
                    <a:pt x="219" y="275"/>
                    <a:pt x="219" y="273"/>
                    <a:pt x="219" y="269"/>
                  </a:cubicBezTo>
                  <a:cubicBezTo>
                    <a:pt x="219" y="268"/>
                    <a:pt x="219" y="268"/>
                    <a:pt x="219" y="268"/>
                  </a:cubicBezTo>
                  <a:cubicBezTo>
                    <a:pt x="220" y="265"/>
                    <a:pt x="220" y="262"/>
                    <a:pt x="213" y="261"/>
                  </a:cubicBezTo>
                  <a:cubicBezTo>
                    <a:pt x="208" y="260"/>
                    <a:pt x="201" y="257"/>
                    <a:pt x="197" y="254"/>
                  </a:cubicBezTo>
                  <a:cubicBezTo>
                    <a:pt x="197" y="254"/>
                    <a:pt x="196" y="253"/>
                    <a:pt x="196" y="253"/>
                  </a:cubicBezTo>
                  <a:cubicBezTo>
                    <a:pt x="196" y="250"/>
                    <a:pt x="196" y="248"/>
                    <a:pt x="196" y="246"/>
                  </a:cubicBezTo>
                  <a:cubicBezTo>
                    <a:pt x="196" y="245"/>
                    <a:pt x="196" y="245"/>
                    <a:pt x="196" y="245"/>
                  </a:cubicBezTo>
                  <a:cubicBezTo>
                    <a:pt x="196" y="244"/>
                    <a:pt x="196" y="244"/>
                    <a:pt x="197" y="243"/>
                  </a:cubicBezTo>
                  <a:cubicBezTo>
                    <a:pt x="200" y="240"/>
                    <a:pt x="207" y="237"/>
                    <a:pt x="212" y="236"/>
                  </a:cubicBezTo>
                  <a:cubicBezTo>
                    <a:pt x="219" y="234"/>
                    <a:pt x="219" y="232"/>
                    <a:pt x="218" y="228"/>
                  </a:cubicBezTo>
                  <a:cubicBezTo>
                    <a:pt x="218" y="227"/>
                    <a:pt x="218" y="227"/>
                    <a:pt x="218" y="227"/>
                  </a:cubicBezTo>
                  <a:cubicBezTo>
                    <a:pt x="218" y="224"/>
                    <a:pt x="218" y="221"/>
                    <a:pt x="211" y="221"/>
                  </a:cubicBezTo>
                  <a:cubicBezTo>
                    <a:pt x="205" y="221"/>
                    <a:pt x="198" y="220"/>
                    <a:pt x="194" y="217"/>
                  </a:cubicBezTo>
                  <a:cubicBezTo>
                    <a:pt x="194" y="217"/>
                    <a:pt x="193" y="216"/>
                    <a:pt x="193" y="216"/>
                  </a:cubicBezTo>
                  <a:cubicBezTo>
                    <a:pt x="193" y="215"/>
                    <a:pt x="193" y="215"/>
                    <a:pt x="193" y="215"/>
                  </a:cubicBezTo>
                  <a:cubicBezTo>
                    <a:pt x="193" y="212"/>
                    <a:pt x="192" y="210"/>
                    <a:pt x="192" y="208"/>
                  </a:cubicBezTo>
                  <a:cubicBezTo>
                    <a:pt x="192" y="208"/>
                    <a:pt x="192" y="207"/>
                    <a:pt x="192" y="207"/>
                  </a:cubicBezTo>
                  <a:cubicBezTo>
                    <a:pt x="195" y="203"/>
                    <a:pt x="201" y="199"/>
                    <a:pt x="206" y="197"/>
                  </a:cubicBezTo>
                  <a:cubicBezTo>
                    <a:pt x="213" y="194"/>
                    <a:pt x="212" y="192"/>
                    <a:pt x="211" y="188"/>
                  </a:cubicBezTo>
                  <a:cubicBezTo>
                    <a:pt x="211" y="187"/>
                    <a:pt x="211" y="187"/>
                    <a:pt x="211" y="187"/>
                  </a:cubicBezTo>
                  <a:cubicBezTo>
                    <a:pt x="210" y="184"/>
                    <a:pt x="209" y="182"/>
                    <a:pt x="205" y="182"/>
                  </a:cubicBezTo>
                  <a:cubicBezTo>
                    <a:pt x="204" y="182"/>
                    <a:pt x="203" y="182"/>
                    <a:pt x="203" y="182"/>
                  </a:cubicBezTo>
                  <a:cubicBezTo>
                    <a:pt x="201" y="183"/>
                    <a:pt x="199" y="183"/>
                    <a:pt x="197" y="183"/>
                  </a:cubicBezTo>
                  <a:cubicBezTo>
                    <a:pt x="193" y="183"/>
                    <a:pt x="189" y="182"/>
                    <a:pt x="185" y="181"/>
                  </a:cubicBezTo>
                  <a:cubicBezTo>
                    <a:pt x="185" y="181"/>
                    <a:pt x="184" y="180"/>
                    <a:pt x="184" y="180"/>
                  </a:cubicBezTo>
                  <a:cubicBezTo>
                    <a:pt x="183" y="177"/>
                    <a:pt x="182" y="175"/>
                    <a:pt x="182" y="172"/>
                  </a:cubicBezTo>
                  <a:cubicBezTo>
                    <a:pt x="181" y="172"/>
                    <a:pt x="181" y="171"/>
                    <a:pt x="182" y="171"/>
                  </a:cubicBezTo>
                  <a:cubicBezTo>
                    <a:pt x="184" y="167"/>
                    <a:pt x="190" y="162"/>
                    <a:pt x="194" y="159"/>
                  </a:cubicBezTo>
                  <a:cubicBezTo>
                    <a:pt x="200" y="155"/>
                    <a:pt x="199" y="153"/>
                    <a:pt x="198" y="150"/>
                  </a:cubicBezTo>
                  <a:cubicBezTo>
                    <a:pt x="197" y="149"/>
                    <a:pt x="197" y="149"/>
                    <a:pt x="197" y="149"/>
                  </a:cubicBezTo>
                  <a:cubicBezTo>
                    <a:pt x="196" y="146"/>
                    <a:pt x="195" y="145"/>
                    <a:pt x="192" y="145"/>
                  </a:cubicBezTo>
                  <a:cubicBezTo>
                    <a:pt x="191" y="145"/>
                    <a:pt x="190" y="145"/>
                    <a:pt x="188" y="145"/>
                  </a:cubicBezTo>
                  <a:cubicBezTo>
                    <a:pt x="184" y="147"/>
                    <a:pt x="179" y="147"/>
                    <a:pt x="176" y="147"/>
                  </a:cubicBezTo>
                  <a:cubicBezTo>
                    <a:pt x="174" y="147"/>
                    <a:pt x="172" y="147"/>
                    <a:pt x="171" y="147"/>
                  </a:cubicBezTo>
                  <a:cubicBezTo>
                    <a:pt x="170" y="147"/>
                    <a:pt x="170" y="146"/>
                    <a:pt x="170" y="146"/>
                  </a:cubicBezTo>
                  <a:cubicBezTo>
                    <a:pt x="168" y="143"/>
                    <a:pt x="167" y="141"/>
                    <a:pt x="166" y="139"/>
                  </a:cubicBezTo>
                  <a:cubicBezTo>
                    <a:pt x="166" y="138"/>
                    <a:pt x="166" y="138"/>
                    <a:pt x="166" y="137"/>
                  </a:cubicBezTo>
                  <a:cubicBezTo>
                    <a:pt x="167" y="133"/>
                    <a:pt x="172" y="127"/>
                    <a:pt x="176" y="123"/>
                  </a:cubicBezTo>
                  <a:cubicBezTo>
                    <a:pt x="181" y="119"/>
                    <a:pt x="180" y="117"/>
                    <a:pt x="178" y="114"/>
                  </a:cubicBezTo>
                  <a:cubicBezTo>
                    <a:pt x="178" y="113"/>
                    <a:pt x="178" y="113"/>
                    <a:pt x="178" y="113"/>
                  </a:cubicBezTo>
                  <a:cubicBezTo>
                    <a:pt x="176" y="111"/>
                    <a:pt x="175" y="110"/>
                    <a:pt x="173" y="110"/>
                  </a:cubicBezTo>
                  <a:cubicBezTo>
                    <a:pt x="172" y="110"/>
                    <a:pt x="170" y="110"/>
                    <a:pt x="168" y="111"/>
                  </a:cubicBezTo>
                  <a:cubicBezTo>
                    <a:pt x="162" y="114"/>
                    <a:pt x="157" y="115"/>
                    <a:pt x="153" y="115"/>
                  </a:cubicBezTo>
                  <a:cubicBezTo>
                    <a:pt x="152" y="115"/>
                    <a:pt x="152" y="115"/>
                    <a:pt x="152" y="115"/>
                  </a:cubicBezTo>
                  <a:cubicBezTo>
                    <a:pt x="151" y="115"/>
                    <a:pt x="150" y="115"/>
                    <a:pt x="150" y="114"/>
                  </a:cubicBezTo>
                  <a:cubicBezTo>
                    <a:pt x="149" y="112"/>
                    <a:pt x="147" y="111"/>
                    <a:pt x="146" y="109"/>
                  </a:cubicBezTo>
                  <a:cubicBezTo>
                    <a:pt x="145" y="108"/>
                    <a:pt x="145" y="108"/>
                    <a:pt x="145" y="108"/>
                  </a:cubicBezTo>
                  <a:cubicBezTo>
                    <a:pt x="145" y="108"/>
                    <a:pt x="145" y="107"/>
                    <a:pt x="145" y="106"/>
                  </a:cubicBezTo>
                  <a:cubicBezTo>
                    <a:pt x="146" y="102"/>
                    <a:pt x="150" y="95"/>
                    <a:pt x="153" y="91"/>
                  </a:cubicBezTo>
                  <a:cubicBezTo>
                    <a:pt x="158" y="86"/>
                    <a:pt x="156" y="84"/>
                    <a:pt x="153" y="82"/>
                  </a:cubicBezTo>
                  <a:cubicBezTo>
                    <a:pt x="153" y="81"/>
                    <a:pt x="153" y="81"/>
                    <a:pt x="153" y="81"/>
                  </a:cubicBezTo>
                  <a:cubicBezTo>
                    <a:pt x="151" y="79"/>
                    <a:pt x="150" y="78"/>
                    <a:pt x="148" y="78"/>
                  </a:cubicBezTo>
                  <a:cubicBezTo>
                    <a:pt x="147" y="78"/>
                    <a:pt x="145" y="79"/>
                    <a:pt x="143" y="80"/>
                  </a:cubicBezTo>
                  <a:cubicBezTo>
                    <a:pt x="139" y="83"/>
                    <a:pt x="132" y="86"/>
                    <a:pt x="127" y="87"/>
                  </a:cubicBezTo>
                  <a:cubicBezTo>
                    <a:pt x="127" y="87"/>
                    <a:pt x="127" y="87"/>
                    <a:pt x="127" y="87"/>
                  </a:cubicBezTo>
                  <a:cubicBezTo>
                    <a:pt x="127" y="87"/>
                    <a:pt x="126" y="87"/>
                    <a:pt x="126" y="86"/>
                  </a:cubicBezTo>
                  <a:cubicBezTo>
                    <a:pt x="124" y="84"/>
                    <a:pt x="122" y="83"/>
                    <a:pt x="120" y="81"/>
                  </a:cubicBezTo>
                  <a:cubicBezTo>
                    <a:pt x="120" y="80"/>
                    <a:pt x="119" y="80"/>
                    <a:pt x="119" y="79"/>
                  </a:cubicBezTo>
                  <a:cubicBezTo>
                    <a:pt x="119" y="75"/>
                    <a:pt x="122" y="68"/>
                    <a:pt x="125" y="63"/>
                  </a:cubicBezTo>
                  <a:cubicBezTo>
                    <a:pt x="129" y="57"/>
                    <a:pt x="127" y="56"/>
                    <a:pt x="124" y="54"/>
                  </a:cubicBezTo>
                  <a:cubicBezTo>
                    <a:pt x="123" y="53"/>
                    <a:pt x="123" y="53"/>
                    <a:pt x="123" y="53"/>
                  </a:cubicBezTo>
                  <a:cubicBezTo>
                    <a:pt x="122" y="52"/>
                    <a:pt x="121" y="51"/>
                    <a:pt x="119" y="51"/>
                  </a:cubicBezTo>
                  <a:cubicBezTo>
                    <a:pt x="118" y="51"/>
                    <a:pt x="116" y="52"/>
                    <a:pt x="114" y="54"/>
                  </a:cubicBezTo>
                  <a:cubicBezTo>
                    <a:pt x="109" y="57"/>
                    <a:pt x="103" y="62"/>
                    <a:pt x="99" y="63"/>
                  </a:cubicBezTo>
                  <a:cubicBezTo>
                    <a:pt x="99" y="63"/>
                    <a:pt x="98" y="63"/>
                    <a:pt x="98" y="63"/>
                  </a:cubicBezTo>
                  <a:cubicBezTo>
                    <a:pt x="98" y="63"/>
                    <a:pt x="97" y="63"/>
                    <a:pt x="97" y="62"/>
                  </a:cubicBezTo>
                  <a:cubicBezTo>
                    <a:pt x="95" y="61"/>
                    <a:pt x="93" y="59"/>
                    <a:pt x="91" y="58"/>
                  </a:cubicBezTo>
                  <a:cubicBezTo>
                    <a:pt x="90" y="58"/>
                    <a:pt x="90" y="57"/>
                    <a:pt x="90" y="57"/>
                  </a:cubicBezTo>
                  <a:cubicBezTo>
                    <a:pt x="89" y="52"/>
                    <a:pt x="91" y="45"/>
                    <a:pt x="93" y="40"/>
                  </a:cubicBezTo>
                  <a:cubicBezTo>
                    <a:pt x="96" y="33"/>
                    <a:pt x="93" y="32"/>
                    <a:pt x="90" y="30"/>
                  </a:cubicBezTo>
                  <a:cubicBezTo>
                    <a:pt x="89" y="30"/>
                    <a:pt x="89" y="30"/>
                    <a:pt x="89" y="30"/>
                  </a:cubicBezTo>
                  <a:cubicBezTo>
                    <a:pt x="88" y="29"/>
                    <a:pt x="87" y="28"/>
                    <a:pt x="86" y="28"/>
                  </a:cubicBezTo>
                  <a:cubicBezTo>
                    <a:pt x="84" y="28"/>
                    <a:pt x="82" y="30"/>
                    <a:pt x="80" y="32"/>
                  </a:cubicBezTo>
                  <a:cubicBezTo>
                    <a:pt x="77" y="36"/>
                    <a:pt x="71" y="42"/>
                    <a:pt x="67" y="43"/>
                  </a:cubicBezTo>
                  <a:cubicBezTo>
                    <a:pt x="67" y="43"/>
                    <a:pt x="67" y="43"/>
                    <a:pt x="66" y="43"/>
                  </a:cubicBezTo>
                  <a:cubicBezTo>
                    <a:pt x="66" y="43"/>
                    <a:pt x="66" y="43"/>
                    <a:pt x="65" y="43"/>
                  </a:cubicBezTo>
                  <a:cubicBezTo>
                    <a:pt x="64" y="42"/>
                    <a:pt x="64" y="42"/>
                    <a:pt x="64" y="42"/>
                  </a:cubicBezTo>
                  <a:cubicBezTo>
                    <a:pt x="62" y="42"/>
                    <a:pt x="60" y="41"/>
                    <a:pt x="58" y="40"/>
                  </a:cubicBezTo>
                  <a:cubicBezTo>
                    <a:pt x="58" y="40"/>
                    <a:pt x="57" y="39"/>
                    <a:pt x="57" y="39"/>
                  </a:cubicBezTo>
                  <a:cubicBezTo>
                    <a:pt x="56" y="34"/>
                    <a:pt x="57" y="27"/>
                    <a:pt x="58" y="21"/>
                  </a:cubicBezTo>
                  <a:cubicBezTo>
                    <a:pt x="59" y="15"/>
                    <a:pt x="57" y="14"/>
                    <a:pt x="54" y="13"/>
                  </a:cubicBezTo>
                  <a:cubicBezTo>
                    <a:pt x="53" y="12"/>
                    <a:pt x="53" y="12"/>
                    <a:pt x="53" y="12"/>
                  </a:cubicBezTo>
                  <a:cubicBezTo>
                    <a:pt x="52" y="12"/>
                    <a:pt x="50" y="11"/>
                    <a:pt x="49" y="11"/>
                  </a:cubicBezTo>
                  <a:cubicBezTo>
                    <a:pt x="49" y="11"/>
                    <a:pt x="46" y="11"/>
                    <a:pt x="44" y="16"/>
                  </a:cubicBezTo>
                  <a:cubicBezTo>
                    <a:pt x="41" y="21"/>
                    <a:pt x="37" y="27"/>
                    <a:pt x="33" y="29"/>
                  </a:cubicBezTo>
                  <a:cubicBezTo>
                    <a:pt x="32" y="29"/>
                    <a:pt x="32" y="29"/>
                    <a:pt x="32" y="29"/>
                  </a:cubicBezTo>
                  <a:cubicBezTo>
                    <a:pt x="31" y="29"/>
                    <a:pt x="31" y="29"/>
                    <a:pt x="31" y="29"/>
                  </a:cubicBezTo>
                  <a:cubicBezTo>
                    <a:pt x="28" y="29"/>
                    <a:pt x="26" y="28"/>
                    <a:pt x="24" y="27"/>
                  </a:cubicBezTo>
                  <a:cubicBezTo>
                    <a:pt x="23" y="27"/>
                    <a:pt x="22" y="27"/>
                    <a:pt x="22" y="26"/>
                  </a:cubicBezTo>
                  <a:cubicBezTo>
                    <a:pt x="20" y="22"/>
                    <a:pt x="20" y="14"/>
                    <a:pt x="20" y="9"/>
                  </a:cubicBezTo>
                  <a:cubicBezTo>
                    <a:pt x="21" y="2"/>
                    <a:pt x="18" y="2"/>
                    <a:pt x="15" y="1"/>
                  </a:cubicBezTo>
                  <a:cubicBezTo>
                    <a:pt x="14" y="1"/>
                    <a:pt x="14" y="1"/>
                    <a:pt x="14" y="1"/>
                  </a:cubicBezTo>
                  <a:cubicBezTo>
                    <a:pt x="13" y="1"/>
                    <a:pt x="12" y="0"/>
                    <a:pt x="11"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4" name="Freeform 21500">
              <a:extLst>
                <a:ext uri="{FF2B5EF4-FFF2-40B4-BE49-F238E27FC236}">
                  <a16:creationId xmlns:a16="http://schemas.microsoft.com/office/drawing/2014/main" id="{1ADDE730-2AFE-4C9D-8B45-15D02E101E1D}"/>
                </a:ext>
              </a:extLst>
            </p:cNvPr>
            <p:cNvSpPr>
              <a:spLocks/>
            </p:cNvSpPr>
            <p:nvPr userDrawn="1"/>
          </p:nvSpPr>
          <p:spPr bwMode="auto">
            <a:xfrm>
              <a:off x="7903528" y="3423603"/>
              <a:ext cx="885825" cy="976313"/>
            </a:xfrm>
            <a:custGeom>
              <a:avLst/>
              <a:gdLst>
                <a:gd name="T0" fmla="*/ 360 w 438"/>
                <a:gd name="T1" fmla="*/ 7 h 485"/>
                <a:gd name="T2" fmla="*/ 324 w 438"/>
                <a:gd name="T3" fmla="*/ 335 h 485"/>
                <a:gd name="T4" fmla="*/ 0 w 438"/>
                <a:gd name="T5" fmla="*/ 428 h 485"/>
                <a:gd name="T6" fmla="*/ 8 w 438"/>
                <a:gd name="T7" fmla="*/ 432 h 485"/>
                <a:gd name="T8" fmla="*/ 14 w 438"/>
                <a:gd name="T9" fmla="*/ 465 h 485"/>
                <a:gd name="T10" fmla="*/ 26 w 438"/>
                <a:gd name="T11" fmla="*/ 461 h 485"/>
                <a:gd name="T12" fmla="*/ 41 w 438"/>
                <a:gd name="T13" fmla="*/ 445 h 485"/>
                <a:gd name="T14" fmla="*/ 55 w 438"/>
                <a:gd name="T15" fmla="*/ 469 h 485"/>
                <a:gd name="T16" fmla="*/ 66 w 438"/>
                <a:gd name="T17" fmla="*/ 479 h 485"/>
                <a:gd name="T18" fmla="*/ 84 w 438"/>
                <a:gd name="T19" fmla="*/ 455 h 485"/>
                <a:gd name="T20" fmla="*/ 96 w 438"/>
                <a:gd name="T21" fmla="*/ 457 h 485"/>
                <a:gd name="T22" fmla="*/ 111 w 438"/>
                <a:gd name="T23" fmla="*/ 485 h 485"/>
                <a:gd name="T24" fmla="*/ 127 w 438"/>
                <a:gd name="T25" fmla="*/ 459 h 485"/>
                <a:gd name="T26" fmla="*/ 138 w 438"/>
                <a:gd name="T27" fmla="*/ 457 h 485"/>
                <a:gd name="T28" fmla="*/ 149 w 438"/>
                <a:gd name="T29" fmla="*/ 477 h 485"/>
                <a:gd name="T30" fmla="*/ 159 w 438"/>
                <a:gd name="T31" fmla="*/ 484 h 485"/>
                <a:gd name="T32" fmla="*/ 173 w 438"/>
                <a:gd name="T33" fmla="*/ 454 h 485"/>
                <a:gd name="T34" fmla="*/ 183 w 438"/>
                <a:gd name="T35" fmla="*/ 452 h 485"/>
                <a:gd name="T36" fmla="*/ 202 w 438"/>
                <a:gd name="T37" fmla="*/ 476 h 485"/>
                <a:gd name="T38" fmla="*/ 213 w 438"/>
                <a:gd name="T39" fmla="*/ 465 h 485"/>
                <a:gd name="T40" fmla="*/ 225 w 438"/>
                <a:gd name="T41" fmla="*/ 440 h 485"/>
                <a:gd name="T42" fmla="*/ 242 w 438"/>
                <a:gd name="T43" fmla="*/ 455 h 485"/>
                <a:gd name="T44" fmla="*/ 254 w 438"/>
                <a:gd name="T45" fmla="*/ 459 h 485"/>
                <a:gd name="T46" fmla="*/ 257 w 438"/>
                <a:gd name="T47" fmla="*/ 426 h 485"/>
                <a:gd name="T48" fmla="*/ 268 w 438"/>
                <a:gd name="T49" fmla="*/ 421 h 485"/>
                <a:gd name="T50" fmla="*/ 295 w 438"/>
                <a:gd name="T51" fmla="*/ 436 h 485"/>
                <a:gd name="T52" fmla="*/ 294 w 438"/>
                <a:gd name="T53" fmla="*/ 404 h 485"/>
                <a:gd name="T54" fmla="*/ 304 w 438"/>
                <a:gd name="T55" fmla="*/ 396 h 485"/>
                <a:gd name="T56" fmla="*/ 329 w 438"/>
                <a:gd name="T57" fmla="*/ 409 h 485"/>
                <a:gd name="T58" fmla="*/ 336 w 438"/>
                <a:gd name="T59" fmla="*/ 394 h 485"/>
                <a:gd name="T60" fmla="*/ 335 w 438"/>
                <a:gd name="T61" fmla="*/ 366 h 485"/>
                <a:gd name="T62" fmla="*/ 363 w 438"/>
                <a:gd name="T63" fmla="*/ 375 h 485"/>
                <a:gd name="T64" fmla="*/ 368 w 438"/>
                <a:gd name="T65" fmla="*/ 359 h 485"/>
                <a:gd name="T66" fmla="*/ 363 w 438"/>
                <a:gd name="T67" fmla="*/ 331 h 485"/>
                <a:gd name="T68" fmla="*/ 385 w 438"/>
                <a:gd name="T69" fmla="*/ 334 h 485"/>
                <a:gd name="T70" fmla="*/ 396 w 438"/>
                <a:gd name="T71" fmla="*/ 330 h 485"/>
                <a:gd name="T72" fmla="*/ 380 w 438"/>
                <a:gd name="T73" fmla="*/ 301 h 485"/>
                <a:gd name="T74" fmla="*/ 386 w 438"/>
                <a:gd name="T75" fmla="*/ 291 h 485"/>
                <a:gd name="T76" fmla="*/ 411 w 438"/>
                <a:gd name="T77" fmla="*/ 292 h 485"/>
                <a:gd name="T78" fmla="*/ 413 w 438"/>
                <a:gd name="T79" fmla="*/ 275 h 485"/>
                <a:gd name="T80" fmla="*/ 400 w 438"/>
                <a:gd name="T81" fmla="*/ 251 h 485"/>
                <a:gd name="T82" fmla="*/ 421 w 438"/>
                <a:gd name="T83" fmla="*/ 246 h 485"/>
                <a:gd name="T84" fmla="*/ 431 w 438"/>
                <a:gd name="T85" fmla="*/ 239 h 485"/>
                <a:gd name="T86" fmla="*/ 407 w 438"/>
                <a:gd name="T87" fmla="*/ 216 h 485"/>
                <a:gd name="T88" fmla="*/ 429 w 438"/>
                <a:gd name="T89" fmla="*/ 199 h 485"/>
                <a:gd name="T90" fmla="*/ 430 w 438"/>
                <a:gd name="T91" fmla="*/ 182 h 485"/>
                <a:gd name="T92" fmla="*/ 410 w 438"/>
                <a:gd name="T93" fmla="*/ 163 h 485"/>
                <a:gd name="T94" fmla="*/ 429 w 438"/>
                <a:gd name="T95" fmla="*/ 152 h 485"/>
                <a:gd name="T96" fmla="*/ 427 w 438"/>
                <a:gd name="T97" fmla="*/ 134 h 485"/>
                <a:gd name="T98" fmla="*/ 406 w 438"/>
                <a:gd name="T99" fmla="*/ 126 h 485"/>
                <a:gd name="T100" fmla="*/ 422 w 438"/>
                <a:gd name="T101" fmla="*/ 105 h 485"/>
                <a:gd name="T102" fmla="*/ 420 w 438"/>
                <a:gd name="T103" fmla="*/ 87 h 485"/>
                <a:gd name="T104" fmla="*/ 397 w 438"/>
                <a:gd name="T105" fmla="*/ 86 h 485"/>
                <a:gd name="T106" fmla="*/ 392 w 438"/>
                <a:gd name="T107" fmla="*/ 73 h 485"/>
                <a:gd name="T108" fmla="*/ 411 w 438"/>
                <a:gd name="T109" fmla="*/ 47 h 485"/>
                <a:gd name="T110" fmla="*/ 385 w 438"/>
                <a:gd name="T111" fmla="*/ 45 h 485"/>
                <a:gd name="T112" fmla="*/ 373 w 438"/>
                <a:gd name="T113" fmla="*/ 35 h 485"/>
                <a:gd name="T114" fmla="*/ 388 w 438"/>
                <a:gd name="T115" fmla="*/ 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8" h="485">
                  <a:moveTo>
                    <a:pt x="382" y="0"/>
                  </a:moveTo>
                  <a:cubicBezTo>
                    <a:pt x="380" y="0"/>
                    <a:pt x="379" y="1"/>
                    <a:pt x="376" y="2"/>
                  </a:cubicBezTo>
                  <a:cubicBezTo>
                    <a:pt x="370" y="4"/>
                    <a:pt x="364" y="6"/>
                    <a:pt x="360" y="7"/>
                  </a:cubicBezTo>
                  <a:cubicBezTo>
                    <a:pt x="350" y="11"/>
                    <a:pt x="340" y="15"/>
                    <a:pt x="329" y="20"/>
                  </a:cubicBezTo>
                  <a:cubicBezTo>
                    <a:pt x="358" y="57"/>
                    <a:pt x="375" y="101"/>
                    <a:pt x="380" y="148"/>
                  </a:cubicBezTo>
                  <a:cubicBezTo>
                    <a:pt x="387" y="216"/>
                    <a:pt x="367" y="282"/>
                    <a:pt x="324" y="335"/>
                  </a:cubicBezTo>
                  <a:cubicBezTo>
                    <a:pt x="276" y="395"/>
                    <a:pt x="204" y="429"/>
                    <a:pt x="126" y="429"/>
                  </a:cubicBezTo>
                  <a:cubicBezTo>
                    <a:pt x="85" y="429"/>
                    <a:pt x="44" y="419"/>
                    <a:pt x="7" y="400"/>
                  </a:cubicBezTo>
                  <a:cubicBezTo>
                    <a:pt x="4" y="409"/>
                    <a:pt x="2" y="418"/>
                    <a:pt x="0" y="428"/>
                  </a:cubicBezTo>
                  <a:cubicBezTo>
                    <a:pt x="0" y="428"/>
                    <a:pt x="0" y="428"/>
                    <a:pt x="0" y="428"/>
                  </a:cubicBezTo>
                  <a:cubicBezTo>
                    <a:pt x="1" y="429"/>
                    <a:pt x="1" y="429"/>
                    <a:pt x="1" y="429"/>
                  </a:cubicBezTo>
                  <a:cubicBezTo>
                    <a:pt x="4" y="430"/>
                    <a:pt x="6" y="431"/>
                    <a:pt x="8" y="432"/>
                  </a:cubicBezTo>
                  <a:cubicBezTo>
                    <a:pt x="9" y="432"/>
                    <a:pt x="10" y="433"/>
                    <a:pt x="10" y="434"/>
                  </a:cubicBezTo>
                  <a:cubicBezTo>
                    <a:pt x="11" y="439"/>
                    <a:pt x="11" y="448"/>
                    <a:pt x="9" y="454"/>
                  </a:cubicBezTo>
                  <a:cubicBezTo>
                    <a:pt x="7" y="462"/>
                    <a:pt x="10" y="463"/>
                    <a:pt x="14" y="465"/>
                  </a:cubicBezTo>
                  <a:cubicBezTo>
                    <a:pt x="15" y="465"/>
                    <a:pt x="15" y="465"/>
                    <a:pt x="15" y="465"/>
                  </a:cubicBezTo>
                  <a:cubicBezTo>
                    <a:pt x="17" y="466"/>
                    <a:pt x="18" y="466"/>
                    <a:pt x="19" y="466"/>
                  </a:cubicBezTo>
                  <a:cubicBezTo>
                    <a:pt x="20" y="466"/>
                    <a:pt x="23" y="466"/>
                    <a:pt x="26" y="461"/>
                  </a:cubicBezTo>
                  <a:cubicBezTo>
                    <a:pt x="29" y="455"/>
                    <a:pt x="34" y="448"/>
                    <a:pt x="39" y="445"/>
                  </a:cubicBezTo>
                  <a:cubicBezTo>
                    <a:pt x="40" y="445"/>
                    <a:pt x="40" y="445"/>
                    <a:pt x="41" y="445"/>
                  </a:cubicBezTo>
                  <a:cubicBezTo>
                    <a:pt x="41" y="445"/>
                    <a:pt x="41" y="445"/>
                    <a:pt x="41" y="445"/>
                  </a:cubicBezTo>
                  <a:cubicBezTo>
                    <a:pt x="44" y="446"/>
                    <a:pt x="47" y="447"/>
                    <a:pt x="50" y="447"/>
                  </a:cubicBezTo>
                  <a:cubicBezTo>
                    <a:pt x="51" y="448"/>
                    <a:pt x="51" y="448"/>
                    <a:pt x="52" y="449"/>
                  </a:cubicBezTo>
                  <a:cubicBezTo>
                    <a:pt x="54" y="454"/>
                    <a:pt x="55" y="463"/>
                    <a:pt x="55" y="469"/>
                  </a:cubicBezTo>
                  <a:cubicBezTo>
                    <a:pt x="54" y="477"/>
                    <a:pt x="57" y="478"/>
                    <a:pt x="61" y="479"/>
                  </a:cubicBezTo>
                  <a:cubicBezTo>
                    <a:pt x="62" y="479"/>
                    <a:pt x="62" y="479"/>
                    <a:pt x="62" y="479"/>
                  </a:cubicBezTo>
                  <a:cubicBezTo>
                    <a:pt x="63" y="479"/>
                    <a:pt x="64" y="479"/>
                    <a:pt x="66" y="479"/>
                  </a:cubicBezTo>
                  <a:cubicBezTo>
                    <a:pt x="67" y="479"/>
                    <a:pt x="69" y="479"/>
                    <a:pt x="72" y="473"/>
                  </a:cubicBezTo>
                  <a:cubicBezTo>
                    <a:pt x="74" y="467"/>
                    <a:pt x="78" y="459"/>
                    <a:pt x="83" y="455"/>
                  </a:cubicBezTo>
                  <a:cubicBezTo>
                    <a:pt x="83" y="455"/>
                    <a:pt x="84" y="455"/>
                    <a:pt x="84" y="455"/>
                  </a:cubicBezTo>
                  <a:cubicBezTo>
                    <a:pt x="85" y="455"/>
                    <a:pt x="85" y="455"/>
                    <a:pt x="85" y="455"/>
                  </a:cubicBezTo>
                  <a:cubicBezTo>
                    <a:pt x="88" y="455"/>
                    <a:pt x="91" y="455"/>
                    <a:pt x="94" y="456"/>
                  </a:cubicBezTo>
                  <a:cubicBezTo>
                    <a:pt x="94" y="456"/>
                    <a:pt x="95" y="456"/>
                    <a:pt x="96" y="457"/>
                  </a:cubicBezTo>
                  <a:cubicBezTo>
                    <a:pt x="99" y="461"/>
                    <a:pt x="101" y="470"/>
                    <a:pt x="102" y="477"/>
                  </a:cubicBezTo>
                  <a:cubicBezTo>
                    <a:pt x="102" y="485"/>
                    <a:pt x="105" y="485"/>
                    <a:pt x="109" y="485"/>
                  </a:cubicBezTo>
                  <a:cubicBezTo>
                    <a:pt x="111" y="485"/>
                    <a:pt x="111" y="485"/>
                    <a:pt x="111" y="485"/>
                  </a:cubicBezTo>
                  <a:cubicBezTo>
                    <a:pt x="111" y="485"/>
                    <a:pt x="112" y="485"/>
                    <a:pt x="113" y="485"/>
                  </a:cubicBezTo>
                  <a:cubicBezTo>
                    <a:pt x="115" y="485"/>
                    <a:pt x="118" y="485"/>
                    <a:pt x="119" y="478"/>
                  </a:cubicBezTo>
                  <a:cubicBezTo>
                    <a:pt x="121" y="471"/>
                    <a:pt x="123" y="463"/>
                    <a:pt x="127" y="459"/>
                  </a:cubicBezTo>
                  <a:cubicBezTo>
                    <a:pt x="128" y="458"/>
                    <a:pt x="128" y="458"/>
                    <a:pt x="129" y="458"/>
                  </a:cubicBezTo>
                  <a:cubicBezTo>
                    <a:pt x="132" y="458"/>
                    <a:pt x="135" y="458"/>
                    <a:pt x="138" y="458"/>
                  </a:cubicBezTo>
                  <a:cubicBezTo>
                    <a:pt x="138" y="457"/>
                    <a:pt x="138" y="457"/>
                    <a:pt x="138" y="457"/>
                  </a:cubicBezTo>
                  <a:cubicBezTo>
                    <a:pt x="138" y="457"/>
                    <a:pt x="138" y="457"/>
                    <a:pt x="138" y="457"/>
                  </a:cubicBezTo>
                  <a:cubicBezTo>
                    <a:pt x="139" y="457"/>
                    <a:pt x="140" y="458"/>
                    <a:pt x="140" y="458"/>
                  </a:cubicBezTo>
                  <a:cubicBezTo>
                    <a:pt x="144" y="462"/>
                    <a:pt x="147" y="470"/>
                    <a:pt x="149" y="477"/>
                  </a:cubicBezTo>
                  <a:cubicBezTo>
                    <a:pt x="151" y="484"/>
                    <a:pt x="154" y="484"/>
                    <a:pt x="156" y="484"/>
                  </a:cubicBezTo>
                  <a:cubicBezTo>
                    <a:pt x="156" y="484"/>
                    <a:pt x="157" y="484"/>
                    <a:pt x="158" y="484"/>
                  </a:cubicBezTo>
                  <a:cubicBezTo>
                    <a:pt x="159" y="484"/>
                    <a:pt x="159" y="484"/>
                    <a:pt x="159" y="484"/>
                  </a:cubicBezTo>
                  <a:cubicBezTo>
                    <a:pt x="163" y="484"/>
                    <a:pt x="167" y="483"/>
                    <a:pt x="167" y="475"/>
                  </a:cubicBezTo>
                  <a:cubicBezTo>
                    <a:pt x="167" y="468"/>
                    <a:pt x="169" y="460"/>
                    <a:pt x="172" y="455"/>
                  </a:cubicBezTo>
                  <a:cubicBezTo>
                    <a:pt x="172" y="454"/>
                    <a:pt x="173" y="454"/>
                    <a:pt x="173" y="454"/>
                  </a:cubicBezTo>
                  <a:cubicBezTo>
                    <a:pt x="175" y="454"/>
                    <a:pt x="175" y="454"/>
                    <a:pt x="175" y="454"/>
                  </a:cubicBezTo>
                  <a:cubicBezTo>
                    <a:pt x="177" y="453"/>
                    <a:pt x="180" y="453"/>
                    <a:pt x="182" y="452"/>
                  </a:cubicBezTo>
                  <a:cubicBezTo>
                    <a:pt x="183" y="452"/>
                    <a:pt x="183" y="452"/>
                    <a:pt x="183" y="452"/>
                  </a:cubicBezTo>
                  <a:cubicBezTo>
                    <a:pt x="183" y="452"/>
                    <a:pt x="184" y="452"/>
                    <a:pt x="184" y="453"/>
                  </a:cubicBezTo>
                  <a:cubicBezTo>
                    <a:pt x="189" y="456"/>
                    <a:pt x="193" y="464"/>
                    <a:pt x="196" y="470"/>
                  </a:cubicBezTo>
                  <a:cubicBezTo>
                    <a:pt x="199" y="476"/>
                    <a:pt x="201" y="476"/>
                    <a:pt x="202" y="476"/>
                  </a:cubicBezTo>
                  <a:cubicBezTo>
                    <a:pt x="204" y="476"/>
                    <a:pt x="205" y="476"/>
                    <a:pt x="206" y="475"/>
                  </a:cubicBezTo>
                  <a:cubicBezTo>
                    <a:pt x="207" y="475"/>
                    <a:pt x="207" y="475"/>
                    <a:pt x="207" y="475"/>
                  </a:cubicBezTo>
                  <a:cubicBezTo>
                    <a:pt x="211" y="474"/>
                    <a:pt x="214" y="473"/>
                    <a:pt x="213" y="465"/>
                  </a:cubicBezTo>
                  <a:cubicBezTo>
                    <a:pt x="213" y="458"/>
                    <a:pt x="213" y="450"/>
                    <a:pt x="215" y="444"/>
                  </a:cubicBezTo>
                  <a:cubicBezTo>
                    <a:pt x="215" y="444"/>
                    <a:pt x="216" y="443"/>
                    <a:pt x="217" y="443"/>
                  </a:cubicBezTo>
                  <a:cubicBezTo>
                    <a:pt x="219" y="442"/>
                    <a:pt x="222" y="441"/>
                    <a:pt x="225" y="440"/>
                  </a:cubicBezTo>
                  <a:cubicBezTo>
                    <a:pt x="226" y="440"/>
                    <a:pt x="226" y="440"/>
                    <a:pt x="226" y="440"/>
                  </a:cubicBezTo>
                  <a:cubicBezTo>
                    <a:pt x="227" y="440"/>
                    <a:pt x="227" y="440"/>
                    <a:pt x="227" y="440"/>
                  </a:cubicBezTo>
                  <a:cubicBezTo>
                    <a:pt x="232" y="443"/>
                    <a:pt x="238" y="450"/>
                    <a:pt x="242" y="455"/>
                  </a:cubicBezTo>
                  <a:cubicBezTo>
                    <a:pt x="245" y="460"/>
                    <a:pt x="247" y="460"/>
                    <a:pt x="248" y="460"/>
                  </a:cubicBezTo>
                  <a:cubicBezTo>
                    <a:pt x="249" y="460"/>
                    <a:pt x="251" y="460"/>
                    <a:pt x="252" y="459"/>
                  </a:cubicBezTo>
                  <a:cubicBezTo>
                    <a:pt x="254" y="459"/>
                    <a:pt x="254" y="459"/>
                    <a:pt x="254" y="459"/>
                  </a:cubicBezTo>
                  <a:cubicBezTo>
                    <a:pt x="257" y="457"/>
                    <a:pt x="260" y="456"/>
                    <a:pt x="258" y="448"/>
                  </a:cubicBezTo>
                  <a:cubicBezTo>
                    <a:pt x="256" y="442"/>
                    <a:pt x="255" y="433"/>
                    <a:pt x="256" y="427"/>
                  </a:cubicBezTo>
                  <a:cubicBezTo>
                    <a:pt x="256" y="427"/>
                    <a:pt x="257" y="426"/>
                    <a:pt x="257" y="426"/>
                  </a:cubicBezTo>
                  <a:cubicBezTo>
                    <a:pt x="260" y="424"/>
                    <a:pt x="263" y="423"/>
                    <a:pt x="265" y="421"/>
                  </a:cubicBezTo>
                  <a:cubicBezTo>
                    <a:pt x="266" y="421"/>
                    <a:pt x="266" y="421"/>
                    <a:pt x="267" y="421"/>
                  </a:cubicBezTo>
                  <a:cubicBezTo>
                    <a:pt x="267" y="421"/>
                    <a:pt x="267" y="421"/>
                    <a:pt x="268" y="421"/>
                  </a:cubicBezTo>
                  <a:cubicBezTo>
                    <a:pt x="273" y="423"/>
                    <a:pt x="280" y="429"/>
                    <a:pt x="284" y="434"/>
                  </a:cubicBezTo>
                  <a:cubicBezTo>
                    <a:pt x="287" y="437"/>
                    <a:pt x="289" y="438"/>
                    <a:pt x="291" y="438"/>
                  </a:cubicBezTo>
                  <a:cubicBezTo>
                    <a:pt x="292" y="438"/>
                    <a:pt x="294" y="437"/>
                    <a:pt x="295" y="436"/>
                  </a:cubicBezTo>
                  <a:cubicBezTo>
                    <a:pt x="296" y="435"/>
                    <a:pt x="296" y="435"/>
                    <a:pt x="296" y="435"/>
                  </a:cubicBezTo>
                  <a:cubicBezTo>
                    <a:pt x="300" y="433"/>
                    <a:pt x="302" y="431"/>
                    <a:pt x="299" y="424"/>
                  </a:cubicBezTo>
                  <a:cubicBezTo>
                    <a:pt x="296" y="418"/>
                    <a:pt x="294" y="410"/>
                    <a:pt x="294" y="404"/>
                  </a:cubicBezTo>
                  <a:cubicBezTo>
                    <a:pt x="294" y="403"/>
                    <a:pt x="295" y="403"/>
                    <a:pt x="295" y="402"/>
                  </a:cubicBezTo>
                  <a:cubicBezTo>
                    <a:pt x="298" y="400"/>
                    <a:pt x="300" y="398"/>
                    <a:pt x="303" y="396"/>
                  </a:cubicBezTo>
                  <a:cubicBezTo>
                    <a:pt x="303" y="396"/>
                    <a:pt x="304" y="396"/>
                    <a:pt x="304" y="396"/>
                  </a:cubicBezTo>
                  <a:cubicBezTo>
                    <a:pt x="304" y="396"/>
                    <a:pt x="304" y="396"/>
                    <a:pt x="305" y="396"/>
                  </a:cubicBezTo>
                  <a:cubicBezTo>
                    <a:pt x="310" y="397"/>
                    <a:pt x="318" y="402"/>
                    <a:pt x="323" y="406"/>
                  </a:cubicBezTo>
                  <a:cubicBezTo>
                    <a:pt x="325" y="408"/>
                    <a:pt x="327" y="409"/>
                    <a:pt x="329" y="409"/>
                  </a:cubicBezTo>
                  <a:cubicBezTo>
                    <a:pt x="331" y="409"/>
                    <a:pt x="333" y="408"/>
                    <a:pt x="334" y="406"/>
                  </a:cubicBezTo>
                  <a:cubicBezTo>
                    <a:pt x="335" y="405"/>
                    <a:pt x="335" y="405"/>
                    <a:pt x="335" y="405"/>
                  </a:cubicBezTo>
                  <a:cubicBezTo>
                    <a:pt x="338" y="403"/>
                    <a:pt x="341" y="401"/>
                    <a:pt x="336" y="394"/>
                  </a:cubicBezTo>
                  <a:cubicBezTo>
                    <a:pt x="332" y="388"/>
                    <a:pt x="328" y="380"/>
                    <a:pt x="328" y="375"/>
                  </a:cubicBezTo>
                  <a:cubicBezTo>
                    <a:pt x="328" y="374"/>
                    <a:pt x="328" y="373"/>
                    <a:pt x="329" y="373"/>
                  </a:cubicBezTo>
                  <a:cubicBezTo>
                    <a:pt x="331" y="371"/>
                    <a:pt x="333" y="368"/>
                    <a:pt x="335" y="366"/>
                  </a:cubicBezTo>
                  <a:cubicBezTo>
                    <a:pt x="336" y="366"/>
                    <a:pt x="336" y="365"/>
                    <a:pt x="337" y="365"/>
                  </a:cubicBezTo>
                  <a:cubicBezTo>
                    <a:pt x="343" y="365"/>
                    <a:pt x="351" y="369"/>
                    <a:pt x="357" y="372"/>
                  </a:cubicBezTo>
                  <a:cubicBezTo>
                    <a:pt x="359" y="374"/>
                    <a:pt x="361" y="375"/>
                    <a:pt x="363" y="375"/>
                  </a:cubicBezTo>
                  <a:cubicBezTo>
                    <a:pt x="365" y="375"/>
                    <a:pt x="366" y="373"/>
                    <a:pt x="368" y="371"/>
                  </a:cubicBezTo>
                  <a:cubicBezTo>
                    <a:pt x="369" y="370"/>
                    <a:pt x="369" y="370"/>
                    <a:pt x="369" y="370"/>
                  </a:cubicBezTo>
                  <a:cubicBezTo>
                    <a:pt x="371" y="367"/>
                    <a:pt x="373" y="364"/>
                    <a:pt x="368" y="359"/>
                  </a:cubicBezTo>
                  <a:cubicBezTo>
                    <a:pt x="363" y="354"/>
                    <a:pt x="358" y="346"/>
                    <a:pt x="357" y="341"/>
                  </a:cubicBezTo>
                  <a:cubicBezTo>
                    <a:pt x="357" y="340"/>
                    <a:pt x="357" y="339"/>
                    <a:pt x="357" y="339"/>
                  </a:cubicBezTo>
                  <a:cubicBezTo>
                    <a:pt x="359" y="336"/>
                    <a:pt x="361" y="334"/>
                    <a:pt x="363" y="331"/>
                  </a:cubicBezTo>
                  <a:cubicBezTo>
                    <a:pt x="363" y="331"/>
                    <a:pt x="364" y="330"/>
                    <a:pt x="364" y="330"/>
                  </a:cubicBezTo>
                  <a:cubicBezTo>
                    <a:pt x="365" y="330"/>
                    <a:pt x="366" y="330"/>
                    <a:pt x="367" y="330"/>
                  </a:cubicBezTo>
                  <a:cubicBezTo>
                    <a:pt x="372" y="330"/>
                    <a:pt x="378" y="331"/>
                    <a:pt x="385" y="334"/>
                  </a:cubicBezTo>
                  <a:cubicBezTo>
                    <a:pt x="387" y="335"/>
                    <a:pt x="389" y="335"/>
                    <a:pt x="390" y="335"/>
                  </a:cubicBezTo>
                  <a:cubicBezTo>
                    <a:pt x="393" y="335"/>
                    <a:pt x="394" y="334"/>
                    <a:pt x="396" y="331"/>
                  </a:cubicBezTo>
                  <a:cubicBezTo>
                    <a:pt x="396" y="330"/>
                    <a:pt x="396" y="330"/>
                    <a:pt x="396" y="330"/>
                  </a:cubicBezTo>
                  <a:cubicBezTo>
                    <a:pt x="398" y="326"/>
                    <a:pt x="400" y="323"/>
                    <a:pt x="394" y="319"/>
                  </a:cubicBezTo>
                  <a:cubicBezTo>
                    <a:pt x="388" y="314"/>
                    <a:pt x="382" y="308"/>
                    <a:pt x="380" y="303"/>
                  </a:cubicBezTo>
                  <a:cubicBezTo>
                    <a:pt x="380" y="302"/>
                    <a:pt x="380" y="301"/>
                    <a:pt x="380" y="301"/>
                  </a:cubicBezTo>
                  <a:cubicBezTo>
                    <a:pt x="380" y="300"/>
                    <a:pt x="380" y="300"/>
                    <a:pt x="380" y="300"/>
                  </a:cubicBezTo>
                  <a:cubicBezTo>
                    <a:pt x="382" y="298"/>
                    <a:pt x="383" y="295"/>
                    <a:pt x="384" y="292"/>
                  </a:cubicBezTo>
                  <a:cubicBezTo>
                    <a:pt x="385" y="292"/>
                    <a:pt x="385" y="291"/>
                    <a:pt x="386" y="291"/>
                  </a:cubicBezTo>
                  <a:cubicBezTo>
                    <a:pt x="388" y="290"/>
                    <a:pt x="391" y="290"/>
                    <a:pt x="394" y="290"/>
                  </a:cubicBezTo>
                  <a:cubicBezTo>
                    <a:pt x="397" y="290"/>
                    <a:pt x="402" y="291"/>
                    <a:pt x="406" y="291"/>
                  </a:cubicBezTo>
                  <a:cubicBezTo>
                    <a:pt x="408" y="292"/>
                    <a:pt x="410" y="292"/>
                    <a:pt x="411" y="292"/>
                  </a:cubicBezTo>
                  <a:cubicBezTo>
                    <a:pt x="415" y="292"/>
                    <a:pt x="416" y="290"/>
                    <a:pt x="417" y="287"/>
                  </a:cubicBezTo>
                  <a:cubicBezTo>
                    <a:pt x="417" y="285"/>
                    <a:pt x="417" y="285"/>
                    <a:pt x="417" y="285"/>
                  </a:cubicBezTo>
                  <a:cubicBezTo>
                    <a:pt x="419" y="282"/>
                    <a:pt x="420" y="279"/>
                    <a:pt x="413" y="275"/>
                  </a:cubicBezTo>
                  <a:cubicBezTo>
                    <a:pt x="407" y="272"/>
                    <a:pt x="400" y="266"/>
                    <a:pt x="397" y="261"/>
                  </a:cubicBezTo>
                  <a:cubicBezTo>
                    <a:pt x="397" y="261"/>
                    <a:pt x="397" y="260"/>
                    <a:pt x="397" y="259"/>
                  </a:cubicBezTo>
                  <a:cubicBezTo>
                    <a:pt x="398" y="256"/>
                    <a:pt x="399" y="253"/>
                    <a:pt x="400" y="251"/>
                  </a:cubicBezTo>
                  <a:cubicBezTo>
                    <a:pt x="400" y="250"/>
                    <a:pt x="400" y="249"/>
                    <a:pt x="401" y="249"/>
                  </a:cubicBezTo>
                  <a:cubicBezTo>
                    <a:pt x="406" y="246"/>
                    <a:pt x="414" y="246"/>
                    <a:pt x="418" y="246"/>
                  </a:cubicBezTo>
                  <a:cubicBezTo>
                    <a:pt x="419" y="246"/>
                    <a:pt x="420" y="246"/>
                    <a:pt x="421" y="246"/>
                  </a:cubicBezTo>
                  <a:cubicBezTo>
                    <a:pt x="422" y="246"/>
                    <a:pt x="423" y="246"/>
                    <a:pt x="423" y="246"/>
                  </a:cubicBezTo>
                  <a:cubicBezTo>
                    <a:pt x="430" y="246"/>
                    <a:pt x="430" y="243"/>
                    <a:pt x="431" y="240"/>
                  </a:cubicBezTo>
                  <a:cubicBezTo>
                    <a:pt x="431" y="239"/>
                    <a:pt x="431" y="239"/>
                    <a:pt x="431" y="239"/>
                  </a:cubicBezTo>
                  <a:cubicBezTo>
                    <a:pt x="432" y="235"/>
                    <a:pt x="433" y="232"/>
                    <a:pt x="425" y="229"/>
                  </a:cubicBezTo>
                  <a:cubicBezTo>
                    <a:pt x="419" y="227"/>
                    <a:pt x="411" y="222"/>
                    <a:pt x="407" y="218"/>
                  </a:cubicBezTo>
                  <a:cubicBezTo>
                    <a:pt x="407" y="217"/>
                    <a:pt x="407" y="217"/>
                    <a:pt x="407" y="216"/>
                  </a:cubicBezTo>
                  <a:cubicBezTo>
                    <a:pt x="407" y="213"/>
                    <a:pt x="408" y="210"/>
                    <a:pt x="408" y="207"/>
                  </a:cubicBezTo>
                  <a:cubicBezTo>
                    <a:pt x="408" y="206"/>
                    <a:pt x="409" y="206"/>
                    <a:pt x="409" y="205"/>
                  </a:cubicBezTo>
                  <a:cubicBezTo>
                    <a:pt x="414" y="202"/>
                    <a:pt x="422" y="200"/>
                    <a:pt x="429" y="199"/>
                  </a:cubicBezTo>
                  <a:cubicBezTo>
                    <a:pt x="437" y="199"/>
                    <a:pt x="437" y="195"/>
                    <a:pt x="437" y="191"/>
                  </a:cubicBezTo>
                  <a:cubicBezTo>
                    <a:pt x="437" y="190"/>
                    <a:pt x="437" y="190"/>
                    <a:pt x="437" y="190"/>
                  </a:cubicBezTo>
                  <a:cubicBezTo>
                    <a:pt x="438" y="186"/>
                    <a:pt x="438" y="183"/>
                    <a:pt x="430" y="182"/>
                  </a:cubicBezTo>
                  <a:cubicBezTo>
                    <a:pt x="423" y="180"/>
                    <a:pt x="415" y="177"/>
                    <a:pt x="411" y="174"/>
                  </a:cubicBezTo>
                  <a:cubicBezTo>
                    <a:pt x="410" y="173"/>
                    <a:pt x="410" y="172"/>
                    <a:pt x="410" y="172"/>
                  </a:cubicBezTo>
                  <a:cubicBezTo>
                    <a:pt x="410" y="169"/>
                    <a:pt x="410" y="166"/>
                    <a:pt x="410" y="163"/>
                  </a:cubicBezTo>
                  <a:cubicBezTo>
                    <a:pt x="410" y="162"/>
                    <a:pt x="410" y="162"/>
                    <a:pt x="410" y="162"/>
                  </a:cubicBezTo>
                  <a:cubicBezTo>
                    <a:pt x="410" y="162"/>
                    <a:pt x="410" y="161"/>
                    <a:pt x="410" y="161"/>
                  </a:cubicBezTo>
                  <a:cubicBezTo>
                    <a:pt x="414" y="157"/>
                    <a:pt x="423" y="153"/>
                    <a:pt x="429" y="152"/>
                  </a:cubicBezTo>
                  <a:cubicBezTo>
                    <a:pt x="437" y="150"/>
                    <a:pt x="437" y="147"/>
                    <a:pt x="436" y="143"/>
                  </a:cubicBezTo>
                  <a:cubicBezTo>
                    <a:pt x="436" y="141"/>
                    <a:pt x="436" y="141"/>
                    <a:pt x="436" y="141"/>
                  </a:cubicBezTo>
                  <a:cubicBezTo>
                    <a:pt x="436" y="137"/>
                    <a:pt x="436" y="134"/>
                    <a:pt x="427" y="134"/>
                  </a:cubicBezTo>
                  <a:cubicBezTo>
                    <a:pt x="421" y="134"/>
                    <a:pt x="412" y="132"/>
                    <a:pt x="407" y="129"/>
                  </a:cubicBezTo>
                  <a:cubicBezTo>
                    <a:pt x="407" y="129"/>
                    <a:pt x="406" y="128"/>
                    <a:pt x="406" y="127"/>
                  </a:cubicBezTo>
                  <a:cubicBezTo>
                    <a:pt x="406" y="126"/>
                    <a:pt x="406" y="126"/>
                    <a:pt x="406" y="126"/>
                  </a:cubicBezTo>
                  <a:cubicBezTo>
                    <a:pt x="405" y="123"/>
                    <a:pt x="405" y="121"/>
                    <a:pt x="404" y="118"/>
                  </a:cubicBezTo>
                  <a:cubicBezTo>
                    <a:pt x="404" y="118"/>
                    <a:pt x="404" y="117"/>
                    <a:pt x="405" y="116"/>
                  </a:cubicBezTo>
                  <a:cubicBezTo>
                    <a:pt x="408" y="112"/>
                    <a:pt x="416" y="107"/>
                    <a:pt x="422" y="105"/>
                  </a:cubicBezTo>
                  <a:cubicBezTo>
                    <a:pt x="429" y="101"/>
                    <a:pt x="429" y="98"/>
                    <a:pt x="427" y="95"/>
                  </a:cubicBezTo>
                  <a:cubicBezTo>
                    <a:pt x="427" y="93"/>
                    <a:pt x="427" y="93"/>
                    <a:pt x="427" y="93"/>
                  </a:cubicBezTo>
                  <a:cubicBezTo>
                    <a:pt x="426" y="90"/>
                    <a:pt x="426" y="87"/>
                    <a:pt x="420" y="87"/>
                  </a:cubicBezTo>
                  <a:cubicBezTo>
                    <a:pt x="419" y="87"/>
                    <a:pt x="418" y="87"/>
                    <a:pt x="417" y="87"/>
                  </a:cubicBezTo>
                  <a:cubicBezTo>
                    <a:pt x="415" y="88"/>
                    <a:pt x="413" y="88"/>
                    <a:pt x="410" y="88"/>
                  </a:cubicBezTo>
                  <a:cubicBezTo>
                    <a:pt x="406" y="88"/>
                    <a:pt x="401" y="87"/>
                    <a:pt x="397" y="86"/>
                  </a:cubicBezTo>
                  <a:cubicBezTo>
                    <a:pt x="396" y="85"/>
                    <a:pt x="395" y="85"/>
                    <a:pt x="395" y="84"/>
                  </a:cubicBezTo>
                  <a:cubicBezTo>
                    <a:pt x="394" y="81"/>
                    <a:pt x="393" y="78"/>
                    <a:pt x="392" y="75"/>
                  </a:cubicBezTo>
                  <a:cubicBezTo>
                    <a:pt x="392" y="75"/>
                    <a:pt x="392" y="74"/>
                    <a:pt x="392" y="73"/>
                  </a:cubicBezTo>
                  <a:cubicBezTo>
                    <a:pt x="395" y="68"/>
                    <a:pt x="402" y="63"/>
                    <a:pt x="407" y="59"/>
                  </a:cubicBezTo>
                  <a:cubicBezTo>
                    <a:pt x="414" y="55"/>
                    <a:pt x="413" y="52"/>
                    <a:pt x="411" y="48"/>
                  </a:cubicBezTo>
                  <a:cubicBezTo>
                    <a:pt x="411" y="47"/>
                    <a:pt x="411" y="47"/>
                    <a:pt x="411" y="47"/>
                  </a:cubicBezTo>
                  <a:cubicBezTo>
                    <a:pt x="409" y="44"/>
                    <a:pt x="408" y="42"/>
                    <a:pt x="405" y="42"/>
                  </a:cubicBezTo>
                  <a:cubicBezTo>
                    <a:pt x="404" y="42"/>
                    <a:pt x="402" y="42"/>
                    <a:pt x="400" y="43"/>
                  </a:cubicBezTo>
                  <a:cubicBezTo>
                    <a:pt x="395" y="44"/>
                    <a:pt x="390" y="45"/>
                    <a:pt x="385" y="45"/>
                  </a:cubicBezTo>
                  <a:cubicBezTo>
                    <a:pt x="383" y="45"/>
                    <a:pt x="381" y="45"/>
                    <a:pt x="380" y="45"/>
                  </a:cubicBezTo>
                  <a:cubicBezTo>
                    <a:pt x="379" y="44"/>
                    <a:pt x="378" y="44"/>
                    <a:pt x="378" y="43"/>
                  </a:cubicBezTo>
                  <a:cubicBezTo>
                    <a:pt x="377" y="41"/>
                    <a:pt x="375" y="38"/>
                    <a:pt x="373" y="35"/>
                  </a:cubicBezTo>
                  <a:cubicBezTo>
                    <a:pt x="373" y="34"/>
                    <a:pt x="373" y="34"/>
                    <a:pt x="373" y="33"/>
                  </a:cubicBezTo>
                  <a:cubicBezTo>
                    <a:pt x="375" y="28"/>
                    <a:pt x="381" y="21"/>
                    <a:pt x="386" y="17"/>
                  </a:cubicBezTo>
                  <a:cubicBezTo>
                    <a:pt x="392" y="11"/>
                    <a:pt x="390" y="9"/>
                    <a:pt x="388" y="5"/>
                  </a:cubicBezTo>
                  <a:cubicBezTo>
                    <a:pt x="387" y="4"/>
                    <a:pt x="387" y="4"/>
                    <a:pt x="387" y="4"/>
                  </a:cubicBezTo>
                  <a:cubicBezTo>
                    <a:pt x="386" y="2"/>
                    <a:pt x="385" y="0"/>
                    <a:pt x="382"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5" name="Freeform 21501">
              <a:extLst>
                <a:ext uri="{FF2B5EF4-FFF2-40B4-BE49-F238E27FC236}">
                  <a16:creationId xmlns:a16="http://schemas.microsoft.com/office/drawing/2014/main" id="{C1C0260B-0505-4907-A6D9-5BD5372EA3E4}"/>
                </a:ext>
              </a:extLst>
            </p:cNvPr>
            <p:cNvSpPr>
              <a:spLocks noEditPoints="1"/>
            </p:cNvSpPr>
            <p:nvPr userDrawn="1"/>
          </p:nvSpPr>
          <p:spPr bwMode="auto">
            <a:xfrm>
              <a:off x="7917815" y="3463290"/>
              <a:ext cx="768350" cy="823913"/>
            </a:xfrm>
            <a:custGeom>
              <a:avLst/>
              <a:gdLst>
                <a:gd name="T0" fmla="*/ 162 w 380"/>
                <a:gd name="T1" fmla="*/ 218 h 409"/>
                <a:gd name="T2" fmla="*/ 205 w 380"/>
                <a:gd name="T3" fmla="*/ 221 h 409"/>
                <a:gd name="T4" fmla="*/ 142 w 380"/>
                <a:gd name="T5" fmla="*/ 180 h 409"/>
                <a:gd name="T6" fmla="*/ 128 w 380"/>
                <a:gd name="T7" fmla="*/ 161 h 409"/>
                <a:gd name="T8" fmla="*/ 171 w 380"/>
                <a:gd name="T9" fmla="*/ 166 h 409"/>
                <a:gd name="T10" fmla="*/ 171 w 380"/>
                <a:gd name="T11" fmla="*/ 143 h 409"/>
                <a:gd name="T12" fmla="*/ 172 w 380"/>
                <a:gd name="T13" fmla="*/ 142 h 409"/>
                <a:gd name="T14" fmla="*/ 182 w 380"/>
                <a:gd name="T15" fmla="*/ 142 h 409"/>
                <a:gd name="T16" fmla="*/ 183 w 380"/>
                <a:gd name="T17" fmla="*/ 143 h 409"/>
                <a:gd name="T18" fmla="*/ 183 w 380"/>
                <a:gd name="T19" fmla="*/ 166 h 409"/>
                <a:gd name="T20" fmla="*/ 226 w 380"/>
                <a:gd name="T21" fmla="*/ 162 h 409"/>
                <a:gd name="T22" fmla="*/ 236 w 380"/>
                <a:gd name="T23" fmla="*/ 219 h 409"/>
                <a:gd name="T24" fmla="*/ 257 w 380"/>
                <a:gd name="T25" fmla="*/ 224 h 409"/>
                <a:gd name="T26" fmla="*/ 163 w 380"/>
                <a:gd name="T27" fmla="*/ 239 h 409"/>
                <a:gd name="T28" fmla="*/ 212 w 380"/>
                <a:gd name="T29" fmla="*/ 224 h 409"/>
                <a:gd name="T30" fmla="*/ 211 w 380"/>
                <a:gd name="T31" fmla="*/ 174 h 409"/>
                <a:gd name="T32" fmla="*/ 142 w 380"/>
                <a:gd name="T33" fmla="*/ 175 h 409"/>
                <a:gd name="T34" fmla="*/ 216 w 380"/>
                <a:gd name="T35" fmla="*/ 133 h 409"/>
                <a:gd name="T36" fmla="*/ 261 w 380"/>
                <a:gd name="T37" fmla="*/ 47 h 409"/>
                <a:gd name="T38" fmla="*/ 292 w 380"/>
                <a:gd name="T39" fmla="*/ 118 h 409"/>
                <a:gd name="T40" fmla="*/ 252 w 380"/>
                <a:gd name="T41" fmla="*/ 125 h 409"/>
                <a:gd name="T42" fmla="*/ 216 w 380"/>
                <a:gd name="T43" fmla="*/ 133 h 409"/>
                <a:gd name="T44" fmla="*/ 230 w 380"/>
                <a:gd name="T45" fmla="*/ 54 h 409"/>
                <a:gd name="T46" fmla="*/ 195 w 380"/>
                <a:gd name="T47" fmla="*/ 81 h 409"/>
                <a:gd name="T48" fmla="*/ 198 w 380"/>
                <a:gd name="T49" fmla="*/ 123 h 409"/>
                <a:gd name="T50" fmla="*/ 177 w 380"/>
                <a:gd name="T51" fmla="*/ 135 h 409"/>
                <a:gd name="T52" fmla="*/ 156 w 380"/>
                <a:gd name="T53" fmla="*/ 123 h 409"/>
                <a:gd name="T54" fmla="*/ 104 w 380"/>
                <a:gd name="T55" fmla="*/ 175 h 409"/>
                <a:gd name="T56" fmla="*/ 156 w 380"/>
                <a:gd name="T57" fmla="*/ 251 h 409"/>
                <a:gd name="T58" fmla="*/ 0 w 380"/>
                <a:gd name="T59" fmla="*/ 380 h 409"/>
                <a:gd name="T60" fmla="*/ 317 w 380"/>
                <a:gd name="T61" fmla="*/ 315 h 409"/>
                <a:gd name="T62" fmla="*/ 322 w 380"/>
                <a:gd name="T6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0" h="409">
                  <a:moveTo>
                    <a:pt x="162" y="221"/>
                  </a:moveTo>
                  <a:cubicBezTo>
                    <a:pt x="162" y="218"/>
                    <a:pt x="162" y="218"/>
                    <a:pt x="162" y="218"/>
                  </a:cubicBezTo>
                  <a:cubicBezTo>
                    <a:pt x="205" y="218"/>
                    <a:pt x="205" y="218"/>
                    <a:pt x="205" y="218"/>
                  </a:cubicBezTo>
                  <a:cubicBezTo>
                    <a:pt x="205" y="221"/>
                    <a:pt x="205" y="221"/>
                    <a:pt x="205" y="221"/>
                  </a:cubicBezTo>
                  <a:cubicBezTo>
                    <a:pt x="162" y="221"/>
                    <a:pt x="162" y="221"/>
                    <a:pt x="162" y="221"/>
                  </a:cubicBezTo>
                  <a:moveTo>
                    <a:pt x="142" y="180"/>
                  </a:moveTo>
                  <a:cubicBezTo>
                    <a:pt x="137" y="177"/>
                    <a:pt x="131" y="174"/>
                    <a:pt x="125" y="172"/>
                  </a:cubicBezTo>
                  <a:cubicBezTo>
                    <a:pt x="128" y="161"/>
                    <a:pt x="128" y="161"/>
                    <a:pt x="128" y="161"/>
                  </a:cubicBezTo>
                  <a:cubicBezTo>
                    <a:pt x="131" y="147"/>
                    <a:pt x="147" y="142"/>
                    <a:pt x="159" y="140"/>
                  </a:cubicBezTo>
                  <a:cubicBezTo>
                    <a:pt x="171" y="166"/>
                    <a:pt x="171" y="166"/>
                    <a:pt x="171" y="166"/>
                  </a:cubicBezTo>
                  <a:cubicBezTo>
                    <a:pt x="172" y="150"/>
                    <a:pt x="172" y="150"/>
                    <a:pt x="172" y="150"/>
                  </a:cubicBezTo>
                  <a:cubicBezTo>
                    <a:pt x="172" y="150"/>
                    <a:pt x="171" y="144"/>
                    <a:pt x="171" y="143"/>
                  </a:cubicBezTo>
                  <a:cubicBezTo>
                    <a:pt x="171" y="142"/>
                    <a:pt x="172" y="142"/>
                    <a:pt x="172" y="142"/>
                  </a:cubicBezTo>
                  <a:cubicBezTo>
                    <a:pt x="172" y="142"/>
                    <a:pt x="172" y="142"/>
                    <a:pt x="172" y="142"/>
                  </a:cubicBezTo>
                  <a:cubicBezTo>
                    <a:pt x="174" y="142"/>
                    <a:pt x="175" y="142"/>
                    <a:pt x="177" y="142"/>
                  </a:cubicBezTo>
                  <a:cubicBezTo>
                    <a:pt x="179" y="142"/>
                    <a:pt x="180" y="142"/>
                    <a:pt x="182" y="142"/>
                  </a:cubicBezTo>
                  <a:cubicBezTo>
                    <a:pt x="182" y="142"/>
                    <a:pt x="182" y="142"/>
                    <a:pt x="182" y="142"/>
                  </a:cubicBezTo>
                  <a:cubicBezTo>
                    <a:pt x="182" y="142"/>
                    <a:pt x="183" y="142"/>
                    <a:pt x="183" y="143"/>
                  </a:cubicBezTo>
                  <a:cubicBezTo>
                    <a:pt x="183" y="144"/>
                    <a:pt x="182" y="150"/>
                    <a:pt x="182" y="150"/>
                  </a:cubicBezTo>
                  <a:cubicBezTo>
                    <a:pt x="183" y="166"/>
                    <a:pt x="183" y="166"/>
                    <a:pt x="183" y="166"/>
                  </a:cubicBezTo>
                  <a:cubicBezTo>
                    <a:pt x="195" y="140"/>
                    <a:pt x="195" y="140"/>
                    <a:pt x="195" y="140"/>
                  </a:cubicBezTo>
                  <a:cubicBezTo>
                    <a:pt x="207" y="142"/>
                    <a:pt x="224" y="148"/>
                    <a:pt x="226" y="162"/>
                  </a:cubicBezTo>
                  <a:cubicBezTo>
                    <a:pt x="238" y="202"/>
                    <a:pt x="238" y="202"/>
                    <a:pt x="238" y="202"/>
                  </a:cubicBezTo>
                  <a:cubicBezTo>
                    <a:pt x="239" y="207"/>
                    <a:pt x="239" y="215"/>
                    <a:pt x="236" y="219"/>
                  </a:cubicBezTo>
                  <a:cubicBezTo>
                    <a:pt x="235" y="221"/>
                    <a:pt x="232" y="223"/>
                    <a:pt x="229" y="224"/>
                  </a:cubicBezTo>
                  <a:cubicBezTo>
                    <a:pt x="257" y="224"/>
                    <a:pt x="257" y="224"/>
                    <a:pt x="257" y="224"/>
                  </a:cubicBezTo>
                  <a:cubicBezTo>
                    <a:pt x="257" y="239"/>
                    <a:pt x="257" y="239"/>
                    <a:pt x="257" y="239"/>
                  </a:cubicBezTo>
                  <a:cubicBezTo>
                    <a:pt x="163" y="239"/>
                    <a:pt x="163" y="239"/>
                    <a:pt x="163" y="239"/>
                  </a:cubicBezTo>
                  <a:cubicBezTo>
                    <a:pt x="162" y="224"/>
                    <a:pt x="162" y="224"/>
                    <a:pt x="162" y="224"/>
                  </a:cubicBezTo>
                  <a:cubicBezTo>
                    <a:pt x="212" y="224"/>
                    <a:pt x="212" y="224"/>
                    <a:pt x="212" y="224"/>
                  </a:cubicBezTo>
                  <a:cubicBezTo>
                    <a:pt x="212" y="175"/>
                    <a:pt x="212" y="175"/>
                    <a:pt x="212" y="175"/>
                  </a:cubicBezTo>
                  <a:cubicBezTo>
                    <a:pt x="212" y="174"/>
                    <a:pt x="212" y="174"/>
                    <a:pt x="211" y="174"/>
                  </a:cubicBezTo>
                  <a:cubicBezTo>
                    <a:pt x="143" y="174"/>
                    <a:pt x="143" y="174"/>
                    <a:pt x="143" y="174"/>
                  </a:cubicBezTo>
                  <a:cubicBezTo>
                    <a:pt x="142" y="174"/>
                    <a:pt x="142" y="174"/>
                    <a:pt x="142" y="175"/>
                  </a:cubicBezTo>
                  <a:cubicBezTo>
                    <a:pt x="142" y="180"/>
                    <a:pt x="142" y="180"/>
                    <a:pt x="142" y="180"/>
                  </a:cubicBezTo>
                  <a:moveTo>
                    <a:pt x="216" y="133"/>
                  </a:moveTo>
                  <a:cubicBezTo>
                    <a:pt x="221" y="121"/>
                    <a:pt x="206" y="109"/>
                    <a:pt x="210" y="86"/>
                  </a:cubicBezTo>
                  <a:cubicBezTo>
                    <a:pt x="213" y="65"/>
                    <a:pt x="233" y="47"/>
                    <a:pt x="261" y="47"/>
                  </a:cubicBezTo>
                  <a:cubicBezTo>
                    <a:pt x="289" y="47"/>
                    <a:pt x="312" y="65"/>
                    <a:pt x="312" y="86"/>
                  </a:cubicBezTo>
                  <a:cubicBezTo>
                    <a:pt x="312" y="99"/>
                    <a:pt x="304" y="111"/>
                    <a:pt x="292" y="118"/>
                  </a:cubicBezTo>
                  <a:cubicBezTo>
                    <a:pt x="283" y="123"/>
                    <a:pt x="272" y="126"/>
                    <a:pt x="261" y="126"/>
                  </a:cubicBezTo>
                  <a:cubicBezTo>
                    <a:pt x="258" y="126"/>
                    <a:pt x="255" y="126"/>
                    <a:pt x="252" y="125"/>
                  </a:cubicBezTo>
                  <a:cubicBezTo>
                    <a:pt x="249" y="125"/>
                    <a:pt x="245" y="124"/>
                    <a:pt x="241" y="123"/>
                  </a:cubicBezTo>
                  <a:cubicBezTo>
                    <a:pt x="216" y="133"/>
                    <a:pt x="216" y="133"/>
                    <a:pt x="216" y="133"/>
                  </a:cubicBezTo>
                  <a:moveTo>
                    <a:pt x="322" y="0"/>
                  </a:moveTo>
                  <a:cubicBezTo>
                    <a:pt x="291" y="15"/>
                    <a:pt x="260" y="33"/>
                    <a:pt x="230" y="54"/>
                  </a:cubicBezTo>
                  <a:cubicBezTo>
                    <a:pt x="218" y="63"/>
                    <a:pt x="206" y="72"/>
                    <a:pt x="195" y="81"/>
                  </a:cubicBezTo>
                  <a:cubicBezTo>
                    <a:pt x="195" y="81"/>
                    <a:pt x="195" y="81"/>
                    <a:pt x="195" y="81"/>
                  </a:cubicBezTo>
                  <a:cubicBezTo>
                    <a:pt x="199" y="84"/>
                    <a:pt x="202" y="89"/>
                    <a:pt x="202" y="95"/>
                  </a:cubicBezTo>
                  <a:cubicBezTo>
                    <a:pt x="203" y="101"/>
                    <a:pt x="201" y="117"/>
                    <a:pt x="198" y="123"/>
                  </a:cubicBezTo>
                  <a:cubicBezTo>
                    <a:pt x="195" y="128"/>
                    <a:pt x="188" y="133"/>
                    <a:pt x="181" y="135"/>
                  </a:cubicBezTo>
                  <a:cubicBezTo>
                    <a:pt x="179" y="135"/>
                    <a:pt x="178" y="135"/>
                    <a:pt x="177" y="135"/>
                  </a:cubicBezTo>
                  <a:cubicBezTo>
                    <a:pt x="176" y="135"/>
                    <a:pt x="175" y="135"/>
                    <a:pt x="173" y="135"/>
                  </a:cubicBezTo>
                  <a:cubicBezTo>
                    <a:pt x="166" y="133"/>
                    <a:pt x="159" y="128"/>
                    <a:pt x="156" y="123"/>
                  </a:cubicBezTo>
                  <a:cubicBezTo>
                    <a:pt x="155" y="121"/>
                    <a:pt x="155" y="120"/>
                    <a:pt x="154" y="118"/>
                  </a:cubicBezTo>
                  <a:cubicBezTo>
                    <a:pt x="136" y="136"/>
                    <a:pt x="119" y="155"/>
                    <a:pt x="104" y="175"/>
                  </a:cubicBezTo>
                  <a:cubicBezTo>
                    <a:pt x="130" y="178"/>
                    <a:pt x="154" y="190"/>
                    <a:pt x="155" y="211"/>
                  </a:cubicBezTo>
                  <a:cubicBezTo>
                    <a:pt x="156" y="251"/>
                    <a:pt x="156" y="251"/>
                    <a:pt x="156" y="251"/>
                  </a:cubicBezTo>
                  <a:cubicBezTo>
                    <a:pt x="54" y="251"/>
                    <a:pt x="54" y="251"/>
                    <a:pt x="54" y="251"/>
                  </a:cubicBezTo>
                  <a:cubicBezTo>
                    <a:pt x="31" y="292"/>
                    <a:pt x="13" y="335"/>
                    <a:pt x="0" y="380"/>
                  </a:cubicBezTo>
                  <a:cubicBezTo>
                    <a:pt x="37" y="399"/>
                    <a:pt x="78" y="409"/>
                    <a:pt x="119" y="409"/>
                  </a:cubicBezTo>
                  <a:cubicBezTo>
                    <a:pt x="197" y="409"/>
                    <a:pt x="269" y="375"/>
                    <a:pt x="317" y="315"/>
                  </a:cubicBezTo>
                  <a:cubicBezTo>
                    <a:pt x="360" y="262"/>
                    <a:pt x="380" y="196"/>
                    <a:pt x="373" y="128"/>
                  </a:cubicBezTo>
                  <a:cubicBezTo>
                    <a:pt x="368" y="81"/>
                    <a:pt x="351" y="37"/>
                    <a:pt x="322"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6" name="Freeform 21502">
              <a:extLst>
                <a:ext uri="{FF2B5EF4-FFF2-40B4-BE49-F238E27FC236}">
                  <a16:creationId xmlns:a16="http://schemas.microsoft.com/office/drawing/2014/main" id="{1745726A-2D98-4AA4-802F-77A465CEF6E3}"/>
                </a:ext>
              </a:extLst>
            </p:cNvPr>
            <p:cNvSpPr>
              <a:spLocks/>
            </p:cNvSpPr>
            <p:nvPr userDrawn="1"/>
          </p:nvSpPr>
          <p:spPr bwMode="auto">
            <a:xfrm>
              <a:off x="7884478" y="4563428"/>
              <a:ext cx="349250" cy="633413"/>
            </a:xfrm>
            <a:custGeom>
              <a:avLst/>
              <a:gdLst>
                <a:gd name="T0" fmla="*/ 0 w 173"/>
                <a:gd name="T1" fmla="*/ 0 h 314"/>
                <a:gd name="T2" fmla="*/ 134 w 173"/>
                <a:gd name="T3" fmla="*/ 306 h 314"/>
                <a:gd name="T4" fmla="*/ 134 w 173"/>
                <a:gd name="T5" fmla="*/ 306 h 314"/>
                <a:gd name="T6" fmla="*/ 136 w 173"/>
                <a:gd name="T7" fmla="*/ 308 h 314"/>
                <a:gd name="T8" fmla="*/ 137 w 173"/>
                <a:gd name="T9" fmla="*/ 309 h 314"/>
                <a:gd name="T10" fmla="*/ 138 w 173"/>
                <a:gd name="T11" fmla="*/ 311 h 314"/>
                <a:gd name="T12" fmla="*/ 139 w 173"/>
                <a:gd name="T13" fmla="*/ 311 h 314"/>
                <a:gd name="T14" fmla="*/ 141 w 173"/>
                <a:gd name="T15" fmla="*/ 314 h 314"/>
                <a:gd name="T16" fmla="*/ 168 w 173"/>
                <a:gd name="T17" fmla="*/ 186 h 314"/>
                <a:gd name="T18" fmla="*/ 91 w 173"/>
                <a:gd name="T19" fmla="*/ 43 h 314"/>
                <a:gd name="T20" fmla="*/ 0 w 173"/>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14">
                  <a:moveTo>
                    <a:pt x="0" y="0"/>
                  </a:moveTo>
                  <a:cubicBezTo>
                    <a:pt x="15" y="109"/>
                    <a:pt x="59" y="215"/>
                    <a:pt x="134" y="306"/>
                  </a:cubicBezTo>
                  <a:cubicBezTo>
                    <a:pt x="134" y="306"/>
                    <a:pt x="134" y="306"/>
                    <a:pt x="134" y="306"/>
                  </a:cubicBezTo>
                  <a:cubicBezTo>
                    <a:pt x="135" y="307"/>
                    <a:pt x="135" y="307"/>
                    <a:pt x="136" y="308"/>
                  </a:cubicBezTo>
                  <a:cubicBezTo>
                    <a:pt x="136" y="308"/>
                    <a:pt x="137" y="309"/>
                    <a:pt x="137" y="309"/>
                  </a:cubicBezTo>
                  <a:cubicBezTo>
                    <a:pt x="137" y="310"/>
                    <a:pt x="138" y="310"/>
                    <a:pt x="138" y="311"/>
                  </a:cubicBezTo>
                  <a:cubicBezTo>
                    <a:pt x="138" y="311"/>
                    <a:pt x="139" y="311"/>
                    <a:pt x="139" y="311"/>
                  </a:cubicBezTo>
                  <a:cubicBezTo>
                    <a:pt x="139" y="312"/>
                    <a:pt x="140" y="313"/>
                    <a:pt x="141" y="314"/>
                  </a:cubicBezTo>
                  <a:cubicBezTo>
                    <a:pt x="163" y="276"/>
                    <a:pt x="173" y="231"/>
                    <a:pt x="168" y="186"/>
                  </a:cubicBezTo>
                  <a:cubicBezTo>
                    <a:pt x="163" y="129"/>
                    <a:pt x="135" y="78"/>
                    <a:pt x="91" y="43"/>
                  </a:cubicBezTo>
                  <a:cubicBezTo>
                    <a:pt x="65" y="21"/>
                    <a:pt x="33" y="7"/>
                    <a:pt x="0" y="0"/>
                  </a:cubicBezTo>
                </a:path>
              </a:pathLst>
            </a:custGeom>
            <a:solidFill>
              <a:srgbClr val="52C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7" name="Freeform 21503">
              <a:extLst>
                <a:ext uri="{FF2B5EF4-FFF2-40B4-BE49-F238E27FC236}">
                  <a16:creationId xmlns:a16="http://schemas.microsoft.com/office/drawing/2014/main" id="{383E0F2F-D90F-497E-BC4C-EC51BD636BDF}"/>
                </a:ext>
              </a:extLst>
            </p:cNvPr>
            <p:cNvSpPr>
              <a:spLocks/>
            </p:cNvSpPr>
            <p:nvPr userDrawn="1"/>
          </p:nvSpPr>
          <p:spPr bwMode="auto">
            <a:xfrm>
              <a:off x="9843453" y="4309428"/>
              <a:ext cx="465138" cy="858838"/>
            </a:xfrm>
            <a:custGeom>
              <a:avLst/>
              <a:gdLst>
                <a:gd name="T0" fmla="*/ 218 w 230"/>
                <a:gd name="T1" fmla="*/ 0 h 426"/>
                <a:gd name="T2" fmla="*/ 82 w 230"/>
                <a:gd name="T3" fmla="*/ 87 h 426"/>
                <a:gd name="T4" fmla="*/ 98 w 230"/>
                <a:gd name="T5" fmla="*/ 426 h 426"/>
                <a:gd name="T6" fmla="*/ 212 w 230"/>
                <a:gd name="T7" fmla="*/ 200 h 426"/>
                <a:gd name="T8" fmla="*/ 230 w 230"/>
                <a:gd name="T9" fmla="*/ 96 h 426"/>
                <a:gd name="T10" fmla="*/ 228 w 230"/>
                <a:gd name="T11" fmla="*/ 65 h 426"/>
                <a:gd name="T12" fmla="*/ 219 w 230"/>
                <a:gd name="T13" fmla="*/ 8 h 426"/>
                <a:gd name="T14" fmla="*/ 218 w 230"/>
                <a:gd name="T15" fmla="*/ 0 h 4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426">
                  <a:moveTo>
                    <a:pt x="218" y="0"/>
                  </a:moveTo>
                  <a:cubicBezTo>
                    <a:pt x="165" y="13"/>
                    <a:pt x="117" y="43"/>
                    <a:pt x="82" y="87"/>
                  </a:cubicBezTo>
                  <a:cubicBezTo>
                    <a:pt x="0" y="188"/>
                    <a:pt x="8" y="335"/>
                    <a:pt x="98" y="426"/>
                  </a:cubicBezTo>
                  <a:cubicBezTo>
                    <a:pt x="151" y="360"/>
                    <a:pt x="190" y="284"/>
                    <a:pt x="212" y="200"/>
                  </a:cubicBezTo>
                  <a:cubicBezTo>
                    <a:pt x="221" y="166"/>
                    <a:pt x="227" y="131"/>
                    <a:pt x="230" y="96"/>
                  </a:cubicBezTo>
                  <a:cubicBezTo>
                    <a:pt x="230" y="86"/>
                    <a:pt x="229" y="76"/>
                    <a:pt x="228" y="65"/>
                  </a:cubicBezTo>
                  <a:cubicBezTo>
                    <a:pt x="226" y="46"/>
                    <a:pt x="223" y="27"/>
                    <a:pt x="219" y="8"/>
                  </a:cubicBezTo>
                  <a:cubicBezTo>
                    <a:pt x="219" y="5"/>
                    <a:pt x="218" y="3"/>
                    <a:pt x="218" y="0"/>
                  </a:cubicBezTo>
                </a:path>
              </a:pathLst>
            </a:custGeom>
            <a:solidFill>
              <a:srgbClr val="50B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8" name="Freeform 21504">
              <a:extLst>
                <a:ext uri="{FF2B5EF4-FFF2-40B4-BE49-F238E27FC236}">
                  <a16:creationId xmlns:a16="http://schemas.microsoft.com/office/drawing/2014/main" id="{A62D834A-6A26-48A3-9162-D19A54648C22}"/>
                </a:ext>
              </a:extLst>
            </p:cNvPr>
            <p:cNvSpPr>
              <a:spLocks noEditPoints="1"/>
            </p:cNvSpPr>
            <p:nvPr userDrawn="1"/>
          </p:nvSpPr>
          <p:spPr bwMode="auto">
            <a:xfrm>
              <a:off x="9624378" y="3607753"/>
              <a:ext cx="612775" cy="657225"/>
            </a:xfrm>
            <a:custGeom>
              <a:avLst/>
              <a:gdLst>
                <a:gd name="T0" fmla="*/ 268 w 303"/>
                <a:gd name="T1" fmla="*/ 237 h 326"/>
                <a:gd name="T2" fmla="*/ 285 w 303"/>
                <a:gd name="T3" fmla="*/ 300 h 326"/>
                <a:gd name="T4" fmla="*/ 286 w 303"/>
                <a:gd name="T5" fmla="*/ 263 h 326"/>
                <a:gd name="T6" fmla="*/ 303 w 303"/>
                <a:gd name="T7" fmla="*/ 267 h 326"/>
                <a:gd name="T8" fmla="*/ 59 w 303"/>
                <a:gd name="T9" fmla="*/ 0 h 326"/>
                <a:gd name="T10" fmla="*/ 57 w 303"/>
                <a:gd name="T11" fmla="*/ 17 h 326"/>
                <a:gd name="T12" fmla="*/ 57 w 303"/>
                <a:gd name="T13" fmla="*/ 41 h 326"/>
                <a:gd name="T14" fmla="*/ 34 w 303"/>
                <a:gd name="T15" fmla="*/ 36 h 326"/>
                <a:gd name="T16" fmla="*/ 30 w 303"/>
                <a:gd name="T17" fmla="*/ 57 h 326"/>
                <a:gd name="T18" fmla="*/ 25 w 303"/>
                <a:gd name="T19" fmla="*/ 80 h 326"/>
                <a:gd name="T20" fmla="*/ 17 w 303"/>
                <a:gd name="T21" fmla="*/ 79 h 326"/>
                <a:gd name="T22" fmla="*/ 15 w 303"/>
                <a:gd name="T23" fmla="*/ 101 h 326"/>
                <a:gd name="T24" fmla="*/ 12 w 303"/>
                <a:gd name="T25" fmla="*/ 125 h 326"/>
                <a:gd name="T26" fmla="*/ 12 w 303"/>
                <a:gd name="T27" fmla="*/ 147 h 326"/>
                <a:gd name="T28" fmla="*/ 15 w 303"/>
                <a:gd name="T29" fmla="*/ 172 h 326"/>
                <a:gd name="T30" fmla="*/ 17 w 303"/>
                <a:gd name="T31" fmla="*/ 193 h 326"/>
                <a:gd name="T32" fmla="*/ 27 w 303"/>
                <a:gd name="T33" fmla="*/ 193 h 326"/>
                <a:gd name="T34" fmla="*/ 30 w 303"/>
                <a:gd name="T35" fmla="*/ 216 h 326"/>
                <a:gd name="T36" fmla="*/ 34 w 303"/>
                <a:gd name="T37" fmla="*/ 237 h 326"/>
                <a:gd name="T38" fmla="*/ 58 w 303"/>
                <a:gd name="T39" fmla="*/ 231 h 326"/>
                <a:gd name="T40" fmla="*/ 56 w 303"/>
                <a:gd name="T41" fmla="*/ 255 h 326"/>
                <a:gd name="T42" fmla="*/ 63 w 303"/>
                <a:gd name="T43" fmla="*/ 274 h 326"/>
                <a:gd name="T44" fmla="*/ 91 w 303"/>
                <a:gd name="T45" fmla="*/ 261 h 326"/>
                <a:gd name="T46" fmla="*/ 91 w 303"/>
                <a:gd name="T47" fmla="*/ 285 h 326"/>
                <a:gd name="T48" fmla="*/ 101 w 303"/>
                <a:gd name="T49" fmla="*/ 302 h 326"/>
                <a:gd name="T50" fmla="*/ 128 w 303"/>
                <a:gd name="T51" fmla="*/ 283 h 326"/>
                <a:gd name="T52" fmla="*/ 141 w 303"/>
                <a:gd name="T53" fmla="*/ 319 h 326"/>
                <a:gd name="T54" fmla="*/ 154 w 303"/>
                <a:gd name="T55" fmla="*/ 311 h 326"/>
                <a:gd name="T56" fmla="*/ 179 w 303"/>
                <a:gd name="T57" fmla="*/ 315 h 326"/>
                <a:gd name="T58" fmla="*/ 190 w 303"/>
                <a:gd name="T59" fmla="*/ 325 h 326"/>
                <a:gd name="T60" fmla="*/ 191 w 303"/>
                <a:gd name="T61" fmla="*/ 325 h 326"/>
                <a:gd name="T62" fmla="*/ 209 w 303"/>
                <a:gd name="T63" fmla="*/ 294 h 326"/>
                <a:gd name="T64" fmla="*/ 226 w 303"/>
                <a:gd name="T65" fmla="*/ 312 h 326"/>
                <a:gd name="T66" fmla="*/ 239 w 303"/>
                <a:gd name="T67" fmla="*/ 319 h 326"/>
                <a:gd name="T68" fmla="*/ 250 w 303"/>
                <a:gd name="T69" fmla="*/ 284 h 326"/>
                <a:gd name="T70" fmla="*/ 241 w 303"/>
                <a:gd name="T71" fmla="*/ 254 h 326"/>
                <a:gd name="T72" fmla="*/ 120 w 303"/>
                <a:gd name="T73" fmla="*/ 249 h 326"/>
                <a:gd name="T74" fmla="*/ 101 w 303"/>
                <a:gd name="T75" fmla="*/ 3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3" h="326">
                  <a:moveTo>
                    <a:pt x="284" y="221"/>
                  </a:moveTo>
                  <a:cubicBezTo>
                    <a:pt x="279" y="227"/>
                    <a:pt x="274" y="232"/>
                    <a:pt x="268" y="237"/>
                  </a:cubicBezTo>
                  <a:cubicBezTo>
                    <a:pt x="274" y="258"/>
                    <a:pt x="278" y="280"/>
                    <a:pt x="281" y="302"/>
                  </a:cubicBezTo>
                  <a:cubicBezTo>
                    <a:pt x="282" y="302"/>
                    <a:pt x="283" y="301"/>
                    <a:pt x="285" y="300"/>
                  </a:cubicBezTo>
                  <a:cubicBezTo>
                    <a:pt x="288" y="298"/>
                    <a:pt x="293" y="296"/>
                    <a:pt x="289" y="285"/>
                  </a:cubicBezTo>
                  <a:cubicBezTo>
                    <a:pt x="286" y="278"/>
                    <a:pt x="284" y="268"/>
                    <a:pt x="286" y="263"/>
                  </a:cubicBezTo>
                  <a:cubicBezTo>
                    <a:pt x="286" y="263"/>
                    <a:pt x="287" y="263"/>
                    <a:pt x="289" y="263"/>
                  </a:cubicBezTo>
                  <a:cubicBezTo>
                    <a:pt x="292" y="263"/>
                    <a:pt x="298" y="265"/>
                    <a:pt x="303" y="267"/>
                  </a:cubicBezTo>
                  <a:cubicBezTo>
                    <a:pt x="297" y="252"/>
                    <a:pt x="291" y="236"/>
                    <a:pt x="284" y="221"/>
                  </a:cubicBezTo>
                  <a:moveTo>
                    <a:pt x="59" y="0"/>
                  </a:moveTo>
                  <a:cubicBezTo>
                    <a:pt x="58" y="1"/>
                    <a:pt x="58" y="1"/>
                    <a:pt x="58" y="2"/>
                  </a:cubicBezTo>
                  <a:cubicBezTo>
                    <a:pt x="54" y="5"/>
                    <a:pt x="50" y="8"/>
                    <a:pt x="57" y="17"/>
                  </a:cubicBezTo>
                  <a:cubicBezTo>
                    <a:pt x="62" y="24"/>
                    <a:pt x="66" y="34"/>
                    <a:pt x="64" y="39"/>
                  </a:cubicBezTo>
                  <a:cubicBezTo>
                    <a:pt x="63" y="40"/>
                    <a:pt x="60" y="41"/>
                    <a:pt x="57" y="41"/>
                  </a:cubicBezTo>
                  <a:cubicBezTo>
                    <a:pt x="53" y="41"/>
                    <a:pt x="46" y="39"/>
                    <a:pt x="41" y="37"/>
                  </a:cubicBezTo>
                  <a:cubicBezTo>
                    <a:pt x="38" y="36"/>
                    <a:pt x="36" y="36"/>
                    <a:pt x="34" y="36"/>
                  </a:cubicBezTo>
                  <a:cubicBezTo>
                    <a:pt x="29" y="36"/>
                    <a:pt x="28" y="39"/>
                    <a:pt x="27" y="42"/>
                  </a:cubicBezTo>
                  <a:cubicBezTo>
                    <a:pt x="24" y="46"/>
                    <a:pt x="21" y="50"/>
                    <a:pt x="30" y="57"/>
                  </a:cubicBezTo>
                  <a:cubicBezTo>
                    <a:pt x="37" y="62"/>
                    <a:pt x="43" y="69"/>
                    <a:pt x="44" y="74"/>
                  </a:cubicBezTo>
                  <a:cubicBezTo>
                    <a:pt x="42" y="78"/>
                    <a:pt x="33" y="80"/>
                    <a:pt x="25" y="80"/>
                  </a:cubicBezTo>
                  <a:cubicBezTo>
                    <a:pt x="24" y="80"/>
                    <a:pt x="22" y="79"/>
                    <a:pt x="20" y="79"/>
                  </a:cubicBezTo>
                  <a:cubicBezTo>
                    <a:pt x="19" y="79"/>
                    <a:pt x="18" y="79"/>
                    <a:pt x="17" y="79"/>
                  </a:cubicBezTo>
                  <a:cubicBezTo>
                    <a:pt x="9" y="79"/>
                    <a:pt x="8" y="84"/>
                    <a:pt x="8" y="87"/>
                  </a:cubicBezTo>
                  <a:cubicBezTo>
                    <a:pt x="6" y="92"/>
                    <a:pt x="5" y="96"/>
                    <a:pt x="15" y="101"/>
                  </a:cubicBezTo>
                  <a:cubicBezTo>
                    <a:pt x="23" y="104"/>
                    <a:pt x="31" y="110"/>
                    <a:pt x="33" y="114"/>
                  </a:cubicBezTo>
                  <a:cubicBezTo>
                    <a:pt x="32" y="119"/>
                    <a:pt x="21" y="124"/>
                    <a:pt x="12" y="125"/>
                  </a:cubicBezTo>
                  <a:cubicBezTo>
                    <a:pt x="0" y="127"/>
                    <a:pt x="1" y="132"/>
                    <a:pt x="1" y="136"/>
                  </a:cubicBezTo>
                  <a:cubicBezTo>
                    <a:pt x="1" y="141"/>
                    <a:pt x="0" y="146"/>
                    <a:pt x="12" y="147"/>
                  </a:cubicBezTo>
                  <a:cubicBezTo>
                    <a:pt x="20" y="148"/>
                    <a:pt x="29" y="152"/>
                    <a:pt x="32" y="155"/>
                  </a:cubicBezTo>
                  <a:cubicBezTo>
                    <a:pt x="33" y="160"/>
                    <a:pt x="23" y="168"/>
                    <a:pt x="15" y="172"/>
                  </a:cubicBezTo>
                  <a:cubicBezTo>
                    <a:pt x="4" y="176"/>
                    <a:pt x="6" y="181"/>
                    <a:pt x="7" y="185"/>
                  </a:cubicBezTo>
                  <a:cubicBezTo>
                    <a:pt x="8" y="189"/>
                    <a:pt x="9" y="193"/>
                    <a:pt x="17" y="193"/>
                  </a:cubicBezTo>
                  <a:cubicBezTo>
                    <a:pt x="18" y="193"/>
                    <a:pt x="19" y="193"/>
                    <a:pt x="21" y="193"/>
                  </a:cubicBezTo>
                  <a:cubicBezTo>
                    <a:pt x="23" y="193"/>
                    <a:pt x="25" y="193"/>
                    <a:pt x="27" y="193"/>
                  </a:cubicBezTo>
                  <a:cubicBezTo>
                    <a:pt x="34" y="193"/>
                    <a:pt x="40" y="194"/>
                    <a:pt x="43" y="196"/>
                  </a:cubicBezTo>
                  <a:cubicBezTo>
                    <a:pt x="44" y="200"/>
                    <a:pt x="37" y="210"/>
                    <a:pt x="30" y="216"/>
                  </a:cubicBezTo>
                  <a:cubicBezTo>
                    <a:pt x="21" y="223"/>
                    <a:pt x="24" y="227"/>
                    <a:pt x="26" y="231"/>
                  </a:cubicBezTo>
                  <a:cubicBezTo>
                    <a:pt x="28" y="233"/>
                    <a:pt x="29" y="237"/>
                    <a:pt x="34" y="237"/>
                  </a:cubicBezTo>
                  <a:cubicBezTo>
                    <a:pt x="36" y="237"/>
                    <a:pt x="38" y="236"/>
                    <a:pt x="41" y="235"/>
                  </a:cubicBezTo>
                  <a:cubicBezTo>
                    <a:pt x="47" y="233"/>
                    <a:pt x="53" y="231"/>
                    <a:pt x="58" y="231"/>
                  </a:cubicBezTo>
                  <a:cubicBezTo>
                    <a:pt x="60" y="231"/>
                    <a:pt x="62" y="231"/>
                    <a:pt x="63" y="232"/>
                  </a:cubicBezTo>
                  <a:cubicBezTo>
                    <a:pt x="66" y="236"/>
                    <a:pt x="61" y="247"/>
                    <a:pt x="56" y="255"/>
                  </a:cubicBezTo>
                  <a:cubicBezTo>
                    <a:pt x="49" y="264"/>
                    <a:pt x="53" y="267"/>
                    <a:pt x="56" y="270"/>
                  </a:cubicBezTo>
                  <a:cubicBezTo>
                    <a:pt x="58" y="272"/>
                    <a:pt x="60" y="274"/>
                    <a:pt x="63" y="274"/>
                  </a:cubicBezTo>
                  <a:cubicBezTo>
                    <a:pt x="65" y="274"/>
                    <a:pt x="68" y="273"/>
                    <a:pt x="72" y="270"/>
                  </a:cubicBezTo>
                  <a:cubicBezTo>
                    <a:pt x="78" y="265"/>
                    <a:pt x="86" y="261"/>
                    <a:pt x="91" y="261"/>
                  </a:cubicBezTo>
                  <a:cubicBezTo>
                    <a:pt x="92" y="261"/>
                    <a:pt x="92" y="261"/>
                    <a:pt x="92" y="261"/>
                  </a:cubicBezTo>
                  <a:cubicBezTo>
                    <a:pt x="96" y="265"/>
                    <a:pt x="94" y="276"/>
                    <a:pt x="91" y="285"/>
                  </a:cubicBezTo>
                  <a:cubicBezTo>
                    <a:pt x="87" y="296"/>
                    <a:pt x="92" y="298"/>
                    <a:pt x="95" y="300"/>
                  </a:cubicBezTo>
                  <a:cubicBezTo>
                    <a:pt x="97" y="301"/>
                    <a:pt x="99" y="302"/>
                    <a:pt x="101" y="302"/>
                  </a:cubicBezTo>
                  <a:cubicBezTo>
                    <a:pt x="104" y="302"/>
                    <a:pt x="107" y="301"/>
                    <a:pt x="110" y="296"/>
                  </a:cubicBezTo>
                  <a:cubicBezTo>
                    <a:pt x="115" y="290"/>
                    <a:pt x="123" y="283"/>
                    <a:pt x="128" y="283"/>
                  </a:cubicBezTo>
                  <a:cubicBezTo>
                    <a:pt x="132" y="285"/>
                    <a:pt x="134" y="297"/>
                    <a:pt x="133" y="306"/>
                  </a:cubicBezTo>
                  <a:cubicBezTo>
                    <a:pt x="132" y="317"/>
                    <a:pt x="137" y="318"/>
                    <a:pt x="141" y="319"/>
                  </a:cubicBezTo>
                  <a:cubicBezTo>
                    <a:pt x="143" y="319"/>
                    <a:pt x="144" y="320"/>
                    <a:pt x="146" y="320"/>
                  </a:cubicBezTo>
                  <a:cubicBezTo>
                    <a:pt x="149" y="320"/>
                    <a:pt x="152" y="318"/>
                    <a:pt x="154" y="311"/>
                  </a:cubicBezTo>
                  <a:cubicBezTo>
                    <a:pt x="158" y="304"/>
                    <a:pt x="163" y="296"/>
                    <a:pt x="168" y="294"/>
                  </a:cubicBezTo>
                  <a:cubicBezTo>
                    <a:pt x="172" y="295"/>
                    <a:pt x="177" y="306"/>
                    <a:pt x="179" y="315"/>
                  </a:cubicBezTo>
                  <a:cubicBezTo>
                    <a:pt x="180" y="325"/>
                    <a:pt x="184" y="326"/>
                    <a:pt x="188" y="326"/>
                  </a:cubicBezTo>
                  <a:cubicBezTo>
                    <a:pt x="189" y="326"/>
                    <a:pt x="189" y="325"/>
                    <a:pt x="190" y="325"/>
                  </a:cubicBezTo>
                  <a:cubicBezTo>
                    <a:pt x="190" y="325"/>
                    <a:pt x="190" y="325"/>
                    <a:pt x="191" y="325"/>
                  </a:cubicBezTo>
                  <a:cubicBezTo>
                    <a:pt x="191" y="325"/>
                    <a:pt x="191" y="325"/>
                    <a:pt x="191" y="325"/>
                  </a:cubicBezTo>
                  <a:cubicBezTo>
                    <a:pt x="195" y="325"/>
                    <a:pt x="200" y="325"/>
                    <a:pt x="201" y="315"/>
                  </a:cubicBezTo>
                  <a:cubicBezTo>
                    <a:pt x="202" y="307"/>
                    <a:pt x="205" y="297"/>
                    <a:pt x="209" y="294"/>
                  </a:cubicBezTo>
                  <a:cubicBezTo>
                    <a:pt x="209" y="294"/>
                    <a:pt x="209" y="294"/>
                    <a:pt x="209" y="294"/>
                  </a:cubicBezTo>
                  <a:cubicBezTo>
                    <a:pt x="214" y="294"/>
                    <a:pt x="221" y="303"/>
                    <a:pt x="226" y="312"/>
                  </a:cubicBezTo>
                  <a:cubicBezTo>
                    <a:pt x="228" y="318"/>
                    <a:pt x="231" y="320"/>
                    <a:pt x="234" y="320"/>
                  </a:cubicBezTo>
                  <a:cubicBezTo>
                    <a:pt x="236" y="320"/>
                    <a:pt x="237" y="319"/>
                    <a:pt x="239" y="319"/>
                  </a:cubicBezTo>
                  <a:cubicBezTo>
                    <a:pt x="243" y="318"/>
                    <a:pt x="248" y="317"/>
                    <a:pt x="247" y="306"/>
                  </a:cubicBezTo>
                  <a:cubicBezTo>
                    <a:pt x="246" y="298"/>
                    <a:pt x="247" y="288"/>
                    <a:pt x="250" y="284"/>
                  </a:cubicBezTo>
                  <a:cubicBezTo>
                    <a:pt x="250" y="284"/>
                    <a:pt x="250" y="284"/>
                    <a:pt x="250" y="284"/>
                  </a:cubicBezTo>
                  <a:cubicBezTo>
                    <a:pt x="247" y="274"/>
                    <a:pt x="244" y="264"/>
                    <a:pt x="241" y="254"/>
                  </a:cubicBezTo>
                  <a:cubicBezTo>
                    <a:pt x="223" y="262"/>
                    <a:pt x="204" y="267"/>
                    <a:pt x="185" y="267"/>
                  </a:cubicBezTo>
                  <a:cubicBezTo>
                    <a:pt x="163" y="267"/>
                    <a:pt x="141" y="261"/>
                    <a:pt x="120" y="249"/>
                  </a:cubicBezTo>
                  <a:cubicBezTo>
                    <a:pt x="58" y="213"/>
                    <a:pt x="37" y="133"/>
                    <a:pt x="73" y="71"/>
                  </a:cubicBezTo>
                  <a:cubicBezTo>
                    <a:pt x="81" y="58"/>
                    <a:pt x="90" y="47"/>
                    <a:pt x="101" y="37"/>
                  </a:cubicBezTo>
                  <a:cubicBezTo>
                    <a:pt x="88" y="24"/>
                    <a:pt x="74" y="12"/>
                    <a:pt x="59"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9" name="Freeform 21505">
              <a:extLst>
                <a:ext uri="{FF2B5EF4-FFF2-40B4-BE49-F238E27FC236}">
                  <a16:creationId xmlns:a16="http://schemas.microsoft.com/office/drawing/2014/main" id="{3DE2B84C-9399-4A91-8DF1-92F69C0E0749}"/>
                </a:ext>
              </a:extLst>
            </p:cNvPr>
            <p:cNvSpPr>
              <a:spLocks noEditPoints="1"/>
            </p:cNvSpPr>
            <p:nvPr userDrawn="1"/>
          </p:nvSpPr>
          <p:spPr bwMode="auto">
            <a:xfrm>
              <a:off x="9698990" y="3682365"/>
              <a:ext cx="500063" cy="463550"/>
            </a:xfrm>
            <a:custGeom>
              <a:avLst/>
              <a:gdLst>
                <a:gd name="T0" fmla="*/ 230 w 247"/>
                <a:gd name="T1" fmla="*/ 151 h 230"/>
                <a:gd name="T2" fmla="*/ 219 w 247"/>
                <a:gd name="T3" fmla="*/ 162 h 230"/>
                <a:gd name="T4" fmla="*/ 231 w 247"/>
                <a:gd name="T5" fmla="*/ 200 h 230"/>
                <a:gd name="T6" fmla="*/ 247 w 247"/>
                <a:gd name="T7" fmla="*/ 184 h 230"/>
                <a:gd name="T8" fmla="*/ 230 w 247"/>
                <a:gd name="T9" fmla="*/ 151 h 230"/>
                <a:gd name="T10" fmla="*/ 189 w 247"/>
                <a:gd name="T11" fmla="*/ 85 h 230"/>
                <a:gd name="T12" fmla="*/ 186 w 247"/>
                <a:gd name="T13" fmla="*/ 87 h 230"/>
                <a:gd name="T14" fmla="*/ 202 w 247"/>
                <a:gd name="T15" fmla="*/ 120 h 230"/>
                <a:gd name="T16" fmla="*/ 210 w 247"/>
                <a:gd name="T17" fmla="*/ 127 h 230"/>
                <a:gd name="T18" fmla="*/ 206 w 247"/>
                <a:gd name="T19" fmla="*/ 130 h 230"/>
                <a:gd name="T20" fmla="*/ 208 w 247"/>
                <a:gd name="T21" fmla="*/ 134 h 230"/>
                <a:gd name="T22" fmla="*/ 213 w 247"/>
                <a:gd name="T23" fmla="*/ 129 h 230"/>
                <a:gd name="T24" fmla="*/ 216 w 247"/>
                <a:gd name="T25" fmla="*/ 129 h 230"/>
                <a:gd name="T26" fmla="*/ 218 w 247"/>
                <a:gd name="T27" fmla="*/ 129 h 230"/>
                <a:gd name="T28" fmla="*/ 189 w 247"/>
                <a:gd name="T29" fmla="*/ 85 h 230"/>
                <a:gd name="T30" fmla="*/ 64 w 247"/>
                <a:gd name="T31" fmla="*/ 0 h 230"/>
                <a:gd name="T32" fmla="*/ 36 w 247"/>
                <a:gd name="T33" fmla="*/ 34 h 230"/>
                <a:gd name="T34" fmla="*/ 83 w 247"/>
                <a:gd name="T35" fmla="*/ 212 h 230"/>
                <a:gd name="T36" fmla="*/ 148 w 247"/>
                <a:gd name="T37" fmla="*/ 230 h 230"/>
                <a:gd name="T38" fmla="*/ 204 w 247"/>
                <a:gd name="T39" fmla="*/ 217 h 230"/>
                <a:gd name="T40" fmla="*/ 174 w 247"/>
                <a:gd name="T41" fmla="*/ 148 h 230"/>
                <a:gd name="T42" fmla="*/ 169 w 247"/>
                <a:gd name="T43" fmla="*/ 147 h 230"/>
                <a:gd name="T44" fmla="*/ 136 w 247"/>
                <a:gd name="T45" fmla="*/ 146 h 230"/>
                <a:gd name="T46" fmla="*/ 129 w 247"/>
                <a:gd name="T47" fmla="*/ 144 h 230"/>
                <a:gd name="T48" fmla="*/ 115 w 247"/>
                <a:gd name="T49" fmla="*/ 131 h 230"/>
                <a:gd name="T50" fmla="*/ 102 w 247"/>
                <a:gd name="T51" fmla="*/ 121 h 230"/>
                <a:gd name="T52" fmla="*/ 104 w 247"/>
                <a:gd name="T53" fmla="*/ 110 h 230"/>
                <a:gd name="T54" fmla="*/ 105 w 247"/>
                <a:gd name="T55" fmla="*/ 110 h 230"/>
                <a:gd name="T56" fmla="*/ 108 w 247"/>
                <a:gd name="T57" fmla="*/ 111 h 230"/>
                <a:gd name="T58" fmla="*/ 129 w 247"/>
                <a:gd name="T59" fmla="*/ 127 h 230"/>
                <a:gd name="T60" fmla="*/ 135 w 247"/>
                <a:gd name="T61" fmla="*/ 129 h 230"/>
                <a:gd name="T62" fmla="*/ 163 w 247"/>
                <a:gd name="T63" fmla="*/ 129 h 230"/>
                <a:gd name="T64" fmla="*/ 164 w 247"/>
                <a:gd name="T65" fmla="*/ 129 h 230"/>
                <a:gd name="T66" fmla="*/ 160 w 247"/>
                <a:gd name="T67" fmla="*/ 123 h 230"/>
                <a:gd name="T68" fmla="*/ 144 w 247"/>
                <a:gd name="T69" fmla="*/ 123 h 230"/>
                <a:gd name="T70" fmla="*/ 144 w 247"/>
                <a:gd name="T71" fmla="*/ 123 h 230"/>
                <a:gd name="T72" fmla="*/ 135 w 247"/>
                <a:gd name="T73" fmla="*/ 114 h 230"/>
                <a:gd name="T74" fmla="*/ 141 w 247"/>
                <a:gd name="T75" fmla="*/ 108 h 230"/>
                <a:gd name="T76" fmla="*/ 152 w 247"/>
                <a:gd name="T77" fmla="*/ 109 h 230"/>
                <a:gd name="T78" fmla="*/ 142 w 247"/>
                <a:gd name="T79" fmla="*/ 94 h 230"/>
                <a:gd name="T80" fmla="*/ 115 w 247"/>
                <a:gd name="T81" fmla="*/ 56 h 230"/>
                <a:gd name="T82" fmla="*/ 64 w 247"/>
                <a:gd name="T8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7" h="230">
                  <a:moveTo>
                    <a:pt x="230" y="151"/>
                  </a:moveTo>
                  <a:cubicBezTo>
                    <a:pt x="227" y="155"/>
                    <a:pt x="223" y="158"/>
                    <a:pt x="219" y="162"/>
                  </a:cubicBezTo>
                  <a:cubicBezTo>
                    <a:pt x="223" y="174"/>
                    <a:pt x="227" y="187"/>
                    <a:pt x="231" y="200"/>
                  </a:cubicBezTo>
                  <a:cubicBezTo>
                    <a:pt x="237" y="195"/>
                    <a:pt x="242" y="190"/>
                    <a:pt x="247" y="184"/>
                  </a:cubicBezTo>
                  <a:cubicBezTo>
                    <a:pt x="242" y="173"/>
                    <a:pt x="236" y="162"/>
                    <a:pt x="230" y="151"/>
                  </a:cubicBezTo>
                  <a:moveTo>
                    <a:pt x="189" y="85"/>
                  </a:moveTo>
                  <a:cubicBezTo>
                    <a:pt x="188" y="85"/>
                    <a:pt x="187" y="86"/>
                    <a:pt x="186" y="87"/>
                  </a:cubicBezTo>
                  <a:cubicBezTo>
                    <a:pt x="192" y="98"/>
                    <a:pt x="197" y="109"/>
                    <a:pt x="202" y="120"/>
                  </a:cubicBezTo>
                  <a:cubicBezTo>
                    <a:pt x="210" y="127"/>
                    <a:pt x="210" y="127"/>
                    <a:pt x="210" y="127"/>
                  </a:cubicBezTo>
                  <a:cubicBezTo>
                    <a:pt x="210" y="127"/>
                    <a:pt x="208" y="128"/>
                    <a:pt x="206" y="130"/>
                  </a:cubicBezTo>
                  <a:cubicBezTo>
                    <a:pt x="207" y="131"/>
                    <a:pt x="208" y="132"/>
                    <a:pt x="208" y="134"/>
                  </a:cubicBezTo>
                  <a:cubicBezTo>
                    <a:pt x="210" y="132"/>
                    <a:pt x="211" y="131"/>
                    <a:pt x="213" y="129"/>
                  </a:cubicBezTo>
                  <a:cubicBezTo>
                    <a:pt x="214" y="129"/>
                    <a:pt x="215" y="129"/>
                    <a:pt x="216" y="129"/>
                  </a:cubicBezTo>
                  <a:cubicBezTo>
                    <a:pt x="217" y="129"/>
                    <a:pt x="217" y="129"/>
                    <a:pt x="218" y="129"/>
                  </a:cubicBezTo>
                  <a:cubicBezTo>
                    <a:pt x="209" y="114"/>
                    <a:pt x="199" y="99"/>
                    <a:pt x="189" y="85"/>
                  </a:cubicBezTo>
                  <a:moveTo>
                    <a:pt x="64" y="0"/>
                  </a:moveTo>
                  <a:cubicBezTo>
                    <a:pt x="53" y="10"/>
                    <a:pt x="44" y="21"/>
                    <a:pt x="36" y="34"/>
                  </a:cubicBezTo>
                  <a:cubicBezTo>
                    <a:pt x="0" y="96"/>
                    <a:pt x="21" y="176"/>
                    <a:pt x="83" y="212"/>
                  </a:cubicBezTo>
                  <a:cubicBezTo>
                    <a:pt x="104" y="224"/>
                    <a:pt x="126" y="230"/>
                    <a:pt x="148" y="230"/>
                  </a:cubicBezTo>
                  <a:cubicBezTo>
                    <a:pt x="167" y="230"/>
                    <a:pt x="186" y="225"/>
                    <a:pt x="204" y="217"/>
                  </a:cubicBezTo>
                  <a:cubicBezTo>
                    <a:pt x="195" y="193"/>
                    <a:pt x="185" y="170"/>
                    <a:pt x="174" y="148"/>
                  </a:cubicBezTo>
                  <a:cubicBezTo>
                    <a:pt x="172" y="148"/>
                    <a:pt x="170" y="147"/>
                    <a:pt x="169" y="147"/>
                  </a:cubicBezTo>
                  <a:cubicBezTo>
                    <a:pt x="136" y="146"/>
                    <a:pt x="136" y="146"/>
                    <a:pt x="136" y="146"/>
                  </a:cubicBezTo>
                  <a:cubicBezTo>
                    <a:pt x="133" y="146"/>
                    <a:pt x="131" y="145"/>
                    <a:pt x="129" y="144"/>
                  </a:cubicBezTo>
                  <a:cubicBezTo>
                    <a:pt x="115" y="131"/>
                    <a:pt x="115" y="131"/>
                    <a:pt x="115" y="131"/>
                  </a:cubicBezTo>
                  <a:cubicBezTo>
                    <a:pt x="102" y="121"/>
                    <a:pt x="102" y="121"/>
                    <a:pt x="102" y="121"/>
                  </a:cubicBezTo>
                  <a:cubicBezTo>
                    <a:pt x="96" y="118"/>
                    <a:pt x="98" y="110"/>
                    <a:pt x="104" y="110"/>
                  </a:cubicBezTo>
                  <a:cubicBezTo>
                    <a:pt x="104" y="110"/>
                    <a:pt x="104" y="110"/>
                    <a:pt x="105" y="110"/>
                  </a:cubicBezTo>
                  <a:cubicBezTo>
                    <a:pt x="106" y="110"/>
                    <a:pt x="107" y="110"/>
                    <a:pt x="108" y="111"/>
                  </a:cubicBezTo>
                  <a:cubicBezTo>
                    <a:pt x="129" y="127"/>
                    <a:pt x="129" y="127"/>
                    <a:pt x="129" y="127"/>
                  </a:cubicBezTo>
                  <a:cubicBezTo>
                    <a:pt x="131" y="129"/>
                    <a:pt x="133" y="129"/>
                    <a:pt x="135" y="129"/>
                  </a:cubicBezTo>
                  <a:cubicBezTo>
                    <a:pt x="163" y="129"/>
                    <a:pt x="163" y="129"/>
                    <a:pt x="163" y="129"/>
                  </a:cubicBezTo>
                  <a:cubicBezTo>
                    <a:pt x="164" y="129"/>
                    <a:pt x="164" y="129"/>
                    <a:pt x="164" y="129"/>
                  </a:cubicBezTo>
                  <a:cubicBezTo>
                    <a:pt x="163" y="127"/>
                    <a:pt x="162" y="125"/>
                    <a:pt x="160" y="123"/>
                  </a:cubicBezTo>
                  <a:cubicBezTo>
                    <a:pt x="144" y="123"/>
                    <a:pt x="144" y="123"/>
                    <a:pt x="144" y="123"/>
                  </a:cubicBezTo>
                  <a:cubicBezTo>
                    <a:pt x="144" y="123"/>
                    <a:pt x="144" y="123"/>
                    <a:pt x="144" y="123"/>
                  </a:cubicBezTo>
                  <a:cubicBezTo>
                    <a:pt x="139" y="123"/>
                    <a:pt x="135" y="119"/>
                    <a:pt x="135" y="114"/>
                  </a:cubicBezTo>
                  <a:cubicBezTo>
                    <a:pt x="135" y="111"/>
                    <a:pt x="138" y="108"/>
                    <a:pt x="141" y="108"/>
                  </a:cubicBezTo>
                  <a:cubicBezTo>
                    <a:pt x="152" y="109"/>
                    <a:pt x="152" y="109"/>
                    <a:pt x="152" y="109"/>
                  </a:cubicBezTo>
                  <a:cubicBezTo>
                    <a:pt x="149" y="104"/>
                    <a:pt x="146" y="99"/>
                    <a:pt x="142" y="94"/>
                  </a:cubicBezTo>
                  <a:cubicBezTo>
                    <a:pt x="128" y="88"/>
                    <a:pt x="116" y="76"/>
                    <a:pt x="115" y="56"/>
                  </a:cubicBezTo>
                  <a:cubicBezTo>
                    <a:pt x="99" y="36"/>
                    <a:pt x="82" y="18"/>
                    <a:pt x="64" y="0"/>
                  </a:cubicBezTo>
                </a:path>
              </a:pathLst>
            </a:custGeom>
            <a:solidFill>
              <a:srgbClr val="C74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0" name="Freeform 21506">
              <a:extLst>
                <a:ext uri="{FF2B5EF4-FFF2-40B4-BE49-F238E27FC236}">
                  <a16:creationId xmlns:a16="http://schemas.microsoft.com/office/drawing/2014/main" id="{F2D35207-95F0-4029-9EB5-E7F7725E1D4B}"/>
                </a:ext>
              </a:extLst>
            </p:cNvPr>
            <p:cNvSpPr>
              <a:spLocks noEditPoints="1"/>
            </p:cNvSpPr>
            <p:nvPr userDrawn="1"/>
          </p:nvSpPr>
          <p:spPr bwMode="auto">
            <a:xfrm>
              <a:off x="9044940" y="5119053"/>
              <a:ext cx="133350" cy="152400"/>
            </a:xfrm>
            <a:custGeom>
              <a:avLst/>
              <a:gdLst>
                <a:gd name="T0" fmla="*/ 18 w 66"/>
                <a:gd name="T1" fmla="*/ 61 h 76"/>
                <a:gd name="T2" fmla="*/ 16 w 66"/>
                <a:gd name="T3" fmla="*/ 60 h 76"/>
                <a:gd name="T4" fmla="*/ 15 w 66"/>
                <a:gd name="T5" fmla="*/ 54 h 76"/>
                <a:gd name="T6" fmla="*/ 18 w 66"/>
                <a:gd name="T7" fmla="*/ 52 h 76"/>
                <a:gd name="T8" fmla="*/ 20 w 66"/>
                <a:gd name="T9" fmla="*/ 53 h 76"/>
                <a:gd name="T10" fmla="*/ 21 w 66"/>
                <a:gd name="T11" fmla="*/ 58 h 76"/>
                <a:gd name="T12" fmla="*/ 18 w 66"/>
                <a:gd name="T13" fmla="*/ 61 h 76"/>
                <a:gd name="T14" fmla="*/ 28 w 66"/>
                <a:gd name="T15" fmla="*/ 0 h 76"/>
                <a:gd name="T16" fmla="*/ 0 w 66"/>
                <a:gd name="T17" fmla="*/ 63 h 76"/>
                <a:gd name="T18" fmla="*/ 38 w 66"/>
                <a:gd name="T19" fmla="*/ 76 h 76"/>
                <a:gd name="T20" fmla="*/ 39 w 66"/>
                <a:gd name="T21" fmla="*/ 76 h 76"/>
                <a:gd name="T22" fmla="*/ 43 w 66"/>
                <a:gd name="T23" fmla="*/ 72 h 76"/>
                <a:gd name="T24" fmla="*/ 47 w 66"/>
                <a:gd name="T25" fmla="*/ 64 h 76"/>
                <a:gd name="T26" fmla="*/ 64 w 66"/>
                <a:gd name="T27" fmla="*/ 25 h 76"/>
                <a:gd name="T28" fmla="*/ 63 w 66"/>
                <a:gd name="T29" fmla="*/ 17 h 76"/>
                <a:gd name="T30" fmla="*/ 28 w 6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76">
                  <a:moveTo>
                    <a:pt x="18" y="61"/>
                  </a:moveTo>
                  <a:cubicBezTo>
                    <a:pt x="17" y="61"/>
                    <a:pt x="17" y="61"/>
                    <a:pt x="16" y="60"/>
                  </a:cubicBezTo>
                  <a:cubicBezTo>
                    <a:pt x="14" y="59"/>
                    <a:pt x="13" y="57"/>
                    <a:pt x="15" y="54"/>
                  </a:cubicBezTo>
                  <a:cubicBezTo>
                    <a:pt x="16" y="53"/>
                    <a:pt x="17" y="52"/>
                    <a:pt x="18" y="52"/>
                  </a:cubicBezTo>
                  <a:cubicBezTo>
                    <a:pt x="19" y="52"/>
                    <a:pt x="19" y="53"/>
                    <a:pt x="20" y="53"/>
                  </a:cubicBezTo>
                  <a:cubicBezTo>
                    <a:pt x="22" y="54"/>
                    <a:pt x="23" y="56"/>
                    <a:pt x="21" y="58"/>
                  </a:cubicBezTo>
                  <a:cubicBezTo>
                    <a:pt x="20" y="60"/>
                    <a:pt x="19" y="61"/>
                    <a:pt x="18" y="61"/>
                  </a:cubicBezTo>
                  <a:moveTo>
                    <a:pt x="28" y="0"/>
                  </a:moveTo>
                  <a:cubicBezTo>
                    <a:pt x="19" y="21"/>
                    <a:pt x="10" y="42"/>
                    <a:pt x="0" y="63"/>
                  </a:cubicBezTo>
                  <a:cubicBezTo>
                    <a:pt x="13" y="67"/>
                    <a:pt x="25" y="71"/>
                    <a:pt x="38" y="76"/>
                  </a:cubicBezTo>
                  <a:cubicBezTo>
                    <a:pt x="38" y="76"/>
                    <a:pt x="39" y="76"/>
                    <a:pt x="39" y="76"/>
                  </a:cubicBezTo>
                  <a:cubicBezTo>
                    <a:pt x="41" y="76"/>
                    <a:pt x="42" y="74"/>
                    <a:pt x="43" y="72"/>
                  </a:cubicBezTo>
                  <a:cubicBezTo>
                    <a:pt x="45" y="69"/>
                    <a:pt x="46" y="67"/>
                    <a:pt x="47" y="64"/>
                  </a:cubicBezTo>
                  <a:cubicBezTo>
                    <a:pt x="53" y="51"/>
                    <a:pt x="59" y="38"/>
                    <a:pt x="64" y="25"/>
                  </a:cubicBezTo>
                  <a:cubicBezTo>
                    <a:pt x="66" y="22"/>
                    <a:pt x="64" y="18"/>
                    <a:pt x="63" y="17"/>
                  </a:cubicBezTo>
                  <a:cubicBezTo>
                    <a:pt x="50" y="2"/>
                    <a:pt x="36" y="8"/>
                    <a:pt x="28" y="0"/>
                  </a:cubicBezTo>
                </a:path>
              </a:pathLst>
            </a:custGeom>
            <a:solidFill>
              <a:srgbClr val="50B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1" name="Freeform 21507">
              <a:extLst>
                <a:ext uri="{FF2B5EF4-FFF2-40B4-BE49-F238E27FC236}">
                  <a16:creationId xmlns:a16="http://schemas.microsoft.com/office/drawing/2014/main" id="{3760799A-8074-4660-A38E-33C4BA90E5EA}"/>
                </a:ext>
              </a:extLst>
            </p:cNvPr>
            <p:cNvSpPr>
              <a:spLocks noEditPoints="1"/>
            </p:cNvSpPr>
            <p:nvPr userDrawn="1"/>
          </p:nvSpPr>
          <p:spPr bwMode="auto">
            <a:xfrm>
              <a:off x="9465628" y="5128578"/>
              <a:ext cx="127000" cy="155575"/>
            </a:xfrm>
            <a:custGeom>
              <a:avLst/>
              <a:gdLst>
                <a:gd name="T0" fmla="*/ 30 w 63"/>
                <a:gd name="T1" fmla="*/ 21 h 77"/>
                <a:gd name="T2" fmla="*/ 27 w 63"/>
                <a:gd name="T3" fmla="*/ 18 h 77"/>
                <a:gd name="T4" fmla="*/ 29 w 63"/>
                <a:gd name="T5" fmla="*/ 13 h 77"/>
                <a:gd name="T6" fmla="*/ 30 w 63"/>
                <a:gd name="T7" fmla="*/ 13 h 77"/>
                <a:gd name="T8" fmla="*/ 34 w 63"/>
                <a:gd name="T9" fmla="*/ 16 h 77"/>
                <a:gd name="T10" fmla="*/ 32 w 63"/>
                <a:gd name="T11" fmla="*/ 21 h 77"/>
                <a:gd name="T12" fmla="*/ 30 w 63"/>
                <a:gd name="T13" fmla="*/ 21 h 77"/>
                <a:gd name="T14" fmla="*/ 39 w 63"/>
                <a:gd name="T15" fmla="*/ 0 h 77"/>
                <a:gd name="T16" fmla="*/ 3 w 63"/>
                <a:gd name="T17" fmla="*/ 17 h 77"/>
                <a:gd name="T18" fmla="*/ 1 w 63"/>
                <a:gd name="T19" fmla="*/ 23 h 77"/>
                <a:gd name="T20" fmla="*/ 5 w 63"/>
                <a:gd name="T21" fmla="*/ 32 h 77"/>
                <a:gd name="T22" fmla="*/ 20 w 63"/>
                <a:gd name="T23" fmla="*/ 72 h 77"/>
                <a:gd name="T24" fmla="*/ 27 w 63"/>
                <a:gd name="T25" fmla="*/ 77 h 77"/>
                <a:gd name="T26" fmla="*/ 30 w 63"/>
                <a:gd name="T27" fmla="*/ 77 h 77"/>
                <a:gd name="T28" fmla="*/ 49 w 63"/>
                <a:gd name="T29" fmla="*/ 70 h 77"/>
                <a:gd name="T30" fmla="*/ 63 w 63"/>
                <a:gd name="T31" fmla="*/ 64 h 77"/>
                <a:gd name="T32" fmla="*/ 63 w 63"/>
                <a:gd name="T33" fmla="*/ 64 h 77"/>
                <a:gd name="T34" fmla="*/ 39 w 63"/>
                <a:gd name="T3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77">
                  <a:moveTo>
                    <a:pt x="30" y="21"/>
                  </a:moveTo>
                  <a:cubicBezTo>
                    <a:pt x="29" y="21"/>
                    <a:pt x="28" y="20"/>
                    <a:pt x="27" y="18"/>
                  </a:cubicBezTo>
                  <a:cubicBezTo>
                    <a:pt x="26" y="15"/>
                    <a:pt x="27" y="14"/>
                    <a:pt x="29" y="13"/>
                  </a:cubicBezTo>
                  <a:cubicBezTo>
                    <a:pt x="30" y="13"/>
                    <a:pt x="30" y="13"/>
                    <a:pt x="30" y="13"/>
                  </a:cubicBezTo>
                  <a:cubicBezTo>
                    <a:pt x="32" y="13"/>
                    <a:pt x="34" y="14"/>
                    <a:pt x="34" y="16"/>
                  </a:cubicBezTo>
                  <a:cubicBezTo>
                    <a:pt x="35" y="18"/>
                    <a:pt x="34" y="20"/>
                    <a:pt x="32" y="21"/>
                  </a:cubicBezTo>
                  <a:cubicBezTo>
                    <a:pt x="31" y="21"/>
                    <a:pt x="31" y="21"/>
                    <a:pt x="30" y="21"/>
                  </a:cubicBezTo>
                  <a:moveTo>
                    <a:pt x="39" y="0"/>
                  </a:moveTo>
                  <a:cubicBezTo>
                    <a:pt x="27" y="6"/>
                    <a:pt x="15" y="11"/>
                    <a:pt x="3" y="17"/>
                  </a:cubicBezTo>
                  <a:cubicBezTo>
                    <a:pt x="1" y="18"/>
                    <a:pt x="0" y="21"/>
                    <a:pt x="1" y="23"/>
                  </a:cubicBezTo>
                  <a:cubicBezTo>
                    <a:pt x="3" y="26"/>
                    <a:pt x="4" y="29"/>
                    <a:pt x="5" y="32"/>
                  </a:cubicBezTo>
                  <a:cubicBezTo>
                    <a:pt x="10" y="46"/>
                    <a:pt x="15" y="59"/>
                    <a:pt x="20" y="72"/>
                  </a:cubicBezTo>
                  <a:cubicBezTo>
                    <a:pt x="21" y="74"/>
                    <a:pt x="26" y="76"/>
                    <a:pt x="27" y="77"/>
                  </a:cubicBezTo>
                  <a:cubicBezTo>
                    <a:pt x="28" y="77"/>
                    <a:pt x="29" y="77"/>
                    <a:pt x="30" y="77"/>
                  </a:cubicBezTo>
                  <a:cubicBezTo>
                    <a:pt x="38" y="77"/>
                    <a:pt x="44" y="73"/>
                    <a:pt x="49" y="70"/>
                  </a:cubicBezTo>
                  <a:cubicBezTo>
                    <a:pt x="54" y="67"/>
                    <a:pt x="58" y="64"/>
                    <a:pt x="63" y="64"/>
                  </a:cubicBezTo>
                  <a:cubicBezTo>
                    <a:pt x="63" y="64"/>
                    <a:pt x="63" y="64"/>
                    <a:pt x="63" y="64"/>
                  </a:cubicBezTo>
                  <a:cubicBezTo>
                    <a:pt x="55" y="42"/>
                    <a:pt x="47" y="21"/>
                    <a:pt x="39"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2" name="Freeform 21508">
              <a:extLst>
                <a:ext uri="{FF2B5EF4-FFF2-40B4-BE49-F238E27FC236}">
                  <a16:creationId xmlns:a16="http://schemas.microsoft.com/office/drawing/2014/main" id="{F347D3AD-05D1-4795-9C88-9270B6D112E0}"/>
                </a:ext>
              </a:extLst>
            </p:cNvPr>
            <p:cNvSpPr>
              <a:spLocks/>
            </p:cNvSpPr>
            <p:nvPr userDrawn="1"/>
          </p:nvSpPr>
          <p:spPr bwMode="auto">
            <a:xfrm>
              <a:off x="9217978" y="5158740"/>
              <a:ext cx="279400" cy="158750"/>
            </a:xfrm>
            <a:custGeom>
              <a:avLst/>
              <a:gdLst>
                <a:gd name="T0" fmla="*/ 54 w 138"/>
                <a:gd name="T1" fmla="*/ 0 h 79"/>
                <a:gd name="T2" fmla="*/ 52 w 138"/>
                <a:gd name="T3" fmla="*/ 0 h 79"/>
                <a:gd name="T4" fmla="*/ 27 w 138"/>
                <a:gd name="T5" fmla="*/ 7 h 79"/>
                <a:gd name="T6" fmla="*/ 18 w 138"/>
                <a:gd name="T7" fmla="*/ 12 h 79"/>
                <a:gd name="T8" fmla="*/ 8 w 138"/>
                <a:gd name="T9" fmla="*/ 32 h 79"/>
                <a:gd name="T10" fmla="*/ 14 w 138"/>
                <a:gd name="T11" fmla="*/ 43 h 79"/>
                <a:gd name="T12" fmla="*/ 16 w 138"/>
                <a:gd name="T13" fmla="*/ 43 h 79"/>
                <a:gd name="T14" fmla="*/ 41 w 138"/>
                <a:gd name="T15" fmla="*/ 29 h 79"/>
                <a:gd name="T16" fmla="*/ 53 w 138"/>
                <a:gd name="T17" fmla="*/ 30 h 79"/>
                <a:gd name="T18" fmla="*/ 89 w 138"/>
                <a:gd name="T19" fmla="*/ 48 h 79"/>
                <a:gd name="T20" fmla="*/ 119 w 138"/>
                <a:gd name="T21" fmla="*/ 79 h 79"/>
                <a:gd name="T22" fmla="*/ 138 w 138"/>
                <a:gd name="T23" fmla="*/ 66 h 79"/>
                <a:gd name="T24" fmla="*/ 138 w 138"/>
                <a:gd name="T25" fmla="*/ 66 h 79"/>
                <a:gd name="T26" fmla="*/ 117 w 138"/>
                <a:gd name="T27" fmla="*/ 7 h 79"/>
                <a:gd name="T28" fmla="*/ 97 w 138"/>
                <a:gd name="T29" fmla="*/ 11 h 79"/>
                <a:gd name="T30" fmla="*/ 70 w 138"/>
                <a:gd name="T31" fmla="*/ 4 h 79"/>
                <a:gd name="T32" fmla="*/ 54 w 13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 h="79">
                  <a:moveTo>
                    <a:pt x="54" y="0"/>
                  </a:moveTo>
                  <a:cubicBezTo>
                    <a:pt x="53" y="0"/>
                    <a:pt x="52" y="0"/>
                    <a:pt x="52" y="0"/>
                  </a:cubicBezTo>
                  <a:cubicBezTo>
                    <a:pt x="52" y="0"/>
                    <a:pt x="35" y="4"/>
                    <a:pt x="27" y="7"/>
                  </a:cubicBezTo>
                  <a:cubicBezTo>
                    <a:pt x="18" y="10"/>
                    <a:pt x="18" y="12"/>
                    <a:pt x="18" y="12"/>
                  </a:cubicBezTo>
                  <a:cubicBezTo>
                    <a:pt x="8" y="32"/>
                    <a:pt x="8" y="32"/>
                    <a:pt x="8" y="32"/>
                  </a:cubicBezTo>
                  <a:cubicBezTo>
                    <a:pt x="8" y="32"/>
                    <a:pt x="0" y="41"/>
                    <a:pt x="14" y="43"/>
                  </a:cubicBezTo>
                  <a:cubicBezTo>
                    <a:pt x="14" y="43"/>
                    <a:pt x="15" y="43"/>
                    <a:pt x="16" y="43"/>
                  </a:cubicBezTo>
                  <a:cubicBezTo>
                    <a:pt x="29" y="43"/>
                    <a:pt x="41" y="29"/>
                    <a:pt x="41" y="29"/>
                  </a:cubicBezTo>
                  <a:cubicBezTo>
                    <a:pt x="53" y="30"/>
                    <a:pt x="53" y="30"/>
                    <a:pt x="53" y="30"/>
                  </a:cubicBezTo>
                  <a:cubicBezTo>
                    <a:pt x="89" y="48"/>
                    <a:pt x="89" y="48"/>
                    <a:pt x="89" y="48"/>
                  </a:cubicBezTo>
                  <a:cubicBezTo>
                    <a:pt x="119" y="79"/>
                    <a:pt x="119" y="79"/>
                    <a:pt x="119" y="79"/>
                  </a:cubicBezTo>
                  <a:cubicBezTo>
                    <a:pt x="119" y="79"/>
                    <a:pt x="129" y="66"/>
                    <a:pt x="138" y="66"/>
                  </a:cubicBezTo>
                  <a:cubicBezTo>
                    <a:pt x="138" y="66"/>
                    <a:pt x="138" y="66"/>
                    <a:pt x="138" y="66"/>
                  </a:cubicBezTo>
                  <a:cubicBezTo>
                    <a:pt x="117" y="7"/>
                    <a:pt x="117" y="7"/>
                    <a:pt x="117" y="7"/>
                  </a:cubicBezTo>
                  <a:cubicBezTo>
                    <a:pt x="97" y="11"/>
                    <a:pt x="97" y="11"/>
                    <a:pt x="97" y="11"/>
                  </a:cubicBezTo>
                  <a:cubicBezTo>
                    <a:pt x="97" y="11"/>
                    <a:pt x="83" y="9"/>
                    <a:pt x="70" y="4"/>
                  </a:cubicBezTo>
                  <a:cubicBezTo>
                    <a:pt x="61" y="0"/>
                    <a:pt x="56" y="0"/>
                    <a:pt x="54"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5" name="Freeform 21509">
              <a:extLst>
                <a:ext uri="{FF2B5EF4-FFF2-40B4-BE49-F238E27FC236}">
                  <a16:creationId xmlns:a16="http://schemas.microsoft.com/office/drawing/2014/main" id="{83AE1D04-3637-488C-96D0-8673C4012EEB}"/>
                </a:ext>
              </a:extLst>
            </p:cNvPr>
            <p:cNvSpPr>
              <a:spLocks/>
            </p:cNvSpPr>
            <p:nvPr userDrawn="1"/>
          </p:nvSpPr>
          <p:spPr bwMode="auto">
            <a:xfrm>
              <a:off x="9144953" y="5173028"/>
              <a:ext cx="323850" cy="242888"/>
            </a:xfrm>
            <a:custGeom>
              <a:avLst/>
              <a:gdLst>
                <a:gd name="T0" fmla="*/ 42 w 160"/>
                <a:gd name="T1" fmla="*/ 0 h 121"/>
                <a:gd name="T2" fmla="*/ 20 w 160"/>
                <a:gd name="T3" fmla="*/ 0 h 121"/>
                <a:gd name="T4" fmla="*/ 0 w 160"/>
                <a:gd name="T5" fmla="*/ 47 h 121"/>
                <a:gd name="T6" fmla="*/ 17 w 160"/>
                <a:gd name="T7" fmla="*/ 65 h 121"/>
                <a:gd name="T8" fmla="*/ 57 w 160"/>
                <a:gd name="T9" fmla="*/ 98 h 121"/>
                <a:gd name="T10" fmla="*/ 95 w 160"/>
                <a:gd name="T11" fmla="*/ 120 h 121"/>
                <a:gd name="T12" fmla="*/ 98 w 160"/>
                <a:gd name="T13" fmla="*/ 121 h 121"/>
                <a:gd name="T14" fmla="*/ 105 w 160"/>
                <a:gd name="T15" fmla="*/ 116 h 121"/>
                <a:gd name="T16" fmla="*/ 75 w 160"/>
                <a:gd name="T17" fmla="*/ 89 h 121"/>
                <a:gd name="T18" fmla="*/ 78 w 160"/>
                <a:gd name="T19" fmla="*/ 86 h 121"/>
                <a:gd name="T20" fmla="*/ 103 w 160"/>
                <a:gd name="T21" fmla="*/ 109 h 121"/>
                <a:gd name="T22" fmla="*/ 112 w 160"/>
                <a:gd name="T23" fmla="*/ 115 h 121"/>
                <a:gd name="T24" fmla="*/ 118 w 160"/>
                <a:gd name="T25" fmla="*/ 112 h 121"/>
                <a:gd name="T26" fmla="*/ 120 w 160"/>
                <a:gd name="T27" fmla="*/ 103 h 121"/>
                <a:gd name="T28" fmla="*/ 86 w 160"/>
                <a:gd name="T29" fmla="*/ 74 h 121"/>
                <a:gd name="T30" fmla="*/ 89 w 160"/>
                <a:gd name="T31" fmla="*/ 70 h 121"/>
                <a:gd name="T32" fmla="*/ 119 w 160"/>
                <a:gd name="T33" fmla="*/ 96 h 121"/>
                <a:gd name="T34" fmla="*/ 133 w 160"/>
                <a:gd name="T35" fmla="*/ 102 h 121"/>
                <a:gd name="T36" fmla="*/ 139 w 160"/>
                <a:gd name="T37" fmla="*/ 100 h 121"/>
                <a:gd name="T38" fmla="*/ 141 w 160"/>
                <a:gd name="T39" fmla="*/ 91 h 121"/>
                <a:gd name="T40" fmla="*/ 118 w 160"/>
                <a:gd name="T41" fmla="*/ 67 h 121"/>
                <a:gd name="T42" fmla="*/ 97 w 160"/>
                <a:gd name="T43" fmla="*/ 58 h 121"/>
                <a:gd name="T44" fmla="*/ 100 w 160"/>
                <a:gd name="T45" fmla="*/ 55 h 121"/>
                <a:gd name="T46" fmla="*/ 121 w 160"/>
                <a:gd name="T47" fmla="*/ 64 h 121"/>
                <a:gd name="T48" fmla="*/ 149 w 160"/>
                <a:gd name="T49" fmla="*/ 91 h 121"/>
                <a:gd name="T50" fmla="*/ 155 w 160"/>
                <a:gd name="T51" fmla="*/ 78 h 121"/>
                <a:gd name="T52" fmla="*/ 122 w 160"/>
                <a:gd name="T53" fmla="*/ 44 h 121"/>
                <a:gd name="T54" fmla="*/ 82 w 160"/>
                <a:gd name="T55" fmla="*/ 25 h 121"/>
                <a:gd name="T56" fmla="*/ 53 w 160"/>
                <a:gd name="T57" fmla="*/ 39 h 121"/>
                <a:gd name="T58" fmla="*/ 46 w 160"/>
                <a:gd name="T59" fmla="*/ 38 h 121"/>
                <a:gd name="T60" fmla="*/ 39 w 160"/>
                <a:gd name="T61" fmla="*/ 20 h 121"/>
                <a:gd name="T62" fmla="*/ 50 w 160"/>
                <a:gd name="T63" fmla="*/ 0 h 121"/>
                <a:gd name="T64" fmla="*/ 42 w 160"/>
                <a:gd name="T6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21">
                  <a:moveTo>
                    <a:pt x="42" y="0"/>
                  </a:moveTo>
                  <a:cubicBezTo>
                    <a:pt x="32" y="0"/>
                    <a:pt x="20" y="0"/>
                    <a:pt x="20" y="0"/>
                  </a:cubicBezTo>
                  <a:cubicBezTo>
                    <a:pt x="0" y="47"/>
                    <a:pt x="0" y="47"/>
                    <a:pt x="0" y="47"/>
                  </a:cubicBezTo>
                  <a:cubicBezTo>
                    <a:pt x="17" y="65"/>
                    <a:pt x="17" y="65"/>
                    <a:pt x="17" y="65"/>
                  </a:cubicBezTo>
                  <a:cubicBezTo>
                    <a:pt x="57" y="98"/>
                    <a:pt x="57" y="98"/>
                    <a:pt x="57" y="98"/>
                  </a:cubicBezTo>
                  <a:cubicBezTo>
                    <a:pt x="57" y="98"/>
                    <a:pt x="88" y="117"/>
                    <a:pt x="95" y="120"/>
                  </a:cubicBezTo>
                  <a:cubicBezTo>
                    <a:pt x="96" y="121"/>
                    <a:pt x="97" y="121"/>
                    <a:pt x="98" y="121"/>
                  </a:cubicBezTo>
                  <a:cubicBezTo>
                    <a:pt x="102" y="121"/>
                    <a:pt x="105" y="116"/>
                    <a:pt x="105" y="116"/>
                  </a:cubicBezTo>
                  <a:cubicBezTo>
                    <a:pt x="75" y="89"/>
                    <a:pt x="75" y="89"/>
                    <a:pt x="75" y="89"/>
                  </a:cubicBezTo>
                  <a:cubicBezTo>
                    <a:pt x="78" y="86"/>
                    <a:pt x="78" y="86"/>
                    <a:pt x="78" y="86"/>
                  </a:cubicBezTo>
                  <a:cubicBezTo>
                    <a:pt x="78" y="86"/>
                    <a:pt x="96" y="102"/>
                    <a:pt x="103" y="109"/>
                  </a:cubicBezTo>
                  <a:cubicBezTo>
                    <a:pt x="107" y="113"/>
                    <a:pt x="109" y="115"/>
                    <a:pt x="112" y="115"/>
                  </a:cubicBezTo>
                  <a:cubicBezTo>
                    <a:pt x="114" y="115"/>
                    <a:pt x="115" y="114"/>
                    <a:pt x="118" y="112"/>
                  </a:cubicBezTo>
                  <a:cubicBezTo>
                    <a:pt x="123" y="107"/>
                    <a:pt x="120" y="103"/>
                    <a:pt x="120" y="103"/>
                  </a:cubicBezTo>
                  <a:cubicBezTo>
                    <a:pt x="86" y="74"/>
                    <a:pt x="86" y="74"/>
                    <a:pt x="86" y="74"/>
                  </a:cubicBezTo>
                  <a:cubicBezTo>
                    <a:pt x="89" y="70"/>
                    <a:pt x="89" y="70"/>
                    <a:pt x="89" y="70"/>
                  </a:cubicBezTo>
                  <a:cubicBezTo>
                    <a:pt x="89" y="70"/>
                    <a:pt x="112" y="90"/>
                    <a:pt x="119" y="96"/>
                  </a:cubicBezTo>
                  <a:cubicBezTo>
                    <a:pt x="123" y="99"/>
                    <a:pt x="128" y="102"/>
                    <a:pt x="133" y="102"/>
                  </a:cubicBezTo>
                  <a:cubicBezTo>
                    <a:pt x="135" y="102"/>
                    <a:pt x="137" y="101"/>
                    <a:pt x="139" y="100"/>
                  </a:cubicBezTo>
                  <a:cubicBezTo>
                    <a:pt x="144" y="96"/>
                    <a:pt x="141" y="91"/>
                    <a:pt x="141" y="91"/>
                  </a:cubicBezTo>
                  <a:cubicBezTo>
                    <a:pt x="118" y="67"/>
                    <a:pt x="118" y="67"/>
                    <a:pt x="118" y="67"/>
                  </a:cubicBezTo>
                  <a:cubicBezTo>
                    <a:pt x="97" y="58"/>
                    <a:pt x="97" y="58"/>
                    <a:pt x="97" y="58"/>
                  </a:cubicBezTo>
                  <a:cubicBezTo>
                    <a:pt x="100" y="55"/>
                    <a:pt x="100" y="55"/>
                    <a:pt x="100" y="55"/>
                  </a:cubicBezTo>
                  <a:cubicBezTo>
                    <a:pt x="121" y="64"/>
                    <a:pt x="121" y="64"/>
                    <a:pt x="121" y="64"/>
                  </a:cubicBezTo>
                  <a:cubicBezTo>
                    <a:pt x="149" y="91"/>
                    <a:pt x="149" y="91"/>
                    <a:pt x="149" y="91"/>
                  </a:cubicBezTo>
                  <a:cubicBezTo>
                    <a:pt x="160" y="90"/>
                    <a:pt x="155" y="78"/>
                    <a:pt x="155" y="78"/>
                  </a:cubicBezTo>
                  <a:cubicBezTo>
                    <a:pt x="122" y="44"/>
                    <a:pt x="122" y="44"/>
                    <a:pt x="122" y="44"/>
                  </a:cubicBezTo>
                  <a:cubicBezTo>
                    <a:pt x="82" y="25"/>
                    <a:pt x="82" y="25"/>
                    <a:pt x="82" y="25"/>
                  </a:cubicBezTo>
                  <a:cubicBezTo>
                    <a:pt x="75" y="32"/>
                    <a:pt x="64" y="39"/>
                    <a:pt x="53" y="39"/>
                  </a:cubicBezTo>
                  <a:cubicBezTo>
                    <a:pt x="51" y="39"/>
                    <a:pt x="48" y="39"/>
                    <a:pt x="46" y="38"/>
                  </a:cubicBezTo>
                  <a:cubicBezTo>
                    <a:pt x="33" y="32"/>
                    <a:pt x="39" y="20"/>
                    <a:pt x="39" y="20"/>
                  </a:cubicBezTo>
                  <a:cubicBezTo>
                    <a:pt x="50" y="0"/>
                    <a:pt x="50" y="0"/>
                    <a:pt x="50" y="0"/>
                  </a:cubicBezTo>
                  <a:cubicBezTo>
                    <a:pt x="48" y="0"/>
                    <a:pt x="45" y="0"/>
                    <a:pt x="42"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6" name="Freeform 21510">
              <a:extLst>
                <a:ext uri="{FF2B5EF4-FFF2-40B4-BE49-F238E27FC236}">
                  <a16:creationId xmlns:a16="http://schemas.microsoft.com/office/drawing/2014/main" id="{DEAF15FA-5ABA-406B-9D7C-1806CF99F8DF}"/>
                </a:ext>
              </a:extLst>
            </p:cNvPr>
            <p:cNvSpPr>
              <a:spLocks/>
            </p:cNvSpPr>
            <p:nvPr userDrawn="1"/>
          </p:nvSpPr>
          <p:spPr bwMode="auto">
            <a:xfrm>
              <a:off x="8502015" y="4493578"/>
              <a:ext cx="403225" cy="196850"/>
            </a:xfrm>
            <a:custGeom>
              <a:avLst/>
              <a:gdLst>
                <a:gd name="T0" fmla="*/ 135 w 199"/>
                <a:gd name="T1" fmla="*/ 0 h 98"/>
                <a:gd name="T2" fmla="*/ 135 w 199"/>
                <a:gd name="T3" fmla="*/ 0 h 98"/>
                <a:gd name="T4" fmla="*/ 148 w 199"/>
                <a:gd name="T5" fmla="*/ 23 h 98"/>
                <a:gd name="T6" fmla="*/ 102 w 199"/>
                <a:gd name="T7" fmla="*/ 50 h 98"/>
                <a:gd name="T8" fmla="*/ 93 w 199"/>
                <a:gd name="T9" fmla="*/ 40 h 98"/>
                <a:gd name="T10" fmla="*/ 82 w 199"/>
                <a:gd name="T11" fmla="*/ 32 h 98"/>
                <a:gd name="T12" fmla="*/ 82 w 199"/>
                <a:gd name="T13" fmla="*/ 32 h 98"/>
                <a:gd name="T14" fmla="*/ 1 w 199"/>
                <a:gd name="T15" fmla="*/ 74 h 98"/>
                <a:gd name="T16" fmla="*/ 1 w 199"/>
                <a:gd name="T17" fmla="*/ 74 h 98"/>
                <a:gd name="T18" fmla="*/ 14 w 199"/>
                <a:gd name="T19" fmla="*/ 98 h 98"/>
                <a:gd name="T20" fmla="*/ 77 w 199"/>
                <a:gd name="T21" fmla="*/ 65 h 98"/>
                <a:gd name="T22" fmla="*/ 87 w 199"/>
                <a:gd name="T23" fmla="*/ 75 h 98"/>
                <a:gd name="T24" fmla="*/ 97 w 199"/>
                <a:gd name="T25" fmla="*/ 85 h 98"/>
                <a:gd name="T26" fmla="*/ 162 w 199"/>
                <a:gd name="T27" fmla="*/ 46 h 98"/>
                <a:gd name="T28" fmla="*/ 176 w 199"/>
                <a:gd name="T29" fmla="*/ 68 h 98"/>
                <a:gd name="T30" fmla="*/ 199 w 199"/>
                <a:gd name="T31" fmla="*/ 8 h 98"/>
                <a:gd name="T32" fmla="*/ 199 w 199"/>
                <a:gd name="T33" fmla="*/ 8 h 98"/>
                <a:gd name="T34" fmla="*/ 135 w 199"/>
                <a:gd name="T3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98">
                  <a:moveTo>
                    <a:pt x="135" y="0"/>
                  </a:moveTo>
                  <a:cubicBezTo>
                    <a:pt x="135" y="0"/>
                    <a:pt x="135" y="0"/>
                    <a:pt x="135" y="0"/>
                  </a:cubicBezTo>
                  <a:cubicBezTo>
                    <a:pt x="139" y="8"/>
                    <a:pt x="140" y="15"/>
                    <a:pt x="148" y="23"/>
                  </a:cubicBezTo>
                  <a:cubicBezTo>
                    <a:pt x="133" y="32"/>
                    <a:pt x="117" y="41"/>
                    <a:pt x="102" y="50"/>
                  </a:cubicBezTo>
                  <a:cubicBezTo>
                    <a:pt x="98" y="48"/>
                    <a:pt x="96" y="44"/>
                    <a:pt x="93" y="40"/>
                  </a:cubicBezTo>
                  <a:cubicBezTo>
                    <a:pt x="89" y="35"/>
                    <a:pt x="86" y="32"/>
                    <a:pt x="82" y="32"/>
                  </a:cubicBezTo>
                  <a:cubicBezTo>
                    <a:pt x="82" y="32"/>
                    <a:pt x="82" y="32"/>
                    <a:pt x="82" y="32"/>
                  </a:cubicBezTo>
                  <a:cubicBezTo>
                    <a:pt x="55" y="46"/>
                    <a:pt x="28" y="60"/>
                    <a:pt x="1" y="74"/>
                  </a:cubicBezTo>
                  <a:cubicBezTo>
                    <a:pt x="1" y="74"/>
                    <a:pt x="1" y="74"/>
                    <a:pt x="1" y="74"/>
                  </a:cubicBezTo>
                  <a:cubicBezTo>
                    <a:pt x="0" y="84"/>
                    <a:pt x="13" y="90"/>
                    <a:pt x="14" y="98"/>
                  </a:cubicBezTo>
                  <a:cubicBezTo>
                    <a:pt x="35" y="87"/>
                    <a:pt x="56" y="76"/>
                    <a:pt x="77" y="65"/>
                  </a:cubicBezTo>
                  <a:cubicBezTo>
                    <a:pt x="80" y="68"/>
                    <a:pt x="83" y="72"/>
                    <a:pt x="87" y="75"/>
                  </a:cubicBezTo>
                  <a:cubicBezTo>
                    <a:pt x="90" y="78"/>
                    <a:pt x="93" y="82"/>
                    <a:pt x="97" y="85"/>
                  </a:cubicBezTo>
                  <a:cubicBezTo>
                    <a:pt x="119" y="72"/>
                    <a:pt x="140" y="59"/>
                    <a:pt x="162" y="46"/>
                  </a:cubicBezTo>
                  <a:cubicBezTo>
                    <a:pt x="166" y="56"/>
                    <a:pt x="171" y="61"/>
                    <a:pt x="176" y="68"/>
                  </a:cubicBezTo>
                  <a:cubicBezTo>
                    <a:pt x="189" y="47"/>
                    <a:pt x="195" y="28"/>
                    <a:pt x="199" y="8"/>
                  </a:cubicBezTo>
                  <a:cubicBezTo>
                    <a:pt x="199" y="8"/>
                    <a:pt x="199" y="8"/>
                    <a:pt x="199" y="8"/>
                  </a:cubicBezTo>
                  <a:cubicBezTo>
                    <a:pt x="178" y="5"/>
                    <a:pt x="156" y="3"/>
                    <a:pt x="135"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7" name="Freeform 21511">
              <a:extLst>
                <a:ext uri="{FF2B5EF4-FFF2-40B4-BE49-F238E27FC236}">
                  <a16:creationId xmlns:a16="http://schemas.microsoft.com/office/drawing/2014/main" id="{CD1A5F9B-C997-424E-A852-AA1D72ECC4BF}"/>
                </a:ext>
              </a:extLst>
            </p:cNvPr>
            <p:cNvSpPr>
              <a:spLocks/>
            </p:cNvSpPr>
            <p:nvPr userDrawn="1"/>
          </p:nvSpPr>
          <p:spPr bwMode="auto">
            <a:xfrm>
              <a:off x="8771890" y="4618990"/>
              <a:ext cx="53975" cy="206375"/>
            </a:xfrm>
            <a:custGeom>
              <a:avLst/>
              <a:gdLst>
                <a:gd name="T0" fmla="*/ 23 w 27"/>
                <a:gd name="T1" fmla="*/ 0 h 103"/>
                <a:gd name="T2" fmla="*/ 20 w 27"/>
                <a:gd name="T3" fmla="*/ 1 h 103"/>
                <a:gd name="T4" fmla="*/ 2 w 27"/>
                <a:gd name="T5" fmla="*/ 11 h 103"/>
                <a:gd name="T6" fmla="*/ 0 w 27"/>
                <a:gd name="T7" fmla="*/ 15 h 103"/>
                <a:gd name="T8" fmla="*/ 0 w 27"/>
                <a:gd name="T9" fmla="*/ 98 h 103"/>
                <a:gd name="T10" fmla="*/ 5 w 27"/>
                <a:gd name="T11" fmla="*/ 103 h 103"/>
                <a:gd name="T12" fmla="*/ 23 w 27"/>
                <a:gd name="T13" fmla="*/ 103 h 103"/>
                <a:gd name="T14" fmla="*/ 27 w 27"/>
                <a:gd name="T15" fmla="*/ 98 h 103"/>
                <a:gd name="T16" fmla="*/ 27 w 27"/>
                <a:gd name="T17" fmla="*/ 5 h 103"/>
                <a:gd name="T18" fmla="*/ 23 w 27"/>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03">
                  <a:moveTo>
                    <a:pt x="23" y="0"/>
                  </a:moveTo>
                  <a:cubicBezTo>
                    <a:pt x="22" y="0"/>
                    <a:pt x="21" y="0"/>
                    <a:pt x="20" y="1"/>
                  </a:cubicBezTo>
                  <a:cubicBezTo>
                    <a:pt x="14" y="4"/>
                    <a:pt x="8" y="8"/>
                    <a:pt x="2" y="11"/>
                  </a:cubicBezTo>
                  <a:cubicBezTo>
                    <a:pt x="1" y="12"/>
                    <a:pt x="0" y="14"/>
                    <a:pt x="0" y="15"/>
                  </a:cubicBezTo>
                  <a:cubicBezTo>
                    <a:pt x="0" y="98"/>
                    <a:pt x="0" y="98"/>
                    <a:pt x="0" y="98"/>
                  </a:cubicBezTo>
                  <a:cubicBezTo>
                    <a:pt x="0" y="101"/>
                    <a:pt x="2" y="103"/>
                    <a:pt x="5" y="103"/>
                  </a:cubicBezTo>
                  <a:cubicBezTo>
                    <a:pt x="23" y="103"/>
                    <a:pt x="23" y="103"/>
                    <a:pt x="23" y="103"/>
                  </a:cubicBezTo>
                  <a:cubicBezTo>
                    <a:pt x="25" y="103"/>
                    <a:pt x="27" y="101"/>
                    <a:pt x="27" y="98"/>
                  </a:cubicBezTo>
                  <a:cubicBezTo>
                    <a:pt x="27" y="5"/>
                    <a:pt x="27" y="5"/>
                    <a:pt x="27" y="5"/>
                  </a:cubicBezTo>
                  <a:cubicBezTo>
                    <a:pt x="27" y="2"/>
                    <a:pt x="25" y="0"/>
                    <a:pt x="23"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8" name="Freeform 21512">
              <a:extLst>
                <a:ext uri="{FF2B5EF4-FFF2-40B4-BE49-F238E27FC236}">
                  <a16:creationId xmlns:a16="http://schemas.microsoft.com/office/drawing/2014/main" id="{0D99DA2F-C9B9-48BB-98D5-64C4B302A742}"/>
                </a:ext>
              </a:extLst>
            </p:cNvPr>
            <p:cNvSpPr>
              <a:spLocks/>
            </p:cNvSpPr>
            <p:nvPr userDrawn="1"/>
          </p:nvSpPr>
          <p:spPr bwMode="auto">
            <a:xfrm>
              <a:off x="8619490" y="4650740"/>
              <a:ext cx="57150" cy="174625"/>
            </a:xfrm>
            <a:custGeom>
              <a:avLst/>
              <a:gdLst>
                <a:gd name="T0" fmla="*/ 16 w 28"/>
                <a:gd name="T1" fmla="*/ 0 h 87"/>
                <a:gd name="T2" fmla="*/ 14 w 28"/>
                <a:gd name="T3" fmla="*/ 1 h 87"/>
                <a:gd name="T4" fmla="*/ 3 w 28"/>
                <a:gd name="T5" fmla="*/ 6 h 87"/>
                <a:gd name="T6" fmla="*/ 0 w 28"/>
                <a:gd name="T7" fmla="*/ 11 h 87"/>
                <a:gd name="T8" fmla="*/ 0 w 28"/>
                <a:gd name="T9" fmla="*/ 82 h 87"/>
                <a:gd name="T10" fmla="*/ 5 w 28"/>
                <a:gd name="T11" fmla="*/ 87 h 87"/>
                <a:gd name="T12" fmla="*/ 23 w 28"/>
                <a:gd name="T13" fmla="*/ 87 h 87"/>
                <a:gd name="T14" fmla="*/ 27 w 28"/>
                <a:gd name="T15" fmla="*/ 82 h 87"/>
                <a:gd name="T16" fmla="*/ 27 w 28"/>
                <a:gd name="T17" fmla="*/ 19 h 87"/>
                <a:gd name="T18" fmla="*/ 27 w 28"/>
                <a:gd name="T19" fmla="*/ 10 h 87"/>
                <a:gd name="T20" fmla="*/ 19 w 28"/>
                <a:gd name="T21" fmla="*/ 1 h 87"/>
                <a:gd name="T22" fmla="*/ 16 w 28"/>
                <a:gd name="T2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87">
                  <a:moveTo>
                    <a:pt x="16" y="0"/>
                  </a:moveTo>
                  <a:cubicBezTo>
                    <a:pt x="15" y="0"/>
                    <a:pt x="15" y="0"/>
                    <a:pt x="14" y="1"/>
                  </a:cubicBezTo>
                  <a:cubicBezTo>
                    <a:pt x="10" y="2"/>
                    <a:pt x="7" y="5"/>
                    <a:pt x="3" y="6"/>
                  </a:cubicBezTo>
                  <a:cubicBezTo>
                    <a:pt x="1" y="7"/>
                    <a:pt x="0" y="9"/>
                    <a:pt x="0" y="11"/>
                  </a:cubicBezTo>
                  <a:cubicBezTo>
                    <a:pt x="0" y="82"/>
                    <a:pt x="0" y="82"/>
                    <a:pt x="0" y="82"/>
                  </a:cubicBezTo>
                  <a:cubicBezTo>
                    <a:pt x="0" y="85"/>
                    <a:pt x="2" y="87"/>
                    <a:pt x="5" y="87"/>
                  </a:cubicBezTo>
                  <a:cubicBezTo>
                    <a:pt x="23" y="87"/>
                    <a:pt x="23" y="87"/>
                    <a:pt x="23" y="87"/>
                  </a:cubicBezTo>
                  <a:cubicBezTo>
                    <a:pt x="25" y="87"/>
                    <a:pt x="27" y="85"/>
                    <a:pt x="27" y="82"/>
                  </a:cubicBezTo>
                  <a:cubicBezTo>
                    <a:pt x="27" y="19"/>
                    <a:pt x="27" y="19"/>
                    <a:pt x="27" y="19"/>
                  </a:cubicBezTo>
                  <a:cubicBezTo>
                    <a:pt x="27" y="16"/>
                    <a:pt x="28" y="12"/>
                    <a:pt x="27" y="10"/>
                  </a:cubicBezTo>
                  <a:cubicBezTo>
                    <a:pt x="27" y="7"/>
                    <a:pt x="22" y="4"/>
                    <a:pt x="19" y="1"/>
                  </a:cubicBezTo>
                  <a:cubicBezTo>
                    <a:pt x="18" y="0"/>
                    <a:pt x="17" y="0"/>
                    <a:pt x="16"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9" name="Freeform 21513">
              <a:extLst>
                <a:ext uri="{FF2B5EF4-FFF2-40B4-BE49-F238E27FC236}">
                  <a16:creationId xmlns:a16="http://schemas.microsoft.com/office/drawing/2014/main" id="{473C61E0-E462-4E56-B442-73ED3FD52EDF}"/>
                </a:ext>
              </a:extLst>
            </p:cNvPr>
            <p:cNvSpPr>
              <a:spLocks/>
            </p:cNvSpPr>
            <p:nvPr userDrawn="1"/>
          </p:nvSpPr>
          <p:spPr bwMode="auto">
            <a:xfrm>
              <a:off x="8694103" y="4663440"/>
              <a:ext cx="57150" cy="161925"/>
            </a:xfrm>
            <a:custGeom>
              <a:avLst/>
              <a:gdLst>
                <a:gd name="T0" fmla="*/ 23 w 28"/>
                <a:gd name="T1" fmla="*/ 0 h 81"/>
                <a:gd name="T2" fmla="*/ 21 w 28"/>
                <a:gd name="T3" fmla="*/ 1 h 81"/>
                <a:gd name="T4" fmla="*/ 3 w 28"/>
                <a:gd name="T5" fmla="*/ 11 h 81"/>
                <a:gd name="T6" fmla="*/ 0 w 28"/>
                <a:gd name="T7" fmla="*/ 16 h 81"/>
                <a:gd name="T8" fmla="*/ 0 w 28"/>
                <a:gd name="T9" fmla="*/ 76 h 81"/>
                <a:gd name="T10" fmla="*/ 5 w 28"/>
                <a:gd name="T11" fmla="*/ 81 h 81"/>
                <a:gd name="T12" fmla="*/ 23 w 28"/>
                <a:gd name="T13" fmla="*/ 81 h 81"/>
                <a:gd name="T14" fmla="*/ 28 w 28"/>
                <a:gd name="T15" fmla="*/ 76 h 81"/>
                <a:gd name="T16" fmla="*/ 28 w 28"/>
                <a:gd name="T17" fmla="*/ 5 h 81"/>
                <a:gd name="T18" fmla="*/ 23 w 28"/>
                <a:gd name="T1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81">
                  <a:moveTo>
                    <a:pt x="23" y="0"/>
                  </a:moveTo>
                  <a:cubicBezTo>
                    <a:pt x="22" y="0"/>
                    <a:pt x="21" y="0"/>
                    <a:pt x="21" y="1"/>
                  </a:cubicBezTo>
                  <a:cubicBezTo>
                    <a:pt x="15" y="4"/>
                    <a:pt x="9" y="8"/>
                    <a:pt x="3" y="11"/>
                  </a:cubicBezTo>
                  <a:cubicBezTo>
                    <a:pt x="1" y="12"/>
                    <a:pt x="0" y="14"/>
                    <a:pt x="0" y="16"/>
                  </a:cubicBezTo>
                  <a:cubicBezTo>
                    <a:pt x="0" y="76"/>
                    <a:pt x="0" y="76"/>
                    <a:pt x="0" y="76"/>
                  </a:cubicBezTo>
                  <a:cubicBezTo>
                    <a:pt x="0" y="79"/>
                    <a:pt x="3" y="81"/>
                    <a:pt x="5" y="81"/>
                  </a:cubicBezTo>
                  <a:cubicBezTo>
                    <a:pt x="23" y="81"/>
                    <a:pt x="23" y="81"/>
                    <a:pt x="23" y="81"/>
                  </a:cubicBezTo>
                  <a:cubicBezTo>
                    <a:pt x="26" y="81"/>
                    <a:pt x="28" y="79"/>
                    <a:pt x="28" y="76"/>
                  </a:cubicBezTo>
                  <a:cubicBezTo>
                    <a:pt x="28" y="5"/>
                    <a:pt x="28" y="5"/>
                    <a:pt x="28" y="5"/>
                  </a:cubicBezTo>
                  <a:cubicBezTo>
                    <a:pt x="28" y="2"/>
                    <a:pt x="26" y="0"/>
                    <a:pt x="23"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0" name="Freeform 21514">
              <a:extLst>
                <a:ext uri="{FF2B5EF4-FFF2-40B4-BE49-F238E27FC236}">
                  <a16:creationId xmlns:a16="http://schemas.microsoft.com/office/drawing/2014/main" id="{43FE77BC-3F6E-4997-BC59-28BA3A09615B}"/>
                </a:ext>
              </a:extLst>
            </p:cNvPr>
            <p:cNvSpPr>
              <a:spLocks/>
            </p:cNvSpPr>
            <p:nvPr userDrawn="1"/>
          </p:nvSpPr>
          <p:spPr bwMode="auto">
            <a:xfrm>
              <a:off x="8535353" y="4682490"/>
              <a:ext cx="53975" cy="142875"/>
            </a:xfrm>
            <a:custGeom>
              <a:avLst/>
              <a:gdLst>
                <a:gd name="T0" fmla="*/ 22 w 27"/>
                <a:gd name="T1" fmla="*/ 0 h 71"/>
                <a:gd name="T2" fmla="*/ 20 w 27"/>
                <a:gd name="T3" fmla="*/ 1 h 71"/>
                <a:gd name="T4" fmla="*/ 2 w 27"/>
                <a:gd name="T5" fmla="*/ 10 h 71"/>
                <a:gd name="T6" fmla="*/ 0 w 27"/>
                <a:gd name="T7" fmla="*/ 15 h 71"/>
                <a:gd name="T8" fmla="*/ 0 w 27"/>
                <a:gd name="T9" fmla="*/ 66 h 71"/>
                <a:gd name="T10" fmla="*/ 5 w 27"/>
                <a:gd name="T11" fmla="*/ 71 h 71"/>
                <a:gd name="T12" fmla="*/ 22 w 27"/>
                <a:gd name="T13" fmla="*/ 71 h 71"/>
                <a:gd name="T14" fmla="*/ 27 w 27"/>
                <a:gd name="T15" fmla="*/ 66 h 71"/>
                <a:gd name="T16" fmla="*/ 27 w 27"/>
                <a:gd name="T17" fmla="*/ 5 h 71"/>
                <a:gd name="T18" fmla="*/ 22 w 27"/>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1">
                  <a:moveTo>
                    <a:pt x="22" y="0"/>
                  </a:moveTo>
                  <a:cubicBezTo>
                    <a:pt x="22" y="0"/>
                    <a:pt x="21" y="1"/>
                    <a:pt x="20" y="1"/>
                  </a:cubicBezTo>
                  <a:cubicBezTo>
                    <a:pt x="14" y="4"/>
                    <a:pt x="8" y="7"/>
                    <a:pt x="2" y="10"/>
                  </a:cubicBezTo>
                  <a:cubicBezTo>
                    <a:pt x="1" y="11"/>
                    <a:pt x="0" y="13"/>
                    <a:pt x="0" y="15"/>
                  </a:cubicBezTo>
                  <a:cubicBezTo>
                    <a:pt x="0" y="66"/>
                    <a:pt x="0" y="66"/>
                    <a:pt x="0" y="66"/>
                  </a:cubicBezTo>
                  <a:cubicBezTo>
                    <a:pt x="0" y="69"/>
                    <a:pt x="2" y="71"/>
                    <a:pt x="5" y="71"/>
                  </a:cubicBezTo>
                  <a:cubicBezTo>
                    <a:pt x="22" y="71"/>
                    <a:pt x="22" y="71"/>
                    <a:pt x="22" y="71"/>
                  </a:cubicBezTo>
                  <a:cubicBezTo>
                    <a:pt x="25" y="71"/>
                    <a:pt x="27" y="69"/>
                    <a:pt x="27" y="66"/>
                  </a:cubicBezTo>
                  <a:cubicBezTo>
                    <a:pt x="27" y="5"/>
                    <a:pt x="27" y="5"/>
                    <a:pt x="27" y="5"/>
                  </a:cubicBezTo>
                  <a:cubicBezTo>
                    <a:pt x="27" y="2"/>
                    <a:pt x="25" y="0"/>
                    <a:pt x="22"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1" name="Freeform 21515">
              <a:extLst>
                <a:ext uri="{FF2B5EF4-FFF2-40B4-BE49-F238E27FC236}">
                  <a16:creationId xmlns:a16="http://schemas.microsoft.com/office/drawing/2014/main" id="{EE9A2B0D-CAE4-45C5-AD98-9DC66143BE97}"/>
                </a:ext>
              </a:extLst>
            </p:cNvPr>
            <p:cNvSpPr>
              <a:spLocks/>
            </p:cNvSpPr>
            <p:nvPr userDrawn="1"/>
          </p:nvSpPr>
          <p:spPr bwMode="auto">
            <a:xfrm>
              <a:off x="10119678" y="3942715"/>
              <a:ext cx="44450" cy="66675"/>
            </a:xfrm>
            <a:custGeom>
              <a:avLst/>
              <a:gdLst>
                <a:gd name="T0" fmla="*/ 8 w 22"/>
                <a:gd name="T1" fmla="*/ 0 h 33"/>
                <a:gd name="T2" fmla="*/ 5 w 22"/>
                <a:gd name="T3" fmla="*/ 0 h 33"/>
                <a:gd name="T4" fmla="*/ 0 w 22"/>
                <a:gd name="T5" fmla="*/ 5 h 33"/>
                <a:gd name="T6" fmla="*/ 11 w 22"/>
                <a:gd name="T7" fmla="*/ 33 h 33"/>
                <a:gd name="T8" fmla="*/ 22 w 22"/>
                <a:gd name="T9" fmla="*/ 22 h 33"/>
                <a:gd name="T10" fmla="*/ 10 w 22"/>
                <a:gd name="T11" fmla="*/ 0 h 33"/>
                <a:gd name="T12" fmla="*/ 8 w 22"/>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2" h="33">
                  <a:moveTo>
                    <a:pt x="8" y="0"/>
                  </a:moveTo>
                  <a:cubicBezTo>
                    <a:pt x="7" y="0"/>
                    <a:pt x="6" y="0"/>
                    <a:pt x="5" y="0"/>
                  </a:cubicBezTo>
                  <a:cubicBezTo>
                    <a:pt x="3" y="2"/>
                    <a:pt x="2" y="3"/>
                    <a:pt x="0" y="5"/>
                  </a:cubicBezTo>
                  <a:cubicBezTo>
                    <a:pt x="4" y="14"/>
                    <a:pt x="8" y="23"/>
                    <a:pt x="11" y="33"/>
                  </a:cubicBezTo>
                  <a:cubicBezTo>
                    <a:pt x="15" y="29"/>
                    <a:pt x="19" y="26"/>
                    <a:pt x="22" y="22"/>
                  </a:cubicBezTo>
                  <a:cubicBezTo>
                    <a:pt x="18" y="15"/>
                    <a:pt x="14" y="7"/>
                    <a:pt x="10" y="0"/>
                  </a:cubicBezTo>
                  <a:cubicBezTo>
                    <a:pt x="9" y="0"/>
                    <a:pt x="9" y="0"/>
                    <a:pt x="8" y="0"/>
                  </a:cubicBezTo>
                </a:path>
              </a:pathLst>
            </a:custGeom>
            <a:solidFill>
              <a:srgbClr val="A1C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2" name="Freeform 21516">
              <a:extLst>
                <a:ext uri="{FF2B5EF4-FFF2-40B4-BE49-F238E27FC236}">
                  <a16:creationId xmlns:a16="http://schemas.microsoft.com/office/drawing/2014/main" id="{F8C64690-F0AD-499C-88CC-A04AD8E08030}"/>
                </a:ext>
              </a:extLst>
            </p:cNvPr>
            <p:cNvSpPr>
              <a:spLocks noEditPoints="1"/>
            </p:cNvSpPr>
            <p:nvPr userDrawn="1"/>
          </p:nvSpPr>
          <p:spPr bwMode="auto">
            <a:xfrm>
              <a:off x="9894253" y="3901440"/>
              <a:ext cx="230188" cy="79375"/>
            </a:xfrm>
            <a:custGeom>
              <a:avLst/>
              <a:gdLst>
                <a:gd name="T0" fmla="*/ 106 w 114"/>
                <a:gd name="T1" fmla="*/ 12 h 40"/>
                <a:gd name="T2" fmla="*/ 110 w 114"/>
                <a:gd name="T3" fmla="*/ 22 h 40"/>
                <a:gd name="T4" fmla="*/ 114 w 114"/>
                <a:gd name="T5" fmla="*/ 19 h 40"/>
                <a:gd name="T6" fmla="*/ 106 w 114"/>
                <a:gd name="T7" fmla="*/ 12 h 40"/>
                <a:gd name="T8" fmla="*/ 9 w 114"/>
                <a:gd name="T9" fmla="*/ 2 h 40"/>
                <a:gd name="T10" fmla="*/ 8 w 114"/>
                <a:gd name="T11" fmla="*/ 2 h 40"/>
                <a:gd name="T12" fmla="*/ 6 w 114"/>
                <a:gd name="T13" fmla="*/ 13 h 40"/>
                <a:gd name="T14" fmla="*/ 19 w 114"/>
                <a:gd name="T15" fmla="*/ 23 h 40"/>
                <a:gd name="T16" fmla="*/ 33 w 114"/>
                <a:gd name="T17" fmla="*/ 36 h 40"/>
                <a:gd name="T18" fmla="*/ 40 w 114"/>
                <a:gd name="T19" fmla="*/ 38 h 40"/>
                <a:gd name="T20" fmla="*/ 73 w 114"/>
                <a:gd name="T21" fmla="*/ 39 h 40"/>
                <a:gd name="T22" fmla="*/ 78 w 114"/>
                <a:gd name="T23" fmla="*/ 40 h 40"/>
                <a:gd name="T24" fmla="*/ 68 w 114"/>
                <a:gd name="T25" fmla="*/ 21 h 40"/>
                <a:gd name="T26" fmla="*/ 67 w 114"/>
                <a:gd name="T27" fmla="*/ 21 h 40"/>
                <a:gd name="T28" fmla="*/ 39 w 114"/>
                <a:gd name="T29" fmla="*/ 21 h 40"/>
                <a:gd name="T30" fmla="*/ 33 w 114"/>
                <a:gd name="T31" fmla="*/ 19 h 40"/>
                <a:gd name="T32" fmla="*/ 12 w 114"/>
                <a:gd name="T33" fmla="*/ 3 h 40"/>
                <a:gd name="T34" fmla="*/ 9 w 114"/>
                <a:gd name="T35" fmla="*/ 2 h 40"/>
                <a:gd name="T36" fmla="*/ 45 w 114"/>
                <a:gd name="T37" fmla="*/ 0 h 40"/>
                <a:gd name="T38" fmla="*/ 39 w 114"/>
                <a:gd name="T39" fmla="*/ 6 h 40"/>
                <a:gd name="T40" fmla="*/ 48 w 114"/>
                <a:gd name="T41" fmla="*/ 15 h 40"/>
                <a:gd name="T42" fmla="*/ 48 w 114"/>
                <a:gd name="T43" fmla="*/ 15 h 40"/>
                <a:gd name="T44" fmla="*/ 64 w 114"/>
                <a:gd name="T45" fmla="*/ 15 h 40"/>
                <a:gd name="T46" fmla="*/ 56 w 114"/>
                <a:gd name="T47" fmla="*/ 1 h 40"/>
                <a:gd name="T48" fmla="*/ 45 w 114"/>
                <a:gd name="T4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40">
                  <a:moveTo>
                    <a:pt x="106" y="12"/>
                  </a:moveTo>
                  <a:cubicBezTo>
                    <a:pt x="108" y="15"/>
                    <a:pt x="109" y="18"/>
                    <a:pt x="110" y="22"/>
                  </a:cubicBezTo>
                  <a:cubicBezTo>
                    <a:pt x="112" y="20"/>
                    <a:pt x="114" y="19"/>
                    <a:pt x="114" y="19"/>
                  </a:cubicBezTo>
                  <a:cubicBezTo>
                    <a:pt x="106" y="12"/>
                    <a:pt x="106" y="12"/>
                    <a:pt x="106" y="12"/>
                  </a:cubicBezTo>
                  <a:moveTo>
                    <a:pt x="9" y="2"/>
                  </a:moveTo>
                  <a:cubicBezTo>
                    <a:pt x="8" y="2"/>
                    <a:pt x="8" y="2"/>
                    <a:pt x="8" y="2"/>
                  </a:cubicBezTo>
                  <a:cubicBezTo>
                    <a:pt x="2" y="2"/>
                    <a:pt x="0" y="10"/>
                    <a:pt x="6" y="13"/>
                  </a:cubicBezTo>
                  <a:cubicBezTo>
                    <a:pt x="19" y="23"/>
                    <a:pt x="19" y="23"/>
                    <a:pt x="19" y="23"/>
                  </a:cubicBezTo>
                  <a:cubicBezTo>
                    <a:pt x="33" y="36"/>
                    <a:pt x="33" y="36"/>
                    <a:pt x="33" y="36"/>
                  </a:cubicBezTo>
                  <a:cubicBezTo>
                    <a:pt x="35" y="37"/>
                    <a:pt x="37" y="38"/>
                    <a:pt x="40" y="38"/>
                  </a:cubicBezTo>
                  <a:cubicBezTo>
                    <a:pt x="73" y="39"/>
                    <a:pt x="73" y="39"/>
                    <a:pt x="73" y="39"/>
                  </a:cubicBezTo>
                  <a:cubicBezTo>
                    <a:pt x="74" y="39"/>
                    <a:pt x="76" y="40"/>
                    <a:pt x="78" y="40"/>
                  </a:cubicBezTo>
                  <a:cubicBezTo>
                    <a:pt x="75" y="34"/>
                    <a:pt x="71" y="27"/>
                    <a:pt x="68" y="21"/>
                  </a:cubicBezTo>
                  <a:cubicBezTo>
                    <a:pt x="68" y="21"/>
                    <a:pt x="68" y="21"/>
                    <a:pt x="67" y="21"/>
                  </a:cubicBezTo>
                  <a:cubicBezTo>
                    <a:pt x="39" y="21"/>
                    <a:pt x="39" y="21"/>
                    <a:pt x="39" y="21"/>
                  </a:cubicBezTo>
                  <a:cubicBezTo>
                    <a:pt x="37" y="21"/>
                    <a:pt x="35" y="21"/>
                    <a:pt x="33" y="19"/>
                  </a:cubicBezTo>
                  <a:cubicBezTo>
                    <a:pt x="12" y="3"/>
                    <a:pt x="12" y="3"/>
                    <a:pt x="12" y="3"/>
                  </a:cubicBezTo>
                  <a:cubicBezTo>
                    <a:pt x="11" y="2"/>
                    <a:pt x="10" y="2"/>
                    <a:pt x="9" y="2"/>
                  </a:cubicBezTo>
                  <a:moveTo>
                    <a:pt x="45" y="0"/>
                  </a:moveTo>
                  <a:cubicBezTo>
                    <a:pt x="42" y="0"/>
                    <a:pt x="39" y="3"/>
                    <a:pt x="39" y="6"/>
                  </a:cubicBezTo>
                  <a:cubicBezTo>
                    <a:pt x="39" y="11"/>
                    <a:pt x="43" y="15"/>
                    <a:pt x="48" y="15"/>
                  </a:cubicBezTo>
                  <a:cubicBezTo>
                    <a:pt x="48" y="15"/>
                    <a:pt x="48" y="15"/>
                    <a:pt x="48" y="15"/>
                  </a:cubicBezTo>
                  <a:cubicBezTo>
                    <a:pt x="64" y="15"/>
                    <a:pt x="64" y="15"/>
                    <a:pt x="64" y="15"/>
                  </a:cubicBezTo>
                  <a:cubicBezTo>
                    <a:pt x="62" y="10"/>
                    <a:pt x="59" y="6"/>
                    <a:pt x="56" y="1"/>
                  </a:cubicBezTo>
                  <a:cubicBezTo>
                    <a:pt x="45" y="0"/>
                    <a:pt x="45" y="0"/>
                    <a:pt x="45"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3" name="Freeform 21517">
              <a:extLst>
                <a:ext uri="{FF2B5EF4-FFF2-40B4-BE49-F238E27FC236}">
                  <a16:creationId xmlns:a16="http://schemas.microsoft.com/office/drawing/2014/main" id="{E0012F70-E253-4301-957B-9B0A85393FF5}"/>
                </a:ext>
              </a:extLst>
            </p:cNvPr>
            <p:cNvSpPr>
              <a:spLocks noEditPoints="1"/>
            </p:cNvSpPr>
            <p:nvPr userDrawn="1"/>
          </p:nvSpPr>
          <p:spPr bwMode="auto">
            <a:xfrm>
              <a:off x="9932353" y="3796665"/>
              <a:ext cx="149225" cy="76200"/>
            </a:xfrm>
            <a:custGeom>
              <a:avLst/>
              <a:gdLst>
                <a:gd name="T0" fmla="*/ 73 w 74"/>
                <a:gd name="T1" fmla="*/ 27 h 38"/>
                <a:gd name="T2" fmla="*/ 70 w 74"/>
                <a:gd name="T3" fmla="*/ 30 h 38"/>
                <a:gd name="T4" fmla="*/ 71 w 74"/>
                <a:gd name="T5" fmla="*/ 31 h 38"/>
                <a:gd name="T6" fmla="*/ 74 w 74"/>
                <a:gd name="T7" fmla="*/ 29 h 38"/>
                <a:gd name="T8" fmla="*/ 73 w 74"/>
                <a:gd name="T9" fmla="*/ 27 h 38"/>
                <a:gd name="T10" fmla="*/ 0 w 74"/>
                <a:gd name="T11" fmla="*/ 0 h 38"/>
                <a:gd name="T12" fmla="*/ 27 w 74"/>
                <a:gd name="T13" fmla="*/ 38 h 38"/>
                <a:gd name="T14" fmla="*/ 26 w 74"/>
                <a:gd name="T15" fmla="*/ 36 h 38"/>
                <a:gd name="T16" fmla="*/ 1 w 74"/>
                <a:gd name="T17" fmla="*/ 2 h 38"/>
                <a:gd name="T18" fmla="*/ 0 w 74"/>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8">
                  <a:moveTo>
                    <a:pt x="73" y="27"/>
                  </a:moveTo>
                  <a:cubicBezTo>
                    <a:pt x="72" y="28"/>
                    <a:pt x="71" y="29"/>
                    <a:pt x="70" y="30"/>
                  </a:cubicBezTo>
                  <a:cubicBezTo>
                    <a:pt x="70" y="30"/>
                    <a:pt x="71" y="31"/>
                    <a:pt x="71" y="31"/>
                  </a:cubicBezTo>
                  <a:cubicBezTo>
                    <a:pt x="72" y="30"/>
                    <a:pt x="73" y="29"/>
                    <a:pt x="74" y="29"/>
                  </a:cubicBezTo>
                  <a:cubicBezTo>
                    <a:pt x="74" y="28"/>
                    <a:pt x="73" y="28"/>
                    <a:pt x="73" y="27"/>
                  </a:cubicBezTo>
                  <a:moveTo>
                    <a:pt x="0" y="0"/>
                  </a:moveTo>
                  <a:cubicBezTo>
                    <a:pt x="1" y="20"/>
                    <a:pt x="13" y="32"/>
                    <a:pt x="27" y="38"/>
                  </a:cubicBezTo>
                  <a:cubicBezTo>
                    <a:pt x="27" y="37"/>
                    <a:pt x="26" y="36"/>
                    <a:pt x="26" y="36"/>
                  </a:cubicBezTo>
                  <a:cubicBezTo>
                    <a:pt x="13" y="30"/>
                    <a:pt x="3" y="19"/>
                    <a:pt x="1" y="2"/>
                  </a:cubicBezTo>
                  <a:cubicBezTo>
                    <a:pt x="1" y="1"/>
                    <a:pt x="0" y="0"/>
                    <a:pt x="0"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4" name="Freeform 21518">
              <a:extLst>
                <a:ext uri="{FF2B5EF4-FFF2-40B4-BE49-F238E27FC236}">
                  <a16:creationId xmlns:a16="http://schemas.microsoft.com/office/drawing/2014/main" id="{D1BFE899-2B9A-42AE-89CD-F59FD3486591}"/>
                </a:ext>
              </a:extLst>
            </p:cNvPr>
            <p:cNvSpPr>
              <a:spLocks noEditPoints="1"/>
            </p:cNvSpPr>
            <p:nvPr userDrawn="1"/>
          </p:nvSpPr>
          <p:spPr bwMode="auto">
            <a:xfrm>
              <a:off x="9933940" y="3799840"/>
              <a:ext cx="146050" cy="68263"/>
            </a:xfrm>
            <a:custGeom>
              <a:avLst/>
              <a:gdLst>
                <a:gd name="T0" fmla="*/ 68 w 72"/>
                <a:gd name="T1" fmla="*/ 20 h 34"/>
                <a:gd name="T2" fmla="*/ 66 w 72"/>
                <a:gd name="T3" fmla="*/ 22 h 34"/>
                <a:gd name="T4" fmla="*/ 69 w 72"/>
                <a:gd name="T5" fmla="*/ 28 h 34"/>
                <a:gd name="T6" fmla="*/ 72 w 72"/>
                <a:gd name="T7" fmla="*/ 25 h 34"/>
                <a:gd name="T8" fmla="*/ 68 w 72"/>
                <a:gd name="T9" fmla="*/ 20 h 34"/>
                <a:gd name="T10" fmla="*/ 0 w 72"/>
                <a:gd name="T11" fmla="*/ 0 h 34"/>
                <a:gd name="T12" fmla="*/ 25 w 72"/>
                <a:gd name="T13" fmla="*/ 34 h 34"/>
                <a:gd name="T14" fmla="*/ 18 w 72"/>
                <a:gd name="T15" fmla="*/ 24 h 34"/>
                <a:gd name="T16" fmla="*/ 8 w 72"/>
                <a:gd name="T17" fmla="*/ 10 h 34"/>
                <a:gd name="T18" fmla="*/ 0 w 72"/>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34">
                  <a:moveTo>
                    <a:pt x="68" y="20"/>
                  </a:moveTo>
                  <a:cubicBezTo>
                    <a:pt x="67" y="21"/>
                    <a:pt x="67" y="21"/>
                    <a:pt x="66" y="22"/>
                  </a:cubicBezTo>
                  <a:cubicBezTo>
                    <a:pt x="67" y="24"/>
                    <a:pt x="68" y="26"/>
                    <a:pt x="69" y="28"/>
                  </a:cubicBezTo>
                  <a:cubicBezTo>
                    <a:pt x="70" y="27"/>
                    <a:pt x="71" y="26"/>
                    <a:pt x="72" y="25"/>
                  </a:cubicBezTo>
                  <a:cubicBezTo>
                    <a:pt x="71" y="24"/>
                    <a:pt x="69" y="22"/>
                    <a:pt x="68" y="20"/>
                  </a:cubicBezTo>
                  <a:moveTo>
                    <a:pt x="0" y="0"/>
                  </a:moveTo>
                  <a:cubicBezTo>
                    <a:pt x="2" y="17"/>
                    <a:pt x="12" y="28"/>
                    <a:pt x="25" y="34"/>
                  </a:cubicBezTo>
                  <a:cubicBezTo>
                    <a:pt x="23" y="30"/>
                    <a:pt x="20" y="27"/>
                    <a:pt x="18" y="24"/>
                  </a:cubicBezTo>
                  <a:cubicBezTo>
                    <a:pt x="14" y="20"/>
                    <a:pt x="10" y="16"/>
                    <a:pt x="8" y="10"/>
                  </a:cubicBezTo>
                  <a:cubicBezTo>
                    <a:pt x="5" y="6"/>
                    <a:pt x="3" y="3"/>
                    <a:pt x="0" y="0"/>
                  </a:cubicBezTo>
                </a:path>
              </a:pathLst>
            </a:custGeom>
            <a:solidFill>
              <a:srgbClr val="F5AA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5" name="Freeform 21519">
              <a:extLst>
                <a:ext uri="{FF2B5EF4-FFF2-40B4-BE49-F238E27FC236}">
                  <a16:creationId xmlns:a16="http://schemas.microsoft.com/office/drawing/2014/main" id="{B0BC8939-A11F-486D-A0B7-8C414C6744F9}"/>
                </a:ext>
              </a:extLst>
            </p:cNvPr>
            <p:cNvSpPr>
              <a:spLocks noEditPoints="1"/>
            </p:cNvSpPr>
            <p:nvPr userDrawn="1"/>
          </p:nvSpPr>
          <p:spPr bwMode="auto">
            <a:xfrm>
              <a:off x="9949815" y="3809365"/>
              <a:ext cx="122238" cy="39688"/>
            </a:xfrm>
            <a:custGeom>
              <a:avLst/>
              <a:gdLst>
                <a:gd name="T0" fmla="*/ 0 w 60"/>
                <a:gd name="T1" fmla="*/ 5 h 19"/>
                <a:gd name="T2" fmla="*/ 10 w 60"/>
                <a:gd name="T3" fmla="*/ 19 h 19"/>
                <a:gd name="T4" fmla="*/ 0 w 60"/>
                <a:gd name="T5" fmla="*/ 5 h 19"/>
                <a:gd name="T6" fmla="*/ 49 w 60"/>
                <a:gd name="T7" fmla="*/ 0 h 19"/>
                <a:gd name="T8" fmla="*/ 49 w 60"/>
                <a:gd name="T9" fmla="*/ 1 h 19"/>
                <a:gd name="T10" fmla="*/ 58 w 60"/>
                <a:gd name="T11" fmla="*/ 17 h 19"/>
                <a:gd name="T12" fmla="*/ 60 w 60"/>
                <a:gd name="T13" fmla="*/ 15 h 19"/>
                <a:gd name="T14" fmla="*/ 49 w 6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9">
                  <a:moveTo>
                    <a:pt x="0" y="5"/>
                  </a:moveTo>
                  <a:cubicBezTo>
                    <a:pt x="2" y="11"/>
                    <a:pt x="6" y="15"/>
                    <a:pt x="10" y="19"/>
                  </a:cubicBezTo>
                  <a:cubicBezTo>
                    <a:pt x="7" y="14"/>
                    <a:pt x="3" y="9"/>
                    <a:pt x="0" y="5"/>
                  </a:cubicBezTo>
                  <a:moveTo>
                    <a:pt x="49" y="0"/>
                  </a:moveTo>
                  <a:cubicBezTo>
                    <a:pt x="49" y="0"/>
                    <a:pt x="49" y="1"/>
                    <a:pt x="49" y="1"/>
                  </a:cubicBezTo>
                  <a:cubicBezTo>
                    <a:pt x="52" y="6"/>
                    <a:pt x="55" y="12"/>
                    <a:pt x="58" y="17"/>
                  </a:cubicBezTo>
                  <a:cubicBezTo>
                    <a:pt x="59" y="16"/>
                    <a:pt x="59" y="16"/>
                    <a:pt x="60" y="15"/>
                  </a:cubicBezTo>
                  <a:cubicBezTo>
                    <a:pt x="56" y="10"/>
                    <a:pt x="53" y="5"/>
                    <a:pt x="49"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6" name="Freeform 21520">
              <a:extLst>
                <a:ext uri="{FF2B5EF4-FFF2-40B4-BE49-F238E27FC236}">
                  <a16:creationId xmlns:a16="http://schemas.microsoft.com/office/drawing/2014/main" id="{AA980FA0-2A23-42BF-A11D-33AA848ABC68}"/>
                </a:ext>
              </a:extLst>
            </p:cNvPr>
            <p:cNvSpPr>
              <a:spLocks/>
            </p:cNvSpPr>
            <p:nvPr userDrawn="1"/>
          </p:nvSpPr>
          <p:spPr bwMode="auto">
            <a:xfrm>
              <a:off x="10043478" y="3801428"/>
              <a:ext cx="6350" cy="11113"/>
            </a:xfrm>
            <a:custGeom>
              <a:avLst/>
              <a:gdLst>
                <a:gd name="T0" fmla="*/ 0 w 3"/>
                <a:gd name="T1" fmla="*/ 0 h 5"/>
                <a:gd name="T2" fmla="*/ 3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cubicBezTo>
                    <a:pt x="1" y="2"/>
                    <a:pt x="2" y="4"/>
                    <a:pt x="3" y="5"/>
                  </a:cubicBezTo>
                  <a:cubicBezTo>
                    <a:pt x="3" y="5"/>
                    <a:pt x="3" y="4"/>
                    <a:pt x="3" y="4"/>
                  </a:cubicBezTo>
                  <a:cubicBezTo>
                    <a:pt x="2" y="3"/>
                    <a:pt x="1" y="2"/>
                    <a:pt x="0"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7" name="Rectangle 21521">
              <a:extLst>
                <a:ext uri="{FF2B5EF4-FFF2-40B4-BE49-F238E27FC236}">
                  <a16:creationId xmlns:a16="http://schemas.microsoft.com/office/drawing/2014/main" id="{A2286C2D-420D-4F6F-ACA1-A5FF402F43DC}"/>
                </a:ext>
              </a:extLst>
            </p:cNvPr>
            <p:cNvSpPr>
              <a:spLocks noChangeArrowheads="1"/>
            </p:cNvSpPr>
            <p:nvPr userDrawn="1"/>
          </p:nvSpPr>
          <p:spPr bwMode="auto">
            <a:xfrm>
              <a:off x="8246428" y="3903028"/>
              <a:ext cx="85725" cy="6350"/>
            </a:xfrm>
            <a:prstGeom prst="rect">
              <a:avLst/>
            </a:prstGeom>
            <a:solidFill>
              <a:srgbClr val="3714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8" name="Rectangle 21522">
              <a:extLst>
                <a:ext uri="{FF2B5EF4-FFF2-40B4-BE49-F238E27FC236}">
                  <a16:creationId xmlns:a16="http://schemas.microsoft.com/office/drawing/2014/main" id="{9C768A63-E252-4B72-98AE-8B80150AB39A}"/>
                </a:ext>
              </a:extLst>
            </p:cNvPr>
            <p:cNvSpPr>
              <a:spLocks noChangeArrowheads="1"/>
            </p:cNvSpPr>
            <p:nvPr userDrawn="1"/>
          </p:nvSpPr>
          <p:spPr bwMode="auto">
            <a:xfrm>
              <a:off x="8246428" y="3903028"/>
              <a:ext cx="85725"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9" name="Freeform 21523">
              <a:extLst>
                <a:ext uri="{FF2B5EF4-FFF2-40B4-BE49-F238E27FC236}">
                  <a16:creationId xmlns:a16="http://schemas.microsoft.com/office/drawing/2014/main" id="{66E9B9AF-8F8D-4E68-A113-C2EE2139EFC9}"/>
                </a:ext>
              </a:extLst>
            </p:cNvPr>
            <p:cNvSpPr>
              <a:spLocks/>
            </p:cNvSpPr>
            <p:nvPr userDrawn="1"/>
          </p:nvSpPr>
          <p:spPr bwMode="auto">
            <a:xfrm>
              <a:off x="8228965" y="3626803"/>
              <a:ext cx="100013" cy="107950"/>
            </a:xfrm>
            <a:custGeom>
              <a:avLst/>
              <a:gdLst>
                <a:gd name="T0" fmla="*/ 41 w 49"/>
                <a:gd name="T1" fmla="*/ 0 h 54"/>
                <a:gd name="T2" fmla="*/ 0 w 49"/>
                <a:gd name="T3" fmla="*/ 37 h 54"/>
                <a:gd name="T4" fmla="*/ 2 w 49"/>
                <a:gd name="T5" fmla="*/ 42 h 54"/>
                <a:gd name="T6" fmla="*/ 19 w 49"/>
                <a:gd name="T7" fmla="*/ 54 h 54"/>
                <a:gd name="T8" fmla="*/ 23 w 49"/>
                <a:gd name="T9" fmla="*/ 54 h 54"/>
                <a:gd name="T10" fmla="*/ 27 w 49"/>
                <a:gd name="T11" fmla="*/ 54 h 54"/>
                <a:gd name="T12" fmla="*/ 44 w 49"/>
                <a:gd name="T13" fmla="*/ 42 h 54"/>
                <a:gd name="T14" fmla="*/ 48 w 49"/>
                <a:gd name="T15" fmla="*/ 14 h 54"/>
                <a:gd name="T16" fmla="*/ 41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41" y="0"/>
                  </a:moveTo>
                  <a:cubicBezTo>
                    <a:pt x="27" y="12"/>
                    <a:pt x="13" y="24"/>
                    <a:pt x="0" y="37"/>
                  </a:cubicBezTo>
                  <a:cubicBezTo>
                    <a:pt x="1" y="39"/>
                    <a:pt x="1" y="40"/>
                    <a:pt x="2" y="42"/>
                  </a:cubicBezTo>
                  <a:cubicBezTo>
                    <a:pt x="5" y="47"/>
                    <a:pt x="12" y="52"/>
                    <a:pt x="19" y="54"/>
                  </a:cubicBezTo>
                  <a:cubicBezTo>
                    <a:pt x="21" y="54"/>
                    <a:pt x="22" y="54"/>
                    <a:pt x="23" y="54"/>
                  </a:cubicBezTo>
                  <a:cubicBezTo>
                    <a:pt x="24" y="54"/>
                    <a:pt x="25" y="54"/>
                    <a:pt x="27" y="54"/>
                  </a:cubicBezTo>
                  <a:cubicBezTo>
                    <a:pt x="34" y="52"/>
                    <a:pt x="41" y="47"/>
                    <a:pt x="44" y="42"/>
                  </a:cubicBezTo>
                  <a:cubicBezTo>
                    <a:pt x="47" y="36"/>
                    <a:pt x="49" y="20"/>
                    <a:pt x="48" y="14"/>
                  </a:cubicBezTo>
                  <a:cubicBezTo>
                    <a:pt x="48" y="8"/>
                    <a:pt x="45" y="3"/>
                    <a:pt x="41"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10" name="Freeform 21524">
              <a:extLst>
                <a:ext uri="{FF2B5EF4-FFF2-40B4-BE49-F238E27FC236}">
                  <a16:creationId xmlns:a16="http://schemas.microsoft.com/office/drawing/2014/main" id="{EC9A1A19-A885-47FF-928D-46F5053E6EE1}"/>
                </a:ext>
              </a:extLst>
            </p:cNvPr>
            <p:cNvSpPr>
              <a:spLocks/>
            </p:cNvSpPr>
            <p:nvPr userDrawn="1"/>
          </p:nvSpPr>
          <p:spPr bwMode="auto">
            <a:xfrm>
              <a:off x="8170228" y="3745865"/>
              <a:ext cx="268288" cy="200025"/>
            </a:xfrm>
            <a:custGeom>
              <a:avLst/>
              <a:gdLst>
                <a:gd name="T0" fmla="*/ 34 w 132"/>
                <a:gd name="T1" fmla="*/ 0 h 99"/>
                <a:gd name="T2" fmla="*/ 3 w 132"/>
                <a:gd name="T3" fmla="*/ 21 h 99"/>
                <a:gd name="T4" fmla="*/ 0 w 132"/>
                <a:gd name="T5" fmla="*/ 32 h 99"/>
                <a:gd name="T6" fmla="*/ 17 w 132"/>
                <a:gd name="T7" fmla="*/ 40 h 99"/>
                <a:gd name="T8" fmla="*/ 17 w 132"/>
                <a:gd name="T9" fmla="*/ 35 h 99"/>
                <a:gd name="T10" fmla="*/ 18 w 132"/>
                <a:gd name="T11" fmla="*/ 34 h 99"/>
                <a:gd name="T12" fmla="*/ 86 w 132"/>
                <a:gd name="T13" fmla="*/ 34 h 99"/>
                <a:gd name="T14" fmla="*/ 87 w 132"/>
                <a:gd name="T15" fmla="*/ 35 h 99"/>
                <a:gd name="T16" fmla="*/ 87 w 132"/>
                <a:gd name="T17" fmla="*/ 84 h 99"/>
                <a:gd name="T18" fmla="*/ 37 w 132"/>
                <a:gd name="T19" fmla="*/ 84 h 99"/>
                <a:gd name="T20" fmla="*/ 38 w 132"/>
                <a:gd name="T21" fmla="*/ 99 h 99"/>
                <a:gd name="T22" fmla="*/ 132 w 132"/>
                <a:gd name="T23" fmla="*/ 99 h 99"/>
                <a:gd name="T24" fmla="*/ 132 w 132"/>
                <a:gd name="T25" fmla="*/ 84 h 99"/>
                <a:gd name="T26" fmla="*/ 104 w 132"/>
                <a:gd name="T27" fmla="*/ 84 h 99"/>
                <a:gd name="T28" fmla="*/ 111 w 132"/>
                <a:gd name="T29" fmla="*/ 79 h 99"/>
                <a:gd name="T30" fmla="*/ 113 w 132"/>
                <a:gd name="T31" fmla="*/ 62 h 99"/>
                <a:gd name="T32" fmla="*/ 101 w 132"/>
                <a:gd name="T33" fmla="*/ 22 h 99"/>
                <a:gd name="T34" fmla="*/ 70 w 132"/>
                <a:gd name="T35" fmla="*/ 0 h 99"/>
                <a:gd name="T36" fmla="*/ 58 w 132"/>
                <a:gd name="T37" fmla="*/ 26 h 99"/>
                <a:gd name="T38" fmla="*/ 57 w 132"/>
                <a:gd name="T39" fmla="*/ 10 h 99"/>
                <a:gd name="T40" fmla="*/ 58 w 132"/>
                <a:gd name="T41" fmla="*/ 3 h 99"/>
                <a:gd name="T42" fmla="*/ 57 w 132"/>
                <a:gd name="T43" fmla="*/ 2 h 99"/>
                <a:gd name="T44" fmla="*/ 57 w 132"/>
                <a:gd name="T45" fmla="*/ 2 h 99"/>
                <a:gd name="T46" fmla="*/ 52 w 132"/>
                <a:gd name="T47" fmla="*/ 2 h 99"/>
                <a:gd name="T48" fmla="*/ 47 w 132"/>
                <a:gd name="T49" fmla="*/ 2 h 99"/>
                <a:gd name="T50" fmla="*/ 47 w 132"/>
                <a:gd name="T51" fmla="*/ 2 h 99"/>
                <a:gd name="T52" fmla="*/ 46 w 132"/>
                <a:gd name="T53" fmla="*/ 3 h 99"/>
                <a:gd name="T54" fmla="*/ 47 w 132"/>
                <a:gd name="T55" fmla="*/ 10 h 99"/>
                <a:gd name="T56" fmla="*/ 46 w 132"/>
                <a:gd name="T57" fmla="*/ 26 h 99"/>
                <a:gd name="T58" fmla="*/ 34 w 132"/>
                <a:gd name="T5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99">
                  <a:moveTo>
                    <a:pt x="34" y="0"/>
                  </a:moveTo>
                  <a:cubicBezTo>
                    <a:pt x="22" y="2"/>
                    <a:pt x="6" y="7"/>
                    <a:pt x="3" y="21"/>
                  </a:cubicBezTo>
                  <a:cubicBezTo>
                    <a:pt x="0" y="32"/>
                    <a:pt x="0" y="32"/>
                    <a:pt x="0" y="32"/>
                  </a:cubicBezTo>
                  <a:cubicBezTo>
                    <a:pt x="6" y="34"/>
                    <a:pt x="12" y="37"/>
                    <a:pt x="17" y="40"/>
                  </a:cubicBezTo>
                  <a:cubicBezTo>
                    <a:pt x="17" y="35"/>
                    <a:pt x="17" y="35"/>
                    <a:pt x="17" y="35"/>
                  </a:cubicBezTo>
                  <a:cubicBezTo>
                    <a:pt x="17" y="34"/>
                    <a:pt x="17" y="34"/>
                    <a:pt x="18" y="34"/>
                  </a:cubicBezTo>
                  <a:cubicBezTo>
                    <a:pt x="86" y="34"/>
                    <a:pt x="86" y="34"/>
                    <a:pt x="86" y="34"/>
                  </a:cubicBezTo>
                  <a:cubicBezTo>
                    <a:pt x="87" y="34"/>
                    <a:pt x="87" y="34"/>
                    <a:pt x="87" y="35"/>
                  </a:cubicBezTo>
                  <a:cubicBezTo>
                    <a:pt x="87" y="84"/>
                    <a:pt x="87" y="84"/>
                    <a:pt x="87" y="84"/>
                  </a:cubicBezTo>
                  <a:cubicBezTo>
                    <a:pt x="37" y="84"/>
                    <a:pt x="37" y="84"/>
                    <a:pt x="37" y="84"/>
                  </a:cubicBezTo>
                  <a:cubicBezTo>
                    <a:pt x="38" y="99"/>
                    <a:pt x="38" y="99"/>
                    <a:pt x="38" y="99"/>
                  </a:cubicBezTo>
                  <a:cubicBezTo>
                    <a:pt x="132" y="99"/>
                    <a:pt x="132" y="99"/>
                    <a:pt x="132" y="99"/>
                  </a:cubicBezTo>
                  <a:cubicBezTo>
                    <a:pt x="132" y="84"/>
                    <a:pt x="132" y="84"/>
                    <a:pt x="132" y="84"/>
                  </a:cubicBezTo>
                  <a:cubicBezTo>
                    <a:pt x="104" y="84"/>
                    <a:pt x="104" y="84"/>
                    <a:pt x="104" y="84"/>
                  </a:cubicBezTo>
                  <a:cubicBezTo>
                    <a:pt x="107" y="83"/>
                    <a:pt x="110" y="81"/>
                    <a:pt x="111" y="79"/>
                  </a:cubicBezTo>
                  <a:cubicBezTo>
                    <a:pt x="114" y="75"/>
                    <a:pt x="114" y="67"/>
                    <a:pt x="113" y="62"/>
                  </a:cubicBezTo>
                  <a:cubicBezTo>
                    <a:pt x="101" y="22"/>
                    <a:pt x="101" y="22"/>
                    <a:pt x="101" y="22"/>
                  </a:cubicBezTo>
                  <a:cubicBezTo>
                    <a:pt x="99" y="8"/>
                    <a:pt x="82" y="2"/>
                    <a:pt x="70" y="0"/>
                  </a:cubicBezTo>
                  <a:cubicBezTo>
                    <a:pt x="58" y="26"/>
                    <a:pt x="58" y="26"/>
                    <a:pt x="58" y="26"/>
                  </a:cubicBezTo>
                  <a:cubicBezTo>
                    <a:pt x="57" y="10"/>
                    <a:pt x="57" y="10"/>
                    <a:pt x="57" y="10"/>
                  </a:cubicBezTo>
                  <a:cubicBezTo>
                    <a:pt x="57" y="10"/>
                    <a:pt x="58" y="4"/>
                    <a:pt x="58" y="3"/>
                  </a:cubicBezTo>
                  <a:cubicBezTo>
                    <a:pt x="58" y="2"/>
                    <a:pt x="57" y="2"/>
                    <a:pt x="57" y="2"/>
                  </a:cubicBezTo>
                  <a:cubicBezTo>
                    <a:pt x="57" y="2"/>
                    <a:pt x="57" y="2"/>
                    <a:pt x="57" y="2"/>
                  </a:cubicBezTo>
                  <a:cubicBezTo>
                    <a:pt x="55" y="2"/>
                    <a:pt x="54" y="2"/>
                    <a:pt x="52" y="2"/>
                  </a:cubicBezTo>
                  <a:cubicBezTo>
                    <a:pt x="50" y="2"/>
                    <a:pt x="49" y="2"/>
                    <a:pt x="47" y="2"/>
                  </a:cubicBezTo>
                  <a:cubicBezTo>
                    <a:pt x="47" y="2"/>
                    <a:pt x="47" y="2"/>
                    <a:pt x="47" y="2"/>
                  </a:cubicBezTo>
                  <a:cubicBezTo>
                    <a:pt x="47" y="2"/>
                    <a:pt x="46" y="2"/>
                    <a:pt x="46" y="3"/>
                  </a:cubicBezTo>
                  <a:cubicBezTo>
                    <a:pt x="46" y="4"/>
                    <a:pt x="47" y="10"/>
                    <a:pt x="47" y="10"/>
                  </a:cubicBezTo>
                  <a:cubicBezTo>
                    <a:pt x="46" y="26"/>
                    <a:pt x="46" y="26"/>
                    <a:pt x="46" y="26"/>
                  </a:cubicBezTo>
                  <a:cubicBezTo>
                    <a:pt x="34" y="0"/>
                    <a:pt x="34" y="0"/>
                    <a:pt x="3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11" name="Freeform 21525">
              <a:extLst>
                <a:ext uri="{FF2B5EF4-FFF2-40B4-BE49-F238E27FC236}">
                  <a16:creationId xmlns:a16="http://schemas.microsoft.com/office/drawing/2014/main" id="{DCA7F493-C978-4816-ADAD-9E17A7DB1209}"/>
                </a:ext>
              </a:extLst>
            </p:cNvPr>
            <p:cNvSpPr>
              <a:spLocks/>
            </p:cNvSpPr>
            <p:nvPr userDrawn="1"/>
          </p:nvSpPr>
          <p:spPr bwMode="auto">
            <a:xfrm>
              <a:off x="8027353" y="3815715"/>
              <a:ext cx="206375" cy="153988"/>
            </a:xfrm>
            <a:custGeom>
              <a:avLst/>
              <a:gdLst>
                <a:gd name="T0" fmla="*/ 50 w 102"/>
                <a:gd name="T1" fmla="*/ 0 h 76"/>
                <a:gd name="T2" fmla="*/ 0 w 102"/>
                <a:gd name="T3" fmla="*/ 76 h 76"/>
                <a:gd name="T4" fmla="*/ 102 w 102"/>
                <a:gd name="T5" fmla="*/ 76 h 76"/>
                <a:gd name="T6" fmla="*/ 101 w 102"/>
                <a:gd name="T7" fmla="*/ 36 h 76"/>
                <a:gd name="T8" fmla="*/ 50 w 102"/>
                <a:gd name="T9" fmla="*/ 0 h 76"/>
              </a:gdLst>
              <a:ahLst/>
              <a:cxnLst>
                <a:cxn ang="0">
                  <a:pos x="T0" y="T1"/>
                </a:cxn>
                <a:cxn ang="0">
                  <a:pos x="T2" y="T3"/>
                </a:cxn>
                <a:cxn ang="0">
                  <a:pos x="T4" y="T5"/>
                </a:cxn>
                <a:cxn ang="0">
                  <a:pos x="T6" y="T7"/>
                </a:cxn>
                <a:cxn ang="0">
                  <a:pos x="T8" y="T9"/>
                </a:cxn>
              </a:cxnLst>
              <a:rect l="0" t="0" r="r" b="b"/>
              <a:pathLst>
                <a:path w="102" h="76">
                  <a:moveTo>
                    <a:pt x="50" y="0"/>
                  </a:moveTo>
                  <a:cubicBezTo>
                    <a:pt x="31" y="24"/>
                    <a:pt x="14" y="50"/>
                    <a:pt x="0" y="76"/>
                  </a:cubicBezTo>
                  <a:cubicBezTo>
                    <a:pt x="102" y="76"/>
                    <a:pt x="102" y="76"/>
                    <a:pt x="102" y="76"/>
                  </a:cubicBezTo>
                  <a:cubicBezTo>
                    <a:pt x="101" y="36"/>
                    <a:pt x="101" y="36"/>
                    <a:pt x="101" y="36"/>
                  </a:cubicBezTo>
                  <a:cubicBezTo>
                    <a:pt x="100" y="15"/>
                    <a:pt x="76" y="3"/>
                    <a:pt x="50" y="0"/>
                  </a:cubicBezTo>
                </a:path>
              </a:pathLst>
            </a:custGeom>
            <a:solidFill>
              <a:srgbClr val="BBD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21526">
              <a:extLst>
                <a:ext uri="{FF2B5EF4-FFF2-40B4-BE49-F238E27FC236}">
                  <a16:creationId xmlns:a16="http://schemas.microsoft.com/office/drawing/2014/main" id="{179F34EE-8CDE-4679-8891-AE006B0D7279}"/>
                </a:ext>
              </a:extLst>
            </p:cNvPr>
            <p:cNvSpPr>
              <a:spLocks/>
            </p:cNvSpPr>
            <p:nvPr userDrawn="1"/>
          </p:nvSpPr>
          <p:spPr bwMode="auto">
            <a:xfrm>
              <a:off x="8335328" y="3558540"/>
              <a:ext cx="214313" cy="173038"/>
            </a:xfrm>
            <a:custGeom>
              <a:avLst/>
              <a:gdLst>
                <a:gd name="T0" fmla="*/ 55 w 106"/>
                <a:gd name="T1" fmla="*/ 0 h 86"/>
                <a:gd name="T2" fmla="*/ 4 w 106"/>
                <a:gd name="T3" fmla="*/ 39 h 86"/>
                <a:gd name="T4" fmla="*/ 10 w 106"/>
                <a:gd name="T5" fmla="*/ 86 h 86"/>
                <a:gd name="T6" fmla="*/ 35 w 106"/>
                <a:gd name="T7" fmla="*/ 76 h 86"/>
                <a:gd name="T8" fmla="*/ 46 w 106"/>
                <a:gd name="T9" fmla="*/ 78 h 86"/>
                <a:gd name="T10" fmla="*/ 55 w 106"/>
                <a:gd name="T11" fmla="*/ 79 h 86"/>
                <a:gd name="T12" fmla="*/ 86 w 106"/>
                <a:gd name="T13" fmla="*/ 71 h 86"/>
                <a:gd name="T14" fmla="*/ 106 w 106"/>
                <a:gd name="T15" fmla="*/ 39 h 86"/>
                <a:gd name="T16" fmla="*/ 55 w 106"/>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86">
                  <a:moveTo>
                    <a:pt x="55" y="0"/>
                  </a:moveTo>
                  <a:cubicBezTo>
                    <a:pt x="27" y="0"/>
                    <a:pt x="7" y="18"/>
                    <a:pt x="4" y="39"/>
                  </a:cubicBezTo>
                  <a:cubicBezTo>
                    <a:pt x="0" y="62"/>
                    <a:pt x="15" y="74"/>
                    <a:pt x="10" y="86"/>
                  </a:cubicBezTo>
                  <a:cubicBezTo>
                    <a:pt x="35" y="76"/>
                    <a:pt x="35" y="76"/>
                    <a:pt x="35" y="76"/>
                  </a:cubicBezTo>
                  <a:cubicBezTo>
                    <a:pt x="39" y="77"/>
                    <a:pt x="43" y="78"/>
                    <a:pt x="46" y="78"/>
                  </a:cubicBezTo>
                  <a:cubicBezTo>
                    <a:pt x="49" y="79"/>
                    <a:pt x="52" y="79"/>
                    <a:pt x="55" y="79"/>
                  </a:cubicBezTo>
                  <a:cubicBezTo>
                    <a:pt x="66" y="79"/>
                    <a:pt x="77" y="76"/>
                    <a:pt x="86" y="71"/>
                  </a:cubicBezTo>
                  <a:cubicBezTo>
                    <a:pt x="98" y="64"/>
                    <a:pt x="106" y="52"/>
                    <a:pt x="106" y="39"/>
                  </a:cubicBezTo>
                  <a:cubicBezTo>
                    <a:pt x="106" y="18"/>
                    <a:pt x="83" y="0"/>
                    <a:pt x="55" y="0"/>
                  </a:cubicBezTo>
                </a:path>
              </a:pathLst>
            </a:custGeom>
            <a:solidFill>
              <a:srgbClr val="BBD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1" name="Freeform 21527">
              <a:extLst>
                <a:ext uri="{FF2B5EF4-FFF2-40B4-BE49-F238E27FC236}">
                  <a16:creationId xmlns:a16="http://schemas.microsoft.com/office/drawing/2014/main" id="{30691CF4-6513-4AF4-AB71-3FD5F8FFC408}"/>
                </a:ext>
              </a:extLst>
            </p:cNvPr>
            <p:cNvSpPr>
              <a:spLocks/>
            </p:cNvSpPr>
            <p:nvPr userDrawn="1"/>
          </p:nvSpPr>
          <p:spPr bwMode="auto">
            <a:xfrm>
              <a:off x="9083040" y="3812540"/>
              <a:ext cx="306388" cy="142875"/>
            </a:xfrm>
            <a:custGeom>
              <a:avLst/>
              <a:gdLst>
                <a:gd name="T0" fmla="*/ 60 w 152"/>
                <a:gd name="T1" fmla="*/ 0 h 71"/>
                <a:gd name="T2" fmla="*/ 0 w 152"/>
                <a:gd name="T3" fmla="*/ 22 h 71"/>
                <a:gd name="T4" fmla="*/ 2 w 152"/>
                <a:gd name="T5" fmla="*/ 37 h 71"/>
                <a:gd name="T6" fmla="*/ 60 w 152"/>
                <a:gd name="T7" fmla="*/ 13 h 71"/>
                <a:gd name="T8" fmla="*/ 124 w 152"/>
                <a:gd name="T9" fmla="*/ 42 h 71"/>
                <a:gd name="T10" fmla="*/ 113 w 152"/>
                <a:gd name="T11" fmla="*/ 47 h 71"/>
                <a:gd name="T12" fmla="*/ 114 w 152"/>
                <a:gd name="T13" fmla="*/ 56 h 71"/>
                <a:gd name="T14" fmla="*/ 152 w 152"/>
                <a:gd name="T15" fmla="*/ 71 h 71"/>
                <a:gd name="T16" fmla="*/ 148 w 152"/>
                <a:gd name="T17" fmla="*/ 31 h 71"/>
                <a:gd name="T18" fmla="*/ 144 w 152"/>
                <a:gd name="T19" fmla="*/ 25 h 71"/>
                <a:gd name="T20" fmla="*/ 140 w 152"/>
                <a:gd name="T21" fmla="*/ 27 h 71"/>
                <a:gd name="T22" fmla="*/ 134 w 152"/>
                <a:gd name="T23" fmla="*/ 34 h 71"/>
                <a:gd name="T24" fmla="*/ 60 w 15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71">
                  <a:moveTo>
                    <a:pt x="60" y="0"/>
                  </a:moveTo>
                  <a:cubicBezTo>
                    <a:pt x="37" y="0"/>
                    <a:pt x="16" y="8"/>
                    <a:pt x="0" y="22"/>
                  </a:cubicBezTo>
                  <a:cubicBezTo>
                    <a:pt x="0" y="27"/>
                    <a:pt x="1" y="32"/>
                    <a:pt x="2" y="37"/>
                  </a:cubicBezTo>
                  <a:cubicBezTo>
                    <a:pt x="17" y="22"/>
                    <a:pt x="37" y="13"/>
                    <a:pt x="60" y="13"/>
                  </a:cubicBezTo>
                  <a:cubicBezTo>
                    <a:pt x="86" y="13"/>
                    <a:pt x="109" y="24"/>
                    <a:pt x="124" y="42"/>
                  </a:cubicBezTo>
                  <a:cubicBezTo>
                    <a:pt x="119" y="44"/>
                    <a:pt x="114" y="46"/>
                    <a:pt x="113" y="47"/>
                  </a:cubicBezTo>
                  <a:cubicBezTo>
                    <a:pt x="109" y="49"/>
                    <a:pt x="108" y="54"/>
                    <a:pt x="114" y="56"/>
                  </a:cubicBezTo>
                  <a:cubicBezTo>
                    <a:pt x="121" y="58"/>
                    <a:pt x="152" y="71"/>
                    <a:pt x="152" y="71"/>
                  </a:cubicBezTo>
                  <a:cubicBezTo>
                    <a:pt x="152" y="71"/>
                    <a:pt x="149" y="37"/>
                    <a:pt x="148" y="31"/>
                  </a:cubicBezTo>
                  <a:cubicBezTo>
                    <a:pt x="148" y="27"/>
                    <a:pt x="146" y="25"/>
                    <a:pt x="144" y="25"/>
                  </a:cubicBezTo>
                  <a:cubicBezTo>
                    <a:pt x="142" y="25"/>
                    <a:pt x="141" y="26"/>
                    <a:pt x="140" y="27"/>
                  </a:cubicBezTo>
                  <a:cubicBezTo>
                    <a:pt x="139" y="27"/>
                    <a:pt x="136" y="31"/>
                    <a:pt x="134" y="34"/>
                  </a:cubicBezTo>
                  <a:cubicBezTo>
                    <a:pt x="116" y="13"/>
                    <a:pt x="90" y="0"/>
                    <a:pt x="60"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2" name="Freeform 21528">
              <a:extLst>
                <a:ext uri="{FF2B5EF4-FFF2-40B4-BE49-F238E27FC236}">
                  <a16:creationId xmlns:a16="http://schemas.microsoft.com/office/drawing/2014/main" id="{592CE65D-CE47-4A1B-A645-2708CEA97340}"/>
                </a:ext>
              </a:extLst>
            </p:cNvPr>
            <p:cNvSpPr>
              <a:spLocks/>
            </p:cNvSpPr>
            <p:nvPr userDrawn="1"/>
          </p:nvSpPr>
          <p:spPr bwMode="auto">
            <a:xfrm>
              <a:off x="9151303" y="3961765"/>
              <a:ext cx="246063" cy="263525"/>
            </a:xfrm>
            <a:custGeom>
              <a:avLst/>
              <a:gdLst>
                <a:gd name="T0" fmla="*/ 106 w 122"/>
                <a:gd name="T1" fmla="*/ 0 h 131"/>
                <a:gd name="T2" fmla="*/ 109 w 122"/>
                <a:gd name="T3" fmla="*/ 21 h 131"/>
                <a:gd name="T4" fmla="*/ 39 w 122"/>
                <a:gd name="T5" fmla="*/ 103 h 131"/>
                <a:gd name="T6" fmla="*/ 41 w 122"/>
                <a:gd name="T7" fmla="*/ 91 h 131"/>
                <a:gd name="T8" fmla="*/ 37 w 122"/>
                <a:gd name="T9" fmla="*/ 86 h 131"/>
                <a:gd name="T10" fmla="*/ 32 w 122"/>
                <a:gd name="T11" fmla="*/ 88 h 131"/>
                <a:gd name="T12" fmla="*/ 0 w 122"/>
                <a:gd name="T13" fmla="*/ 113 h 131"/>
                <a:gd name="T14" fmla="*/ 38 w 122"/>
                <a:gd name="T15" fmla="*/ 130 h 131"/>
                <a:gd name="T16" fmla="*/ 41 w 122"/>
                <a:gd name="T17" fmla="*/ 131 h 131"/>
                <a:gd name="T18" fmla="*/ 45 w 122"/>
                <a:gd name="T19" fmla="*/ 124 h 131"/>
                <a:gd name="T20" fmla="*/ 41 w 122"/>
                <a:gd name="T21" fmla="*/ 115 h 131"/>
                <a:gd name="T22" fmla="*/ 122 w 122"/>
                <a:gd name="T23" fmla="*/ 21 h 131"/>
                <a:gd name="T24" fmla="*/ 120 w 122"/>
                <a:gd name="T25" fmla="*/ 6 h 131"/>
                <a:gd name="T26" fmla="*/ 106 w 122"/>
                <a:gd name="T2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131">
                  <a:moveTo>
                    <a:pt x="106" y="0"/>
                  </a:moveTo>
                  <a:cubicBezTo>
                    <a:pt x="108" y="7"/>
                    <a:pt x="109" y="14"/>
                    <a:pt x="109" y="21"/>
                  </a:cubicBezTo>
                  <a:cubicBezTo>
                    <a:pt x="109" y="62"/>
                    <a:pt x="79" y="96"/>
                    <a:pt x="39" y="103"/>
                  </a:cubicBezTo>
                  <a:cubicBezTo>
                    <a:pt x="40" y="98"/>
                    <a:pt x="41" y="92"/>
                    <a:pt x="41" y="91"/>
                  </a:cubicBezTo>
                  <a:cubicBezTo>
                    <a:pt x="41" y="88"/>
                    <a:pt x="40" y="86"/>
                    <a:pt x="37" y="86"/>
                  </a:cubicBezTo>
                  <a:cubicBezTo>
                    <a:pt x="36" y="86"/>
                    <a:pt x="34" y="86"/>
                    <a:pt x="32" y="88"/>
                  </a:cubicBezTo>
                  <a:cubicBezTo>
                    <a:pt x="27" y="92"/>
                    <a:pt x="0" y="113"/>
                    <a:pt x="0" y="113"/>
                  </a:cubicBezTo>
                  <a:cubicBezTo>
                    <a:pt x="0" y="113"/>
                    <a:pt x="31" y="126"/>
                    <a:pt x="38" y="130"/>
                  </a:cubicBezTo>
                  <a:cubicBezTo>
                    <a:pt x="39" y="130"/>
                    <a:pt x="40" y="131"/>
                    <a:pt x="41" y="131"/>
                  </a:cubicBezTo>
                  <a:cubicBezTo>
                    <a:pt x="45" y="131"/>
                    <a:pt x="46" y="127"/>
                    <a:pt x="45" y="124"/>
                  </a:cubicBezTo>
                  <a:cubicBezTo>
                    <a:pt x="45" y="123"/>
                    <a:pt x="43" y="119"/>
                    <a:pt x="41" y="115"/>
                  </a:cubicBezTo>
                  <a:cubicBezTo>
                    <a:pt x="87" y="108"/>
                    <a:pt x="122" y="68"/>
                    <a:pt x="122" y="21"/>
                  </a:cubicBezTo>
                  <a:cubicBezTo>
                    <a:pt x="122" y="16"/>
                    <a:pt x="121" y="11"/>
                    <a:pt x="120" y="6"/>
                  </a:cubicBezTo>
                  <a:cubicBezTo>
                    <a:pt x="116" y="4"/>
                    <a:pt x="111" y="2"/>
                    <a:pt x="106"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Freeform 21529">
              <a:extLst>
                <a:ext uri="{FF2B5EF4-FFF2-40B4-BE49-F238E27FC236}">
                  <a16:creationId xmlns:a16="http://schemas.microsoft.com/office/drawing/2014/main" id="{089D58F8-DF95-4771-9C33-5EE0E7527D2F}"/>
                </a:ext>
              </a:extLst>
            </p:cNvPr>
            <p:cNvSpPr>
              <a:spLocks/>
            </p:cNvSpPr>
            <p:nvPr userDrawn="1"/>
          </p:nvSpPr>
          <p:spPr bwMode="auto">
            <a:xfrm>
              <a:off x="8989378" y="3866515"/>
              <a:ext cx="171450" cy="315913"/>
            </a:xfrm>
            <a:custGeom>
              <a:avLst/>
              <a:gdLst>
                <a:gd name="T0" fmla="*/ 39 w 85"/>
                <a:gd name="T1" fmla="*/ 0 h 157"/>
                <a:gd name="T2" fmla="*/ 6 w 85"/>
                <a:gd name="T3" fmla="*/ 24 h 157"/>
                <a:gd name="T4" fmla="*/ 7 w 85"/>
                <a:gd name="T5" fmla="*/ 33 h 157"/>
                <a:gd name="T6" fmla="*/ 18 w 85"/>
                <a:gd name="T7" fmla="*/ 35 h 157"/>
                <a:gd name="T8" fmla="*/ 11 w 85"/>
                <a:gd name="T9" fmla="*/ 68 h 157"/>
                <a:gd name="T10" fmla="*/ 73 w 85"/>
                <a:gd name="T11" fmla="*/ 157 h 157"/>
                <a:gd name="T12" fmla="*/ 85 w 85"/>
                <a:gd name="T13" fmla="*/ 148 h 157"/>
                <a:gd name="T14" fmla="*/ 24 w 85"/>
                <a:gd name="T15" fmla="*/ 68 h 157"/>
                <a:gd name="T16" fmla="*/ 29 w 85"/>
                <a:gd name="T17" fmla="*/ 39 h 157"/>
                <a:gd name="T18" fmla="*/ 38 w 85"/>
                <a:gd name="T19" fmla="*/ 46 h 157"/>
                <a:gd name="T20" fmla="*/ 41 w 85"/>
                <a:gd name="T21" fmla="*/ 47 h 157"/>
                <a:gd name="T22" fmla="*/ 45 w 85"/>
                <a:gd name="T23" fmla="*/ 40 h 157"/>
                <a:gd name="T24" fmla="*/ 39 w 85"/>
                <a:gd name="T2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7">
                  <a:moveTo>
                    <a:pt x="39" y="0"/>
                  </a:moveTo>
                  <a:cubicBezTo>
                    <a:pt x="39" y="0"/>
                    <a:pt x="12" y="20"/>
                    <a:pt x="6" y="24"/>
                  </a:cubicBezTo>
                  <a:cubicBezTo>
                    <a:pt x="0" y="28"/>
                    <a:pt x="3" y="32"/>
                    <a:pt x="7" y="33"/>
                  </a:cubicBezTo>
                  <a:cubicBezTo>
                    <a:pt x="8" y="33"/>
                    <a:pt x="13" y="34"/>
                    <a:pt x="18" y="35"/>
                  </a:cubicBezTo>
                  <a:cubicBezTo>
                    <a:pt x="14" y="45"/>
                    <a:pt x="11" y="56"/>
                    <a:pt x="11" y="68"/>
                  </a:cubicBezTo>
                  <a:cubicBezTo>
                    <a:pt x="11" y="109"/>
                    <a:pt x="37" y="143"/>
                    <a:pt x="73" y="157"/>
                  </a:cubicBezTo>
                  <a:cubicBezTo>
                    <a:pt x="76" y="154"/>
                    <a:pt x="81" y="151"/>
                    <a:pt x="85" y="148"/>
                  </a:cubicBezTo>
                  <a:cubicBezTo>
                    <a:pt x="50" y="138"/>
                    <a:pt x="24" y="106"/>
                    <a:pt x="24" y="68"/>
                  </a:cubicBezTo>
                  <a:cubicBezTo>
                    <a:pt x="24" y="58"/>
                    <a:pt x="26" y="48"/>
                    <a:pt x="29" y="39"/>
                  </a:cubicBezTo>
                  <a:cubicBezTo>
                    <a:pt x="33" y="42"/>
                    <a:pt x="37" y="45"/>
                    <a:pt x="38" y="46"/>
                  </a:cubicBezTo>
                  <a:cubicBezTo>
                    <a:pt x="39" y="47"/>
                    <a:pt x="40" y="47"/>
                    <a:pt x="41" y="47"/>
                  </a:cubicBezTo>
                  <a:cubicBezTo>
                    <a:pt x="44" y="47"/>
                    <a:pt x="46" y="45"/>
                    <a:pt x="45" y="40"/>
                  </a:cubicBezTo>
                  <a:cubicBezTo>
                    <a:pt x="44" y="33"/>
                    <a:pt x="39" y="0"/>
                    <a:pt x="39"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Oval 21530">
              <a:extLst>
                <a:ext uri="{FF2B5EF4-FFF2-40B4-BE49-F238E27FC236}">
                  <a16:creationId xmlns:a16="http://schemas.microsoft.com/office/drawing/2014/main" id="{D08F1D44-A001-4C8F-A812-B8D05936066D}"/>
                </a:ext>
              </a:extLst>
            </p:cNvPr>
            <p:cNvSpPr>
              <a:spLocks noChangeArrowheads="1"/>
            </p:cNvSpPr>
            <p:nvPr userDrawn="1"/>
          </p:nvSpPr>
          <p:spPr bwMode="auto">
            <a:xfrm>
              <a:off x="9151303" y="3880803"/>
              <a:ext cx="107950" cy="106363"/>
            </a:xfrm>
            <a:prstGeom prst="ellipse">
              <a:avLst/>
            </a:pr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21531">
              <a:extLst>
                <a:ext uri="{FF2B5EF4-FFF2-40B4-BE49-F238E27FC236}">
                  <a16:creationId xmlns:a16="http://schemas.microsoft.com/office/drawing/2014/main" id="{C35725C5-0C1C-49E8-9C88-9C7D085DA230}"/>
                </a:ext>
              </a:extLst>
            </p:cNvPr>
            <p:cNvSpPr>
              <a:spLocks/>
            </p:cNvSpPr>
            <p:nvPr userDrawn="1"/>
          </p:nvSpPr>
          <p:spPr bwMode="auto">
            <a:xfrm>
              <a:off x="9119553" y="4007803"/>
              <a:ext cx="171450" cy="92075"/>
            </a:xfrm>
            <a:custGeom>
              <a:avLst/>
              <a:gdLst>
                <a:gd name="T0" fmla="*/ 65 w 85"/>
                <a:gd name="T1" fmla="*/ 0 h 46"/>
                <a:gd name="T2" fmla="*/ 20 w 85"/>
                <a:gd name="T3" fmla="*/ 0 h 46"/>
                <a:gd name="T4" fmla="*/ 0 w 85"/>
                <a:gd name="T5" fmla="*/ 17 h 46"/>
                <a:gd name="T6" fmla="*/ 0 w 85"/>
                <a:gd name="T7" fmla="*/ 31 h 46"/>
                <a:gd name="T8" fmla="*/ 42 w 85"/>
                <a:gd name="T9" fmla="*/ 46 h 46"/>
                <a:gd name="T10" fmla="*/ 85 w 85"/>
                <a:gd name="T11" fmla="*/ 31 h 46"/>
                <a:gd name="T12" fmla="*/ 85 w 85"/>
                <a:gd name="T13" fmla="*/ 17 h 46"/>
                <a:gd name="T14" fmla="*/ 65 w 85"/>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6">
                  <a:moveTo>
                    <a:pt x="65" y="0"/>
                  </a:moveTo>
                  <a:cubicBezTo>
                    <a:pt x="20" y="0"/>
                    <a:pt x="20" y="0"/>
                    <a:pt x="20" y="0"/>
                  </a:cubicBezTo>
                  <a:cubicBezTo>
                    <a:pt x="9" y="0"/>
                    <a:pt x="0" y="8"/>
                    <a:pt x="0" y="17"/>
                  </a:cubicBezTo>
                  <a:cubicBezTo>
                    <a:pt x="0" y="31"/>
                    <a:pt x="0" y="31"/>
                    <a:pt x="0" y="31"/>
                  </a:cubicBezTo>
                  <a:cubicBezTo>
                    <a:pt x="0" y="31"/>
                    <a:pt x="11" y="46"/>
                    <a:pt x="42" y="46"/>
                  </a:cubicBezTo>
                  <a:cubicBezTo>
                    <a:pt x="72" y="46"/>
                    <a:pt x="85" y="31"/>
                    <a:pt x="85" y="31"/>
                  </a:cubicBezTo>
                  <a:cubicBezTo>
                    <a:pt x="85" y="17"/>
                    <a:pt x="85" y="17"/>
                    <a:pt x="85" y="17"/>
                  </a:cubicBezTo>
                  <a:cubicBezTo>
                    <a:pt x="85" y="8"/>
                    <a:pt x="76" y="0"/>
                    <a:pt x="65" y="0"/>
                  </a:cubicBezTo>
                </a:path>
              </a:pathLst>
            </a:cu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21532">
              <a:extLst>
                <a:ext uri="{FF2B5EF4-FFF2-40B4-BE49-F238E27FC236}">
                  <a16:creationId xmlns:a16="http://schemas.microsoft.com/office/drawing/2014/main" id="{6C1C693C-C533-4B42-9D3F-277CDFE23BCF}"/>
                </a:ext>
              </a:extLst>
            </p:cNvPr>
            <p:cNvSpPr>
              <a:spLocks/>
            </p:cNvSpPr>
            <p:nvPr userDrawn="1"/>
          </p:nvSpPr>
          <p:spPr bwMode="auto">
            <a:xfrm>
              <a:off x="8573453" y="3279140"/>
              <a:ext cx="58738" cy="26988"/>
            </a:xfrm>
            <a:custGeom>
              <a:avLst/>
              <a:gdLst>
                <a:gd name="T0" fmla="*/ 29 w 29"/>
                <a:gd name="T1" fmla="*/ 0 h 13"/>
                <a:gd name="T2" fmla="*/ 0 w 29"/>
                <a:gd name="T3" fmla="*/ 13 h 13"/>
                <a:gd name="T4" fmla="*/ 0 w 29"/>
                <a:gd name="T5" fmla="*/ 13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19" y="4"/>
                    <a:pt x="10" y="8"/>
                    <a:pt x="0" y="13"/>
                  </a:cubicBezTo>
                  <a:cubicBezTo>
                    <a:pt x="0" y="13"/>
                    <a:pt x="0" y="13"/>
                    <a:pt x="0" y="13"/>
                  </a:cubicBezTo>
                  <a:cubicBezTo>
                    <a:pt x="9" y="9"/>
                    <a:pt x="19" y="4"/>
                    <a:pt x="29" y="0"/>
                  </a:cubicBezTo>
                </a:path>
              </a:pathLst>
            </a:custGeom>
            <a:solidFill>
              <a:srgbClr val="85B2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21533">
              <a:extLst>
                <a:ext uri="{FF2B5EF4-FFF2-40B4-BE49-F238E27FC236}">
                  <a16:creationId xmlns:a16="http://schemas.microsoft.com/office/drawing/2014/main" id="{BDEB8B24-F0CB-4548-8038-776E6928226F}"/>
                </a:ext>
              </a:extLst>
            </p:cNvPr>
            <p:cNvSpPr>
              <a:spLocks/>
            </p:cNvSpPr>
            <p:nvPr userDrawn="1"/>
          </p:nvSpPr>
          <p:spPr bwMode="auto">
            <a:xfrm>
              <a:off x="8557578" y="3306128"/>
              <a:ext cx="15875" cy="7938"/>
            </a:xfrm>
            <a:custGeom>
              <a:avLst/>
              <a:gdLst>
                <a:gd name="T0" fmla="*/ 8 w 8"/>
                <a:gd name="T1" fmla="*/ 0 h 4"/>
                <a:gd name="T2" fmla="*/ 1 w 8"/>
                <a:gd name="T3" fmla="*/ 3 h 4"/>
                <a:gd name="T4" fmla="*/ 0 w 8"/>
                <a:gd name="T5" fmla="*/ 4 h 4"/>
                <a:gd name="T6" fmla="*/ 8 w 8"/>
                <a:gd name="T7" fmla="*/ 0 h 4"/>
                <a:gd name="T8" fmla="*/ 8 w 8"/>
                <a:gd name="T9" fmla="*/ 0 h 4"/>
              </a:gdLst>
              <a:ahLst/>
              <a:cxnLst>
                <a:cxn ang="0">
                  <a:pos x="T0" y="T1"/>
                </a:cxn>
                <a:cxn ang="0">
                  <a:pos x="T2" y="T3"/>
                </a:cxn>
                <a:cxn ang="0">
                  <a:pos x="T4" y="T5"/>
                </a:cxn>
                <a:cxn ang="0">
                  <a:pos x="T6" y="T7"/>
                </a:cxn>
                <a:cxn ang="0">
                  <a:pos x="T8" y="T9"/>
                </a:cxn>
              </a:cxnLst>
              <a:rect l="0" t="0" r="r" b="b"/>
              <a:pathLst>
                <a:path w="8" h="4">
                  <a:moveTo>
                    <a:pt x="8" y="0"/>
                  </a:moveTo>
                  <a:cubicBezTo>
                    <a:pt x="6" y="1"/>
                    <a:pt x="3" y="2"/>
                    <a:pt x="1" y="3"/>
                  </a:cubicBezTo>
                  <a:cubicBezTo>
                    <a:pt x="1" y="3"/>
                    <a:pt x="1" y="4"/>
                    <a:pt x="0" y="4"/>
                  </a:cubicBezTo>
                  <a:cubicBezTo>
                    <a:pt x="3" y="3"/>
                    <a:pt x="5" y="2"/>
                    <a:pt x="8" y="0"/>
                  </a:cubicBezTo>
                  <a:cubicBezTo>
                    <a:pt x="8" y="0"/>
                    <a:pt x="8" y="0"/>
                    <a:pt x="8" y="0"/>
                  </a:cubicBezTo>
                </a:path>
              </a:pathLst>
            </a:custGeom>
            <a:solidFill>
              <a:srgbClr val="4FA7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21534">
              <a:extLst>
                <a:ext uri="{FF2B5EF4-FFF2-40B4-BE49-F238E27FC236}">
                  <a16:creationId xmlns:a16="http://schemas.microsoft.com/office/drawing/2014/main" id="{6C6C1D19-3539-41A5-9704-164E6E29B09F}"/>
                </a:ext>
              </a:extLst>
            </p:cNvPr>
            <p:cNvSpPr>
              <a:spLocks noEditPoints="1"/>
            </p:cNvSpPr>
            <p:nvPr userDrawn="1"/>
          </p:nvSpPr>
          <p:spPr bwMode="auto">
            <a:xfrm>
              <a:off x="8546465" y="3188653"/>
              <a:ext cx="1374775" cy="400050"/>
            </a:xfrm>
            <a:custGeom>
              <a:avLst/>
              <a:gdLst>
                <a:gd name="T0" fmla="*/ 42 w 680"/>
                <a:gd name="T1" fmla="*/ 45 h 198"/>
                <a:gd name="T2" fmla="*/ 5 w 680"/>
                <a:gd name="T3" fmla="*/ 62 h 198"/>
                <a:gd name="T4" fmla="*/ 0 w 680"/>
                <a:gd name="T5" fmla="*/ 80 h 198"/>
                <a:gd name="T6" fmla="*/ 7 w 680"/>
                <a:gd name="T7" fmla="*/ 88 h 198"/>
                <a:gd name="T8" fmla="*/ 9 w 680"/>
                <a:gd name="T9" fmla="*/ 89 h 198"/>
                <a:gd name="T10" fmla="*/ 34 w 680"/>
                <a:gd name="T11" fmla="*/ 78 h 198"/>
                <a:gd name="T12" fmla="*/ 40 w 680"/>
                <a:gd name="T13" fmla="*/ 83 h 198"/>
                <a:gd name="T14" fmla="*/ 30 w 680"/>
                <a:gd name="T15" fmla="*/ 112 h 198"/>
                <a:gd name="T16" fmla="*/ 31 w 680"/>
                <a:gd name="T17" fmla="*/ 115 h 198"/>
                <a:gd name="T18" fmla="*/ 38 w 680"/>
                <a:gd name="T19" fmla="*/ 123 h 198"/>
                <a:gd name="T20" fmla="*/ 42 w 680"/>
                <a:gd name="T21" fmla="*/ 123 h 198"/>
                <a:gd name="T22" fmla="*/ 100 w 680"/>
                <a:gd name="T23" fmla="*/ 90 h 198"/>
                <a:gd name="T24" fmla="*/ 101 w 680"/>
                <a:gd name="T25" fmla="*/ 75 h 198"/>
                <a:gd name="T26" fmla="*/ 108 w 680"/>
                <a:gd name="T27" fmla="*/ 76 h 198"/>
                <a:gd name="T28" fmla="*/ 111 w 680"/>
                <a:gd name="T29" fmla="*/ 60 h 198"/>
                <a:gd name="T30" fmla="*/ 114 w 680"/>
                <a:gd name="T31" fmla="*/ 46 h 198"/>
                <a:gd name="T32" fmla="*/ 132 w 680"/>
                <a:gd name="T33" fmla="*/ 50 h 198"/>
                <a:gd name="T34" fmla="*/ 136 w 680"/>
                <a:gd name="T35" fmla="*/ 49 h 198"/>
                <a:gd name="T36" fmla="*/ 136 w 680"/>
                <a:gd name="T37" fmla="*/ 49 h 198"/>
                <a:gd name="T38" fmla="*/ 134 w 680"/>
                <a:gd name="T39" fmla="*/ 32 h 198"/>
                <a:gd name="T40" fmla="*/ 140 w 680"/>
                <a:gd name="T41" fmla="*/ 20 h 198"/>
                <a:gd name="T42" fmla="*/ 159 w 680"/>
                <a:gd name="T43" fmla="*/ 32 h 198"/>
                <a:gd name="T44" fmla="*/ 161 w 680"/>
                <a:gd name="T45" fmla="*/ 10 h 198"/>
                <a:gd name="T46" fmla="*/ 174 w 680"/>
                <a:gd name="T47" fmla="*/ 8 h 198"/>
                <a:gd name="T48" fmla="*/ 186 w 680"/>
                <a:gd name="T49" fmla="*/ 23 h 198"/>
                <a:gd name="T50" fmla="*/ 193 w 680"/>
                <a:gd name="T51" fmla="*/ 5 h 198"/>
                <a:gd name="T52" fmla="*/ 270 w 680"/>
                <a:gd name="T53" fmla="*/ 0 h 198"/>
                <a:gd name="T54" fmla="*/ 208 w 680"/>
                <a:gd name="T55" fmla="*/ 8 h 198"/>
                <a:gd name="T56" fmla="*/ 224 w 680"/>
                <a:gd name="T57" fmla="*/ 11 h 198"/>
                <a:gd name="T58" fmla="*/ 234 w 680"/>
                <a:gd name="T59" fmla="*/ 6 h 198"/>
                <a:gd name="T60" fmla="*/ 240 w 680"/>
                <a:gd name="T61" fmla="*/ 31 h 198"/>
                <a:gd name="T62" fmla="*/ 254 w 680"/>
                <a:gd name="T63" fmla="*/ 23 h 198"/>
                <a:gd name="T64" fmla="*/ 265 w 680"/>
                <a:gd name="T65" fmla="*/ 21 h 198"/>
                <a:gd name="T66" fmla="*/ 263 w 680"/>
                <a:gd name="T67" fmla="*/ 47 h 198"/>
                <a:gd name="T68" fmla="*/ 279 w 680"/>
                <a:gd name="T69" fmla="*/ 44 h 198"/>
                <a:gd name="T70" fmla="*/ 289 w 680"/>
                <a:gd name="T71" fmla="*/ 45 h 198"/>
                <a:gd name="T72" fmla="*/ 280 w 680"/>
                <a:gd name="T73" fmla="*/ 69 h 198"/>
                <a:gd name="T74" fmla="*/ 296 w 680"/>
                <a:gd name="T75" fmla="*/ 71 h 198"/>
                <a:gd name="T76" fmla="*/ 305 w 680"/>
                <a:gd name="T77" fmla="*/ 76 h 198"/>
                <a:gd name="T78" fmla="*/ 315 w 680"/>
                <a:gd name="T79" fmla="*/ 80 h 198"/>
                <a:gd name="T80" fmla="*/ 317 w 680"/>
                <a:gd name="T81" fmla="*/ 57 h 198"/>
                <a:gd name="T82" fmla="*/ 595 w 680"/>
                <a:gd name="T83" fmla="*/ 151 h 198"/>
                <a:gd name="T84" fmla="*/ 631 w 680"/>
                <a:gd name="T85" fmla="*/ 179 h 198"/>
                <a:gd name="T86" fmla="*/ 645 w 680"/>
                <a:gd name="T87" fmla="*/ 184 h 198"/>
                <a:gd name="T88" fmla="*/ 668 w 680"/>
                <a:gd name="T89" fmla="*/ 174 h 198"/>
                <a:gd name="T90" fmla="*/ 680 w 680"/>
                <a:gd name="T91" fmla="*/ 161 h 198"/>
                <a:gd name="T92" fmla="*/ 270 w 680"/>
                <a:gd name="T9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0" h="198">
                  <a:moveTo>
                    <a:pt x="161" y="10"/>
                  </a:moveTo>
                  <a:cubicBezTo>
                    <a:pt x="121" y="17"/>
                    <a:pt x="81" y="29"/>
                    <a:pt x="42" y="45"/>
                  </a:cubicBezTo>
                  <a:cubicBezTo>
                    <a:pt x="32" y="49"/>
                    <a:pt x="22" y="54"/>
                    <a:pt x="13" y="58"/>
                  </a:cubicBezTo>
                  <a:cubicBezTo>
                    <a:pt x="10" y="60"/>
                    <a:pt x="8" y="61"/>
                    <a:pt x="5" y="62"/>
                  </a:cubicBezTo>
                  <a:cubicBezTo>
                    <a:pt x="5" y="62"/>
                    <a:pt x="5" y="62"/>
                    <a:pt x="5" y="62"/>
                  </a:cubicBezTo>
                  <a:cubicBezTo>
                    <a:pt x="2" y="68"/>
                    <a:pt x="0" y="75"/>
                    <a:pt x="0" y="80"/>
                  </a:cubicBezTo>
                  <a:cubicBezTo>
                    <a:pt x="0" y="80"/>
                    <a:pt x="0" y="81"/>
                    <a:pt x="0" y="82"/>
                  </a:cubicBezTo>
                  <a:cubicBezTo>
                    <a:pt x="3" y="84"/>
                    <a:pt x="5" y="86"/>
                    <a:pt x="7" y="88"/>
                  </a:cubicBezTo>
                  <a:cubicBezTo>
                    <a:pt x="8" y="88"/>
                    <a:pt x="8" y="89"/>
                    <a:pt x="9" y="89"/>
                  </a:cubicBezTo>
                  <a:cubicBezTo>
                    <a:pt x="9" y="89"/>
                    <a:pt x="9" y="89"/>
                    <a:pt x="9" y="89"/>
                  </a:cubicBezTo>
                  <a:cubicBezTo>
                    <a:pt x="15" y="88"/>
                    <a:pt x="23" y="84"/>
                    <a:pt x="28" y="81"/>
                  </a:cubicBezTo>
                  <a:cubicBezTo>
                    <a:pt x="31" y="79"/>
                    <a:pt x="33" y="78"/>
                    <a:pt x="34" y="78"/>
                  </a:cubicBezTo>
                  <a:cubicBezTo>
                    <a:pt x="37" y="78"/>
                    <a:pt x="38" y="80"/>
                    <a:pt x="40" y="82"/>
                  </a:cubicBezTo>
                  <a:cubicBezTo>
                    <a:pt x="40" y="83"/>
                    <a:pt x="40" y="83"/>
                    <a:pt x="40" y="83"/>
                  </a:cubicBezTo>
                  <a:cubicBezTo>
                    <a:pt x="43" y="85"/>
                    <a:pt x="45" y="88"/>
                    <a:pt x="40" y="94"/>
                  </a:cubicBezTo>
                  <a:cubicBezTo>
                    <a:pt x="36" y="99"/>
                    <a:pt x="31" y="107"/>
                    <a:pt x="30" y="112"/>
                  </a:cubicBezTo>
                  <a:cubicBezTo>
                    <a:pt x="30" y="113"/>
                    <a:pt x="30" y="114"/>
                    <a:pt x="31" y="114"/>
                  </a:cubicBezTo>
                  <a:cubicBezTo>
                    <a:pt x="31" y="115"/>
                    <a:pt x="31" y="115"/>
                    <a:pt x="31" y="115"/>
                  </a:cubicBezTo>
                  <a:cubicBezTo>
                    <a:pt x="33" y="117"/>
                    <a:pt x="35" y="119"/>
                    <a:pt x="36" y="122"/>
                  </a:cubicBezTo>
                  <a:cubicBezTo>
                    <a:pt x="37" y="122"/>
                    <a:pt x="37" y="122"/>
                    <a:pt x="38" y="123"/>
                  </a:cubicBezTo>
                  <a:cubicBezTo>
                    <a:pt x="39" y="123"/>
                    <a:pt x="39" y="123"/>
                    <a:pt x="40" y="123"/>
                  </a:cubicBezTo>
                  <a:cubicBezTo>
                    <a:pt x="40" y="123"/>
                    <a:pt x="41" y="123"/>
                    <a:pt x="42" y="123"/>
                  </a:cubicBezTo>
                  <a:cubicBezTo>
                    <a:pt x="65" y="113"/>
                    <a:pt x="88" y="105"/>
                    <a:pt x="111" y="99"/>
                  </a:cubicBezTo>
                  <a:cubicBezTo>
                    <a:pt x="110" y="96"/>
                    <a:pt x="105" y="92"/>
                    <a:pt x="100" y="90"/>
                  </a:cubicBezTo>
                  <a:cubicBezTo>
                    <a:pt x="92" y="87"/>
                    <a:pt x="94" y="84"/>
                    <a:pt x="95" y="81"/>
                  </a:cubicBezTo>
                  <a:cubicBezTo>
                    <a:pt x="95" y="78"/>
                    <a:pt x="96" y="75"/>
                    <a:pt x="101" y="75"/>
                  </a:cubicBezTo>
                  <a:cubicBezTo>
                    <a:pt x="102" y="75"/>
                    <a:pt x="103" y="75"/>
                    <a:pt x="104" y="75"/>
                  </a:cubicBezTo>
                  <a:cubicBezTo>
                    <a:pt x="105" y="75"/>
                    <a:pt x="106" y="76"/>
                    <a:pt x="108" y="76"/>
                  </a:cubicBezTo>
                  <a:cubicBezTo>
                    <a:pt x="113" y="76"/>
                    <a:pt x="118" y="75"/>
                    <a:pt x="120" y="73"/>
                  </a:cubicBezTo>
                  <a:cubicBezTo>
                    <a:pt x="119" y="69"/>
                    <a:pt x="115" y="64"/>
                    <a:pt x="111" y="60"/>
                  </a:cubicBezTo>
                  <a:cubicBezTo>
                    <a:pt x="105" y="55"/>
                    <a:pt x="107" y="52"/>
                    <a:pt x="109" y="50"/>
                  </a:cubicBezTo>
                  <a:cubicBezTo>
                    <a:pt x="110" y="48"/>
                    <a:pt x="111" y="46"/>
                    <a:pt x="114" y="46"/>
                  </a:cubicBezTo>
                  <a:cubicBezTo>
                    <a:pt x="115" y="46"/>
                    <a:pt x="117" y="46"/>
                    <a:pt x="119" y="47"/>
                  </a:cubicBezTo>
                  <a:cubicBezTo>
                    <a:pt x="123" y="49"/>
                    <a:pt x="128" y="50"/>
                    <a:pt x="132" y="50"/>
                  </a:cubicBezTo>
                  <a:cubicBezTo>
                    <a:pt x="134" y="50"/>
                    <a:pt x="135" y="50"/>
                    <a:pt x="136" y="49"/>
                  </a:cubicBezTo>
                  <a:cubicBezTo>
                    <a:pt x="136" y="49"/>
                    <a:pt x="136" y="49"/>
                    <a:pt x="136" y="49"/>
                  </a:cubicBezTo>
                  <a:cubicBezTo>
                    <a:pt x="136" y="49"/>
                    <a:pt x="136" y="49"/>
                    <a:pt x="136" y="49"/>
                  </a:cubicBezTo>
                  <a:cubicBezTo>
                    <a:pt x="136" y="49"/>
                    <a:pt x="136" y="49"/>
                    <a:pt x="136" y="49"/>
                  </a:cubicBezTo>
                  <a:cubicBezTo>
                    <a:pt x="136" y="49"/>
                    <a:pt x="136" y="49"/>
                    <a:pt x="136" y="49"/>
                  </a:cubicBezTo>
                  <a:cubicBezTo>
                    <a:pt x="139" y="47"/>
                    <a:pt x="137" y="38"/>
                    <a:pt x="134" y="32"/>
                  </a:cubicBezTo>
                  <a:cubicBezTo>
                    <a:pt x="130" y="25"/>
                    <a:pt x="134" y="24"/>
                    <a:pt x="136" y="22"/>
                  </a:cubicBezTo>
                  <a:cubicBezTo>
                    <a:pt x="137" y="21"/>
                    <a:pt x="139" y="20"/>
                    <a:pt x="140" y="20"/>
                  </a:cubicBezTo>
                  <a:cubicBezTo>
                    <a:pt x="142" y="20"/>
                    <a:pt x="144" y="21"/>
                    <a:pt x="146" y="24"/>
                  </a:cubicBezTo>
                  <a:cubicBezTo>
                    <a:pt x="150" y="28"/>
                    <a:pt x="156" y="31"/>
                    <a:pt x="159" y="32"/>
                  </a:cubicBezTo>
                  <a:cubicBezTo>
                    <a:pt x="162" y="29"/>
                    <a:pt x="162" y="22"/>
                    <a:pt x="161" y="16"/>
                  </a:cubicBezTo>
                  <a:cubicBezTo>
                    <a:pt x="161" y="13"/>
                    <a:pt x="161" y="11"/>
                    <a:pt x="161" y="10"/>
                  </a:cubicBezTo>
                  <a:moveTo>
                    <a:pt x="193" y="5"/>
                  </a:moveTo>
                  <a:cubicBezTo>
                    <a:pt x="187" y="6"/>
                    <a:pt x="180" y="7"/>
                    <a:pt x="174" y="8"/>
                  </a:cubicBezTo>
                  <a:cubicBezTo>
                    <a:pt x="175" y="9"/>
                    <a:pt x="175" y="10"/>
                    <a:pt x="176" y="11"/>
                  </a:cubicBezTo>
                  <a:cubicBezTo>
                    <a:pt x="178" y="16"/>
                    <a:pt x="182" y="21"/>
                    <a:pt x="186" y="23"/>
                  </a:cubicBezTo>
                  <a:cubicBezTo>
                    <a:pt x="189" y="21"/>
                    <a:pt x="191" y="14"/>
                    <a:pt x="193" y="8"/>
                  </a:cubicBezTo>
                  <a:cubicBezTo>
                    <a:pt x="193" y="7"/>
                    <a:pt x="193" y="6"/>
                    <a:pt x="193" y="5"/>
                  </a:cubicBezTo>
                  <a:moveTo>
                    <a:pt x="270" y="0"/>
                  </a:moveTo>
                  <a:cubicBezTo>
                    <a:pt x="270" y="0"/>
                    <a:pt x="270" y="0"/>
                    <a:pt x="270" y="0"/>
                  </a:cubicBezTo>
                  <a:cubicBezTo>
                    <a:pt x="249" y="0"/>
                    <a:pt x="227" y="1"/>
                    <a:pt x="206" y="4"/>
                  </a:cubicBezTo>
                  <a:cubicBezTo>
                    <a:pt x="207" y="5"/>
                    <a:pt x="207" y="6"/>
                    <a:pt x="208" y="8"/>
                  </a:cubicBezTo>
                  <a:cubicBezTo>
                    <a:pt x="209" y="14"/>
                    <a:pt x="211" y="20"/>
                    <a:pt x="213" y="23"/>
                  </a:cubicBezTo>
                  <a:cubicBezTo>
                    <a:pt x="217" y="22"/>
                    <a:pt x="222" y="16"/>
                    <a:pt x="224" y="11"/>
                  </a:cubicBezTo>
                  <a:cubicBezTo>
                    <a:pt x="227" y="6"/>
                    <a:pt x="229" y="5"/>
                    <a:pt x="230" y="5"/>
                  </a:cubicBezTo>
                  <a:cubicBezTo>
                    <a:pt x="232" y="5"/>
                    <a:pt x="233" y="6"/>
                    <a:pt x="234" y="6"/>
                  </a:cubicBezTo>
                  <a:cubicBezTo>
                    <a:pt x="237" y="7"/>
                    <a:pt x="240" y="8"/>
                    <a:pt x="239" y="16"/>
                  </a:cubicBezTo>
                  <a:cubicBezTo>
                    <a:pt x="238" y="21"/>
                    <a:pt x="238" y="28"/>
                    <a:pt x="240" y="31"/>
                  </a:cubicBezTo>
                  <a:cubicBezTo>
                    <a:pt x="240" y="31"/>
                    <a:pt x="240" y="31"/>
                    <a:pt x="241" y="31"/>
                  </a:cubicBezTo>
                  <a:cubicBezTo>
                    <a:pt x="244" y="31"/>
                    <a:pt x="250" y="27"/>
                    <a:pt x="254" y="23"/>
                  </a:cubicBezTo>
                  <a:cubicBezTo>
                    <a:pt x="257" y="20"/>
                    <a:pt x="259" y="19"/>
                    <a:pt x="260" y="19"/>
                  </a:cubicBezTo>
                  <a:cubicBezTo>
                    <a:pt x="262" y="19"/>
                    <a:pt x="263" y="21"/>
                    <a:pt x="265" y="21"/>
                  </a:cubicBezTo>
                  <a:cubicBezTo>
                    <a:pt x="267" y="23"/>
                    <a:pt x="270" y="25"/>
                    <a:pt x="266" y="32"/>
                  </a:cubicBezTo>
                  <a:cubicBezTo>
                    <a:pt x="264" y="37"/>
                    <a:pt x="262" y="43"/>
                    <a:pt x="263" y="47"/>
                  </a:cubicBezTo>
                  <a:cubicBezTo>
                    <a:pt x="264" y="47"/>
                    <a:pt x="265" y="47"/>
                    <a:pt x="266" y="47"/>
                  </a:cubicBezTo>
                  <a:cubicBezTo>
                    <a:pt x="269" y="47"/>
                    <a:pt x="274" y="46"/>
                    <a:pt x="279" y="44"/>
                  </a:cubicBezTo>
                  <a:cubicBezTo>
                    <a:pt x="281" y="42"/>
                    <a:pt x="283" y="42"/>
                    <a:pt x="284" y="42"/>
                  </a:cubicBezTo>
                  <a:cubicBezTo>
                    <a:pt x="287" y="42"/>
                    <a:pt x="288" y="44"/>
                    <a:pt x="289" y="45"/>
                  </a:cubicBezTo>
                  <a:cubicBezTo>
                    <a:pt x="291" y="48"/>
                    <a:pt x="293" y="50"/>
                    <a:pt x="288" y="56"/>
                  </a:cubicBezTo>
                  <a:cubicBezTo>
                    <a:pt x="284" y="60"/>
                    <a:pt x="280" y="65"/>
                    <a:pt x="280" y="69"/>
                  </a:cubicBezTo>
                  <a:cubicBezTo>
                    <a:pt x="281" y="70"/>
                    <a:pt x="285" y="71"/>
                    <a:pt x="290" y="71"/>
                  </a:cubicBezTo>
                  <a:cubicBezTo>
                    <a:pt x="292" y="71"/>
                    <a:pt x="294" y="71"/>
                    <a:pt x="296" y="71"/>
                  </a:cubicBezTo>
                  <a:cubicBezTo>
                    <a:pt x="297" y="70"/>
                    <a:pt x="298" y="70"/>
                    <a:pt x="299" y="70"/>
                  </a:cubicBezTo>
                  <a:cubicBezTo>
                    <a:pt x="304" y="70"/>
                    <a:pt x="304" y="73"/>
                    <a:pt x="305" y="76"/>
                  </a:cubicBezTo>
                  <a:cubicBezTo>
                    <a:pt x="305" y="77"/>
                    <a:pt x="306" y="78"/>
                    <a:pt x="306" y="79"/>
                  </a:cubicBezTo>
                  <a:cubicBezTo>
                    <a:pt x="309" y="80"/>
                    <a:pt x="312" y="80"/>
                    <a:pt x="315" y="80"/>
                  </a:cubicBezTo>
                  <a:cubicBezTo>
                    <a:pt x="315" y="80"/>
                    <a:pt x="315" y="80"/>
                    <a:pt x="316" y="80"/>
                  </a:cubicBezTo>
                  <a:cubicBezTo>
                    <a:pt x="317" y="57"/>
                    <a:pt x="317" y="57"/>
                    <a:pt x="317" y="57"/>
                  </a:cubicBezTo>
                  <a:cubicBezTo>
                    <a:pt x="420" y="62"/>
                    <a:pt x="515" y="96"/>
                    <a:pt x="595" y="151"/>
                  </a:cubicBezTo>
                  <a:cubicBezTo>
                    <a:pt x="595" y="151"/>
                    <a:pt x="595" y="151"/>
                    <a:pt x="595" y="151"/>
                  </a:cubicBezTo>
                  <a:cubicBezTo>
                    <a:pt x="605" y="151"/>
                    <a:pt x="613" y="158"/>
                    <a:pt x="615" y="167"/>
                  </a:cubicBezTo>
                  <a:cubicBezTo>
                    <a:pt x="621" y="171"/>
                    <a:pt x="626" y="175"/>
                    <a:pt x="631" y="179"/>
                  </a:cubicBezTo>
                  <a:cubicBezTo>
                    <a:pt x="633" y="178"/>
                    <a:pt x="634" y="178"/>
                    <a:pt x="636" y="178"/>
                  </a:cubicBezTo>
                  <a:cubicBezTo>
                    <a:pt x="638" y="178"/>
                    <a:pt x="641" y="179"/>
                    <a:pt x="645" y="184"/>
                  </a:cubicBezTo>
                  <a:cubicBezTo>
                    <a:pt x="650" y="190"/>
                    <a:pt x="657" y="197"/>
                    <a:pt x="662" y="198"/>
                  </a:cubicBezTo>
                  <a:cubicBezTo>
                    <a:pt x="666" y="196"/>
                    <a:pt x="668" y="184"/>
                    <a:pt x="668" y="174"/>
                  </a:cubicBezTo>
                  <a:cubicBezTo>
                    <a:pt x="666" y="163"/>
                    <a:pt x="672" y="162"/>
                    <a:pt x="676" y="161"/>
                  </a:cubicBezTo>
                  <a:cubicBezTo>
                    <a:pt x="677" y="161"/>
                    <a:pt x="678" y="161"/>
                    <a:pt x="680" y="161"/>
                  </a:cubicBezTo>
                  <a:cubicBezTo>
                    <a:pt x="566" y="55"/>
                    <a:pt x="418" y="0"/>
                    <a:pt x="270" y="0"/>
                  </a:cubicBezTo>
                  <a:cubicBezTo>
                    <a:pt x="270" y="0"/>
                    <a:pt x="270" y="0"/>
                    <a:pt x="27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21535">
              <a:extLst>
                <a:ext uri="{FF2B5EF4-FFF2-40B4-BE49-F238E27FC236}">
                  <a16:creationId xmlns:a16="http://schemas.microsoft.com/office/drawing/2014/main" id="{BE950ED5-2FBA-4CE9-8A14-3D95DBAB8997}"/>
                </a:ext>
              </a:extLst>
            </p:cNvPr>
            <p:cNvSpPr>
              <a:spLocks/>
            </p:cNvSpPr>
            <p:nvPr userDrawn="1"/>
          </p:nvSpPr>
          <p:spPr bwMode="auto">
            <a:xfrm>
              <a:off x="9749790" y="3493453"/>
              <a:ext cx="41275" cy="31750"/>
            </a:xfrm>
            <a:custGeom>
              <a:avLst/>
              <a:gdLst>
                <a:gd name="T0" fmla="*/ 0 w 20"/>
                <a:gd name="T1" fmla="*/ 0 h 16"/>
                <a:gd name="T2" fmla="*/ 0 w 20"/>
                <a:gd name="T3" fmla="*/ 0 h 16"/>
                <a:gd name="T4" fmla="*/ 20 w 20"/>
                <a:gd name="T5" fmla="*/ 16 h 16"/>
                <a:gd name="T6" fmla="*/ 0 w 20"/>
                <a:gd name="T7" fmla="*/ 0 h 16"/>
              </a:gdLst>
              <a:ahLst/>
              <a:cxnLst>
                <a:cxn ang="0">
                  <a:pos x="T0" y="T1"/>
                </a:cxn>
                <a:cxn ang="0">
                  <a:pos x="T2" y="T3"/>
                </a:cxn>
                <a:cxn ang="0">
                  <a:pos x="T4" y="T5"/>
                </a:cxn>
                <a:cxn ang="0">
                  <a:pos x="T6" y="T7"/>
                </a:cxn>
              </a:cxnLst>
              <a:rect l="0" t="0" r="r" b="b"/>
              <a:pathLst>
                <a:path w="20" h="16">
                  <a:moveTo>
                    <a:pt x="0" y="0"/>
                  </a:moveTo>
                  <a:cubicBezTo>
                    <a:pt x="0" y="0"/>
                    <a:pt x="0" y="0"/>
                    <a:pt x="0" y="0"/>
                  </a:cubicBezTo>
                  <a:cubicBezTo>
                    <a:pt x="7" y="5"/>
                    <a:pt x="14" y="10"/>
                    <a:pt x="20" y="16"/>
                  </a:cubicBezTo>
                  <a:cubicBezTo>
                    <a:pt x="18" y="7"/>
                    <a:pt x="10" y="0"/>
                    <a:pt x="0"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21536">
              <a:extLst>
                <a:ext uri="{FF2B5EF4-FFF2-40B4-BE49-F238E27FC236}">
                  <a16:creationId xmlns:a16="http://schemas.microsoft.com/office/drawing/2014/main" id="{D7642399-8B03-4BD1-953A-4C7ADC4559A4}"/>
                </a:ext>
              </a:extLst>
            </p:cNvPr>
            <p:cNvSpPr>
              <a:spLocks/>
            </p:cNvSpPr>
            <p:nvPr userDrawn="1"/>
          </p:nvSpPr>
          <p:spPr bwMode="auto">
            <a:xfrm>
              <a:off x="8811578" y="3269615"/>
              <a:ext cx="269875" cy="109538"/>
            </a:xfrm>
            <a:custGeom>
              <a:avLst/>
              <a:gdLst>
                <a:gd name="T0" fmla="*/ 70 w 133"/>
                <a:gd name="T1" fmla="*/ 0 h 54"/>
                <a:gd name="T2" fmla="*/ 27 w 133"/>
                <a:gd name="T3" fmla="*/ 13 h 54"/>
                <a:gd name="T4" fmla="*/ 0 w 133"/>
                <a:gd name="T5" fmla="*/ 54 h 54"/>
                <a:gd name="T6" fmla="*/ 42 w 133"/>
                <a:gd name="T7" fmla="*/ 46 h 54"/>
                <a:gd name="T8" fmla="*/ 47 w 133"/>
                <a:gd name="T9" fmla="*/ 41 h 54"/>
                <a:gd name="T10" fmla="*/ 70 w 133"/>
                <a:gd name="T11" fmla="*/ 34 h 54"/>
                <a:gd name="T12" fmla="*/ 91 w 133"/>
                <a:gd name="T13" fmla="*/ 40 h 54"/>
                <a:gd name="T14" fmla="*/ 133 w 133"/>
                <a:gd name="T15" fmla="*/ 38 h 54"/>
                <a:gd name="T16" fmla="*/ 128 w 133"/>
                <a:gd name="T17" fmla="*/ 29 h 54"/>
                <a:gd name="T18" fmla="*/ 70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70" y="0"/>
                  </a:moveTo>
                  <a:cubicBezTo>
                    <a:pt x="55" y="0"/>
                    <a:pt x="40" y="4"/>
                    <a:pt x="27" y="13"/>
                  </a:cubicBezTo>
                  <a:cubicBezTo>
                    <a:pt x="13" y="24"/>
                    <a:pt x="4" y="38"/>
                    <a:pt x="0" y="54"/>
                  </a:cubicBezTo>
                  <a:cubicBezTo>
                    <a:pt x="14" y="51"/>
                    <a:pt x="28" y="48"/>
                    <a:pt x="42" y="46"/>
                  </a:cubicBezTo>
                  <a:cubicBezTo>
                    <a:pt x="43" y="44"/>
                    <a:pt x="45" y="42"/>
                    <a:pt x="47" y="41"/>
                  </a:cubicBezTo>
                  <a:cubicBezTo>
                    <a:pt x="54" y="36"/>
                    <a:pt x="62" y="34"/>
                    <a:pt x="70" y="34"/>
                  </a:cubicBezTo>
                  <a:cubicBezTo>
                    <a:pt x="77" y="34"/>
                    <a:pt x="84" y="36"/>
                    <a:pt x="91" y="40"/>
                  </a:cubicBezTo>
                  <a:cubicBezTo>
                    <a:pt x="105" y="39"/>
                    <a:pt x="119" y="38"/>
                    <a:pt x="133" y="38"/>
                  </a:cubicBezTo>
                  <a:cubicBezTo>
                    <a:pt x="132" y="35"/>
                    <a:pt x="130" y="32"/>
                    <a:pt x="128" y="29"/>
                  </a:cubicBezTo>
                  <a:cubicBezTo>
                    <a:pt x="114" y="10"/>
                    <a:pt x="92" y="0"/>
                    <a:pt x="70"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21537">
              <a:extLst>
                <a:ext uri="{FF2B5EF4-FFF2-40B4-BE49-F238E27FC236}">
                  <a16:creationId xmlns:a16="http://schemas.microsoft.com/office/drawing/2014/main" id="{F89E45A6-5AEC-4783-AFA0-E696409C11D0}"/>
                </a:ext>
              </a:extLst>
            </p:cNvPr>
            <p:cNvSpPr>
              <a:spLocks/>
            </p:cNvSpPr>
            <p:nvPr userDrawn="1"/>
          </p:nvSpPr>
          <p:spPr bwMode="auto">
            <a:xfrm>
              <a:off x="8733790" y="3196590"/>
              <a:ext cx="431800" cy="192088"/>
            </a:xfrm>
            <a:custGeom>
              <a:avLst/>
              <a:gdLst>
                <a:gd name="T0" fmla="*/ 114 w 214"/>
                <a:gd name="T1" fmla="*/ 0 h 95"/>
                <a:gd name="T2" fmla="*/ 101 w 214"/>
                <a:gd name="T3" fmla="*/ 1 h 95"/>
                <a:gd name="T4" fmla="*/ 101 w 214"/>
                <a:gd name="T5" fmla="*/ 4 h 95"/>
                <a:gd name="T6" fmla="*/ 94 w 214"/>
                <a:gd name="T7" fmla="*/ 19 h 95"/>
                <a:gd name="T8" fmla="*/ 84 w 214"/>
                <a:gd name="T9" fmla="*/ 7 h 95"/>
                <a:gd name="T10" fmla="*/ 82 w 214"/>
                <a:gd name="T11" fmla="*/ 4 h 95"/>
                <a:gd name="T12" fmla="*/ 69 w 214"/>
                <a:gd name="T13" fmla="*/ 6 h 95"/>
                <a:gd name="T14" fmla="*/ 69 w 214"/>
                <a:gd name="T15" fmla="*/ 12 h 95"/>
                <a:gd name="T16" fmla="*/ 67 w 214"/>
                <a:gd name="T17" fmla="*/ 28 h 95"/>
                <a:gd name="T18" fmla="*/ 54 w 214"/>
                <a:gd name="T19" fmla="*/ 20 h 95"/>
                <a:gd name="T20" fmla="*/ 48 w 214"/>
                <a:gd name="T21" fmla="*/ 16 h 95"/>
                <a:gd name="T22" fmla="*/ 44 w 214"/>
                <a:gd name="T23" fmla="*/ 18 h 95"/>
                <a:gd name="T24" fmla="*/ 42 w 214"/>
                <a:gd name="T25" fmla="*/ 28 h 95"/>
                <a:gd name="T26" fmla="*/ 44 w 214"/>
                <a:gd name="T27" fmla="*/ 45 h 95"/>
                <a:gd name="T28" fmla="*/ 44 w 214"/>
                <a:gd name="T29" fmla="*/ 45 h 95"/>
                <a:gd name="T30" fmla="*/ 44 w 214"/>
                <a:gd name="T31" fmla="*/ 45 h 95"/>
                <a:gd name="T32" fmla="*/ 44 w 214"/>
                <a:gd name="T33" fmla="*/ 45 h 95"/>
                <a:gd name="T34" fmla="*/ 44 w 214"/>
                <a:gd name="T35" fmla="*/ 45 h 95"/>
                <a:gd name="T36" fmla="*/ 40 w 214"/>
                <a:gd name="T37" fmla="*/ 46 h 95"/>
                <a:gd name="T38" fmla="*/ 27 w 214"/>
                <a:gd name="T39" fmla="*/ 43 h 95"/>
                <a:gd name="T40" fmla="*/ 22 w 214"/>
                <a:gd name="T41" fmla="*/ 42 h 95"/>
                <a:gd name="T42" fmla="*/ 17 w 214"/>
                <a:gd name="T43" fmla="*/ 46 h 95"/>
                <a:gd name="T44" fmla="*/ 19 w 214"/>
                <a:gd name="T45" fmla="*/ 56 h 95"/>
                <a:gd name="T46" fmla="*/ 28 w 214"/>
                <a:gd name="T47" fmla="*/ 69 h 95"/>
                <a:gd name="T48" fmla="*/ 16 w 214"/>
                <a:gd name="T49" fmla="*/ 72 h 95"/>
                <a:gd name="T50" fmla="*/ 12 w 214"/>
                <a:gd name="T51" fmla="*/ 71 h 95"/>
                <a:gd name="T52" fmla="*/ 9 w 214"/>
                <a:gd name="T53" fmla="*/ 71 h 95"/>
                <a:gd name="T54" fmla="*/ 3 w 214"/>
                <a:gd name="T55" fmla="*/ 77 h 95"/>
                <a:gd name="T56" fmla="*/ 8 w 214"/>
                <a:gd name="T57" fmla="*/ 86 h 95"/>
                <a:gd name="T58" fmla="*/ 19 w 214"/>
                <a:gd name="T59" fmla="*/ 95 h 95"/>
                <a:gd name="T60" fmla="*/ 39 w 214"/>
                <a:gd name="T61" fmla="*/ 90 h 95"/>
                <a:gd name="T62" fmla="*/ 66 w 214"/>
                <a:gd name="T63" fmla="*/ 49 h 95"/>
                <a:gd name="T64" fmla="*/ 109 w 214"/>
                <a:gd name="T65" fmla="*/ 36 h 95"/>
                <a:gd name="T66" fmla="*/ 167 w 214"/>
                <a:gd name="T67" fmla="*/ 65 h 95"/>
                <a:gd name="T68" fmla="*/ 172 w 214"/>
                <a:gd name="T69" fmla="*/ 74 h 95"/>
                <a:gd name="T70" fmla="*/ 177 w 214"/>
                <a:gd name="T71" fmla="*/ 74 h 95"/>
                <a:gd name="T72" fmla="*/ 197 w 214"/>
                <a:gd name="T73" fmla="*/ 75 h 95"/>
                <a:gd name="T74" fmla="*/ 199 w 214"/>
                <a:gd name="T75" fmla="*/ 75 h 95"/>
                <a:gd name="T76" fmla="*/ 214 w 214"/>
                <a:gd name="T77" fmla="*/ 75 h 95"/>
                <a:gd name="T78" fmla="*/ 213 w 214"/>
                <a:gd name="T79" fmla="*/ 72 h 95"/>
                <a:gd name="T80" fmla="*/ 207 w 214"/>
                <a:gd name="T81" fmla="*/ 66 h 95"/>
                <a:gd name="T82" fmla="*/ 204 w 214"/>
                <a:gd name="T83" fmla="*/ 67 h 95"/>
                <a:gd name="T84" fmla="*/ 198 w 214"/>
                <a:gd name="T85" fmla="*/ 67 h 95"/>
                <a:gd name="T86" fmla="*/ 188 w 214"/>
                <a:gd name="T87" fmla="*/ 65 h 95"/>
                <a:gd name="T88" fmla="*/ 196 w 214"/>
                <a:gd name="T89" fmla="*/ 52 h 95"/>
                <a:gd name="T90" fmla="*/ 197 w 214"/>
                <a:gd name="T91" fmla="*/ 41 h 95"/>
                <a:gd name="T92" fmla="*/ 192 w 214"/>
                <a:gd name="T93" fmla="*/ 38 h 95"/>
                <a:gd name="T94" fmla="*/ 187 w 214"/>
                <a:gd name="T95" fmla="*/ 40 h 95"/>
                <a:gd name="T96" fmla="*/ 174 w 214"/>
                <a:gd name="T97" fmla="*/ 43 h 95"/>
                <a:gd name="T98" fmla="*/ 171 w 214"/>
                <a:gd name="T99" fmla="*/ 43 h 95"/>
                <a:gd name="T100" fmla="*/ 174 w 214"/>
                <a:gd name="T101" fmla="*/ 28 h 95"/>
                <a:gd name="T102" fmla="*/ 173 w 214"/>
                <a:gd name="T103" fmla="*/ 17 h 95"/>
                <a:gd name="T104" fmla="*/ 168 w 214"/>
                <a:gd name="T105" fmla="*/ 15 h 95"/>
                <a:gd name="T106" fmla="*/ 162 w 214"/>
                <a:gd name="T107" fmla="*/ 19 h 95"/>
                <a:gd name="T108" fmla="*/ 149 w 214"/>
                <a:gd name="T109" fmla="*/ 27 h 95"/>
                <a:gd name="T110" fmla="*/ 148 w 214"/>
                <a:gd name="T111" fmla="*/ 27 h 95"/>
                <a:gd name="T112" fmla="*/ 147 w 214"/>
                <a:gd name="T113" fmla="*/ 12 h 95"/>
                <a:gd name="T114" fmla="*/ 142 w 214"/>
                <a:gd name="T115" fmla="*/ 2 h 95"/>
                <a:gd name="T116" fmla="*/ 138 w 214"/>
                <a:gd name="T117" fmla="*/ 1 h 95"/>
                <a:gd name="T118" fmla="*/ 132 w 214"/>
                <a:gd name="T119" fmla="*/ 7 h 95"/>
                <a:gd name="T120" fmla="*/ 121 w 214"/>
                <a:gd name="T121" fmla="*/ 19 h 95"/>
                <a:gd name="T122" fmla="*/ 116 w 214"/>
                <a:gd name="T123" fmla="*/ 4 h 95"/>
                <a:gd name="T124" fmla="*/ 114 w 214"/>
                <a:gd name="T1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 h="95">
                  <a:moveTo>
                    <a:pt x="114" y="0"/>
                  </a:moveTo>
                  <a:cubicBezTo>
                    <a:pt x="110" y="0"/>
                    <a:pt x="106" y="1"/>
                    <a:pt x="101" y="1"/>
                  </a:cubicBezTo>
                  <a:cubicBezTo>
                    <a:pt x="101" y="2"/>
                    <a:pt x="101" y="3"/>
                    <a:pt x="101" y="4"/>
                  </a:cubicBezTo>
                  <a:cubicBezTo>
                    <a:pt x="99" y="10"/>
                    <a:pt x="97" y="17"/>
                    <a:pt x="94" y="19"/>
                  </a:cubicBezTo>
                  <a:cubicBezTo>
                    <a:pt x="90" y="17"/>
                    <a:pt x="86" y="12"/>
                    <a:pt x="84" y="7"/>
                  </a:cubicBezTo>
                  <a:cubicBezTo>
                    <a:pt x="83" y="6"/>
                    <a:pt x="83" y="5"/>
                    <a:pt x="82" y="4"/>
                  </a:cubicBezTo>
                  <a:cubicBezTo>
                    <a:pt x="78" y="5"/>
                    <a:pt x="74" y="5"/>
                    <a:pt x="69" y="6"/>
                  </a:cubicBezTo>
                  <a:cubicBezTo>
                    <a:pt x="69" y="7"/>
                    <a:pt x="69" y="9"/>
                    <a:pt x="69" y="12"/>
                  </a:cubicBezTo>
                  <a:cubicBezTo>
                    <a:pt x="70" y="18"/>
                    <a:pt x="70" y="25"/>
                    <a:pt x="67" y="28"/>
                  </a:cubicBezTo>
                  <a:cubicBezTo>
                    <a:pt x="64" y="27"/>
                    <a:pt x="58" y="24"/>
                    <a:pt x="54" y="20"/>
                  </a:cubicBezTo>
                  <a:cubicBezTo>
                    <a:pt x="52" y="17"/>
                    <a:pt x="50" y="16"/>
                    <a:pt x="48" y="16"/>
                  </a:cubicBezTo>
                  <a:cubicBezTo>
                    <a:pt x="47" y="16"/>
                    <a:pt x="45" y="17"/>
                    <a:pt x="44" y="18"/>
                  </a:cubicBezTo>
                  <a:cubicBezTo>
                    <a:pt x="42" y="20"/>
                    <a:pt x="38" y="21"/>
                    <a:pt x="42" y="28"/>
                  </a:cubicBezTo>
                  <a:cubicBezTo>
                    <a:pt x="45" y="34"/>
                    <a:pt x="47" y="43"/>
                    <a:pt x="44" y="45"/>
                  </a:cubicBezTo>
                  <a:cubicBezTo>
                    <a:pt x="44" y="45"/>
                    <a:pt x="44" y="45"/>
                    <a:pt x="44" y="45"/>
                  </a:cubicBezTo>
                  <a:cubicBezTo>
                    <a:pt x="44" y="45"/>
                    <a:pt x="44" y="45"/>
                    <a:pt x="44" y="45"/>
                  </a:cubicBezTo>
                  <a:cubicBezTo>
                    <a:pt x="44" y="45"/>
                    <a:pt x="44" y="45"/>
                    <a:pt x="44" y="45"/>
                  </a:cubicBezTo>
                  <a:cubicBezTo>
                    <a:pt x="44" y="45"/>
                    <a:pt x="44" y="45"/>
                    <a:pt x="44" y="45"/>
                  </a:cubicBezTo>
                  <a:cubicBezTo>
                    <a:pt x="43" y="46"/>
                    <a:pt x="42" y="46"/>
                    <a:pt x="40" y="46"/>
                  </a:cubicBezTo>
                  <a:cubicBezTo>
                    <a:pt x="36" y="46"/>
                    <a:pt x="31" y="45"/>
                    <a:pt x="27" y="43"/>
                  </a:cubicBezTo>
                  <a:cubicBezTo>
                    <a:pt x="25" y="42"/>
                    <a:pt x="23" y="42"/>
                    <a:pt x="22" y="42"/>
                  </a:cubicBezTo>
                  <a:cubicBezTo>
                    <a:pt x="19" y="42"/>
                    <a:pt x="18" y="44"/>
                    <a:pt x="17" y="46"/>
                  </a:cubicBezTo>
                  <a:cubicBezTo>
                    <a:pt x="15" y="48"/>
                    <a:pt x="13" y="51"/>
                    <a:pt x="19" y="56"/>
                  </a:cubicBezTo>
                  <a:cubicBezTo>
                    <a:pt x="23" y="60"/>
                    <a:pt x="27" y="65"/>
                    <a:pt x="28" y="69"/>
                  </a:cubicBezTo>
                  <a:cubicBezTo>
                    <a:pt x="26" y="71"/>
                    <a:pt x="21" y="72"/>
                    <a:pt x="16" y="72"/>
                  </a:cubicBezTo>
                  <a:cubicBezTo>
                    <a:pt x="14" y="72"/>
                    <a:pt x="13" y="71"/>
                    <a:pt x="12" y="71"/>
                  </a:cubicBezTo>
                  <a:cubicBezTo>
                    <a:pt x="11" y="71"/>
                    <a:pt x="10" y="71"/>
                    <a:pt x="9" y="71"/>
                  </a:cubicBezTo>
                  <a:cubicBezTo>
                    <a:pt x="4" y="71"/>
                    <a:pt x="3" y="74"/>
                    <a:pt x="3" y="77"/>
                  </a:cubicBezTo>
                  <a:cubicBezTo>
                    <a:pt x="2" y="80"/>
                    <a:pt x="0" y="83"/>
                    <a:pt x="8" y="86"/>
                  </a:cubicBezTo>
                  <a:cubicBezTo>
                    <a:pt x="13" y="88"/>
                    <a:pt x="18" y="92"/>
                    <a:pt x="19" y="95"/>
                  </a:cubicBezTo>
                  <a:cubicBezTo>
                    <a:pt x="26" y="93"/>
                    <a:pt x="32" y="92"/>
                    <a:pt x="39" y="90"/>
                  </a:cubicBezTo>
                  <a:cubicBezTo>
                    <a:pt x="43" y="74"/>
                    <a:pt x="52" y="60"/>
                    <a:pt x="66" y="49"/>
                  </a:cubicBezTo>
                  <a:cubicBezTo>
                    <a:pt x="79" y="40"/>
                    <a:pt x="94" y="36"/>
                    <a:pt x="109" y="36"/>
                  </a:cubicBezTo>
                  <a:cubicBezTo>
                    <a:pt x="131" y="36"/>
                    <a:pt x="153" y="46"/>
                    <a:pt x="167" y="65"/>
                  </a:cubicBezTo>
                  <a:cubicBezTo>
                    <a:pt x="169" y="68"/>
                    <a:pt x="171" y="71"/>
                    <a:pt x="172" y="74"/>
                  </a:cubicBezTo>
                  <a:cubicBezTo>
                    <a:pt x="174" y="74"/>
                    <a:pt x="175" y="74"/>
                    <a:pt x="177" y="74"/>
                  </a:cubicBezTo>
                  <a:cubicBezTo>
                    <a:pt x="184" y="74"/>
                    <a:pt x="191" y="74"/>
                    <a:pt x="197" y="75"/>
                  </a:cubicBezTo>
                  <a:cubicBezTo>
                    <a:pt x="198" y="75"/>
                    <a:pt x="198" y="75"/>
                    <a:pt x="199" y="75"/>
                  </a:cubicBezTo>
                  <a:cubicBezTo>
                    <a:pt x="204" y="75"/>
                    <a:pt x="209" y="75"/>
                    <a:pt x="214" y="75"/>
                  </a:cubicBezTo>
                  <a:cubicBezTo>
                    <a:pt x="214" y="74"/>
                    <a:pt x="213" y="73"/>
                    <a:pt x="213" y="72"/>
                  </a:cubicBezTo>
                  <a:cubicBezTo>
                    <a:pt x="212" y="69"/>
                    <a:pt x="212" y="66"/>
                    <a:pt x="207" y="66"/>
                  </a:cubicBezTo>
                  <a:cubicBezTo>
                    <a:pt x="206" y="66"/>
                    <a:pt x="205" y="66"/>
                    <a:pt x="204" y="67"/>
                  </a:cubicBezTo>
                  <a:cubicBezTo>
                    <a:pt x="202" y="67"/>
                    <a:pt x="200" y="67"/>
                    <a:pt x="198" y="67"/>
                  </a:cubicBezTo>
                  <a:cubicBezTo>
                    <a:pt x="193" y="67"/>
                    <a:pt x="189" y="66"/>
                    <a:pt x="188" y="65"/>
                  </a:cubicBezTo>
                  <a:cubicBezTo>
                    <a:pt x="188" y="61"/>
                    <a:pt x="192" y="56"/>
                    <a:pt x="196" y="52"/>
                  </a:cubicBezTo>
                  <a:cubicBezTo>
                    <a:pt x="201" y="46"/>
                    <a:pt x="199" y="44"/>
                    <a:pt x="197" y="41"/>
                  </a:cubicBezTo>
                  <a:cubicBezTo>
                    <a:pt x="196" y="40"/>
                    <a:pt x="195" y="38"/>
                    <a:pt x="192" y="38"/>
                  </a:cubicBezTo>
                  <a:cubicBezTo>
                    <a:pt x="191" y="38"/>
                    <a:pt x="189" y="38"/>
                    <a:pt x="187" y="40"/>
                  </a:cubicBezTo>
                  <a:cubicBezTo>
                    <a:pt x="182" y="42"/>
                    <a:pt x="177" y="43"/>
                    <a:pt x="174" y="43"/>
                  </a:cubicBezTo>
                  <a:cubicBezTo>
                    <a:pt x="173" y="43"/>
                    <a:pt x="172" y="43"/>
                    <a:pt x="171" y="43"/>
                  </a:cubicBezTo>
                  <a:cubicBezTo>
                    <a:pt x="170" y="39"/>
                    <a:pt x="172" y="33"/>
                    <a:pt x="174" y="28"/>
                  </a:cubicBezTo>
                  <a:cubicBezTo>
                    <a:pt x="178" y="21"/>
                    <a:pt x="175" y="19"/>
                    <a:pt x="173" y="17"/>
                  </a:cubicBezTo>
                  <a:cubicBezTo>
                    <a:pt x="171" y="17"/>
                    <a:pt x="170" y="15"/>
                    <a:pt x="168" y="15"/>
                  </a:cubicBezTo>
                  <a:cubicBezTo>
                    <a:pt x="167" y="15"/>
                    <a:pt x="165" y="16"/>
                    <a:pt x="162" y="19"/>
                  </a:cubicBezTo>
                  <a:cubicBezTo>
                    <a:pt x="158" y="23"/>
                    <a:pt x="152" y="27"/>
                    <a:pt x="149" y="27"/>
                  </a:cubicBezTo>
                  <a:cubicBezTo>
                    <a:pt x="148" y="27"/>
                    <a:pt x="148" y="27"/>
                    <a:pt x="148" y="27"/>
                  </a:cubicBezTo>
                  <a:cubicBezTo>
                    <a:pt x="146" y="24"/>
                    <a:pt x="146" y="17"/>
                    <a:pt x="147" y="12"/>
                  </a:cubicBezTo>
                  <a:cubicBezTo>
                    <a:pt x="148" y="4"/>
                    <a:pt x="145" y="3"/>
                    <a:pt x="142" y="2"/>
                  </a:cubicBezTo>
                  <a:cubicBezTo>
                    <a:pt x="141" y="2"/>
                    <a:pt x="140" y="1"/>
                    <a:pt x="138" y="1"/>
                  </a:cubicBezTo>
                  <a:cubicBezTo>
                    <a:pt x="137" y="1"/>
                    <a:pt x="135" y="2"/>
                    <a:pt x="132" y="7"/>
                  </a:cubicBezTo>
                  <a:cubicBezTo>
                    <a:pt x="130" y="12"/>
                    <a:pt x="125" y="18"/>
                    <a:pt x="121" y="19"/>
                  </a:cubicBezTo>
                  <a:cubicBezTo>
                    <a:pt x="119" y="16"/>
                    <a:pt x="117" y="10"/>
                    <a:pt x="116" y="4"/>
                  </a:cubicBezTo>
                  <a:cubicBezTo>
                    <a:pt x="115" y="2"/>
                    <a:pt x="115" y="1"/>
                    <a:pt x="114"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21538">
              <a:extLst>
                <a:ext uri="{FF2B5EF4-FFF2-40B4-BE49-F238E27FC236}">
                  <a16:creationId xmlns:a16="http://schemas.microsoft.com/office/drawing/2014/main" id="{8028BBDA-5FD3-4269-92FC-90D24C41DE43}"/>
                </a:ext>
              </a:extLst>
            </p:cNvPr>
            <p:cNvSpPr>
              <a:spLocks/>
            </p:cNvSpPr>
            <p:nvPr userDrawn="1"/>
          </p:nvSpPr>
          <p:spPr bwMode="auto">
            <a:xfrm>
              <a:off x="8897303" y="3337878"/>
              <a:ext cx="98425" cy="25400"/>
            </a:xfrm>
            <a:custGeom>
              <a:avLst/>
              <a:gdLst>
                <a:gd name="T0" fmla="*/ 28 w 49"/>
                <a:gd name="T1" fmla="*/ 0 h 12"/>
                <a:gd name="T2" fmla="*/ 5 w 49"/>
                <a:gd name="T3" fmla="*/ 7 h 12"/>
                <a:gd name="T4" fmla="*/ 0 w 49"/>
                <a:gd name="T5" fmla="*/ 12 h 12"/>
                <a:gd name="T6" fmla="*/ 49 w 49"/>
                <a:gd name="T7" fmla="*/ 6 h 12"/>
                <a:gd name="T8" fmla="*/ 28 w 49"/>
                <a:gd name="T9" fmla="*/ 0 h 12"/>
              </a:gdLst>
              <a:ahLst/>
              <a:cxnLst>
                <a:cxn ang="0">
                  <a:pos x="T0" y="T1"/>
                </a:cxn>
                <a:cxn ang="0">
                  <a:pos x="T2" y="T3"/>
                </a:cxn>
                <a:cxn ang="0">
                  <a:pos x="T4" y="T5"/>
                </a:cxn>
                <a:cxn ang="0">
                  <a:pos x="T6" y="T7"/>
                </a:cxn>
                <a:cxn ang="0">
                  <a:pos x="T8" y="T9"/>
                </a:cxn>
              </a:cxnLst>
              <a:rect l="0" t="0" r="r" b="b"/>
              <a:pathLst>
                <a:path w="49" h="12">
                  <a:moveTo>
                    <a:pt x="28" y="0"/>
                  </a:moveTo>
                  <a:cubicBezTo>
                    <a:pt x="20" y="0"/>
                    <a:pt x="12" y="2"/>
                    <a:pt x="5" y="7"/>
                  </a:cubicBezTo>
                  <a:cubicBezTo>
                    <a:pt x="3" y="8"/>
                    <a:pt x="1" y="10"/>
                    <a:pt x="0" y="12"/>
                  </a:cubicBezTo>
                  <a:cubicBezTo>
                    <a:pt x="16" y="9"/>
                    <a:pt x="32" y="7"/>
                    <a:pt x="49" y="6"/>
                  </a:cubicBezTo>
                  <a:cubicBezTo>
                    <a:pt x="42" y="2"/>
                    <a:pt x="35" y="0"/>
                    <a:pt x="28"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21539">
              <a:extLst>
                <a:ext uri="{FF2B5EF4-FFF2-40B4-BE49-F238E27FC236}">
                  <a16:creationId xmlns:a16="http://schemas.microsoft.com/office/drawing/2014/main" id="{64595224-5A32-40E5-AF96-8007C338B8A5}"/>
                </a:ext>
              </a:extLst>
            </p:cNvPr>
            <p:cNvSpPr>
              <a:spLocks noEditPoints="1"/>
            </p:cNvSpPr>
            <p:nvPr userDrawn="1"/>
          </p:nvSpPr>
          <p:spPr bwMode="auto">
            <a:xfrm>
              <a:off x="9940290" y="3529965"/>
              <a:ext cx="361950" cy="708025"/>
            </a:xfrm>
            <a:custGeom>
              <a:avLst/>
              <a:gdLst>
                <a:gd name="T0" fmla="*/ 171 w 179"/>
                <a:gd name="T1" fmla="*/ 306 h 351"/>
                <a:gd name="T2" fmla="*/ 168 w 179"/>
                <a:gd name="T3" fmla="*/ 309 h 351"/>
                <a:gd name="T4" fmla="*/ 161 w 179"/>
                <a:gd name="T5" fmla="*/ 313 h 351"/>
                <a:gd name="T6" fmla="*/ 152 w 179"/>
                <a:gd name="T7" fmla="*/ 310 h 351"/>
                <a:gd name="T8" fmla="*/ 147 w 179"/>
                <a:gd name="T9" fmla="*/ 306 h 351"/>
                <a:gd name="T10" fmla="*/ 154 w 179"/>
                <a:gd name="T11" fmla="*/ 328 h 351"/>
                <a:gd name="T12" fmla="*/ 156 w 179"/>
                <a:gd name="T13" fmla="*/ 328 h 351"/>
                <a:gd name="T14" fmla="*/ 167 w 179"/>
                <a:gd name="T15" fmla="*/ 337 h 351"/>
                <a:gd name="T16" fmla="*/ 176 w 179"/>
                <a:gd name="T17" fmla="*/ 351 h 351"/>
                <a:gd name="T18" fmla="*/ 179 w 179"/>
                <a:gd name="T19" fmla="*/ 351 h 351"/>
                <a:gd name="T20" fmla="*/ 171 w 179"/>
                <a:gd name="T21" fmla="*/ 306 h 351"/>
                <a:gd name="T22" fmla="*/ 162 w 179"/>
                <a:gd name="T23" fmla="*/ 272 h 351"/>
                <a:gd name="T24" fmla="*/ 159 w 179"/>
                <a:gd name="T25" fmla="*/ 272 h 351"/>
                <a:gd name="T26" fmla="*/ 168 w 179"/>
                <a:gd name="T27" fmla="*/ 294 h 351"/>
                <a:gd name="T28" fmla="*/ 168 w 179"/>
                <a:gd name="T29" fmla="*/ 294 h 351"/>
                <a:gd name="T30" fmla="*/ 162 w 179"/>
                <a:gd name="T31" fmla="*/ 272 h 351"/>
                <a:gd name="T32" fmla="*/ 0 w 179"/>
                <a:gd name="T33" fmla="*/ 0 h 351"/>
                <a:gd name="T34" fmla="*/ 13 w 179"/>
                <a:gd name="T35" fmla="*/ 18 h 351"/>
                <a:gd name="T36" fmla="*/ 16 w 179"/>
                <a:gd name="T37" fmla="*/ 16 h 351"/>
                <a:gd name="T38" fmla="*/ 0 w 179"/>
                <a:gd name="T39"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9" h="351">
                  <a:moveTo>
                    <a:pt x="171" y="306"/>
                  </a:moveTo>
                  <a:cubicBezTo>
                    <a:pt x="170" y="307"/>
                    <a:pt x="169" y="308"/>
                    <a:pt x="168" y="309"/>
                  </a:cubicBezTo>
                  <a:cubicBezTo>
                    <a:pt x="166" y="311"/>
                    <a:pt x="164" y="313"/>
                    <a:pt x="161" y="313"/>
                  </a:cubicBezTo>
                  <a:cubicBezTo>
                    <a:pt x="159" y="313"/>
                    <a:pt x="156" y="312"/>
                    <a:pt x="152" y="310"/>
                  </a:cubicBezTo>
                  <a:cubicBezTo>
                    <a:pt x="151" y="308"/>
                    <a:pt x="149" y="307"/>
                    <a:pt x="147" y="306"/>
                  </a:cubicBezTo>
                  <a:cubicBezTo>
                    <a:pt x="149" y="313"/>
                    <a:pt x="152" y="321"/>
                    <a:pt x="154" y="328"/>
                  </a:cubicBezTo>
                  <a:cubicBezTo>
                    <a:pt x="155" y="328"/>
                    <a:pt x="155" y="328"/>
                    <a:pt x="156" y="328"/>
                  </a:cubicBezTo>
                  <a:cubicBezTo>
                    <a:pt x="161" y="328"/>
                    <a:pt x="164" y="331"/>
                    <a:pt x="167" y="337"/>
                  </a:cubicBezTo>
                  <a:cubicBezTo>
                    <a:pt x="170" y="343"/>
                    <a:pt x="173" y="349"/>
                    <a:pt x="176" y="351"/>
                  </a:cubicBezTo>
                  <a:cubicBezTo>
                    <a:pt x="177" y="351"/>
                    <a:pt x="178" y="351"/>
                    <a:pt x="179" y="351"/>
                  </a:cubicBezTo>
                  <a:cubicBezTo>
                    <a:pt x="176" y="336"/>
                    <a:pt x="174" y="321"/>
                    <a:pt x="171" y="306"/>
                  </a:cubicBezTo>
                  <a:moveTo>
                    <a:pt x="162" y="272"/>
                  </a:moveTo>
                  <a:cubicBezTo>
                    <a:pt x="161" y="272"/>
                    <a:pt x="160" y="272"/>
                    <a:pt x="159" y="272"/>
                  </a:cubicBezTo>
                  <a:cubicBezTo>
                    <a:pt x="158" y="277"/>
                    <a:pt x="162" y="287"/>
                    <a:pt x="168" y="294"/>
                  </a:cubicBezTo>
                  <a:cubicBezTo>
                    <a:pt x="168" y="294"/>
                    <a:pt x="168" y="294"/>
                    <a:pt x="168" y="294"/>
                  </a:cubicBezTo>
                  <a:cubicBezTo>
                    <a:pt x="166" y="287"/>
                    <a:pt x="164" y="279"/>
                    <a:pt x="162" y="272"/>
                  </a:cubicBezTo>
                  <a:moveTo>
                    <a:pt x="0" y="0"/>
                  </a:moveTo>
                  <a:cubicBezTo>
                    <a:pt x="3" y="8"/>
                    <a:pt x="9" y="16"/>
                    <a:pt x="13" y="18"/>
                  </a:cubicBezTo>
                  <a:cubicBezTo>
                    <a:pt x="14" y="18"/>
                    <a:pt x="15" y="17"/>
                    <a:pt x="16" y="16"/>
                  </a:cubicBezTo>
                  <a:cubicBezTo>
                    <a:pt x="11" y="11"/>
                    <a:pt x="5" y="5"/>
                    <a:pt x="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21540">
              <a:extLst>
                <a:ext uri="{FF2B5EF4-FFF2-40B4-BE49-F238E27FC236}">
                  <a16:creationId xmlns:a16="http://schemas.microsoft.com/office/drawing/2014/main" id="{93734B31-84C9-416B-B928-80AE47B0BFAD}"/>
                </a:ext>
              </a:extLst>
            </p:cNvPr>
            <p:cNvSpPr>
              <a:spLocks/>
            </p:cNvSpPr>
            <p:nvPr userDrawn="1"/>
          </p:nvSpPr>
          <p:spPr bwMode="auto">
            <a:xfrm>
              <a:off x="10251440" y="4190365"/>
              <a:ext cx="57150" cy="119063"/>
            </a:xfrm>
            <a:custGeom>
              <a:avLst/>
              <a:gdLst>
                <a:gd name="T0" fmla="*/ 2 w 28"/>
                <a:gd name="T1" fmla="*/ 0 h 59"/>
                <a:gd name="T2" fmla="*/ 0 w 28"/>
                <a:gd name="T3" fmla="*/ 0 h 59"/>
                <a:gd name="T4" fmla="*/ 16 w 28"/>
                <a:gd name="T5" fmla="*/ 59 h 59"/>
                <a:gd name="T6" fmla="*/ 28 w 28"/>
                <a:gd name="T7" fmla="*/ 56 h 59"/>
                <a:gd name="T8" fmla="*/ 25 w 28"/>
                <a:gd name="T9" fmla="*/ 23 h 59"/>
                <a:gd name="T10" fmla="*/ 22 w 28"/>
                <a:gd name="T11" fmla="*/ 23 h 59"/>
                <a:gd name="T12" fmla="*/ 13 w 28"/>
                <a:gd name="T13" fmla="*/ 9 h 59"/>
                <a:gd name="T14" fmla="*/ 2 w 2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59">
                  <a:moveTo>
                    <a:pt x="2" y="0"/>
                  </a:moveTo>
                  <a:cubicBezTo>
                    <a:pt x="1" y="0"/>
                    <a:pt x="1" y="0"/>
                    <a:pt x="0" y="0"/>
                  </a:cubicBezTo>
                  <a:cubicBezTo>
                    <a:pt x="7" y="19"/>
                    <a:pt x="12" y="39"/>
                    <a:pt x="16" y="59"/>
                  </a:cubicBezTo>
                  <a:cubicBezTo>
                    <a:pt x="20" y="58"/>
                    <a:pt x="24" y="57"/>
                    <a:pt x="28" y="56"/>
                  </a:cubicBezTo>
                  <a:cubicBezTo>
                    <a:pt x="27" y="45"/>
                    <a:pt x="26" y="34"/>
                    <a:pt x="25" y="23"/>
                  </a:cubicBezTo>
                  <a:cubicBezTo>
                    <a:pt x="24" y="23"/>
                    <a:pt x="23" y="23"/>
                    <a:pt x="22" y="23"/>
                  </a:cubicBezTo>
                  <a:cubicBezTo>
                    <a:pt x="19" y="21"/>
                    <a:pt x="16" y="15"/>
                    <a:pt x="13" y="9"/>
                  </a:cubicBezTo>
                  <a:cubicBezTo>
                    <a:pt x="10" y="3"/>
                    <a:pt x="7" y="0"/>
                    <a:pt x="2"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21541">
              <a:extLst>
                <a:ext uri="{FF2B5EF4-FFF2-40B4-BE49-F238E27FC236}">
                  <a16:creationId xmlns:a16="http://schemas.microsoft.com/office/drawing/2014/main" id="{80CD2F6E-688E-4995-BD74-BAB613905AB3}"/>
                </a:ext>
              </a:extLst>
            </p:cNvPr>
            <p:cNvSpPr>
              <a:spLocks/>
            </p:cNvSpPr>
            <p:nvPr userDrawn="1"/>
          </p:nvSpPr>
          <p:spPr bwMode="auto">
            <a:xfrm>
              <a:off x="7873365" y="4306253"/>
              <a:ext cx="14288" cy="157163"/>
            </a:xfrm>
            <a:custGeom>
              <a:avLst/>
              <a:gdLst>
                <a:gd name="T0" fmla="*/ 7 w 7"/>
                <a:gd name="T1" fmla="*/ 0 h 78"/>
                <a:gd name="T2" fmla="*/ 2 w 7"/>
                <a:gd name="T3" fmla="*/ 5 h 78"/>
                <a:gd name="T4" fmla="*/ 0 w 7"/>
                <a:gd name="T5" fmla="*/ 49 h 78"/>
                <a:gd name="T6" fmla="*/ 1 w 7"/>
                <a:gd name="T7" fmla="*/ 78 h 78"/>
                <a:gd name="T8" fmla="*/ 4 w 7"/>
                <a:gd name="T9" fmla="*/ 46 h 78"/>
                <a:gd name="T10" fmla="*/ 7 w 7"/>
                <a:gd name="T11" fmla="*/ 0 h 78"/>
              </a:gdLst>
              <a:ahLst/>
              <a:cxnLst>
                <a:cxn ang="0">
                  <a:pos x="T0" y="T1"/>
                </a:cxn>
                <a:cxn ang="0">
                  <a:pos x="T2" y="T3"/>
                </a:cxn>
                <a:cxn ang="0">
                  <a:pos x="T4" y="T5"/>
                </a:cxn>
                <a:cxn ang="0">
                  <a:pos x="T6" y="T7"/>
                </a:cxn>
                <a:cxn ang="0">
                  <a:pos x="T8" y="T9"/>
                </a:cxn>
                <a:cxn ang="0">
                  <a:pos x="T10" y="T11"/>
                </a:cxn>
              </a:cxnLst>
              <a:rect l="0" t="0" r="r" b="b"/>
              <a:pathLst>
                <a:path w="7" h="78">
                  <a:moveTo>
                    <a:pt x="7" y="0"/>
                  </a:moveTo>
                  <a:cubicBezTo>
                    <a:pt x="5" y="2"/>
                    <a:pt x="4" y="4"/>
                    <a:pt x="2" y="5"/>
                  </a:cubicBezTo>
                  <a:cubicBezTo>
                    <a:pt x="1" y="20"/>
                    <a:pt x="0" y="35"/>
                    <a:pt x="0" y="49"/>
                  </a:cubicBezTo>
                  <a:cubicBezTo>
                    <a:pt x="0" y="59"/>
                    <a:pt x="1" y="68"/>
                    <a:pt x="1" y="78"/>
                  </a:cubicBezTo>
                  <a:cubicBezTo>
                    <a:pt x="2" y="67"/>
                    <a:pt x="3" y="57"/>
                    <a:pt x="4" y="46"/>
                  </a:cubicBezTo>
                  <a:cubicBezTo>
                    <a:pt x="5" y="31"/>
                    <a:pt x="5" y="16"/>
                    <a:pt x="7" y="0"/>
                  </a:cubicBezTo>
                </a:path>
              </a:pathLst>
            </a:custGeom>
            <a:solidFill>
              <a:srgbClr val="85B2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21542">
              <a:extLst>
                <a:ext uri="{FF2B5EF4-FFF2-40B4-BE49-F238E27FC236}">
                  <a16:creationId xmlns:a16="http://schemas.microsoft.com/office/drawing/2014/main" id="{4B30FFEB-EDDD-4142-BFEB-642B19C415B9}"/>
                </a:ext>
              </a:extLst>
            </p:cNvPr>
            <p:cNvSpPr>
              <a:spLocks/>
            </p:cNvSpPr>
            <p:nvPr userDrawn="1"/>
          </p:nvSpPr>
          <p:spPr bwMode="auto">
            <a:xfrm>
              <a:off x="7878128" y="4291965"/>
              <a:ext cx="9525" cy="23813"/>
            </a:xfrm>
            <a:custGeom>
              <a:avLst/>
              <a:gdLst>
                <a:gd name="T0" fmla="*/ 5 w 5"/>
                <a:gd name="T1" fmla="*/ 0 h 12"/>
                <a:gd name="T2" fmla="*/ 1 w 5"/>
                <a:gd name="T3" fmla="*/ 4 h 12"/>
                <a:gd name="T4" fmla="*/ 0 w 5"/>
                <a:gd name="T5" fmla="*/ 12 h 12"/>
                <a:gd name="T6" fmla="*/ 5 w 5"/>
                <a:gd name="T7" fmla="*/ 7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cubicBezTo>
                    <a:pt x="4" y="2"/>
                    <a:pt x="2" y="3"/>
                    <a:pt x="1" y="4"/>
                  </a:cubicBezTo>
                  <a:cubicBezTo>
                    <a:pt x="0" y="7"/>
                    <a:pt x="0" y="10"/>
                    <a:pt x="0" y="12"/>
                  </a:cubicBezTo>
                  <a:cubicBezTo>
                    <a:pt x="2" y="11"/>
                    <a:pt x="3" y="9"/>
                    <a:pt x="5" y="7"/>
                  </a:cubicBezTo>
                  <a:cubicBezTo>
                    <a:pt x="5" y="5"/>
                    <a:pt x="5" y="3"/>
                    <a:pt x="5" y="0"/>
                  </a:cubicBezTo>
                </a:path>
              </a:pathLst>
            </a:custGeom>
            <a:solidFill>
              <a:srgbClr val="4FA7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21543">
              <a:extLst>
                <a:ext uri="{FF2B5EF4-FFF2-40B4-BE49-F238E27FC236}">
                  <a16:creationId xmlns:a16="http://schemas.microsoft.com/office/drawing/2014/main" id="{0C078F94-8D4A-45A1-B3B9-13DEAE220EFB}"/>
                </a:ext>
              </a:extLst>
            </p:cNvPr>
            <p:cNvSpPr>
              <a:spLocks/>
            </p:cNvSpPr>
            <p:nvPr userDrawn="1"/>
          </p:nvSpPr>
          <p:spPr bwMode="auto">
            <a:xfrm>
              <a:off x="7881303" y="4285615"/>
              <a:ext cx="22225" cy="112713"/>
            </a:xfrm>
            <a:custGeom>
              <a:avLst/>
              <a:gdLst>
                <a:gd name="T0" fmla="*/ 10 w 11"/>
                <a:gd name="T1" fmla="*/ 0 h 56"/>
                <a:gd name="T2" fmla="*/ 9 w 11"/>
                <a:gd name="T3" fmla="*/ 0 h 56"/>
                <a:gd name="T4" fmla="*/ 3 w 11"/>
                <a:gd name="T5" fmla="*/ 3 h 56"/>
                <a:gd name="T6" fmla="*/ 3 w 11"/>
                <a:gd name="T7" fmla="*/ 3 h 56"/>
                <a:gd name="T8" fmla="*/ 3 w 11"/>
                <a:gd name="T9" fmla="*/ 10 h 56"/>
                <a:gd name="T10" fmla="*/ 0 w 11"/>
                <a:gd name="T11" fmla="*/ 56 h 56"/>
                <a:gd name="T12" fmla="*/ 11 w 11"/>
                <a:gd name="T13" fmla="*/ 0 h 56"/>
                <a:gd name="T14" fmla="*/ 10 w 1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6">
                  <a:moveTo>
                    <a:pt x="10" y="0"/>
                  </a:moveTo>
                  <a:cubicBezTo>
                    <a:pt x="10" y="0"/>
                    <a:pt x="9" y="0"/>
                    <a:pt x="9" y="0"/>
                  </a:cubicBezTo>
                  <a:cubicBezTo>
                    <a:pt x="7" y="1"/>
                    <a:pt x="5" y="2"/>
                    <a:pt x="3" y="3"/>
                  </a:cubicBezTo>
                  <a:cubicBezTo>
                    <a:pt x="3" y="3"/>
                    <a:pt x="3" y="3"/>
                    <a:pt x="3" y="3"/>
                  </a:cubicBezTo>
                  <a:cubicBezTo>
                    <a:pt x="3" y="6"/>
                    <a:pt x="3" y="8"/>
                    <a:pt x="3" y="10"/>
                  </a:cubicBezTo>
                  <a:cubicBezTo>
                    <a:pt x="1" y="26"/>
                    <a:pt x="1" y="41"/>
                    <a:pt x="0" y="56"/>
                  </a:cubicBezTo>
                  <a:cubicBezTo>
                    <a:pt x="3" y="37"/>
                    <a:pt x="6" y="19"/>
                    <a:pt x="11" y="0"/>
                  </a:cubicBezTo>
                  <a:cubicBezTo>
                    <a:pt x="11" y="0"/>
                    <a:pt x="10" y="0"/>
                    <a:pt x="1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8" name="Freeform 21544">
              <a:extLst>
                <a:ext uri="{FF2B5EF4-FFF2-40B4-BE49-F238E27FC236}">
                  <a16:creationId xmlns:a16="http://schemas.microsoft.com/office/drawing/2014/main" id="{B7001FE9-0621-405B-86DE-9E5685CB064F}"/>
                </a:ext>
              </a:extLst>
            </p:cNvPr>
            <p:cNvSpPr>
              <a:spLocks noEditPoints="1"/>
            </p:cNvSpPr>
            <p:nvPr userDrawn="1"/>
          </p:nvSpPr>
          <p:spPr bwMode="auto">
            <a:xfrm>
              <a:off x="7879715" y="3312478"/>
              <a:ext cx="758825" cy="987425"/>
            </a:xfrm>
            <a:custGeom>
              <a:avLst/>
              <a:gdLst>
                <a:gd name="T0" fmla="*/ 5 w 375"/>
                <a:gd name="T1" fmla="*/ 446 h 490"/>
                <a:gd name="T2" fmla="*/ 0 w 375"/>
                <a:gd name="T3" fmla="*/ 490 h 490"/>
                <a:gd name="T4" fmla="*/ 4 w 375"/>
                <a:gd name="T5" fmla="*/ 486 h 490"/>
                <a:gd name="T6" fmla="*/ 10 w 375"/>
                <a:gd name="T7" fmla="*/ 483 h 490"/>
                <a:gd name="T8" fmla="*/ 11 w 375"/>
                <a:gd name="T9" fmla="*/ 483 h 490"/>
                <a:gd name="T10" fmla="*/ 12 w 375"/>
                <a:gd name="T11" fmla="*/ 483 h 490"/>
                <a:gd name="T12" fmla="*/ 19 w 375"/>
                <a:gd name="T13" fmla="*/ 455 h 490"/>
                <a:gd name="T14" fmla="*/ 5 w 375"/>
                <a:gd name="T15" fmla="*/ 446 h 490"/>
                <a:gd name="T16" fmla="*/ 336 w 375"/>
                <a:gd name="T17" fmla="*/ 0 h 490"/>
                <a:gd name="T18" fmla="*/ 291 w 375"/>
                <a:gd name="T19" fmla="*/ 25 h 490"/>
                <a:gd name="T20" fmla="*/ 299 w 375"/>
                <a:gd name="T21" fmla="*/ 31 h 490"/>
                <a:gd name="T22" fmla="*/ 341 w 375"/>
                <a:gd name="T23" fmla="*/ 75 h 490"/>
                <a:gd name="T24" fmla="*/ 372 w 375"/>
                <a:gd name="T25" fmla="*/ 62 h 490"/>
                <a:gd name="T26" fmla="*/ 370 w 375"/>
                <a:gd name="T27" fmla="*/ 62 h 490"/>
                <a:gd name="T28" fmla="*/ 368 w 375"/>
                <a:gd name="T29" fmla="*/ 62 h 490"/>
                <a:gd name="T30" fmla="*/ 366 w 375"/>
                <a:gd name="T31" fmla="*/ 61 h 490"/>
                <a:gd name="T32" fmla="*/ 361 w 375"/>
                <a:gd name="T33" fmla="*/ 54 h 490"/>
                <a:gd name="T34" fmla="*/ 361 w 375"/>
                <a:gd name="T35" fmla="*/ 53 h 490"/>
                <a:gd name="T36" fmla="*/ 360 w 375"/>
                <a:gd name="T37" fmla="*/ 51 h 490"/>
                <a:gd name="T38" fmla="*/ 370 w 375"/>
                <a:gd name="T39" fmla="*/ 33 h 490"/>
                <a:gd name="T40" fmla="*/ 370 w 375"/>
                <a:gd name="T41" fmla="*/ 22 h 490"/>
                <a:gd name="T42" fmla="*/ 370 w 375"/>
                <a:gd name="T43" fmla="*/ 21 h 490"/>
                <a:gd name="T44" fmla="*/ 364 w 375"/>
                <a:gd name="T45" fmla="*/ 17 h 490"/>
                <a:gd name="T46" fmla="*/ 358 w 375"/>
                <a:gd name="T47" fmla="*/ 20 h 490"/>
                <a:gd name="T48" fmla="*/ 339 w 375"/>
                <a:gd name="T49" fmla="*/ 28 h 490"/>
                <a:gd name="T50" fmla="*/ 339 w 375"/>
                <a:gd name="T51" fmla="*/ 28 h 490"/>
                <a:gd name="T52" fmla="*/ 337 w 375"/>
                <a:gd name="T53" fmla="*/ 27 h 490"/>
                <a:gd name="T54" fmla="*/ 330 w 375"/>
                <a:gd name="T55" fmla="*/ 21 h 490"/>
                <a:gd name="T56" fmla="*/ 330 w 375"/>
                <a:gd name="T57" fmla="*/ 19 h 490"/>
                <a:gd name="T58" fmla="*/ 335 w 375"/>
                <a:gd name="T59" fmla="*/ 1 h 490"/>
                <a:gd name="T60" fmla="*/ 336 w 375"/>
                <a:gd name="T6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5" h="490">
                  <a:moveTo>
                    <a:pt x="5" y="446"/>
                  </a:moveTo>
                  <a:cubicBezTo>
                    <a:pt x="3" y="461"/>
                    <a:pt x="1" y="476"/>
                    <a:pt x="0" y="490"/>
                  </a:cubicBezTo>
                  <a:cubicBezTo>
                    <a:pt x="1" y="489"/>
                    <a:pt x="3" y="488"/>
                    <a:pt x="4" y="486"/>
                  </a:cubicBezTo>
                  <a:cubicBezTo>
                    <a:pt x="6" y="485"/>
                    <a:pt x="8" y="484"/>
                    <a:pt x="10" y="483"/>
                  </a:cubicBezTo>
                  <a:cubicBezTo>
                    <a:pt x="10" y="483"/>
                    <a:pt x="11" y="483"/>
                    <a:pt x="11" y="483"/>
                  </a:cubicBezTo>
                  <a:cubicBezTo>
                    <a:pt x="11" y="483"/>
                    <a:pt x="12" y="483"/>
                    <a:pt x="12" y="483"/>
                  </a:cubicBezTo>
                  <a:cubicBezTo>
                    <a:pt x="14" y="473"/>
                    <a:pt x="16" y="464"/>
                    <a:pt x="19" y="455"/>
                  </a:cubicBezTo>
                  <a:cubicBezTo>
                    <a:pt x="14" y="452"/>
                    <a:pt x="10" y="449"/>
                    <a:pt x="5" y="446"/>
                  </a:cubicBezTo>
                  <a:moveTo>
                    <a:pt x="336" y="0"/>
                  </a:moveTo>
                  <a:cubicBezTo>
                    <a:pt x="321" y="8"/>
                    <a:pt x="305" y="16"/>
                    <a:pt x="291" y="25"/>
                  </a:cubicBezTo>
                  <a:cubicBezTo>
                    <a:pt x="294" y="27"/>
                    <a:pt x="296" y="29"/>
                    <a:pt x="299" y="31"/>
                  </a:cubicBezTo>
                  <a:cubicBezTo>
                    <a:pt x="315" y="44"/>
                    <a:pt x="329" y="59"/>
                    <a:pt x="341" y="75"/>
                  </a:cubicBezTo>
                  <a:cubicBezTo>
                    <a:pt x="352" y="70"/>
                    <a:pt x="362" y="66"/>
                    <a:pt x="372" y="62"/>
                  </a:cubicBezTo>
                  <a:cubicBezTo>
                    <a:pt x="371" y="62"/>
                    <a:pt x="370" y="62"/>
                    <a:pt x="370" y="62"/>
                  </a:cubicBezTo>
                  <a:cubicBezTo>
                    <a:pt x="369" y="62"/>
                    <a:pt x="369" y="62"/>
                    <a:pt x="368" y="62"/>
                  </a:cubicBezTo>
                  <a:cubicBezTo>
                    <a:pt x="367" y="61"/>
                    <a:pt x="367" y="61"/>
                    <a:pt x="366" y="61"/>
                  </a:cubicBezTo>
                  <a:cubicBezTo>
                    <a:pt x="365" y="58"/>
                    <a:pt x="363" y="56"/>
                    <a:pt x="361" y="54"/>
                  </a:cubicBezTo>
                  <a:cubicBezTo>
                    <a:pt x="361" y="53"/>
                    <a:pt x="361" y="53"/>
                    <a:pt x="361" y="53"/>
                  </a:cubicBezTo>
                  <a:cubicBezTo>
                    <a:pt x="360" y="53"/>
                    <a:pt x="360" y="52"/>
                    <a:pt x="360" y="51"/>
                  </a:cubicBezTo>
                  <a:cubicBezTo>
                    <a:pt x="361" y="46"/>
                    <a:pt x="366" y="38"/>
                    <a:pt x="370" y="33"/>
                  </a:cubicBezTo>
                  <a:cubicBezTo>
                    <a:pt x="375" y="27"/>
                    <a:pt x="373" y="24"/>
                    <a:pt x="370" y="22"/>
                  </a:cubicBezTo>
                  <a:cubicBezTo>
                    <a:pt x="370" y="21"/>
                    <a:pt x="370" y="21"/>
                    <a:pt x="370" y="21"/>
                  </a:cubicBezTo>
                  <a:cubicBezTo>
                    <a:pt x="368" y="19"/>
                    <a:pt x="367" y="17"/>
                    <a:pt x="364" y="17"/>
                  </a:cubicBezTo>
                  <a:cubicBezTo>
                    <a:pt x="363" y="17"/>
                    <a:pt x="361" y="18"/>
                    <a:pt x="358" y="20"/>
                  </a:cubicBezTo>
                  <a:cubicBezTo>
                    <a:pt x="353" y="23"/>
                    <a:pt x="345" y="27"/>
                    <a:pt x="339" y="28"/>
                  </a:cubicBezTo>
                  <a:cubicBezTo>
                    <a:pt x="339" y="28"/>
                    <a:pt x="339" y="28"/>
                    <a:pt x="339" y="28"/>
                  </a:cubicBezTo>
                  <a:cubicBezTo>
                    <a:pt x="338" y="28"/>
                    <a:pt x="338" y="27"/>
                    <a:pt x="337" y="27"/>
                  </a:cubicBezTo>
                  <a:cubicBezTo>
                    <a:pt x="335" y="25"/>
                    <a:pt x="333" y="23"/>
                    <a:pt x="330" y="21"/>
                  </a:cubicBezTo>
                  <a:cubicBezTo>
                    <a:pt x="330" y="20"/>
                    <a:pt x="330" y="19"/>
                    <a:pt x="330" y="19"/>
                  </a:cubicBezTo>
                  <a:cubicBezTo>
                    <a:pt x="330" y="14"/>
                    <a:pt x="332" y="7"/>
                    <a:pt x="335" y="1"/>
                  </a:cubicBezTo>
                  <a:cubicBezTo>
                    <a:pt x="336" y="1"/>
                    <a:pt x="336" y="0"/>
                    <a:pt x="336"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9" name="Freeform 21545">
              <a:extLst>
                <a:ext uri="{FF2B5EF4-FFF2-40B4-BE49-F238E27FC236}">
                  <a16:creationId xmlns:a16="http://schemas.microsoft.com/office/drawing/2014/main" id="{99311AC4-02A9-485D-B5C4-D353778B039D}"/>
                </a:ext>
              </a:extLst>
            </p:cNvPr>
            <p:cNvSpPr>
              <a:spLocks noEditPoints="1"/>
            </p:cNvSpPr>
            <p:nvPr userDrawn="1"/>
          </p:nvSpPr>
          <p:spPr bwMode="auto">
            <a:xfrm>
              <a:off x="7889240" y="3363278"/>
              <a:ext cx="679450" cy="866775"/>
            </a:xfrm>
            <a:custGeom>
              <a:avLst/>
              <a:gdLst>
                <a:gd name="T0" fmla="*/ 40 w 336"/>
                <a:gd name="T1" fmla="*/ 283 h 430"/>
                <a:gd name="T2" fmla="*/ 0 w 336"/>
                <a:gd name="T3" fmla="*/ 421 h 430"/>
                <a:gd name="T4" fmla="*/ 14 w 336"/>
                <a:gd name="T5" fmla="*/ 430 h 430"/>
                <a:gd name="T6" fmla="*/ 68 w 336"/>
                <a:gd name="T7" fmla="*/ 301 h 430"/>
                <a:gd name="T8" fmla="*/ 39 w 336"/>
                <a:gd name="T9" fmla="*/ 301 h 430"/>
                <a:gd name="T10" fmla="*/ 40 w 336"/>
                <a:gd name="T11" fmla="*/ 283 h 430"/>
                <a:gd name="T12" fmla="*/ 286 w 336"/>
                <a:gd name="T13" fmla="*/ 0 h 430"/>
                <a:gd name="T14" fmla="*/ 216 w 336"/>
                <a:gd name="T15" fmla="*/ 49 h 430"/>
                <a:gd name="T16" fmla="*/ 215 w 336"/>
                <a:gd name="T17" fmla="*/ 49 h 430"/>
                <a:gd name="T18" fmla="*/ 212 w 336"/>
                <a:gd name="T19" fmla="*/ 52 h 430"/>
                <a:gd name="T20" fmla="*/ 210 w 336"/>
                <a:gd name="T21" fmla="*/ 53 h 430"/>
                <a:gd name="T22" fmla="*/ 119 w 336"/>
                <a:gd name="T23" fmla="*/ 147 h 430"/>
                <a:gd name="T24" fmla="*/ 136 w 336"/>
                <a:gd name="T25" fmla="*/ 168 h 430"/>
                <a:gd name="T26" fmla="*/ 131 w 336"/>
                <a:gd name="T27" fmla="*/ 203 h 430"/>
                <a:gd name="T28" fmla="*/ 110 w 336"/>
                <a:gd name="T29" fmla="*/ 218 h 430"/>
                <a:gd name="T30" fmla="*/ 105 w 336"/>
                <a:gd name="T31" fmla="*/ 218 h 430"/>
                <a:gd name="T32" fmla="*/ 100 w 336"/>
                <a:gd name="T33" fmla="*/ 218 h 430"/>
                <a:gd name="T34" fmla="*/ 80 w 336"/>
                <a:gd name="T35" fmla="*/ 205 h 430"/>
                <a:gd name="T36" fmla="*/ 64 w 336"/>
                <a:gd name="T37" fmla="*/ 232 h 430"/>
                <a:gd name="T38" fmla="*/ 105 w 336"/>
                <a:gd name="T39" fmla="*/ 224 h 430"/>
                <a:gd name="T40" fmla="*/ 118 w 336"/>
                <a:gd name="T41" fmla="*/ 225 h 430"/>
                <a:gd name="T42" fmla="*/ 168 w 336"/>
                <a:gd name="T43" fmla="*/ 168 h 430"/>
                <a:gd name="T44" fmla="*/ 166 w 336"/>
                <a:gd name="T45" fmla="*/ 145 h 430"/>
                <a:gd name="T46" fmla="*/ 191 w 336"/>
                <a:gd name="T47" fmla="*/ 126 h 430"/>
                <a:gd name="T48" fmla="*/ 209 w 336"/>
                <a:gd name="T49" fmla="*/ 131 h 430"/>
                <a:gd name="T50" fmla="*/ 209 w 336"/>
                <a:gd name="T51" fmla="*/ 131 h 430"/>
                <a:gd name="T52" fmla="*/ 244 w 336"/>
                <a:gd name="T53" fmla="*/ 104 h 430"/>
                <a:gd name="T54" fmla="*/ 336 w 336"/>
                <a:gd name="T55" fmla="*/ 50 h 430"/>
                <a:gd name="T56" fmla="*/ 294 w 336"/>
                <a:gd name="T57" fmla="*/ 6 h 430"/>
                <a:gd name="T58" fmla="*/ 286 w 336"/>
                <a:gd name="T59"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6" h="430">
                  <a:moveTo>
                    <a:pt x="40" y="283"/>
                  </a:moveTo>
                  <a:cubicBezTo>
                    <a:pt x="21" y="327"/>
                    <a:pt x="8" y="374"/>
                    <a:pt x="0" y="421"/>
                  </a:cubicBezTo>
                  <a:cubicBezTo>
                    <a:pt x="5" y="424"/>
                    <a:pt x="9" y="427"/>
                    <a:pt x="14" y="430"/>
                  </a:cubicBezTo>
                  <a:cubicBezTo>
                    <a:pt x="27" y="385"/>
                    <a:pt x="45" y="342"/>
                    <a:pt x="68" y="301"/>
                  </a:cubicBezTo>
                  <a:cubicBezTo>
                    <a:pt x="39" y="301"/>
                    <a:pt x="39" y="301"/>
                    <a:pt x="39" y="301"/>
                  </a:cubicBezTo>
                  <a:cubicBezTo>
                    <a:pt x="40" y="283"/>
                    <a:pt x="40" y="283"/>
                    <a:pt x="40" y="283"/>
                  </a:cubicBezTo>
                  <a:moveTo>
                    <a:pt x="286" y="0"/>
                  </a:moveTo>
                  <a:cubicBezTo>
                    <a:pt x="262" y="14"/>
                    <a:pt x="238" y="31"/>
                    <a:pt x="216" y="49"/>
                  </a:cubicBezTo>
                  <a:cubicBezTo>
                    <a:pt x="216" y="49"/>
                    <a:pt x="215" y="49"/>
                    <a:pt x="215" y="49"/>
                  </a:cubicBezTo>
                  <a:cubicBezTo>
                    <a:pt x="214" y="50"/>
                    <a:pt x="213" y="51"/>
                    <a:pt x="212" y="52"/>
                  </a:cubicBezTo>
                  <a:cubicBezTo>
                    <a:pt x="212" y="52"/>
                    <a:pt x="211" y="53"/>
                    <a:pt x="210" y="53"/>
                  </a:cubicBezTo>
                  <a:cubicBezTo>
                    <a:pt x="176" y="82"/>
                    <a:pt x="145" y="113"/>
                    <a:pt x="119" y="147"/>
                  </a:cubicBezTo>
                  <a:cubicBezTo>
                    <a:pt x="128" y="151"/>
                    <a:pt x="135" y="158"/>
                    <a:pt x="136" y="168"/>
                  </a:cubicBezTo>
                  <a:cubicBezTo>
                    <a:pt x="137" y="177"/>
                    <a:pt x="135" y="196"/>
                    <a:pt x="131" y="203"/>
                  </a:cubicBezTo>
                  <a:cubicBezTo>
                    <a:pt x="127" y="210"/>
                    <a:pt x="119" y="216"/>
                    <a:pt x="110" y="218"/>
                  </a:cubicBezTo>
                  <a:cubicBezTo>
                    <a:pt x="107" y="218"/>
                    <a:pt x="106" y="218"/>
                    <a:pt x="105" y="218"/>
                  </a:cubicBezTo>
                  <a:cubicBezTo>
                    <a:pt x="103" y="218"/>
                    <a:pt x="102" y="218"/>
                    <a:pt x="100" y="218"/>
                  </a:cubicBezTo>
                  <a:cubicBezTo>
                    <a:pt x="91" y="216"/>
                    <a:pt x="83" y="211"/>
                    <a:pt x="80" y="205"/>
                  </a:cubicBezTo>
                  <a:cubicBezTo>
                    <a:pt x="74" y="214"/>
                    <a:pt x="69" y="223"/>
                    <a:pt x="64" y="232"/>
                  </a:cubicBezTo>
                  <a:cubicBezTo>
                    <a:pt x="75" y="227"/>
                    <a:pt x="90" y="224"/>
                    <a:pt x="105" y="224"/>
                  </a:cubicBezTo>
                  <a:cubicBezTo>
                    <a:pt x="109" y="224"/>
                    <a:pt x="113" y="225"/>
                    <a:pt x="118" y="225"/>
                  </a:cubicBezTo>
                  <a:cubicBezTo>
                    <a:pt x="133" y="205"/>
                    <a:pt x="150" y="186"/>
                    <a:pt x="168" y="168"/>
                  </a:cubicBezTo>
                  <a:cubicBezTo>
                    <a:pt x="166" y="161"/>
                    <a:pt x="165" y="150"/>
                    <a:pt x="166" y="145"/>
                  </a:cubicBezTo>
                  <a:cubicBezTo>
                    <a:pt x="167" y="132"/>
                    <a:pt x="178" y="126"/>
                    <a:pt x="191" y="126"/>
                  </a:cubicBezTo>
                  <a:cubicBezTo>
                    <a:pt x="198" y="126"/>
                    <a:pt x="204" y="127"/>
                    <a:pt x="209" y="131"/>
                  </a:cubicBezTo>
                  <a:cubicBezTo>
                    <a:pt x="209" y="131"/>
                    <a:pt x="209" y="131"/>
                    <a:pt x="209" y="131"/>
                  </a:cubicBezTo>
                  <a:cubicBezTo>
                    <a:pt x="220" y="122"/>
                    <a:pt x="232" y="113"/>
                    <a:pt x="244" y="104"/>
                  </a:cubicBezTo>
                  <a:cubicBezTo>
                    <a:pt x="274" y="83"/>
                    <a:pt x="305" y="65"/>
                    <a:pt x="336" y="50"/>
                  </a:cubicBezTo>
                  <a:cubicBezTo>
                    <a:pt x="324" y="34"/>
                    <a:pt x="310" y="19"/>
                    <a:pt x="294" y="6"/>
                  </a:cubicBezTo>
                  <a:cubicBezTo>
                    <a:pt x="291" y="4"/>
                    <a:pt x="289" y="2"/>
                    <a:pt x="286" y="0"/>
                  </a:cubicBezTo>
                </a:path>
              </a:pathLst>
            </a:custGeom>
            <a:solidFill>
              <a:srgbClr val="009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0" name="Freeform 21546">
              <a:extLst>
                <a:ext uri="{FF2B5EF4-FFF2-40B4-BE49-F238E27FC236}">
                  <a16:creationId xmlns:a16="http://schemas.microsoft.com/office/drawing/2014/main" id="{E53EC9DC-48ED-45D5-B90A-456EEDBD58E8}"/>
                </a:ext>
              </a:extLst>
            </p:cNvPr>
            <p:cNvSpPr>
              <a:spLocks/>
            </p:cNvSpPr>
            <p:nvPr userDrawn="1"/>
          </p:nvSpPr>
          <p:spPr bwMode="auto">
            <a:xfrm>
              <a:off x="10283190" y="4304665"/>
              <a:ext cx="28575" cy="198438"/>
            </a:xfrm>
            <a:custGeom>
              <a:avLst/>
              <a:gdLst>
                <a:gd name="T0" fmla="*/ 12 w 14"/>
                <a:gd name="T1" fmla="*/ 0 h 99"/>
                <a:gd name="T2" fmla="*/ 0 w 14"/>
                <a:gd name="T3" fmla="*/ 3 h 99"/>
                <a:gd name="T4" fmla="*/ 1 w 14"/>
                <a:gd name="T5" fmla="*/ 11 h 99"/>
                <a:gd name="T6" fmla="*/ 10 w 14"/>
                <a:gd name="T7" fmla="*/ 68 h 99"/>
                <a:gd name="T8" fmla="*/ 12 w 14"/>
                <a:gd name="T9" fmla="*/ 99 h 99"/>
                <a:gd name="T10" fmla="*/ 14 w 14"/>
                <a:gd name="T11" fmla="*/ 50 h 99"/>
                <a:gd name="T12" fmla="*/ 12 w 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4" h="99">
                  <a:moveTo>
                    <a:pt x="12" y="0"/>
                  </a:moveTo>
                  <a:cubicBezTo>
                    <a:pt x="8" y="1"/>
                    <a:pt x="4" y="2"/>
                    <a:pt x="0" y="3"/>
                  </a:cubicBezTo>
                  <a:cubicBezTo>
                    <a:pt x="0" y="6"/>
                    <a:pt x="1" y="8"/>
                    <a:pt x="1" y="11"/>
                  </a:cubicBezTo>
                  <a:cubicBezTo>
                    <a:pt x="5" y="30"/>
                    <a:pt x="8" y="49"/>
                    <a:pt x="10" y="68"/>
                  </a:cubicBezTo>
                  <a:cubicBezTo>
                    <a:pt x="11" y="79"/>
                    <a:pt x="12" y="89"/>
                    <a:pt x="12" y="99"/>
                  </a:cubicBezTo>
                  <a:cubicBezTo>
                    <a:pt x="14" y="83"/>
                    <a:pt x="14" y="67"/>
                    <a:pt x="14" y="50"/>
                  </a:cubicBezTo>
                  <a:cubicBezTo>
                    <a:pt x="14" y="34"/>
                    <a:pt x="14" y="17"/>
                    <a:pt x="12" y="0"/>
                  </a:cubicBezTo>
                </a:path>
              </a:pathLst>
            </a:custGeom>
            <a:solidFill>
              <a:srgbClr val="2B9C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1" name="Freeform 21547">
              <a:extLst>
                <a:ext uri="{FF2B5EF4-FFF2-40B4-BE49-F238E27FC236}">
                  <a16:creationId xmlns:a16="http://schemas.microsoft.com/office/drawing/2014/main" id="{8D9848B5-A878-4FB4-A50B-1057B7779226}"/>
                </a:ext>
              </a:extLst>
            </p:cNvPr>
            <p:cNvSpPr>
              <a:spLocks noEditPoints="1"/>
            </p:cNvSpPr>
            <p:nvPr userDrawn="1"/>
          </p:nvSpPr>
          <p:spPr bwMode="auto">
            <a:xfrm>
              <a:off x="9822815" y="3514090"/>
              <a:ext cx="463550" cy="646113"/>
            </a:xfrm>
            <a:custGeom>
              <a:avLst/>
              <a:gdLst>
                <a:gd name="T0" fmla="*/ 206 w 229"/>
                <a:gd name="T1" fmla="*/ 236 h 321"/>
                <a:gd name="T2" fmla="*/ 200 w 229"/>
                <a:gd name="T3" fmla="*/ 249 h 321"/>
                <a:gd name="T4" fmla="*/ 186 w 229"/>
                <a:gd name="T5" fmla="*/ 268 h 321"/>
                <a:gd name="T6" fmla="*/ 205 w 229"/>
                <a:gd name="T7" fmla="*/ 314 h 321"/>
                <a:gd name="T8" fmla="*/ 210 w 229"/>
                <a:gd name="T9" fmla="*/ 318 h 321"/>
                <a:gd name="T10" fmla="*/ 219 w 229"/>
                <a:gd name="T11" fmla="*/ 321 h 321"/>
                <a:gd name="T12" fmla="*/ 226 w 229"/>
                <a:gd name="T13" fmla="*/ 317 h 321"/>
                <a:gd name="T14" fmla="*/ 229 w 229"/>
                <a:gd name="T15" fmla="*/ 314 h 321"/>
                <a:gd name="T16" fmla="*/ 226 w 229"/>
                <a:gd name="T17" fmla="*/ 302 h 321"/>
                <a:gd name="T18" fmla="*/ 226 w 229"/>
                <a:gd name="T19" fmla="*/ 302 h 321"/>
                <a:gd name="T20" fmla="*/ 217 w 229"/>
                <a:gd name="T21" fmla="*/ 280 h 321"/>
                <a:gd name="T22" fmla="*/ 220 w 229"/>
                <a:gd name="T23" fmla="*/ 280 h 321"/>
                <a:gd name="T24" fmla="*/ 206 w 229"/>
                <a:gd name="T25" fmla="*/ 236 h 321"/>
                <a:gd name="T26" fmla="*/ 49 w 229"/>
                <a:gd name="T27" fmla="*/ 0 h 321"/>
                <a:gd name="T28" fmla="*/ 45 w 229"/>
                <a:gd name="T29" fmla="*/ 0 h 321"/>
                <a:gd name="T30" fmla="*/ 37 w 229"/>
                <a:gd name="T31" fmla="*/ 13 h 321"/>
                <a:gd name="T32" fmla="*/ 31 w 229"/>
                <a:gd name="T33" fmla="*/ 37 h 321"/>
                <a:gd name="T34" fmla="*/ 14 w 229"/>
                <a:gd name="T35" fmla="*/ 23 h 321"/>
                <a:gd name="T36" fmla="*/ 5 w 229"/>
                <a:gd name="T37" fmla="*/ 17 h 321"/>
                <a:gd name="T38" fmla="*/ 0 w 229"/>
                <a:gd name="T39" fmla="*/ 18 h 321"/>
                <a:gd name="T40" fmla="*/ 45 w 229"/>
                <a:gd name="T41" fmla="*/ 61 h 321"/>
                <a:gd name="T42" fmla="*/ 88 w 229"/>
                <a:gd name="T43" fmla="*/ 53 h 321"/>
                <a:gd name="T44" fmla="*/ 101 w 229"/>
                <a:gd name="T45" fmla="*/ 54 h 321"/>
                <a:gd name="T46" fmla="*/ 74 w 229"/>
                <a:gd name="T47" fmla="*/ 24 h 321"/>
                <a:gd name="T48" fmla="*/ 71 w 229"/>
                <a:gd name="T49" fmla="*/ 26 h 321"/>
                <a:gd name="T50" fmla="*/ 58 w 229"/>
                <a:gd name="T51" fmla="*/ 8 h 321"/>
                <a:gd name="T52" fmla="*/ 49 w 229"/>
                <a:gd name="T53"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321">
                  <a:moveTo>
                    <a:pt x="206" y="236"/>
                  </a:moveTo>
                  <a:cubicBezTo>
                    <a:pt x="204" y="241"/>
                    <a:pt x="202" y="245"/>
                    <a:pt x="200" y="249"/>
                  </a:cubicBezTo>
                  <a:cubicBezTo>
                    <a:pt x="196" y="256"/>
                    <a:pt x="191" y="262"/>
                    <a:pt x="186" y="268"/>
                  </a:cubicBezTo>
                  <a:cubicBezTo>
                    <a:pt x="193" y="283"/>
                    <a:pt x="199" y="299"/>
                    <a:pt x="205" y="314"/>
                  </a:cubicBezTo>
                  <a:cubicBezTo>
                    <a:pt x="207" y="315"/>
                    <a:pt x="209" y="316"/>
                    <a:pt x="210" y="318"/>
                  </a:cubicBezTo>
                  <a:cubicBezTo>
                    <a:pt x="214" y="320"/>
                    <a:pt x="217" y="321"/>
                    <a:pt x="219" y="321"/>
                  </a:cubicBezTo>
                  <a:cubicBezTo>
                    <a:pt x="222" y="321"/>
                    <a:pt x="224" y="319"/>
                    <a:pt x="226" y="317"/>
                  </a:cubicBezTo>
                  <a:cubicBezTo>
                    <a:pt x="227" y="316"/>
                    <a:pt x="228" y="315"/>
                    <a:pt x="229" y="314"/>
                  </a:cubicBezTo>
                  <a:cubicBezTo>
                    <a:pt x="228" y="310"/>
                    <a:pt x="227" y="306"/>
                    <a:pt x="226" y="302"/>
                  </a:cubicBezTo>
                  <a:cubicBezTo>
                    <a:pt x="226" y="302"/>
                    <a:pt x="226" y="302"/>
                    <a:pt x="226" y="302"/>
                  </a:cubicBezTo>
                  <a:cubicBezTo>
                    <a:pt x="220" y="295"/>
                    <a:pt x="216" y="285"/>
                    <a:pt x="217" y="280"/>
                  </a:cubicBezTo>
                  <a:cubicBezTo>
                    <a:pt x="218" y="280"/>
                    <a:pt x="219" y="280"/>
                    <a:pt x="220" y="280"/>
                  </a:cubicBezTo>
                  <a:cubicBezTo>
                    <a:pt x="216" y="265"/>
                    <a:pt x="211" y="251"/>
                    <a:pt x="206" y="236"/>
                  </a:cubicBezTo>
                  <a:moveTo>
                    <a:pt x="49" y="0"/>
                  </a:moveTo>
                  <a:cubicBezTo>
                    <a:pt x="47" y="0"/>
                    <a:pt x="46" y="0"/>
                    <a:pt x="45" y="0"/>
                  </a:cubicBezTo>
                  <a:cubicBezTo>
                    <a:pt x="41" y="1"/>
                    <a:pt x="35" y="2"/>
                    <a:pt x="37" y="13"/>
                  </a:cubicBezTo>
                  <a:cubicBezTo>
                    <a:pt x="37" y="23"/>
                    <a:pt x="35" y="35"/>
                    <a:pt x="31" y="37"/>
                  </a:cubicBezTo>
                  <a:cubicBezTo>
                    <a:pt x="26" y="36"/>
                    <a:pt x="19" y="29"/>
                    <a:pt x="14" y="23"/>
                  </a:cubicBezTo>
                  <a:cubicBezTo>
                    <a:pt x="10" y="18"/>
                    <a:pt x="7" y="17"/>
                    <a:pt x="5" y="17"/>
                  </a:cubicBezTo>
                  <a:cubicBezTo>
                    <a:pt x="3" y="17"/>
                    <a:pt x="2" y="17"/>
                    <a:pt x="0" y="18"/>
                  </a:cubicBezTo>
                  <a:cubicBezTo>
                    <a:pt x="16" y="32"/>
                    <a:pt x="31" y="46"/>
                    <a:pt x="45" y="61"/>
                  </a:cubicBezTo>
                  <a:cubicBezTo>
                    <a:pt x="59" y="56"/>
                    <a:pt x="73" y="53"/>
                    <a:pt x="88" y="53"/>
                  </a:cubicBezTo>
                  <a:cubicBezTo>
                    <a:pt x="92" y="53"/>
                    <a:pt x="96" y="54"/>
                    <a:pt x="101" y="54"/>
                  </a:cubicBezTo>
                  <a:cubicBezTo>
                    <a:pt x="92" y="44"/>
                    <a:pt x="83" y="34"/>
                    <a:pt x="74" y="24"/>
                  </a:cubicBezTo>
                  <a:cubicBezTo>
                    <a:pt x="73" y="25"/>
                    <a:pt x="72" y="26"/>
                    <a:pt x="71" y="26"/>
                  </a:cubicBezTo>
                  <a:cubicBezTo>
                    <a:pt x="67" y="24"/>
                    <a:pt x="61" y="16"/>
                    <a:pt x="58" y="8"/>
                  </a:cubicBezTo>
                  <a:cubicBezTo>
                    <a:pt x="55" y="5"/>
                    <a:pt x="52" y="2"/>
                    <a:pt x="49"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2" name="Freeform 21548">
              <a:extLst>
                <a:ext uri="{FF2B5EF4-FFF2-40B4-BE49-F238E27FC236}">
                  <a16:creationId xmlns:a16="http://schemas.microsoft.com/office/drawing/2014/main" id="{6B66A033-3CCC-466E-B766-AAE349C56AEB}"/>
                </a:ext>
              </a:extLst>
            </p:cNvPr>
            <p:cNvSpPr>
              <a:spLocks/>
            </p:cNvSpPr>
            <p:nvPr userDrawn="1"/>
          </p:nvSpPr>
          <p:spPr bwMode="auto">
            <a:xfrm>
              <a:off x="9913303" y="3620453"/>
              <a:ext cx="325438" cy="433388"/>
            </a:xfrm>
            <a:custGeom>
              <a:avLst/>
              <a:gdLst>
                <a:gd name="T0" fmla="*/ 43 w 161"/>
                <a:gd name="T1" fmla="*/ 0 h 215"/>
                <a:gd name="T2" fmla="*/ 0 w 161"/>
                <a:gd name="T3" fmla="*/ 8 h 215"/>
                <a:gd name="T4" fmla="*/ 33 w 161"/>
                <a:gd name="T5" fmla="*/ 46 h 215"/>
                <a:gd name="T6" fmla="*/ 52 w 161"/>
                <a:gd name="T7" fmla="*/ 42 h 215"/>
                <a:gd name="T8" fmla="*/ 96 w 161"/>
                <a:gd name="T9" fmla="*/ 84 h 215"/>
                <a:gd name="T10" fmla="*/ 83 w 161"/>
                <a:gd name="T11" fmla="*/ 116 h 215"/>
                <a:gd name="T12" fmla="*/ 112 w 161"/>
                <a:gd name="T13" fmla="*/ 160 h 215"/>
                <a:gd name="T14" fmla="*/ 112 w 161"/>
                <a:gd name="T15" fmla="*/ 160 h 215"/>
                <a:gd name="T16" fmla="*/ 129 w 161"/>
                <a:gd name="T17" fmla="*/ 178 h 215"/>
                <a:gd name="T18" fmla="*/ 124 w 161"/>
                <a:gd name="T19" fmla="*/ 182 h 215"/>
                <a:gd name="T20" fmla="*/ 141 w 161"/>
                <a:gd name="T21" fmla="*/ 215 h 215"/>
                <a:gd name="T22" fmla="*/ 155 w 161"/>
                <a:gd name="T23" fmla="*/ 196 h 215"/>
                <a:gd name="T24" fmla="*/ 161 w 161"/>
                <a:gd name="T25" fmla="*/ 183 h 215"/>
                <a:gd name="T26" fmla="*/ 58 w 161"/>
                <a:gd name="T27" fmla="*/ 4 h 215"/>
                <a:gd name="T28" fmla="*/ 58 w 161"/>
                <a:gd name="T29" fmla="*/ 4 h 215"/>
                <a:gd name="T30" fmla="*/ 56 w 161"/>
                <a:gd name="T31" fmla="*/ 1 h 215"/>
                <a:gd name="T32" fmla="*/ 56 w 161"/>
                <a:gd name="T33" fmla="*/ 1 h 215"/>
                <a:gd name="T34" fmla="*/ 43 w 161"/>
                <a:gd name="T35"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215">
                  <a:moveTo>
                    <a:pt x="43" y="0"/>
                  </a:moveTo>
                  <a:cubicBezTo>
                    <a:pt x="28" y="0"/>
                    <a:pt x="14" y="3"/>
                    <a:pt x="0" y="8"/>
                  </a:cubicBezTo>
                  <a:cubicBezTo>
                    <a:pt x="11" y="20"/>
                    <a:pt x="22" y="32"/>
                    <a:pt x="33" y="46"/>
                  </a:cubicBezTo>
                  <a:cubicBezTo>
                    <a:pt x="39" y="43"/>
                    <a:pt x="45" y="42"/>
                    <a:pt x="52" y="42"/>
                  </a:cubicBezTo>
                  <a:cubicBezTo>
                    <a:pt x="74" y="42"/>
                    <a:pt x="95" y="56"/>
                    <a:pt x="96" y="84"/>
                  </a:cubicBezTo>
                  <a:cubicBezTo>
                    <a:pt x="95" y="98"/>
                    <a:pt x="90" y="108"/>
                    <a:pt x="83" y="116"/>
                  </a:cubicBezTo>
                  <a:cubicBezTo>
                    <a:pt x="93" y="130"/>
                    <a:pt x="103" y="145"/>
                    <a:pt x="112" y="160"/>
                  </a:cubicBezTo>
                  <a:cubicBezTo>
                    <a:pt x="112" y="160"/>
                    <a:pt x="112" y="160"/>
                    <a:pt x="112" y="160"/>
                  </a:cubicBezTo>
                  <a:cubicBezTo>
                    <a:pt x="123" y="165"/>
                    <a:pt x="124" y="175"/>
                    <a:pt x="129" y="178"/>
                  </a:cubicBezTo>
                  <a:cubicBezTo>
                    <a:pt x="128" y="179"/>
                    <a:pt x="126" y="181"/>
                    <a:pt x="124" y="182"/>
                  </a:cubicBezTo>
                  <a:cubicBezTo>
                    <a:pt x="130" y="193"/>
                    <a:pt x="136" y="204"/>
                    <a:pt x="141" y="215"/>
                  </a:cubicBezTo>
                  <a:cubicBezTo>
                    <a:pt x="146" y="209"/>
                    <a:pt x="151" y="203"/>
                    <a:pt x="155" y="196"/>
                  </a:cubicBezTo>
                  <a:cubicBezTo>
                    <a:pt x="157" y="192"/>
                    <a:pt x="159" y="188"/>
                    <a:pt x="161" y="183"/>
                  </a:cubicBezTo>
                  <a:cubicBezTo>
                    <a:pt x="138" y="120"/>
                    <a:pt x="104" y="59"/>
                    <a:pt x="58" y="4"/>
                  </a:cubicBezTo>
                  <a:cubicBezTo>
                    <a:pt x="58" y="4"/>
                    <a:pt x="58" y="4"/>
                    <a:pt x="58" y="4"/>
                  </a:cubicBezTo>
                  <a:cubicBezTo>
                    <a:pt x="58" y="3"/>
                    <a:pt x="57" y="2"/>
                    <a:pt x="56" y="1"/>
                  </a:cubicBezTo>
                  <a:cubicBezTo>
                    <a:pt x="56" y="1"/>
                    <a:pt x="56" y="1"/>
                    <a:pt x="56" y="1"/>
                  </a:cubicBezTo>
                  <a:cubicBezTo>
                    <a:pt x="51" y="1"/>
                    <a:pt x="47" y="0"/>
                    <a:pt x="43" y="0"/>
                  </a:cubicBezTo>
                </a:path>
              </a:pathLst>
            </a:custGeom>
            <a:solidFill>
              <a:srgbClr val="874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3" name="Freeform 21549">
              <a:extLst>
                <a:ext uri="{FF2B5EF4-FFF2-40B4-BE49-F238E27FC236}">
                  <a16:creationId xmlns:a16="http://schemas.microsoft.com/office/drawing/2014/main" id="{CE513C35-2914-4ED5-8650-6D96B022447F}"/>
                </a:ext>
              </a:extLst>
            </p:cNvPr>
            <p:cNvSpPr>
              <a:spLocks/>
            </p:cNvSpPr>
            <p:nvPr userDrawn="1"/>
          </p:nvSpPr>
          <p:spPr bwMode="auto">
            <a:xfrm>
              <a:off x="10140315" y="3942715"/>
              <a:ext cx="34925" cy="44450"/>
            </a:xfrm>
            <a:custGeom>
              <a:avLst/>
              <a:gdLst>
                <a:gd name="T0" fmla="*/ 0 w 17"/>
                <a:gd name="T1" fmla="*/ 0 h 22"/>
                <a:gd name="T2" fmla="*/ 12 w 17"/>
                <a:gd name="T3" fmla="*/ 22 h 22"/>
                <a:gd name="T4" fmla="*/ 17 w 17"/>
                <a:gd name="T5" fmla="*/ 18 h 22"/>
                <a:gd name="T6" fmla="*/ 0 w 17"/>
                <a:gd name="T7" fmla="*/ 0 h 22"/>
                <a:gd name="T8" fmla="*/ 0 w 17"/>
                <a:gd name="T9" fmla="*/ 0 h 22"/>
              </a:gdLst>
              <a:ahLst/>
              <a:cxnLst>
                <a:cxn ang="0">
                  <a:pos x="T0" y="T1"/>
                </a:cxn>
                <a:cxn ang="0">
                  <a:pos x="T2" y="T3"/>
                </a:cxn>
                <a:cxn ang="0">
                  <a:pos x="T4" y="T5"/>
                </a:cxn>
                <a:cxn ang="0">
                  <a:pos x="T6" y="T7"/>
                </a:cxn>
                <a:cxn ang="0">
                  <a:pos x="T8" y="T9"/>
                </a:cxn>
              </a:cxnLst>
              <a:rect l="0" t="0" r="r" b="b"/>
              <a:pathLst>
                <a:path w="17" h="22">
                  <a:moveTo>
                    <a:pt x="0" y="0"/>
                  </a:moveTo>
                  <a:cubicBezTo>
                    <a:pt x="4" y="7"/>
                    <a:pt x="8" y="15"/>
                    <a:pt x="12" y="22"/>
                  </a:cubicBezTo>
                  <a:cubicBezTo>
                    <a:pt x="14" y="21"/>
                    <a:pt x="16" y="19"/>
                    <a:pt x="17" y="18"/>
                  </a:cubicBezTo>
                  <a:cubicBezTo>
                    <a:pt x="12" y="15"/>
                    <a:pt x="11" y="5"/>
                    <a:pt x="0" y="0"/>
                  </a:cubicBezTo>
                  <a:cubicBezTo>
                    <a:pt x="0" y="0"/>
                    <a:pt x="0" y="0"/>
                    <a:pt x="0" y="0"/>
                  </a:cubicBezTo>
                </a:path>
              </a:pathLst>
            </a:custGeom>
            <a:solidFill>
              <a:srgbClr val="66A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4" name="Freeform 21550">
              <a:extLst>
                <a:ext uri="{FF2B5EF4-FFF2-40B4-BE49-F238E27FC236}">
                  <a16:creationId xmlns:a16="http://schemas.microsoft.com/office/drawing/2014/main" id="{C361B59B-9714-41CB-8B06-2D8982E46B16}"/>
                </a:ext>
              </a:extLst>
            </p:cNvPr>
            <p:cNvSpPr>
              <a:spLocks/>
            </p:cNvSpPr>
            <p:nvPr userDrawn="1"/>
          </p:nvSpPr>
          <p:spPr bwMode="auto">
            <a:xfrm>
              <a:off x="9979978" y="3704590"/>
              <a:ext cx="128588" cy="149225"/>
            </a:xfrm>
            <a:custGeom>
              <a:avLst/>
              <a:gdLst>
                <a:gd name="T0" fmla="*/ 19 w 63"/>
                <a:gd name="T1" fmla="*/ 0 h 74"/>
                <a:gd name="T2" fmla="*/ 0 w 63"/>
                <a:gd name="T3" fmla="*/ 4 h 74"/>
                <a:gd name="T4" fmla="*/ 0 w 63"/>
                <a:gd name="T5" fmla="*/ 5 h 74"/>
                <a:gd name="T6" fmla="*/ 19 w 63"/>
                <a:gd name="T7" fmla="*/ 1 h 74"/>
                <a:gd name="T8" fmla="*/ 61 w 63"/>
                <a:gd name="T9" fmla="*/ 42 h 74"/>
                <a:gd name="T10" fmla="*/ 49 w 63"/>
                <a:gd name="T11" fmla="*/ 72 h 74"/>
                <a:gd name="T12" fmla="*/ 50 w 63"/>
                <a:gd name="T13" fmla="*/ 74 h 74"/>
                <a:gd name="T14" fmla="*/ 63 w 63"/>
                <a:gd name="T15" fmla="*/ 42 h 74"/>
                <a:gd name="T16" fmla="*/ 19 w 63"/>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74">
                  <a:moveTo>
                    <a:pt x="19" y="0"/>
                  </a:moveTo>
                  <a:cubicBezTo>
                    <a:pt x="12" y="0"/>
                    <a:pt x="6" y="1"/>
                    <a:pt x="0" y="4"/>
                  </a:cubicBezTo>
                  <a:cubicBezTo>
                    <a:pt x="0" y="4"/>
                    <a:pt x="0" y="4"/>
                    <a:pt x="0" y="5"/>
                  </a:cubicBezTo>
                  <a:cubicBezTo>
                    <a:pt x="6" y="2"/>
                    <a:pt x="13" y="1"/>
                    <a:pt x="19" y="1"/>
                  </a:cubicBezTo>
                  <a:cubicBezTo>
                    <a:pt x="40" y="1"/>
                    <a:pt x="61" y="15"/>
                    <a:pt x="61" y="42"/>
                  </a:cubicBezTo>
                  <a:cubicBezTo>
                    <a:pt x="61" y="55"/>
                    <a:pt x="56" y="65"/>
                    <a:pt x="49" y="72"/>
                  </a:cubicBezTo>
                  <a:cubicBezTo>
                    <a:pt x="49" y="73"/>
                    <a:pt x="50" y="73"/>
                    <a:pt x="50" y="74"/>
                  </a:cubicBezTo>
                  <a:cubicBezTo>
                    <a:pt x="57" y="66"/>
                    <a:pt x="62" y="56"/>
                    <a:pt x="63" y="42"/>
                  </a:cubicBezTo>
                  <a:cubicBezTo>
                    <a:pt x="62" y="14"/>
                    <a:pt x="41" y="0"/>
                    <a:pt x="19"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5" name="Freeform 21551">
              <a:extLst>
                <a:ext uri="{FF2B5EF4-FFF2-40B4-BE49-F238E27FC236}">
                  <a16:creationId xmlns:a16="http://schemas.microsoft.com/office/drawing/2014/main" id="{4F71353D-9199-41A4-920D-AB7A5BE47BEB}"/>
                </a:ext>
              </a:extLst>
            </p:cNvPr>
            <p:cNvSpPr>
              <a:spLocks noEditPoints="1"/>
            </p:cNvSpPr>
            <p:nvPr userDrawn="1"/>
          </p:nvSpPr>
          <p:spPr bwMode="auto">
            <a:xfrm>
              <a:off x="9979978" y="3707765"/>
              <a:ext cx="123825" cy="142875"/>
            </a:xfrm>
            <a:custGeom>
              <a:avLst/>
              <a:gdLst>
                <a:gd name="T0" fmla="*/ 11 w 61"/>
                <a:gd name="T1" fmla="*/ 3 h 71"/>
                <a:gd name="T2" fmla="*/ 21 w 61"/>
                <a:gd name="T3" fmla="*/ 1 h 71"/>
                <a:gd name="T4" fmla="*/ 55 w 61"/>
                <a:gd name="T5" fmla="*/ 23 h 71"/>
                <a:gd name="T6" fmla="*/ 54 w 61"/>
                <a:gd name="T7" fmla="*/ 25 h 71"/>
                <a:gd name="T8" fmla="*/ 54 w 61"/>
                <a:gd name="T9" fmla="*/ 25 h 71"/>
                <a:gd name="T10" fmla="*/ 12 w 61"/>
                <a:gd name="T11" fmla="*/ 3 h 71"/>
                <a:gd name="T12" fmla="*/ 11 w 61"/>
                <a:gd name="T13" fmla="*/ 3 h 71"/>
                <a:gd name="T14" fmla="*/ 19 w 61"/>
                <a:gd name="T15" fmla="*/ 0 h 71"/>
                <a:gd name="T16" fmla="*/ 0 w 61"/>
                <a:gd name="T17" fmla="*/ 4 h 71"/>
                <a:gd name="T18" fmla="*/ 5 w 61"/>
                <a:gd name="T19" fmla="*/ 10 h 71"/>
                <a:gd name="T20" fmla="*/ 18 w 61"/>
                <a:gd name="T21" fmla="*/ 7 h 71"/>
                <a:gd name="T22" fmla="*/ 54 w 61"/>
                <a:gd name="T23" fmla="*/ 42 h 71"/>
                <a:gd name="T24" fmla="*/ 45 w 61"/>
                <a:gd name="T25" fmla="*/ 66 h 71"/>
                <a:gd name="T26" fmla="*/ 49 w 61"/>
                <a:gd name="T27" fmla="*/ 71 h 71"/>
                <a:gd name="T28" fmla="*/ 61 w 61"/>
                <a:gd name="T29" fmla="*/ 41 h 71"/>
                <a:gd name="T30" fmla="*/ 19 w 61"/>
                <a:gd name="T3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71">
                  <a:moveTo>
                    <a:pt x="11" y="3"/>
                  </a:moveTo>
                  <a:cubicBezTo>
                    <a:pt x="14" y="2"/>
                    <a:pt x="17" y="1"/>
                    <a:pt x="21" y="1"/>
                  </a:cubicBezTo>
                  <a:cubicBezTo>
                    <a:pt x="34" y="1"/>
                    <a:pt x="49" y="11"/>
                    <a:pt x="55" y="23"/>
                  </a:cubicBezTo>
                  <a:cubicBezTo>
                    <a:pt x="55" y="24"/>
                    <a:pt x="54" y="25"/>
                    <a:pt x="54" y="25"/>
                  </a:cubicBezTo>
                  <a:cubicBezTo>
                    <a:pt x="54" y="25"/>
                    <a:pt x="54" y="25"/>
                    <a:pt x="54" y="25"/>
                  </a:cubicBezTo>
                  <a:cubicBezTo>
                    <a:pt x="43" y="7"/>
                    <a:pt x="31" y="3"/>
                    <a:pt x="12" y="3"/>
                  </a:cubicBezTo>
                  <a:cubicBezTo>
                    <a:pt x="12" y="3"/>
                    <a:pt x="11" y="3"/>
                    <a:pt x="11" y="3"/>
                  </a:cubicBezTo>
                  <a:moveTo>
                    <a:pt x="19" y="0"/>
                  </a:moveTo>
                  <a:cubicBezTo>
                    <a:pt x="13" y="0"/>
                    <a:pt x="6" y="1"/>
                    <a:pt x="0" y="4"/>
                  </a:cubicBezTo>
                  <a:cubicBezTo>
                    <a:pt x="2" y="6"/>
                    <a:pt x="3" y="8"/>
                    <a:pt x="5" y="10"/>
                  </a:cubicBezTo>
                  <a:cubicBezTo>
                    <a:pt x="9" y="8"/>
                    <a:pt x="14" y="7"/>
                    <a:pt x="18" y="7"/>
                  </a:cubicBezTo>
                  <a:cubicBezTo>
                    <a:pt x="36" y="7"/>
                    <a:pt x="53" y="19"/>
                    <a:pt x="54" y="42"/>
                  </a:cubicBezTo>
                  <a:cubicBezTo>
                    <a:pt x="54" y="52"/>
                    <a:pt x="50" y="60"/>
                    <a:pt x="45" y="66"/>
                  </a:cubicBezTo>
                  <a:cubicBezTo>
                    <a:pt x="46" y="68"/>
                    <a:pt x="48" y="70"/>
                    <a:pt x="49" y="71"/>
                  </a:cubicBezTo>
                  <a:cubicBezTo>
                    <a:pt x="56" y="64"/>
                    <a:pt x="61" y="54"/>
                    <a:pt x="61" y="41"/>
                  </a:cubicBezTo>
                  <a:cubicBezTo>
                    <a:pt x="61" y="14"/>
                    <a:pt x="40" y="0"/>
                    <a:pt x="19" y="0"/>
                  </a:cubicBezTo>
                </a:path>
              </a:pathLst>
            </a:custGeom>
            <a:solidFill>
              <a:srgbClr val="998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6" name="Freeform 21552">
              <a:extLst>
                <a:ext uri="{FF2B5EF4-FFF2-40B4-BE49-F238E27FC236}">
                  <a16:creationId xmlns:a16="http://schemas.microsoft.com/office/drawing/2014/main" id="{A96208F7-6594-43B9-9EBB-75C0695E1BED}"/>
                </a:ext>
              </a:extLst>
            </p:cNvPr>
            <p:cNvSpPr>
              <a:spLocks/>
            </p:cNvSpPr>
            <p:nvPr userDrawn="1"/>
          </p:nvSpPr>
          <p:spPr bwMode="auto">
            <a:xfrm>
              <a:off x="10002203" y="3709353"/>
              <a:ext cx="88900" cy="47625"/>
            </a:xfrm>
            <a:custGeom>
              <a:avLst/>
              <a:gdLst>
                <a:gd name="T0" fmla="*/ 10 w 44"/>
                <a:gd name="T1" fmla="*/ 0 h 24"/>
                <a:gd name="T2" fmla="*/ 0 w 44"/>
                <a:gd name="T3" fmla="*/ 2 h 24"/>
                <a:gd name="T4" fmla="*/ 1 w 44"/>
                <a:gd name="T5" fmla="*/ 2 h 24"/>
                <a:gd name="T6" fmla="*/ 43 w 44"/>
                <a:gd name="T7" fmla="*/ 24 h 24"/>
                <a:gd name="T8" fmla="*/ 43 w 44"/>
                <a:gd name="T9" fmla="*/ 24 h 24"/>
                <a:gd name="T10" fmla="*/ 44 w 44"/>
                <a:gd name="T11" fmla="*/ 22 h 24"/>
                <a:gd name="T12" fmla="*/ 10 w 4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44" h="24">
                  <a:moveTo>
                    <a:pt x="10" y="0"/>
                  </a:moveTo>
                  <a:cubicBezTo>
                    <a:pt x="6" y="0"/>
                    <a:pt x="3" y="1"/>
                    <a:pt x="0" y="2"/>
                  </a:cubicBezTo>
                  <a:cubicBezTo>
                    <a:pt x="0" y="2"/>
                    <a:pt x="1" y="2"/>
                    <a:pt x="1" y="2"/>
                  </a:cubicBezTo>
                  <a:cubicBezTo>
                    <a:pt x="20" y="2"/>
                    <a:pt x="32" y="6"/>
                    <a:pt x="43" y="24"/>
                  </a:cubicBezTo>
                  <a:cubicBezTo>
                    <a:pt x="43" y="24"/>
                    <a:pt x="43" y="24"/>
                    <a:pt x="43" y="24"/>
                  </a:cubicBezTo>
                  <a:cubicBezTo>
                    <a:pt x="43" y="24"/>
                    <a:pt x="44" y="23"/>
                    <a:pt x="44" y="22"/>
                  </a:cubicBezTo>
                  <a:cubicBezTo>
                    <a:pt x="38" y="10"/>
                    <a:pt x="23" y="0"/>
                    <a:pt x="10"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7" name="Freeform 21553">
              <a:extLst>
                <a:ext uri="{FF2B5EF4-FFF2-40B4-BE49-F238E27FC236}">
                  <a16:creationId xmlns:a16="http://schemas.microsoft.com/office/drawing/2014/main" id="{1A5F6D22-05FA-437B-B046-7BF2CA3A3BCB}"/>
                </a:ext>
              </a:extLst>
            </p:cNvPr>
            <p:cNvSpPr>
              <a:spLocks/>
            </p:cNvSpPr>
            <p:nvPr userDrawn="1"/>
          </p:nvSpPr>
          <p:spPr bwMode="auto">
            <a:xfrm>
              <a:off x="9991090" y="3722053"/>
              <a:ext cx="98425" cy="117475"/>
            </a:xfrm>
            <a:custGeom>
              <a:avLst/>
              <a:gdLst>
                <a:gd name="T0" fmla="*/ 13 w 49"/>
                <a:gd name="T1" fmla="*/ 0 h 59"/>
                <a:gd name="T2" fmla="*/ 0 w 49"/>
                <a:gd name="T3" fmla="*/ 3 h 59"/>
                <a:gd name="T4" fmla="*/ 9 w 49"/>
                <a:gd name="T5" fmla="*/ 15 h 59"/>
                <a:gd name="T6" fmla="*/ 11 w 49"/>
                <a:gd name="T7" fmla="*/ 10 h 59"/>
                <a:gd name="T8" fmla="*/ 11 w 49"/>
                <a:gd name="T9" fmla="*/ 10 h 59"/>
                <a:gd name="T10" fmla="*/ 13 w 49"/>
                <a:gd name="T11" fmla="*/ 10 h 59"/>
                <a:gd name="T12" fmla="*/ 16 w 49"/>
                <a:gd name="T13" fmla="*/ 16 h 59"/>
                <a:gd name="T14" fmla="*/ 25 w 49"/>
                <a:gd name="T15" fmla="*/ 23 h 59"/>
                <a:gd name="T16" fmla="*/ 23 w 49"/>
                <a:gd name="T17" fmla="*/ 25 h 59"/>
                <a:gd name="T18" fmla="*/ 18 w 49"/>
                <a:gd name="T19" fmla="*/ 24 h 59"/>
                <a:gd name="T20" fmla="*/ 15 w 49"/>
                <a:gd name="T21" fmla="*/ 24 h 59"/>
                <a:gd name="T22" fmla="*/ 22 w 49"/>
                <a:gd name="T23" fmla="*/ 34 h 59"/>
                <a:gd name="T24" fmla="*/ 29 w 49"/>
                <a:gd name="T25" fmla="*/ 44 h 59"/>
                <a:gd name="T26" fmla="*/ 40 w 49"/>
                <a:gd name="T27" fmla="*/ 59 h 59"/>
                <a:gd name="T28" fmla="*/ 49 w 49"/>
                <a:gd name="T29" fmla="*/ 35 h 59"/>
                <a:gd name="T30" fmla="*/ 13 w 49"/>
                <a:gd name="T3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59">
                  <a:moveTo>
                    <a:pt x="13" y="0"/>
                  </a:moveTo>
                  <a:cubicBezTo>
                    <a:pt x="9" y="0"/>
                    <a:pt x="4" y="1"/>
                    <a:pt x="0" y="3"/>
                  </a:cubicBezTo>
                  <a:cubicBezTo>
                    <a:pt x="3" y="7"/>
                    <a:pt x="6" y="11"/>
                    <a:pt x="9" y="15"/>
                  </a:cubicBezTo>
                  <a:cubicBezTo>
                    <a:pt x="9" y="13"/>
                    <a:pt x="9" y="10"/>
                    <a:pt x="11" y="10"/>
                  </a:cubicBezTo>
                  <a:cubicBezTo>
                    <a:pt x="11" y="10"/>
                    <a:pt x="11" y="10"/>
                    <a:pt x="11" y="10"/>
                  </a:cubicBezTo>
                  <a:cubicBezTo>
                    <a:pt x="12" y="10"/>
                    <a:pt x="12" y="10"/>
                    <a:pt x="13" y="10"/>
                  </a:cubicBezTo>
                  <a:cubicBezTo>
                    <a:pt x="16" y="10"/>
                    <a:pt x="16" y="12"/>
                    <a:pt x="16" y="16"/>
                  </a:cubicBezTo>
                  <a:cubicBezTo>
                    <a:pt x="22" y="17"/>
                    <a:pt x="28" y="16"/>
                    <a:pt x="25" y="23"/>
                  </a:cubicBezTo>
                  <a:cubicBezTo>
                    <a:pt x="25" y="24"/>
                    <a:pt x="24" y="25"/>
                    <a:pt x="23" y="25"/>
                  </a:cubicBezTo>
                  <a:cubicBezTo>
                    <a:pt x="22" y="25"/>
                    <a:pt x="20" y="24"/>
                    <a:pt x="18" y="24"/>
                  </a:cubicBezTo>
                  <a:cubicBezTo>
                    <a:pt x="17" y="24"/>
                    <a:pt x="16" y="24"/>
                    <a:pt x="15" y="24"/>
                  </a:cubicBezTo>
                  <a:cubicBezTo>
                    <a:pt x="17" y="27"/>
                    <a:pt x="20" y="31"/>
                    <a:pt x="22" y="34"/>
                  </a:cubicBezTo>
                  <a:cubicBezTo>
                    <a:pt x="26" y="37"/>
                    <a:pt x="28" y="40"/>
                    <a:pt x="29" y="44"/>
                  </a:cubicBezTo>
                  <a:cubicBezTo>
                    <a:pt x="33" y="49"/>
                    <a:pt x="36" y="54"/>
                    <a:pt x="40" y="59"/>
                  </a:cubicBezTo>
                  <a:cubicBezTo>
                    <a:pt x="45" y="53"/>
                    <a:pt x="49" y="45"/>
                    <a:pt x="49" y="35"/>
                  </a:cubicBezTo>
                  <a:cubicBezTo>
                    <a:pt x="48" y="12"/>
                    <a:pt x="31" y="0"/>
                    <a:pt x="13"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8" name="Freeform 21554">
              <a:extLst>
                <a:ext uri="{FF2B5EF4-FFF2-40B4-BE49-F238E27FC236}">
                  <a16:creationId xmlns:a16="http://schemas.microsoft.com/office/drawing/2014/main" id="{52401A5A-045A-45ED-901D-9333932ED53B}"/>
                </a:ext>
              </a:extLst>
            </p:cNvPr>
            <p:cNvSpPr>
              <a:spLocks noEditPoints="1"/>
            </p:cNvSpPr>
            <p:nvPr userDrawn="1"/>
          </p:nvSpPr>
          <p:spPr bwMode="auto">
            <a:xfrm>
              <a:off x="10008553" y="3741103"/>
              <a:ext cx="41275" cy="68263"/>
            </a:xfrm>
            <a:custGeom>
              <a:avLst/>
              <a:gdLst>
                <a:gd name="T0" fmla="*/ 13 w 20"/>
                <a:gd name="T1" fmla="*/ 24 h 34"/>
                <a:gd name="T2" fmla="*/ 17 w 20"/>
                <a:gd name="T3" fmla="*/ 30 h 34"/>
                <a:gd name="T4" fmla="*/ 20 w 20"/>
                <a:gd name="T5" fmla="*/ 34 h 34"/>
                <a:gd name="T6" fmla="*/ 13 w 20"/>
                <a:gd name="T7" fmla="*/ 24 h 34"/>
                <a:gd name="T8" fmla="*/ 4 w 20"/>
                <a:gd name="T9" fmla="*/ 0 h 34"/>
                <a:gd name="T10" fmla="*/ 2 w 20"/>
                <a:gd name="T11" fmla="*/ 0 h 34"/>
                <a:gd name="T12" fmla="*/ 2 w 20"/>
                <a:gd name="T13" fmla="*/ 0 h 34"/>
                <a:gd name="T14" fmla="*/ 0 w 20"/>
                <a:gd name="T15" fmla="*/ 5 h 34"/>
                <a:gd name="T16" fmla="*/ 6 w 20"/>
                <a:gd name="T17" fmla="*/ 14 h 34"/>
                <a:gd name="T18" fmla="*/ 9 w 20"/>
                <a:gd name="T19" fmla="*/ 14 h 34"/>
                <a:gd name="T20" fmla="*/ 14 w 20"/>
                <a:gd name="T21" fmla="*/ 15 h 34"/>
                <a:gd name="T22" fmla="*/ 16 w 20"/>
                <a:gd name="T23" fmla="*/ 13 h 34"/>
                <a:gd name="T24" fmla="*/ 7 w 20"/>
                <a:gd name="T25" fmla="*/ 6 h 34"/>
                <a:gd name="T26" fmla="*/ 4 w 20"/>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4">
                  <a:moveTo>
                    <a:pt x="13" y="24"/>
                  </a:moveTo>
                  <a:cubicBezTo>
                    <a:pt x="14" y="26"/>
                    <a:pt x="16" y="28"/>
                    <a:pt x="17" y="30"/>
                  </a:cubicBezTo>
                  <a:cubicBezTo>
                    <a:pt x="18" y="32"/>
                    <a:pt x="19" y="33"/>
                    <a:pt x="20" y="34"/>
                  </a:cubicBezTo>
                  <a:cubicBezTo>
                    <a:pt x="19" y="30"/>
                    <a:pt x="17" y="27"/>
                    <a:pt x="13" y="24"/>
                  </a:cubicBezTo>
                  <a:moveTo>
                    <a:pt x="4" y="0"/>
                  </a:moveTo>
                  <a:cubicBezTo>
                    <a:pt x="3" y="0"/>
                    <a:pt x="3" y="0"/>
                    <a:pt x="2" y="0"/>
                  </a:cubicBezTo>
                  <a:cubicBezTo>
                    <a:pt x="2" y="0"/>
                    <a:pt x="2" y="0"/>
                    <a:pt x="2" y="0"/>
                  </a:cubicBezTo>
                  <a:cubicBezTo>
                    <a:pt x="0" y="0"/>
                    <a:pt x="0" y="3"/>
                    <a:pt x="0" y="5"/>
                  </a:cubicBezTo>
                  <a:cubicBezTo>
                    <a:pt x="2" y="8"/>
                    <a:pt x="4" y="11"/>
                    <a:pt x="6" y="14"/>
                  </a:cubicBezTo>
                  <a:cubicBezTo>
                    <a:pt x="7" y="14"/>
                    <a:pt x="8" y="14"/>
                    <a:pt x="9" y="14"/>
                  </a:cubicBezTo>
                  <a:cubicBezTo>
                    <a:pt x="11" y="14"/>
                    <a:pt x="13" y="15"/>
                    <a:pt x="14" y="15"/>
                  </a:cubicBezTo>
                  <a:cubicBezTo>
                    <a:pt x="15" y="15"/>
                    <a:pt x="16" y="14"/>
                    <a:pt x="16" y="13"/>
                  </a:cubicBezTo>
                  <a:cubicBezTo>
                    <a:pt x="19" y="6"/>
                    <a:pt x="13" y="7"/>
                    <a:pt x="7" y="6"/>
                  </a:cubicBezTo>
                  <a:cubicBezTo>
                    <a:pt x="7" y="2"/>
                    <a:pt x="7" y="0"/>
                    <a:pt x="4"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9" name="Freeform 21555">
              <a:extLst>
                <a:ext uri="{FF2B5EF4-FFF2-40B4-BE49-F238E27FC236}">
                  <a16:creationId xmlns:a16="http://schemas.microsoft.com/office/drawing/2014/main" id="{7FE1CC39-DAAD-4BD7-9818-732F0D65B451}"/>
                </a:ext>
              </a:extLst>
            </p:cNvPr>
            <p:cNvSpPr>
              <a:spLocks/>
            </p:cNvSpPr>
            <p:nvPr userDrawn="1"/>
          </p:nvSpPr>
          <p:spPr bwMode="auto">
            <a:xfrm>
              <a:off x="8224203" y="3617278"/>
              <a:ext cx="88900" cy="84138"/>
            </a:xfrm>
            <a:custGeom>
              <a:avLst/>
              <a:gdLst>
                <a:gd name="T0" fmla="*/ 26 w 44"/>
                <a:gd name="T1" fmla="*/ 0 h 42"/>
                <a:gd name="T2" fmla="*/ 1 w 44"/>
                <a:gd name="T3" fmla="*/ 19 h 42"/>
                <a:gd name="T4" fmla="*/ 3 w 44"/>
                <a:gd name="T5" fmla="*/ 42 h 42"/>
                <a:gd name="T6" fmla="*/ 44 w 44"/>
                <a:gd name="T7" fmla="*/ 5 h 42"/>
                <a:gd name="T8" fmla="*/ 26 w 44"/>
                <a:gd name="T9" fmla="*/ 0 h 42"/>
              </a:gdLst>
              <a:ahLst/>
              <a:cxnLst>
                <a:cxn ang="0">
                  <a:pos x="T0" y="T1"/>
                </a:cxn>
                <a:cxn ang="0">
                  <a:pos x="T2" y="T3"/>
                </a:cxn>
                <a:cxn ang="0">
                  <a:pos x="T4" y="T5"/>
                </a:cxn>
                <a:cxn ang="0">
                  <a:pos x="T6" y="T7"/>
                </a:cxn>
                <a:cxn ang="0">
                  <a:pos x="T8" y="T9"/>
                </a:cxn>
              </a:cxnLst>
              <a:rect l="0" t="0" r="r" b="b"/>
              <a:pathLst>
                <a:path w="44" h="42">
                  <a:moveTo>
                    <a:pt x="26" y="0"/>
                  </a:moveTo>
                  <a:cubicBezTo>
                    <a:pt x="13" y="0"/>
                    <a:pt x="2" y="6"/>
                    <a:pt x="1" y="19"/>
                  </a:cubicBezTo>
                  <a:cubicBezTo>
                    <a:pt x="0" y="24"/>
                    <a:pt x="1" y="35"/>
                    <a:pt x="3" y="42"/>
                  </a:cubicBezTo>
                  <a:cubicBezTo>
                    <a:pt x="16" y="29"/>
                    <a:pt x="30" y="17"/>
                    <a:pt x="44" y="5"/>
                  </a:cubicBezTo>
                  <a:cubicBezTo>
                    <a:pt x="39" y="1"/>
                    <a:pt x="33" y="0"/>
                    <a:pt x="26"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0" name="Freeform 21556">
              <a:extLst>
                <a:ext uri="{FF2B5EF4-FFF2-40B4-BE49-F238E27FC236}">
                  <a16:creationId xmlns:a16="http://schemas.microsoft.com/office/drawing/2014/main" id="{4A3A3EB7-5FC7-46E6-9741-E6F83C86E4C1}"/>
                </a:ext>
              </a:extLst>
            </p:cNvPr>
            <p:cNvSpPr>
              <a:spLocks/>
            </p:cNvSpPr>
            <p:nvPr userDrawn="1"/>
          </p:nvSpPr>
          <p:spPr bwMode="auto">
            <a:xfrm>
              <a:off x="8051165" y="3658553"/>
              <a:ext cx="115888" cy="142875"/>
            </a:xfrm>
            <a:custGeom>
              <a:avLst/>
              <a:gdLst>
                <a:gd name="T0" fmla="*/ 39 w 57"/>
                <a:gd name="T1" fmla="*/ 0 h 71"/>
                <a:gd name="T2" fmla="*/ 0 w 57"/>
                <a:gd name="T3" fmla="*/ 58 h 71"/>
                <a:gd name="T4" fmla="*/ 20 w 57"/>
                <a:gd name="T5" fmla="*/ 71 h 71"/>
                <a:gd name="T6" fmla="*/ 25 w 57"/>
                <a:gd name="T7" fmla="*/ 71 h 71"/>
                <a:gd name="T8" fmla="*/ 30 w 57"/>
                <a:gd name="T9" fmla="*/ 71 h 71"/>
                <a:gd name="T10" fmla="*/ 51 w 57"/>
                <a:gd name="T11" fmla="*/ 56 h 71"/>
                <a:gd name="T12" fmla="*/ 56 w 57"/>
                <a:gd name="T13" fmla="*/ 21 h 71"/>
                <a:gd name="T14" fmla="*/ 39 w 57"/>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71">
                  <a:moveTo>
                    <a:pt x="39" y="0"/>
                  </a:moveTo>
                  <a:cubicBezTo>
                    <a:pt x="25" y="19"/>
                    <a:pt x="11" y="38"/>
                    <a:pt x="0" y="58"/>
                  </a:cubicBezTo>
                  <a:cubicBezTo>
                    <a:pt x="3" y="64"/>
                    <a:pt x="11" y="69"/>
                    <a:pt x="20" y="71"/>
                  </a:cubicBezTo>
                  <a:cubicBezTo>
                    <a:pt x="22" y="71"/>
                    <a:pt x="23" y="71"/>
                    <a:pt x="25" y="71"/>
                  </a:cubicBezTo>
                  <a:cubicBezTo>
                    <a:pt x="26" y="71"/>
                    <a:pt x="27" y="71"/>
                    <a:pt x="30" y="71"/>
                  </a:cubicBezTo>
                  <a:cubicBezTo>
                    <a:pt x="39" y="69"/>
                    <a:pt x="47" y="63"/>
                    <a:pt x="51" y="56"/>
                  </a:cubicBezTo>
                  <a:cubicBezTo>
                    <a:pt x="55" y="49"/>
                    <a:pt x="57" y="30"/>
                    <a:pt x="56" y="21"/>
                  </a:cubicBezTo>
                  <a:cubicBezTo>
                    <a:pt x="55" y="11"/>
                    <a:pt x="48" y="4"/>
                    <a:pt x="39" y="0"/>
                  </a:cubicBezTo>
                </a:path>
              </a:pathLst>
            </a:custGeom>
            <a:solidFill>
              <a:srgbClr val="74A4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1" name="Freeform 21557">
              <a:extLst>
                <a:ext uri="{FF2B5EF4-FFF2-40B4-BE49-F238E27FC236}">
                  <a16:creationId xmlns:a16="http://schemas.microsoft.com/office/drawing/2014/main" id="{3D190D68-1253-4453-B432-0F28D6191D01}"/>
                </a:ext>
              </a:extLst>
            </p:cNvPr>
            <p:cNvSpPr>
              <a:spLocks/>
            </p:cNvSpPr>
            <p:nvPr userDrawn="1"/>
          </p:nvSpPr>
          <p:spPr bwMode="auto">
            <a:xfrm>
              <a:off x="7968615" y="3814128"/>
              <a:ext cx="160338" cy="155575"/>
            </a:xfrm>
            <a:custGeom>
              <a:avLst/>
              <a:gdLst>
                <a:gd name="T0" fmla="*/ 66 w 79"/>
                <a:gd name="T1" fmla="*/ 0 h 77"/>
                <a:gd name="T2" fmla="*/ 25 w 79"/>
                <a:gd name="T3" fmla="*/ 8 h 77"/>
                <a:gd name="T4" fmla="*/ 1 w 79"/>
                <a:gd name="T5" fmla="*/ 59 h 77"/>
                <a:gd name="T6" fmla="*/ 0 w 79"/>
                <a:gd name="T7" fmla="*/ 77 h 77"/>
                <a:gd name="T8" fmla="*/ 29 w 79"/>
                <a:gd name="T9" fmla="*/ 77 h 77"/>
                <a:gd name="T10" fmla="*/ 79 w 79"/>
                <a:gd name="T11" fmla="*/ 1 h 77"/>
                <a:gd name="T12" fmla="*/ 66 w 79"/>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79" h="77">
                  <a:moveTo>
                    <a:pt x="66" y="0"/>
                  </a:moveTo>
                  <a:cubicBezTo>
                    <a:pt x="51" y="0"/>
                    <a:pt x="36" y="3"/>
                    <a:pt x="25" y="8"/>
                  </a:cubicBezTo>
                  <a:cubicBezTo>
                    <a:pt x="16" y="25"/>
                    <a:pt x="8" y="42"/>
                    <a:pt x="1" y="59"/>
                  </a:cubicBezTo>
                  <a:cubicBezTo>
                    <a:pt x="0" y="77"/>
                    <a:pt x="0" y="77"/>
                    <a:pt x="0" y="77"/>
                  </a:cubicBezTo>
                  <a:cubicBezTo>
                    <a:pt x="29" y="77"/>
                    <a:pt x="29" y="77"/>
                    <a:pt x="29" y="77"/>
                  </a:cubicBezTo>
                  <a:cubicBezTo>
                    <a:pt x="43" y="51"/>
                    <a:pt x="60" y="25"/>
                    <a:pt x="79" y="1"/>
                  </a:cubicBezTo>
                  <a:cubicBezTo>
                    <a:pt x="74" y="1"/>
                    <a:pt x="70" y="0"/>
                    <a:pt x="66" y="0"/>
                  </a:cubicBezTo>
                </a:path>
              </a:pathLst>
            </a:custGeom>
            <a:solidFill>
              <a:srgbClr val="74A4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2" name="Freeform 21558">
              <a:extLst>
                <a:ext uri="{FF2B5EF4-FFF2-40B4-BE49-F238E27FC236}">
                  <a16:creationId xmlns:a16="http://schemas.microsoft.com/office/drawing/2014/main" id="{41066A6D-C274-4B54-BB23-021C8A5DDE8B}"/>
                </a:ext>
              </a:extLst>
            </p:cNvPr>
            <p:cNvSpPr>
              <a:spLocks noEditPoints="1"/>
            </p:cNvSpPr>
            <p:nvPr userDrawn="1"/>
          </p:nvSpPr>
          <p:spPr bwMode="auto">
            <a:xfrm>
              <a:off x="7873365" y="3188653"/>
              <a:ext cx="2438400" cy="2432050"/>
            </a:xfrm>
            <a:custGeom>
              <a:avLst/>
              <a:gdLst>
                <a:gd name="T0" fmla="*/ 604 w 1206"/>
                <a:gd name="T1" fmla="*/ 1206 h 1206"/>
                <a:gd name="T2" fmla="*/ 604 w 1206"/>
                <a:gd name="T3" fmla="*/ 1206 h 1206"/>
                <a:gd name="T4" fmla="*/ 604 w 1206"/>
                <a:gd name="T5" fmla="*/ 1206 h 1206"/>
                <a:gd name="T6" fmla="*/ 604 w 1206"/>
                <a:gd name="T7" fmla="*/ 1206 h 1206"/>
                <a:gd name="T8" fmla="*/ 144 w 1206"/>
                <a:gd name="T9" fmla="*/ 993 h 1206"/>
                <a:gd name="T10" fmla="*/ 604 w 1206"/>
                <a:gd name="T11" fmla="*/ 1206 h 1206"/>
                <a:gd name="T12" fmla="*/ 593 w 1206"/>
                <a:gd name="T13" fmla="*/ 1206 h 1206"/>
                <a:gd name="T14" fmla="*/ 168 w 1206"/>
                <a:gd name="T15" fmla="*/ 1020 h 1206"/>
                <a:gd name="T16" fmla="*/ 146 w 1206"/>
                <a:gd name="T17" fmla="*/ 996 h 1206"/>
                <a:gd name="T18" fmla="*/ 144 w 1206"/>
                <a:gd name="T19" fmla="*/ 993 h 1206"/>
                <a:gd name="T20" fmla="*/ 142 w 1206"/>
                <a:gd name="T21" fmla="*/ 991 h 1206"/>
                <a:gd name="T22" fmla="*/ 143 w 1206"/>
                <a:gd name="T23" fmla="*/ 993 h 1206"/>
                <a:gd name="T24" fmla="*/ 142 w 1206"/>
                <a:gd name="T25" fmla="*/ 991 h 1206"/>
                <a:gd name="T26" fmla="*/ 139 w 1206"/>
                <a:gd name="T27" fmla="*/ 988 h 1206"/>
                <a:gd name="T28" fmla="*/ 141 w 1206"/>
                <a:gd name="T29" fmla="*/ 990 h 1206"/>
                <a:gd name="T30" fmla="*/ 139 w 1206"/>
                <a:gd name="T31" fmla="*/ 988 h 1206"/>
                <a:gd name="T32" fmla="*/ 1067 w 1206"/>
                <a:gd name="T33" fmla="*/ 218 h 1206"/>
                <a:gd name="T34" fmla="*/ 1067 w 1206"/>
                <a:gd name="T35" fmla="*/ 218 h 1206"/>
                <a:gd name="T36" fmla="*/ 1170 w 1206"/>
                <a:gd name="T37" fmla="*/ 397 h 1206"/>
                <a:gd name="T38" fmla="*/ 1184 w 1206"/>
                <a:gd name="T39" fmla="*/ 441 h 1206"/>
                <a:gd name="T40" fmla="*/ 1190 w 1206"/>
                <a:gd name="T41" fmla="*/ 463 h 1206"/>
                <a:gd name="T42" fmla="*/ 1193 w 1206"/>
                <a:gd name="T43" fmla="*/ 475 h 1206"/>
                <a:gd name="T44" fmla="*/ 1201 w 1206"/>
                <a:gd name="T45" fmla="*/ 520 h 1206"/>
                <a:gd name="T46" fmla="*/ 1204 w 1206"/>
                <a:gd name="T47" fmla="*/ 553 h 1206"/>
                <a:gd name="T48" fmla="*/ 1206 w 1206"/>
                <a:gd name="T49" fmla="*/ 603 h 1206"/>
                <a:gd name="T50" fmla="*/ 1067 w 1206"/>
                <a:gd name="T51" fmla="*/ 218 h 1206"/>
                <a:gd name="T52" fmla="*/ 1067 w 1206"/>
                <a:gd name="T53" fmla="*/ 218 h 1206"/>
                <a:gd name="T54" fmla="*/ 220 w 1206"/>
                <a:gd name="T55" fmla="*/ 138 h 1206"/>
                <a:gd name="T56" fmla="*/ 218 w 1206"/>
                <a:gd name="T57" fmla="*/ 139 h 1206"/>
                <a:gd name="T58" fmla="*/ 0 w 1206"/>
                <a:gd name="T59" fmla="*/ 603 h 1206"/>
                <a:gd name="T60" fmla="*/ 2 w 1206"/>
                <a:gd name="T61" fmla="*/ 559 h 1206"/>
                <a:gd name="T62" fmla="*/ 3 w 1206"/>
                <a:gd name="T63" fmla="*/ 551 h 1206"/>
                <a:gd name="T64" fmla="*/ 3 w 1206"/>
                <a:gd name="T65" fmla="*/ 551 h 1206"/>
                <a:gd name="T66" fmla="*/ 8 w 1206"/>
                <a:gd name="T67" fmla="*/ 507 h 1206"/>
                <a:gd name="T68" fmla="*/ 48 w 1206"/>
                <a:gd name="T69" fmla="*/ 369 h 1206"/>
                <a:gd name="T70" fmla="*/ 72 w 1206"/>
                <a:gd name="T71" fmla="*/ 318 h 1206"/>
                <a:gd name="T72" fmla="*/ 88 w 1206"/>
                <a:gd name="T73" fmla="*/ 291 h 1206"/>
                <a:gd name="T74" fmla="*/ 127 w 1206"/>
                <a:gd name="T75" fmla="*/ 233 h 1206"/>
                <a:gd name="T76" fmla="*/ 218 w 1206"/>
                <a:gd name="T77" fmla="*/ 139 h 1206"/>
                <a:gd name="T78" fmla="*/ 220 w 1206"/>
                <a:gd name="T79" fmla="*/ 138 h 1206"/>
                <a:gd name="T80" fmla="*/ 224 w 1206"/>
                <a:gd name="T81" fmla="*/ 135 h 1206"/>
                <a:gd name="T82" fmla="*/ 223 w 1206"/>
                <a:gd name="T83" fmla="*/ 135 h 1206"/>
                <a:gd name="T84" fmla="*/ 224 w 1206"/>
                <a:gd name="T85" fmla="*/ 135 h 1206"/>
                <a:gd name="T86" fmla="*/ 603 w 1206"/>
                <a:gd name="T87" fmla="*/ 0 h 1206"/>
                <a:gd name="T88" fmla="*/ 1013 w 1206"/>
                <a:gd name="T89" fmla="*/ 161 h 1206"/>
                <a:gd name="T90" fmla="*/ 1022 w 1206"/>
                <a:gd name="T91" fmla="*/ 169 h 1206"/>
                <a:gd name="T92" fmla="*/ 1038 w 1206"/>
                <a:gd name="T93" fmla="*/ 185 h 1206"/>
                <a:gd name="T94" fmla="*/ 1065 w 1206"/>
                <a:gd name="T95" fmla="*/ 215 h 1206"/>
                <a:gd name="T96" fmla="*/ 1065 w 1206"/>
                <a:gd name="T97" fmla="*/ 215 h 1206"/>
                <a:gd name="T98" fmla="*/ 603 w 1206"/>
                <a:gd name="T99" fmla="*/ 0 h 1206"/>
                <a:gd name="T100" fmla="*/ 603 w 1206"/>
                <a:gd name="T101" fmla="*/ 0 h 1206"/>
                <a:gd name="T102" fmla="*/ 603 w 1206"/>
                <a:gd name="T103" fmla="*/ 0 h 1206"/>
                <a:gd name="T104" fmla="*/ 603 w 1206"/>
                <a:gd name="T105" fmla="*/ 0 h 1206"/>
                <a:gd name="T106" fmla="*/ 603 w 1206"/>
                <a:gd name="T107" fmla="*/ 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6" h="1206">
                  <a:moveTo>
                    <a:pt x="604" y="1206"/>
                  </a:moveTo>
                  <a:cubicBezTo>
                    <a:pt x="604" y="1206"/>
                    <a:pt x="604" y="1206"/>
                    <a:pt x="604" y="1206"/>
                  </a:cubicBezTo>
                  <a:cubicBezTo>
                    <a:pt x="604" y="1206"/>
                    <a:pt x="604" y="1206"/>
                    <a:pt x="604" y="1206"/>
                  </a:cubicBezTo>
                  <a:cubicBezTo>
                    <a:pt x="604" y="1206"/>
                    <a:pt x="604" y="1206"/>
                    <a:pt x="604" y="1206"/>
                  </a:cubicBezTo>
                  <a:moveTo>
                    <a:pt x="144" y="993"/>
                  </a:moveTo>
                  <a:cubicBezTo>
                    <a:pt x="263" y="1134"/>
                    <a:pt x="432" y="1206"/>
                    <a:pt x="604" y="1206"/>
                  </a:cubicBezTo>
                  <a:cubicBezTo>
                    <a:pt x="600" y="1206"/>
                    <a:pt x="597" y="1206"/>
                    <a:pt x="593" y="1206"/>
                  </a:cubicBezTo>
                  <a:cubicBezTo>
                    <a:pt x="437" y="1203"/>
                    <a:pt x="283" y="1140"/>
                    <a:pt x="168" y="1020"/>
                  </a:cubicBezTo>
                  <a:cubicBezTo>
                    <a:pt x="160" y="1012"/>
                    <a:pt x="153" y="1004"/>
                    <a:pt x="146" y="996"/>
                  </a:cubicBezTo>
                  <a:cubicBezTo>
                    <a:pt x="145" y="995"/>
                    <a:pt x="144" y="994"/>
                    <a:pt x="144" y="993"/>
                  </a:cubicBezTo>
                  <a:moveTo>
                    <a:pt x="142" y="991"/>
                  </a:moveTo>
                  <a:cubicBezTo>
                    <a:pt x="142" y="992"/>
                    <a:pt x="143" y="992"/>
                    <a:pt x="143" y="993"/>
                  </a:cubicBezTo>
                  <a:cubicBezTo>
                    <a:pt x="143" y="992"/>
                    <a:pt x="142" y="992"/>
                    <a:pt x="142" y="991"/>
                  </a:cubicBezTo>
                  <a:moveTo>
                    <a:pt x="139" y="988"/>
                  </a:moveTo>
                  <a:cubicBezTo>
                    <a:pt x="140" y="989"/>
                    <a:pt x="140" y="989"/>
                    <a:pt x="141" y="990"/>
                  </a:cubicBezTo>
                  <a:cubicBezTo>
                    <a:pt x="140" y="989"/>
                    <a:pt x="140" y="989"/>
                    <a:pt x="139" y="988"/>
                  </a:cubicBezTo>
                  <a:moveTo>
                    <a:pt x="1067" y="218"/>
                  </a:moveTo>
                  <a:cubicBezTo>
                    <a:pt x="1067" y="218"/>
                    <a:pt x="1067" y="218"/>
                    <a:pt x="1067" y="218"/>
                  </a:cubicBezTo>
                  <a:cubicBezTo>
                    <a:pt x="1113" y="273"/>
                    <a:pt x="1147" y="334"/>
                    <a:pt x="1170" y="397"/>
                  </a:cubicBezTo>
                  <a:cubicBezTo>
                    <a:pt x="1175" y="412"/>
                    <a:pt x="1180" y="426"/>
                    <a:pt x="1184" y="441"/>
                  </a:cubicBezTo>
                  <a:cubicBezTo>
                    <a:pt x="1186" y="448"/>
                    <a:pt x="1188" y="456"/>
                    <a:pt x="1190" y="463"/>
                  </a:cubicBezTo>
                  <a:cubicBezTo>
                    <a:pt x="1191" y="467"/>
                    <a:pt x="1192" y="471"/>
                    <a:pt x="1193" y="475"/>
                  </a:cubicBezTo>
                  <a:cubicBezTo>
                    <a:pt x="1196" y="490"/>
                    <a:pt x="1198" y="505"/>
                    <a:pt x="1201" y="520"/>
                  </a:cubicBezTo>
                  <a:cubicBezTo>
                    <a:pt x="1202" y="531"/>
                    <a:pt x="1203" y="542"/>
                    <a:pt x="1204" y="553"/>
                  </a:cubicBezTo>
                  <a:cubicBezTo>
                    <a:pt x="1206" y="570"/>
                    <a:pt x="1206" y="587"/>
                    <a:pt x="1206" y="603"/>
                  </a:cubicBezTo>
                  <a:cubicBezTo>
                    <a:pt x="1206" y="467"/>
                    <a:pt x="1161" y="331"/>
                    <a:pt x="1067" y="218"/>
                  </a:cubicBezTo>
                  <a:cubicBezTo>
                    <a:pt x="1067" y="218"/>
                    <a:pt x="1067" y="218"/>
                    <a:pt x="1067" y="218"/>
                  </a:cubicBezTo>
                  <a:moveTo>
                    <a:pt x="220" y="138"/>
                  </a:moveTo>
                  <a:cubicBezTo>
                    <a:pt x="220" y="138"/>
                    <a:pt x="219" y="139"/>
                    <a:pt x="218" y="139"/>
                  </a:cubicBezTo>
                  <a:cubicBezTo>
                    <a:pt x="75" y="258"/>
                    <a:pt x="0" y="430"/>
                    <a:pt x="0" y="603"/>
                  </a:cubicBezTo>
                  <a:cubicBezTo>
                    <a:pt x="0" y="589"/>
                    <a:pt x="1" y="574"/>
                    <a:pt x="2" y="559"/>
                  </a:cubicBezTo>
                  <a:cubicBezTo>
                    <a:pt x="2" y="557"/>
                    <a:pt x="2" y="554"/>
                    <a:pt x="3" y="551"/>
                  </a:cubicBezTo>
                  <a:cubicBezTo>
                    <a:pt x="3" y="551"/>
                    <a:pt x="3" y="551"/>
                    <a:pt x="3" y="551"/>
                  </a:cubicBezTo>
                  <a:cubicBezTo>
                    <a:pt x="4" y="537"/>
                    <a:pt x="6" y="522"/>
                    <a:pt x="8" y="507"/>
                  </a:cubicBezTo>
                  <a:cubicBezTo>
                    <a:pt x="16" y="460"/>
                    <a:pt x="29" y="413"/>
                    <a:pt x="48" y="369"/>
                  </a:cubicBezTo>
                  <a:cubicBezTo>
                    <a:pt x="55" y="352"/>
                    <a:pt x="63" y="335"/>
                    <a:pt x="72" y="318"/>
                  </a:cubicBezTo>
                  <a:cubicBezTo>
                    <a:pt x="77" y="309"/>
                    <a:pt x="82" y="300"/>
                    <a:pt x="88" y="291"/>
                  </a:cubicBezTo>
                  <a:cubicBezTo>
                    <a:pt x="99" y="271"/>
                    <a:pt x="113" y="252"/>
                    <a:pt x="127" y="233"/>
                  </a:cubicBezTo>
                  <a:cubicBezTo>
                    <a:pt x="153" y="199"/>
                    <a:pt x="184" y="168"/>
                    <a:pt x="218" y="139"/>
                  </a:cubicBezTo>
                  <a:cubicBezTo>
                    <a:pt x="219" y="139"/>
                    <a:pt x="220" y="138"/>
                    <a:pt x="220" y="138"/>
                  </a:cubicBezTo>
                  <a:moveTo>
                    <a:pt x="224" y="135"/>
                  </a:moveTo>
                  <a:cubicBezTo>
                    <a:pt x="224" y="135"/>
                    <a:pt x="223" y="135"/>
                    <a:pt x="223" y="135"/>
                  </a:cubicBezTo>
                  <a:cubicBezTo>
                    <a:pt x="223" y="135"/>
                    <a:pt x="224" y="135"/>
                    <a:pt x="224" y="135"/>
                  </a:cubicBezTo>
                  <a:moveTo>
                    <a:pt x="603" y="0"/>
                  </a:moveTo>
                  <a:cubicBezTo>
                    <a:pt x="751" y="0"/>
                    <a:pt x="899" y="55"/>
                    <a:pt x="1013" y="161"/>
                  </a:cubicBezTo>
                  <a:cubicBezTo>
                    <a:pt x="1016" y="163"/>
                    <a:pt x="1019" y="166"/>
                    <a:pt x="1022" y="169"/>
                  </a:cubicBezTo>
                  <a:cubicBezTo>
                    <a:pt x="1027" y="174"/>
                    <a:pt x="1033" y="180"/>
                    <a:pt x="1038" y="185"/>
                  </a:cubicBezTo>
                  <a:cubicBezTo>
                    <a:pt x="1047" y="195"/>
                    <a:pt x="1056" y="205"/>
                    <a:pt x="1065" y="215"/>
                  </a:cubicBezTo>
                  <a:cubicBezTo>
                    <a:pt x="1065" y="215"/>
                    <a:pt x="1065" y="215"/>
                    <a:pt x="1065" y="215"/>
                  </a:cubicBezTo>
                  <a:cubicBezTo>
                    <a:pt x="946" y="74"/>
                    <a:pt x="775" y="0"/>
                    <a:pt x="603" y="0"/>
                  </a:cubicBezTo>
                  <a:moveTo>
                    <a:pt x="603" y="0"/>
                  </a:moveTo>
                  <a:cubicBezTo>
                    <a:pt x="603" y="0"/>
                    <a:pt x="603" y="0"/>
                    <a:pt x="603" y="0"/>
                  </a:cubicBezTo>
                  <a:cubicBezTo>
                    <a:pt x="603" y="0"/>
                    <a:pt x="603" y="0"/>
                    <a:pt x="603" y="0"/>
                  </a:cubicBezTo>
                  <a:cubicBezTo>
                    <a:pt x="603" y="0"/>
                    <a:pt x="603" y="0"/>
                    <a:pt x="603"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3" name="Freeform 21559">
              <a:extLst>
                <a:ext uri="{FF2B5EF4-FFF2-40B4-BE49-F238E27FC236}">
                  <a16:creationId xmlns:a16="http://schemas.microsoft.com/office/drawing/2014/main" id="{D423F75F-428B-437C-9F22-26E05A9A6330}"/>
                </a:ext>
              </a:extLst>
            </p:cNvPr>
            <p:cNvSpPr>
              <a:spLocks noEditPoints="1"/>
            </p:cNvSpPr>
            <p:nvPr userDrawn="1"/>
          </p:nvSpPr>
          <p:spPr bwMode="auto">
            <a:xfrm>
              <a:off x="9184640" y="3350578"/>
              <a:ext cx="636588" cy="279400"/>
            </a:xfrm>
            <a:custGeom>
              <a:avLst/>
              <a:gdLst>
                <a:gd name="T0" fmla="*/ 264 w 315"/>
                <a:gd name="T1" fmla="*/ 92 h 139"/>
                <a:gd name="T2" fmla="*/ 293 w 315"/>
                <a:gd name="T3" fmla="*/ 102 h 139"/>
                <a:gd name="T4" fmla="*/ 274 w 315"/>
                <a:gd name="T5" fmla="*/ 90 h 139"/>
                <a:gd name="T6" fmla="*/ 195 w 315"/>
                <a:gd name="T7" fmla="*/ 76 h 139"/>
                <a:gd name="T8" fmla="*/ 195 w 315"/>
                <a:gd name="T9" fmla="*/ 76 h 139"/>
                <a:gd name="T10" fmla="*/ 216 w 315"/>
                <a:gd name="T11" fmla="*/ 61 h 139"/>
                <a:gd name="T12" fmla="*/ 217 w 315"/>
                <a:gd name="T13" fmla="*/ 73 h 139"/>
                <a:gd name="T14" fmla="*/ 232 w 315"/>
                <a:gd name="T15" fmla="*/ 67 h 139"/>
                <a:gd name="T16" fmla="*/ 235 w 315"/>
                <a:gd name="T17" fmla="*/ 77 h 139"/>
                <a:gd name="T18" fmla="*/ 237 w 315"/>
                <a:gd name="T19" fmla="*/ 90 h 139"/>
                <a:gd name="T20" fmla="*/ 245 w 315"/>
                <a:gd name="T21" fmla="*/ 89 h 139"/>
                <a:gd name="T22" fmla="*/ 246 w 315"/>
                <a:gd name="T23" fmla="*/ 100 h 139"/>
                <a:gd name="T24" fmla="*/ 277 w 315"/>
                <a:gd name="T25" fmla="*/ 128 h 139"/>
                <a:gd name="T26" fmla="*/ 291 w 315"/>
                <a:gd name="T27" fmla="*/ 130 h 139"/>
                <a:gd name="T28" fmla="*/ 311 w 315"/>
                <a:gd name="T29" fmla="*/ 138 h 139"/>
                <a:gd name="T30" fmla="*/ 310 w 315"/>
                <a:gd name="T31" fmla="*/ 114 h 139"/>
                <a:gd name="T32" fmla="*/ 296 w 315"/>
                <a:gd name="T33" fmla="*/ 105 h 139"/>
                <a:gd name="T34" fmla="*/ 259 w 315"/>
                <a:gd name="T35" fmla="*/ 92 h 139"/>
                <a:gd name="T36" fmla="*/ 262 w 315"/>
                <a:gd name="T37" fmla="*/ 82 h 139"/>
                <a:gd name="T38" fmla="*/ 237 w 315"/>
                <a:gd name="T39" fmla="*/ 68 h 139"/>
                <a:gd name="T40" fmla="*/ 216 w 315"/>
                <a:gd name="T41" fmla="*/ 58 h 139"/>
                <a:gd name="T42" fmla="*/ 0 w 315"/>
                <a:gd name="T43" fmla="*/ 15 h 139"/>
                <a:gd name="T44" fmla="*/ 160 w 315"/>
                <a:gd name="T45" fmla="*/ 53 h 139"/>
                <a:gd name="T46" fmla="*/ 167 w 315"/>
                <a:gd name="T47" fmla="*/ 56 h 139"/>
                <a:gd name="T48" fmla="*/ 181 w 315"/>
                <a:gd name="T49" fmla="*/ 53 h 139"/>
                <a:gd name="T50" fmla="*/ 186 w 315"/>
                <a:gd name="T51" fmla="*/ 48 h 139"/>
                <a:gd name="T52" fmla="*/ 196 w 315"/>
                <a:gd name="T53" fmla="*/ 64 h 139"/>
                <a:gd name="T54" fmla="*/ 205 w 315"/>
                <a:gd name="T55" fmla="*/ 57 h 139"/>
                <a:gd name="T56" fmla="*/ 197 w 315"/>
                <a:gd name="T57" fmla="*/ 49 h 139"/>
                <a:gd name="T58" fmla="*/ 170 w 315"/>
                <a:gd name="T59" fmla="*/ 38 h 139"/>
                <a:gd name="T60" fmla="*/ 143 w 315"/>
                <a:gd name="T61" fmla="*/ 29 h 139"/>
                <a:gd name="T62" fmla="*/ 116 w 315"/>
                <a:gd name="T63" fmla="*/ 20 h 139"/>
                <a:gd name="T64" fmla="*/ 88 w 315"/>
                <a:gd name="T65" fmla="*/ 13 h 139"/>
                <a:gd name="T66" fmla="*/ 60 w 315"/>
                <a:gd name="T67" fmla="*/ 8 h 139"/>
                <a:gd name="T68" fmla="*/ 32 w 315"/>
                <a:gd name="T69" fmla="*/ 3 h 139"/>
                <a:gd name="T70" fmla="*/ 4 w 315"/>
                <a:gd name="T7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5" h="139">
                  <a:moveTo>
                    <a:pt x="266" y="85"/>
                  </a:moveTo>
                  <a:cubicBezTo>
                    <a:pt x="265" y="87"/>
                    <a:pt x="264" y="89"/>
                    <a:pt x="264" y="92"/>
                  </a:cubicBezTo>
                  <a:cubicBezTo>
                    <a:pt x="264" y="101"/>
                    <a:pt x="271" y="108"/>
                    <a:pt x="280" y="108"/>
                  </a:cubicBezTo>
                  <a:cubicBezTo>
                    <a:pt x="285" y="108"/>
                    <a:pt x="290" y="106"/>
                    <a:pt x="293" y="102"/>
                  </a:cubicBezTo>
                  <a:cubicBezTo>
                    <a:pt x="290" y="101"/>
                    <a:pt x="288" y="99"/>
                    <a:pt x="286" y="98"/>
                  </a:cubicBezTo>
                  <a:cubicBezTo>
                    <a:pt x="282" y="95"/>
                    <a:pt x="278" y="93"/>
                    <a:pt x="274" y="90"/>
                  </a:cubicBezTo>
                  <a:cubicBezTo>
                    <a:pt x="271" y="88"/>
                    <a:pt x="268" y="87"/>
                    <a:pt x="266" y="85"/>
                  </a:cubicBezTo>
                  <a:moveTo>
                    <a:pt x="195" y="76"/>
                  </a:moveTo>
                  <a:cubicBezTo>
                    <a:pt x="202" y="79"/>
                    <a:pt x="209" y="83"/>
                    <a:pt x="215" y="87"/>
                  </a:cubicBezTo>
                  <a:cubicBezTo>
                    <a:pt x="209" y="81"/>
                    <a:pt x="203" y="77"/>
                    <a:pt x="195" y="76"/>
                  </a:cubicBezTo>
                  <a:moveTo>
                    <a:pt x="216" y="58"/>
                  </a:moveTo>
                  <a:cubicBezTo>
                    <a:pt x="216" y="59"/>
                    <a:pt x="216" y="60"/>
                    <a:pt x="216" y="61"/>
                  </a:cubicBezTo>
                  <a:cubicBezTo>
                    <a:pt x="215" y="65"/>
                    <a:pt x="214" y="70"/>
                    <a:pt x="216" y="73"/>
                  </a:cubicBezTo>
                  <a:cubicBezTo>
                    <a:pt x="216" y="73"/>
                    <a:pt x="216" y="73"/>
                    <a:pt x="217" y="73"/>
                  </a:cubicBezTo>
                  <a:cubicBezTo>
                    <a:pt x="220" y="73"/>
                    <a:pt x="224" y="71"/>
                    <a:pt x="227" y="69"/>
                  </a:cubicBezTo>
                  <a:cubicBezTo>
                    <a:pt x="229" y="68"/>
                    <a:pt x="231" y="67"/>
                    <a:pt x="232" y="67"/>
                  </a:cubicBezTo>
                  <a:cubicBezTo>
                    <a:pt x="233" y="67"/>
                    <a:pt x="234" y="69"/>
                    <a:pt x="235" y="70"/>
                  </a:cubicBezTo>
                  <a:cubicBezTo>
                    <a:pt x="237" y="71"/>
                    <a:pt x="239" y="73"/>
                    <a:pt x="235" y="77"/>
                  </a:cubicBezTo>
                  <a:cubicBezTo>
                    <a:pt x="232" y="81"/>
                    <a:pt x="230" y="85"/>
                    <a:pt x="230" y="88"/>
                  </a:cubicBezTo>
                  <a:cubicBezTo>
                    <a:pt x="231" y="89"/>
                    <a:pt x="234" y="90"/>
                    <a:pt x="237" y="90"/>
                  </a:cubicBezTo>
                  <a:cubicBezTo>
                    <a:pt x="239" y="90"/>
                    <a:pt x="241" y="89"/>
                    <a:pt x="243" y="89"/>
                  </a:cubicBezTo>
                  <a:cubicBezTo>
                    <a:pt x="244" y="89"/>
                    <a:pt x="245" y="89"/>
                    <a:pt x="245" y="89"/>
                  </a:cubicBezTo>
                  <a:cubicBezTo>
                    <a:pt x="249" y="89"/>
                    <a:pt x="249" y="91"/>
                    <a:pt x="250" y="93"/>
                  </a:cubicBezTo>
                  <a:cubicBezTo>
                    <a:pt x="250" y="95"/>
                    <a:pt x="252" y="97"/>
                    <a:pt x="246" y="100"/>
                  </a:cubicBezTo>
                  <a:cubicBezTo>
                    <a:pt x="245" y="101"/>
                    <a:pt x="243" y="102"/>
                    <a:pt x="242" y="103"/>
                  </a:cubicBezTo>
                  <a:cubicBezTo>
                    <a:pt x="254" y="111"/>
                    <a:pt x="265" y="120"/>
                    <a:pt x="277" y="128"/>
                  </a:cubicBezTo>
                  <a:cubicBezTo>
                    <a:pt x="278" y="127"/>
                    <a:pt x="280" y="126"/>
                    <a:pt x="282" y="126"/>
                  </a:cubicBezTo>
                  <a:cubicBezTo>
                    <a:pt x="285" y="126"/>
                    <a:pt x="287" y="127"/>
                    <a:pt x="291" y="130"/>
                  </a:cubicBezTo>
                  <a:cubicBezTo>
                    <a:pt x="297" y="134"/>
                    <a:pt x="306" y="139"/>
                    <a:pt x="311" y="139"/>
                  </a:cubicBezTo>
                  <a:cubicBezTo>
                    <a:pt x="311" y="139"/>
                    <a:pt x="311" y="139"/>
                    <a:pt x="311" y="138"/>
                  </a:cubicBezTo>
                  <a:cubicBezTo>
                    <a:pt x="315" y="135"/>
                    <a:pt x="314" y="124"/>
                    <a:pt x="311" y="115"/>
                  </a:cubicBezTo>
                  <a:cubicBezTo>
                    <a:pt x="310" y="115"/>
                    <a:pt x="310" y="114"/>
                    <a:pt x="310" y="114"/>
                  </a:cubicBezTo>
                  <a:cubicBezTo>
                    <a:pt x="306" y="112"/>
                    <a:pt x="302" y="109"/>
                    <a:pt x="298" y="106"/>
                  </a:cubicBezTo>
                  <a:cubicBezTo>
                    <a:pt x="298" y="106"/>
                    <a:pt x="297" y="105"/>
                    <a:pt x="296" y="105"/>
                  </a:cubicBezTo>
                  <a:cubicBezTo>
                    <a:pt x="293" y="109"/>
                    <a:pt x="287" y="112"/>
                    <a:pt x="280" y="112"/>
                  </a:cubicBezTo>
                  <a:cubicBezTo>
                    <a:pt x="269" y="112"/>
                    <a:pt x="259" y="103"/>
                    <a:pt x="259" y="92"/>
                  </a:cubicBezTo>
                  <a:cubicBezTo>
                    <a:pt x="259" y="89"/>
                    <a:pt x="260" y="85"/>
                    <a:pt x="262" y="83"/>
                  </a:cubicBezTo>
                  <a:cubicBezTo>
                    <a:pt x="262" y="82"/>
                    <a:pt x="262" y="82"/>
                    <a:pt x="262" y="82"/>
                  </a:cubicBezTo>
                  <a:cubicBezTo>
                    <a:pt x="257" y="80"/>
                    <a:pt x="253" y="78"/>
                    <a:pt x="249" y="75"/>
                  </a:cubicBezTo>
                  <a:cubicBezTo>
                    <a:pt x="245" y="73"/>
                    <a:pt x="241" y="71"/>
                    <a:pt x="237" y="68"/>
                  </a:cubicBezTo>
                  <a:cubicBezTo>
                    <a:pt x="232" y="66"/>
                    <a:pt x="228" y="64"/>
                    <a:pt x="223" y="62"/>
                  </a:cubicBezTo>
                  <a:cubicBezTo>
                    <a:pt x="221" y="60"/>
                    <a:pt x="219" y="59"/>
                    <a:pt x="216" y="58"/>
                  </a:cubicBezTo>
                  <a:moveTo>
                    <a:pt x="1" y="0"/>
                  </a:moveTo>
                  <a:cubicBezTo>
                    <a:pt x="0" y="15"/>
                    <a:pt x="0" y="15"/>
                    <a:pt x="0" y="15"/>
                  </a:cubicBezTo>
                  <a:cubicBezTo>
                    <a:pt x="54" y="21"/>
                    <a:pt x="107" y="35"/>
                    <a:pt x="156" y="57"/>
                  </a:cubicBezTo>
                  <a:cubicBezTo>
                    <a:pt x="156" y="54"/>
                    <a:pt x="158" y="54"/>
                    <a:pt x="160" y="53"/>
                  </a:cubicBezTo>
                  <a:cubicBezTo>
                    <a:pt x="161" y="53"/>
                    <a:pt x="161" y="52"/>
                    <a:pt x="162" y="52"/>
                  </a:cubicBezTo>
                  <a:cubicBezTo>
                    <a:pt x="164" y="52"/>
                    <a:pt x="165" y="53"/>
                    <a:pt x="167" y="56"/>
                  </a:cubicBezTo>
                  <a:cubicBezTo>
                    <a:pt x="169" y="60"/>
                    <a:pt x="172" y="63"/>
                    <a:pt x="175" y="64"/>
                  </a:cubicBezTo>
                  <a:cubicBezTo>
                    <a:pt x="177" y="64"/>
                    <a:pt x="180" y="58"/>
                    <a:pt x="181" y="53"/>
                  </a:cubicBezTo>
                  <a:cubicBezTo>
                    <a:pt x="181" y="49"/>
                    <a:pt x="183" y="48"/>
                    <a:pt x="185" y="48"/>
                  </a:cubicBezTo>
                  <a:cubicBezTo>
                    <a:pt x="186" y="48"/>
                    <a:pt x="186" y="48"/>
                    <a:pt x="186" y="48"/>
                  </a:cubicBezTo>
                  <a:cubicBezTo>
                    <a:pt x="189" y="48"/>
                    <a:pt x="191" y="48"/>
                    <a:pt x="192" y="54"/>
                  </a:cubicBezTo>
                  <a:cubicBezTo>
                    <a:pt x="193" y="58"/>
                    <a:pt x="194" y="63"/>
                    <a:pt x="196" y="64"/>
                  </a:cubicBezTo>
                  <a:cubicBezTo>
                    <a:pt x="196" y="64"/>
                    <a:pt x="196" y="64"/>
                    <a:pt x="196" y="64"/>
                  </a:cubicBezTo>
                  <a:cubicBezTo>
                    <a:pt x="199" y="64"/>
                    <a:pt x="203" y="61"/>
                    <a:pt x="205" y="57"/>
                  </a:cubicBezTo>
                  <a:cubicBezTo>
                    <a:pt x="206" y="55"/>
                    <a:pt x="207" y="55"/>
                    <a:pt x="208" y="54"/>
                  </a:cubicBezTo>
                  <a:cubicBezTo>
                    <a:pt x="204" y="52"/>
                    <a:pt x="201" y="51"/>
                    <a:pt x="197" y="49"/>
                  </a:cubicBezTo>
                  <a:cubicBezTo>
                    <a:pt x="193" y="48"/>
                    <a:pt x="189" y="46"/>
                    <a:pt x="185" y="44"/>
                  </a:cubicBezTo>
                  <a:cubicBezTo>
                    <a:pt x="180" y="42"/>
                    <a:pt x="175" y="40"/>
                    <a:pt x="170" y="38"/>
                  </a:cubicBezTo>
                  <a:cubicBezTo>
                    <a:pt x="167" y="37"/>
                    <a:pt x="163" y="35"/>
                    <a:pt x="159" y="34"/>
                  </a:cubicBezTo>
                  <a:cubicBezTo>
                    <a:pt x="154" y="32"/>
                    <a:pt x="149" y="30"/>
                    <a:pt x="143" y="29"/>
                  </a:cubicBezTo>
                  <a:cubicBezTo>
                    <a:pt x="140" y="28"/>
                    <a:pt x="136" y="26"/>
                    <a:pt x="133" y="25"/>
                  </a:cubicBezTo>
                  <a:cubicBezTo>
                    <a:pt x="127" y="24"/>
                    <a:pt x="122" y="22"/>
                    <a:pt x="116" y="20"/>
                  </a:cubicBezTo>
                  <a:cubicBezTo>
                    <a:pt x="113" y="19"/>
                    <a:pt x="109" y="19"/>
                    <a:pt x="106" y="18"/>
                  </a:cubicBezTo>
                  <a:cubicBezTo>
                    <a:pt x="100" y="16"/>
                    <a:pt x="94" y="15"/>
                    <a:pt x="88" y="13"/>
                  </a:cubicBezTo>
                  <a:cubicBezTo>
                    <a:pt x="85" y="13"/>
                    <a:pt x="82" y="12"/>
                    <a:pt x="79" y="11"/>
                  </a:cubicBezTo>
                  <a:cubicBezTo>
                    <a:pt x="73" y="10"/>
                    <a:pt x="67" y="9"/>
                    <a:pt x="60" y="8"/>
                  </a:cubicBezTo>
                  <a:cubicBezTo>
                    <a:pt x="58" y="7"/>
                    <a:pt x="55" y="7"/>
                    <a:pt x="52" y="6"/>
                  </a:cubicBezTo>
                  <a:cubicBezTo>
                    <a:pt x="46" y="5"/>
                    <a:pt x="39" y="4"/>
                    <a:pt x="32" y="3"/>
                  </a:cubicBezTo>
                  <a:cubicBezTo>
                    <a:pt x="30" y="3"/>
                    <a:pt x="28" y="3"/>
                    <a:pt x="26" y="3"/>
                  </a:cubicBezTo>
                  <a:cubicBezTo>
                    <a:pt x="19" y="2"/>
                    <a:pt x="11" y="1"/>
                    <a:pt x="4" y="0"/>
                  </a:cubicBezTo>
                  <a:cubicBezTo>
                    <a:pt x="3" y="0"/>
                    <a:pt x="2" y="0"/>
                    <a:pt x="1" y="0"/>
                  </a:cubicBezTo>
                </a:path>
              </a:pathLst>
            </a:custGeom>
            <a:solidFill>
              <a:srgbClr val="576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4" name="Freeform 21560">
              <a:extLst>
                <a:ext uri="{FF2B5EF4-FFF2-40B4-BE49-F238E27FC236}">
                  <a16:creationId xmlns:a16="http://schemas.microsoft.com/office/drawing/2014/main" id="{62FE9DC4-47A0-4743-8598-CDC08F39857E}"/>
                </a:ext>
              </a:extLst>
            </p:cNvPr>
            <p:cNvSpPr>
              <a:spLocks/>
            </p:cNvSpPr>
            <p:nvPr userDrawn="1"/>
          </p:nvSpPr>
          <p:spPr bwMode="auto">
            <a:xfrm>
              <a:off x="9706928" y="3517265"/>
              <a:ext cx="74613" cy="58738"/>
            </a:xfrm>
            <a:custGeom>
              <a:avLst/>
              <a:gdLst>
                <a:gd name="T0" fmla="*/ 3 w 37"/>
                <a:gd name="T1" fmla="*/ 0 h 29"/>
                <a:gd name="T2" fmla="*/ 0 w 37"/>
                <a:gd name="T3" fmla="*/ 9 h 29"/>
                <a:gd name="T4" fmla="*/ 21 w 37"/>
                <a:gd name="T5" fmla="*/ 29 h 29"/>
                <a:gd name="T6" fmla="*/ 37 w 37"/>
                <a:gd name="T7" fmla="*/ 22 h 29"/>
                <a:gd name="T8" fmla="*/ 34 w 37"/>
                <a:gd name="T9" fmla="*/ 19 h 29"/>
                <a:gd name="T10" fmla="*/ 21 w 37"/>
                <a:gd name="T11" fmla="*/ 25 h 29"/>
                <a:gd name="T12" fmla="*/ 5 w 37"/>
                <a:gd name="T13" fmla="*/ 9 h 29"/>
                <a:gd name="T14" fmla="*/ 7 w 37"/>
                <a:gd name="T15" fmla="*/ 2 h 29"/>
                <a:gd name="T16" fmla="*/ 3 w 3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9">
                  <a:moveTo>
                    <a:pt x="3" y="0"/>
                  </a:moveTo>
                  <a:cubicBezTo>
                    <a:pt x="1" y="2"/>
                    <a:pt x="0" y="6"/>
                    <a:pt x="0" y="9"/>
                  </a:cubicBezTo>
                  <a:cubicBezTo>
                    <a:pt x="0" y="20"/>
                    <a:pt x="10" y="29"/>
                    <a:pt x="21" y="29"/>
                  </a:cubicBezTo>
                  <a:cubicBezTo>
                    <a:pt x="28" y="29"/>
                    <a:pt x="34" y="26"/>
                    <a:pt x="37" y="22"/>
                  </a:cubicBezTo>
                  <a:cubicBezTo>
                    <a:pt x="36" y="21"/>
                    <a:pt x="35" y="20"/>
                    <a:pt x="34" y="19"/>
                  </a:cubicBezTo>
                  <a:cubicBezTo>
                    <a:pt x="31" y="23"/>
                    <a:pt x="26" y="25"/>
                    <a:pt x="21" y="25"/>
                  </a:cubicBezTo>
                  <a:cubicBezTo>
                    <a:pt x="12" y="25"/>
                    <a:pt x="5" y="18"/>
                    <a:pt x="5" y="9"/>
                  </a:cubicBezTo>
                  <a:cubicBezTo>
                    <a:pt x="5" y="6"/>
                    <a:pt x="6" y="4"/>
                    <a:pt x="7" y="2"/>
                  </a:cubicBezTo>
                  <a:cubicBezTo>
                    <a:pt x="5" y="1"/>
                    <a:pt x="4" y="0"/>
                    <a:pt x="3" y="0"/>
                  </a:cubicBezTo>
                </a:path>
              </a:pathLst>
            </a:custGeom>
            <a:solidFill>
              <a:srgbClr val="7081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5" name="Freeform 21561">
              <a:extLst>
                <a:ext uri="{FF2B5EF4-FFF2-40B4-BE49-F238E27FC236}">
                  <a16:creationId xmlns:a16="http://schemas.microsoft.com/office/drawing/2014/main" id="{5C098340-0D92-4542-B312-7260B81A8D00}"/>
                </a:ext>
              </a:extLst>
            </p:cNvPr>
            <p:cNvSpPr>
              <a:spLocks/>
            </p:cNvSpPr>
            <p:nvPr userDrawn="1"/>
          </p:nvSpPr>
          <p:spPr bwMode="auto">
            <a:xfrm>
              <a:off x="9498965" y="3447415"/>
              <a:ext cx="193675" cy="111125"/>
            </a:xfrm>
            <a:custGeom>
              <a:avLst/>
              <a:gdLst>
                <a:gd name="T0" fmla="*/ 29 w 96"/>
                <a:gd name="T1" fmla="*/ 0 h 55"/>
                <a:gd name="T2" fmla="*/ 25 w 96"/>
                <a:gd name="T3" fmla="*/ 5 h 55"/>
                <a:gd name="T4" fmla="*/ 19 w 96"/>
                <a:gd name="T5" fmla="*/ 16 h 55"/>
                <a:gd name="T6" fmla="*/ 11 w 96"/>
                <a:gd name="T7" fmla="*/ 8 h 55"/>
                <a:gd name="T8" fmla="*/ 6 w 96"/>
                <a:gd name="T9" fmla="*/ 4 h 55"/>
                <a:gd name="T10" fmla="*/ 4 w 96"/>
                <a:gd name="T11" fmla="*/ 5 h 55"/>
                <a:gd name="T12" fmla="*/ 0 w 96"/>
                <a:gd name="T13" fmla="*/ 9 h 55"/>
                <a:gd name="T14" fmla="*/ 39 w 96"/>
                <a:gd name="T15" fmla="*/ 28 h 55"/>
                <a:gd name="T16" fmla="*/ 59 w 96"/>
                <a:gd name="T17" fmla="*/ 39 h 55"/>
                <a:gd name="T18" fmla="*/ 86 w 96"/>
                <a:gd name="T19" fmla="*/ 55 h 55"/>
                <a:gd name="T20" fmla="*/ 90 w 96"/>
                <a:gd name="T21" fmla="*/ 52 h 55"/>
                <a:gd name="T22" fmla="*/ 94 w 96"/>
                <a:gd name="T23" fmla="*/ 45 h 55"/>
                <a:gd name="T24" fmla="*/ 89 w 96"/>
                <a:gd name="T25" fmla="*/ 41 h 55"/>
                <a:gd name="T26" fmla="*/ 87 w 96"/>
                <a:gd name="T27" fmla="*/ 41 h 55"/>
                <a:gd name="T28" fmla="*/ 81 w 96"/>
                <a:gd name="T29" fmla="*/ 42 h 55"/>
                <a:gd name="T30" fmla="*/ 74 w 96"/>
                <a:gd name="T31" fmla="*/ 40 h 55"/>
                <a:gd name="T32" fmla="*/ 79 w 96"/>
                <a:gd name="T33" fmla="*/ 29 h 55"/>
                <a:gd name="T34" fmla="*/ 79 w 96"/>
                <a:gd name="T35" fmla="*/ 22 h 55"/>
                <a:gd name="T36" fmla="*/ 76 w 96"/>
                <a:gd name="T37" fmla="*/ 19 h 55"/>
                <a:gd name="T38" fmla="*/ 71 w 96"/>
                <a:gd name="T39" fmla="*/ 21 h 55"/>
                <a:gd name="T40" fmla="*/ 61 w 96"/>
                <a:gd name="T41" fmla="*/ 25 h 55"/>
                <a:gd name="T42" fmla="*/ 60 w 96"/>
                <a:gd name="T43" fmla="*/ 25 h 55"/>
                <a:gd name="T44" fmla="*/ 60 w 96"/>
                <a:gd name="T45" fmla="*/ 13 h 55"/>
                <a:gd name="T46" fmla="*/ 60 w 96"/>
                <a:gd name="T47" fmla="*/ 10 h 55"/>
                <a:gd name="T48" fmla="*/ 55 w 96"/>
                <a:gd name="T49" fmla="*/ 8 h 55"/>
                <a:gd name="T50" fmla="*/ 52 w 96"/>
                <a:gd name="T51" fmla="*/ 6 h 55"/>
                <a:gd name="T52" fmla="*/ 49 w 96"/>
                <a:gd name="T53" fmla="*/ 9 h 55"/>
                <a:gd name="T54" fmla="*/ 40 w 96"/>
                <a:gd name="T55" fmla="*/ 16 h 55"/>
                <a:gd name="T56" fmla="*/ 40 w 96"/>
                <a:gd name="T57" fmla="*/ 16 h 55"/>
                <a:gd name="T58" fmla="*/ 36 w 96"/>
                <a:gd name="T59" fmla="*/ 6 h 55"/>
                <a:gd name="T60" fmla="*/ 30 w 96"/>
                <a:gd name="T61" fmla="*/ 0 h 55"/>
                <a:gd name="T62" fmla="*/ 29 w 96"/>
                <a:gd name="T6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55">
                  <a:moveTo>
                    <a:pt x="29" y="0"/>
                  </a:moveTo>
                  <a:cubicBezTo>
                    <a:pt x="27" y="0"/>
                    <a:pt x="25" y="1"/>
                    <a:pt x="25" y="5"/>
                  </a:cubicBezTo>
                  <a:cubicBezTo>
                    <a:pt x="24" y="10"/>
                    <a:pt x="21" y="16"/>
                    <a:pt x="19" y="16"/>
                  </a:cubicBezTo>
                  <a:cubicBezTo>
                    <a:pt x="16" y="15"/>
                    <a:pt x="13" y="12"/>
                    <a:pt x="11" y="8"/>
                  </a:cubicBezTo>
                  <a:cubicBezTo>
                    <a:pt x="9" y="5"/>
                    <a:pt x="8" y="4"/>
                    <a:pt x="6" y="4"/>
                  </a:cubicBezTo>
                  <a:cubicBezTo>
                    <a:pt x="5" y="4"/>
                    <a:pt x="5" y="5"/>
                    <a:pt x="4" y="5"/>
                  </a:cubicBezTo>
                  <a:cubicBezTo>
                    <a:pt x="2" y="6"/>
                    <a:pt x="0" y="6"/>
                    <a:pt x="0" y="9"/>
                  </a:cubicBezTo>
                  <a:cubicBezTo>
                    <a:pt x="13" y="14"/>
                    <a:pt x="27" y="21"/>
                    <a:pt x="39" y="28"/>
                  </a:cubicBezTo>
                  <a:cubicBezTo>
                    <a:pt x="47" y="29"/>
                    <a:pt x="53" y="33"/>
                    <a:pt x="59" y="39"/>
                  </a:cubicBezTo>
                  <a:cubicBezTo>
                    <a:pt x="68" y="44"/>
                    <a:pt x="77" y="49"/>
                    <a:pt x="86" y="55"/>
                  </a:cubicBezTo>
                  <a:cubicBezTo>
                    <a:pt x="87" y="54"/>
                    <a:pt x="89" y="53"/>
                    <a:pt x="90" y="52"/>
                  </a:cubicBezTo>
                  <a:cubicBezTo>
                    <a:pt x="96" y="49"/>
                    <a:pt x="94" y="47"/>
                    <a:pt x="94" y="45"/>
                  </a:cubicBezTo>
                  <a:cubicBezTo>
                    <a:pt x="93" y="43"/>
                    <a:pt x="93" y="41"/>
                    <a:pt x="89" y="41"/>
                  </a:cubicBezTo>
                  <a:cubicBezTo>
                    <a:pt x="89" y="41"/>
                    <a:pt x="88" y="41"/>
                    <a:pt x="87" y="41"/>
                  </a:cubicBezTo>
                  <a:cubicBezTo>
                    <a:pt x="85" y="41"/>
                    <a:pt x="83" y="42"/>
                    <a:pt x="81" y="42"/>
                  </a:cubicBezTo>
                  <a:cubicBezTo>
                    <a:pt x="78" y="42"/>
                    <a:pt x="75" y="41"/>
                    <a:pt x="74" y="40"/>
                  </a:cubicBezTo>
                  <a:cubicBezTo>
                    <a:pt x="74" y="37"/>
                    <a:pt x="76" y="33"/>
                    <a:pt x="79" y="29"/>
                  </a:cubicBezTo>
                  <a:cubicBezTo>
                    <a:pt x="83" y="25"/>
                    <a:pt x="81" y="23"/>
                    <a:pt x="79" y="22"/>
                  </a:cubicBezTo>
                  <a:cubicBezTo>
                    <a:pt x="78" y="21"/>
                    <a:pt x="77" y="19"/>
                    <a:pt x="76" y="19"/>
                  </a:cubicBezTo>
                  <a:cubicBezTo>
                    <a:pt x="75" y="19"/>
                    <a:pt x="73" y="20"/>
                    <a:pt x="71" y="21"/>
                  </a:cubicBezTo>
                  <a:cubicBezTo>
                    <a:pt x="68" y="23"/>
                    <a:pt x="64" y="25"/>
                    <a:pt x="61" y="25"/>
                  </a:cubicBezTo>
                  <a:cubicBezTo>
                    <a:pt x="60" y="25"/>
                    <a:pt x="60" y="25"/>
                    <a:pt x="60" y="25"/>
                  </a:cubicBezTo>
                  <a:cubicBezTo>
                    <a:pt x="58" y="22"/>
                    <a:pt x="59" y="17"/>
                    <a:pt x="60" y="13"/>
                  </a:cubicBezTo>
                  <a:cubicBezTo>
                    <a:pt x="60" y="12"/>
                    <a:pt x="60" y="11"/>
                    <a:pt x="60" y="10"/>
                  </a:cubicBezTo>
                  <a:cubicBezTo>
                    <a:pt x="59" y="9"/>
                    <a:pt x="57" y="9"/>
                    <a:pt x="55" y="8"/>
                  </a:cubicBezTo>
                  <a:cubicBezTo>
                    <a:pt x="54" y="7"/>
                    <a:pt x="53" y="7"/>
                    <a:pt x="52" y="6"/>
                  </a:cubicBezTo>
                  <a:cubicBezTo>
                    <a:pt x="51" y="7"/>
                    <a:pt x="50" y="7"/>
                    <a:pt x="49" y="9"/>
                  </a:cubicBezTo>
                  <a:cubicBezTo>
                    <a:pt x="47" y="13"/>
                    <a:pt x="43" y="16"/>
                    <a:pt x="40" y="16"/>
                  </a:cubicBezTo>
                  <a:cubicBezTo>
                    <a:pt x="40" y="16"/>
                    <a:pt x="40" y="16"/>
                    <a:pt x="40" y="16"/>
                  </a:cubicBezTo>
                  <a:cubicBezTo>
                    <a:pt x="38" y="15"/>
                    <a:pt x="37" y="10"/>
                    <a:pt x="36" y="6"/>
                  </a:cubicBezTo>
                  <a:cubicBezTo>
                    <a:pt x="35" y="0"/>
                    <a:pt x="33" y="0"/>
                    <a:pt x="30" y="0"/>
                  </a:cubicBezTo>
                  <a:cubicBezTo>
                    <a:pt x="30" y="0"/>
                    <a:pt x="30" y="0"/>
                    <a:pt x="29" y="0"/>
                  </a:cubicBezTo>
                </a:path>
              </a:pathLst>
            </a:custGeom>
            <a:solidFill>
              <a:srgbClr val="7081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6" name="Freeform 21562">
              <a:extLst>
                <a:ext uri="{FF2B5EF4-FFF2-40B4-BE49-F238E27FC236}">
                  <a16:creationId xmlns:a16="http://schemas.microsoft.com/office/drawing/2014/main" id="{B291886F-7016-4DDB-BA85-0373E7DCEC24}"/>
                </a:ext>
              </a:extLst>
            </p:cNvPr>
            <p:cNvSpPr>
              <a:spLocks/>
            </p:cNvSpPr>
            <p:nvPr userDrawn="1"/>
          </p:nvSpPr>
          <p:spPr bwMode="auto">
            <a:xfrm>
              <a:off x="10130790" y="4180840"/>
              <a:ext cx="66675" cy="73025"/>
            </a:xfrm>
            <a:custGeom>
              <a:avLst/>
              <a:gdLst>
                <a:gd name="T0" fmla="*/ 1 w 33"/>
                <a:gd name="T1" fmla="*/ 0 h 36"/>
                <a:gd name="T2" fmla="*/ 0 w 33"/>
                <a:gd name="T3" fmla="*/ 0 h 36"/>
                <a:gd name="T4" fmla="*/ 6 w 33"/>
                <a:gd name="T5" fmla="*/ 24 h 36"/>
                <a:gd name="T6" fmla="*/ 9 w 33"/>
                <a:gd name="T7" fmla="*/ 23 h 36"/>
                <a:gd name="T8" fmla="*/ 10 w 33"/>
                <a:gd name="T9" fmla="*/ 22 h 36"/>
                <a:gd name="T10" fmla="*/ 17 w 33"/>
                <a:gd name="T11" fmla="*/ 20 h 36"/>
                <a:gd name="T12" fmla="*/ 27 w 33"/>
                <a:gd name="T13" fmla="*/ 28 h 36"/>
                <a:gd name="T14" fmla="*/ 33 w 33"/>
                <a:gd name="T15" fmla="*/ 36 h 36"/>
                <a:gd name="T16" fmla="*/ 31 w 33"/>
                <a:gd name="T17" fmla="*/ 18 h 36"/>
                <a:gd name="T18" fmla="*/ 28 w 33"/>
                <a:gd name="T19" fmla="*/ 19 h 36"/>
                <a:gd name="T20" fmla="*/ 20 w 33"/>
                <a:gd name="T21" fmla="*/ 13 h 36"/>
                <a:gd name="T22" fmla="*/ 1 w 33"/>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6">
                  <a:moveTo>
                    <a:pt x="1" y="0"/>
                  </a:moveTo>
                  <a:cubicBezTo>
                    <a:pt x="0" y="0"/>
                    <a:pt x="0" y="0"/>
                    <a:pt x="0" y="0"/>
                  </a:cubicBezTo>
                  <a:cubicBezTo>
                    <a:pt x="2" y="8"/>
                    <a:pt x="4" y="16"/>
                    <a:pt x="6" y="24"/>
                  </a:cubicBezTo>
                  <a:cubicBezTo>
                    <a:pt x="7" y="23"/>
                    <a:pt x="8" y="23"/>
                    <a:pt x="9" y="23"/>
                  </a:cubicBezTo>
                  <a:cubicBezTo>
                    <a:pt x="10" y="22"/>
                    <a:pt x="10" y="22"/>
                    <a:pt x="10" y="22"/>
                  </a:cubicBezTo>
                  <a:cubicBezTo>
                    <a:pt x="12" y="21"/>
                    <a:pt x="14" y="20"/>
                    <a:pt x="17" y="20"/>
                  </a:cubicBezTo>
                  <a:cubicBezTo>
                    <a:pt x="21" y="20"/>
                    <a:pt x="24" y="23"/>
                    <a:pt x="27" y="28"/>
                  </a:cubicBezTo>
                  <a:cubicBezTo>
                    <a:pt x="29" y="31"/>
                    <a:pt x="31" y="33"/>
                    <a:pt x="33" y="36"/>
                  </a:cubicBezTo>
                  <a:cubicBezTo>
                    <a:pt x="32" y="30"/>
                    <a:pt x="32" y="24"/>
                    <a:pt x="31" y="18"/>
                  </a:cubicBezTo>
                  <a:cubicBezTo>
                    <a:pt x="30" y="18"/>
                    <a:pt x="29" y="19"/>
                    <a:pt x="28" y="19"/>
                  </a:cubicBezTo>
                  <a:cubicBezTo>
                    <a:pt x="26" y="19"/>
                    <a:pt x="23" y="17"/>
                    <a:pt x="20" y="13"/>
                  </a:cubicBezTo>
                  <a:cubicBezTo>
                    <a:pt x="14" y="6"/>
                    <a:pt x="6" y="0"/>
                    <a:pt x="1" y="0"/>
                  </a:cubicBezTo>
                </a:path>
              </a:pathLst>
            </a:custGeom>
            <a:solidFill>
              <a:srgbClr val="576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7" name="Freeform 21563">
              <a:extLst>
                <a:ext uri="{FF2B5EF4-FFF2-40B4-BE49-F238E27FC236}">
                  <a16:creationId xmlns:a16="http://schemas.microsoft.com/office/drawing/2014/main" id="{BB0B551D-E7F6-4A58-8C5E-018C35B08688}"/>
                </a:ext>
              </a:extLst>
            </p:cNvPr>
            <p:cNvSpPr>
              <a:spLocks/>
            </p:cNvSpPr>
            <p:nvPr userDrawn="1"/>
          </p:nvSpPr>
          <p:spPr bwMode="auto">
            <a:xfrm>
              <a:off x="10141903" y="4220528"/>
              <a:ext cx="58738" cy="71438"/>
            </a:xfrm>
            <a:custGeom>
              <a:avLst/>
              <a:gdLst>
                <a:gd name="T0" fmla="*/ 11 w 29"/>
                <a:gd name="T1" fmla="*/ 0 h 35"/>
                <a:gd name="T2" fmla="*/ 4 w 29"/>
                <a:gd name="T3" fmla="*/ 2 h 35"/>
                <a:gd name="T4" fmla="*/ 3 w 29"/>
                <a:gd name="T5" fmla="*/ 3 h 35"/>
                <a:gd name="T6" fmla="*/ 0 w 29"/>
                <a:gd name="T7" fmla="*/ 4 h 35"/>
                <a:gd name="T8" fmla="*/ 6 w 29"/>
                <a:gd name="T9" fmla="*/ 33 h 35"/>
                <a:gd name="T10" fmla="*/ 29 w 29"/>
                <a:gd name="T11" fmla="*/ 35 h 35"/>
                <a:gd name="T12" fmla="*/ 27 w 29"/>
                <a:gd name="T13" fmla="*/ 16 h 35"/>
                <a:gd name="T14" fmla="*/ 21 w 29"/>
                <a:gd name="T15" fmla="*/ 8 h 35"/>
                <a:gd name="T16" fmla="*/ 11 w 29"/>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5">
                  <a:moveTo>
                    <a:pt x="11" y="0"/>
                  </a:moveTo>
                  <a:cubicBezTo>
                    <a:pt x="8" y="0"/>
                    <a:pt x="6" y="1"/>
                    <a:pt x="4" y="2"/>
                  </a:cubicBezTo>
                  <a:cubicBezTo>
                    <a:pt x="3" y="3"/>
                    <a:pt x="3" y="3"/>
                    <a:pt x="3" y="3"/>
                  </a:cubicBezTo>
                  <a:cubicBezTo>
                    <a:pt x="2" y="3"/>
                    <a:pt x="1" y="3"/>
                    <a:pt x="0" y="4"/>
                  </a:cubicBezTo>
                  <a:cubicBezTo>
                    <a:pt x="2" y="14"/>
                    <a:pt x="5" y="23"/>
                    <a:pt x="6" y="33"/>
                  </a:cubicBezTo>
                  <a:cubicBezTo>
                    <a:pt x="29" y="35"/>
                    <a:pt x="29" y="35"/>
                    <a:pt x="29" y="35"/>
                  </a:cubicBezTo>
                  <a:cubicBezTo>
                    <a:pt x="28" y="28"/>
                    <a:pt x="28" y="22"/>
                    <a:pt x="27" y="16"/>
                  </a:cubicBezTo>
                  <a:cubicBezTo>
                    <a:pt x="25" y="13"/>
                    <a:pt x="23" y="11"/>
                    <a:pt x="21" y="8"/>
                  </a:cubicBezTo>
                  <a:cubicBezTo>
                    <a:pt x="18" y="3"/>
                    <a:pt x="15" y="0"/>
                    <a:pt x="11"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8" name="Freeform 21564">
              <a:extLst>
                <a:ext uri="{FF2B5EF4-FFF2-40B4-BE49-F238E27FC236}">
                  <a16:creationId xmlns:a16="http://schemas.microsoft.com/office/drawing/2014/main" id="{2F0C526F-DA03-438B-BABB-0ED287793ECF}"/>
                </a:ext>
              </a:extLst>
            </p:cNvPr>
            <p:cNvSpPr>
              <a:spLocks noEditPoints="1"/>
            </p:cNvSpPr>
            <p:nvPr userDrawn="1"/>
          </p:nvSpPr>
          <p:spPr bwMode="auto">
            <a:xfrm>
              <a:off x="9743440" y="3582353"/>
              <a:ext cx="449263" cy="636588"/>
            </a:xfrm>
            <a:custGeom>
              <a:avLst/>
              <a:gdLst>
                <a:gd name="T0" fmla="*/ 209 w 222"/>
                <a:gd name="T1" fmla="*/ 250 h 316"/>
                <a:gd name="T2" fmla="*/ 182 w 222"/>
                <a:gd name="T3" fmla="*/ 267 h 316"/>
                <a:gd name="T4" fmla="*/ 191 w 222"/>
                <a:gd name="T5" fmla="*/ 297 h 316"/>
                <a:gd name="T6" fmla="*/ 192 w 222"/>
                <a:gd name="T7" fmla="*/ 297 h 316"/>
                <a:gd name="T8" fmla="*/ 211 w 222"/>
                <a:gd name="T9" fmla="*/ 310 h 316"/>
                <a:gd name="T10" fmla="*/ 219 w 222"/>
                <a:gd name="T11" fmla="*/ 316 h 316"/>
                <a:gd name="T12" fmla="*/ 222 w 222"/>
                <a:gd name="T13" fmla="*/ 315 h 316"/>
                <a:gd name="T14" fmla="*/ 209 w 222"/>
                <a:gd name="T15" fmla="*/ 250 h 316"/>
                <a:gd name="T16" fmla="*/ 34 w 222"/>
                <a:gd name="T17" fmla="*/ 0 h 316"/>
                <a:gd name="T18" fmla="*/ 34 w 222"/>
                <a:gd name="T19" fmla="*/ 23 h 316"/>
                <a:gd name="T20" fmla="*/ 34 w 222"/>
                <a:gd name="T21" fmla="*/ 24 h 316"/>
                <a:gd name="T22" fmla="*/ 14 w 222"/>
                <a:gd name="T23" fmla="*/ 15 h 316"/>
                <a:gd name="T24" fmla="*/ 5 w 222"/>
                <a:gd name="T25" fmla="*/ 11 h 316"/>
                <a:gd name="T26" fmla="*/ 0 w 222"/>
                <a:gd name="T27" fmla="*/ 13 h 316"/>
                <a:gd name="T28" fmla="*/ 42 w 222"/>
                <a:gd name="T29" fmla="*/ 50 h 316"/>
                <a:gd name="T30" fmla="*/ 73 w 222"/>
                <a:gd name="T31" fmla="*/ 31 h 316"/>
                <a:gd name="T32" fmla="*/ 69 w 222"/>
                <a:gd name="T33" fmla="*/ 28 h 316"/>
                <a:gd name="T34" fmla="*/ 56 w 222"/>
                <a:gd name="T35" fmla="*/ 17 h 316"/>
                <a:gd name="T36" fmla="*/ 45 w 222"/>
                <a:gd name="T37" fmla="*/ 9 h 316"/>
                <a:gd name="T38" fmla="*/ 34 w 222"/>
                <a:gd name="T39"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2" h="316">
                  <a:moveTo>
                    <a:pt x="209" y="250"/>
                  </a:moveTo>
                  <a:cubicBezTo>
                    <a:pt x="200" y="257"/>
                    <a:pt x="191" y="263"/>
                    <a:pt x="182" y="267"/>
                  </a:cubicBezTo>
                  <a:cubicBezTo>
                    <a:pt x="185" y="277"/>
                    <a:pt x="188" y="287"/>
                    <a:pt x="191" y="297"/>
                  </a:cubicBezTo>
                  <a:cubicBezTo>
                    <a:pt x="191" y="297"/>
                    <a:pt x="191" y="297"/>
                    <a:pt x="192" y="297"/>
                  </a:cubicBezTo>
                  <a:cubicBezTo>
                    <a:pt x="197" y="297"/>
                    <a:pt x="205" y="303"/>
                    <a:pt x="211" y="310"/>
                  </a:cubicBezTo>
                  <a:cubicBezTo>
                    <a:pt x="214" y="314"/>
                    <a:pt x="217" y="316"/>
                    <a:pt x="219" y="316"/>
                  </a:cubicBezTo>
                  <a:cubicBezTo>
                    <a:pt x="220" y="316"/>
                    <a:pt x="221" y="315"/>
                    <a:pt x="222" y="315"/>
                  </a:cubicBezTo>
                  <a:cubicBezTo>
                    <a:pt x="219" y="293"/>
                    <a:pt x="215" y="271"/>
                    <a:pt x="209" y="250"/>
                  </a:cubicBezTo>
                  <a:moveTo>
                    <a:pt x="34" y="0"/>
                  </a:moveTo>
                  <a:cubicBezTo>
                    <a:pt x="37" y="9"/>
                    <a:pt x="38" y="20"/>
                    <a:pt x="34" y="23"/>
                  </a:cubicBezTo>
                  <a:cubicBezTo>
                    <a:pt x="34" y="24"/>
                    <a:pt x="34" y="24"/>
                    <a:pt x="34" y="24"/>
                  </a:cubicBezTo>
                  <a:cubicBezTo>
                    <a:pt x="29" y="24"/>
                    <a:pt x="20" y="19"/>
                    <a:pt x="14" y="15"/>
                  </a:cubicBezTo>
                  <a:cubicBezTo>
                    <a:pt x="10" y="12"/>
                    <a:pt x="8" y="11"/>
                    <a:pt x="5" y="11"/>
                  </a:cubicBezTo>
                  <a:cubicBezTo>
                    <a:pt x="3" y="11"/>
                    <a:pt x="1" y="12"/>
                    <a:pt x="0" y="13"/>
                  </a:cubicBezTo>
                  <a:cubicBezTo>
                    <a:pt x="15" y="25"/>
                    <a:pt x="29" y="37"/>
                    <a:pt x="42" y="50"/>
                  </a:cubicBezTo>
                  <a:cubicBezTo>
                    <a:pt x="51" y="42"/>
                    <a:pt x="62" y="36"/>
                    <a:pt x="73" y="31"/>
                  </a:cubicBezTo>
                  <a:cubicBezTo>
                    <a:pt x="71" y="30"/>
                    <a:pt x="70" y="29"/>
                    <a:pt x="69" y="28"/>
                  </a:cubicBezTo>
                  <a:cubicBezTo>
                    <a:pt x="64" y="24"/>
                    <a:pt x="60" y="21"/>
                    <a:pt x="56" y="17"/>
                  </a:cubicBezTo>
                  <a:cubicBezTo>
                    <a:pt x="53" y="14"/>
                    <a:pt x="49" y="12"/>
                    <a:pt x="45" y="9"/>
                  </a:cubicBezTo>
                  <a:cubicBezTo>
                    <a:pt x="41" y="6"/>
                    <a:pt x="38" y="3"/>
                    <a:pt x="34"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9" name="Freeform 21565">
              <a:extLst>
                <a:ext uri="{FF2B5EF4-FFF2-40B4-BE49-F238E27FC236}">
                  <a16:creationId xmlns:a16="http://schemas.microsoft.com/office/drawing/2014/main" id="{B35A7F26-BAA3-4874-9B0F-0A1BEA19EF7E}"/>
                </a:ext>
              </a:extLst>
            </p:cNvPr>
            <p:cNvSpPr>
              <a:spLocks noEditPoints="1"/>
            </p:cNvSpPr>
            <p:nvPr userDrawn="1"/>
          </p:nvSpPr>
          <p:spPr bwMode="auto">
            <a:xfrm>
              <a:off x="9829165" y="3644265"/>
              <a:ext cx="336550" cy="476250"/>
            </a:xfrm>
            <a:custGeom>
              <a:avLst/>
              <a:gdLst>
                <a:gd name="T0" fmla="*/ 141 w 167"/>
                <a:gd name="T1" fmla="*/ 179 h 236"/>
                <a:gd name="T2" fmla="*/ 139 w 167"/>
                <a:gd name="T3" fmla="*/ 180 h 236"/>
                <a:gd name="T4" fmla="*/ 139 w 167"/>
                <a:gd name="T5" fmla="*/ 183 h 236"/>
                <a:gd name="T6" fmla="*/ 141 w 167"/>
                <a:gd name="T7" fmla="*/ 184 h 236"/>
                <a:gd name="T8" fmla="*/ 143 w 167"/>
                <a:gd name="T9" fmla="*/ 183 h 236"/>
                <a:gd name="T10" fmla="*/ 142 w 167"/>
                <a:gd name="T11" fmla="*/ 180 h 236"/>
                <a:gd name="T12" fmla="*/ 141 w 167"/>
                <a:gd name="T13" fmla="*/ 179 h 236"/>
                <a:gd name="T14" fmla="*/ 142 w 167"/>
                <a:gd name="T15" fmla="*/ 149 h 236"/>
                <a:gd name="T16" fmla="*/ 128 w 167"/>
                <a:gd name="T17" fmla="*/ 163 h 236"/>
                <a:gd name="T18" fmla="*/ 114 w 167"/>
                <a:gd name="T19" fmla="*/ 167 h 236"/>
                <a:gd name="T20" fmla="*/ 110 w 167"/>
                <a:gd name="T21" fmla="*/ 167 h 236"/>
                <a:gd name="T22" fmla="*/ 140 w 167"/>
                <a:gd name="T23" fmla="*/ 236 h 236"/>
                <a:gd name="T24" fmla="*/ 167 w 167"/>
                <a:gd name="T25" fmla="*/ 219 h 236"/>
                <a:gd name="T26" fmla="*/ 155 w 167"/>
                <a:gd name="T27" fmla="*/ 181 h 236"/>
                <a:gd name="T28" fmla="*/ 141 w 167"/>
                <a:gd name="T29" fmla="*/ 193 h 236"/>
                <a:gd name="T30" fmla="*/ 125 w 167"/>
                <a:gd name="T31" fmla="*/ 173 h 236"/>
                <a:gd name="T32" fmla="*/ 126 w 167"/>
                <a:gd name="T33" fmla="*/ 169 h 236"/>
                <a:gd name="T34" fmla="*/ 130 w 167"/>
                <a:gd name="T35" fmla="*/ 165 h 236"/>
                <a:gd name="T36" fmla="*/ 144 w 167"/>
                <a:gd name="T37" fmla="*/ 153 h 236"/>
                <a:gd name="T38" fmla="*/ 142 w 167"/>
                <a:gd name="T39" fmla="*/ 149 h 236"/>
                <a:gd name="T40" fmla="*/ 99 w 167"/>
                <a:gd name="T41" fmla="*/ 142 h 236"/>
                <a:gd name="T42" fmla="*/ 99 w 167"/>
                <a:gd name="T43" fmla="*/ 142 h 236"/>
                <a:gd name="T44" fmla="*/ 96 w 167"/>
                <a:gd name="T45" fmla="*/ 142 h 236"/>
                <a:gd name="T46" fmla="*/ 100 w 167"/>
                <a:gd name="T47" fmla="*/ 148 h 236"/>
                <a:gd name="T48" fmla="*/ 102 w 167"/>
                <a:gd name="T49" fmla="*/ 147 h 236"/>
                <a:gd name="T50" fmla="*/ 99 w 167"/>
                <a:gd name="T51" fmla="*/ 142 h 236"/>
                <a:gd name="T52" fmla="*/ 122 w 167"/>
                <a:gd name="T53" fmla="*/ 106 h 236"/>
                <a:gd name="T54" fmla="*/ 94 w 167"/>
                <a:gd name="T55" fmla="*/ 115 h 236"/>
                <a:gd name="T56" fmla="*/ 78 w 167"/>
                <a:gd name="T57" fmla="*/ 113 h 236"/>
                <a:gd name="T58" fmla="*/ 88 w 167"/>
                <a:gd name="T59" fmla="*/ 128 h 236"/>
                <a:gd name="T60" fmla="*/ 98 w 167"/>
                <a:gd name="T61" fmla="*/ 129 h 236"/>
                <a:gd name="T62" fmla="*/ 119 w 167"/>
                <a:gd name="T63" fmla="*/ 127 h 236"/>
                <a:gd name="T64" fmla="*/ 130 w 167"/>
                <a:gd name="T65" fmla="*/ 131 h 236"/>
                <a:gd name="T66" fmla="*/ 138 w 167"/>
                <a:gd name="T67" fmla="*/ 139 h 236"/>
                <a:gd name="T68" fmla="*/ 122 w 167"/>
                <a:gd name="T69" fmla="*/ 106 h 236"/>
                <a:gd name="T70" fmla="*/ 31 w 167"/>
                <a:gd name="T71" fmla="*/ 0 h 236"/>
                <a:gd name="T72" fmla="*/ 0 w 167"/>
                <a:gd name="T73" fmla="*/ 19 h 236"/>
                <a:gd name="T74" fmla="*/ 51 w 167"/>
                <a:gd name="T75" fmla="*/ 75 h 236"/>
                <a:gd name="T76" fmla="*/ 51 w 167"/>
                <a:gd name="T77" fmla="*/ 72 h 236"/>
                <a:gd name="T78" fmla="*/ 69 w 167"/>
                <a:gd name="T79" fmla="*/ 37 h 236"/>
                <a:gd name="T80" fmla="*/ 58 w 167"/>
                <a:gd name="T81" fmla="*/ 26 h 236"/>
                <a:gd name="T82" fmla="*/ 49 w 167"/>
                <a:gd name="T83" fmla="*/ 17 h 236"/>
                <a:gd name="T84" fmla="*/ 37 w 167"/>
                <a:gd name="T85" fmla="*/ 5 h 236"/>
                <a:gd name="T86" fmla="*/ 31 w 167"/>
                <a:gd name="T8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 h="236">
                  <a:moveTo>
                    <a:pt x="141" y="179"/>
                  </a:moveTo>
                  <a:cubicBezTo>
                    <a:pt x="140" y="179"/>
                    <a:pt x="139" y="179"/>
                    <a:pt x="139" y="180"/>
                  </a:cubicBezTo>
                  <a:cubicBezTo>
                    <a:pt x="138" y="181"/>
                    <a:pt x="138" y="182"/>
                    <a:pt x="139" y="183"/>
                  </a:cubicBezTo>
                  <a:cubicBezTo>
                    <a:pt x="139" y="184"/>
                    <a:pt x="140" y="184"/>
                    <a:pt x="141" y="184"/>
                  </a:cubicBezTo>
                  <a:cubicBezTo>
                    <a:pt x="141" y="184"/>
                    <a:pt x="142" y="184"/>
                    <a:pt x="143" y="183"/>
                  </a:cubicBezTo>
                  <a:cubicBezTo>
                    <a:pt x="143" y="182"/>
                    <a:pt x="144" y="181"/>
                    <a:pt x="142" y="180"/>
                  </a:cubicBezTo>
                  <a:cubicBezTo>
                    <a:pt x="142" y="179"/>
                    <a:pt x="141" y="179"/>
                    <a:pt x="141" y="179"/>
                  </a:cubicBezTo>
                  <a:moveTo>
                    <a:pt x="142" y="149"/>
                  </a:moveTo>
                  <a:cubicBezTo>
                    <a:pt x="139" y="152"/>
                    <a:pt x="133" y="157"/>
                    <a:pt x="128" y="163"/>
                  </a:cubicBezTo>
                  <a:cubicBezTo>
                    <a:pt x="125" y="166"/>
                    <a:pt x="119" y="167"/>
                    <a:pt x="114" y="167"/>
                  </a:cubicBezTo>
                  <a:cubicBezTo>
                    <a:pt x="113" y="167"/>
                    <a:pt x="111" y="167"/>
                    <a:pt x="110" y="167"/>
                  </a:cubicBezTo>
                  <a:cubicBezTo>
                    <a:pt x="121" y="189"/>
                    <a:pt x="131" y="212"/>
                    <a:pt x="140" y="236"/>
                  </a:cubicBezTo>
                  <a:cubicBezTo>
                    <a:pt x="149" y="232"/>
                    <a:pt x="158" y="226"/>
                    <a:pt x="167" y="219"/>
                  </a:cubicBezTo>
                  <a:cubicBezTo>
                    <a:pt x="163" y="206"/>
                    <a:pt x="159" y="193"/>
                    <a:pt x="155" y="181"/>
                  </a:cubicBezTo>
                  <a:cubicBezTo>
                    <a:pt x="150" y="185"/>
                    <a:pt x="146" y="189"/>
                    <a:pt x="141" y="193"/>
                  </a:cubicBezTo>
                  <a:cubicBezTo>
                    <a:pt x="136" y="186"/>
                    <a:pt x="130" y="180"/>
                    <a:pt x="125" y="173"/>
                  </a:cubicBezTo>
                  <a:cubicBezTo>
                    <a:pt x="124" y="172"/>
                    <a:pt x="125" y="170"/>
                    <a:pt x="126" y="169"/>
                  </a:cubicBezTo>
                  <a:cubicBezTo>
                    <a:pt x="127" y="168"/>
                    <a:pt x="129" y="167"/>
                    <a:pt x="130" y="165"/>
                  </a:cubicBezTo>
                  <a:cubicBezTo>
                    <a:pt x="135" y="161"/>
                    <a:pt x="139" y="157"/>
                    <a:pt x="144" y="153"/>
                  </a:cubicBezTo>
                  <a:cubicBezTo>
                    <a:pt x="144" y="151"/>
                    <a:pt x="143" y="150"/>
                    <a:pt x="142" y="149"/>
                  </a:cubicBezTo>
                  <a:moveTo>
                    <a:pt x="99" y="142"/>
                  </a:moveTo>
                  <a:cubicBezTo>
                    <a:pt x="99" y="142"/>
                    <a:pt x="99" y="142"/>
                    <a:pt x="99" y="142"/>
                  </a:cubicBezTo>
                  <a:cubicBezTo>
                    <a:pt x="96" y="142"/>
                    <a:pt x="96" y="142"/>
                    <a:pt x="96" y="142"/>
                  </a:cubicBezTo>
                  <a:cubicBezTo>
                    <a:pt x="98" y="144"/>
                    <a:pt x="99" y="146"/>
                    <a:pt x="100" y="148"/>
                  </a:cubicBezTo>
                  <a:cubicBezTo>
                    <a:pt x="101" y="148"/>
                    <a:pt x="102" y="148"/>
                    <a:pt x="102" y="147"/>
                  </a:cubicBezTo>
                  <a:cubicBezTo>
                    <a:pt x="104" y="145"/>
                    <a:pt x="102" y="142"/>
                    <a:pt x="99" y="142"/>
                  </a:cubicBezTo>
                  <a:moveTo>
                    <a:pt x="122" y="106"/>
                  </a:moveTo>
                  <a:cubicBezTo>
                    <a:pt x="114" y="112"/>
                    <a:pt x="104" y="115"/>
                    <a:pt x="94" y="115"/>
                  </a:cubicBezTo>
                  <a:cubicBezTo>
                    <a:pt x="89" y="115"/>
                    <a:pt x="83" y="114"/>
                    <a:pt x="78" y="113"/>
                  </a:cubicBezTo>
                  <a:cubicBezTo>
                    <a:pt x="82" y="118"/>
                    <a:pt x="85" y="123"/>
                    <a:pt x="88" y="128"/>
                  </a:cubicBezTo>
                  <a:cubicBezTo>
                    <a:pt x="98" y="129"/>
                    <a:pt x="98" y="129"/>
                    <a:pt x="98" y="129"/>
                  </a:cubicBezTo>
                  <a:cubicBezTo>
                    <a:pt x="119" y="127"/>
                    <a:pt x="119" y="127"/>
                    <a:pt x="119" y="127"/>
                  </a:cubicBezTo>
                  <a:cubicBezTo>
                    <a:pt x="123" y="127"/>
                    <a:pt x="127" y="129"/>
                    <a:pt x="130" y="131"/>
                  </a:cubicBezTo>
                  <a:cubicBezTo>
                    <a:pt x="138" y="139"/>
                    <a:pt x="138" y="139"/>
                    <a:pt x="138" y="139"/>
                  </a:cubicBezTo>
                  <a:cubicBezTo>
                    <a:pt x="133" y="128"/>
                    <a:pt x="128" y="117"/>
                    <a:pt x="122" y="106"/>
                  </a:cubicBezTo>
                  <a:moveTo>
                    <a:pt x="31" y="0"/>
                  </a:moveTo>
                  <a:cubicBezTo>
                    <a:pt x="20" y="5"/>
                    <a:pt x="9" y="11"/>
                    <a:pt x="0" y="19"/>
                  </a:cubicBezTo>
                  <a:cubicBezTo>
                    <a:pt x="18" y="37"/>
                    <a:pt x="35" y="55"/>
                    <a:pt x="51" y="75"/>
                  </a:cubicBezTo>
                  <a:cubicBezTo>
                    <a:pt x="51" y="74"/>
                    <a:pt x="51" y="73"/>
                    <a:pt x="51" y="72"/>
                  </a:cubicBezTo>
                  <a:cubicBezTo>
                    <a:pt x="51" y="56"/>
                    <a:pt x="58" y="44"/>
                    <a:pt x="69" y="37"/>
                  </a:cubicBezTo>
                  <a:cubicBezTo>
                    <a:pt x="65" y="33"/>
                    <a:pt x="62" y="29"/>
                    <a:pt x="58" y="26"/>
                  </a:cubicBezTo>
                  <a:cubicBezTo>
                    <a:pt x="55" y="23"/>
                    <a:pt x="52" y="20"/>
                    <a:pt x="49" y="17"/>
                  </a:cubicBezTo>
                  <a:cubicBezTo>
                    <a:pt x="45" y="13"/>
                    <a:pt x="41" y="9"/>
                    <a:pt x="37" y="5"/>
                  </a:cubicBezTo>
                  <a:cubicBezTo>
                    <a:pt x="35" y="3"/>
                    <a:pt x="33" y="2"/>
                    <a:pt x="31" y="0"/>
                  </a:cubicBezTo>
                </a:path>
              </a:pathLst>
            </a:custGeom>
            <a:solidFill>
              <a:srgbClr val="C16E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0" name="Freeform 21566">
              <a:extLst>
                <a:ext uri="{FF2B5EF4-FFF2-40B4-BE49-F238E27FC236}">
                  <a16:creationId xmlns:a16="http://schemas.microsoft.com/office/drawing/2014/main" id="{AA535CE6-FF47-4768-9BE5-3C7B82162647}"/>
                </a:ext>
              </a:extLst>
            </p:cNvPr>
            <p:cNvSpPr>
              <a:spLocks noEditPoints="1"/>
            </p:cNvSpPr>
            <p:nvPr userDrawn="1"/>
          </p:nvSpPr>
          <p:spPr bwMode="auto">
            <a:xfrm>
              <a:off x="10079990" y="3953828"/>
              <a:ext cx="61913" cy="79375"/>
            </a:xfrm>
            <a:custGeom>
              <a:avLst/>
              <a:gdLst>
                <a:gd name="T0" fmla="*/ 17 w 31"/>
                <a:gd name="T1" fmla="*/ 31 h 40"/>
                <a:gd name="T2" fmla="*/ 15 w 31"/>
                <a:gd name="T3" fmla="*/ 30 h 40"/>
                <a:gd name="T4" fmla="*/ 15 w 31"/>
                <a:gd name="T5" fmla="*/ 27 h 40"/>
                <a:gd name="T6" fmla="*/ 17 w 31"/>
                <a:gd name="T7" fmla="*/ 26 h 40"/>
                <a:gd name="T8" fmla="*/ 18 w 31"/>
                <a:gd name="T9" fmla="*/ 27 h 40"/>
                <a:gd name="T10" fmla="*/ 19 w 31"/>
                <a:gd name="T11" fmla="*/ 30 h 40"/>
                <a:gd name="T12" fmla="*/ 17 w 31"/>
                <a:gd name="T13" fmla="*/ 31 h 40"/>
                <a:gd name="T14" fmla="*/ 20 w 31"/>
                <a:gd name="T15" fmla="*/ 0 h 40"/>
                <a:gd name="T16" fmla="*/ 6 w 31"/>
                <a:gd name="T17" fmla="*/ 12 h 40"/>
                <a:gd name="T18" fmla="*/ 2 w 31"/>
                <a:gd name="T19" fmla="*/ 16 h 40"/>
                <a:gd name="T20" fmla="*/ 1 w 31"/>
                <a:gd name="T21" fmla="*/ 20 h 40"/>
                <a:gd name="T22" fmla="*/ 17 w 31"/>
                <a:gd name="T23" fmla="*/ 40 h 40"/>
                <a:gd name="T24" fmla="*/ 31 w 31"/>
                <a:gd name="T25" fmla="*/ 28 h 40"/>
                <a:gd name="T26" fmla="*/ 20 w 31"/>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0">
                  <a:moveTo>
                    <a:pt x="17" y="31"/>
                  </a:moveTo>
                  <a:cubicBezTo>
                    <a:pt x="16" y="31"/>
                    <a:pt x="15" y="31"/>
                    <a:pt x="15" y="30"/>
                  </a:cubicBezTo>
                  <a:cubicBezTo>
                    <a:pt x="14" y="29"/>
                    <a:pt x="14" y="28"/>
                    <a:pt x="15" y="27"/>
                  </a:cubicBezTo>
                  <a:cubicBezTo>
                    <a:pt x="15" y="26"/>
                    <a:pt x="16" y="26"/>
                    <a:pt x="17" y="26"/>
                  </a:cubicBezTo>
                  <a:cubicBezTo>
                    <a:pt x="17" y="26"/>
                    <a:pt x="18" y="26"/>
                    <a:pt x="18" y="27"/>
                  </a:cubicBezTo>
                  <a:cubicBezTo>
                    <a:pt x="20" y="28"/>
                    <a:pt x="19" y="29"/>
                    <a:pt x="19" y="30"/>
                  </a:cubicBezTo>
                  <a:cubicBezTo>
                    <a:pt x="18" y="31"/>
                    <a:pt x="17" y="31"/>
                    <a:pt x="17" y="31"/>
                  </a:cubicBezTo>
                  <a:moveTo>
                    <a:pt x="20" y="0"/>
                  </a:moveTo>
                  <a:cubicBezTo>
                    <a:pt x="15" y="4"/>
                    <a:pt x="11" y="8"/>
                    <a:pt x="6" y="12"/>
                  </a:cubicBezTo>
                  <a:cubicBezTo>
                    <a:pt x="5" y="14"/>
                    <a:pt x="3" y="15"/>
                    <a:pt x="2" y="16"/>
                  </a:cubicBezTo>
                  <a:cubicBezTo>
                    <a:pt x="1" y="17"/>
                    <a:pt x="0" y="19"/>
                    <a:pt x="1" y="20"/>
                  </a:cubicBezTo>
                  <a:cubicBezTo>
                    <a:pt x="6" y="27"/>
                    <a:pt x="12" y="33"/>
                    <a:pt x="17" y="40"/>
                  </a:cubicBezTo>
                  <a:cubicBezTo>
                    <a:pt x="22" y="36"/>
                    <a:pt x="26" y="32"/>
                    <a:pt x="31" y="28"/>
                  </a:cubicBezTo>
                  <a:cubicBezTo>
                    <a:pt x="28" y="18"/>
                    <a:pt x="24" y="9"/>
                    <a:pt x="20" y="0"/>
                  </a:cubicBezTo>
                </a:path>
              </a:pathLst>
            </a:custGeom>
            <a:solidFill>
              <a:srgbClr val="9FC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1" name="Freeform 21567">
              <a:extLst>
                <a:ext uri="{FF2B5EF4-FFF2-40B4-BE49-F238E27FC236}">
                  <a16:creationId xmlns:a16="http://schemas.microsoft.com/office/drawing/2014/main" id="{027F5D6B-6A13-470B-8F91-7BF98ABCB22E}"/>
                </a:ext>
              </a:extLst>
            </p:cNvPr>
            <p:cNvSpPr>
              <a:spLocks/>
            </p:cNvSpPr>
            <p:nvPr userDrawn="1"/>
          </p:nvSpPr>
          <p:spPr bwMode="auto">
            <a:xfrm>
              <a:off x="10006965" y="3901440"/>
              <a:ext cx="109538" cy="79375"/>
            </a:xfrm>
            <a:custGeom>
              <a:avLst/>
              <a:gdLst>
                <a:gd name="T0" fmla="*/ 31 w 54"/>
                <a:gd name="T1" fmla="*/ 0 h 40"/>
                <a:gd name="T2" fmla="*/ 10 w 54"/>
                <a:gd name="T3" fmla="*/ 2 h 40"/>
                <a:gd name="T4" fmla="*/ 0 w 54"/>
                <a:gd name="T5" fmla="*/ 1 h 40"/>
                <a:gd name="T6" fmla="*/ 8 w 54"/>
                <a:gd name="T7" fmla="*/ 15 h 40"/>
                <a:gd name="T8" fmla="*/ 11 w 54"/>
                <a:gd name="T9" fmla="*/ 15 h 40"/>
                <a:gd name="T10" fmla="*/ 11 w 54"/>
                <a:gd name="T11" fmla="*/ 15 h 40"/>
                <a:gd name="T12" fmla="*/ 14 w 54"/>
                <a:gd name="T13" fmla="*/ 20 h 40"/>
                <a:gd name="T14" fmla="*/ 12 w 54"/>
                <a:gd name="T15" fmla="*/ 21 h 40"/>
                <a:gd name="T16" fmla="*/ 22 w 54"/>
                <a:gd name="T17" fmla="*/ 40 h 40"/>
                <a:gd name="T18" fmla="*/ 26 w 54"/>
                <a:gd name="T19" fmla="*/ 40 h 40"/>
                <a:gd name="T20" fmla="*/ 40 w 54"/>
                <a:gd name="T21" fmla="*/ 36 h 40"/>
                <a:gd name="T22" fmla="*/ 54 w 54"/>
                <a:gd name="T23" fmla="*/ 22 h 40"/>
                <a:gd name="T24" fmla="*/ 50 w 54"/>
                <a:gd name="T25" fmla="*/ 12 h 40"/>
                <a:gd name="T26" fmla="*/ 42 w 54"/>
                <a:gd name="T27" fmla="*/ 4 h 40"/>
                <a:gd name="T28" fmla="*/ 31 w 54"/>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40">
                  <a:moveTo>
                    <a:pt x="31" y="0"/>
                  </a:moveTo>
                  <a:cubicBezTo>
                    <a:pt x="10" y="2"/>
                    <a:pt x="10" y="2"/>
                    <a:pt x="10" y="2"/>
                  </a:cubicBezTo>
                  <a:cubicBezTo>
                    <a:pt x="0" y="1"/>
                    <a:pt x="0" y="1"/>
                    <a:pt x="0" y="1"/>
                  </a:cubicBezTo>
                  <a:cubicBezTo>
                    <a:pt x="3" y="6"/>
                    <a:pt x="6" y="10"/>
                    <a:pt x="8" y="15"/>
                  </a:cubicBezTo>
                  <a:cubicBezTo>
                    <a:pt x="11" y="15"/>
                    <a:pt x="11" y="15"/>
                    <a:pt x="11" y="15"/>
                  </a:cubicBezTo>
                  <a:cubicBezTo>
                    <a:pt x="11" y="15"/>
                    <a:pt x="11" y="15"/>
                    <a:pt x="11" y="15"/>
                  </a:cubicBezTo>
                  <a:cubicBezTo>
                    <a:pt x="14" y="15"/>
                    <a:pt x="16" y="18"/>
                    <a:pt x="14" y="20"/>
                  </a:cubicBezTo>
                  <a:cubicBezTo>
                    <a:pt x="14" y="21"/>
                    <a:pt x="13" y="21"/>
                    <a:pt x="12" y="21"/>
                  </a:cubicBezTo>
                  <a:cubicBezTo>
                    <a:pt x="15" y="27"/>
                    <a:pt x="19" y="34"/>
                    <a:pt x="22" y="40"/>
                  </a:cubicBezTo>
                  <a:cubicBezTo>
                    <a:pt x="23" y="40"/>
                    <a:pt x="25" y="40"/>
                    <a:pt x="26" y="40"/>
                  </a:cubicBezTo>
                  <a:cubicBezTo>
                    <a:pt x="31" y="40"/>
                    <a:pt x="37" y="39"/>
                    <a:pt x="40" y="36"/>
                  </a:cubicBezTo>
                  <a:cubicBezTo>
                    <a:pt x="45" y="30"/>
                    <a:pt x="51" y="25"/>
                    <a:pt x="54" y="22"/>
                  </a:cubicBezTo>
                  <a:cubicBezTo>
                    <a:pt x="53" y="18"/>
                    <a:pt x="52" y="15"/>
                    <a:pt x="50" y="12"/>
                  </a:cubicBezTo>
                  <a:cubicBezTo>
                    <a:pt x="42" y="4"/>
                    <a:pt x="42" y="4"/>
                    <a:pt x="42" y="4"/>
                  </a:cubicBezTo>
                  <a:cubicBezTo>
                    <a:pt x="39" y="2"/>
                    <a:pt x="35" y="0"/>
                    <a:pt x="31" y="0"/>
                  </a:cubicBezTo>
                </a:path>
              </a:pathLst>
            </a:custGeom>
            <a:solidFill>
              <a:srgbClr val="E3F1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2" name="Freeform 21568">
              <a:extLst>
                <a:ext uri="{FF2B5EF4-FFF2-40B4-BE49-F238E27FC236}">
                  <a16:creationId xmlns:a16="http://schemas.microsoft.com/office/drawing/2014/main" id="{83CC6497-A70B-4709-BA7F-8A9447135239}"/>
                </a:ext>
              </a:extLst>
            </p:cNvPr>
            <p:cNvSpPr>
              <a:spLocks noEditPoints="1"/>
            </p:cNvSpPr>
            <p:nvPr userDrawn="1"/>
          </p:nvSpPr>
          <p:spPr bwMode="auto">
            <a:xfrm>
              <a:off x="9932353" y="3718878"/>
              <a:ext cx="142875" cy="157163"/>
            </a:xfrm>
            <a:custGeom>
              <a:avLst/>
              <a:gdLst>
                <a:gd name="T0" fmla="*/ 70 w 71"/>
                <a:gd name="T1" fmla="*/ 68 h 78"/>
                <a:gd name="T2" fmla="*/ 43 w 71"/>
                <a:gd name="T3" fmla="*/ 77 h 78"/>
                <a:gd name="T4" fmla="*/ 26 w 71"/>
                <a:gd name="T5" fmla="*/ 74 h 78"/>
                <a:gd name="T6" fmla="*/ 27 w 71"/>
                <a:gd name="T7" fmla="*/ 76 h 78"/>
                <a:gd name="T8" fmla="*/ 43 w 71"/>
                <a:gd name="T9" fmla="*/ 78 h 78"/>
                <a:gd name="T10" fmla="*/ 71 w 71"/>
                <a:gd name="T11" fmla="*/ 69 h 78"/>
                <a:gd name="T12" fmla="*/ 70 w 71"/>
                <a:gd name="T13" fmla="*/ 68 h 78"/>
                <a:gd name="T14" fmla="*/ 18 w 71"/>
                <a:gd name="T15" fmla="*/ 0 h 78"/>
                <a:gd name="T16" fmla="*/ 0 w 71"/>
                <a:gd name="T17" fmla="*/ 35 h 78"/>
                <a:gd name="T18" fmla="*/ 0 w 71"/>
                <a:gd name="T19" fmla="*/ 38 h 78"/>
                <a:gd name="T20" fmla="*/ 1 w 71"/>
                <a:gd name="T21" fmla="*/ 40 h 78"/>
                <a:gd name="T22" fmla="*/ 1 w 71"/>
                <a:gd name="T23" fmla="*/ 35 h 78"/>
                <a:gd name="T24" fmla="*/ 19 w 71"/>
                <a:gd name="T25" fmla="*/ 1 h 78"/>
                <a:gd name="T26" fmla="*/ 18 w 71"/>
                <a:gd name="T2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8">
                  <a:moveTo>
                    <a:pt x="70" y="68"/>
                  </a:moveTo>
                  <a:cubicBezTo>
                    <a:pt x="63" y="74"/>
                    <a:pt x="53" y="77"/>
                    <a:pt x="43" y="77"/>
                  </a:cubicBezTo>
                  <a:cubicBezTo>
                    <a:pt x="37" y="77"/>
                    <a:pt x="31" y="76"/>
                    <a:pt x="26" y="74"/>
                  </a:cubicBezTo>
                  <a:cubicBezTo>
                    <a:pt x="26" y="74"/>
                    <a:pt x="27" y="75"/>
                    <a:pt x="27" y="76"/>
                  </a:cubicBezTo>
                  <a:cubicBezTo>
                    <a:pt x="32" y="77"/>
                    <a:pt x="38" y="78"/>
                    <a:pt x="43" y="78"/>
                  </a:cubicBezTo>
                  <a:cubicBezTo>
                    <a:pt x="53" y="78"/>
                    <a:pt x="63" y="75"/>
                    <a:pt x="71" y="69"/>
                  </a:cubicBezTo>
                  <a:cubicBezTo>
                    <a:pt x="71" y="69"/>
                    <a:pt x="70" y="68"/>
                    <a:pt x="70" y="68"/>
                  </a:cubicBezTo>
                  <a:moveTo>
                    <a:pt x="18" y="0"/>
                  </a:moveTo>
                  <a:cubicBezTo>
                    <a:pt x="7" y="7"/>
                    <a:pt x="0" y="19"/>
                    <a:pt x="0" y="35"/>
                  </a:cubicBezTo>
                  <a:cubicBezTo>
                    <a:pt x="0" y="36"/>
                    <a:pt x="0" y="37"/>
                    <a:pt x="0" y="38"/>
                  </a:cubicBezTo>
                  <a:cubicBezTo>
                    <a:pt x="0" y="38"/>
                    <a:pt x="1" y="39"/>
                    <a:pt x="1" y="40"/>
                  </a:cubicBezTo>
                  <a:cubicBezTo>
                    <a:pt x="1" y="38"/>
                    <a:pt x="1" y="37"/>
                    <a:pt x="1" y="35"/>
                  </a:cubicBezTo>
                  <a:cubicBezTo>
                    <a:pt x="1" y="19"/>
                    <a:pt x="9" y="7"/>
                    <a:pt x="19" y="1"/>
                  </a:cubicBezTo>
                  <a:cubicBezTo>
                    <a:pt x="19" y="0"/>
                    <a:pt x="18" y="0"/>
                    <a:pt x="18" y="0"/>
                  </a:cubicBezTo>
                </a:path>
              </a:pathLst>
            </a:custGeom>
            <a:solidFill>
              <a:srgbClr val="E18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3" name="Freeform 21569">
              <a:extLst>
                <a:ext uri="{FF2B5EF4-FFF2-40B4-BE49-F238E27FC236}">
                  <a16:creationId xmlns:a16="http://schemas.microsoft.com/office/drawing/2014/main" id="{EE1F6ABE-CAEE-491A-9C73-29CE92433CB5}"/>
                </a:ext>
              </a:extLst>
            </p:cNvPr>
            <p:cNvSpPr>
              <a:spLocks noEditPoints="1"/>
            </p:cNvSpPr>
            <p:nvPr userDrawn="1"/>
          </p:nvSpPr>
          <p:spPr bwMode="auto">
            <a:xfrm>
              <a:off x="9933940" y="3722053"/>
              <a:ext cx="139700" cy="152400"/>
            </a:xfrm>
            <a:custGeom>
              <a:avLst/>
              <a:gdLst>
                <a:gd name="T0" fmla="*/ 66 w 69"/>
                <a:gd name="T1" fmla="*/ 61 h 76"/>
                <a:gd name="T2" fmla="*/ 41 w 69"/>
                <a:gd name="T3" fmla="*/ 70 h 76"/>
                <a:gd name="T4" fmla="*/ 18 w 69"/>
                <a:gd name="T5" fmla="*/ 63 h 76"/>
                <a:gd name="T6" fmla="*/ 25 w 69"/>
                <a:gd name="T7" fmla="*/ 73 h 76"/>
                <a:gd name="T8" fmla="*/ 42 w 69"/>
                <a:gd name="T9" fmla="*/ 76 h 76"/>
                <a:gd name="T10" fmla="*/ 69 w 69"/>
                <a:gd name="T11" fmla="*/ 67 h 76"/>
                <a:gd name="T12" fmla="*/ 66 w 69"/>
                <a:gd name="T13" fmla="*/ 61 h 76"/>
                <a:gd name="T14" fmla="*/ 18 w 69"/>
                <a:gd name="T15" fmla="*/ 0 h 76"/>
                <a:gd name="T16" fmla="*/ 0 w 69"/>
                <a:gd name="T17" fmla="*/ 34 h 76"/>
                <a:gd name="T18" fmla="*/ 0 w 69"/>
                <a:gd name="T19" fmla="*/ 39 h 76"/>
                <a:gd name="T20" fmla="*/ 8 w 69"/>
                <a:gd name="T21" fmla="*/ 49 h 76"/>
                <a:gd name="T22" fmla="*/ 6 w 69"/>
                <a:gd name="T23" fmla="*/ 35 h 76"/>
                <a:gd name="T24" fmla="*/ 23 w 69"/>
                <a:gd name="T25" fmla="*/ 5 h 76"/>
                <a:gd name="T26" fmla="*/ 20 w 69"/>
                <a:gd name="T27" fmla="*/ 2 h 76"/>
                <a:gd name="T28" fmla="*/ 18 w 69"/>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76">
                  <a:moveTo>
                    <a:pt x="66" y="61"/>
                  </a:moveTo>
                  <a:cubicBezTo>
                    <a:pt x="59" y="67"/>
                    <a:pt x="50" y="70"/>
                    <a:pt x="41" y="70"/>
                  </a:cubicBezTo>
                  <a:cubicBezTo>
                    <a:pt x="33" y="70"/>
                    <a:pt x="25" y="68"/>
                    <a:pt x="18" y="63"/>
                  </a:cubicBezTo>
                  <a:cubicBezTo>
                    <a:pt x="20" y="66"/>
                    <a:pt x="23" y="69"/>
                    <a:pt x="25" y="73"/>
                  </a:cubicBezTo>
                  <a:cubicBezTo>
                    <a:pt x="30" y="75"/>
                    <a:pt x="36" y="76"/>
                    <a:pt x="42" y="76"/>
                  </a:cubicBezTo>
                  <a:cubicBezTo>
                    <a:pt x="52" y="76"/>
                    <a:pt x="62" y="73"/>
                    <a:pt x="69" y="67"/>
                  </a:cubicBezTo>
                  <a:cubicBezTo>
                    <a:pt x="68" y="65"/>
                    <a:pt x="67" y="63"/>
                    <a:pt x="66" y="61"/>
                  </a:cubicBezTo>
                  <a:moveTo>
                    <a:pt x="18" y="0"/>
                  </a:moveTo>
                  <a:cubicBezTo>
                    <a:pt x="8" y="6"/>
                    <a:pt x="0" y="18"/>
                    <a:pt x="0" y="34"/>
                  </a:cubicBezTo>
                  <a:cubicBezTo>
                    <a:pt x="0" y="36"/>
                    <a:pt x="0" y="37"/>
                    <a:pt x="0" y="39"/>
                  </a:cubicBezTo>
                  <a:cubicBezTo>
                    <a:pt x="3" y="42"/>
                    <a:pt x="5" y="45"/>
                    <a:pt x="8" y="49"/>
                  </a:cubicBezTo>
                  <a:cubicBezTo>
                    <a:pt x="7" y="45"/>
                    <a:pt x="6" y="40"/>
                    <a:pt x="6" y="35"/>
                  </a:cubicBezTo>
                  <a:cubicBezTo>
                    <a:pt x="6" y="20"/>
                    <a:pt x="13" y="10"/>
                    <a:pt x="23" y="5"/>
                  </a:cubicBezTo>
                  <a:cubicBezTo>
                    <a:pt x="22" y="4"/>
                    <a:pt x="21" y="3"/>
                    <a:pt x="20" y="2"/>
                  </a:cubicBezTo>
                  <a:cubicBezTo>
                    <a:pt x="19" y="1"/>
                    <a:pt x="19" y="1"/>
                    <a:pt x="18" y="0"/>
                  </a:cubicBezTo>
                </a:path>
              </a:pathLst>
            </a:custGeom>
            <a:solidFill>
              <a:srgbClr val="E6B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4" name="Freeform 21570">
              <a:extLst>
                <a:ext uri="{FF2B5EF4-FFF2-40B4-BE49-F238E27FC236}">
                  <a16:creationId xmlns:a16="http://schemas.microsoft.com/office/drawing/2014/main" id="{FFC5FE2E-0FD6-45D5-8131-99D5BB118AF0}"/>
                </a:ext>
              </a:extLst>
            </p:cNvPr>
            <p:cNvSpPr>
              <a:spLocks noEditPoints="1"/>
            </p:cNvSpPr>
            <p:nvPr userDrawn="1"/>
          </p:nvSpPr>
          <p:spPr bwMode="auto">
            <a:xfrm>
              <a:off x="9946640" y="3731578"/>
              <a:ext cx="120650" cy="130175"/>
            </a:xfrm>
            <a:custGeom>
              <a:avLst/>
              <a:gdLst>
                <a:gd name="T0" fmla="*/ 34 w 60"/>
                <a:gd name="T1" fmla="*/ 18 h 65"/>
                <a:gd name="T2" fmla="*/ 30 w 60"/>
                <a:gd name="T3" fmla="*/ 22 h 65"/>
                <a:gd name="T4" fmla="*/ 39 w 60"/>
                <a:gd name="T5" fmla="*/ 27 h 65"/>
                <a:gd name="T6" fmla="*/ 42 w 60"/>
                <a:gd name="T7" fmla="*/ 29 h 65"/>
                <a:gd name="T8" fmla="*/ 41 w 60"/>
                <a:gd name="T9" fmla="*/ 27 h 65"/>
                <a:gd name="T10" fmla="*/ 34 w 60"/>
                <a:gd name="T11" fmla="*/ 18 h 65"/>
                <a:gd name="T12" fmla="*/ 17 w 60"/>
                <a:gd name="T13" fmla="*/ 0 h 65"/>
                <a:gd name="T14" fmla="*/ 0 w 60"/>
                <a:gd name="T15" fmla="*/ 30 h 65"/>
                <a:gd name="T16" fmla="*/ 2 w 60"/>
                <a:gd name="T17" fmla="*/ 44 h 65"/>
                <a:gd name="T18" fmla="*/ 12 w 60"/>
                <a:gd name="T19" fmla="*/ 58 h 65"/>
                <a:gd name="T20" fmla="*/ 35 w 60"/>
                <a:gd name="T21" fmla="*/ 65 h 65"/>
                <a:gd name="T22" fmla="*/ 60 w 60"/>
                <a:gd name="T23" fmla="*/ 56 h 65"/>
                <a:gd name="T24" fmla="*/ 51 w 60"/>
                <a:gd name="T25" fmla="*/ 40 h 65"/>
                <a:gd name="T26" fmla="*/ 38 w 60"/>
                <a:gd name="T27" fmla="*/ 52 h 65"/>
                <a:gd name="T28" fmla="*/ 36 w 60"/>
                <a:gd name="T29" fmla="*/ 59 h 65"/>
                <a:gd name="T30" fmla="*/ 36 w 60"/>
                <a:gd name="T31" fmla="*/ 59 h 65"/>
                <a:gd name="T32" fmla="*/ 35 w 60"/>
                <a:gd name="T33" fmla="*/ 59 h 65"/>
                <a:gd name="T34" fmla="*/ 31 w 60"/>
                <a:gd name="T35" fmla="*/ 57 h 65"/>
                <a:gd name="T36" fmla="*/ 31 w 60"/>
                <a:gd name="T37" fmla="*/ 53 h 65"/>
                <a:gd name="T38" fmla="*/ 20 w 60"/>
                <a:gd name="T39" fmla="*/ 44 h 65"/>
                <a:gd name="T40" fmla="*/ 22 w 60"/>
                <a:gd name="T41" fmla="*/ 43 h 65"/>
                <a:gd name="T42" fmla="*/ 23 w 60"/>
                <a:gd name="T43" fmla="*/ 43 h 65"/>
                <a:gd name="T44" fmla="*/ 33 w 60"/>
                <a:gd name="T45" fmla="*/ 45 h 65"/>
                <a:gd name="T46" fmla="*/ 40 w 60"/>
                <a:gd name="T47" fmla="*/ 41 h 65"/>
                <a:gd name="T48" fmla="*/ 32 w 60"/>
                <a:gd name="T49" fmla="*/ 36 h 65"/>
                <a:gd name="T50" fmla="*/ 28 w 60"/>
                <a:gd name="T51" fmla="*/ 12 h 65"/>
                <a:gd name="T52" fmla="*/ 21 w 60"/>
                <a:gd name="T53" fmla="*/ 4 h 65"/>
                <a:gd name="T54" fmla="*/ 17 w 60"/>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65">
                  <a:moveTo>
                    <a:pt x="34" y="18"/>
                  </a:moveTo>
                  <a:cubicBezTo>
                    <a:pt x="32" y="19"/>
                    <a:pt x="30" y="20"/>
                    <a:pt x="30" y="22"/>
                  </a:cubicBezTo>
                  <a:cubicBezTo>
                    <a:pt x="30" y="24"/>
                    <a:pt x="33" y="26"/>
                    <a:pt x="39" y="27"/>
                  </a:cubicBezTo>
                  <a:cubicBezTo>
                    <a:pt x="40" y="28"/>
                    <a:pt x="41" y="28"/>
                    <a:pt x="42" y="29"/>
                  </a:cubicBezTo>
                  <a:cubicBezTo>
                    <a:pt x="42" y="28"/>
                    <a:pt x="41" y="28"/>
                    <a:pt x="41" y="27"/>
                  </a:cubicBezTo>
                  <a:cubicBezTo>
                    <a:pt x="39" y="24"/>
                    <a:pt x="36" y="21"/>
                    <a:pt x="34" y="18"/>
                  </a:cubicBezTo>
                  <a:moveTo>
                    <a:pt x="17" y="0"/>
                  </a:moveTo>
                  <a:cubicBezTo>
                    <a:pt x="7" y="5"/>
                    <a:pt x="0" y="15"/>
                    <a:pt x="0" y="30"/>
                  </a:cubicBezTo>
                  <a:cubicBezTo>
                    <a:pt x="0" y="35"/>
                    <a:pt x="1" y="40"/>
                    <a:pt x="2" y="44"/>
                  </a:cubicBezTo>
                  <a:cubicBezTo>
                    <a:pt x="5" y="48"/>
                    <a:pt x="9" y="53"/>
                    <a:pt x="12" y="58"/>
                  </a:cubicBezTo>
                  <a:cubicBezTo>
                    <a:pt x="19" y="63"/>
                    <a:pt x="27" y="65"/>
                    <a:pt x="35" y="65"/>
                  </a:cubicBezTo>
                  <a:cubicBezTo>
                    <a:pt x="44" y="65"/>
                    <a:pt x="53" y="62"/>
                    <a:pt x="60" y="56"/>
                  </a:cubicBezTo>
                  <a:cubicBezTo>
                    <a:pt x="57" y="51"/>
                    <a:pt x="54" y="45"/>
                    <a:pt x="51" y="40"/>
                  </a:cubicBezTo>
                  <a:cubicBezTo>
                    <a:pt x="51" y="46"/>
                    <a:pt x="46" y="51"/>
                    <a:pt x="38" y="52"/>
                  </a:cubicBezTo>
                  <a:cubicBezTo>
                    <a:pt x="38" y="54"/>
                    <a:pt x="39" y="59"/>
                    <a:pt x="36" y="59"/>
                  </a:cubicBezTo>
                  <a:cubicBezTo>
                    <a:pt x="36" y="59"/>
                    <a:pt x="36" y="59"/>
                    <a:pt x="36" y="59"/>
                  </a:cubicBezTo>
                  <a:cubicBezTo>
                    <a:pt x="35" y="59"/>
                    <a:pt x="35" y="59"/>
                    <a:pt x="35" y="59"/>
                  </a:cubicBezTo>
                  <a:cubicBezTo>
                    <a:pt x="33" y="59"/>
                    <a:pt x="31" y="59"/>
                    <a:pt x="31" y="57"/>
                  </a:cubicBezTo>
                  <a:cubicBezTo>
                    <a:pt x="31" y="53"/>
                    <a:pt x="31" y="53"/>
                    <a:pt x="31" y="53"/>
                  </a:cubicBezTo>
                  <a:cubicBezTo>
                    <a:pt x="25" y="52"/>
                    <a:pt x="16" y="53"/>
                    <a:pt x="20" y="44"/>
                  </a:cubicBezTo>
                  <a:cubicBezTo>
                    <a:pt x="20" y="43"/>
                    <a:pt x="21" y="43"/>
                    <a:pt x="22" y="43"/>
                  </a:cubicBezTo>
                  <a:cubicBezTo>
                    <a:pt x="22" y="43"/>
                    <a:pt x="23" y="43"/>
                    <a:pt x="23" y="43"/>
                  </a:cubicBezTo>
                  <a:cubicBezTo>
                    <a:pt x="25" y="44"/>
                    <a:pt x="29" y="45"/>
                    <a:pt x="33" y="45"/>
                  </a:cubicBezTo>
                  <a:cubicBezTo>
                    <a:pt x="37" y="45"/>
                    <a:pt x="40" y="44"/>
                    <a:pt x="40" y="41"/>
                  </a:cubicBezTo>
                  <a:cubicBezTo>
                    <a:pt x="40" y="38"/>
                    <a:pt x="38" y="37"/>
                    <a:pt x="32" y="36"/>
                  </a:cubicBezTo>
                  <a:cubicBezTo>
                    <a:pt x="17" y="33"/>
                    <a:pt x="14" y="16"/>
                    <a:pt x="28" y="12"/>
                  </a:cubicBezTo>
                  <a:cubicBezTo>
                    <a:pt x="26" y="9"/>
                    <a:pt x="23" y="7"/>
                    <a:pt x="21" y="4"/>
                  </a:cubicBezTo>
                  <a:cubicBezTo>
                    <a:pt x="20" y="3"/>
                    <a:pt x="18" y="1"/>
                    <a:pt x="17" y="0"/>
                  </a:cubicBezTo>
                </a:path>
              </a:pathLst>
            </a:custGeom>
            <a:solidFill>
              <a:srgbClr val="E18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5" name="Freeform 21571">
              <a:extLst>
                <a:ext uri="{FF2B5EF4-FFF2-40B4-BE49-F238E27FC236}">
                  <a16:creationId xmlns:a16="http://schemas.microsoft.com/office/drawing/2014/main" id="{27007D4E-7660-42D4-8216-3A24E20C6021}"/>
                </a:ext>
              </a:extLst>
            </p:cNvPr>
            <p:cNvSpPr>
              <a:spLocks/>
            </p:cNvSpPr>
            <p:nvPr userDrawn="1"/>
          </p:nvSpPr>
          <p:spPr bwMode="auto">
            <a:xfrm>
              <a:off x="9973628" y="3755390"/>
              <a:ext cx="76200" cy="95250"/>
            </a:xfrm>
            <a:custGeom>
              <a:avLst/>
              <a:gdLst>
                <a:gd name="T0" fmla="*/ 14 w 37"/>
                <a:gd name="T1" fmla="*/ 0 h 47"/>
                <a:gd name="T2" fmla="*/ 18 w 37"/>
                <a:gd name="T3" fmla="*/ 24 h 47"/>
                <a:gd name="T4" fmla="*/ 26 w 37"/>
                <a:gd name="T5" fmla="*/ 29 h 47"/>
                <a:gd name="T6" fmla="*/ 19 w 37"/>
                <a:gd name="T7" fmla="*/ 33 h 47"/>
                <a:gd name="T8" fmla="*/ 9 w 37"/>
                <a:gd name="T9" fmla="*/ 31 h 47"/>
                <a:gd name="T10" fmla="*/ 8 w 37"/>
                <a:gd name="T11" fmla="*/ 31 h 47"/>
                <a:gd name="T12" fmla="*/ 6 w 37"/>
                <a:gd name="T13" fmla="*/ 32 h 47"/>
                <a:gd name="T14" fmla="*/ 17 w 37"/>
                <a:gd name="T15" fmla="*/ 41 h 47"/>
                <a:gd name="T16" fmla="*/ 17 w 37"/>
                <a:gd name="T17" fmla="*/ 45 h 47"/>
                <a:gd name="T18" fmla="*/ 21 w 37"/>
                <a:gd name="T19" fmla="*/ 47 h 47"/>
                <a:gd name="T20" fmla="*/ 22 w 37"/>
                <a:gd name="T21" fmla="*/ 47 h 47"/>
                <a:gd name="T22" fmla="*/ 22 w 37"/>
                <a:gd name="T23" fmla="*/ 47 h 47"/>
                <a:gd name="T24" fmla="*/ 24 w 37"/>
                <a:gd name="T25" fmla="*/ 40 h 47"/>
                <a:gd name="T26" fmla="*/ 37 w 37"/>
                <a:gd name="T27" fmla="*/ 28 h 47"/>
                <a:gd name="T28" fmla="*/ 34 w 37"/>
                <a:gd name="T29" fmla="*/ 23 h 47"/>
                <a:gd name="T30" fmla="*/ 28 w 37"/>
                <a:gd name="T31" fmla="*/ 17 h 47"/>
                <a:gd name="T32" fmla="*/ 25 w 37"/>
                <a:gd name="T33" fmla="*/ 15 h 47"/>
                <a:gd name="T34" fmla="*/ 16 w 37"/>
                <a:gd name="T35" fmla="*/ 10 h 47"/>
                <a:gd name="T36" fmla="*/ 20 w 37"/>
                <a:gd name="T37" fmla="*/ 6 h 47"/>
                <a:gd name="T38" fmla="*/ 14 w 37"/>
                <a:gd name="T3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7">
                  <a:moveTo>
                    <a:pt x="14" y="0"/>
                  </a:moveTo>
                  <a:cubicBezTo>
                    <a:pt x="0" y="4"/>
                    <a:pt x="3" y="21"/>
                    <a:pt x="18" y="24"/>
                  </a:cubicBezTo>
                  <a:cubicBezTo>
                    <a:pt x="24" y="25"/>
                    <a:pt x="26" y="26"/>
                    <a:pt x="26" y="29"/>
                  </a:cubicBezTo>
                  <a:cubicBezTo>
                    <a:pt x="26" y="32"/>
                    <a:pt x="23" y="33"/>
                    <a:pt x="19" y="33"/>
                  </a:cubicBezTo>
                  <a:cubicBezTo>
                    <a:pt x="15" y="33"/>
                    <a:pt x="11" y="32"/>
                    <a:pt x="9" y="31"/>
                  </a:cubicBezTo>
                  <a:cubicBezTo>
                    <a:pt x="9" y="31"/>
                    <a:pt x="8" y="31"/>
                    <a:pt x="8" y="31"/>
                  </a:cubicBezTo>
                  <a:cubicBezTo>
                    <a:pt x="7" y="31"/>
                    <a:pt x="6" y="31"/>
                    <a:pt x="6" y="32"/>
                  </a:cubicBezTo>
                  <a:cubicBezTo>
                    <a:pt x="2" y="41"/>
                    <a:pt x="11" y="40"/>
                    <a:pt x="17" y="41"/>
                  </a:cubicBezTo>
                  <a:cubicBezTo>
                    <a:pt x="17" y="45"/>
                    <a:pt x="17" y="45"/>
                    <a:pt x="17" y="45"/>
                  </a:cubicBezTo>
                  <a:cubicBezTo>
                    <a:pt x="17" y="47"/>
                    <a:pt x="19" y="47"/>
                    <a:pt x="21" y="47"/>
                  </a:cubicBezTo>
                  <a:cubicBezTo>
                    <a:pt x="21" y="47"/>
                    <a:pt x="21" y="47"/>
                    <a:pt x="22" y="47"/>
                  </a:cubicBezTo>
                  <a:cubicBezTo>
                    <a:pt x="22" y="47"/>
                    <a:pt x="22" y="47"/>
                    <a:pt x="22" y="47"/>
                  </a:cubicBezTo>
                  <a:cubicBezTo>
                    <a:pt x="25" y="47"/>
                    <a:pt x="24" y="42"/>
                    <a:pt x="24" y="40"/>
                  </a:cubicBezTo>
                  <a:cubicBezTo>
                    <a:pt x="32" y="39"/>
                    <a:pt x="37" y="34"/>
                    <a:pt x="37" y="28"/>
                  </a:cubicBezTo>
                  <a:cubicBezTo>
                    <a:pt x="36" y="27"/>
                    <a:pt x="35" y="25"/>
                    <a:pt x="34" y="23"/>
                  </a:cubicBezTo>
                  <a:cubicBezTo>
                    <a:pt x="32" y="21"/>
                    <a:pt x="30" y="19"/>
                    <a:pt x="28" y="17"/>
                  </a:cubicBezTo>
                  <a:cubicBezTo>
                    <a:pt x="27" y="16"/>
                    <a:pt x="26" y="16"/>
                    <a:pt x="25" y="15"/>
                  </a:cubicBezTo>
                  <a:cubicBezTo>
                    <a:pt x="19" y="14"/>
                    <a:pt x="16" y="12"/>
                    <a:pt x="16" y="10"/>
                  </a:cubicBezTo>
                  <a:cubicBezTo>
                    <a:pt x="16" y="8"/>
                    <a:pt x="18" y="7"/>
                    <a:pt x="20" y="6"/>
                  </a:cubicBezTo>
                  <a:cubicBezTo>
                    <a:pt x="18" y="4"/>
                    <a:pt x="16" y="2"/>
                    <a:pt x="14"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6" name="Freeform 21572">
              <a:extLst>
                <a:ext uri="{FF2B5EF4-FFF2-40B4-BE49-F238E27FC236}">
                  <a16:creationId xmlns:a16="http://schemas.microsoft.com/office/drawing/2014/main" id="{514D70A3-EF39-4B28-920C-756032692940}"/>
                </a:ext>
              </a:extLst>
            </p:cNvPr>
            <p:cNvSpPr>
              <a:spLocks noEditPoints="1"/>
            </p:cNvSpPr>
            <p:nvPr userDrawn="1"/>
          </p:nvSpPr>
          <p:spPr bwMode="auto">
            <a:xfrm>
              <a:off x="9186228" y="3304540"/>
              <a:ext cx="636588" cy="277813"/>
            </a:xfrm>
            <a:custGeom>
              <a:avLst/>
              <a:gdLst>
                <a:gd name="T0" fmla="*/ 299 w 315"/>
                <a:gd name="T1" fmla="*/ 110 h 138"/>
                <a:gd name="T2" fmla="*/ 300 w 315"/>
                <a:gd name="T3" fmla="*/ 115 h 138"/>
                <a:gd name="T4" fmla="*/ 295 w 315"/>
                <a:gd name="T5" fmla="*/ 128 h 138"/>
                <a:gd name="T6" fmla="*/ 297 w 315"/>
                <a:gd name="T7" fmla="*/ 129 h 138"/>
                <a:gd name="T8" fmla="*/ 309 w 315"/>
                <a:gd name="T9" fmla="*/ 137 h 138"/>
                <a:gd name="T10" fmla="*/ 310 w 315"/>
                <a:gd name="T11" fmla="*/ 138 h 138"/>
                <a:gd name="T12" fmla="*/ 309 w 315"/>
                <a:gd name="T13" fmla="*/ 137 h 138"/>
                <a:gd name="T14" fmla="*/ 314 w 315"/>
                <a:gd name="T15" fmla="*/ 123 h 138"/>
                <a:gd name="T16" fmla="*/ 315 w 315"/>
                <a:gd name="T17" fmla="*/ 122 h 138"/>
                <a:gd name="T18" fmla="*/ 299 w 315"/>
                <a:gd name="T19" fmla="*/ 110 h 138"/>
                <a:gd name="T20" fmla="*/ 279 w 315"/>
                <a:gd name="T21" fmla="*/ 99 h 138"/>
                <a:gd name="T22" fmla="*/ 265 w 315"/>
                <a:gd name="T23" fmla="*/ 108 h 138"/>
                <a:gd name="T24" fmla="*/ 273 w 315"/>
                <a:gd name="T25" fmla="*/ 113 h 138"/>
                <a:gd name="T26" fmla="*/ 285 w 315"/>
                <a:gd name="T27" fmla="*/ 121 h 138"/>
                <a:gd name="T28" fmla="*/ 292 w 315"/>
                <a:gd name="T29" fmla="*/ 125 h 138"/>
                <a:gd name="T30" fmla="*/ 296 w 315"/>
                <a:gd name="T31" fmla="*/ 115 h 138"/>
                <a:gd name="T32" fmla="*/ 279 w 315"/>
                <a:gd name="T33" fmla="*/ 99 h 138"/>
                <a:gd name="T34" fmla="*/ 1 w 315"/>
                <a:gd name="T35" fmla="*/ 0 h 138"/>
                <a:gd name="T36" fmla="*/ 0 w 315"/>
                <a:gd name="T37" fmla="*/ 23 h 138"/>
                <a:gd name="T38" fmla="*/ 3 w 315"/>
                <a:gd name="T39" fmla="*/ 23 h 138"/>
                <a:gd name="T40" fmla="*/ 25 w 315"/>
                <a:gd name="T41" fmla="*/ 26 h 138"/>
                <a:gd name="T42" fmla="*/ 31 w 315"/>
                <a:gd name="T43" fmla="*/ 26 h 138"/>
                <a:gd name="T44" fmla="*/ 51 w 315"/>
                <a:gd name="T45" fmla="*/ 29 h 138"/>
                <a:gd name="T46" fmla="*/ 59 w 315"/>
                <a:gd name="T47" fmla="*/ 31 h 138"/>
                <a:gd name="T48" fmla="*/ 78 w 315"/>
                <a:gd name="T49" fmla="*/ 34 h 138"/>
                <a:gd name="T50" fmla="*/ 87 w 315"/>
                <a:gd name="T51" fmla="*/ 36 h 138"/>
                <a:gd name="T52" fmla="*/ 105 w 315"/>
                <a:gd name="T53" fmla="*/ 41 h 138"/>
                <a:gd name="T54" fmla="*/ 115 w 315"/>
                <a:gd name="T55" fmla="*/ 43 h 138"/>
                <a:gd name="T56" fmla="*/ 132 w 315"/>
                <a:gd name="T57" fmla="*/ 48 h 138"/>
                <a:gd name="T58" fmla="*/ 142 w 315"/>
                <a:gd name="T59" fmla="*/ 52 h 138"/>
                <a:gd name="T60" fmla="*/ 158 w 315"/>
                <a:gd name="T61" fmla="*/ 57 h 138"/>
                <a:gd name="T62" fmla="*/ 169 w 315"/>
                <a:gd name="T63" fmla="*/ 61 h 138"/>
                <a:gd name="T64" fmla="*/ 184 w 315"/>
                <a:gd name="T65" fmla="*/ 67 h 138"/>
                <a:gd name="T66" fmla="*/ 196 w 315"/>
                <a:gd name="T67" fmla="*/ 72 h 138"/>
                <a:gd name="T68" fmla="*/ 207 w 315"/>
                <a:gd name="T69" fmla="*/ 77 h 138"/>
                <a:gd name="T70" fmla="*/ 209 w 315"/>
                <a:gd name="T71" fmla="*/ 76 h 138"/>
                <a:gd name="T72" fmla="*/ 212 w 315"/>
                <a:gd name="T73" fmla="*/ 77 h 138"/>
                <a:gd name="T74" fmla="*/ 215 w 315"/>
                <a:gd name="T75" fmla="*/ 81 h 138"/>
                <a:gd name="T76" fmla="*/ 222 w 315"/>
                <a:gd name="T77" fmla="*/ 85 h 138"/>
                <a:gd name="T78" fmla="*/ 236 w 315"/>
                <a:gd name="T79" fmla="*/ 91 h 138"/>
                <a:gd name="T80" fmla="*/ 248 w 315"/>
                <a:gd name="T81" fmla="*/ 98 h 138"/>
                <a:gd name="T82" fmla="*/ 261 w 315"/>
                <a:gd name="T83" fmla="*/ 105 h 138"/>
                <a:gd name="T84" fmla="*/ 261 w 315"/>
                <a:gd name="T85" fmla="*/ 106 h 138"/>
                <a:gd name="T86" fmla="*/ 279 w 315"/>
                <a:gd name="T87" fmla="*/ 94 h 138"/>
                <a:gd name="T88" fmla="*/ 1 w 315"/>
                <a:gd name="T8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5" h="138">
                  <a:moveTo>
                    <a:pt x="299" y="110"/>
                  </a:moveTo>
                  <a:cubicBezTo>
                    <a:pt x="300" y="111"/>
                    <a:pt x="300" y="113"/>
                    <a:pt x="300" y="115"/>
                  </a:cubicBezTo>
                  <a:cubicBezTo>
                    <a:pt x="300" y="120"/>
                    <a:pt x="298" y="124"/>
                    <a:pt x="295" y="128"/>
                  </a:cubicBezTo>
                  <a:cubicBezTo>
                    <a:pt x="296" y="128"/>
                    <a:pt x="297" y="129"/>
                    <a:pt x="297" y="129"/>
                  </a:cubicBezTo>
                  <a:cubicBezTo>
                    <a:pt x="301" y="132"/>
                    <a:pt x="305" y="135"/>
                    <a:pt x="309" y="137"/>
                  </a:cubicBezTo>
                  <a:cubicBezTo>
                    <a:pt x="309" y="137"/>
                    <a:pt x="309" y="138"/>
                    <a:pt x="310" y="138"/>
                  </a:cubicBezTo>
                  <a:cubicBezTo>
                    <a:pt x="310" y="138"/>
                    <a:pt x="310" y="138"/>
                    <a:pt x="309" y="137"/>
                  </a:cubicBezTo>
                  <a:cubicBezTo>
                    <a:pt x="305" y="127"/>
                    <a:pt x="310" y="125"/>
                    <a:pt x="314" y="123"/>
                  </a:cubicBezTo>
                  <a:cubicBezTo>
                    <a:pt x="314" y="123"/>
                    <a:pt x="315" y="123"/>
                    <a:pt x="315" y="122"/>
                  </a:cubicBezTo>
                  <a:cubicBezTo>
                    <a:pt x="310" y="118"/>
                    <a:pt x="305" y="114"/>
                    <a:pt x="299" y="110"/>
                  </a:cubicBezTo>
                  <a:moveTo>
                    <a:pt x="279" y="99"/>
                  </a:moveTo>
                  <a:cubicBezTo>
                    <a:pt x="273" y="99"/>
                    <a:pt x="267" y="103"/>
                    <a:pt x="265" y="108"/>
                  </a:cubicBezTo>
                  <a:cubicBezTo>
                    <a:pt x="267" y="110"/>
                    <a:pt x="270" y="111"/>
                    <a:pt x="273" y="113"/>
                  </a:cubicBezTo>
                  <a:cubicBezTo>
                    <a:pt x="277" y="116"/>
                    <a:pt x="281" y="118"/>
                    <a:pt x="285" y="121"/>
                  </a:cubicBezTo>
                  <a:cubicBezTo>
                    <a:pt x="287" y="122"/>
                    <a:pt x="289" y="124"/>
                    <a:pt x="292" y="125"/>
                  </a:cubicBezTo>
                  <a:cubicBezTo>
                    <a:pt x="294" y="122"/>
                    <a:pt x="296" y="119"/>
                    <a:pt x="296" y="115"/>
                  </a:cubicBezTo>
                  <a:cubicBezTo>
                    <a:pt x="296" y="106"/>
                    <a:pt x="288" y="99"/>
                    <a:pt x="279" y="99"/>
                  </a:cubicBezTo>
                  <a:moveTo>
                    <a:pt x="1" y="0"/>
                  </a:moveTo>
                  <a:cubicBezTo>
                    <a:pt x="0" y="23"/>
                    <a:pt x="0" y="23"/>
                    <a:pt x="0" y="23"/>
                  </a:cubicBezTo>
                  <a:cubicBezTo>
                    <a:pt x="1" y="23"/>
                    <a:pt x="2" y="23"/>
                    <a:pt x="3" y="23"/>
                  </a:cubicBezTo>
                  <a:cubicBezTo>
                    <a:pt x="10" y="24"/>
                    <a:pt x="18" y="25"/>
                    <a:pt x="25" y="26"/>
                  </a:cubicBezTo>
                  <a:cubicBezTo>
                    <a:pt x="27" y="26"/>
                    <a:pt x="29" y="26"/>
                    <a:pt x="31" y="26"/>
                  </a:cubicBezTo>
                  <a:cubicBezTo>
                    <a:pt x="38" y="27"/>
                    <a:pt x="45" y="28"/>
                    <a:pt x="51" y="29"/>
                  </a:cubicBezTo>
                  <a:cubicBezTo>
                    <a:pt x="54" y="30"/>
                    <a:pt x="57" y="30"/>
                    <a:pt x="59" y="31"/>
                  </a:cubicBezTo>
                  <a:cubicBezTo>
                    <a:pt x="66" y="32"/>
                    <a:pt x="72" y="33"/>
                    <a:pt x="78" y="34"/>
                  </a:cubicBezTo>
                  <a:cubicBezTo>
                    <a:pt x="81" y="35"/>
                    <a:pt x="84" y="36"/>
                    <a:pt x="87" y="36"/>
                  </a:cubicBezTo>
                  <a:cubicBezTo>
                    <a:pt x="93" y="38"/>
                    <a:pt x="99" y="39"/>
                    <a:pt x="105" y="41"/>
                  </a:cubicBezTo>
                  <a:cubicBezTo>
                    <a:pt x="108" y="42"/>
                    <a:pt x="112" y="42"/>
                    <a:pt x="115" y="43"/>
                  </a:cubicBezTo>
                  <a:cubicBezTo>
                    <a:pt x="121" y="45"/>
                    <a:pt x="126" y="47"/>
                    <a:pt x="132" y="48"/>
                  </a:cubicBezTo>
                  <a:cubicBezTo>
                    <a:pt x="135" y="49"/>
                    <a:pt x="139" y="51"/>
                    <a:pt x="142" y="52"/>
                  </a:cubicBezTo>
                  <a:cubicBezTo>
                    <a:pt x="148" y="53"/>
                    <a:pt x="153" y="55"/>
                    <a:pt x="158" y="57"/>
                  </a:cubicBezTo>
                  <a:cubicBezTo>
                    <a:pt x="162" y="58"/>
                    <a:pt x="166" y="60"/>
                    <a:pt x="169" y="61"/>
                  </a:cubicBezTo>
                  <a:cubicBezTo>
                    <a:pt x="174" y="63"/>
                    <a:pt x="179" y="65"/>
                    <a:pt x="184" y="67"/>
                  </a:cubicBezTo>
                  <a:cubicBezTo>
                    <a:pt x="188" y="69"/>
                    <a:pt x="192" y="71"/>
                    <a:pt x="196" y="72"/>
                  </a:cubicBezTo>
                  <a:cubicBezTo>
                    <a:pt x="200" y="74"/>
                    <a:pt x="203" y="75"/>
                    <a:pt x="207" y="77"/>
                  </a:cubicBezTo>
                  <a:cubicBezTo>
                    <a:pt x="207" y="76"/>
                    <a:pt x="208" y="76"/>
                    <a:pt x="209" y="76"/>
                  </a:cubicBezTo>
                  <a:cubicBezTo>
                    <a:pt x="210" y="76"/>
                    <a:pt x="211" y="76"/>
                    <a:pt x="212" y="77"/>
                  </a:cubicBezTo>
                  <a:cubicBezTo>
                    <a:pt x="214" y="78"/>
                    <a:pt x="215" y="78"/>
                    <a:pt x="215" y="81"/>
                  </a:cubicBezTo>
                  <a:cubicBezTo>
                    <a:pt x="218" y="82"/>
                    <a:pt x="220" y="83"/>
                    <a:pt x="222" y="85"/>
                  </a:cubicBezTo>
                  <a:cubicBezTo>
                    <a:pt x="227" y="87"/>
                    <a:pt x="231" y="89"/>
                    <a:pt x="236" y="91"/>
                  </a:cubicBezTo>
                  <a:cubicBezTo>
                    <a:pt x="240" y="94"/>
                    <a:pt x="244" y="96"/>
                    <a:pt x="248" y="98"/>
                  </a:cubicBezTo>
                  <a:cubicBezTo>
                    <a:pt x="252" y="101"/>
                    <a:pt x="256" y="103"/>
                    <a:pt x="261" y="105"/>
                  </a:cubicBezTo>
                  <a:cubicBezTo>
                    <a:pt x="261" y="105"/>
                    <a:pt x="261" y="105"/>
                    <a:pt x="261" y="106"/>
                  </a:cubicBezTo>
                  <a:cubicBezTo>
                    <a:pt x="264" y="99"/>
                    <a:pt x="271" y="95"/>
                    <a:pt x="279" y="94"/>
                  </a:cubicBezTo>
                  <a:cubicBezTo>
                    <a:pt x="199" y="39"/>
                    <a:pt x="104" y="5"/>
                    <a:pt x="1" y="0"/>
                  </a:cubicBezTo>
                </a:path>
              </a:pathLst>
            </a:custGeom>
            <a:solidFill>
              <a:srgbClr val="506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7" name="Freeform 21573">
              <a:extLst>
                <a:ext uri="{FF2B5EF4-FFF2-40B4-BE49-F238E27FC236}">
                  <a16:creationId xmlns:a16="http://schemas.microsoft.com/office/drawing/2014/main" id="{F65DA5D6-7D6E-4421-B508-1C6EA8B49867}"/>
                </a:ext>
              </a:extLst>
            </p:cNvPr>
            <p:cNvSpPr>
              <a:spLocks/>
            </p:cNvSpPr>
            <p:nvPr userDrawn="1"/>
          </p:nvSpPr>
          <p:spPr bwMode="auto">
            <a:xfrm>
              <a:off x="9713278" y="3493453"/>
              <a:ext cx="79375" cy="68263"/>
            </a:xfrm>
            <a:custGeom>
              <a:avLst/>
              <a:gdLst>
                <a:gd name="T0" fmla="*/ 18 w 39"/>
                <a:gd name="T1" fmla="*/ 0 h 34"/>
                <a:gd name="T2" fmla="*/ 0 w 39"/>
                <a:gd name="T3" fmla="*/ 12 h 34"/>
                <a:gd name="T4" fmla="*/ 4 w 39"/>
                <a:gd name="T5" fmla="*/ 14 h 34"/>
                <a:gd name="T6" fmla="*/ 18 w 39"/>
                <a:gd name="T7" fmla="*/ 5 h 34"/>
                <a:gd name="T8" fmla="*/ 35 w 39"/>
                <a:gd name="T9" fmla="*/ 21 h 34"/>
                <a:gd name="T10" fmla="*/ 31 w 39"/>
                <a:gd name="T11" fmla="*/ 31 h 34"/>
                <a:gd name="T12" fmla="*/ 34 w 39"/>
                <a:gd name="T13" fmla="*/ 34 h 34"/>
                <a:gd name="T14" fmla="*/ 39 w 39"/>
                <a:gd name="T15" fmla="*/ 21 h 34"/>
                <a:gd name="T16" fmla="*/ 38 w 39"/>
                <a:gd name="T17" fmla="*/ 16 h 34"/>
                <a:gd name="T18" fmla="*/ 18 w 39"/>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4">
                  <a:moveTo>
                    <a:pt x="18" y="0"/>
                  </a:moveTo>
                  <a:cubicBezTo>
                    <a:pt x="10" y="1"/>
                    <a:pt x="3" y="5"/>
                    <a:pt x="0" y="12"/>
                  </a:cubicBezTo>
                  <a:cubicBezTo>
                    <a:pt x="1" y="12"/>
                    <a:pt x="2" y="13"/>
                    <a:pt x="4" y="14"/>
                  </a:cubicBezTo>
                  <a:cubicBezTo>
                    <a:pt x="6" y="9"/>
                    <a:pt x="12" y="5"/>
                    <a:pt x="18" y="5"/>
                  </a:cubicBezTo>
                  <a:cubicBezTo>
                    <a:pt x="27" y="5"/>
                    <a:pt x="35" y="12"/>
                    <a:pt x="35" y="21"/>
                  </a:cubicBezTo>
                  <a:cubicBezTo>
                    <a:pt x="35" y="25"/>
                    <a:pt x="33" y="28"/>
                    <a:pt x="31" y="31"/>
                  </a:cubicBezTo>
                  <a:cubicBezTo>
                    <a:pt x="32" y="32"/>
                    <a:pt x="33" y="33"/>
                    <a:pt x="34" y="34"/>
                  </a:cubicBezTo>
                  <a:cubicBezTo>
                    <a:pt x="37" y="30"/>
                    <a:pt x="39" y="26"/>
                    <a:pt x="39" y="21"/>
                  </a:cubicBezTo>
                  <a:cubicBezTo>
                    <a:pt x="39" y="19"/>
                    <a:pt x="39" y="17"/>
                    <a:pt x="38" y="16"/>
                  </a:cubicBezTo>
                  <a:cubicBezTo>
                    <a:pt x="32" y="10"/>
                    <a:pt x="25" y="5"/>
                    <a:pt x="18" y="0"/>
                  </a:cubicBezTo>
                </a:path>
              </a:pathLst>
            </a:custGeom>
            <a:solidFill>
              <a:srgbClr val="59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8" name="Freeform 21574">
              <a:extLst>
                <a:ext uri="{FF2B5EF4-FFF2-40B4-BE49-F238E27FC236}">
                  <a16:creationId xmlns:a16="http://schemas.microsoft.com/office/drawing/2014/main" id="{0CE27C96-3807-4C2A-8FC2-1E2FE0B2FD5A}"/>
                </a:ext>
              </a:extLst>
            </p:cNvPr>
            <p:cNvSpPr>
              <a:spLocks/>
            </p:cNvSpPr>
            <p:nvPr userDrawn="1"/>
          </p:nvSpPr>
          <p:spPr bwMode="auto">
            <a:xfrm>
              <a:off x="9603740" y="3456940"/>
              <a:ext cx="17463" cy="11113"/>
            </a:xfrm>
            <a:custGeom>
              <a:avLst/>
              <a:gdLst>
                <a:gd name="T0" fmla="*/ 2 w 8"/>
                <a:gd name="T1" fmla="*/ 0 h 5"/>
                <a:gd name="T2" fmla="*/ 0 w 8"/>
                <a:gd name="T3" fmla="*/ 1 h 5"/>
                <a:gd name="T4" fmla="*/ 3 w 8"/>
                <a:gd name="T5" fmla="*/ 3 h 5"/>
                <a:gd name="T6" fmla="*/ 8 w 8"/>
                <a:gd name="T7" fmla="*/ 5 h 5"/>
                <a:gd name="T8" fmla="*/ 5 w 8"/>
                <a:gd name="T9" fmla="*/ 1 h 5"/>
                <a:gd name="T10" fmla="*/ 2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2" y="0"/>
                  </a:moveTo>
                  <a:cubicBezTo>
                    <a:pt x="1" y="0"/>
                    <a:pt x="0" y="0"/>
                    <a:pt x="0" y="1"/>
                  </a:cubicBezTo>
                  <a:cubicBezTo>
                    <a:pt x="1" y="2"/>
                    <a:pt x="2" y="2"/>
                    <a:pt x="3" y="3"/>
                  </a:cubicBezTo>
                  <a:cubicBezTo>
                    <a:pt x="5" y="4"/>
                    <a:pt x="7" y="4"/>
                    <a:pt x="8" y="5"/>
                  </a:cubicBezTo>
                  <a:cubicBezTo>
                    <a:pt x="8" y="2"/>
                    <a:pt x="7" y="2"/>
                    <a:pt x="5" y="1"/>
                  </a:cubicBezTo>
                  <a:cubicBezTo>
                    <a:pt x="4" y="0"/>
                    <a:pt x="3" y="0"/>
                    <a:pt x="2" y="0"/>
                  </a:cubicBezTo>
                </a:path>
              </a:pathLst>
            </a:custGeom>
            <a:solidFill>
              <a:srgbClr val="59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9" name="Freeform 21575">
              <a:extLst>
                <a:ext uri="{FF2B5EF4-FFF2-40B4-BE49-F238E27FC236}">
                  <a16:creationId xmlns:a16="http://schemas.microsoft.com/office/drawing/2014/main" id="{73A3E2F6-E3F9-4B10-9707-C008FD9E0873}"/>
                </a:ext>
              </a:extLst>
            </p:cNvPr>
            <p:cNvSpPr>
              <a:spLocks/>
            </p:cNvSpPr>
            <p:nvPr userDrawn="1"/>
          </p:nvSpPr>
          <p:spPr bwMode="auto">
            <a:xfrm>
              <a:off x="9802178" y="3550603"/>
              <a:ext cx="111125" cy="93663"/>
            </a:xfrm>
            <a:custGeom>
              <a:avLst/>
              <a:gdLst>
                <a:gd name="T0" fmla="*/ 10 w 55"/>
                <a:gd name="T1" fmla="*/ 0 h 47"/>
                <a:gd name="T2" fmla="*/ 9 w 55"/>
                <a:gd name="T3" fmla="*/ 1 h 47"/>
                <a:gd name="T4" fmla="*/ 4 w 55"/>
                <a:gd name="T5" fmla="*/ 15 h 47"/>
                <a:gd name="T6" fmla="*/ 5 w 55"/>
                <a:gd name="T7" fmla="*/ 16 h 47"/>
                <a:gd name="T8" fmla="*/ 16 w 55"/>
                <a:gd name="T9" fmla="*/ 25 h 47"/>
                <a:gd name="T10" fmla="*/ 27 w 55"/>
                <a:gd name="T11" fmla="*/ 33 h 47"/>
                <a:gd name="T12" fmla="*/ 40 w 55"/>
                <a:gd name="T13" fmla="*/ 44 h 47"/>
                <a:gd name="T14" fmla="*/ 44 w 55"/>
                <a:gd name="T15" fmla="*/ 47 h 47"/>
                <a:gd name="T16" fmla="*/ 55 w 55"/>
                <a:gd name="T17" fmla="*/ 43 h 47"/>
                <a:gd name="T18" fmla="*/ 10 w 55"/>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7">
                  <a:moveTo>
                    <a:pt x="10" y="0"/>
                  </a:moveTo>
                  <a:cubicBezTo>
                    <a:pt x="10" y="1"/>
                    <a:pt x="9" y="1"/>
                    <a:pt x="9" y="1"/>
                  </a:cubicBezTo>
                  <a:cubicBezTo>
                    <a:pt x="5" y="3"/>
                    <a:pt x="0" y="5"/>
                    <a:pt x="4" y="15"/>
                  </a:cubicBezTo>
                  <a:cubicBezTo>
                    <a:pt x="5" y="16"/>
                    <a:pt x="5" y="16"/>
                    <a:pt x="5" y="16"/>
                  </a:cubicBezTo>
                  <a:cubicBezTo>
                    <a:pt x="9" y="19"/>
                    <a:pt x="12" y="22"/>
                    <a:pt x="16" y="25"/>
                  </a:cubicBezTo>
                  <a:cubicBezTo>
                    <a:pt x="20" y="28"/>
                    <a:pt x="24" y="30"/>
                    <a:pt x="27" y="33"/>
                  </a:cubicBezTo>
                  <a:cubicBezTo>
                    <a:pt x="31" y="37"/>
                    <a:pt x="35" y="40"/>
                    <a:pt x="40" y="44"/>
                  </a:cubicBezTo>
                  <a:cubicBezTo>
                    <a:pt x="41" y="45"/>
                    <a:pt x="42" y="46"/>
                    <a:pt x="44" y="47"/>
                  </a:cubicBezTo>
                  <a:cubicBezTo>
                    <a:pt x="47" y="45"/>
                    <a:pt x="51" y="44"/>
                    <a:pt x="55" y="43"/>
                  </a:cubicBezTo>
                  <a:cubicBezTo>
                    <a:pt x="41" y="28"/>
                    <a:pt x="26" y="14"/>
                    <a:pt x="10" y="0"/>
                  </a:cubicBezTo>
                </a:path>
              </a:pathLst>
            </a:custGeom>
            <a:solidFill>
              <a:srgbClr val="3A3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0" name="Freeform 21576">
              <a:extLst>
                <a:ext uri="{FF2B5EF4-FFF2-40B4-BE49-F238E27FC236}">
                  <a16:creationId xmlns:a16="http://schemas.microsoft.com/office/drawing/2014/main" id="{456C5FA7-ECFE-4C65-A1AF-17C69BB5F653}"/>
                </a:ext>
              </a:extLst>
            </p:cNvPr>
            <p:cNvSpPr>
              <a:spLocks/>
            </p:cNvSpPr>
            <p:nvPr userDrawn="1"/>
          </p:nvSpPr>
          <p:spPr bwMode="auto">
            <a:xfrm>
              <a:off x="9891078" y="3636328"/>
              <a:ext cx="88900" cy="82550"/>
            </a:xfrm>
            <a:custGeom>
              <a:avLst/>
              <a:gdLst>
                <a:gd name="T0" fmla="*/ 11 w 44"/>
                <a:gd name="T1" fmla="*/ 0 h 41"/>
                <a:gd name="T2" fmla="*/ 0 w 44"/>
                <a:gd name="T3" fmla="*/ 4 h 41"/>
                <a:gd name="T4" fmla="*/ 6 w 44"/>
                <a:gd name="T5" fmla="*/ 9 h 41"/>
                <a:gd name="T6" fmla="*/ 18 w 44"/>
                <a:gd name="T7" fmla="*/ 21 h 41"/>
                <a:gd name="T8" fmla="*/ 27 w 44"/>
                <a:gd name="T9" fmla="*/ 30 h 41"/>
                <a:gd name="T10" fmla="*/ 38 w 44"/>
                <a:gd name="T11" fmla="*/ 41 h 41"/>
                <a:gd name="T12" fmla="*/ 44 w 44"/>
                <a:gd name="T13" fmla="*/ 38 h 41"/>
                <a:gd name="T14" fmla="*/ 11 w 4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1">
                  <a:moveTo>
                    <a:pt x="11" y="0"/>
                  </a:moveTo>
                  <a:cubicBezTo>
                    <a:pt x="7" y="1"/>
                    <a:pt x="3" y="2"/>
                    <a:pt x="0" y="4"/>
                  </a:cubicBezTo>
                  <a:cubicBezTo>
                    <a:pt x="2" y="6"/>
                    <a:pt x="4" y="7"/>
                    <a:pt x="6" y="9"/>
                  </a:cubicBezTo>
                  <a:cubicBezTo>
                    <a:pt x="10" y="13"/>
                    <a:pt x="14" y="17"/>
                    <a:pt x="18" y="21"/>
                  </a:cubicBezTo>
                  <a:cubicBezTo>
                    <a:pt x="21" y="24"/>
                    <a:pt x="24" y="27"/>
                    <a:pt x="27" y="30"/>
                  </a:cubicBezTo>
                  <a:cubicBezTo>
                    <a:pt x="31" y="33"/>
                    <a:pt x="34" y="37"/>
                    <a:pt x="38" y="41"/>
                  </a:cubicBezTo>
                  <a:cubicBezTo>
                    <a:pt x="40" y="40"/>
                    <a:pt x="42" y="39"/>
                    <a:pt x="44" y="38"/>
                  </a:cubicBezTo>
                  <a:cubicBezTo>
                    <a:pt x="33" y="24"/>
                    <a:pt x="22" y="12"/>
                    <a:pt x="11" y="0"/>
                  </a:cubicBezTo>
                </a:path>
              </a:pathLst>
            </a:custGeom>
            <a:solidFill>
              <a:srgbClr val="8965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1" name="Freeform 21577">
              <a:extLst>
                <a:ext uri="{FF2B5EF4-FFF2-40B4-BE49-F238E27FC236}">
                  <a16:creationId xmlns:a16="http://schemas.microsoft.com/office/drawing/2014/main" id="{7F4BCDAA-1BF1-42D6-8D1A-5937B65196E3}"/>
                </a:ext>
              </a:extLst>
            </p:cNvPr>
            <p:cNvSpPr>
              <a:spLocks/>
            </p:cNvSpPr>
            <p:nvPr userDrawn="1"/>
          </p:nvSpPr>
          <p:spPr bwMode="auto">
            <a:xfrm>
              <a:off x="9968865" y="3712528"/>
              <a:ext cx="11113" cy="9525"/>
            </a:xfrm>
            <a:custGeom>
              <a:avLst/>
              <a:gdLst>
                <a:gd name="T0" fmla="*/ 6 w 6"/>
                <a:gd name="T1" fmla="*/ 0 h 4"/>
                <a:gd name="T2" fmla="*/ 0 w 6"/>
                <a:gd name="T3" fmla="*/ 3 h 4"/>
                <a:gd name="T4" fmla="*/ 1 w 6"/>
                <a:gd name="T5" fmla="*/ 4 h 4"/>
                <a:gd name="T6" fmla="*/ 6 w 6"/>
                <a:gd name="T7" fmla="*/ 1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4" y="1"/>
                    <a:pt x="2" y="2"/>
                    <a:pt x="0" y="3"/>
                  </a:cubicBezTo>
                  <a:cubicBezTo>
                    <a:pt x="0" y="3"/>
                    <a:pt x="1" y="3"/>
                    <a:pt x="1" y="4"/>
                  </a:cubicBezTo>
                  <a:cubicBezTo>
                    <a:pt x="3" y="3"/>
                    <a:pt x="5" y="2"/>
                    <a:pt x="6" y="1"/>
                  </a:cubicBezTo>
                  <a:cubicBezTo>
                    <a:pt x="6" y="0"/>
                    <a:pt x="6" y="0"/>
                    <a:pt x="6" y="0"/>
                  </a:cubicBezTo>
                </a:path>
              </a:pathLst>
            </a:custGeom>
            <a:solidFill>
              <a:srgbClr val="9A78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2" name="Freeform 21578">
              <a:extLst>
                <a:ext uri="{FF2B5EF4-FFF2-40B4-BE49-F238E27FC236}">
                  <a16:creationId xmlns:a16="http://schemas.microsoft.com/office/drawing/2014/main" id="{9C749CCF-A912-417F-9E74-5B804A1AF26A}"/>
                </a:ext>
              </a:extLst>
            </p:cNvPr>
            <p:cNvSpPr>
              <a:spLocks/>
            </p:cNvSpPr>
            <p:nvPr userDrawn="1"/>
          </p:nvSpPr>
          <p:spPr bwMode="auto">
            <a:xfrm>
              <a:off x="9970453" y="3715703"/>
              <a:ext cx="20638" cy="15875"/>
            </a:xfrm>
            <a:custGeom>
              <a:avLst/>
              <a:gdLst>
                <a:gd name="T0" fmla="*/ 5 w 10"/>
                <a:gd name="T1" fmla="*/ 0 h 8"/>
                <a:gd name="T2" fmla="*/ 0 w 10"/>
                <a:gd name="T3" fmla="*/ 3 h 8"/>
                <a:gd name="T4" fmla="*/ 2 w 10"/>
                <a:gd name="T5" fmla="*/ 5 h 8"/>
                <a:gd name="T6" fmla="*/ 5 w 10"/>
                <a:gd name="T7" fmla="*/ 8 h 8"/>
                <a:gd name="T8" fmla="*/ 10 w 10"/>
                <a:gd name="T9" fmla="*/ 6 h 8"/>
                <a:gd name="T10" fmla="*/ 5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5" y="0"/>
                  </a:moveTo>
                  <a:cubicBezTo>
                    <a:pt x="4" y="1"/>
                    <a:pt x="2" y="2"/>
                    <a:pt x="0" y="3"/>
                  </a:cubicBezTo>
                  <a:cubicBezTo>
                    <a:pt x="1" y="4"/>
                    <a:pt x="1" y="4"/>
                    <a:pt x="2" y="5"/>
                  </a:cubicBezTo>
                  <a:cubicBezTo>
                    <a:pt x="3" y="6"/>
                    <a:pt x="4" y="7"/>
                    <a:pt x="5" y="8"/>
                  </a:cubicBezTo>
                  <a:cubicBezTo>
                    <a:pt x="6" y="7"/>
                    <a:pt x="8" y="6"/>
                    <a:pt x="10" y="6"/>
                  </a:cubicBezTo>
                  <a:cubicBezTo>
                    <a:pt x="8" y="4"/>
                    <a:pt x="7" y="2"/>
                    <a:pt x="5" y="0"/>
                  </a:cubicBezTo>
                </a:path>
              </a:pathLst>
            </a:custGeom>
            <a:solidFill>
              <a:srgbClr val="9992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3" name="Freeform 21579">
              <a:extLst>
                <a:ext uri="{FF2B5EF4-FFF2-40B4-BE49-F238E27FC236}">
                  <a16:creationId xmlns:a16="http://schemas.microsoft.com/office/drawing/2014/main" id="{AFC49EDB-5690-48A7-9AFC-85F45B893306}"/>
                </a:ext>
              </a:extLst>
            </p:cNvPr>
            <p:cNvSpPr>
              <a:spLocks noEditPoints="1"/>
            </p:cNvSpPr>
            <p:nvPr userDrawn="1"/>
          </p:nvSpPr>
          <p:spPr bwMode="auto">
            <a:xfrm>
              <a:off x="9979978" y="3726815"/>
              <a:ext cx="55563" cy="63500"/>
            </a:xfrm>
            <a:custGeom>
              <a:avLst/>
              <a:gdLst>
                <a:gd name="T0" fmla="*/ 18 w 27"/>
                <a:gd name="T1" fmla="*/ 20 h 31"/>
                <a:gd name="T2" fmla="*/ 17 w 27"/>
                <a:gd name="T3" fmla="*/ 20 h 31"/>
                <a:gd name="T4" fmla="*/ 24 w 27"/>
                <a:gd name="T5" fmla="*/ 29 h 31"/>
                <a:gd name="T6" fmla="*/ 25 w 27"/>
                <a:gd name="T7" fmla="*/ 31 h 31"/>
                <a:gd name="T8" fmla="*/ 27 w 27"/>
                <a:gd name="T9" fmla="*/ 31 h 31"/>
                <a:gd name="T10" fmla="*/ 20 w 27"/>
                <a:gd name="T11" fmla="*/ 21 h 31"/>
                <a:gd name="T12" fmla="*/ 18 w 27"/>
                <a:gd name="T13" fmla="*/ 20 h 31"/>
                <a:gd name="T14" fmla="*/ 5 w 27"/>
                <a:gd name="T15" fmla="*/ 0 h 31"/>
                <a:gd name="T16" fmla="*/ 0 w 27"/>
                <a:gd name="T17" fmla="*/ 2 h 31"/>
                <a:gd name="T18" fmla="*/ 4 w 27"/>
                <a:gd name="T19" fmla="*/ 6 h 31"/>
                <a:gd name="T20" fmla="*/ 11 w 27"/>
                <a:gd name="T21" fmla="*/ 14 h 31"/>
                <a:gd name="T22" fmla="*/ 14 w 27"/>
                <a:gd name="T23" fmla="*/ 13 h 31"/>
                <a:gd name="T24" fmla="*/ 14 w 27"/>
                <a:gd name="T25" fmla="*/ 12 h 31"/>
                <a:gd name="T26" fmla="*/ 5 w 27"/>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20"/>
                  </a:moveTo>
                  <a:cubicBezTo>
                    <a:pt x="17" y="20"/>
                    <a:pt x="17" y="20"/>
                    <a:pt x="17" y="20"/>
                  </a:cubicBezTo>
                  <a:cubicBezTo>
                    <a:pt x="19" y="23"/>
                    <a:pt x="22" y="26"/>
                    <a:pt x="24" y="29"/>
                  </a:cubicBezTo>
                  <a:cubicBezTo>
                    <a:pt x="24" y="30"/>
                    <a:pt x="25" y="30"/>
                    <a:pt x="25" y="31"/>
                  </a:cubicBezTo>
                  <a:cubicBezTo>
                    <a:pt x="26" y="31"/>
                    <a:pt x="26" y="31"/>
                    <a:pt x="27" y="31"/>
                  </a:cubicBezTo>
                  <a:cubicBezTo>
                    <a:pt x="25" y="28"/>
                    <a:pt x="22" y="24"/>
                    <a:pt x="20" y="21"/>
                  </a:cubicBezTo>
                  <a:cubicBezTo>
                    <a:pt x="19" y="20"/>
                    <a:pt x="18" y="20"/>
                    <a:pt x="18" y="20"/>
                  </a:cubicBezTo>
                  <a:moveTo>
                    <a:pt x="5" y="0"/>
                  </a:moveTo>
                  <a:cubicBezTo>
                    <a:pt x="3" y="0"/>
                    <a:pt x="1" y="1"/>
                    <a:pt x="0" y="2"/>
                  </a:cubicBezTo>
                  <a:cubicBezTo>
                    <a:pt x="1" y="3"/>
                    <a:pt x="3" y="5"/>
                    <a:pt x="4" y="6"/>
                  </a:cubicBezTo>
                  <a:cubicBezTo>
                    <a:pt x="6" y="9"/>
                    <a:pt x="9" y="11"/>
                    <a:pt x="11" y="14"/>
                  </a:cubicBezTo>
                  <a:cubicBezTo>
                    <a:pt x="12" y="14"/>
                    <a:pt x="13" y="13"/>
                    <a:pt x="14" y="13"/>
                  </a:cubicBezTo>
                  <a:cubicBezTo>
                    <a:pt x="14" y="13"/>
                    <a:pt x="14" y="13"/>
                    <a:pt x="14" y="12"/>
                  </a:cubicBezTo>
                  <a:cubicBezTo>
                    <a:pt x="11" y="8"/>
                    <a:pt x="8" y="4"/>
                    <a:pt x="5" y="0"/>
                  </a:cubicBezTo>
                </a:path>
              </a:pathLst>
            </a:custGeom>
            <a:solidFill>
              <a:srgbClr val="9A78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4" name="Freeform 21580">
              <a:extLst>
                <a:ext uri="{FF2B5EF4-FFF2-40B4-BE49-F238E27FC236}">
                  <a16:creationId xmlns:a16="http://schemas.microsoft.com/office/drawing/2014/main" id="{25436CDD-9EBE-45D6-A1D1-B6604ADD80C6}"/>
                </a:ext>
              </a:extLst>
            </p:cNvPr>
            <p:cNvSpPr>
              <a:spLocks noEditPoints="1"/>
            </p:cNvSpPr>
            <p:nvPr userDrawn="1"/>
          </p:nvSpPr>
          <p:spPr bwMode="auto">
            <a:xfrm>
              <a:off x="10002203" y="3752215"/>
              <a:ext cx="41275" cy="49213"/>
            </a:xfrm>
            <a:custGeom>
              <a:avLst/>
              <a:gdLst>
                <a:gd name="T0" fmla="*/ 14 w 20"/>
                <a:gd name="T1" fmla="*/ 19 h 25"/>
                <a:gd name="T2" fmla="*/ 20 w 20"/>
                <a:gd name="T3" fmla="*/ 25 h 25"/>
                <a:gd name="T4" fmla="*/ 16 w 20"/>
                <a:gd name="T5" fmla="*/ 19 h 25"/>
                <a:gd name="T6" fmla="*/ 14 w 20"/>
                <a:gd name="T7" fmla="*/ 19 h 25"/>
                <a:gd name="T8" fmla="*/ 3 w 20"/>
                <a:gd name="T9" fmla="*/ 0 h 25"/>
                <a:gd name="T10" fmla="*/ 3 w 20"/>
                <a:gd name="T11" fmla="*/ 1 h 25"/>
                <a:gd name="T12" fmla="*/ 0 w 20"/>
                <a:gd name="T13" fmla="*/ 2 h 25"/>
                <a:gd name="T14" fmla="*/ 6 w 20"/>
                <a:gd name="T15" fmla="*/ 8 h 25"/>
                <a:gd name="T16" fmla="*/ 7 w 20"/>
                <a:gd name="T17" fmla="*/ 8 h 25"/>
                <a:gd name="T18" fmla="*/ 9 w 20"/>
                <a:gd name="T19" fmla="*/ 9 h 25"/>
                <a:gd name="T20" fmla="*/ 3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14" y="19"/>
                  </a:moveTo>
                  <a:cubicBezTo>
                    <a:pt x="16" y="21"/>
                    <a:pt x="18" y="23"/>
                    <a:pt x="20" y="25"/>
                  </a:cubicBezTo>
                  <a:cubicBezTo>
                    <a:pt x="19" y="23"/>
                    <a:pt x="17" y="21"/>
                    <a:pt x="16" y="19"/>
                  </a:cubicBezTo>
                  <a:cubicBezTo>
                    <a:pt x="15" y="19"/>
                    <a:pt x="15" y="19"/>
                    <a:pt x="14" y="19"/>
                  </a:cubicBezTo>
                  <a:moveTo>
                    <a:pt x="3" y="0"/>
                  </a:moveTo>
                  <a:cubicBezTo>
                    <a:pt x="3" y="1"/>
                    <a:pt x="3" y="1"/>
                    <a:pt x="3" y="1"/>
                  </a:cubicBezTo>
                  <a:cubicBezTo>
                    <a:pt x="2" y="1"/>
                    <a:pt x="1" y="2"/>
                    <a:pt x="0" y="2"/>
                  </a:cubicBezTo>
                  <a:cubicBezTo>
                    <a:pt x="2" y="4"/>
                    <a:pt x="4" y="6"/>
                    <a:pt x="6" y="8"/>
                  </a:cubicBezTo>
                  <a:cubicBezTo>
                    <a:pt x="6" y="8"/>
                    <a:pt x="6" y="8"/>
                    <a:pt x="7" y="8"/>
                  </a:cubicBezTo>
                  <a:cubicBezTo>
                    <a:pt x="7" y="8"/>
                    <a:pt x="8" y="8"/>
                    <a:pt x="9" y="9"/>
                  </a:cubicBezTo>
                  <a:cubicBezTo>
                    <a:pt x="7" y="6"/>
                    <a:pt x="5" y="3"/>
                    <a:pt x="3" y="0"/>
                  </a:cubicBezTo>
                </a:path>
              </a:pathLst>
            </a:custGeom>
            <a:solidFill>
              <a:srgbClr val="3A3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1" name="Freeform: Shape 1370">
              <a:extLst>
                <a:ext uri="{FF2B5EF4-FFF2-40B4-BE49-F238E27FC236}">
                  <a16:creationId xmlns:a16="http://schemas.microsoft.com/office/drawing/2014/main" id="{751D9018-7A6E-440C-BF11-0E3ACC3C2D27}"/>
                </a:ext>
              </a:extLst>
            </p:cNvPr>
            <p:cNvSpPr>
              <a:spLocks/>
            </p:cNvSpPr>
            <p:nvPr userDrawn="1"/>
          </p:nvSpPr>
          <p:spPr bwMode="auto">
            <a:xfrm>
              <a:off x="9945222" y="5595439"/>
              <a:ext cx="1383085" cy="1262561"/>
            </a:xfrm>
            <a:custGeom>
              <a:avLst/>
              <a:gdLst>
                <a:gd name="connsiteX0" fmla="*/ 403572 w 1383085"/>
                <a:gd name="connsiteY0" fmla="*/ 844 h 1262561"/>
                <a:gd name="connsiteX1" fmla="*/ 457639 w 1383085"/>
                <a:gd name="connsiteY1" fmla="*/ 33090 h 1262561"/>
                <a:gd name="connsiteX2" fmla="*/ 1329352 w 1383085"/>
                <a:gd name="connsiteY2" fmla="*/ 1191175 h 1262561"/>
                <a:gd name="connsiteX3" fmla="*/ 1383085 w 1383085"/>
                <a:gd name="connsiteY3" fmla="*/ 1262561 h 1262561"/>
                <a:gd name="connsiteX4" fmla="*/ 693673 w 1383085"/>
                <a:gd name="connsiteY4" fmla="*/ 1262561 h 1262561"/>
                <a:gd name="connsiteX5" fmla="*/ 678174 w 1383085"/>
                <a:gd name="connsiteY5" fmla="*/ 1241971 h 1262561"/>
                <a:gd name="connsiteX6" fmla="*/ 17016 w 1383085"/>
                <a:gd name="connsiteY6" fmla="*/ 363611 h 1262561"/>
                <a:gd name="connsiteX7" fmla="*/ 33186 w 1383085"/>
                <a:gd name="connsiteY7" fmla="*/ 246719 h 1262561"/>
                <a:gd name="connsiteX8" fmla="*/ 340409 w 1383085"/>
                <a:gd name="connsiteY8" fmla="*/ 16967 h 1262561"/>
                <a:gd name="connsiteX9" fmla="*/ 403572 w 1383085"/>
                <a:gd name="connsiteY9" fmla="*/ 844 h 126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085" h="1262561">
                  <a:moveTo>
                    <a:pt x="403572" y="844"/>
                  </a:moveTo>
                  <a:cubicBezTo>
                    <a:pt x="424794" y="3867"/>
                    <a:pt x="444501" y="14951"/>
                    <a:pt x="457639" y="33090"/>
                  </a:cubicBezTo>
                  <a:cubicBezTo>
                    <a:pt x="847606" y="551167"/>
                    <a:pt x="1127894" y="923536"/>
                    <a:pt x="1329352" y="1191175"/>
                  </a:cubicBezTo>
                  <a:lnTo>
                    <a:pt x="1383085" y="1262561"/>
                  </a:lnTo>
                  <a:lnTo>
                    <a:pt x="693673" y="1262561"/>
                  </a:lnTo>
                  <a:lnTo>
                    <a:pt x="678174" y="1241971"/>
                  </a:lnTo>
                  <a:cubicBezTo>
                    <a:pt x="17016" y="363611"/>
                    <a:pt x="17016" y="363611"/>
                    <a:pt x="17016" y="363611"/>
                  </a:cubicBezTo>
                  <a:cubicBezTo>
                    <a:pt x="-11281" y="327334"/>
                    <a:pt x="-3196" y="274935"/>
                    <a:pt x="33186" y="246719"/>
                  </a:cubicBezTo>
                  <a:cubicBezTo>
                    <a:pt x="340409" y="16967"/>
                    <a:pt x="340409" y="16967"/>
                    <a:pt x="340409" y="16967"/>
                  </a:cubicBezTo>
                  <a:cubicBezTo>
                    <a:pt x="359611" y="2859"/>
                    <a:pt x="382349" y="-2179"/>
                    <a:pt x="403572" y="844"/>
                  </a:cubicBez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166" name="Freeform 21582">
              <a:extLst>
                <a:ext uri="{FF2B5EF4-FFF2-40B4-BE49-F238E27FC236}">
                  <a16:creationId xmlns:a16="http://schemas.microsoft.com/office/drawing/2014/main" id="{35B65FC8-4EAC-4F32-BA99-4F2EAB48CA61}"/>
                </a:ext>
              </a:extLst>
            </p:cNvPr>
            <p:cNvSpPr>
              <a:spLocks/>
            </p:cNvSpPr>
            <p:nvPr userDrawn="1"/>
          </p:nvSpPr>
          <p:spPr bwMode="auto">
            <a:xfrm>
              <a:off x="8290878" y="2871153"/>
              <a:ext cx="2287588" cy="2387600"/>
            </a:xfrm>
            <a:custGeom>
              <a:avLst/>
              <a:gdLst>
                <a:gd name="T0" fmla="*/ 874 w 1132"/>
                <a:gd name="T1" fmla="*/ 1130 h 1185"/>
                <a:gd name="T2" fmla="*/ 861 w 1132"/>
                <a:gd name="T3" fmla="*/ 376 h 1185"/>
                <a:gd name="T4" fmla="*/ 47 w 1132"/>
                <a:gd name="T5" fmla="*/ 270 h 1185"/>
                <a:gd name="T6" fmla="*/ 0 w 1132"/>
                <a:gd name="T7" fmla="*/ 207 h 1185"/>
                <a:gd name="T8" fmla="*/ 922 w 1132"/>
                <a:gd name="T9" fmla="*/ 326 h 1185"/>
                <a:gd name="T10" fmla="*/ 932 w 1132"/>
                <a:gd name="T11" fmla="*/ 1185 h 1185"/>
                <a:gd name="T12" fmla="*/ 874 w 1132"/>
                <a:gd name="T13" fmla="*/ 1130 h 1185"/>
              </a:gdLst>
              <a:ahLst/>
              <a:cxnLst>
                <a:cxn ang="0">
                  <a:pos x="T0" y="T1"/>
                </a:cxn>
                <a:cxn ang="0">
                  <a:pos x="T2" y="T3"/>
                </a:cxn>
                <a:cxn ang="0">
                  <a:pos x="T4" y="T5"/>
                </a:cxn>
                <a:cxn ang="0">
                  <a:pos x="T6" y="T7"/>
                </a:cxn>
                <a:cxn ang="0">
                  <a:pos x="T8" y="T9"/>
                </a:cxn>
                <a:cxn ang="0">
                  <a:pos x="T10" y="T11"/>
                </a:cxn>
                <a:cxn ang="0">
                  <a:pos x="T12" y="T13"/>
                </a:cxn>
              </a:cxnLst>
              <a:rect l="0" t="0" r="r" b="b"/>
              <a:pathLst>
                <a:path w="1132" h="1185">
                  <a:moveTo>
                    <a:pt x="874" y="1130"/>
                  </a:moveTo>
                  <a:cubicBezTo>
                    <a:pt x="1044" y="912"/>
                    <a:pt x="1045" y="598"/>
                    <a:pt x="861" y="376"/>
                  </a:cubicBezTo>
                  <a:cubicBezTo>
                    <a:pt x="658" y="131"/>
                    <a:pt x="302" y="88"/>
                    <a:pt x="47" y="270"/>
                  </a:cubicBezTo>
                  <a:cubicBezTo>
                    <a:pt x="0" y="207"/>
                    <a:pt x="0" y="207"/>
                    <a:pt x="0" y="207"/>
                  </a:cubicBezTo>
                  <a:cubicBezTo>
                    <a:pt x="288" y="0"/>
                    <a:pt x="692" y="48"/>
                    <a:pt x="922" y="326"/>
                  </a:cubicBezTo>
                  <a:cubicBezTo>
                    <a:pt x="1132" y="578"/>
                    <a:pt x="1128" y="937"/>
                    <a:pt x="932" y="1185"/>
                  </a:cubicBezTo>
                  <a:lnTo>
                    <a:pt x="874" y="1130"/>
                  </a:lnTo>
                  <a:close/>
                </a:path>
              </a:pathLst>
            </a:custGeom>
            <a:solidFill>
              <a:srgbClr val="27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7" name="Freeform 21583">
              <a:extLst>
                <a:ext uri="{FF2B5EF4-FFF2-40B4-BE49-F238E27FC236}">
                  <a16:creationId xmlns:a16="http://schemas.microsoft.com/office/drawing/2014/main" id="{A82DF755-0DCF-4202-8C72-961BAAB6C536}"/>
                </a:ext>
              </a:extLst>
            </p:cNvPr>
            <p:cNvSpPr>
              <a:spLocks noEditPoints="1"/>
            </p:cNvSpPr>
            <p:nvPr userDrawn="1"/>
          </p:nvSpPr>
          <p:spPr bwMode="auto">
            <a:xfrm>
              <a:off x="10208578" y="5569903"/>
              <a:ext cx="287338" cy="180975"/>
            </a:xfrm>
            <a:custGeom>
              <a:avLst/>
              <a:gdLst>
                <a:gd name="T0" fmla="*/ 96 w 142"/>
                <a:gd name="T1" fmla="*/ 28 h 90"/>
                <a:gd name="T2" fmla="*/ 96 w 142"/>
                <a:gd name="T3" fmla="*/ 29 h 90"/>
                <a:gd name="T4" fmla="*/ 142 w 142"/>
                <a:gd name="T5" fmla="*/ 90 h 90"/>
                <a:gd name="T6" fmla="*/ 96 w 142"/>
                <a:gd name="T7" fmla="*/ 29 h 90"/>
                <a:gd name="T8" fmla="*/ 96 w 142"/>
                <a:gd name="T9" fmla="*/ 28 h 90"/>
                <a:gd name="T10" fmla="*/ 94 w 142"/>
                <a:gd name="T11" fmla="*/ 27 h 90"/>
                <a:gd name="T12" fmla="*/ 96 w 142"/>
                <a:gd name="T13" fmla="*/ 28 h 90"/>
                <a:gd name="T14" fmla="*/ 94 w 142"/>
                <a:gd name="T15" fmla="*/ 27 h 90"/>
                <a:gd name="T16" fmla="*/ 63 w 142"/>
                <a:gd name="T17" fmla="*/ 13 h 90"/>
                <a:gd name="T18" fmla="*/ 39 w 142"/>
                <a:gd name="T19" fmla="*/ 20 h 90"/>
                <a:gd name="T20" fmla="*/ 63 w 142"/>
                <a:gd name="T21" fmla="*/ 13 h 90"/>
                <a:gd name="T22" fmla="*/ 63 w 142"/>
                <a:gd name="T23" fmla="*/ 13 h 90"/>
                <a:gd name="T24" fmla="*/ 63 w 142"/>
                <a:gd name="T25" fmla="*/ 13 h 90"/>
                <a:gd name="T26" fmla="*/ 63 w 142"/>
                <a:gd name="T27" fmla="*/ 13 h 90"/>
                <a:gd name="T28" fmla="*/ 63 w 142"/>
                <a:gd name="T29" fmla="*/ 13 h 90"/>
                <a:gd name="T30" fmla="*/ 0 w 142"/>
                <a:gd name="T31" fmla="*/ 0 h 90"/>
                <a:gd name="T32" fmla="*/ 24 w 142"/>
                <a:gd name="T33" fmla="*/ 32 h 90"/>
                <a:gd name="T34" fmla="*/ 38 w 142"/>
                <a:gd name="T35" fmla="*/ 21 h 90"/>
                <a:gd name="T36" fmla="*/ 39 w 142"/>
                <a:gd name="T37" fmla="*/ 20 h 90"/>
                <a:gd name="T38" fmla="*/ 38 w 142"/>
                <a:gd name="T39" fmla="*/ 21 h 90"/>
                <a:gd name="T40" fmla="*/ 24 w 142"/>
                <a:gd name="T41" fmla="*/ 32 h 90"/>
                <a:gd name="T42" fmla="*/ 0 w 142"/>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90">
                  <a:moveTo>
                    <a:pt x="96" y="28"/>
                  </a:moveTo>
                  <a:cubicBezTo>
                    <a:pt x="96" y="29"/>
                    <a:pt x="96" y="29"/>
                    <a:pt x="96" y="29"/>
                  </a:cubicBezTo>
                  <a:cubicBezTo>
                    <a:pt x="142" y="90"/>
                    <a:pt x="142" y="90"/>
                    <a:pt x="142" y="90"/>
                  </a:cubicBezTo>
                  <a:cubicBezTo>
                    <a:pt x="96" y="29"/>
                    <a:pt x="96" y="29"/>
                    <a:pt x="96" y="29"/>
                  </a:cubicBezTo>
                  <a:cubicBezTo>
                    <a:pt x="96" y="29"/>
                    <a:pt x="96" y="29"/>
                    <a:pt x="96" y="28"/>
                  </a:cubicBezTo>
                  <a:moveTo>
                    <a:pt x="94" y="27"/>
                  </a:moveTo>
                  <a:cubicBezTo>
                    <a:pt x="95" y="27"/>
                    <a:pt x="95" y="28"/>
                    <a:pt x="96" y="28"/>
                  </a:cubicBezTo>
                  <a:cubicBezTo>
                    <a:pt x="95" y="28"/>
                    <a:pt x="95" y="27"/>
                    <a:pt x="94" y="27"/>
                  </a:cubicBezTo>
                  <a:moveTo>
                    <a:pt x="63" y="13"/>
                  </a:moveTo>
                  <a:cubicBezTo>
                    <a:pt x="55" y="13"/>
                    <a:pt x="46" y="15"/>
                    <a:pt x="39" y="20"/>
                  </a:cubicBezTo>
                  <a:cubicBezTo>
                    <a:pt x="46" y="15"/>
                    <a:pt x="55" y="13"/>
                    <a:pt x="63" y="13"/>
                  </a:cubicBezTo>
                  <a:moveTo>
                    <a:pt x="63" y="13"/>
                  </a:moveTo>
                  <a:cubicBezTo>
                    <a:pt x="63" y="13"/>
                    <a:pt x="63" y="13"/>
                    <a:pt x="63" y="13"/>
                  </a:cubicBezTo>
                  <a:cubicBezTo>
                    <a:pt x="63" y="13"/>
                    <a:pt x="63" y="13"/>
                    <a:pt x="63" y="13"/>
                  </a:cubicBezTo>
                  <a:cubicBezTo>
                    <a:pt x="63" y="13"/>
                    <a:pt x="63" y="13"/>
                    <a:pt x="63" y="13"/>
                  </a:cubicBezTo>
                  <a:moveTo>
                    <a:pt x="0" y="0"/>
                  </a:moveTo>
                  <a:cubicBezTo>
                    <a:pt x="24" y="32"/>
                    <a:pt x="24" y="32"/>
                    <a:pt x="24" y="32"/>
                  </a:cubicBezTo>
                  <a:cubicBezTo>
                    <a:pt x="38" y="21"/>
                    <a:pt x="38" y="21"/>
                    <a:pt x="38" y="21"/>
                  </a:cubicBezTo>
                  <a:cubicBezTo>
                    <a:pt x="38" y="21"/>
                    <a:pt x="39" y="21"/>
                    <a:pt x="39" y="20"/>
                  </a:cubicBezTo>
                  <a:cubicBezTo>
                    <a:pt x="39" y="21"/>
                    <a:pt x="38" y="21"/>
                    <a:pt x="38" y="21"/>
                  </a:cubicBezTo>
                  <a:cubicBezTo>
                    <a:pt x="24" y="32"/>
                    <a:pt x="24" y="32"/>
                    <a:pt x="24" y="32"/>
                  </a:cubicBezTo>
                  <a:cubicBezTo>
                    <a:pt x="0" y="0"/>
                    <a:pt x="0" y="0"/>
                    <a:pt x="0" y="0"/>
                  </a:cubicBezTo>
                </a:path>
              </a:pathLst>
            </a:custGeom>
            <a:solidFill>
              <a:srgbClr val="D7D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8" name="Freeform 21584">
              <a:extLst>
                <a:ext uri="{FF2B5EF4-FFF2-40B4-BE49-F238E27FC236}">
                  <a16:creationId xmlns:a16="http://schemas.microsoft.com/office/drawing/2014/main" id="{0E481BE1-900B-42C5-8C5A-098160A10025}"/>
                </a:ext>
              </a:extLst>
            </p:cNvPr>
            <p:cNvSpPr>
              <a:spLocks/>
            </p:cNvSpPr>
            <p:nvPr userDrawn="1"/>
          </p:nvSpPr>
          <p:spPr bwMode="auto">
            <a:xfrm>
              <a:off x="9943465" y="5380990"/>
              <a:ext cx="314325" cy="350838"/>
            </a:xfrm>
            <a:custGeom>
              <a:avLst/>
              <a:gdLst>
                <a:gd name="T0" fmla="*/ 60 w 155"/>
                <a:gd name="T1" fmla="*/ 0 h 174"/>
                <a:gd name="T2" fmla="*/ 15 w 155"/>
                <a:gd name="T3" fmla="*/ 41 h 174"/>
                <a:gd name="T4" fmla="*/ 0 w 155"/>
                <a:gd name="T5" fmla="*/ 53 h 174"/>
                <a:gd name="T6" fmla="*/ 91 w 155"/>
                <a:gd name="T7" fmla="*/ 174 h 174"/>
                <a:gd name="T8" fmla="*/ 155 w 155"/>
                <a:gd name="T9" fmla="*/ 126 h 174"/>
                <a:gd name="T10" fmla="*/ 131 w 155"/>
                <a:gd name="T11" fmla="*/ 94 h 174"/>
                <a:gd name="T12" fmla="*/ 60 w 155"/>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55" h="174">
                  <a:moveTo>
                    <a:pt x="60" y="0"/>
                  </a:moveTo>
                  <a:cubicBezTo>
                    <a:pt x="46" y="14"/>
                    <a:pt x="31" y="28"/>
                    <a:pt x="15" y="41"/>
                  </a:cubicBezTo>
                  <a:cubicBezTo>
                    <a:pt x="10" y="45"/>
                    <a:pt x="5" y="49"/>
                    <a:pt x="0" y="53"/>
                  </a:cubicBezTo>
                  <a:cubicBezTo>
                    <a:pt x="91" y="174"/>
                    <a:pt x="91" y="174"/>
                    <a:pt x="91" y="174"/>
                  </a:cubicBezTo>
                  <a:cubicBezTo>
                    <a:pt x="155" y="126"/>
                    <a:pt x="155" y="126"/>
                    <a:pt x="155" y="126"/>
                  </a:cubicBezTo>
                  <a:cubicBezTo>
                    <a:pt x="131" y="94"/>
                    <a:pt x="131" y="94"/>
                    <a:pt x="131" y="94"/>
                  </a:cubicBezTo>
                  <a:cubicBezTo>
                    <a:pt x="60" y="0"/>
                    <a:pt x="60" y="0"/>
                    <a:pt x="60" y="0"/>
                  </a:cubicBezTo>
                </a:path>
              </a:pathLst>
            </a:custGeom>
            <a:solidFill>
              <a:srgbClr val="D35E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9" name="Freeform 21585">
              <a:extLst>
                <a:ext uri="{FF2B5EF4-FFF2-40B4-BE49-F238E27FC236}">
                  <a16:creationId xmlns:a16="http://schemas.microsoft.com/office/drawing/2014/main" id="{6686D4B2-3997-4524-8365-305D92F1C158}"/>
                </a:ext>
              </a:extLst>
            </p:cNvPr>
            <p:cNvSpPr>
              <a:spLocks/>
            </p:cNvSpPr>
            <p:nvPr userDrawn="1"/>
          </p:nvSpPr>
          <p:spPr bwMode="auto">
            <a:xfrm>
              <a:off x="9943465" y="5377815"/>
              <a:ext cx="122238" cy="109538"/>
            </a:xfrm>
            <a:custGeom>
              <a:avLst/>
              <a:gdLst>
                <a:gd name="T0" fmla="*/ 60 w 60"/>
                <a:gd name="T1" fmla="*/ 0 h 54"/>
                <a:gd name="T2" fmla="*/ 0 w 60"/>
                <a:gd name="T3" fmla="*/ 53 h 54"/>
                <a:gd name="T4" fmla="*/ 0 w 60"/>
                <a:gd name="T5" fmla="*/ 54 h 54"/>
                <a:gd name="T6" fmla="*/ 15 w 60"/>
                <a:gd name="T7" fmla="*/ 42 h 54"/>
                <a:gd name="T8" fmla="*/ 60 w 60"/>
                <a:gd name="T9" fmla="*/ 1 h 54"/>
                <a:gd name="T10" fmla="*/ 60 w 60"/>
                <a:gd name="T11" fmla="*/ 0 h 54"/>
                <a:gd name="T12" fmla="*/ 60 w 60"/>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0" h="54">
                  <a:moveTo>
                    <a:pt x="60" y="0"/>
                  </a:moveTo>
                  <a:cubicBezTo>
                    <a:pt x="60" y="0"/>
                    <a:pt x="3" y="50"/>
                    <a:pt x="0" y="53"/>
                  </a:cubicBezTo>
                  <a:cubicBezTo>
                    <a:pt x="0" y="54"/>
                    <a:pt x="0" y="54"/>
                    <a:pt x="0" y="54"/>
                  </a:cubicBezTo>
                  <a:cubicBezTo>
                    <a:pt x="5" y="50"/>
                    <a:pt x="10" y="46"/>
                    <a:pt x="15" y="42"/>
                  </a:cubicBezTo>
                  <a:cubicBezTo>
                    <a:pt x="31" y="29"/>
                    <a:pt x="46" y="15"/>
                    <a:pt x="60" y="1"/>
                  </a:cubicBezTo>
                  <a:cubicBezTo>
                    <a:pt x="60" y="0"/>
                    <a:pt x="60" y="0"/>
                    <a:pt x="60" y="0"/>
                  </a:cubicBezTo>
                  <a:cubicBezTo>
                    <a:pt x="60" y="0"/>
                    <a:pt x="60" y="0"/>
                    <a:pt x="60" y="0"/>
                  </a:cubicBezTo>
                </a:path>
              </a:pathLst>
            </a:custGeom>
            <a:solidFill>
              <a:srgbClr val="28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70" name="Freeform 21586">
              <a:extLst>
                <a:ext uri="{FF2B5EF4-FFF2-40B4-BE49-F238E27FC236}">
                  <a16:creationId xmlns:a16="http://schemas.microsoft.com/office/drawing/2014/main" id="{A5DC1EC6-2CB1-4636-B299-C83A2970EB4A}"/>
                </a:ext>
              </a:extLst>
            </p:cNvPr>
            <p:cNvSpPr>
              <a:spLocks/>
            </p:cNvSpPr>
            <p:nvPr userDrawn="1"/>
          </p:nvSpPr>
          <p:spPr bwMode="auto">
            <a:xfrm>
              <a:off x="10127615" y="5596890"/>
              <a:ext cx="982663" cy="971550"/>
            </a:xfrm>
            <a:custGeom>
              <a:avLst/>
              <a:gdLst>
                <a:gd name="T0" fmla="*/ 103 w 486"/>
                <a:gd name="T1" fmla="*/ 0 h 482"/>
                <a:gd name="T2" fmla="*/ 103 w 486"/>
                <a:gd name="T3" fmla="*/ 0 h 482"/>
                <a:gd name="T4" fmla="*/ 79 w 486"/>
                <a:gd name="T5" fmla="*/ 7 h 482"/>
                <a:gd name="T6" fmla="*/ 79 w 486"/>
                <a:gd name="T7" fmla="*/ 7 h 482"/>
                <a:gd name="T8" fmla="*/ 78 w 486"/>
                <a:gd name="T9" fmla="*/ 8 h 482"/>
                <a:gd name="T10" fmla="*/ 64 w 486"/>
                <a:gd name="T11" fmla="*/ 19 h 482"/>
                <a:gd name="T12" fmla="*/ 0 w 486"/>
                <a:gd name="T13" fmla="*/ 67 h 482"/>
                <a:gd name="T14" fmla="*/ 121 w 486"/>
                <a:gd name="T15" fmla="*/ 228 h 482"/>
                <a:gd name="T16" fmla="*/ 154 w 486"/>
                <a:gd name="T17" fmla="*/ 220 h 482"/>
                <a:gd name="T18" fmla="*/ 165 w 486"/>
                <a:gd name="T19" fmla="*/ 221 h 482"/>
                <a:gd name="T20" fmla="*/ 321 w 486"/>
                <a:gd name="T21" fmla="*/ 312 h 482"/>
                <a:gd name="T22" fmla="*/ 486 w 486"/>
                <a:gd name="T23" fmla="*/ 482 h 482"/>
                <a:gd name="T24" fmla="*/ 436 w 486"/>
                <a:gd name="T25" fmla="*/ 415 h 482"/>
                <a:gd name="T26" fmla="*/ 421 w 486"/>
                <a:gd name="T27" fmla="*/ 395 h 482"/>
                <a:gd name="T28" fmla="*/ 409 w 486"/>
                <a:gd name="T29" fmla="*/ 380 h 482"/>
                <a:gd name="T30" fmla="*/ 273 w 486"/>
                <a:gd name="T31" fmla="*/ 198 h 482"/>
                <a:gd name="T32" fmla="*/ 268 w 486"/>
                <a:gd name="T33" fmla="*/ 191 h 482"/>
                <a:gd name="T34" fmla="*/ 229 w 486"/>
                <a:gd name="T35" fmla="*/ 139 h 482"/>
                <a:gd name="T36" fmla="*/ 195 w 486"/>
                <a:gd name="T37" fmla="*/ 95 h 482"/>
                <a:gd name="T38" fmla="*/ 192 w 486"/>
                <a:gd name="T39" fmla="*/ 91 h 482"/>
                <a:gd name="T40" fmla="*/ 185 w 486"/>
                <a:gd name="T41" fmla="*/ 81 h 482"/>
                <a:gd name="T42" fmla="*/ 182 w 486"/>
                <a:gd name="T43" fmla="*/ 77 h 482"/>
                <a:gd name="T44" fmla="*/ 136 w 486"/>
                <a:gd name="T45" fmla="*/ 16 h 482"/>
                <a:gd name="T46" fmla="*/ 136 w 486"/>
                <a:gd name="T47" fmla="*/ 15 h 482"/>
                <a:gd name="T48" fmla="*/ 136 w 486"/>
                <a:gd name="T49" fmla="*/ 15 h 482"/>
                <a:gd name="T50" fmla="*/ 134 w 486"/>
                <a:gd name="T51" fmla="*/ 14 h 482"/>
                <a:gd name="T52" fmla="*/ 103 w 486"/>
                <a:gd name="T53" fmla="*/ 0 h 482"/>
                <a:gd name="T54" fmla="*/ 103 w 486"/>
                <a:gd name="T55"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82">
                  <a:moveTo>
                    <a:pt x="103" y="0"/>
                  </a:moveTo>
                  <a:cubicBezTo>
                    <a:pt x="103" y="0"/>
                    <a:pt x="103" y="0"/>
                    <a:pt x="103" y="0"/>
                  </a:cubicBezTo>
                  <a:cubicBezTo>
                    <a:pt x="95" y="0"/>
                    <a:pt x="86" y="2"/>
                    <a:pt x="79" y="7"/>
                  </a:cubicBezTo>
                  <a:cubicBezTo>
                    <a:pt x="79" y="7"/>
                    <a:pt x="79" y="7"/>
                    <a:pt x="79" y="7"/>
                  </a:cubicBezTo>
                  <a:cubicBezTo>
                    <a:pt x="79" y="8"/>
                    <a:pt x="78" y="8"/>
                    <a:pt x="78" y="8"/>
                  </a:cubicBezTo>
                  <a:cubicBezTo>
                    <a:pt x="64" y="19"/>
                    <a:pt x="64" y="19"/>
                    <a:pt x="64" y="19"/>
                  </a:cubicBezTo>
                  <a:cubicBezTo>
                    <a:pt x="0" y="67"/>
                    <a:pt x="0" y="67"/>
                    <a:pt x="0" y="67"/>
                  </a:cubicBezTo>
                  <a:cubicBezTo>
                    <a:pt x="121" y="228"/>
                    <a:pt x="121" y="228"/>
                    <a:pt x="121" y="228"/>
                  </a:cubicBezTo>
                  <a:cubicBezTo>
                    <a:pt x="132" y="223"/>
                    <a:pt x="143" y="220"/>
                    <a:pt x="154" y="220"/>
                  </a:cubicBezTo>
                  <a:cubicBezTo>
                    <a:pt x="158" y="220"/>
                    <a:pt x="161" y="220"/>
                    <a:pt x="165" y="221"/>
                  </a:cubicBezTo>
                  <a:cubicBezTo>
                    <a:pt x="224" y="230"/>
                    <a:pt x="279" y="272"/>
                    <a:pt x="321" y="312"/>
                  </a:cubicBezTo>
                  <a:cubicBezTo>
                    <a:pt x="376" y="364"/>
                    <a:pt x="417" y="438"/>
                    <a:pt x="486" y="482"/>
                  </a:cubicBezTo>
                  <a:cubicBezTo>
                    <a:pt x="436" y="415"/>
                    <a:pt x="436" y="415"/>
                    <a:pt x="436" y="415"/>
                  </a:cubicBezTo>
                  <a:cubicBezTo>
                    <a:pt x="421" y="395"/>
                    <a:pt x="421" y="395"/>
                    <a:pt x="421" y="395"/>
                  </a:cubicBezTo>
                  <a:cubicBezTo>
                    <a:pt x="409" y="380"/>
                    <a:pt x="409" y="380"/>
                    <a:pt x="409" y="380"/>
                  </a:cubicBezTo>
                  <a:cubicBezTo>
                    <a:pt x="273" y="198"/>
                    <a:pt x="273" y="198"/>
                    <a:pt x="273" y="198"/>
                  </a:cubicBezTo>
                  <a:cubicBezTo>
                    <a:pt x="268" y="191"/>
                    <a:pt x="268" y="191"/>
                    <a:pt x="268" y="191"/>
                  </a:cubicBezTo>
                  <a:cubicBezTo>
                    <a:pt x="229" y="139"/>
                    <a:pt x="229" y="139"/>
                    <a:pt x="229" y="139"/>
                  </a:cubicBezTo>
                  <a:cubicBezTo>
                    <a:pt x="195" y="95"/>
                    <a:pt x="195" y="95"/>
                    <a:pt x="195" y="95"/>
                  </a:cubicBezTo>
                  <a:cubicBezTo>
                    <a:pt x="192" y="91"/>
                    <a:pt x="192" y="91"/>
                    <a:pt x="192" y="91"/>
                  </a:cubicBezTo>
                  <a:cubicBezTo>
                    <a:pt x="185" y="81"/>
                    <a:pt x="185" y="81"/>
                    <a:pt x="185" y="81"/>
                  </a:cubicBezTo>
                  <a:cubicBezTo>
                    <a:pt x="182" y="77"/>
                    <a:pt x="182" y="77"/>
                    <a:pt x="182" y="77"/>
                  </a:cubicBezTo>
                  <a:cubicBezTo>
                    <a:pt x="136" y="16"/>
                    <a:pt x="136" y="16"/>
                    <a:pt x="136" y="16"/>
                  </a:cubicBezTo>
                  <a:cubicBezTo>
                    <a:pt x="136" y="16"/>
                    <a:pt x="136" y="16"/>
                    <a:pt x="136" y="15"/>
                  </a:cubicBezTo>
                  <a:cubicBezTo>
                    <a:pt x="136" y="15"/>
                    <a:pt x="136" y="15"/>
                    <a:pt x="136" y="15"/>
                  </a:cubicBezTo>
                  <a:cubicBezTo>
                    <a:pt x="135" y="15"/>
                    <a:pt x="135" y="14"/>
                    <a:pt x="134" y="14"/>
                  </a:cubicBezTo>
                  <a:cubicBezTo>
                    <a:pt x="126" y="4"/>
                    <a:pt x="115" y="0"/>
                    <a:pt x="103" y="0"/>
                  </a:cubicBezTo>
                  <a:cubicBezTo>
                    <a:pt x="103" y="0"/>
                    <a:pt x="103" y="0"/>
                    <a:pt x="103" y="0"/>
                  </a:cubicBezTo>
                </a:path>
              </a:pathLst>
            </a:custGeom>
            <a:solidFill>
              <a:srgbClr val="D35E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2" name="Freeform: Shape 1371">
              <a:extLst>
                <a:ext uri="{FF2B5EF4-FFF2-40B4-BE49-F238E27FC236}">
                  <a16:creationId xmlns:a16="http://schemas.microsoft.com/office/drawing/2014/main" id="{346A835C-D323-4111-8286-4CED515D746B}"/>
                </a:ext>
              </a:extLst>
            </p:cNvPr>
            <p:cNvSpPr>
              <a:spLocks/>
            </p:cNvSpPr>
            <p:nvPr userDrawn="1"/>
          </p:nvSpPr>
          <p:spPr bwMode="auto">
            <a:xfrm>
              <a:off x="10254048" y="6039798"/>
              <a:ext cx="1852216" cy="818202"/>
            </a:xfrm>
            <a:custGeom>
              <a:avLst/>
              <a:gdLst>
                <a:gd name="connsiteX0" fmla="*/ 170711 w 1852216"/>
                <a:gd name="connsiteY0" fmla="*/ 682 h 818202"/>
                <a:gd name="connsiteX1" fmla="*/ 207037 w 1852216"/>
                <a:gd name="connsiteY1" fmla="*/ 1839 h 818202"/>
                <a:gd name="connsiteX2" fmla="*/ 522581 w 1852216"/>
                <a:gd name="connsiteY2" fmla="*/ 185230 h 818202"/>
                <a:gd name="connsiteX3" fmla="*/ 1149621 w 1852216"/>
                <a:gd name="connsiteY3" fmla="*/ 602393 h 818202"/>
                <a:gd name="connsiteX4" fmla="*/ 1616868 w 1852216"/>
                <a:gd name="connsiteY4" fmla="*/ 531858 h 818202"/>
                <a:gd name="connsiteX5" fmla="*/ 1816263 w 1852216"/>
                <a:gd name="connsiteY5" fmla="*/ 738172 h 818202"/>
                <a:gd name="connsiteX6" fmla="*/ 1852216 w 1852216"/>
                <a:gd name="connsiteY6" fmla="*/ 818202 h 818202"/>
                <a:gd name="connsiteX7" fmla="*/ 500751 w 1852216"/>
                <a:gd name="connsiteY7" fmla="*/ 818202 h 818202"/>
                <a:gd name="connsiteX8" fmla="*/ 456084 w 1852216"/>
                <a:gd name="connsiteY8" fmla="*/ 787547 h 818202"/>
                <a:gd name="connsiteX9" fmla="*/ 150402 w 1852216"/>
                <a:gd name="connsiteY9" fmla="*/ 463339 h 818202"/>
                <a:gd name="connsiteX10" fmla="*/ 721 w 1852216"/>
                <a:gd name="connsiteY10" fmla="*/ 171123 h 818202"/>
                <a:gd name="connsiteX11" fmla="*/ 170711 w 1852216"/>
                <a:gd name="connsiteY11" fmla="*/ 682 h 81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2216" h="818202">
                  <a:moveTo>
                    <a:pt x="170711" y="682"/>
                  </a:moveTo>
                  <a:cubicBezTo>
                    <a:pt x="182733" y="-491"/>
                    <a:pt x="194901" y="-176"/>
                    <a:pt x="207037" y="1839"/>
                  </a:cubicBezTo>
                  <a:cubicBezTo>
                    <a:pt x="326378" y="19977"/>
                    <a:pt x="437627" y="104619"/>
                    <a:pt x="522581" y="185230"/>
                  </a:cubicBezTo>
                  <a:cubicBezTo>
                    <a:pt x="694511" y="348468"/>
                    <a:pt x="801715" y="618515"/>
                    <a:pt x="1149621" y="602393"/>
                  </a:cubicBezTo>
                  <a:cubicBezTo>
                    <a:pt x="1309416" y="594332"/>
                    <a:pt x="1465164" y="481476"/>
                    <a:pt x="1616868" y="531858"/>
                  </a:cubicBezTo>
                  <a:cubicBezTo>
                    <a:pt x="1710924" y="562087"/>
                    <a:pt x="1770847" y="646729"/>
                    <a:pt x="1816263" y="738172"/>
                  </a:cubicBezTo>
                  <a:lnTo>
                    <a:pt x="1852216" y="818202"/>
                  </a:lnTo>
                  <a:lnTo>
                    <a:pt x="500751" y="818202"/>
                  </a:lnTo>
                  <a:lnTo>
                    <a:pt x="456084" y="787547"/>
                  </a:lnTo>
                  <a:cubicBezTo>
                    <a:pt x="385037" y="737417"/>
                    <a:pt x="294015" y="661844"/>
                    <a:pt x="150402" y="463339"/>
                  </a:cubicBezTo>
                  <a:cubicBezTo>
                    <a:pt x="53311" y="326300"/>
                    <a:pt x="-7370" y="253749"/>
                    <a:pt x="721" y="171123"/>
                  </a:cubicBezTo>
                  <a:cubicBezTo>
                    <a:pt x="9570" y="90008"/>
                    <a:pt x="86560" y="8893"/>
                    <a:pt x="170711" y="682"/>
                  </a:cubicBezTo>
                  <a:close/>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79" name="Freeform: Shape 1378">
              <a:extLst>
                <a:ext uri="{FF2B5EF4-FFF2-40B4-BE49-F238E27FC236}">
                  <a16:creationId xmlns:a16="http://schemas.microsoft.com/office/drawing/2014/main" id="{60970E3A-3312-4103-A9D0-8F254099D970}"/>
                </a:ext>
              </a:extLst>
            </p:cNvPr>
            <p:cNvSpPr>
              <a:spLocks/>
            </p:cNvSpPr>
            <p:nvPr userDrawn="1"/>
          </p:nvSpPr>
          <p:spPr bwMode="auto">
            <a:xfrm>
              <a:off x="10254615" y="6211253"/>
              <a:ext cx="566848" cy="646747"/>
            </a:xfrm>
            <a:custGeom>
              <a:avLst/>
              <a:gdLst>
                <a:gd name="connsiteX0" fmla="*/ 0 w 566848"/>
                <a:gd name="connsiteY0" fmla="*/ 0 h 646747"/>
                <a:gd name="connsiteX1" fmla="*/ 141590 w 566848"/>
                <a:gd name="connsiteY1" fmla="*/ 247825 h 646747"/>
                <a:gd name="connsiteX2" fmla="*/ 370156 w 566848"/>
                <a:gd name="connsiteY2" fmla="*/ 479530 h 646747"/>
                <a:gd name="connsiteX3" fmla="*/ 491171 w 566848"/>
                <a:gd name="connsiteY3" fmla="*/ 575802 h 646747"/>
                <a:gd name="connsiteX4" fmla="*/ 566848 w 566848"/>
                <a:gd name="connsiteY4" fmla="*/ 646747 h 646747"/>
                <a:gd name="connsiteX5" fmla="*/ 499755 w 566848"/>
                <a:gd name="connsiteY5" fmla="*/ 646747 h 646747"/>
                <a:gd name="connsiteX6" fmla="*/ 455363 w 566848"/>
                <a:gd name="connsiteY6" fmla="*/ 616287 h 646747"/>
                <a:gd name="connsiteX7" fmla="*/ 149681 w 566848"/>
                <a:gd name="connsiteY7" fmla="*/ 292151 h 646747"/>
                <a:gd name="connsiteX8" fmla="*/ 0 w 566848"/>
                <a:gd name="connsiteY8" fmla="*/ 16119 h 646747"/>
                <a:gd name="connsiteX9" fmla="*/ 0 w 566848"/>
                <a:gd name="connsiteY9" fmla="*/ 0 h 64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848" h="646747">
                  <a:moveTo>
                    <a:pt x="0" y="0"/>
                  </a:moveTo>
                  <a:cubicBezTo>
                    <a:pt x="14159" y="80594"/>
                    <a:pt x="78886" y="159172"/>
                    <a:pt x="141590" y="247825"/>
                  </a:cubicBezTo>
                  <a:cubicBezTo>
                    <a:pt x="206316" y="340507"/>
                    <a:pt x="327679" y="447293"/>
                    <a:pt x="370156" y="479530"/>
                  </a:cubicBezTo>
                  <a:cubicBezTo>
                    <a:pt x="411116" y="509753"/>
                    <a:pt x="451696" y="541864"/>
                    <a:pt x="491171" y="575802"/>
                  </a:cubicBezTo>
                  <a:lnTo>
                    <a:pt x="566848" y="646747"/>
                  </a:lnTo>
                  <a:lnTo>
                    <a:pt x="499755" y="646747"/>
                  </a:lnTo>
                  <a:lnTo>
                    <a:pt x="455363" y="616287"/>
                  </a:lnTo>
                  <a:cubicBezTo>
                    <a:pt x="384315" y="566168"/>
                    <a:pt x="293293" y="490612"/>
                    <a:pt x="149681" y="292151"/>
                  </a:cubicBezTo>
                  <a:cubicBezTo>
                    <a:pt x="58659" y="165216"/>
                    <a:pt x="0" y="92683"/>
                    <a:pt x="0" y="16119"/>
                  </a:cubicBezTo>
                  <a:cubicBezTo>
                    <a:pt x="0" y="10074"/>
                    <a:pt x="0" y="6045"/>
                    <a:pt x="0" y="0"/>
                  </a:cubicBezTo>
                  <a:close/>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176" name="Freeform 21592">
              <a:extLst>
                <a:ext uri="{FF2B5EF4-FFF2-40B4-BE49-F238E27FC236}">
                  <a16:creationId xmlns:a16="http://schemas.microsoft.com/office/drawing/2014/main" id="{D0995F41-2D32-4356-AC00-6EEBD88E06E8}"/>
                </a:ext>
              </a:extLst>
            </p:cNvPr>
            <p:cNvSpPr>
              <a:spLocks/>
            </p:cNvSpPr>
            <p:nvPr userDrawn="1"/>
          </p:nvSpPr>
          <p:spPr bwMode="auto">
            <a:xfrm>
              <a:off x="10273665" y="6060440"/>
              <a:ext cx="384175" cy="392113"/>
            </a:xfrm>
            <a:custGeom>
              <a:avLst/>
              <a:gdLst>
                <a:gd name="T0" fmla="*/ 98 w 190"/>
                <a:gd name="T1" fmla="*/ 186 h 195"/>
                <a:gd name="T2" fmla="*/ 179 w 190"/>
                <a:gd name="T3" fmla="*/ 113 h 195"/>
                <a:gd name="T4" fmla="*/ 182 w 190"/>
                <a:gd name="T5" fmla="*/ 81 h 195"/>
                <a:gd name="T6" fmla="*/ 154 w 190"/>
                <a:gd name="T7" fmla="*/ 42 h 195"/>
                <a:gd name="T8" fmla="*/ 44 w 190"/>
                <a:gd name="T9" fmla="*/ 25 h 195"/>
                <a:gd name="T10" fmla="*/ 24 w 190"/>
                <a:gd name="T11" fmla="*/ 137 h 195"/>
                <a:gd name="T12" fmla="*/ 64 w 190"/>
                <a:gd name="T13" fmla="*/ 184 h 195"/>
                <a:gd name="T14" fmla="*/ 98 w 190"/>
                <a:gd name="T15" fmla="*/ 186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95">
                  <a:moveTo>
                    <a:pt x="98" y="186"/>
                  </a:moveTo>
                  <a:cubicBezTo>
                    <a:pt x="179" y="113"/>
                    <a:pt x="179" y="113"/>
                    <a:pt x="179" y="113"/>
                  </a:cubicBezTo>
                  <a:cubicBezTo>
                    <a:pt x="188" y="105"/>
                    <a:pt x="190" y="91"/>
                    <a:pt x="182" y="81"/>
                  </a:cubicBezTo>
                  <a:cubicBezTo>
                    <a:pt x="154" y="42"/>
                    <a:pt x="154" y="42"/>
                    <a:pt x="154" y="42"/>
                  </a:cubicBezTo>
                  <a:cubicBezTo>
                    <a:pt x="128" y="7"/>
                    <a:pt x="79" y="0"/>
                    <a:pt x="44" y="25"/>
                  </a:cubicBezTo>
                  <a:cubicBezTo>
                    <a:pt x="2" y="56"/>
                    <a:pt x="0" y="105"/>
                    <a:pt x="24" y="137"/>
                  </a:cubicBezTo>
                  <a:cubicBezTo>
                    <a:pt x="64" y="184"/>
                    <a:pt x="64" y="184"/>
                    <a:pt x="64" y="184"/>
                  </a:cubicBezTo>
                  <a:cubicBezTo>
                    <a:pt x="72" y="194"/>
                    <a:pt x="88" y="195"/>
                    <a:pt x="98" y="186"/>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3" name="Freeform 1366">
              <a:extLst>
                <a:ext uri="{FF2B5EF4-FFF2-40B4-BE49-F238E27FC236}">
                  <a16:creationId xmlns:a16="http://schemas.microsoft.com/office/drawing/2014/main" id="{A74E0D37-C80E-4D86-B29D-8F80578C43D9}"/>
                </a:ext>
              </a:extLst>
            </p:cNvPr>
            <p:cNvSpPr>
              <a:spLocks noEditPoints="1"/>
            </p:cNvSpPr>
            <p:nvPr/>
          </p:nvSpPr>
          <p:spPr bwMode="auto">
            <a:xfrm rot="20647229" flipH="1">
              <a:off x="5367109" y="4885220"/>
              <a:ext cx="627063" cy="625475"/>
            </a:xfrm>
            <a:custGeom>
              <a:avLst/>
              <a:gdLst>
                <a:gd name="T0" fmla="*/ 200 w 528"/>
                <a:gd name="T1" fmla="*/ 509 h 527"/>
                <a:gd name="T2" fmla="*/ 147 w 528"/>
                <a:gd name="T3" fmla="*/ 489 h 527"/>
                <a:gd name="T4" fmla="*/ 95 w 528"/>
                <a:gd name="T5" fmla="*/ 453 h 527"/>
                <a:gd name="T6" fmla="*/ 57 w 528"/>
                <a:gd name="T7" fmla="*/ 411 h 527"/>
                <a:gd name="T8" fmla="*/ 28 w 528"/>
                <a:gd name="T9" fmla="*/ 356 h 527"/>
                <a:gd name="T10" fmla="*/ 13 w 528"/>
                <a:gd name="T11" fmla="*/ 301 h 527"/>
                <a:gd name="T12" fmla="*/ 26 w 528"/>
                <a:gd name="T13" fmla="*/ 229 h 527"/>
                <a:gd name="T14" fmla="*/ 18 w 528"/>
                <a:gd name="T15" fmla="*/ 168 h 527"/>
                <a:gd name="T16" fmla="*/ 67 w 528"/>
                <a:gd name="T17" fmla="*/ 125 h 527"/>
                <a:gd name="T18" fmla="*/ 95 w 528"/>
                <a:gd name="T19" fmla="*/ 63 h 527"/>
                <a:gd name="T20" fmla="*/ 152 w 528"/>
                <a:gd name="T21" fmla="*/ 50 h 527"/>
                <a:gd name="T22" fmla="*/ 201 w 528"/>
                <a:gd name="T23" fmla="*/ 8 h 527"/>
                <a:gd name="T24" fmla="*/ 261 w 528"/>
                <a:gd name="T25" fmla="*/ 23 h 527"/>
                <a:gd name="T26" fmla="*/ 320 w 528"/>
                <a:gd name="T27" fmla="*/ 5 h 527"/>
                <a:gd name="T28" fmla="*/ 370 w 528"/>
                <a:gd name="T29" fmla="*/ 48 h 527"/>
                <a:gd name="T30" fmla="*/ 431 w 528"/>
                <a:gd name="T31" fmla="*/ 59 h 527"/>
                <a:gd name="T32" fmla="*/ 457 w 528"/>
                <a:gd name="T33" fmla="*/ 119 h 527"/>
                <a:gd name="T34" fmla="*/ 505 w 528"/>
                <a:gd name="T35" fmla="*/ 157 h 527"/>
                <a:gd name="T36" fmla="*/ 501 w 528"/>
                <a:gd name="T37" fmla="*/ 223 h 527"/>
                <a:gd name="T38" fmla="*/ 503 w 528"/>
                <a:gd name="T39" fmla="*/ 292 h 527"/>
                <a:gd name="T40" fmla="*/ 510 w 528"/>
                <a:gd name="T41" fmla="*/ 358 h 527"/>
                <a:gd name="T42" fmla="*/ 464 w 528"/>
                <a:gd name="T43" fmla="*/ 397 h 527"/>
                <a:gd name="T44" fmla="*/ 440 w 528"/>
                <a:gd name="T45" fmla="*/ 460 h 527"/>
                <a:gd name="T46" fmla="*/ 376 w 528"/>
                <a:gd name="T47" fmla="*/ 476 h 527"/>
                <a:gd name="T48" fmla="*/ 327 w 528"/>
                <a:gd name="T49" fmla="*/ 519 h 527"/>
                <a:gd name="T50" fmla="*/ 267 w 528"/>
                <a:gd name="T51" fmla="*/ 504 h 527"/>
                <a:gd name="T52" fmla="*/ 258 w 528"/>
                <a:gd name="T53" fmla="*/ 517 h 527"/>
                <a:gd name="T54" fmla="*/ 302 w 528"/>
                <a:gd name="T55" fmla="*/ 497 h 527"/>
                <a:gd name="T56" fmla="*/ 339 w 528"/>
                <a:gd name="T57" fmla="*/ 488 h 527"/>
                <a:gd name="T58" fmla="*/ 380 w 528"/>
                <a:gd name="T59" fmla="*/ 469 h 527"/>
                <a:gd name="T60" fmla="*/ 428 w 528"/>
                <a:gd name="T61" fmla="*/ 456 h 527"/>
                <a:gd name="T62" fmla="*/ 465 w 528"/>
                <a:gd name="T63" fmla="*/ 427 h 527"/>
                <a:gd name="T64" fmla="*/ 487 w 528"/>
                <a:gd name="T65" fmla="*/ 384 h 527"/>
                <a:gd name="T66" fmla="*/ 490 w 528"/>
                <a:gd name="T67" fmla="*/ 336 h 527"/>
                <a:gd name="T68" fmla="*/ 498 w 528"/>
                <a:gd name="T69" fmla="*/ 298 h 527"/>
                <a:gd name="T70" fmla="*/ 501 w 528"/>
                <a:gd name="T71" fmla="*/ 252 h 527"/>
                <a:gd name="T72" fmla="*/ 515 w 528"/>
                <a:gd name="T73" fmla="*/ 197 h 527"/>
                <a:gd name="T74" fmla="*/ 501 w 528"/>
                <a:gd name="T75" fmla="*/ 157 h 527"/>
                <a:gd name="T76" fmla="*/ 477 w 528"/>
                <a:gd name="T77" fmla="*/ 118 h 527"/>
                <a:gd name="T78" fmla="*/ 447 w 528"/>
                <a:gd name="T79" fmla="*/ 89 h 527"/>
                <a:gd name="T80" fmla="*/ 401 w 528"/>
                <a:gd name="T81" fmla="*/ 71 h 527"/>
                <a:gd name="T82" fmla="*/ 362 w 528"/>
                <a:gd name="T83" fmla="*/ 48 h 527"/>
                <a:gd name="T84" fmla="*/ 324 w 528"/>
                <a:gd name="T85" fmla="*/ 17 h 527"/>
                <a:gd name="T86" fmla="*/ 277 w 528"/>
                <a:gd name="T87" fmla="*/ 4 h 527"/>
                <a:gd name="T88" fmla="*/ 230 w 528"/>
                <a:gd name="T89" fmla="*/ 12 h 527"/>
                <a:gd name="T90" fmla="*/ 190 w 528"/>
                <a:gd name="T91" fmla="*/ 38 h 527"/>
                <a:gd name="T92" fmla="*/ 148 w 528"/>
                <a:gd name="T93" fmla="*/ 57 h 527"/>
                <a:gd name="T94" fmla="*/ 116 w 528"/>
                <a:gd name="T95" fmla="*/ 78 h 527"/>
                <a:gd name="T96" fmla="*/ 67 w 528"/>
                <a:gd name="T97" fmla="*/ 96 h 527"/>
                <a:gd name="T98" fmla="*/ 39 w 528"/>
                <a:gd name="T99" fmla="*/ 134 h 527"/>
                <a:gd name="T100" fmla="*/ 25 w 528"/>
                <a:gd name="T101" fmla="*/ 179 h 527"/>
                <a:gd name="T102" fmla="*/ 30 w 528"/>
                <a:gd name="T103" fmla="*/ 227 h 527"/>
                <a:gd name="T104" fmla="*/ 28 w 528"/>
                <a:gd name="T105" fmla="*/ 273 h 527"/>
                <a:gd name="T106" fmla="*/ 18 w 528"/>
                <a:gd name="T107" fmla="*/ 322 h 527"/>
                <a:gd name="T108" fmla="*/ 26 w 528"/>
                <a:gd name="T109" fmla="*/ 368 h 527"/>
                <a:gd name="T110" fmla="*/ 51 w 528"/>
                <a:gd name="T111" fmla="*/ 409 h 527"/>
                <a:gd name="T112" fmla="*/ 81 w 528"/>
                <a:gd name="T113" fmla="*/ 438 h 527"/>
                <a:gd name="T114" fmla="*/ 127 w 528"/>
                <a:gd name="T115" fmla="*/ 456 h 527"/>
                <a:gd name="T116" fmla="*/ 166 w 528"/>
                <a:gd name="T117" fmla="*/ 478 h 527"/>
                <a:gd name="T118" fmla="*/ 204 w 528"/>
                <a:gd name="T119" fmla="*/ 509 h 527"/>
                <a:gd name="T120" fmla="*/ 401 w 528"/>
                <a:gd name="T121" fmla="*/ 95 h 527"/>
                <a:gd name="T122" fmla="*/ 264 w 528"/>
                <a:gd name="T123" fmla="*/ 5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8" h="527">
                  <a:moveTo>
                    <a:pt x="252" y="527"/>
                  </a:moveTo>
                  <a:cubicBezTo>
                    <a:pt x="252" y="527"/>
                    <a:pt x="251" y="527"/>
                    <a:pt x="250" y="527"/>
                  </a:cubicBezTo>
                  <a:cubicBezTo>
                    <a:pt x="250" y="527"/>
                    <a:pt x="250" y="527"/>
                    <a:pt x="250" y="527"/>
                  </a:cubicBezTo>
                  <a:cubicBezTo>
                    <a:pt x="246" y="527"/>
                    <a:pt x="240" y="527"/>
                    <a:pt x="239" y="516"/>
                  </a:cubicBezTo>
                  <a:cubicBezTo>
                    <a:pt x="238" y="510"/>
                    <a:pt x="237" y="505"/>
                    <a:pt x="235" y="502"/>
                  </a:cubicBezTo>
                  <a:cubicBezTo>
                    <a:pt x="233" y="502"/>
                    <a:pt x="231" y="502"/>
                    <a:pt x="229" y="502"/>
                  </a:cubicBezTo>
                  <a:cubicBezTo>
                    <a:pt x="227" y="504"/>
                    <a:pt x="224" y="509"/>
                    <a:pt x="222" y="514"/>
                  </a:cubicBezTo>
                  <a:cubicBezTo>
                    <a:pt x="220" y="519"/>
                    <a:pt x="217" y="522"/>
                    <a:pt x="213" y="522"/>
                  </a:cubicBezTo>
                  <a:cubicBezTo>
                    <a:pt x="212" y="522"/>
                    <a:pt x="211" y="522"/>
                    <a:pt x="209" y="522"/>
                  </a:cubicBezTo>
                  <a:cubicBezTo>
                    <a:pt x="208" y="521"/>
                    <a:pt x="208" y="521"/>
                    <a:pt x="208" y="521"/>
                  </a:cubicBezTo>
                  <a:cubicBezTo>
                    <a:pt x="205" y="521"/>
                    <a:pt x="199" y="519"/>
                    <a:pt x="200" y="509"/>
                  </a:cubicBezTo>
                  <a:cubicBezTo>
                    <a:pt x="200" y="503"/>
                    <a:pt x="200" y="498"/>
                    <a:pt x="198" y="495"/>
                  </a:cubicBezTo>
                  <a:cubicBezTo>
                    <a:pt x="196" y="494"/>
                    <a:pt x="195" y="494"/>
                    <a:pt x="193" y="493"/>
                  </a:cubicBezTo>
                  <a:cubicBezTo>
                    <a:pt x="190" y="495"/>
                    <a:pt x="186" y="499"/>
                    <a:pt x="184" y="504"/>
                  </a:cubicBezTo>
                  <a:cubicBezTo>
                    <a:pt x="181" y="509"/>
                    <a:pt x="178" y="511"/>
                    <a:pt x="175" y="511"/>
                  </a:cubicBezTo>
                  <a:cubicBezTo>
                    <a:pt x="173" y="511"/>
                    <a:pt x="171" y="510"/>
                    <a:pt x="170" y="510"/>
                  </a:cubicBezTo>
                  <a:cubicBezTo>
                    <a:pt x="169" y="509"/>
                    <a:pt x="169" y="509"/>
                    <a:pt x="169" y="509"/>
                  </a:cubicBezTo>
                  <a:cubicBezTo>
                    <a:pt x="166" y="508"/>
                    <a:pt x="160" y="506"/>
                    <a:pt x="162" y="496"/>
                  </a:cubicBezTo>
                  <a:cubicBezTo>
                    <a:pt x="163" y="490"/>
                    <a:pt x="164" y="485"/>
                    <a:pt x="163" y="482"/>
                  </a:cubicBezTo>
                  <a:cubicBezTo>
                    <a:pt x="161" y="481"/>
                    <a:pt x="159" y="480"/>
                    <a:pt x="158" y="479"/>
                  </a:cubicBezTo>
                  <a:cubicBezTo>
                    <a:pt x="158" y="479"/>
                    <a:pt x="158" y="479"/>
                    <a:pt x="158" y="479"/>
                  </a:cubicBezTo>
                  <a:cubicBezTo>
                    <a:pt x="155" y="481"/>
                    <a:pt x="150" y="484"/>
                    <a:pt x="147" y="489"/>
                  </a:cubicBezTo>
                  <a:cubicBezTo>
                    <a:pt x="144" y="492"/>
                    <a:pt x="141" y="494"/>
                    <a:pt x="138" y="494"/>
                  </a:cubicBezTo>
                  <a:cubicBezTo>
                    <a:pt x="136" y="494"/>
                    <a:pt x="134" y="493"/>
                    <a:pt x="132" y="492"/>
                  </a:cubicBezTo>
                  <a:cubicBezTo>
                    <a:pt x="131" y="492"/>
                    <a:pt x="131" y="492"/>
                    <a:pt x="131" y="492"/>
                  </a:cubicBezTo>
                  <a:cubicBezTo>
                    <a:pt x="128" y="490"/>
                    <a:pt x="123" y="487"/>
                    <a:pt x="127" y="477"/>
                  </a:cubicBezTo>
                  <a:cubicBezTo>
                    <a:pt x="129" y="472"/>
                    <a:pt x="130" y="467"/>
                    <a:pt x="130" y="463"/>
                  </a:cubicBezTo>
                  <a:cubicBezTo>
                    <a:pt x="128" y="462"/>
                    <a:pt x="127" y="461"/>
                    <a:pt x="125" y="460"/>
                  </a:cubicBezTo>
                  <a:cubicBezTo>
                    <a:pt x="122" y="461"/>
                    <a:pt x="117" y="464"/>
                    <a:pt x="113" y="468"/>
                  </a:cubicBezTo>
                  <a:cubicBezTo>
                    <a:pt x="110" y="470"/>
                    <a:pt x="108" y="472"/>
                    <a:pt x="105" y="472"/>
                  </a:cubicBezTo>
                  <a:cubicBezTo>
                    <a:pt x="102" y="472"/>
                    <a:pt x="100" y="470"/>
                    <a:pt x="98" y="469"/>
                  </a:cubicBezTo>
                  <a:cubicBezTo>
                    <a:pt x="97" y="468"/>
                    <a:pt x="97" y="468"/>
                    <a:pt x="97" y="468"/>
                  </a:cubicBezTo>
                  <a:cubicBezTo>
                    <a:pt x="95" y="466"/>
                    <a:pt x="90" y="462"/>
                    <a:pt x="95" y="453"/>
                  </a:cubicBezTo>
                  <a:cubicBezTo>
                    <a:pt x="98" y="448"/>
                    <a:pt x="100" y="443"/>
                    <a:pt x="100" y="440"/>
                  </a:cubicBezTo>
                  <a:cubicBezTo>
                    <a:pt x="99" y="438"/>
                    <a:pt x="97" y="437"/>
                    <a:pt x="96" y="436"/>
                  </a:cubicBezTo>
                  <a:cubicBezTo>
                    <a:pt x="93" y="436"/>
                    <a:pt x="88" y="438"/>
                    <a:pt x="83" y="442"/>
                  </a:cubicBezTo>
                  <a:cubicBezTo>
                    <a:pt x="80" y="443"/>
                    <a:pt x="78" y="444"/>
                    <a:pt x="75" y="444"/>
                  </a:cubicBezTo>
                  <a:cubicBezTo>
                    <a:pt x="72" y="444"/>
                    <a:pt x="70" y="442"/>
                    <a:pt x="68" y="440"/>
                  </a:cubicBezTo>
                  <a:cubicBezTo>
                    <a:pt x="67" y="439"/>
                    <a:pt x="67" y="439"/>
                    <a:pt x="67" y="439"/>
                  </a:cubicBezTo>
                  <a:cubicBezTo>
                    <a:pt x="65" y="437"/>
                    <a:pt x="61" y="432"/>
                    <a:pt x="68" y="424"/>
                  </a:cubicBezTo>
                  <a:cubicBezTo>
                    <a:pt x="71" y="420"/>
                    <a:pt x="74" y="415"/>
                    <a:pt x="75" y="412"/>
                  </a:cubicBezTo>
                  <a:cubicBezTo>
                    <a:pt x="75" y="412"/>
                    <a:pt x="75" y="412"/>
                    <a:pt x="75" y="412"/>
                  </a:cubicBezTo>
                  <a:cubicBezTo>
                    <a:pt x="73" y="410"/>
                    <a:pt x="72" y="409"/>
                    <a:pt x="71" y="407"/>
                  </a:cubicBezTo>
                  <a:cubicBezTo>
                    <a:pt x="68" y="407"/>
                    <a:pt x="63" y="409"/>
                    <a:pt x="57" y="411"/>
                  </a:cubicBezTo>
                  <a:cubicBezTo>
                    <a:pt x="55" y="412"/>
                    <a:pt x="53" y="413"/>
                    <a:pt x="51" y="413"/>
                  </a:cubicBezTo>
                  <a:cubicBezTo>
                    <a:pt x="46" y="413"/>
                    <a:pt x="44" y="409"/>
                    <a:pt x="43" y="407"/>
                  </a:cubicBezTo>
                  <a:cubicBezTo>
                    <a:pt x="42" y="406"/>
                    <a:pt x="42" y="406"/>
                    <a:pt x="42" y="406"/>
                  </a:cubicBezTo>
                  <a:cubicBezTo>
                    <a:pt x="40" y="404"/>
                    <a:pt x="37" y="398"/>
                    <a:pt x="45" y="392"/>
                  </a:cubicBezTo>
                  <a:cubicBezTo>
                    <a:pt x="49" y="388"/>
                    <a:pt x="53" y="384"/>
                    <a:pt x="54" y="381"/>
                  </a:cubicBezTo>
                  <a:cubicBezTo>
                    <a:pt x="53" y="379"/>
                    <a:pt x="52" y="377"/>
                    <a:pt x="51" y="375"/>
                  </a:cubicBezTo>
                  <a:cubicBezTo>
                    <a:pt x="48" y="375"/>
                    <a:pt x="42" y="375"/>
                    <a:pt x="37" y="377"/>
                  </a:cubicBezTo>
                  <a:cubicBezTo>
                    <a:pt x="35" y="377"/>
                    <a:pt x="33" y="378"/>
                    <a:pt x="32" y="378"/>
                  </a:cubicBezTo>
                  <a:cubicBezTo>
                    <a:pt x="26" y="378"/>
                    <a:pt x="24" y="373"/>
                    <a:pt x="23" y="371"/>
                  </a:cubicBezTo>
                  <a:cubicBezTo>
                    <a:pt x="23" y="370"/>
                    <a:pt x="23" y="370"/>
                    <a:pt x="23" y="370"/>
                  </a:cubicBezTo>
                  <a:cubicBezTo>
                    <a:pt x="21" y="367"/>
                    <a:pt x="19" y="361"/>
                    <a:pt x="28" y="356"/>
                  </a:cubicBezTo>
                  <a:cubicBezTo>
                    <a:pt x="32" y="353"/>
                    <a:pt x="36" y="349"/>
                    <a:pt x="38" y="346"/>
                  </a:cubicBezTo>
                  <a:cubicBezTo>
                    <a:pt x="37" y="345"/>
                    <a:pt x="37" y="343"/>
                    <a:pt x="36" y="341"/>
                  </a:cubicBezTo>
                  <a:cubicBezTo>
                    <a:pt x="34" y="340"/>
                    <a:pt x="31" y="340"/>
                    <a:pt x="27" y="340"/>
                  </a:cubicBezTo>
                  <a:cubicBezTo>
                    <a:pt x="26" y="340"/>
                    <a:pt x="24" y="340"/>
                    <a:pt x="22" y="340"/>
                  </a:cubicBezTo>
                  <a:cubicBezTo>
                    <a:pt x="21" y="340"/>
                    <a:pt x="20" y="340"/>
                    <a:pt x="19" y="340"/>
                  </a:cubicBezTo>
                  <a:cubicBezTo>
                    <a:pt x="11" y="340"/>
                    <a:pt x="10" y="335"/>
                    <a:pt x="9" y="332"/>
                  </a:cubicBezTo>
                  <a:cubicBezTo>
                    <a:pt x="9" y="331"/>
                    <a:pt x="9" y="331"/>
                    <a:pt x="9" y="331"/>
                  </a:cubicBezTo>
                  <a:cubicBezTo>
                    <a:pt x="8" y="328"/>
                    <a:pt x="6" y="322"/>
                    <a:pt x="16" y="318"/>
                  </a:cubicBezTo>
                  <a:cubicBezTo>
                    <a:pt x="21" y="315"/>
                    <a:pt x="26" y="312"/>
                    <a:pt x="28" y="310"/>
                  </a:cubicBezTo>
                  <a:cubicBezTo>
                    <a:pt x="28" y="308"/>
                    <a:pt x="27" y="306"/>
                    <a:pt x="27" y="304"/>
                  </a:cubicBezTo>
                  <a:cubicBezTo>
                    <a:pt x="24" y="303"/>
                    <a:pt x="19" y="301"/>
                    <a:pt x="13" y="301"/>
                  </a:cubicBezTo>
                  <a:cubicBezTo>
                    <a:pt x="2" y="301"/>
                    <a:pt x="2" y="295"/>
                    <a:pt x="2" y="291"/>
                  </a:cubicBezTo>
                  <a:cubicBezTo>
                    <a:pt x="1" y="290"/>
                    <a:pt x="1" y="290"/>
                    <a:pt x="1" y="290"/>
                  </a:cubicBezTo>
                  <a:cubicBezTo>
                    <a:pt x="1" y="287"/>
                    <a:pt x="0" y="281"/>
                    <a:pt x="11" y="278"/>
                  </a:cubicBezTo>
                  <a:cubicBezTo>
                    <a:pt x="16" y="277"/>
                    <a:pt x="21" y="274"/>
                    <a:pt x="24" y="272"/>
                  </a:cubicBezTo>
                  <a:cubicBezTo>
                    <a:pt x="23" y="270"/>
                    <a:pt x="23" y="268"/>
                    <a:pt x="23" y="267"/>
                  </a:cubicBezTo>
                  <a:cubicBezTo>
                    <a:pt x="21" y="265"/>
                    <a:pt x="16" y="263"/>
                    <a:pt x="10" y="261"/>
                  </a:cubicBezTo>
                  <a:cubicBezTo>
                    <a:pt x="0" y="259"/>
                    <a:pt x="0" y="253"/>
                    <a:pt x="0" y="250"/>
                  </a:cubicBezTo>
                  <a:cubicBezTo>
                    <a:pt x="1" y="249"/>
                    <a:pt x="1" y="249"/>
                    <a:pt x="1" y="249"/>
                  </a:cubicBezTo>
                  <a:cubicBezTo>
                    <a:pt x="1" y="245"/>
                    <a:pt x="1" y="239"/>
                    <a:pt x="11" y="238"/>
                  </a:cubicBezTo>
                  <a:cubicBezTo>
                    <a:pt x="17" y="238"/>
                    <a:pt x="22" y="236"/>
                    <a:pt x="25" y="235"/>
                  </a:cubicBezTo>
                  <a:cubicBezTo>
                    <a:pt x="25" y="233"/>
                    <a:pt x="26" y="231"/>
                    <a:pt x="26" y="229"/>
                  </a:cubicBezTo>
                  <a:cubicBezTo>
                    <a:pt x="24" y="226"/>
                    <a:pt x="19" y="224"/>
                    <a:pt x="13" y="222"/>
                  </a:cubicBezTo>
                  <a:cubicBezTo>
                    <a:pt x="4" y="218"/>
                    <a:pt x="5" y="212"/>
                    <a:pt x="6" y="209"/>
                  </a:cubicBezTo>
                  <a:cubicBezTo>
                    <a:pt x="6" y="208"/>
                    <a:pt x="6" y="208"/>
                    <a:pt x="6" y="208"/>
                  </a:cubicBezTo>
                  <a:cubicBezTo>
                    <a:pt x="7" y="205"/>
                    <a:pt x="8" y="199"/>
                    <a:pt x="16" y="199"/>
                  </a:cubicBezTo>
                  <a:cubicBezTo>
                    <a:pt x="17" y="199"/>
                    <a:pt x="18" y="199"/>
                    <a:pt x="18" y="199"/>
                  </a:cubicBezTo>
                  <a:cubicBezTo>
                    <a:pt x="19" y="199"/>
                    <a:pt x="20" y="199"/>
                    <a:pt x="21" y="199"/>
                  </a:cubicBezTo>
                  <a:cubicBezTo>
                    <a:pt x="26" y="199"/>
                    <a:pt x="30" y="199"/>
                    <a:pt x="32" y="198"/>
                  </a:cubicBezTo>
                  <a:cubicBezTo>
                    <a:pt x="33" y="196"/>
                    <a:pt x="34" y="194"/>
                    <a:pt x="34" y="192"/>
                  </a:cubicBezTo>
                  <a:cubicBezTo>
                    <a:pt x="32" y="189"/>
                    <a:pt x="28" y="186"/>
                    <a:pt x="23" y="183"/>
                  </a:cubicBezTo>
                  <a:cubicBezTo>
                    <a:pt x="14" y="178"/>
                    <a:pt x="16" y="172"/>
                    <a:pt x="18" y="169"/>
                  </a:cubicBezTo>
                  <a:cubicBezTo>
                    <a:pt x="18" y="168"/>
                    <a:pt x="18" y="168"/>
                    <a:pt x="18" y="168"/>
                  </a:cubicBezTo>
                  <a:cubicBezTo>
                    <a:pt x="19" y="165"/>
                    <a:pt x="21" y="161"/>
                    <a:pt x="27" y="161"/>
                  </a:cubicBezTo>
                  <a:cubicBezTo>
                    <a:pt x="28" y="161"/>
                    <a:pt x="30" y="161"/>
                    <a:pt x="31" y="162"/>
                  </a:cubicBezTo>
                  <a:cubicBezTo>
                    <a:pt x="37" y="163"/>
                    <a:pt x="42" y="163"/>
                    <a:pt x="46" y="162"/>
                  </a:cubicBezTo>
                  <a:cubicBezTo>
                    <a:pt x="46" y="160"/>
                    <a:pt x="47" y="159"/>
                    <a:pt x="48" y="157"/>
                  </a:cubicBezTo>
                  <a:cubicBezTo>
                    <a:pt x="47" y="154"/>
                    <a:pt x="43" y="150"/>
                    <a:pt x="39" y="146"/>
                  </a:cubicBezTo>
                  <a:cubicBezTo>
                    <a:pt x="30" y="140"/>
                    <a:pt x="34" y="135"/>
                    <a:pt x="35" y="132"/>
                  </a:cubicBezTo>
                  <a:cubicBezTo>
                    <a:pt x="36" y="131"/>
                    <a:pt x="36" y="131"/>
                    <a:pt x="36" y="131"/>
                  </a:cubicBezTo>
                  <a:cubicBezTo>
                    <a:pt x="37" y="129"/>
                    <a:pt x="39" y="125"/>
                    <a:pt x="44" y="125"/>
                  </a:cubicBezTo>
                  <a:cubicBezTo>
                    <a:pt x="46" y="125"/>
                    <a:pt x="48" y="125"/>
                    <a:pt x="50" y="126"/>
                  </a:cubicBezTo>
                  <a:cubicBezTo>
                    <a:pt x="55" y="128"/>
                    <a:pt x="61" y="130"/>
                    <a:pt x="64" y="129"/>
                  </a:cubicBezTo>
                  <a:cubicBezTo>
                    <a:pt x="65" y="128"/>
                    <a:pt x="66" y="126"/>
                    <a:pt x="67" y="125"/>
                  </a:cubicBezTo>
                  <a:cubicBezTo>
                    <a:pt x="66" y="121"/>
                    <a:pt x="63" y="117"/>
                    <a:pt x="60" y="112"/>
                  </a:cubicBezTo>
                  <a:cubicBezTo>
                    <a:pt x="53" y="105"/>
                    <a:pt x="57" y="100"/>
                    <a:pt x="59" y="98"/>
                  </a:cubicBezTo>
                  <a:cubicBezTo>
                    <a:pt x="59" y="97"/>
                    <a:pt x="59" y="97"/>
                    <a:pt x="59" y="97"/>
                  </a:cubicBezTo>
                  <a:cubicBezTo>
                    <a:pt x="61" y="95"/>
                    <a:pt x="63" y="92"/>
                    <a:pt x="67" y="92"/>
                  </a:cubicBezTo>
                  <a:cubicBezTo>
                    <a:pt x="69" y="92"/>
                    <a:pt x="72" y="93"/>
                    <a:pt x="74" y="95"/>
                  </a:cubicBezTo>
                  <a:cubicBezTo>
                    <a:pt x="79" y="97"/>
                    <a:pt x="84" y="99"/>
                    <a:pt x="88" y="100"/>
                  </a:cubicBezTo>
                  <a:cubicBezTo>
                    <a:pt x="89" y="98"/>
                    <a:pt x="90" y="97"/>
                    <a:pt x="92" y="95"/>
                  </a:cubicBezTo>
                  <a:cubicBezTo>
                    <a:pt x="91" y="92"/>
                    <a:pt x="89" y="87"/>
                    <a:pt x="86" y="82"/>
                  </a:cubicBezTo>
                  <a:cubicBezTo>
                    <a:pt x="80" y="74"/>
                    <a:pt x="85" y="70"/>
                    <a:pt x="87" y="67"/>
                  </a:cubicBezTo>
                  <a:cubicBezTo>
                    <a:pt x="88" y="67"/>
                    <a:pt x="88" y="67"/>
                    <a:pt x="88" y="67"/>
                  </a:cubicBezTo>
                  <a:cubicBezTo>
                    <a:pt x="90" y="65"/>
                    <a:pt x="92" y="63"/>
                    <a:pt x="95" y="63"/>
                  </a:cubicBezTo>
                  <a:cubicBezTo>
                    <a:pt x="97" y="63"/>
                    <a:pt x="100" y="65"/>
                    <a:pt x="103" y="67"/>
                  </a:cubicBezTo>
                  <a:cubicBezTo>
                    <a:pt x="107" y="71"/>
                    <a:pt x="112" y="73"/>
                    <a:pt x="115" y="74"/>
                  </a:cubicBezTo>
                  <a:cubicBezTo>
                    <a:pt x="116" y="74"/>
                    <a:pt x="116" y="74"/>
                    <a:pt x="116" y="74"/>
                  </a:cubicBezTo>
                  <a:cubicBezTo>
                    <a:pt x="117" y="73"/>
                    <a:pt x="119" y="72"/>
                    <a:pt x="120" y="70"/>
                  </a:cubicBezTo>
                  <a:cubicBezTo>
                    <a:pt x="120" y="67"/>
                    <a:pt x="119" y="62"/>
                    <a:pt x="116" y="57"/>
                  </a:cubicBezTo>
                  <a:cubicBezTo>
                    <a:pt x="112" y="47"/>
                    <a:pt x="117" y="44"/>
                    <a:pt x="120" y="42"/>
                  </a:cubicBezTo>
                  <a:cubicBezTo>
                    <a:pt x="121" y="42"/>
                    <a:pt x="121" y="42"/>
                    <a:pt x="121" y="42"/>
                  </a:cubicBezTo>
                  <a:cubicBezTo>
                    <a:pt x="122" y="41"/>
                    <a:pt x="124" y="39"/>
                    <a:pt x="127" y="39"/>
                  </a:cubicBezTo>
                  <a:cubicBezTo>
                    <a:pt x="130" y="39"/>
                    <a:pt x="133" y="41"/>
                    <a:pt x="136" y="44"/>
                  </a:cubicBezTo>
                  <a:cubicBezTo>
                    <a:pt x="139" y="48"/>
                    <a:pt x="144" y="52"/>
                    <a:pt x="147" y="53"/>
                  </a:cubicBezTo>
                  <a:cubicBezTo>
                    <a:pt x="148" y="52"/>
                    <a:pt x="150" y="51"/>
                    <a:pt x="152" y="50"/>
                  </a:cubicBezTo>
                  <a:cubicBezTo>
                    <a:pt x="152" y="47"/>
                    <a:pt x="152" y="42"/>
                    <a:pt x="151" y="36"/>
                  </a:cubicBezTo>
                  <a:cubicBezTo>
                    <a:pt x="148" y="26"/>
                    <a:pt x="153" y="24"/>
                    <a:pt x="156" y="22"/>
                  </a:cubicBezTo>
                  <a:cubicBezTo>
                    <a:pt x="157" y="22"/>
                    <a:pt x="157" y="22"/>
                    <a:pt x="157" y="22"/>
                  </a:cubicBezTo>
                  <a:cubicBezTo>
                    <a:pt x="159" y="21"/>
                    <a:pt x="161" y="20"/>
                    <a:pt x="163" y="20"/>
                  </a:cubicBezTo>
                  <a:cubicBezTo>
                    <a:pt x="166" y="20"/>
                    <a:pt x="169" y="23"/>
                    <a:pt x="172" y="27"/>
                  </a:cubicBezTo>
                  <a:cubicBezTo>
                    <a:pt x="175" y="32"/>
                    <a:pt x="178" y="36"/>
                    <a:pt x="181" y="37"/>
                  </a:cubicBezTo>
                  <a:cubicBezTo>
                    <a:pt x="183" y="37"/>
                    <a:pt x="185" y="36"/>
                    <a:pt x="187" y="36"/>
                  </a:cubicBezTo>
                  <a:cubicBezTo>
                    <a:pt x="188" y="32"/>
                    <a:pt x="188" y="27"/>
                    <a:pt x="187" y="21"/>
                  </a:cubicBezTo>
                  <a:cubicBezTo>
                    <a:pt x="186" y="11"/>
                    <a:pt x="192" y="9"/>
                    <a:pt x="195" y="9"/>
                  </a:cubicBezTo>
                  <a:cubicBezTo>
                    <a:pt x="196" y="8"/>
                    <a:pt x="196" y="8"/>
                    <a:pt x="196" y="8"/>
                  </a:cubicBezTo>
                  <a:cubicBezTo>
                    <a:pt x="198" y="8"/>
                    <a:pt x="199" y="8"/>
                    <a:pt x="201" y="8"/>
                  </a:cubicBezTo>
                  <a:cubicBezTo>
                    <a:pt x="205" y="8"/>
                    <a:pt x="208" y="10"/>
                    <a:pt x="210" y="15"/>
                  </a:cubicBezTo>
                  <a:cubicBezTo>
                    <a:pt x="212" y="20"/>
                    <a:pt x="215" y="25"/>
                    <a:pt x="217" y="27"/>
                  </a:cubicBezTo>
                  <a:cubicBezTo>
                    <a:pt x="219" y="27"/>
                    <a:pt x="221" y="27"/>
                    <a:pt x="223" y="26"/>
                  </a:cubicBezTo>
                  <a:cubicBezTo>
                    <a:pt x="223" y="26"/>
                    <a:pt x="223" y="26"/>
                    <a:pt x="223" y="26"/>
                  </a:cubicBezTo>
                  <a:cubicBezTo>
                    <a:pt x="225" y="23"/>
                    <a:pt x="226" y="18"/>
                    <a:pt x="226" y="12"/>
                  </a:cubicBezTo>
                  <a:cubicBezTo>
                    <a:pt x="227" y="2"/>
                    <a:pt x="233" y="1"/>
                    <a:pt x="236" y="1"/>
                  </a:cubicBezTo>
                  <a:cubicBezTo>
                    <a:pt x="237" y="1"/>
                    <a:pt x="237" y="1"/>
                    <a:pt x="237" y="1"/>
                  </a:cubicBezTo>
                  <a:cubicBezTo>
                    <a:pt x="238" y="1"/>
                    <a:pt x="239" y="1"/>
                    <a:pt x="240" y="1"/>
                  </a:cubicBezTo>
                  <a:cubicBezTo>
                    <a:pt x="245" y="1"/>
                    <a:pt x="248" y="4"/>
                    <a:pt x="249" y="10"/>
                  </a:cubicBezTo>
                  <a:cubicBezTo>
                    <a:pt x="251" y="15"/>
                    <a:pt x="253" y="20"/>
                    <a:pt x="255" y="23"/>
                  </a:cubicBezTo>
                  <a:cubicBezTo>
                    <a:pt x="257" y="23"/>
                    <a:pt x="259" y="23"/>
                    <a:pt x="261" y="23"/>
                  </a:cubicBezTo>
                  <a:cubicBezTo>
                    <a:pt x="263" y="20"/>
                    <a:pt x="265" y="15"/>
                    <a:pt x="266" y="9"/>
                  </a:cubicBezTo>
                  <a:cubicBezTo>
                    <a:pt x="267" y="3"/>
                    <a:pt x="270" y="0"/>
                    <a:pt x="276" y="0"/>
                  </a:cubicBezTo>
                  <a:cubicBezTo>
                    <a:pt x="276" y="0"/>
                    <a:pt x="277" y="0"/>
                    <a:pt x="278" y="0"/>
                  </a:cubicBezTo>
                  <a:cubicBezTo>
                    <a:pt x="279" y="0"/>
                    <a:pt x="279" y="0"/>
                    <a:pt x="279" y="0"/>
                  </a:cubicBezTo>
                  <a:cubicBezTo>
                    <a:pt x="282" y="0"/>
                    <a:pt x="288" y="0"/>
                    <a:pt x="289" y="11"/>
                  </a:cubicBezTo>
                  <a:cubicBezTo>
                    <a:pt x="290" y="16"/>
                    <a:pt x="291" y="22"/>
                    <a:pt x="293" y="24"/>
                  </a:cubicBezTo>
                  <a:cubicBezTo>
                    <a:pt x="295" y="25"/>
                    <a:pt x="297" y="25"/>
                    <a:pt x="299" y="25"/>
                  </a:cubicBezTo>
                  <a:cubicBezTo>
                    <a:pt x="301" y="23"/>
                    <a:pt x="304" y="18"/>
                    <a:pt x="306" y="13"/>
                  </a:cubicBezTo>
                  <a:cubicBezTo>
                    <a:pt x="308" y="7"/>
                    <a:pt x="311" y="5"/>
                    <a:pt x="315" y="5"/>
                  </a:cubicBezTo>
                  <a:cubicBezTo>
                    <a:pt x="316" y="5"/>
                    <a:pt x="317" y="5"/>
                    <a:pt x="319" y="5"/>
                  </a:cubicBezTo>
                  <a:cubicBezTo>
                    <a:pt x="320" y="5"/>
                    <a:pt x="320" y="5"/>
                    <a:pt x="320" y="5"/>
                  </a:cubicBezTo>
                  <a:cubicBezTo>
                    <a:pt x="323" y="6"/>
                    <a:pt x="329" y="7"/>
                    <a:pt x="328" y="18"/>
                  </a:cubicBezTo>
                  <a:cubicBezTo>
                    <a:pt x="328" y="23"/>
                    <a:pt x="329" y="29"/>
                    <a:pt x="330" y="32"/>
                  </a:cubicBezTo>
                  <a:cubicBezTo>
                    <a:pt x="332" y="32"/>
                    <a:pt x="333" y="33"/>
                    <a:pt x="335" y="34"/>
                  </a:cubicBezTo>
                  <a:cubicBezTo>
                    <a:pt x="338" y="32"/>
                    <a:pt x="342" y="27"/>
                    <a:pt x="344" y="22"/>
                  </a:cubicBezTo>
                  <a:cubicBezTo>
                    <a:pt x="347" y="18"/>
                    <a:pt x="350" y="16"/>
                    <a:pt x="353" y="16"/>
                  </a:cubicBezTo>
                  <a:cubicBezTo>
                    <a:pt x="355" y="16"/>
                    <a:pt x="357" y="16"/>
                    <a:pt x="358" y="17"/>
                  </a:cubicBezTo>
                  <a:cubicBezTo>
                    <a:pt x="359" y="17"/>
                    <a:pt x="359" y="17"/>
                    <a:pt x="359" y="17"/>
                  </a:cubicBezTo>
                  <a:cubicBezTo>
                    <a:pt x="362" y="18"/>
                    <a:pt x="368" y="21"/>
                    <a:pt x="366" y="31"/>
                  </a:cubicBezTo>
                  <a:cubicBezTo>
                    <a:pt x="365" y="36"/>
                    <a:pt x="364" y="42"/>
                    <a:pt x="365" y="45"/>
                  </a:cubicBezTo>
                  <a:cubicBezTo>
                    <a:pt x="367" y="46"/>
                    <a:pt x="368" y="46"/>
                    <a:pt x="370" y="47"/>
                  </a:cubicBezTo>
                  <a:cubicBezTo>
                    <a:pt x="370" y="48"/>
                    <a:pt x="370" y="48"/>
                    <a:pt x="370" y="48"/>
                  </a:cubicBezTo>
                  <a:cubicBezTo>
                    <a:pt x="373" y="46"/>
                    <a:pt x="378" y="42"/>
                    <a:pt x="381" y="38"/>
                  </a:cubicBezTo>
                  <a:cubicBezTo>
                    <a:pt x="384" y="34"/>
                    <a:pt x="387" y="33"/>
                    <a:pt x="390" y="33"/>
                  </a:cubicBezTo>
                  <a:cubicBezTo>
                    <a:pt x="392" y="33"/>
                    <a:pt x="394" y="34"/>
                    <a:pt x="396" y="35"/>
                  </a:cubicBezTo>
                  <a:cubicBezTo>
                    <a:pt x="397" y="35"/>
                    <a:pt x="397" y="35"/>
                    <a:pt x="397" y="35"/>
                  </a:cubicBezTo>
                  <a:cubicBezTo>
                    <a:pt x="400" y="37"/>
                    <a:pt x="405" y="40"/>
                    <a:pt x="401" y="50"/>
                  </a:cubicBezTo>
                  <a:cubicBezTo>
                    <a:pt x="399" y="55"/>
                    <a:pt x="398" y="60"/>
                    <a:pt x="398" y="64"/>
                  </a:cubicBezTo>
                  <a:cubicBezTo>
                    <a:pt x="400" y="65"/>
                    <a:pt x="401" y="66"/>
                    <a:pt x="403" y="67"/>
                  </a:cubicBezTo>
                  <a:cubicBezTo>
                    <a:pt x="406" y="66"/>
                    <a:pt x="411" y="63"/>
                    <a:pt x="415" y="59"/>
                  </a:cubicBezTo>
                  <a:cubicBezTo>
                    <a:pt x="418" y="56"/>
                    <a:pt x="420" y="55"/>
                    <a:pt x="423" y="55"/>
                  </a:cubicBezTo>
                  <a:cubicBezTo>
                    <a:pt x="426" y="55"/>
                    <a:pt x="428" y="57"/>
                    <a:pt x="430" y="58"/>
                  </a:cubicBezTo>
                  <a:cubicBezTo>
                    <a:pt x="431" y="59"/>
                    <a:pt x="431" y="59"/>
                    <a:pt x="431" y="59"/>
                  </a:cubicBezTo>
                  <a:cubicBezTo>
                    <a:pt x="433" y="61"/>
                    <a:pt x="438" y="65"/>
                    <a:pt x="433" y="74"/>
                  </a:cubicBezTo>
                  <a:cubicBezTo>
                    <a:pt x="430" y="78"/>
                    <a:pt x="428" y="84"/>
                    <a:pt x="428" y="87"/>
                  </a:cubicBezTo>
                  <a:cubicBezTo>
                    <a:pt x="429" y="88"/>
                    <a:pt x="430" y="90"/>
                    <a:pt x="432" y="91"/>
                  </a:cubicBezTo>
                  <a:cubicBezTo>
                    <a:pt x="435" y="90"/>
                    <a:pt x="440" y="88"/>
                    <a:pt x="445" y="85"/>
                  </a:cubicBezTo>
                  <a:cubicBezTo>
                    <a:pt x="448" y="83"/>
                    <a:pt x="450" y="82"/>
                    <a:pt x="453" y="82"/>
                  </a:cubicBezTo>
                  <a:cubicBezTo>
                    <a:pt x="456" y="82"/>
                    <a:pt x="458" y="85"/>
                    <a:pt x="460" y="87"/>
                  </a:cubicBezTo>
                  <a:cubicBezTo>
                    <a:pt x="461" y="87"/>
                    <a:pt x="461" y="87"/>
                    <a:pt x="461" y="87"/>
                  </a:cubicBezTo>
                  <a:cubicBezTo>
                    <a:pt x="463" y="90"/>
                    <a:pt x="467" y="94"/>
                    <a:pt x="460" y="102"/>
                  </a:cubicBezTo>
                  <a:cubicBezTo>
                    <a:pt x="457" y="107"/>
                    <a:pt x="454" y="111"/>
                    <a:pt x="453" y="115"/>
                  </a:cubicBezTo>
                  <a:cubicBezTo>
                    <a:pt x="453" y="115"/>
                    <a:pt x="453" y="115"/>
                    <a:pt x="453" y="115"/>
                  </a:cubicBezTo>
                  <a:cubicBezTo>
                    <a:pt x="454" y="116"/>
                    <a:pt x="456" y="118"/>
                    <a:pt x="457" y="119"/>
                  </a:cubicBezTo>
                  <a:cubicBezTo>
                    <a:pt x="460" y="119"/>
                    <a:pt x="465" y="118"/>
                    <a:pt x="471" y="116"/>
                  </a:cubicBezTo>
                  <a:cubicBezTo>
                    <a:pt x="473" y="115"/>
                    <a:pt x="475" y="114"/>
                    <a:pt x="477" y="114"/>
                  </a:cubicBezTo>
                  <a:cubicBezTo>
                    <a:pt x="482" y="114"/>
                    <a:pt x="484" y="117"/>
                    <a:pt x="485" y="119"/>
                  </a:cubicBezTo>
                  <a:cubicBezTo>
                    <a:pt x="486" y="120"/>
                    <a:pt x="486" y="120"/>
                    <a:pt x="486" y="120"/>
                  </a:cubicBezTo>
                  <a:cubicBezTo>
                    <a:pt x="488" y="123"/>
                    <a:pt x="491" y="128"/>
                    <a:pt x="483" y="135"/>
                  </a:cubicBezTo>
                  <a:cubicBezTo>
                    <a:pt x="479" y="139"/>
                    <a:pt x="476" y="143"/>
                    <a:pt x="474" y="146"/>
                  </a:cubicBezTo>
                  <a:cubicBezTo>
                    <a:pt x="475" y="148"/>
                    <a:pt x="476" y="150"/>
                    <a:pt x="477" y="151"/>
                  </a:cubicBezTo>
                  <a:cubicBezTo>
                    <a:pt x="480" y="152"/>
                    <a:pt x="486" y="151"/>
                    <a:pt x="491" y="150"/>
                  </a:cubicBezTo>
                  <a:cubicBezTo>
                    <a:pt x="493" y="149"/>
                    <a:pt x="495" y="149"/>
                    <a:pt x="496" y="149"/>
                  </a:cubicBezTo>
                  <a:cubicBezTo>
                    <a:pt x="502" y="149"/>
                    <a:pt x="504" y="153"/>
                    <a:pt x="505" y="156"/>
                  </a:cubicBezTo>
                  <a:cubicBezTo>
                    <a:pt x="505" y="157"/>
                    <a:pt x="505" y="157"/>
                    <a:pt x="505" y="157"/>
                  </a:cubicBezTo>
                  <a:cubicBezTo>
                    <a:pt x="507" y="160"/>
                    <a:pt x="509" y="165"/>
                    <a:pt x="500" y="171"/>
                  </a:cubicBezTo>
                  <a:cubicBezTo>
                    <a:pt x="496" y="174"/>
                    <a:pt x="492" y="178"/>
                    <a:pt x="490" y="180"/>
                  </a:cubicBezTo>
                  <a:cubicBezTo>
                    <a:pt x="491" y="182"/>
                    <a:pt x="491" y="184"/>
                    <a:pt x="492" y="186"/>
                  </a:cubicBezTo>
                  <a:cubicBezTo>
                    <a:pt x="495" y="187"/>
                    <a:pt x="501" y="187"/>
                    <a:pt x="506" y="187"/>
                  </a:cubicBezTo>
                  <a:cubicBezTo>
                    <a:pt x="507" y="187"/>
                    <a:pt x="508" y="187"/>
                    <a:pt x="509" y="187"/>
                  </a:cubicBezTo>
                  <a:cubicBezTo>
                    <a:pt x="517" y="187"/>
                    <a:pt x="518" y="192"/>
                    <a:pt x="519" y="195"/>
                  </a:cubicBezTo>
                  <a:cubicBezTo>
                    <a:pt x="519" y="196"/>
                    <a:pt x="519" y="196"/>
                    <a:pt x="519" y="196"/>
                  </a:cubicBezTo>
                  <a:cubicBezTo>
                    <a:pt x="520" y="199"/>
                    <a:pt x="522" y="205"/>
                    <a:pt x="512" y="209"/>
                  </a:cubicBezTo>
                  <a:cubicBezTo>
                    <a:pt x="507" y="211"/>
                    <a:pt x="502" y="214"/>
                    <a:pt x="500" y="217"/>
                  </a:cubicBezTo>
                  <a:cubicBezTo>
                    <a:pt x="500" y="219"/>
                    <a:pt x="501" y="221"/>
                    <a:pt x="501" y="222"/>
                  </a:cubicBezTo>
                  <a:cubicBezTo>
                    <a:pt x="501" y="223"/>
                    <a:pt x="501" y="223"/>
                    <a:pt x="501" y="223"/>
                  </a:cubicBezTo>
                  <a:cubicBezTo>
                    <a:pt x="504" y="224"/>
                    <a:pt x="509" y="225"/>
                    <a:pt x="515" y="226"/>
                  </a:cubicBezTo>
                  <a:cubicBezTo>
                    <a:pt x="526" y="226"/>
                    <a:pt x="526" y="232"/>
                    <a:pt x="526" y="236"/>
                  </a:cubicBezTo>
                  <a:cubicBezTo>
                    <a:pt x="527" y="236"/>
                    <a:pt x="527" y="236"/>
                    <a:pt x="527" y="236"/>
                  </a:cubicBezTo>
                  <a:cubicBezTo>
                    <a:pt x="527" y="240"/>
                    <a:pt x="528" y="246"/>
                    <a:pt x="517" y="248"/>
                  </a:cubicBezTo>
                  <a:cubicBezTo>
                    <a:pt x="512" y="250"/>
                    <a:pt x="507" y="252"/>
                    <a:pt x="504" y="254"/>
                  </a:cubicBezTo>
                  <a:cubicBezTo>
                    <a:pt x="505" y="256"/>
                    <a:pt x="505" y="258"/>
                    <a:pt x="505" y="260"/>
                  </a:cubicBezTo>
                  <a:cubicBezTo>
                    <a:pt x="507" y="262"/>
                    <a:pt x="512" y="264"/>
                    <a:pt x="518" y="265"/>
                  </a:cubicBezTo>
                  <a:cubicBezTo>
                    <a:pt x="528" y="267"/>
                    <a:pt x="528" y="274"/>
                    <a:pt x="528" y="277"/>
                  </a:cubicBezTo>
                  <a:cubicBezTo>
                    <a:pt x="527" y="278"/>
                    <a:pt x="527" y="278"/>
                    <a:pt x="527" y="278"/>
                  </a:cubicBezTo>
                  <a:cubicBezTo>
                    <a:pt x="527" y="281"/>
                    <a:pt x="527" y="288"/>
                    <a:pt x="517" y="288"/>
                  </a:cubicBezTo>
                  <a:cubicBezTo>
                    <a:pt x="511" y="289"/>
                    <a:pt x="506" y="290"/>
                    <a:pt x="503" y="292"/>
                  </a:cubicBezTo>
                  <a:cubicBezTo>
                    <a:pt x="503" y="294"/>
                    <a:pt x="502" y="296"/>
                    <a:pt x="502" y="298"/>
                  </a:cubicBezTo>
                  <a:cubicBezTo>
                    <a:pt x="504" y="300"/>
                    <a:pt x="509" y="303"/>
                    <a:pt x="515" y="305"/>
                  </a:cubicBezTo>
                  <a:cubicBezTo>
                    <a:pt x="524" y="309"/>
                    <a:pt x="523" y="315"/>
                    <a:pt x="522" y="318"/>
                  </a:cubicBezTo>
                  <a:cubicBezTo>
                    <a:pt x="522" y="319"/>
                    <a:pt x="522" y="319"/>
                    <a:pt x="522" y="319"/>
                  </a:cubicBezTo>
                  <a:cubicBezTo>
                    <a:pt x="521" y="322"/>
                    <a:pt x="520" y="328"/>
                    <a:pt x="512" y="328"/>
                  </a:cubicBezTo>
                  <a:cubicBezTo>
                    <a:pt x="511" y="328"/>
                    <a:pt x="510" y="328"/>
                    <a:pt x="510" y="328"/>
                  </a:cubicBezTo>
                  <a:cubicBezTo>
                    <a:pt x="509" y="327"/>
                    <a:pt x="508" y="327"/>
                    <a:pt x="507" y="327"/>
                  </a:cubicBezTo>
                  <a:cubicBezTo>
                    <a:pt x="502" y="327"/>
                    <a:pt x="498" y="328"/>
                    <a:pt x="496" y="329"/>
                  </a:cubicBezTo>
                  <a:cubicBezTo>
                    <a:pt x="495" y="331"/>
                    <a:pt x="494" y="333"/>
                    <a:pt x="494" y="335"/>
                  </a:cubicBezTo>
                  <a:cubicBezTo>
                    <a:pt x="496" y="337"/>
                    <a:pt x="500" y="341"/>
                    <a:pt x="505" y="344"/>
                  </a:cubicBezTo>
                  <a:cubicBezTo>
                    <a:pt x="514" y="349"/>
                    <a:pt x="512" y="355"/>
                    <a:pt x="510" y="358"/>
                  </a:cubicBezTo>
                  <a:cubicBezTo>
                    <a:pt x="510" y="359"/>
                    <a:pt x="510" y="359"/>
                    <a:pt x="510" y="359"/>
                  </a:cubicBezTo>
                  <a:cubicBezTo>
                    <a:pt x="509" y="361"/>
                    <a:pt x="507" y="366"/>
                    <a:pt x="501" y="366"/>
                  </a:cubicBezTo>
                  <a:cubicBezTo>
                    <a:pt x="500" y="366"/>
                    <a:pt x="498" y="366"/>
                    <a:pt x="497" y="365"/>
                  </a:cubicBezTo>
                  <a:cubicBezTo>
                    <a:pt x="491" y="364"/>
                    <a:pt x="486" y="364"/>
                    <a:pt x="482" y="364"/>
                  </a:cubicBezTo>
                  <a:cubicBezTo>
                    <a:pt x="482" y="366"/>
                    <a:pt x="481" y="368"/>
                    <a:pt x="480" y="370"/>
                  </a:cubicBezTo>
                  <a:cubicBezTo>
                    <a:pt x="481" y="373"/>
                    <a:pt x="485" y="377"/>
                    <a:pt x="489" y="380"/>
                  </a:cubicBezTo>
                  <a:cubicBezTo>
                    <a:pt x="498" y="387"/>
                    <a:pt x="494" y="392"/>
                    <a:pt x="493" y="395"/>
                  </a:cubicBezTo>
                  <a:cubicBezTo>
                    <a:pt x="492" y="396"/>
                    <a:pt x="492" y="396"/>
                    <a:pt x="492" y="396"/>
                  </a:cubicBezTo>
                  <a:cubicBezTo>
                    <a:pt x="491" y="398"/>
                    <a:pt x="489" y="402"/>
                    <a:pt x="484" y="402"/>
                  </a:cubicBezTo>
                  <a:cubicBezTo>
                    <a:pt x="482" y="402"/>
                    <a:pt x="480" y="401"/>
                    <a:pt x="478" y="400"/>
                  </a:cubicBezTo>
                  <a:cubicBezTo>
                    <a:pt x="473" y="398"/>
                    <a:pt x="467" y="397"/>
                    <a:pt x="464" y="397"/>
                  </a:cubicBezTo>
                  <a:cubicBezTo>
                    <a:pt x="463" y="399"/>
                    <a:pt x="462" y="401"/>
                    <a:pt x="461" y="402"/>
                  </a:cubicBezTo>
                  <a:cubicBezTo>
                    <a:pt x="462" y="405"/>
                    <a:pt x="464" y="410"/>
                    <a:pt x="468" y="414"/>
                  </a:cubicBezTo>
                  <a:cubicBezTo>
                    <a:pt x="475" y="422"/>
                    <a:pt x="471" y="427"/>
                    <a:pt x="469" y="429"/>
                  </a:cubicBezTo>
                  <a:cubicBezTo>
                    <a:pt x="469" y="430"/>
                    <a:pt x="469" y="430"/>
                    <a:pt x="469" y="430"/>
                  </a:cubicBezTo>
                  <a:cubicBezTo>
                    <a:pt x="467" y="432"/>
                    <a:pt x="465" y="435"/>
                    <a:pt x="461" y="435"/>
                  </a:cubicBezTo>
                  <a:cubicBezTo>
                    <a:pt x="459" y="435"/>
                    <a:pt x="456" y="434"/>
                    <a:pt x="454" y="432"/>
                  </a:cubicBezTo>
                  <a:cubicBezTo>
                    <a:pt x="449" y="429"/>
                    <a:pt x="444" y="427"/>
                    <a:pt x="440" y="427"/>
                  </a:cubicBezTo>
                  <a:cubicBezTo>
                    <a:pt x="439" y="428"/>
                    <a:pt x="438" y="430"/>
                    <a:pt x="436" y="431"/>
                  </a:cubicBezTo>
                  <a:cubicBezTo>
                    <a:pt x="437" y="435"/>
                    <a:pt x="439" y="440"/>
                    <a:pt x="442" y="444"/>
                  </a:cubicBezTo>
                  <a:cubicBezTo>
                    <a:pt x="448" y="453"/>
                    <a:pt x="443" y="457"/>
                    <a:pt x="441" y="459"/>
                  </a:cubicBezTo>
                  <a:cubicBezTo>
                    <a:pt x="440" y="460"/>
                    <a:pt x="440" y="460"/>
                    <a:pt x="440" y="460"/>
                  </a:cubicBezTo>
                  <a:cubicBezTo>
                    <a:pt x="439" y="461"/>
                    <a:pt x="436" y="463"/>
                    <a:pt x="433" y="463"/>
                  </a:cubicBezTo>
                  <a:cubicBezTo>
                    <a:pt x="431" y="463"/>
                    <a:pt x="428" y="462"/>
                    <a:pt x="425" y="460"/>
                  </a:cubicBezTo>
                  <a:cubicBezTo>
                    <a:pt x="421" y="456"/>
                    <a:pt x="416" y="453"/>
                    <a:pt x="413" y="453"/>
                  </a:cubicBezTo>
                  <a:cubicBezTo>
                    <a:pt x="411" y="454"/>
                    <a:pt x="410" y="455"/>
                    <a:pt x="408" y="456"/>
                  </a:cubicBezTo>
                  <a:cubicBezTo>
                    <a:pt x="408" y="460"/>
                    <a:pt x="409" y="465"/>
                    <a:pt x="412" y="470"/>
                  </a:cubicBezTo>
                  <a:cubicBezTo>
                    <a:pt x="416" y="479"/>
                    <a:pt x="411" y="483"/>
                    <a:pt x="408" y="485"/>
                  </a:cubicBezTo>
                  <a:cubicBezTo>
                    <a:pt x="407" y="485"/>
                    <a:pt x="407" y="485"/>
                    <a:pt x="407" y="485"/>
                  </a:cubicBezTo>
                  <a:cubicBezTo>
                    <a:pt x="406" y="486"/>
                    <a:pt x="404" y="487"/>
                    <a:pt x="401" y="487"/>
                  </a:cubicBezTo>
                  <a:cubicBezTo>
                    <a:pt x="398" y="487"/>
                    <a:pt x="395" y="486"/>
                    <a:pt x="392" y="482"/>
                  </a:cubicBezTo>
                  <a:cubicBezTo>
                    <a:pt x="389" y="478"/>
                    <a:pt x="384" y="475"/>
                    <a:pt x="381" y="474"/>
                  </a:cubicBezTo>
                  <a:cubicBezTo>
                    <a:pt x="380" y="474"/>
                    <a:pt x="378" y="475"/>
                    <a:pt x="376" y="476"/>
                  </a:cubicBezTo>
                  <a:cubicBezTo>
                    <a:pt x="376" y="480"/>
                    <a:pt x="376" y="485"/>
                    <a:pt x="378" y="491"/>
                  </a:cubicBezTo>
                  <a:cubicBezTo>
                    <a:pt x="381" y="501"/>
                    <a:pt x="375" y="503"/>
                    <a:pt x="372" y="504"/>
                  </a:cubicBezTo>
                  <a:cubicBezTo>
                    <a:pt x="371" y="505"/>
                    <a:pt x="371" y="505"/>
                    <a:pt x="371" y="505"/>
                  </a:cubicBezTo>
                  <a:cubicBezTo>
                    <a:pt x="369" y="505"/>
                    <a:pt x="367" y="506"/>
                    <a:pt x="365" y="506"/>
                  </a:cubicBezTo>
                  <a:cubicBezTo>
                    <a:pt x="362" y="506"/>
                    <a:pt x="359" y="504"/>
                    <a:pt x="356" y="500"/>
                  </a:cubicBezTo>
                  <a:cubicBezTo>
                    <a:pt x="353" y="495"/>
                    <a:pt x="350" y="491"/>
                    <a:pt x="347" y="489"/>
                  </a:cubicBezTo>
                  <a:cubicBezTo>
                    <a:pt x="345" y="490"/>
                    <a:pt x="343" y="491"/>
                    <a:pt x="341" y="491"/>
                  </a:cubicBezTo>
                  <a:cubicBezTo>
                    <a:pt x="340" y="494"/>
                    <a:pt x="340" y="500"/>
                    <a:pt x="341" y="506"/>
                  </a:cubicBezTo>
                  <a:cubicBezTo>
                    <a:pt x="342" y="516"/>
                    <a:pt x="336" y="517"/>
                    <a:pt x="333" y="518"/>
                  </a:cubicBezTo>
                  <a:cubicBezTo>
                    <a:pt x="332" y="518"/>
                    <a:pt x="332" y="518"/>
                    <a:pt x="332" y="518"/>
                  </a:cubicBezTo>
                  <a:cubicBezTo>
                    <a:pt x="330" y="519"/>
                    <a:pt x="329" y="519"/>
                    <a:pt x="327" y="519"/>
                  </a:cubicBezTo>
                  <a:cubicBezTo>
                    <a:pt x="323" y="519"/>
                    <a:pt x="320" y="517"/>
                    <a:pt x="318" y="511"/>
                  </a:cubicBezTo>
                  <a:cubicBezTo>
                    <a:pt x="316" y="506"/>
                    <a:pt x="313" y="502"/>
                    <a:pt x="311" y="499"/>
                  </a:cubicBezTo>
                  <a:cubicBezTo>
                    <a:pt x="309" y="500"/>
                    <a:pt x="307" y="500"/>
                    <a:pt x="305" y="500"/>
                  </a:cubicBezTo>
                  <a:cubicBezTo>
                    <a:pt x="305" y="500"/>
                    <a:pt x="305" y="500"/>
                    <a:pt x="305" y="500"/>
                  </a:cubicBezTo>
                  <a:cubicBezTo>
                    <a:pt x="303" y="503"/>
                    <a:pt x="302" y="509"/>
                    <a:pt x="302" y="514"/>
                  </a:cubicBezTo>
                  <a:cubicBezTo>
                    <a:pt x="302" y="525"/>
                    <a:pt x="295" y="525"/>
                    <a:pt x="292" y="526"/>
                  </a:cubicBezTo>
                  <a:cubicBezTo>
                    <a:pt x="291" y="526"/>
                    <a:pt x="291" y="526"/>
                    <a:pt x="291" y="526"/>
                  </a:cubicBezTo>
                  <a:cubicBezTo>
                    <a:pt x="290" y="526"/>
                    <a:pt x="289" y="526"/>
                    <a:pt x="288" y="526"/>
                  </a:cubicBezTo>
                  <a:cubicBezTo>
                    <a:pt x="283" y="526"/>
                    <a:pt x="280" y="523"/>
                    <a:pt x="279" y="517"/>
                  </a:cubicBezTo>
                  <a:cubicBezTo>
                    <a:pt x="277" y="511"/>
                    <a:pt x="275" y="506"/>
                    <a:pt x="273" y="504"/>
                  </a:cubicBezTo>
                  <a:cubicBezTo>
                    <a:pt x="271" y="504"/>
                    <a:pt x="269" y="504"/>
                    <a:pt x="267" y="504"/>
                  </a:cubicBezTo>
                  <a:cubicBezTo>
                    <a:pt x="265" y="507"/>
                    <a:pt x="263" y="512"/>
                    <a:pt x="262" y="517"/>
                  </a:cubicBezTo>
                  <a:cubicBezTo>
                    <a:pt x="261" y="524"/>
                    <a:pt x="258" y="527"/>
                    <a:pt x="252" y="527"/>
                  </a:cubicBezTo>
                  <a:close/>
                  <a:moveTo>
                    <a:pt x="229" y="497"/>
                  </a:moveTo>
                  <a:cubicBezTo>
                    <a:pt x="229" y="497"/>
                    <a:pt x="229" y="497"/>
                    <a:pt x="229" y="497"/>
                  </a:cubicBezTo>
                  <a:cubicBezTo>
                    <a:pt x="232" y="498"/>
                    <a:pt x="234" y="498"/>
                    <a:pt x="237" y="498"/>
                  </a:cubicBezTo>
                  <a:cubicBezTo>
                    <a:pt x="237" y="498"/>
                    <a:pt x="238" y="499"/>
                    <a:pt x="238" y="499"/>
                  </a:cubicBezTo>
                  <a:cubicBezTo>
                    <a:pt x="241" y="503"/>
                    <a:pt x="243" y="510"/>
                    <a:pt x="243" y="516"/>
                  </a:cubicBezTo>
                  <a:cubicBezTo>
                    <a:pt x="244" y="522"/>
                    <a:pt x="246" y="523"/>
                    <a:pt x="250" y="523"/>
                  </a:cubicBezTo>
                  <a:cubicBezTo>
                    <a:pt x="251" y="523"/>
                    <a:pt x="251" y="523"/>
                    <a:pt x="251" y="523"/>
                  </a:cubicBezTo>
                  <a:cubicBezTo>
                    <a:pt x="251" y="523"/>
                    <a:pt x="252" y="523"/>
                    <a:pt x="252" y="523"/>
                  </a:cubicBezTo>
                  <a:cubicBezTo>
                    <a:pt x="254" y="523"/>
                    <a:pt x="257" y="523"/>
                    <a:pt x="258" y="517"/>
                  </a:cubicBezTo>
                  <a:cubicBezTo>
                    <a:pt x="259" y="511"/>
                    <a:pt x="261" y="504"/>
                    <a:pt x="265" y="501"/>
                  </a:cubicBezTo>
                  <a:cubicBezTo>
                    <a:pt x="265" y="500"/>
                    <a:pt x="266" y="500"/>
                    <a:pt x="266" y="500"/>
                  </a:cubicBezTo>
                  <a:cubicBezTo>
                    <a:pt x="269" y="500"/>
                    <a:pt x="271" y="500"/>
                    <a:pt x="273" y="500"/>
                  </a:cubicBezTo>
                  <a:cubicBezTo>
                    <a:pt x="274" y="500"/>
                    <a:pt x="274" y="500"/>
                    <a:pt x="274" y="500"/>
                  </a:cubicBezTo>
                  <a:cubicBezTo>
                    <a:pt x="274" y="500"/>
                    <a:pt x="275" y="500"/>
                    <a:pt x="275" y="500"/>
                  </a:cubicBezTo>
                  <a:cubicBezTo>
                    <a:pt x="279" y="504"/>
                    <a:pt x="281" y="510"/>
                    <a:pt x="283" y="516"/>
                  </a:cubicBezTo>
                  <a:cubicBezTo>
                    <a:pt x="284" y="522"/>
                    <a:pt x="287" y="522"/>
                    <a:pt x="288" y="522"/>
                  </a:cubicBezTo>
                  <a:cubicBezTo>
                    <a:pt x="289" y="522"/>
                    <a:pt x="290" y="522"/>
                    <a:pt x="290" y="522"/>
                  </a:cubicBezTo>
                  <a:cubicBezTo>
                    <a:pt x="292" y="522"/>
                    <a:pt x="292" y="522"/>
                    <a:pt x="292" y="522"/>
                  </a:cubicBezTo>
                  <a:cubicBezTo>
                    <a:pt x="295" y="521"/>
                    <a:pt x="297" y="521"/>
                    <a:pt x="298" y="514"/>
                  </a:cubicBezTo>
                  <a:cubicBezTo>
                    <a:pt x="298" y="509"/>
                    <a:pt x="299" y="501"/>
                    <a:pt x="302" y="497"/>
                  </a:cubicBezTo>
                  <a:cubicBezTo>
                    <a:pt x="302" y="497"/>
                    <a:pt x="303" y="497"/>
                    <a:pt x="303" y="497"/>
                  </a:cubicBezTo>
                  <a:cubicBezTo>
                    <a:pt x="304" y="496"/>
                    <a:pt x="304" y="496"/>
                    <a:pt x="304" y="496"/>
                  </a:cubicBezTo>
                  <a:cubicBezTo>
                    <a:pt x="306" y="496"/>
                    <a:pt x="309" y="496"/>
                    <a:pt x="311" y="495"/>
                  </a:cubicBezTo>
                  <a:cubicBezTo>
                    <a:pt x="311" y="495"/>
                    <a:pt x="312" y="495"/>
                    <a:pt x="312" y="496"/>
                  </a:cubicBezTo>
                  <a:cubicBezTo>
                    <a:pt x="316" y="498"/>
                    <a:pt x="320" y="505"/>
                    <a:pt x="322" y="510"/>
                  </a:cubicBezTo>
                  <a:cubicBezTo>
                    <a:pt x="324" y="515"/>
                    <a:pt x="327" y="515"/>
                    <a:pt x="327" y="515"/>
                  </a:cubicBezTo>
                  <a:cubicBezTo>
                    <a:pt x="328" y="515"/>
                    <a:pt x="329" y="515"/>
                    <a:pt x="330" y="514"/>
                  </a:cubicBezTo>
                  <a:cubicBezTo>
                    <a:pt x="332" y="514"/>
                    <a:pt x="332" y="514"/>
                    <a:pt x="332" y="514"/>
                  </a:cubicBezTo>
                  <a:cubicBezTo>
                    <a:pt x="335" y="513"/>
                    <a:pt x="337" y="513"/>
                    <a:pt x="336" y="506"/>
                  </a:cubicBezTo>
                  <a:cubicBezTo>
                    <a:pt x="336" y="500"/>
                    <a:pt x="336" y="493"/>
                    <a:pt x="338" y="489"/>
                  </a:cubicBezTo>
                  <a:cubicBezTo>
                    <a:pt x="338" y="488"/>
                    <a:pt x="339" y="488"/>
                    <a:pt x="339" y="488"/>
                  </a:cubicBezTo>
                  <a:cubicBezTo>
                    <a:pt x="342" y="487"/>
                    <a:pt x="344" y="486"/>
                    <a:pt x="346" y="485"/>
                  </a:cubicBezTo>
                  <a:cubicBezTo>
                    <a:pt x="347" y="485"/>
                    <a:pt x="348" y="485"/>
                    <a:pt x="348" y="485"/>
                  </a:cubicBezTo>
                  <a:cubicBezTo>
                    <a:pt x="352" y="487"/>
                    <a:pt x="357" y="493"/>
                    <a:pt x="360" y="498"/>
                  </a:cubicBezTo>
                  <a:cubicBezTo>
                    <a:pt x="363" y="502"/>
                    <a:pt x="365" y="502"/>
                    <a:pt x="365" y="502"/>
                  </a:cubicBezTo>
                  <a:cubicBezTo>
                    <a:pt x="367" y="502"/>
                    <a:pt x="368" y="501"/>
                    <a:pt x="369" y="501"/>
                  </a:cubicBezTo>
                  <a:cubicBezTo>
                    <a:pt x="370" y="500"/>
                    <a:pt x="370" y="500"/>
                    <a:pt x="370" y="500"/>
                  </a:cubicBezTo>
                  <a:cubicBezTo>
                    <a:pt x="373" y="499"/>
                    <a:pt x="375" y="498"/>
                    <a:pt x="373" y="492"/>
                  </a:cubicBezTo>
                  <a:cubicBezTo>
                    <a:pt x="372" y="486"/>
                    <a:pt x="371" y="479"/>
                    <a:pt x="372" y="474"/>
                  </a:cubicBezTo>
                  <a:cubicBezTo>
                    <a:pt x="372" y="474"/>
                    <a:pt x="373" y="473"/>
                    <a:pt x="373" y="473"/>
                  </a:cubicBezTo>
                  <a:cubicBezTo>
                    <a:pt x="375" y="472"/>
                    <a:pt x="378" y="471"/>
                    <a:pt x="380" y="470"/>
                  </a:cubicBezTo>
                  <a:cubicBezTo>
                    <a:pt x="380" y="469"/>
                    <a:pt x="380" y="469"/>
                    <a:pt x="380" y="469"/>
                  </a:cubicBezTo>
                  <a:cubicBezTo>
                    <a:pt x="381" y="469"/>
                    <a:pt x="381" y="469"/>
                    <a:pt x="382" y="469"/>
                  </a:cubicBezTo>
                  <a:cubicBezTo>
                    <a:pt x="386" y="471"/>
                    <a:pt x="392" y="476"/>
                    <a:pt x="395" y="480"/>
                  </a:cubicBezTo>
                  <a:cubicBezTo>
                    <a:pt x="398" y="482"/>
                    <a:pt x="399" y="483"/>
                    <a:pt x="401" y="483"/>
                  </a:cubicBezTo>
                  <a:cubicBezTo>
                    <a:pt x="402" y="483"/>
                    <a:pt x="404" y="482"/>
                    <a:pt x="405" y="482"/>
                  </a:cubicBezTo>
                  <a:cubicBezTo>
                    <a:pt x="406" y="481"/>
                    <a:pt x="406" y="481"/>
                    <a:pt x="406" y="481"/>
                  </a:cubicBezTo>
                  <a:cubicBezTo>
                    <a:pt x="409" y="479"/>
                    <a:pt x="411" y="478"/>
                    <a:pt x="408" y="472"/>
                  </a:cubicBezTo>
                  <a:cubicBezTo>
                    <a:pt x="406" y="467"/>
                    <a:pt x="403" y="460"/>
                    <a:pt x="404" y="455"/>
                  </a:cubicBezTo>
                  <a:cubicBezTo>
                    <a:pt x="404" y="454"/>
                    <a:pt x="404" y="454"/>
                    <a:pt x="405" y="453"/>
                  </a:cubicBezTo>
                  <a:cubicBezTo>
                    <a:pt x="407" y="452"/>
                    <a:pt x="409" y="450"/>
                    <a:pt x="411" y="449"/>
                  </a:cubicBezTo>
                  <a:cubicBezTo>
                    <a:pt x="411" y="448"/>
                    <a:pt x="412" y="448"/>
                    <a:pt x="412" y="448"/>
                  </a:cubicBezTo>
                  <a:cubicBezTo>
                    <a:pt x="417" y="449"/>
                    <a:pt x="423" y="453"/>
                    <a:pt x="428" y="456"/>
                  </a:cubicBezTo>
                  <a:cubicBezTo>
                    <a:pt x="430" y="458"/>
                    <a:pt x="432" y="459"/>
                    <a:pt x="433" y="459"/>
                  </a:cubicBezTo>
                  <a:cubicBezTo>
                    <a:pt x="435" y="459"/>
                    <a:pt x="436" y="458"/>
                    <a:pt x="437" y="457"/>
                  </a:cubicBezTo>
                  <a:cubicBezTo>
                    <a:pt x="438" y="456"/>
                    <a:pt x="438" y="456"/>
                    <a:pt x="438" y="456"/>
                  </a:cubicBezTo>
                  <a:cubicBezTo>
                    <a:pt x="441" y="454"/>
                    <a:pt x="443" y="452"/>
                    <a:pt x="439" y="447"/>
                  </a:cubicBezTo>
                  <a:cubicBezTo>
                    <a:pt x="436" y="442"/>
                    <a:pt x="432" y="435"/>
                    <a:pt x="432" y="431"/>
                  </a:cubicBezTo>
                  <a:cubicBezTo>
                    <a:pt x="432" y="430"/>
                    <a:pt x="432" y="429"/>
                    <a:pt x="433" y="429"/>
                  </a:cubicBezTo>
                  <a:cubicBezTo>
                    <a:pt x="435" y="427"/>
                    <a:pt x="436" y="425"/>
                    <a:pt x="438" y="423"/>
                  </a:cubicBezTo>
                  <a:cubicBezTo>
                    <a:pt x="438" y="423"/>
                    <a:pt x="439" y="423"/>
                    <a:pt x="440" y="423"/>
                  </a:cubicBezTo>
                  <a:cubicBezTo>
                    <a:pt x="444" y="423"/>
                    <a:pt x="451" y="426"/>
                    <a:pt x="456" y="428"/>
                  </a:cubicBezTo>
                  <a:cubicBezTo>
                    <a:pt x="458" y="430"/>
                    <a:pt x="460" y="430"/>
                    <a:pt x="461" y="430"/>
                  </a:cubicBezTo>
                  <a:cubicBezTo>
                    <a:pt x="463" y="430"/>
                    <a:pt x="464" y="429"/>
                    <a:pt x="465" y="427"/>
                  </a:cubicBezTo>
                  <a:cubicBezTo>
                    <a:pt x="466" y="427"/>
                    <a:pt x="466" y="427"/>
                    <a:pt x="466" y="427"/>
                  </a:cubicBezTo>
                  <a:cubicBezTo>
                    <a:pt x="468" y="424"/>
                    <a:pt x="470" y="422"/>
                    <a:pt x="465" y="417"/>
                  </a:cubicBezTo>
                  <a:cubicBezTo>
                    <a:pt x="461" y="413"/>
                    <a:pt x="457" y="407"/>
                    <a:pt x="456" y="402"/>
                  </a:cubicBezTo>
                  <a:cubicBezTo>
                    <a:pt x="456" y="402"/>
                    <a:pt x="456" y="401"/>
                    <a:pt x="457" y="401"/>
                  </a:cubicBezTo>
                  <a:cubicBezTo>
                    <a:pt x="458" y="398"/>
                    <a:pt x="460" y="396"/>
                    <a:pt x="461" y="394"/>
                  </a:cubicBezTo>
                  <a:cubicBezTo>
                    <a:pt x="461" y="394"/>
                    <a:pt x="462" y="393"/>
                    <a:pt x="462" y="393"/>
                  </a:cubicBezTo>
                  <a:cubicBezTo>
                    <a:pt x="466" y="393"/>
                    <a:pt x="473" y="394"/>
                    <a:pt x="479" y="396"/>
                  </a:cubicBezTo>
                  <a:cubicBezTo>
                    <a:pt x="481" y="397"/>
                    <a:pt x="483" y="398"/>
                    <a:pt x="484" y="398"/>
                  </a:cubicBezTo>
                  <a:cubicBezTo>
                    <a:pt x="486" y="398"/>
                    <a:pt x="487" y="396"/>
                    <a:pt x="489" y="394"/>
                  </a:cubicBezTo>
                  <a:cubicBezTo>
                    <a:pt x="489" y="393"/>
                    <a:pt x="489" y="393"/>
                    <a:pt x="489" y="393"/>
                  </a:cubicBezTo>
                  <a:cubicBezTo>
                    <a:pt x="491" y="390"/>
                    <a:pt x="492" y="388"/>
                    <a:pt x="487" y="384"/>
                  </a:cubicBezTo>
                  <a:cubicBezTo>
                    <a:pt x="482" y="380"/>
                    <a:pt x="477" y="375"/>
                    <a:pt x="476" y="370"/>
                  </a:cubicBezTo>
                  <a:cubicBezTo>
                    <a:pt x="475" y="370"/>
                    <a:pt x="475" y="369"/>
                    <a:pt x="476" y="369"/>
                  </a:cubicBezTo>
                  <a:cubicBezTo>
                    <a:pt x="476" y="369"/>
                    <a:pt x="476" y="369"/>
                    <a:pt x="476" y="369"/>
                  </a:cubicBezTo>
                  <a:cubicBezTo>
                    <a:pt x="477" y="366"/>
                    <a:pt x="478" y="364"/>
                    <a:pt x="479" y="362"/>
                  </a:cubicBezTo>
                  <a:cubicBezTo>
                    <a:pt x="479" y="361"/>
                    <a:pt x="480" y="361"/>
                    <a:pt x="480" y="361"/>
                  </a:cubicBezTo>
                  <a:cubicBezTo>
                    <a:pt x="484" y="360"/>
                    <a:pt x="491" y="360"/>
                    <a:pt x="498" y="361"/>
                  </a:cubicBezTo>
                  <a:cubicBezTo>
                    <a:pt x="499" y="361"/>
                    <a:pt x="500" y="362"/>
                    <a:pt x="501" y="362"/>
                  </a:cubicBezTo>
                  <a:cubicBezTo>
                    <a:pt x="504" y="362"/>
                    <a:pt x="505" y="360"/>
                    <a:pt x="506" y="357"/>
                  </a:cubicBezTo>
                  <a:cubicBezTo>
                    <a:pt x="507" y="356"/>
                    <a:pt x="507" y="356"/>
                    <a:pt x="507" y="356"/>
                  </a:cubicBezTo>
                  <a:cubicBezTo>
                    <a:pt x="508" y="353"/>
                    <a:pt x="509" y="351"/>
                    <a:pt x="503" y="347"/>
                  </a:cubicBezTo>
                  <a:cubicBezTo>
                    <a:pt x="498" y="345"/>
                    <a:pt x="492" y="340"/>
                    <a:pt x="490" y="336"/>
                  </a:cubicBezTo>
                  <a:cubicBezTo>
                    <a:pt x="489" y="336"/>
                    <a:pt x="489" y="335"/>
                    <a:pt x="490" y="334"/>
                  </a:cubicBezTo>
                  <a:cubicBezTo>
                    <a:pt x="490" y="332"/>
                    <a:pt x="491" y="329"/>
                    <a:pt x="492" y="327"/>
                  </a:cubicBezTo>
                  <a:cubicBezTo>
                    <a:pt x="492" y="326"/>
                    <a:pt x="492" y="326"/>
                    <a:pt x="493" y="326"/>
                  </a:cubicBezTo>
                  <a:cubicBezTo>
                    <a:pt x="497" y="324"/>
                    <a:pt x="504" y="323"/>
                    <a:pt x="507" y="323"/>
                  </a:cubicBezTo>
                  <a:cubicBezTo>
                    <a:pt x="508" y="323"/>
                    <a:pt x="509" y="323"/>
                    <a:pt x="510" y="323"/>
                  </a:cubicBezTo>
                  <a:cubicBezTo>
                    <a:pt x="511" y="323"/>
                    <a:pt x="511" y="323"/>
                    <a:pt x="512" y="323"/>
                  </a:cubicBezTo>
                  <a:cubicBezTo>
                    <a:pt x="517" y="323"/>
                    <a:pt x="517" y="321"/>
                    <a:pt x="518" y="318"/>
                  </a:cubicBezTo>
                  <a:cubicBezTo>
                    <a:pt x="518" y="317"/>
                    <a:pt x="518" y="317"/>
                    <a:pt x="518" y="317"/>
                  </a:cubicBezTo>
                  <a:cubicBezTo>
                    <a:pt x="519" y="314"/>
                    <a:pt x="519" y="311"/>
                    <a:pt x="513" y="309"/>
                  </a:cubicBezTo>
                  <a:cubicBezTo>
                    <a:pt x="508" y="307"/>
                    <a:pt x="501" y="304"/>
                    <a:pt x="498" y="300"/>
                  </a:cubicBezTo>
                  <a:cubicBezTo>
                    <a:pt x="498" y="299"/>
                    <a:pt x="498" y="299"/>
                    <a:pt x="498" y="298"/>
                  </a:cubicBezTo>
                  <a:cubicBezTo>
                    <a:pt x="498" y="296"/>
                    <a:pt x="499" y="293"/>
                    <a:pt x="499" y="291"/>
                  </a:cubicBezTo>
                  <a:cubicBezTo>
                    <a:pt x="499" y="290"/>
                    <a:pt x="499" y="289"/>
                    <a:pt x="500" y="289"/>
                  </a:cubicBezTo>
                  <a:cubicBezTo>
                    <a:pt x="504" y="286"/>
                    <a:pt x="511" y="285"/>
                    <a:pt x="516" y="284"/>
                  </a:cubicBezTo>
                  <a:cubicBezTo>
                    <a:pt x="523" y="284"/>
                    <a:pt x="523" y="281"/>
                    <a:pt x="523" y="278"/>
                  </a:cubicBezTo>
                  <a:cubicBezTo>
                    <a:pt x="523" y="277"/>
                    <a:pt x="523" y="277"/>
                    <a:pt x="523" y="277"/>
                  </a:cubicBezTo>
                  <a:cubicBezTo>
                    <a:pt x="524" y="273"/>
                    <a:pt x="524" y="271"/>
                    <a:pt x="517" y="269"/>
                  </a:cubicBezTo>
                  <a:cubicBezTo>
                    <a:pt x="512" y="268"/>
                    <a:pt x="505" y="266"/>
                    <a:pt x="501" y="263"/>
                  </a:cubicBezTo>
                  <a:cubicBezTo>
                    <a:pt x="501" y="262"/>
                    <a:pt x="500" y="262"/>
                    <a:pt x="500" y="261"/>
                  </a:cubicBezTo>
                  <a:cubicBezTo>
                    <a:pt x="500" y="259"/>
                    <a:pt x="500" y="257"/>
                    <a:pt x="500" y="254"/>
                  </a:cubicBezTo>
                  <a:cubicBezTo>
                    <a:pt x="500" y="254"/>
                    <a:pt x="500" y="254"/>
                    <a:pt x="500" y="254"/>
                  </a:cubicBezTo>
                  <a:cubicBezTo>
                    <a:pt x="500" y="253"/>
                    <a:pt x="500" y="252"/>
                    <a:pt x="501" y="252"/>
                  </a:cubicBezTo>
                  <a:cubicBezTo>
                    <a:pt x="504" y="249"/>
                    <a:pt x="511" y="246"/>
                    <a:pt x="516" y="244"/>
                  </a:cubicBezTo>
                  <a:cubicBezTo>
                    <a:pt x="523" y="243"/>
                    <a:pt x="523" y="240"/>
                    <a:pt x="522" y="237"/>
                  </a:cubicBezTo>
                  <a:cubicBezTo>
                    <a:pt x="522" y="236"/>
                    <a:pt x="522" y="236"/>
                    <a:pt x="522" y="236"/>
                  </a:cubicBezTo>
                  <a:cubicBezTo>
                    <a:pt x="522" y="233"/>
                    <a:pt x="522" y="230"/>
                    <a:pt x="515" y="230"/>
                  </a:cubicBezTo>
                  <a:cubicBezTo>
                    <a:pt x="509" y="229"/>
                    <a:pt x="502" y="228"/>
                    <a:pt x="498" y="226"/>
                  </a:cubicBezTo>
                  <a:cubicBezTo>
                    <a:pt x="498" y="225"/>
                    <a:pt x="497" y="225"/>
                    <a:pt x="497" y="224"/>
                  </a:cubicBezTo>
                  <a:cubicBezTo>
                    <a:pt x="497" y="223"/>
                    <a:pt x="497" y="223"/>
                    <a:pt x="497" y="223"/>
                  </a:cubicBezTo>
                  <a:cubicBezTo>
                    <a:pt x="497" y="221"/>
                    <a:pt x="496" y="219"/>
                    <a:pt x="496" y="217"/>
                  </a:cubicBezTo>
                  <a:cubicBezTo>
                    <a:pt x="496" y="216"/>
                    <a:pt x="496" y="215"/>
                    <a:pt x="496" y="215"/>
                  </a:cubicBezTo>
                  <a:cubicBezTo>
                    <a:pt x="499" y="211"/>
                    <a:pt x="505" y="207"/>
                    <a:pt x="510" y="205"/>
                  </a:cubicBezTo>
                  <a:cubicBezTo>
                    <a:pt x="517" y="203"/>
                    <a:pt x="516" y="200"/>
                    <a:pt x="515" y="197"/>
                  </a:cubicBezTo>
                  <a:cubicBezTo>
                    <a:pt x="515" y="196"/>
                    <a:pt x="515" y="196"/>
                    <a:pt x="515" y="196"/>
                  </a:cubicBezTo>
                  <a:cubicBezTo>
                    <a:pt x="514" y="193"/>
                    <a:pt x="514" y="191"/>
                    <a:pt x="509" y="191"/>
                  </a:cubicBezTo>
                  <a:cubicBezTo>
                    <a:pt x="508" y="191"/>
                    <a:pt x="507" y="191"/>
                    <a:pt x="507" y="191"/>
                  </a:cubicBezTo>
                  <a:cubicBezTo>
                    <a:pt x="505" y="191"/>
                    <a:pt x="503" y="191"/>
                    <a:pt x="501" y="191"/>
                  </a:cubicBezTo>
                  <a:cubicBezTo>
                    <a:pt x="497" y="191"/>
                    <a:pt x="493" y="191"/>
                    <a:pt x="489" y="189"/>
                  </a:cubicBezTo>
                  <a:cubicBezTo>
                    <a:pt x="489" y="189"/>
                    <a:pt x="488" y="189"/>
                    <a:pt x="488" y="188"/>
                  </a:cubicBezTo>
                  <a:cubicBezTo>
                    <a:pt x="487" y="186"/>
                    <a:pt x="487" y="183"/>
                    <a:pt x="486" y="181"/>
                  </a:cubicBezTo>
                  <a:cubicBezTo>
                    <a:pt x="485" y="180"/>
                    <a:pt x="485" y="180"/>
                    <a:pt x="486" y="179"/>
                  </a:cubicBezTo>
                  <a:cubicBezTo>
                    <a:pt x="488" y="175"/>
                    <a:pt x="494" y="170"/>
                    <a:pt x="498" y="167"/>
                  </a:cubicBezTo>
                  <a:cubicBezTo>
                    <a:pt x="504" y="164"/>
                    <a:pt x="503" y="161"/>
                    <a:pt x="502" y="158"/>
                  </a:cubicBezTo>
                  <a:cubicBezTo>
                    <a:pt x="501" y="157"/>
                    <a:pt x="501" y="157"/>
                    <a:pt x="501" y="157"/>
                  </a:cubicBezTo>
                  <a:cubicBezTo>
                    <a:pt x="500" y="155"/>
                    <a:pt x="499" y="153"/>
                    <a:pt x="496" y="153"/>
                  </a:cubicBezTo>
                  <a:cubicBezTo>
                    <a:pt x="495" y="153"/>
                    <a:pt x="494" y="153"/>
                    <a:pt x="492" y="154"/>
                  </a:cubicBezTo>
                  <a:cubicBezTo>
                    <a:pt x="488" y="155"/>
                    <a:pt x="483" y="156"/>
                    <a:pt x="480" y="156"/>
                  </a:cubicBezTo>
                  <a:cubicBezTo>
                    <a:pt x="478" y="156"/>
                    <a:pt x="476" y="156"/>
                    <a:pt x="475" y="155"/>
                  </a:cubicBezTo>
                  <a:cubicBezTo>
                    <a:pt x="475" y="155"/>
                    <a:pt x="474" y="155"/>
                    <a:pt x="474" y="154"/>
                  </a:cubicBezTo>
                  <a:cubicBezTo>
                    <a:pt x="473" y="152"/>
                    <a:pt x="471" y="150"/>
                    <a:pt x="470" y="147"/>
                  </a:cubicBezTo>
                  <a:cubicBezTo>
                    <a:pt x="470" y="147"/>
                    <a:pt x="470" y="146"/>
                    <a:pt x="470" y="146"/>
                  </a:cubicBezTo>
                  <a:cubicBezTo>
                    <a:pt x="471" y="141"/>
                    <a:pt x="476" y="136"/>
                    <a:pt x="480" y="132"/>
                  </a:cubicBezTo>
                  <a:cubicBezTo>
                    <a:pt x="486" y="127"/>
                    <a:pt x="484" y="125"/>
                    <a:pt x="482" y="123"/>
                  </a:cubicBezTo>
                  <a:cubicBezTo>
                    <a:pt x="482" y="122"/>
                    <a:pt x="482" y="122"/>
                    <a:pt x="482" y="122"/>
                  </a:cubicBezTo>
                  <a:cubicBezTo>
                    <a:pt x="480" y="119"/>
                    <a:pt x="479" y="118"/>
                    <a:pt x="477" y="118"/>
                  </a:cubicBezTo>
                  <a:cubicBezTo>
                    <a:pt x="476" y="118"/>
                    <a:pt x="474" y="119"/>
                    <a:pt x="472" y="120"/>
                  </a:cubicBezTo>
                  <a:cubicBezTo>
                    <a:pt x="466" y="122"/>
                    <a:pt x="460" y="124"/>
                    <a:pt x="456" y="123"/>
                  </a:cubicBezTo>
                  <a:cubicBezTo>
                    <a:pt x="455" y="123"/>
                    <a:pt x="454" y="123"/>
                    <a:pt x="454" y="123"/>
                  </a:cubicBezTo>
                  <a:cubicBezTo>
                    <a:pt x="453" y="121"/>
                    <a:pt x="451" y="119"/>
                    <a:pt x="450" y="117"/>
                  </a:cubicBezTo>
                  <a:cubicBezTo>
                    <a:pt x="449" y="117"/>
                    <a:pt x="449" y="117"/>
                    <a:pt x="449" y="117"/>
                  </a:cubicBezTo>
                  <a:cubicBezTo>
                    <a:pt x="449" y="116"/>
                    <a:pt x="449" y="115"/>
                    <a:pt x="449" y="115"/>
                  </a:cubicBezTo>
                  <a:cubicBezTo>
                    <a:pt x="450" y="110"/>
                    <a:pt x="454" y="104"/>
                    <a:pt x="457" y="100"/>
                  </a:cubicBezTo>
                  <a:cubicBezTo>
                    <a:pt x="462" y="94"/>
                    <a:pt x="460" y="93"/>
                    <a:pt x="458" y="90"/>
                  </a:cubicBezTo>
                  <a:cubicBezTo>
                    <a:pt x="457" y="89"/>
                    <a:pt x="457" y="89"/>
                    <a:pt x="457" y="89"/>
                  </a:cubicBezTo>
                  <a:cubicBezTo>
                    <a:pt x="455" y="88"/>
                    <a:pt x="454" y="87"/>
                    <a:pt x="453" y="87"/>
                  </a:cubicBezTo>
                  <a:cubicBezTo>
                    <a:pt x="451" y="87"/>
                    <a:pt x="449" y="87"/>
                    <a:pt x="447" y="89"/>
                  </a:cubicBezTo>
                  <a:cubicBezTo>
                    <a:pt x="443" y="92"/>
                    <a:pt x="436" y="95"/>
                    <a:pt x="431" y="95"/>
                  </a:cubicBezTo>
                  <a:cubicBezTo>
                    <a:pt x="431" y="95"/>
                    <a:pt x="430" y="95"/>
                    <a:pt x="430" y="95"/>
                  </a:cubicBezTo>
                  <a:cubicBezTo>
                    <a:pt x="428" y="93"/>
                    <a:pt x="426" y="91"/>
                    <a:pt x="424" y="89"/>
                  </a:cubicBezTo>
                  <a:cubicBezTo>
                    <a:pt x="424" y="89"/>
                    <a:pt x="423" y="88"/>
                    <a:pt x="423" y="88"/>
                  </a:cubicBezTo>
                  <a:cubicBezTo>
                    <a:pt x="423" y="83"/>
                    <a:pt x="426" y="76"/>
                    <a:pt x="429" y="71"/>
                  </a:cubicBezTo>
                  <a:cubicBezTo>
                    <a:pt x="433" y="66"/>
                    <a:pt x="431" y="64"/>
                    <a:pt x="428" y="62"/>
                  </a:cubicBezTo>
                  <a:cubicBezTo>
                    <a:pt x="427" y="61"/>
                    <a:pt x="427" y="61"/>
                    <a:pt x="427" y="61"/>
                  </a:cubicBezTo>
                  <a:cubicBezTo>
                    <a:pt x="426" y="60"/>
                    <a:pt x="425" y="59"/>
                    <a:pt x="423" y="59"/>
                  </a:cubicBezTo>
                  <a:cubicBezTo>
                    <a:pt x="422" y="59"/>
                    <a:pt x="420" y="60"/>
                    <a:pt x="418" y="62"/>
                  </a:cubicBezTo>
                  <a:cubicBezTo>
                    <a:pt x="414" y="66"/>
                    <a:pt x="407" y="70"/>
                    <a:pt x="403" y="71"/>
                  </a:cubicBezTo>
                  <a:cubicBezTo>
                    <a:pt x="402" y="71"/>
                    <a:pt x="402" y="71"/>
                    <a:pt x="401" y="71"/>
                  </a:cubicBezTo>
                  <a:cubicBezTo>
                    <a:pt x="399" y="69"/>
                    <a:pt x="397" y="68"/>
                    <a:pt x="395" y="66"/>
                  </a:cubicBezTo>
                  <a:cubicBezTo>
                    <a:pt x="394" y="66"/>
                    <a:pt x="394" y="66"/>
                    <a:pt x="394" y="65"/>
                  </a:cubicBezTo>
                  <a:cubicBezTo>
                    <a:pt x="393" y="60"/>
                    <a:pt x="395" y="53"/>
                    <a:pt x="397" y="48"/>
                  </a:cubicBezTo>
                  <a:cubicBezTo>
                    <a:pt x="400" y="42"/>
                    <a:pt x="397" y="40"/>
                    <a:pt x="395" y="39"/>
                  </a:cubicBezTo>
                  <a:cubicBezTo>
                    <a:pt x="394" y="38"/>
                    <a:pt x="394" y="38"/>
                    <a:pt x="394" y="38"/>
                  </a:cubicBezTo>
                  <a:cubicBezTo>
                    <a:pt x="392" y="38"/>
                    <a:pt x="391" y="37"/>
                    <a:pt x="390" y="37"/>
                  </a:cubicBezTo>
                  <a:cubicBezTo>
                    <a:pt x="388" y="37"/>
                    <a:pt x="386" y="38"/>
                    <a:pt x="384" y="41"/>
                  </a:cubicBezTo>
                  <a:cubicBezTo>
                    <a:pt x="381" y="45"/>
                    <a:pt x="376" y="50"/>
                    <a:pt x="371" y="52"/>
                  </a:cubicBezTo>
                  <a:cubicBezTo>
                    <a:pt x="371" y="52"/>
                    <a:pt x="370" y="52"/>
                    <a:pt x="369" y="52"/>
                  </a:cubicBezTo>
                  <a:cubicBezTo>
                    <a:pt x="368" y="51"/>
                    <a:pt x="368" y="51"/>
                    <a:pt x="368" y="51"/>
                  </a:cubicBezTo>
                  <a:cubicBezTo>
                    <a:pt x="366" y="50"/>
                    <a:pt x="364" y="49"/>
                    <a:pt x="362" y="48"/>
                  </a:cubicBezTo>
                  <a:cubicBezTo>
                    <a:pt x="362" y="48"/>
                    <a:pt x="362" y="48"/>
                    <a:pt x="361" y="47"/>
                  </a:cubicBezTo>
                  <a:cubicBezTo>
                    <a:pt x="360" y="43"/>
                    <a:pt x="361" y="35"/>
                    <a:pt x="362" y="30"/>
                  </a:cubicBezTo>
                  <a:cubicBezTo>
                    <a:pt x="363" y="23"/>
                    <a:pt x="361" y="22"/>
                    <a:pt x="358" y="21"/>
                  </a:cubicBezTo>
                  <a:cubicBezTo>
                    <a:pt x="357" y="21"/>
                    <a:pt x="357" y="21"/>
                    <a:pt x="357" y="21"/>
                  </a:cubicBezTo>
                  <a:cubicBezTo>
                    <a:pt x="356" y="20"/>
                    <a:pt x="354" y="20"/>
                    <a:pt x="353" y="20"/>
                  </a:cubicBezTo>
                  <a:cubicBezTo>
                    <a:pt x="353" y="20"/>
                    <a:pt x="351" y="20"/>
                    <a:pt x="348" y="24"/>
                  </a:cubicBezTo>
                  <a:cubicBezTo>
                    <a:pt x="345" y="29"/>
                    <a:pt x="341" y="35"/>
                    <a:pt x="337" y="38"/>
                  </a:cubicBezTo>
                  <a:cubicBezTo>
                    <a:pt x="336" y="38"/>
                    <a:pt x="336" y="38"/>
                    <a:pt x="335" y="38"/>
                  </a:cubicBezTo>
                  <a:cubicBezTo>
                    <a:pt x="333" y="37"/>
                    <a:pt x="330" y="36"/>
                    <a:pt x="328" y="36"/>
                  </a:cubicBezTo>
                  <a:cubicBezTo>
                    <a:pt x="327" y="35"/>
                    <a:pt x="327" y="35"/>
                    <a:pt x="326" y="34"/>
                  </a:cubicBezTo>
                  <a:cubicBezTo>
                    <a:pt x="324" y="30"/>
                    <a:pt x="324" y="23"/>
                    <a:pt x="324" y="17"/>
                  </a:cubicBezTo>
                  <a:cubicBezTo>
                    <a:pt x="325" y="11"/>
                    <a:pt x="322" y="10"/>
                    <a:pt x="319" y="9"/>
                  </a:cubicBezTo>
                  <a:cubicBezTo>
                    <a:pt x="318" y="9"/>
                    <a:pt x="318" y="9"/>
                    <a:pt x="318" y="9"/>
                  </a:cubicBezTo>
                  <a:cubicBezTo>
                    <a:pt x="317" y="9"/>
                    <a:pt x="316" y="9"/>
                    <a:pt x="315" y="9"/>
                  </a:cubicBezTo>
                  <a:cubicBezTo>
                    <a:pt x="314" y="9"/>
                    <a:pt x="312" y="9"/>
                    <a:pt x="310" y="14"/>
                  </a:cubicBezTo>
                  <a:cubicBezTo>
                    <a:pt x="308" y="19"/>
                    <a:pt x="304" y="26"/>
                    <a:pt x="301" y="29"/>
                  </a:cubicBezTo>
                  <a:cubicBezTo>
                    <a:pt x="300" y="29"/>
                    <a:pt x="299" y="30"/>
                    <a:pt x="299" y="29"/>
                  </a:cubicBezTo>
                  <a:cubicBezTo>
                    <a:pt x="297" y="29"/>
                    <a:pt x="294" y="29"/>
                    <a:pt x="291" y="28"/>
                  </a:cubicBezTo>
                  <a:cubicBezTo>
                    <a:pt x="291" y="28"/>
                    <a:pt x="290" y="28"/>
                    <a:pt x="290" y="28"/>
                  </a:cubicBezTo>
                  <a:cubicBezTo>
                    <a:pt x="287" y="24"/>
                    <a:pt x="285" y="17"/>
                    <a:pt x="285" y="11"/>
                  </a:cubicBezTo>
                  <a:cubicBezTo>
                    <a:pt x="284" y="4"/>
                    <a:pt x="282" y="4"/>
                    <a:pt x="278" y="4"/>
                  </a:cubicBezTo>
                  <a:cubicBezTo>
                    <a:pt x="277" y="4"/>
                    <a:pt x="277" y="4"/>
                    <a:pt x="277" y="4"/>
                  </a:cubicBezTo>
                  <a:cubicBezTo>
                    <a:pt x="277" y="4"/>
                    <a:pt x="276" y="4"/>
                    <a:pt x="276" y="4"/>
                  </a:cubicBezTo>
                  <a:cubicBezTo>
                    <a:pt x="274" y="4"/>
                    <a:pt x="271" y="4"/>
                    <a:pt x="270" y="10"/>
                  </a:cubicBezTo>
                  <a:cubicBezTo>
                    <a:pt x="269" y="16"/>
                    <a:pt x="267" y="23"/>
                    <a:pt x="263" y="26"/>
                  </a:cubicBezTo>
                  <a:cubicBezTo>
                    <a:pt x="263" y="27"/>
                    <a:pt x="262" y="27"/>
                    <a:pt x="262" y="27"/>
                  </a:cubicBezTo>
                  <a:cubicBezTo>
                    <a:pt x="259" y="27"/>
                    <a:pt x="257" y="27"/>
                    <a:pt x="254" y="27"/>
                  </a:cubicBezTo>
                  <a:cubicBezTo>
                    <a:pt x="254" y="27"/>
                    <a:pt x="253" y="27"/>
                    <a:pt x="253" y="27"/>
                  </a:cubicBezTo>
                  <a:cubicBezTo>
                    <a:pt x="249" y="23"/>
                    <a:pt x="247" y="16"/>
                    <a:pt x="245" y="11"/>
                  </a:cubicBezTo>
                  <a:cubicBezTo>
                    <a:pt x="244" y="5"/>
                    <a:pt x="241" y="5"/>
                    <a:pt x="240" y="5"/>
                  </a:cubicBezTo>
                  <a:cubicBezTo>
                    <a:pt x="239" y="5"/>
                    <a:pt x="238" y="5"/>
                    <a:pt x="238" y="5"/>
                  </a:cubicBezTo>
                  <a:cubicBezTo>
                    <a:pt x="237" y="5"/>
                    <a:pt x="237" y="5"/>
                    <a:pt x="237" y="5"/>
                  </a:cubicBezTo>
                  <a:cubicBezTo>
                    <a:pt x="233" y="5"/>
                    <a:pt x="231" y="6"/>
                    <a:pt x="230" y="12"/>
                  </a:cubicBezTo>
                  <a:cubicBezTo>
                    <a:pt x="230" y="18"/>
                    <a:pt x="229" y="25"/>
                    <a:pt x="226" y="29"/>
                  </a:cubicBezTo>
                  <a:cubicBezTo>
                    <a:pt x="226" y="30"/>
                    <a:pt x="225" y="30"/>
                    <a:pt x="225" y="30"/>
                  </a:cubicBezTo>
                  <a:cubicBezTo>
                    <a:pt x="224" y="30"/>
                    <a:pt x="224" y="30"/>
                    <a:pt x="224" y="30"/>
                  </a:cubicBezTo>
                  <a:cubicBezTo>
                    <a:pt x="222" y="31"/>
                    <a:pt x="219" y="31"/>
                    <a:pt x="217" y="32"/>
                  </a:cubicBezTo>
                  <a:cubicBezTo>
                    <a:pt x="217" y="32"/>
                    <a:pt x="216" y="32"/>
                    <a:pt x="216" y="31"/>
                  </a:cubicBezTo>
                  <a:cubicBezTo>
                    <a:pt x="212" y="28"/>
                    <a:pt x="208" y="22"/>
                    <a:pt x="206" y="17"/>
                  </a:cubicBezTo>
                  <a:cubicBezTo>
                    <a:pt x="204" y="12"/>
                    <a:pt x="201" y="12"/>
                    <a:pt x="201" y="12"/>
                  </a:cubicBezTo>
                  <a:cubicBezTo>
                    <a:pt x="200" y="12"/>
                    <a:pt x="199" y="12"/>
                    <a:pt x="198" y="12"/>
                  </a:cubicBezTo>
                  <a:cubicBezTo>
                    <a:pt x="196" y="13"/>
                    <a:pt x="196" y="13"/>
                    <a:pt x="196" y="13"/>
                  </a:cubicBezTo>
                  <a:cubicBezTo>
                    <a:pt x="193" y="13"/>
                    <a:pt x="191" y="14"/>
                    <a:pt x="192" y="21"/>
                  </a:cubicBezTo>
                  <a:cubicBezTo>
                    <a:pt x="192" y="26"/>
                    <a:pt x="192" y="34"/>
                    <a:pt x="190" y="38"/>
                  </a:cubicBezTo>
                  <a:cubicBezTo>
                    <a:pt x="190" y="39"/>
                    <a:pt x="189" y="39"/>
                    <a:pt x="189" y="39"/>
                  </a:cubicBezTo>
                  <a:cubicBezTo>
                    <a:pt x="186" y="40"/>
                    <a:pt x="184" y="41"/>
                    <a:pt x="182" y="42"/>
                  </a:cubicBezTo>
                  <a:cubicBezTo>
                    <a:pt x="181" y="42"/>
                    <a:pt x="180" y="42"/>
                    <a:pt x="180" y="42"/>
                  </a:cubicBezTo>
                  <a:cubicBezTo>
                    <a:pt x="176" y="39"/>
                    <a:pt x="171" y="34"/>
                    <a:pt x="168" y="29"/>
                  </a:cubicBezTo>
                  <a:cubicBezTo>
                    <a:pt x="165" y="25"/>
                    <a:pt x="163" y="25"/>
                    <a:pt x="163" y="25"/>
                  </a:cubicBezTo>
                  <a:cubicBezTo>
                    <a:pt x="161" y="25"/>
                    <a:pt x="160" y="25"/>
                    <a:pt x="159" y="26"/>
                  </a:cubicBezTo>
                  <a:cubicBezTo>
                    <a:pt x="158" y="26"/>
                    <a:pt x="158" y="26"/>
                    <a:pt x="158" y="26"/>
                  </a:cubicBezTo>
                  <a:cubicBezTo>
                    <a:pt x="155" y="28"/>
                    <a:pt x="153" y="29"/>
                    <a:pt x="155" y="35"/>
                  </a:cubicBezTo>
                  <a:cubicBezTo>
                    <a:pt x="156" y="40"/>
                    <a:pt x="157" y="48"/>
                    <a:pt x="156" y="52"/>
                  </a:cubicBezTo>
                  <a:cubicBezTo>
                    <a:pt x="156" y="53"/>
                    <a:pt x="155" y="53"/>
                    <a:pt x="155" y="54"/>
                  </a:cubicBezTo>
                  <a:cubicBezTo>
                    <a:pt x="152" y="55"/>
                    <a:pt x="150" y="56"/>
                    <a:pt x="148" y="57"/>
                  </a:cubicBezTo>
                  <a:cubicBezTo>
                    <a:pt x="147" y="58"/>
                    <a:pt x="147" y="58"/>
                    <a:pt x="146" y="57"/>
                  </a:cubicBezTo>
                  <a:cubicBezTo>
                    <a:pt x="142" y="56"/>
                    <a:pt x="136" y="51"/>
                    <a:pt x="133" y="47"/>
                  </a:cubicBezTo>
                  <a:cubicBezTo>
                    <a:pt x="131" y="45"/>
                    <a:pt x="129" y="43"/>
                    <a:pt x="127" y="43"/>
                  </a:cubicBezTo>
                  <a:cubicBezTo>
                    <a:pt x="126" y="43"/>
                    <a:pt x="124" y="44"/>
                    <a:pt x="123" y="45"/>
                  </a:cubicBezTo>
                  <a:cubicBezTo>
                    <a:pt x="122" y="46"/>
                    <a:pt x="122" y="46"/>
                    <a:pt x="122" y="46"/>
                  </a:cubicBezTo>
                  <a:cubicBezTo>
                    <a:pt x="119" y="47"/>
                    <a:pt x="117" y="49"/>
                    <a:pt x="120" y="55"/>
                  </a:cubicBezTo>
                  <a:cubicBezTo>
                    <a:pt x="122" y="60"/>
                    <a:pt x="125" y="67"/>
                    <a:pt x="124" y="72"/>
                  </a:cubicBezTo>
                  <a:cubicBezTo>
                    <a:pt x="124" y="72"/>
                    <a:pt x="124" y="73"/>
                    <a:pt x="123" y="73"/>
                  </a:cubicBezTo>
                  <a:cubicBezTo>
                    <a:pt x="122" y="74"/>
                    <a:pt x="120" y="76"/>
                    <a:pt x="118" y="77"/>
                  </a:cubicBezTo>
                  <a:cubicBezTo>
                    <a:pt x="117" y="78"/>
                    <a:pt x="117" y="78"/>
                    <a:pt x="117" y="78"/>
                  </a:cubicBezTo>
                  <a:cubicBezTo>
                    <a:pt x="117" y="78"/>
                    <a:pt x="116" y="79"/>
                    <a:pt x="116" y="78"/>
                  </a:cubicBezTo>
                  <a:cubicBezTo>
                    <a:pt x="111" y="78"/>
                    <a:pt x="105" y="74"/>
                    <a:pt x="100" y="70"/>
                  </a:cubicBezTo>
                  <a:cubicBezTo>
                    <a:pt x="98" y="68"/>
                    <a:pt x="96" y="67"/>
                    <a:pt x="95" y="67"/>
                  </a:cubicBezTo>
                  <a:cubicBezTo>
                    <a:pt x="93" y="67"/>
                    <a:pt x="92" y="69"/>
                    <a:pt x="91" y="70"/>
                  </a:cubicBezTo>
                  <a:cubicBezTo>
                    <a:pt x="90" y="71"/>
                    <a:pt x="90" y="71"/>
                    <a:pt x="90" y="71"/>
                  </a:cubicBezTo>
                  <a:cubicBezTo>
                    <a:pt x="87" y="73"/>
                    <a:pt x="85" y="74"/>
                    <a:pt x="89" y="80"/>
                  </a:cubicBezTo>
                  <a:cubicBezTo>
                    <a:pt x="92" y="85"/>
                    <a:pt x="96" y="91"/>
                    <a:pt x="96" y="96"/>
                  </a:cubicBezTo>
                  <a:cubicBezTo>
                    <a:pt x="96" y="97"/>
                    <a:pt x="96" y="97"/>
                    <a:pt x="95" y="98"/>
                  </a:cubicBezTo>
                  <a:cubicBezTo>
                    <a:pt x="94" y="99"/>
                    <a:pt x="92" y="101"/>
                    <a:pt x="90" y="103"/>
                  </a:cubicBezTo>
                  <a:cubicBezTo>
                    <a:pt x="90" y="104"/>
                    <a:pt x="89" y="104"/>
                    <a:pt x="88" y="104"/>
                  </a:cubicBezTo>
                  <a:cubicBezTo>
                    <a:pt x="84" y="104"/>
                    <a:pt x="77" y="101"/>
                    <a:pt x="72" y="98"/>
                  </a:cubicBezTo>
                  <a:cubicBezTo>
                    <a:pt x="70" y="97"/>
                    <a:pt x="68" y="96"/>
                    <a:pt x="67" y="96"/>
                  </a:cubicBezTo>
                  <a:cubicBezTo>
                    <a:pt x="65" y="96"/>
                    <a:pt x="64" y="97"/>
                    <a:pt x="63" y="99"/>
                  </a:cubicBezTo>
                  <a:cubicBezTo>
                    <a:pt x="62" y="100"/>
                    <a:pt x="62" y="100"/>
                    <a:pt x="62" y="100"/>
                  </a:cubicBezTo>
                  <a:cubicBezTo>
                    <a:pt x="60" y="103"/>
                    <a:pt x="58" y="105"/>
                    <a:pt x="63" y="110"/>
                  </a:cubicBezTo>
                  <a:cubicBezTo>
                    <a:pt x="67" y="114"/>
                    <a:pt x="71" y="120"/>
                    <a:pt x="72" y="124"/>
                  </a:cubicBezTo>
                  <a:cubicBezTo>
                    <a:pt x="72" y="125"/>
                    <a:pt x="72" y="126"/>
                    <a:pt x="71" y="126"/>
                  </a:cubicBezTo>
                  <a:cubicBezTo>
                    <a:pt x="70" y="128"/>
                    <a:pt x="68" y="130"/>
                    <a:pt x="67" y="132"/>
                  </a:cubicBezTo>
                  <a:cubicBezTo>
                    <a:pt x="67" y="133"/>
                    <a:pt x="66" y="133"/>
                    <a:pt x="66" y="133"/>
                  </a:cubicBezTo>
                  <a:cubicBezTo>
                    <a:pt x="62" y="134"/>
                    <a:pt x="55" y="133"/>
                    <a:pt x="49" y="130"/>
                  </a:cubicBezTo>
                  <a:cubicBezTo>
                    <a:pt x="47" y="130"/>
                    <a:pt x="45" y="129"/>
                    <a:pt x="44" y="129"/>
                  </a:cubicBezTo>
                  <a:cubicBezTo>
                    <a:pt x="42" y="129"/>
                    <a:pt x="41" y="131"/>
                    <a:pt x="39" y="133"/>
                  </a:cubicBezTo>
                  <a:cubicBezTo>
                    <a:pt x="39" y="134"/>
                    <a:pt x="39" y="134"/>
                    <a:pt x="39" y="134"/>
                  </a:cubicBezTo>
                  <a:cubicBezTo>
                    <a:pt x="37" y="137"/>
                    <a:pt x="36" y="139"/>
                    <a:pt x="41" y="143"/>
                  </a:cubicBezTo>
                  <a:cubicBezTo>
                    <a:pt x="46" y="147"/>
                    <a:pt x="51" y="152"/>
                    <a:pt x="52" y="156"/>
                  </a:cubicBezTo>
                  <a:cubicBezTo>
                    <a:pt x="53" y="157"/>
                    <a:pt x="53" y="157"/>
                    <a:pt x="52" y="158"/>
                  </a:cubicBezTo>
                  <a:cubicBezTo>
                    <a:pt x="52" y="158"/>
                    <a:pt x="52" y="158"/>
                    <a:pt x="52" y="158"/>
                  </a:cubicBezTo>
                  <a:cubicBezTo>
                    <a:pt x="51" y="161"/>
                    <a:pt x="50" y="163"/>
                    <a:pt x="49" y="165"/>
                  </a:cubicBezTo>
                  <a:cubicBezTo>
                    <a:pt x="49" y="165"/>
                    <a:pt x="48" y="166"/>
                    <a:pt x="48" y="166"/>
                  </a:cubicBezTo>
                  <a:cubicBezTo>
                    <a:pt x="44" y="167"/>
                    <a:pt x="37" y="167"/>
                    <a:pt x="30" y="166"/>
                  </a:cubicBezTo>
                  <a:cubicBezTo>
                    <a:pt x="29" y="165"/>
                    <a:pt x="28" y="165"/>
                    <a:pt x="27" y="165"/>
                  </a:cubicBezTo>
                  <a:cubicBezTo>
                    <a:pt x="24" y="165"/>
                    <a:pt x="23" y="167"/>
                    <a:pt x="22" y="170"/>
                  </a:cubicBezTo>
                  <a:cubicBezTo>
                    <a:pt x="21" y="171"/>
                    <a:pt x="21" y="171"/>
                    <a:pt x="21" y="171"/>
                  </a:cubicBezTo>
                  <a:cubicBezTo>
                    <a:pt x="20" y="174"/>
                    <a:pt x="19" y="176"/>
                    <a:pt x="25" y="179"/>
                  </a:cubicBezTo>
                  <a:cubicBezTo>
                    <a:pt x="30" y="182"/>
                    <a:pt x="36" y="187"/>
                    <a:pt x="38" y="191"/>
                  </a:cubicBezTo>
                  <a:cubicBezTo>
                    <a:pt x="39" y="191"/>
                    <a:pt x="39" y="192"/>
                    <a:pt x="38" y="192"/>
                  </a:cubicBezTo>
                  <a:cubicBezTo>
                    <a:pt x="38" y="195"/>
                    <a:pt x="37" y="197"/>
                    <a:pt x="36" y="200"/>
                  </a:cubicBezTo>
                  <a:cubicBezTo>
                    <a:pt x="36" y="200"/>
                    <a:pt x="36" y="201"/>
                    <a:pt x="35" y="201"/>
                  </a:cubicBezTo>
                  <a:cubicBezTo>
                    <a:pt x="31" y="203"/>
                    <a:pt x="24" y="203"/>
                    <a:pt x="21" y="203"/>
                  </a:cubicBezTo>
                  <a:cubicBezTo>
                    <a:pt x="20" y="203"/>
                    <a:pt x="19" y="203"/>
                    <a:pt x="18" y="203"/>
                  </a:cubicBezTo>
                  <a:cubicBezTo>
                    <a:pt x="17" y="203"/>
                    <a:pt x="17" y="203"/>
                    <a:pt x="16" y="203"/>
                  </a:cubicBezTo>
                  <a:cubicBezTo>
                    <a:pt x="11" y="203"/>
                    <a:pt x="11" y="206"/>
                    <a:pt x="10" y="209"/>
                  </a:cubicBezTo>
                  <a:cubicBezTo>
                    <a:pt x="10" y="210"/>
                    <a:pt x="10" y="210"/>
                    <a:pt x="10" y="210"/>
                  </a:cubicBezTo>
                  <a:cubicBezTo>
                    <a:pt x="9" y="213"/>
                    <a:pt x="9" y="215"/>
                    <a:pt x="15" y="218"/>
                  </a:cubicBezTo>
                  <a:cubicBezTo>
                    <a:pt x="20" y="220"/>
                    <a:pt x="27" y="223"/>
                    <a:pt x="30" y="227"/>
                  </a:cubicBezTo>
                  <a:cubicBezTo>
                    <a:pt x="30" y="227"/>
                    <a:pt x="30" y="228"/>
                    <a:pt x="30" y="228"/>
                  </a:cubicBezTo>
                  <a:cubicBezTo>
                    <a:pt x="30" y="231"/>
                    <a:pt x="29" y="233"/>
                    <a:pt x="29" y="236"/>
                  </a:cubicBezTo>
                  <a:cubicBezTo>
                    <a:pt x="29" y="237"/>
                    <a:pt x="29" y="237"/>
                    <a:pt x="28" y="238"/>
                  </a:cubicBezTo>
                  <a:cubicBezTo>
                    <a:pt x="24" y="240"/>
                    <a:pt x="17" y="242"/>
                    <a:pt x="12" y="243"/>
                  </a:cubicBezTo>
                  <a:cubicBezTo>
                    <a:pt x="5" y="243"/>
                    <a:pt x="5" y="246"/>
                    <a:pt x="5" y="249"/>
                  </a:cubicBezTo>
                  <a:cubicBezTo>
                    <a:pt x="5" y="250"/>
                    <a:pt x="5" y="250"/>
                    <a:pt x="5" y="250"/>
                  </a:cubicBezTo>
                  <a:cubicBezTo>
                    <a:pt x="4" y="253"/>
                    <a:pt x="4" y="256"/>
                    <a:pt x="11" y="257"/>
                  </a:cubicBezTo>
                  <a:cubicBezTo>
                    <a:pt x="16" y="258"/>
                    <a:pt x="23" y="261"/>
                    <a:pt x="27" y="264"/>
                  </a:cubicBezTo>
                  <a:cubicBezTo>
                    <a:pt x="27" y="264"/>
                    <a:pt x="28" y="265"/>
                    <a:pt x="28" y="266"/>
                  </a:cubicBezTo>
                  <a:cubicBezTo>
                    <a:pt x="28" y="268"/>
                    <a:pt x="28" y="270"/>
                    <a:pt x="28" y="273"/>
                  </a:cubicBezTo>
                  <a:cubicBezTo>
                    <a:pt x="28" y="273"/>
                    <a:pt x="28" y="273"/>
                    <a:pt x="28" y="273"/>
                  </a:cubicBezTo>
                  <a:cubicBezTo>
                    <a:pt x="28" y="274"/>
                    <a:pt x="28" y="274"/>
                    <a:pt x="27" y="275"/>
                  </a:cubicBezTo>
                  <a:cubicBezTo>
                    <a:pt x="24" y="278"/>
                    <a:pt x="17" y="281"/>
                    <a:pt x="12" y="282"/>
                  </a:cubicBezTo>
                  <a:cubicBezTo>
                    <a:pt x="5" y="284"/>
                    <a:pt x="5" y="286"/>
                    <a:pt x="6" y="290"/>
                  </a:cubicBezTo>
                  <a:cubicBezTo>
                    <a:pt x="6" y="291"/>
                    <a:pt x="6" y="291"/>
                    <a:pt x="6" y="291"/>
                  </a:cubicBezTo>
                  <a:cubicBezTo>
                    <a:pt x="6" y="294"/>
                    <a:pt x="6" y="297"/>
                    <a:pt x="13" y="297"/>
                  </a:cubicBezTo>
                  <a:cubicBezTo>
                    <a:pt x="19" y="297"/>
                    <a:pt x="26" y="299"/>
                    <a:pt x="30" y="301"/>
                  </a:cubicBezTo>
                  <a:cubicBezTo>
                    <a:pt x="30" y="301"/>
                    <a:pt x="31" y="302"/>
                    <a:pt x="31" y="302"/>
                  </a:cubicBezTo>
                  <a:cubicBezTo>
                    <a:pt x="31" y="303"/>
                    <a:pt x="31" y="303"/>
                    <a:pt x="31" y="303"/>
                  </a:cubicBezTo>
                  <a:cubicBezTo>
                    <a:pt x="31" y="306"/>
                    <a:pt x="32" y="308"/>
                    <a:pt x="32" y="310"/>
                  </a:cubicBezTo>
                  <a:cubicBezTo>
                    <a:pt x="32" y="311"/>
                    <a:pt x="32" y="311"/>
                    <a:pt x="32" y="312"/>
                  </a:cubicBezTo>
                  <a:cubicBezTo>
                    <a:pt x="29" y="315"/>
                    <a:pt x="23" y="319"/>
                    <a:pt x="18" y="322"/>
                  </a:cubicBezTo>
                  <a:cubicBezTo>
                    <a:pt x="11" y="324"/>
                    <a:pt x="12" y="327"/>
                    <a:pt x="13" y="330"/>
                  </a:cubicBezTo>
                  <a:cubicBezTo>
                    <a:pt x="13" y="331"/>
                    <a:pt x="13" y="331"/>
                    <a:pt x="13" y="331"/>
                  </a:cubicBezTo>
                  <a:cubicBezTo>
                    <a:pt x="14" y="334"/>
                    <a:pt x="14" y="336"/>
                    <a:pt x="19" y="336"/>
                  </a:cubicBezTo>
                  <a:cubicBezTo>
                    <a:pt x="20" y="336"/>
                    <a:pt x="21" y="336"/>
                    <a:pt x="21" y="336"/>
                  </a:cubicBezTo>
                  <a:cubicBezTo>
                    <a:pt x="23" y="336"/>
                    <a:pt x="25" y="335"/>
                    <a:pt x="27" y="335"/>
                  </a:cubicBezTo>
                  <a:cubicBezTo>
                    <a:pt x="31" y="335"/>
                    <a:pt x="35" y="336"/>
                    <a:pt x="39" y="337"/>
                  </a:cubicBezTo>
                  <a:cubicBezTo>
                    <a:pt x="39" y="337"/>
                    <a:pt x="40" y="338"/>
                    <a:pt x="40" y="338"/>
                  </a:cubicBezTo>
                  <a:cubicBezTo>
                    <a:pt x="41" y="341"/>
                    <a:pt x="42" y="343"/>
                    <a:pt x="42" y="346"/>
                  </a:cubicBezTo>
                  <a:cubicBezTo>
                    <a:pt x="43" y="346"/>
                    <a:pt x="43" y="347"/>
                    <a:pt x="42" y="347"/>
                  </a:cubicBezTo>
                  <a:cubicBezTo>
                    <a:pt x="40" y="352"/>
                    <a:pt x="34" y="356"/>
                    <a:pt x="30" y="359"/>
                  </a:cubicBezTo>
                  <a:cubicBezTo>
                    <a:pt x="24" y="363"/>
                    <a:pt x="25" y="365"/>
                    <a:pt x="26" y="368"/>
                  </a:cubicBezTo>
                  <a:cubicBezTo>
                    <a:pt x="27" y="369"/>
                    <a:pt x="27" y="369"/>
                    <a:pt x="27" y="369"/>
                  </a:cubicBezTo>
                  <a:cubicBezTo>
                    <a:pt x="28" y="372"/>
                    <a:pt x="29" y="374"/>
                    <a:pt x="32" y="374"/>
                  </a:cubicBezTo>
                  <a:cubicBezTo>
                    <a:pt x="33" y="374"/>
                    <a:pt x="34" y="373"/>
                    <a:pt x="36" y="373"/>
                  </a:cubicBezTo>
                  <a:cubicBezTo>
                    <a:pt x="42" y="371"/>
                    <a:pt x="49" y="371"/>
                    <a:pt x="53" y="372"/>
                  </a:cubicBezTo>
                  <a:cubicBezTo>
                    <a:pt x="53" y="372"/>
                    <a:pt x="54" y="372"/>
                    <a:pt x="54" y="373"/>
                  </a:cubicBezTo>
                  <a:cubicBezTo>
                    <a:pt x="55" y="375"/>
                    <a:pt x="57" y="377"/>
                    <a:pt x="58" y="379"/>
                  </a:cubicBezTo>
                  <a:cubicBezTo>
                    <a:pt x="58" y="380"/>
                    <a:pt x="58" y="381"/>
                    <a:pt x="58" y="381"/>
                  </a:cubicBezTo>
                  <a:cubicBezTo>
                    <a:pt x="57" y="386"/>
                    <a:pt x="52" y="391"/>
                    <a:pt x="48" y="395"/>
                  </a:cubicBezTo>
                  <a:cubicBezTo>
                    <a:pt x="42" y="399"/>
                    <a:pt x="44" y="401"/>
                    <a:pt x="46" y="404"/>
                  </a:cubicBezTo>
                  <a:cubicBezTo>
                    <a:pt x="46" y="405"/>
                    <a:pt x="46" y="405"/>
                    <a:pt x="46" y="405"/>
                  </a:cubicBezTo>
                  <a:cubicBezTo>
                    <a:pt x="48" y="407"/>
                    <a:pt x="49" y="409"/>
                    <a:pt x="51" y="409"/>
                  </a:cubicBezTo>
                  <a:cubicBezTo>
                    <a:pt x="52" y="409"/>
                    <a:pt x="54" y="408"/>
                    <a:pt x="56" y="407"/>
                  </a:cubicBezTo>
                  <a:cubicBezTo>
                    <a:pt x="62" y="404"/>
                    <a:pt x="68" y="403"/>
                    <a:pt x="72" y="403"/>
                  </a:cubicBezTo>
                  <a:cubicBezTo>
                    <a:pt x="73" y="403"/>
                    <a:pt x="74" y="404"/>
                    <a:pt x="74" y="404"/>
                  </a:cubicBezTo>
                  <a:cubicBezTo>
                    <a:pt x="75" y="406"/>
                    <a:pt x="76" y="407"/>
                    <a:pt x="78" y="409"/>
                  </a:cubicBezTo>
                  <a:cubicBezTo>
                    <a:pt x="79" y="410"/>
                    <a:pt x="79" y="410"/>
                    <a:pt x="79" y="410"/>
                  </a:cubicBezTo>
                  <a:cubicBezTo>
                    <a:pt x="79" y="411"/>
                    <a:pt x="79" y="411"/>
                    <a:pt x="79" y="412"/>
                  </a:cubicBezTo>
                  <a:cubicBezTo>
                    <a:pt x="78" y="416"/>
                    <a:pt x="74" y="423"/>
                    <a:pt x="71" y="427"/>
                  </a:cubicBezTo>
                  <a:cubicBezTo>
                    <a:pt x="66" y="432"/>
                    <a:pt x="68" y="434"/>
                    <a:pt x="70" y="437"/>
                  </a:cubicBezTo>
                  <a:cubicBezTo>
                    <a:pt x="71" y="437"/>
                    <a:pt x="71" y="437"/>
                    <a:pt x="71" y="437"/>
                  </a:cubicBezTo>
                  <a:cubicBezTo>
                    <a:pt x="73" y="439"/>
                    <a:pt x="74" y="440"/>
                    <a:pt x="75" y="440"/>
                  </a:cubicBezTo>
                  <a:cubicBezTo>
                    <a:pt x="77" y="440"/>
                    <a:pt x="79" y="439"/>
                    <a:pt x="81" y="438"/>
                  </a:cubicBezTo>
                  <a:cubicBezTo>
                    <a:pt x="85" y="435"/>
                    <a:pt x="92" y="432"/>
                    <a:pt x="97" y="431"/>
                  </a:cubicBezTo>
                  <a:cubicBezTo>
                    <a:pt x="97" y="431"/>
                    <a:pt x="98" y="432"/>
                    <a:pt x="98" y="432"/>
                  </a:cubicBezTo>
                  <a:cubicBezTo>
                    <a:pt x="100" y="434"/>
                    <a:pt x="102" y="436"/>
                    <a:pt x="104" y="437"/>
                  </a:cubicBezTo>
                  <a:cubicBezTo>
                    <a:pt x="104" y="438"/>
                    <a:pt x="105" y="438"/>
                    <a:pt x="105" y="439"/>
                  </a:cubicBezTo>
                  <a:cubicBezTo>
                    <a:pt x="105" y="444"/>
                    <a:pt x="102" y="450"/>
                    <a:pt x="99" y="455"/>
                  </a:cubicBezTo>
                  <a:cubicBezTo>
                    <a:pt x="95" y="461"/>
                    <a:pt x="97" y="463"/>
                    <a:pt x="100" y="465"/>
                  </a:cubicBezTo>
                  <a:cubicBezTo>
                    <a:pt x="101" y="465"/>
                    <a:pt x="101" y="465"/>
                    <a:pt x="101" y="465"/>
                  </a:cubicBezTo>
                  <a:cubicBezTo>
                    <a:pt x="102" y="466"/>
                    <a:pt x="103" y="468"/>
                    <a:pt x="105" y="468"/>
                  </a:cubicBezTo>
                  <a:cubicBezTo>
                    <a:pt x="106" y="468"/>
                    <a:pt x="108" y="467"/>
                    <a:pt x="110" y="465"/>
                  </a:cubicBezTo>
                  <a:cubicBezTo>
                    <a:pt x="114" y="461"/>
                    <a:pt x="121" y="457"/>
                    <a:pt x="125" y="456"/>
                  </a:cubicBezTo>
                  <a:cubicBezTo>
                    <a:pt x="126" y="455"/>
                    <a:pt x="126" y="456"/>
                    <a:pt x="127" y="456"/>
                  </a:cubicBezTo>
                  <a:cubicBezTo>
                    <a:pt x="129" y="457"/>
                    <a:pt x="131" y="459"/>
                    <a:pt x="133" y="460"/>
                  </a:cubicBezTo>
                  <a:cubicBezTo>
                    <a:pt x="134" y="461"/>
                    <a:pt x="134" y="461"/>
                    <a:pt x="134" y="462"/>
                  </a:cubicBezTo>
                  <a:cubicBezTo>
                    <a:pt x="135" y="466"/>
                    <a:pt x="133" y="474"/>
                    <a:pt x="131" y="479"/>
                  </a:cubicBezTo>
                  <a:cubicBezTo>
                    <a:pt x="128" y="485"/>
                    <a:pt x="131" y="486"/>
                    <a:pt x="133" y="488"/>
                  </a:cubicBezTo>
                  <a:cubicBezTo>
                    <a:pt x="134" y="488"/>
                    <a:pt x="134" y="488"/>
                    <a:pt x="134" y="488"/>
                  </a:cubicBezTo>
                  <a:cubicBezTo>
                    <a:pt x="136" y="489"/>
                    <a:pt x="137" y="490"/>
                    <a:pt x="138" y="490"/>
                  </a:cubicBezTo>
                  <a:cubicBezTo>
                    <a:pt x="140" y="490"/>
                    <a:pt x="142" y="489"/>
                    <a:pt x="144" y="486"/>
                  </a:cubicBezTo>
                  <a:cubicBezTo>
                    <a:pt x="147" y="482"/>
                    <a:pt x="152" y="477"/>
                    <a:pt x="157" y="475"/>
                  </a:cubicBezTo>
                  <a:cubicBezTo>
                    <a:pt x="157" y="475"/>
                    <a:pt x="158" y="475"/>
                    <a:pt x="159" y="475"/>
                  </a:cubicBezTo>
                  <a:cubicBezTo>
                    <a:pt x="159" y="475"/>
                    <a:pt x="159" y="475"/>
                    <a:pt x="159" y="475"/>
                  </a:cubicBezTo>
                  <a:cubicBezTo>
                    <a:pt x="161" y="476"/>
                    <a:pt x="164" y="477"/>
                    <a:pt x="166" y="478"/>
                  </a:cubicBezTo>
                  <a:cubicBezTo>
                    <a:pt x="166" y="479"/>
                    <a:pt x="167" y="479"/>
                    <a:pt x="167" y="480"/>
                  </a:cubicBezTo>
                  <a:cubicBezTo>
                    <a:pt x="168" y="484"/>
                    <a:pt x="167" y="492"/>
                    <a:pt x="166" y="497"/>
                  </a:cubicBezTo>
                  <a:cubicBezTo>
                    <a:pt x="165" y="504"/>
                    <a:pt x="167" y="504"/>
                    <a:pt x="170" y="506"/>
                  </a:cubicBezTo>
                  <a:cubicBezTo>
                    <a:pt x="171" y="506"/>
                    <a:pt x="171" y="506"/>
                    <a:pt x="171" y="506"/>
                  </a:cubicBezTo>
                  <a:cubicBezTo>
                    <a:pt x="172" y="506"/>
                    <a:pt x="174" y="507"/>
                    <a:pt x="175" y="507"/>
                  </a:cubicBezTo>
                  <a:cubicBezTo>
                    <a:pt x="175" y="507"/>
                    <a:pt x="177" y="507"/>
                    <a:pt x="180" y="502"/>
                  </a:cubicBezTo>
                  <a:cubicBezTo>
                    <a:pt x="183" y="497"/>
                    <a:pt x="187" y="491"/>
                    <a:pt x="191" y="489"/>
                  </a:cubicBezTo>
                  <a:cubicBezTo>
                    <a:pt x="192" y="489"/>
                    <a:pt x="192" y="489"/>
                    <a:pt x="193" y="489"/>
                  </a:cubicBezTo>
                  <a:cubicBezTo>
                    <a:pt x="195" y="490"/>
                    <a:pt x="198" y="490"/>
                    <a:pt x="200" y="491"/>
                  </a:cubicBezTo>
                  <a:cubicBezTo>
                    <a:pt x="201" y="491"/>
                    <a:pt x="201" y="492"/>
                    <a:pt x="202" y="492"/>
                  </a:cubicBezTo>
                  <a:cubicBezTo>
                    <a:pt x="204" y="496"/>
                    <a:pt x="204" y="504"/>
                    <a:pt x="204" y="509"/>
                  </a:cubicBezTo>
                  <a:cubicBezTo>
                    <a:pt x="203" y="516"/>
                    <a:pt x="206" y="517"/>
                    <a:pt x="209" y="517"/>
                  </a:cubicBezTo>
                  <a:cubicBezTo>
                    <a:pt x="210" y="517"/>
                    <a:pt x="210" y="517"/>
                    <a:pt x="210" y="517"/>
                  </a:cubicBezTo>
                  <a:cubicBezTo>
                    <a:pt x="211" y="518"/>
                    <a:pt x="212" y="518"/>
                    <a:pt x="213" y="518"/>
                  </a:cubicBezTo>
                  <a:cubicBezTo>
                    <a:pt x="214" y="518"/>
                    <a:pt x="216" y="518"/>
                    <a:pt x="218" y="512"/>
                  </a:cubicBezTo>
                  <a:cubicBezTo>
                    <a:pt x="220" y="507"/>
                    <a:pt x="224" y="501"/>
                    <a:pt x="227" y="498"/>
                  </a:cubicBezTo>
                  <a:cubicBezTo>
                    <a:pt x="228" y="497"/>
                    <a:pt x="228" y="497"/>
                    <a:pt x="229" y="497"/>
                  </a:cubicBezTo>
                  <a:close/>
                  <a:moveTo>
                    <a:pt x="264" y="480"/>
                  </a:moveTo>
                  <a:cubicBezTo>
                    <a:pt x="214" y="480"/>
                    <a:pt x="166" y="463"/>
                    <a:pt x="127" y="432"/>
                  </a:cubicBezTo>
                  <a:cubicBezTo>
                    <a:pt x="35" y="356"/>
                    <a:pt x="20" y="220"/>
                    <a:pt x="96" y="127"/>
                  </a:cubicBezTo>
                  <a:cubicBezTo>
                    <a:pt x="137" y="76"/>
                    <a:pt x="198" y="47"/>
                    <a:pt x="264" y="47"/>
                  </a:cubicBezTo>
                  <a:cubicBezTo>
                    <a:pt x="314" y="47"/>
                    <a:pt x="362" y="64"/>
                    <a:pt x="401" y="95"/>
                  </a:cubicBezTo>
                  <a:cubicBezTo>
                    <a:pt x="446" y="131"/>
                    <a:pt x="474" y="183"/>
                    <a:pt x="480" y="241"/>
                  </a:cubicBezTo>
                  <a:cubicBezTo>
                    <a:pt x="486" y="298"/>
                    <a:pt x="469" y="355"/>
                    <a:pt x="432" y="400"/>
                  </a:cubicBezTo>
                  <a:cubicBezTo>
                    <a:pt x="391" y="451"/>
                    <a:pt x="330" y="480"/>
                    <a:pt x="264" y="480"/>
                  </a:cubicBezTo>
                  <a:close/>
                  <a:moveTo>
                    <a:pt x="264" y="51"/>
                  </a:moveTo>
                  <a:cubicBezTo>
                    <a:pt x="200" y="51"/>
                    <a:pt x="139" y="79"/>
                    <a:pt x="99" y="129"/>
                  </a:cubicBezTo>
                  <a:cubicBezTo>
                    <a:pt x="25" y="220"/>
                    <a:pt x="39" y="355"/>
                    <a:pt x="130" y="429"/>
                  </a:cubicBezTo>
                  <a:cubicBezTo>
                    <a:pt x="168" y="459"/>
                    <a:pt x="215" y="476"/>
                    <a:pt x="264" y="476"/>
                  </a:cubicBezTo>
                  <a:cubicBezTo>
                    <a:pt x="328" y="476"/>
                    <a:pt x="389" y="447"/>
                    <a:pt x="429" y="397"/>
                  </a:cubicBezTo>
                  <a:cubicBezTo>
                    <a:pt x="465" y="353"/>
                    <a:pt x="481" y="298"/>
                    <a:pt x="476" y="241"/>
                  </a:cubicBezTo>
                  <a:cubicBezTo>
                    <a:pt x="470" y="185"/>
                    <a:pt x="442" y="134"/>
                    <a:pt x="398" y="98"/>
                  </a:cubicBezTo>
                  <a:cubicBezTo>
                    <a:pt x="360" y="68"/>
                    <a:pt x="313" y="51"/>
                    <a:pt x="264" y="5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5" name="Freeform 1368">
              <a:extLst>
                <a:ext uri="{FF2B5EF4-FFF2-40B4-BE49-F238E27FC236}">
                  <a16:creationId xmlns:a16="http://schemas.microsoft.com/office/drawing/2014/main" id="{F6186144-9337-4B7C-B0A2-C35DF71D678A}"/>
                </a:ext>
              </a:extLst>
            </p:cNvPr>
            <p:cNvSpPr>
              <a:spLocks noEditPoints="1"/>
            </p:cNvSpPr>
            <p:nvPr/>
          </p:nvSpPr>
          <p:spPr bwMode="auto">
            <a:xfrm rot="20647229" flipH="1">
              <a:off x="5645586" y="4099996"/>
              <a:ext cx="44450" cy="46038"/>
            </a:xfrm>
            <a:custGeom>
              <a:avLst/>
              <a:gdLst>
                <a:gd name="T0" fmla="*/ 26 w 37"/>
                <a:gd name="T1" fmla="*/ 39 h 39"/>
                <a:gd name="T2" fmla="*/ 26 w 37"/>
                <a:gd name="T3" fmla="*/ 39 h 39"/>
                <a:gd name="T4" fmla="*/ 24 w 37"/>
                <a:gd name="T5" fmla="*/ 38 h 39"/>
                <a:gd name="T6" fmla="*/ 1 w 37"/>
                <a:gd name="T7" fmla="*/ 6 h 39"/>
                <a:gd name="T8" fmla="*/ 0 w 37"/>
                <a:gd name="T9" fmla="*/ 4 h 39"/>
                <a:gd name="T10" fmla="*/ 1 w 37"/>
                <a:gd name="T11" fmla="*/ 3 h 39"/>
                <a:gd name="T12" fmla="*/ 12 w 37"/>
                <a:gd name="T13" fmla="*/ 0 h 39"/>
                <a:gd name="T14" fmla="*/ 30 w 37"/>
                <a:gd name="T15" fmla="*/ 8 h 39"/>
                <a:gd name="T16" fmla="*/ 27 w 37"/>
                <a:gd name="T17" fmla="*/ 38 h 39"/>
                <a:gd name="T18" fmla="*/ 26 w 37"/>
                <a:gd name="T19" fmla="*/ 39 h 39"/>
                <a:gd name="T20" fmla="*/ 7 w 37"/>
                <a:gd name="T21" fmla="*/ 6 h 39"/>
                <a:gd name="T22" fmla="*/ 26 w 37"/>
                <a:gd name="T23" fmla="*/ 32 h 39"/>
                <a:gd name="T24" fmla="*/ 26 w 37"/>
                <a:gd name="T25" fmla="*/ 11 h 39"/>
                <a:gd name="T26" fmla="*/ 12 w 37"/>
                <a:gd name="T27" fmla="*/ 5 h 39"/>
                <a:gd name="T28" fmla="*/ 7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6" y="39"/>
                  </a:moveTo>
                  <a:cubicBezTo>
                    <a:pt x="26" y="39"/>
                    <a:pt x="26" y="39"/>
                    <a:pt x="26" y="39"/>
                  </a:cubicBezTo>
                  <a:cubicBezTo>
                    <a:pt x="25" y="39"/>
                    <a:pt x="24" y="38"/>
                    <a:pt x="24" y="38"/>
                  </a:cubicBezTo>
                  <a:cubicBezTo>
                    <a:pt x="1" y="6"/>
                    <a:pt x="1" y="6"/>
                    <a:pt x="1" y="6"/>
                  </a:cubicBezTo>
                  <a:cubicBezTo>
                    <a:pt x="0" y="6"/>
                    <a:pt x="0" y="5"/>
                    <a:pt x="0" y="4"/>
                  </a:cubicBezTo>
                  <a:cubicBezTo>
                    <a:pt x="0" y="4"/>
                    <a:pt x="1" y="3"/>
                    <a:pt x="1" y="3"/>
                  </a:cubicBezTo>
                  <a:cubicBezTo>
                    <a:pt x="5" y="1"/>
                    <a:pt x="9" y="0"/>
                    <a:pt x="12" y="0"/>
                  </a:cubicBezTo>
                  <a:cubicBezTo>
                    <a:pt x="19" y="0"/>
                    <a:pt x="25" y="3"/>
                    <a:pt x="30" y="8"/>
                  </a:cubicBezTo>
                  <a:cubicBezTo>
                    <a:pt x="37" y="17"/>
                    <a:pt x="36" y="30"/>
                    <a:pt x="27" y="38"/>
                  </a:cubicBezTo>
                  <a:cubicBezTo>
                    <a:pt x="27" y="38"/>
                    <a:pt x="26" y="39"/>
                    <a:pt x="26" y="39"/>
                  </a:cubicBezTo>
                  <a:close/>
                  <a:moveTo>
                    <a:pt x="7" y="6"/>
                  </a:moveTo>
                  <a:cubicBezTo>
                    <a:pt x="26" y="32"/>
                    <a:pt x="26" y="32"/>
                    <a:pt x="26" y="32"/>
                  </a:cubicBezTo>
                  <a:cubicBezTo>
                    <a:pt x="31" y="26"/>
                    <a:pt x="31" y="17"/>
                    <a:pt x="26" y="11"/>
                  </a:cubicBezTo>
                  <a:cubicBezTo>
                    <a:pt x="22" y="7"/>
                    <a:pt x="18" y="5"/>
                    <a:pt x="12" y="5"/>
                  </a:cubicBezTo>
                  <a:cubicBezTo>
                    <a:pt x="10" y="5"/>
                    <a:pt x="8" y="5"/>
                    <a:pt x="7"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6" name="Freeform 1369">
              <a:extLst>
                <a:ext uri="{FF2B5EF4-FFF2-40B4-BE49-F238E27FC236}">
                  <a16:creationId xmlns:a16="http://schemas.microsoft.com/office/drawing/2014/main" id="{00AC523F-5592-402C-992D-90F866756AF4}"/>
                </a:ext>
              </a:extLst>
            </p:cNvPr>
            <p:cNvSpPr>
              <a:spLocks noEditPoints="1"/>
            </p:cNvSpPr>
            <p:nvPr/>
          </p:nvSpPr>
          <p:spPr bwMode="auto">
            <a:xfrm rot="20647229" flipH="1">
              <a:off x="5661066" y="4102195"/>
              <a:ext cx="44450" cy="46038"/>
            </a:xfrm>
            <a:custGeom>
              <a:avLst/>
              <a:gdLst>
                <a:gd name="T0" fmla="*/ 24 w 37"/>
                <a:gd name="T1" fmla="*/ 39 h 39"/>
                <a:gd name="T2" fmla="*/ 7 w 37"/>
                <a:gd name="T3" fmla="*/ 31 h 39"/>
                <a:gd name="T4" fmla="*/ 9 w 37"/>
                <a:gd name="T5" fmla="*/ 1 h 39"/>
                <a:gd name="T6" fmla="*/ 11 w 37"/>
                <a:gd name="T7" fmla="*/ 0 h 39"/>
                <a:gd name="T8" fmla="*/ 13 w 37"/>
                <a:gd name="T9" fmla="*/ 1 h 39"/>
                <a:gd name="T10" fmla="*/ 36 w 37"/>
                <a:gd name="T11" fmla="*/ 32 h 39"/>
                <a:gd name="T12" fmla="*/ 37 w 37"/>
                <a:gd name="T13" fmla="*/ 34 h 39"/>
                <a:gd name="T14" fmla="*/ 35 w 37"/>
                <a:gd name="T15" fmla="*/ 36 h 39"/>
                <a:gd name="T16" fmla="*/ 24 w 37"/>
                <a:gd name="T17" fmla="*/ 39 h 39"/>
                <a:gd name="T18" fmla="*/ 11 w 37"/>
                <a:gd name="T19" fmla="*/ 7 h 39"/>
                <a:gd name="T20" fmla="*/ 11 w 37"/>
                <a:gd name="T21" fmla="*/ 28 h 39"/>
                <a:gd name="T22" fmla="*/ 24 w 37"/>
                <a:gd name="T23" fmla="*/ 34 h 39"/>
                <a:gd name="T24" fmla="*/ 30 w 37"/>
                <a:gd name="T25" fmla="*/ 33 h 39"/>
                <a:gd name="T26" fmla="*/ 11 w 37"/>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24" y="39"/>
                  </a:moveTo>
                  <a:cubicBezTo>
                    <a:pt x="18" y="39"/>
                    <a:pt x="12" y="36"/>
                    <a:pt x="7" y="31"/>
                  </a:cubicBezTo>
                  <a:cubicBezTo>
                    <a:pt x="0" y="22"/>
                    <a:pt x="1" y="9"/>
                    <a:pt x="9" y="1"/>
                  </a:cubicBezTo>
                  <a:cubicBezTo>
                    <a:pt x="10" y="0"/>
                    <a:pt x="11" y="0"/>
                    <a:pt x="11" y="0"/>
                  </a:cubicBezTo>
                  <a:cubicBezTo>
                    <a:pt x="12" y="0"/>
                    <a:pt x="13" y="1"/>
                    <a:pt x="13" y="1"/>
                  </a:cubicBezTo>
                  <a:cubicBezTo>
                    <a:pt x="36" y="32"/>
                    <a:pt x="36" y="32"/>
                    <a:pt x="36" y="32"/>
                  </a:cubicBezTo>
                  <a:cubicBezTo>
                    <a:pt x="37" y="33"/>
                    <a:pt x="37" y="34"/>
                    <a:pt x="37" y="34"/>
                  </a:cubicBezTo>
                  <a:cubicBezTo>
                    <a:pt x="37" y="35"/>
                    <a:pt x="36" y="36"/>
                    <a:pt x="35" y="36"/>
                  </a:cubicBezTo>
                  <a:cubicBezTo>
                    <a:pt x="32" y="38"/>
                    <a:pt x="28" y="39"/>
                    <a:pt x="24" y="39"/>
                  </a:cubicBezTo>
                  <a:close/>
                  <a:moveTo>
                    <a:pt x="11" y="7"/>
                  </a:moveTo>
                  <a:cubicBezTo>
                    <a:pt x="6" y="13"/>
                    <a:pt x="6" y="22"/>
                    <a:pt x="11" y="28"/>
                  </a:cubicBezTo>
                  <a:cubicBezTo>
                    <a:pt x="15" y="32"/>
                    <a:pt x="19" y="34"/>
                    <a:pt x="24" y="34"/>
                  </a:cubicBezTo>
                  <a:cubicBezTo>
                    <a:pt x="26" y="34"/>
                    <a:pt x="28" y="34"/>
                    <a:pt x="30" y="33"/>
                  </a:cubicBezTo>
                  <a:lnTo>
                    <a:pt x="11"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7" name="Freeform 1370">
              <a:extLst>
                <a:ext uri="{FF2B5EF4-FFF2-40B4-BE49-F238E27FC236}">
                  <a16:creationId xmlns:a16="http://schemas.microsoft.com/office/drawing/2014/main" id="{6838F629-8BCD-4F04-8C6F-2AFA41F48B8C}"/>
                </a:ext>
              </a:extLst>
            </p:cNvPr>
            <p:cNvSpPr>
              <a:spLocks noEditPoints="1"/>
            </p:cNvSpPr>
            <p:nvPr/>
          </p:nvSpPr>
          <p:spPr bwMode="auto">
            <a:xfrm rot="20647229" flipH="1">
              <a:off x="5175287" y="4077213"/>
              <a:ext cx="42863" cy="46038"/>
            </a:xfrm>
            <a:custGeom>
              <a:avLst/>
              <a:gdLst>
                <a:gd name="T0" fmla="*/ 25 w 36"/>
                <a:gd name="T1" fmla="*/ 39 h 39"/>
                <a:gd name="T2" fmla="*/ 25 w 36"/>
                <a:gd name="T3" fmla="*/ 39 h 39"/>
                <a:gd name="T4" fmla="*/ 23 w 36"/>
                <a:gd name="T5" fmla="*/ 38 h 39"/>
                <a:gd name="T6" fmla="*/ 0 w 36"/>
                <a:gd name="T7" fmla="*/ 7 h 39"/>
                <a:gd name="T8" fmla="*/ 0 w 36"/>
                <a:gd name="T9" fmla="*/ 5 h 39"/>
                <a:gd name="T10" fmla="*/ 1 w 36"/>
                <a:gd name="T11" fmla="*/ 3 h 39"/>
                <a:gd name="T12" fmla="*/ 12 w 36"/>
                <a:gd name="T13" fmla="*/ 0 h 39"/>
                <a:gd name="T14" fmla="*/ 29 w 36"/>
                <a:gd name="T15" fmla="*/ 8 h 39"/>
                <a:gd name="T16" fmla="*/ 27 w 36"/>
                <a:gd name="T17" fmla="*/ 38 h 39"/>
                <a:gd name="T18" fmla="*/ 25 w 36"/>
                <a:gd name="T19" fmla="*/ 39 h 39"/>
                <a:gd name="T20" fmla="*/ 6 w 36"/>
                <a:gd name="T21" fmla="*/ 6 h 39"/>
                <a:gd name="T22" fmla="*/ 26 w 36"/>
                <a:gd name="T23" fmla="*/ 32 h 39"/>
                <a:gd name="T24" fmla="*/ 25 w 36"/>
                <a:gd name="T25" fmla="*/ 11 h 39"/>
                <a:gd name="T26" fmla="*/ 12 w 36"/>
                <a:gd name="T27" fmla="*/ 5 h 39"/>
                <a:gd name="T28" fmla="*/ 6 w 3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9">
                  <a:moveTo>
                    <a:pt x="25" y="39"/>
                  </a:moveTo>
                  <a:cubicBezTo>
                    <a:pt x="25" y="39"/>
                    <a:pt x="25" y="39"/>
                    <a:pt x="25" y="39"/>
                  </a:cubicBezTo>
                  <a:cubicBezTo>
                    <a:pt x="24" y="39"/>
                    <a:pt x="24" y="38"/>
                    <a:pt x="23" y="38"/>
                  </a:cubicBezTo>
                  <a:cubicBezTo>
                    <a:pt x="0" y="7"/>
                    <a:pt x="0" y="7"/>
                    <a:pt x="0" y="7"/>
                  </a:cubicBezTo>
                  <a:cubicBezTo>
                    <a:pt x="0" y="6"/>
                    <a:pt x="0" y="5"/>
                    <a:pt x="0" y="5"/>
                  </a:cubicBezTo>
                  <a:cubicBezTo>
                    <a:pt x="0" y="4"/>
                    <a:pt x="0" y="3"/>
                    <a:pt x="1" y="3"/>
                  </a:cubicBezTo>
                  <a:cubicBezTo>
                    <a:pt x="4" y="1"/>
                    <a:pt x="8" y="0"/>
                    <a:pt x="12" y="0"/>
                  </a:cubicBezTo>
                  <a:cubicBezTo>
                    <a:pt x="19" y="0"/>
                    <a:pt x="25" y="3"/>
                    <a:pt x="29" y="8"/>
                  </a:cubicBezTo>
                  <a:cubicBezTo>
                    <a:pt x="36"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8" name="Freeform 1371">
              <a:extLst>
                <a:ext uri="{FF2B5EF4-FFF2-40B4-BE49-F238E27FC236}">
                  <a16:creationId xmlns:a16="http://schemas.microsoft.com/office/drawing/2014/main" id="{228B879F-1D3F-401D-9250-64AB0B948167}"/>
                </a:ext>
              </a:extLst>
            </p:cNvPr>
            <p:cNvSpPr>
              <a:spLocks noEditPoints="1"/>
            </p:cNvSpPr>
            <p:nvPr/>
          </p:nvSpPr>
          <p:spPr bwMode="auto">
            <a:xfrm rot="20647229" flipH="1">
              <a:off x="5190766" y="4079412"/>
              <a:ext cx="42863" cy="46038"/>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3 h 39"/>
                <a:gd name="T12" fmla="*/ 36 w 36"/>
                <a:gd name="T13" fmla="*/ 35 h 39"/>
                <a:gd name="T14" fmla="*/ 35 w 36"/>
                <a:gd name="T15" fmla="*/ 36 h 39"/>
                <a:gd name="T16" fmla="*/ 24 w 36"/>
                <a:gd name="T17" fmla="*/ 39 h 39"/>
                <a:gd name="T18" fmla="*/ 10 w 36"/>
                <a:gd name="T19" fmla="*/ 7 h 39"/>
                <a:gd name="T20" fmla="*/ 11 w 36"/>
                <a:gd name="T21" fmla="*/ 28 h 39"/>
                <a:gd name="T22" fmla="*/ 24 w 36"/>
                <a:gd name="T23" fmla="*/ 34 h 39"/>
                <a:gd name="T24" fmla="*/ 30 w 36"/>
                <a:gd name="T25" fmla="*/ 33 h 39"/>
                <a:gd name="T26" fmla="*/ 10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7" y="39"/>
                    <a:pt x="11" y="36"/>
                    <a:pt x="7" y="31"/>
                  </a:cubicBezTo>
                  <a:cubicBezTo>
                    <a:pt x="0" y="22"/>
                    <a:pt x="0" y="9"/>
                    <a:pt x="9" y="1"/>
                  </a:cubicBezTo>
                  <a:cubicBezTo>
                    <a:pt x="10" y="1"/>
                    <a:pt x="10" y="0"/>
                    <a:pt x="11" y="0"/>
                  </a:cubicBezTo>
                  <a:cubicBezTo>
                    <a:pt x="12" y="0"/>
                    <a:pt x="12" y="1"/>
                    <a:pt x="13" y="1"/>
                  </a:cubicBezTo>
                  <a:cubicBezTo>
                    <a:pt x="36" y="33"/>
                    <a:pt x="36" y="33"/>
                    <a:pt x="36" y="33"/>
                  </a:cubicBezTo>
                  <a:cubicBezTo>
                    <a:pt x="36" y="33"/>
                    <a:pt x="36" y="34"/>
                    <a:pt x="36" y="35"/>
                  </a:cubicBezTo>
                  <a:cubicBezTo>
                    <a:pt x="36" y="35"/>
                    <a:pt x="36" y="36"/>
                    <a:pt x="35" y="36"/>
                  </a:cubicBezTo>
                  <a:cubicBezTo>
                    <a:pt x="32" y="38"/>
                    <a:pt x="28" y="39"/>
                    <a:pt x="24" y="39"/>
                  </a:cubicBezTo>
                  <a:close/>
                  <a:moveTo>
                    <a:pt x="10" y="7"/>
                  </a:moveTo>
                  <a:cubicBezTo>
                    <a:pt x="6" y="13"/>
                    <a:pt x="6" y="22"/>
                    <a:pt x="11" y="28"/>
                  </a:cubicBezTo>
                  <a:cubicBezTo>
                    <a:pt x="14" y="32"/>
                    <a:pt x="19" y="34"/>
                    <a:pt x="24" y="34"/>
                  </a:cubicBezTo>
                  <a:cubicBezTo>
                    <a:pt x="26" y="34"/>
                    <a:pt x="28" y="34"/>
                    <a:pt x="30" y="33"/>
                  </a:cubicBezTo>
                  <a:lnTo>
                    <a:pt x="10"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9" name="Freeform 1372">
              <a:extLst>
                <a:ext uri="{FF2B5EF4-FFF2-40B4-BE49-F238E27FC236}">
                  <a16:creationId xmlns:a16="http://schemas.microsoft.com/office/drawing/2014/main" id="{DEE6B1D6-B0F8-4D16-9CF2-8CC87D58F9D5}"/>
                </a:ext>
              </a:extLst>
            </p:cNvPr>
            <p:cNvSpPr>
              <a:spLocks noEditPoints="1"/>
            </p:cNvSpPr>
            <p:nvPr/>
          </p:nvSpPr>
          <p:spPr bwMode="auto">
            <a:xfrm rot="20647229" flipH="1">
              <a:off x="5798134" y="3992233"/>
              <a:ext cx="44450" cy="46038"/>
            </a:xfrm>
            <a:custGeom>
              <a:avLst/>
              <a:gdLst>
                <a:gd name="T0" fmla="*/ 25 w 37"/>
                <a:gd name="T1" fmla="*/ 39 h 39"/>
                <a:gd name="T2" fmla="*/ 25 w 37"/>
                <a:gd name="T3" fmla="*/ 39 h 39"/>
                <a:gd name="T4" fmla="*/ 23 w 37"/>
                <a:gd name="T5" fmla="*/ 38 h 39"/>
                <a:gd name="T6" fmla="*/ 0 w 37"/>
                <a:gd name="T7" fmla="*/ 7 h 39"/>
                <a:gd name="T8" fmla="*/ 0 w 37"/>
                <a:gd name="T9" fmla="*/ 5 h 39"/>
                <a:gd name="T10" fmla="*/ 1 w 37"/>
                <a:gd name="T11" fmla="*/ 3 h 39"/>
                <a:gd name="T12" fmla="*/ 12 w 37"/>
                <a:gd name="T13" fmla="*/ 0 h 39"/>
                <a:gd name="T14" fmla="*/ 29 w 37"/>
                <a:gd name="T15" fmla="*/ 8 h 39"/>
                <a:gd name="T16" fmla="*/ 27 w 37"/>
                <a:gd name="T17" fmla="*/ 38 h 39"/>
                <a:gd name="T18" fmla="*/ 25 w 37"/>
                <a:gd name="T19" fmla="*/ 39 h 39"/>
                <a:gd name="T20" fmla="*/ 6 w 37"/>
                <a:gd name="T21" fmla="*/ 6 h 39"/>
                <a:gd name="T22" fmla="*/ 26 w 37"/>
                <a:gd name="T23" fmla="*/ 32 h 39"/>
                <a:gd name="T24" fmla="*/ 25 w 37"/>
                <a:gd name="T25" fmla="*/ 11 h 39"/>
                <a:gd name="T26" fmla="*/ 12 w 37"/>
                <a:gd name="T27" fmla="*/ 5 h 39"/>
                <a:gd name="T28" fmla="*/ 6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5" y="39"/>
                  </a:moveTo>
                  <a:cubicBezTo>
                    <a:pt x="25" y="39"/>
                    <a:pt x="25" y="39"/>
                    <a:pt x="25" y="39"/>
                  </a:cubicBezTo>
                  <a:cubicBezTo>
                    <a:pt x="25" y="39"/>
                    <a:pt x="24" y="38"/>
                    <a:pt x="23" y="38"/>
                  </a:cubicBezTo>
                  <a:cubicBezTo>
                    <a:pt x="0" y="7"/>
                    <a:pt x="0" y="7"/>
                    <a:pt x="0" y="7"/>
                  </a:cubicBezTo>
                  <a:cubicBezTo>
                    <a:pt x="0" y="6"/>
                    <a:pt x="0" y="5"/>
                    <a:pt x="0" y="5"/>
                  </a:cubicBezTo>
                  <a:cubicBezTo>
                    <a:pt x="0" y="4"/>
                    <a:pt x="1" y="3"/>
                    <a:pt x="1" y="3"/>
                  </a:cubicBezTo>
                  <a:cubicBezTo>
                    <a:pt x="5" y="1"/>
                    <a:pt x="8" y="0"/>
                    <a:pt x="12" y="0"/>
                  </a:cubicBezTo>
                  <a:cubicBezTo>
                    <a:pt x="19" y="0"/>
                    <a:pt x="25" y="3"/>
                    <a:pt x="29" y="8"/>
                  </a:cubicBezTo>
                  <a:cubicBezTo>
                    <a:pt x="37"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0" name="Freeform 1373">
              <a:extLst>
                <a:ext uri="{FF2B5EF4-FFF2-40B4-BE49-F238E27FC236}">
                  <a16:creationId xmlns:a16="http://schemas.microsoft.com/office/drawing/2014/main" id="{A416BE69-BF0E-4E34-8BE6-32535E480BBB}"/>
                </a:ext>
              </a:extLst>
            </p:cNvPr>
            <p:cNvSpPr>
              <a:spLocks noEditPoints="1"/>
            </p:cNvSpPr>
            <p:nvPr/>
          </p:nvSpPr>
          <p:spPr bwMode="auto">
            <a:xfrm rot="20647229" flipH="1">
              <a:off x="5815171" y="3994214"/>
              <a:ext cx="42863" cy="46038"/>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2 h 39"/>
                <a:gd name="T12" fmla="*/ 36 w 36"/>
                <a:gd name="T13" fmla="*/ 34 h 39"/>
                <a:gd name="T14" fmla="*/ 35 w 36"/>
                <a:gd name="T15" fmla="*/ 36 h 39"/>
                <a:gd name="T16" fmla="*/ 24 w 36"/>
                <a:gd name="T17" fmla="*/ 39 h 39"/>
                <a:gd name="T18" fmla="*/ 11 w 36"/>
                <a:gd name="T19" fmla="*/ 7 h 39"/>
                <a:gd name="T20" fmla="*/ 11 w 36"/>
                <a:gd name="T21" fmla="*/ 28 h 39"/>
                <a:gd name="T22" fmla="*/ 24 w 36"/>
                <a:gd name="T23" fmla="*/ 34 h 39"/>
                <a:gd name="T24" fmla="*/ 30 w 36"/>
                <a:gd name="T25" fmla="*/ 33 h 39"/>
                <a:gd name="T26" fmla="*/ 11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1" y="9"/>
                    <a:pt x="9" y="1"/>
                  </a:cubicBezTo>
                  <a:cubicBezTo>
                    <a:pt x="10" y="0"/>
                    <a:pt x="10" y="0"/>
                    <a:pt x="11" y="0"/>
                  </a:cubicBezTo>
                  <a:cubicBezTo>
                    <a:pt x="12" y="0"/>
                    <a:pt x="12" y="1"/>
                    <a:pt x="13" y="1"/>
                  </a:cubicBezTo>
                  <a:cubicBezTo>
                    <a:pt x="36" y="32"/>
                    <a:pt x="36" y="32"/>
                    <a:pt x="36" y="32"/>
                  </a:cubicBezTo>
                  <a:cubicBezTo>
                    <a:pt x="36" y="33"/>
                    <a:pt x="36" y="34"/>
                    <a:pt x="36" y="34"/>
                  </a:cubicBezTo>
                  <a:cubicBezTo>
                    <a:pt x="36" y="35"/>
                    <a:pt x="36" y="36"/>
                    <a:pt x="35" y="36"/>
                  </a:cubicBezTo>
                  <a:cubicBezTo>
                    <a:pt x="32" y="38"/>
                    <a:pt x="28" y="39"/>
                    <a:pt x="24" y="39"/>
                  </a:cubicBezTo>
                  <a:close/>
                  <a:moveTo>
                    <a:pt x="11" y="7"/>
                  </a:moveTo>
                  <a:cubicBezTo>
                    <a:pt x="6" y="13"/>
                    <a:pt x="6" y="22"/>
                    <a:pt x="11" y="28"/>
                  </a:cubicBezTo>
                  <a:cubicBezTo>
                    <a:pt x="14" y="32"/>
                    <a:pt x="19" y="34"/>
                    <a:pt x="24" y="34"/>
                  </a:cubicBezTo>
                  <a:cubicBezTo>
                    <a:pt x="26" y="34"/>
                    <a:pt x="28" y="34"/>
                    <a:pt x="30" y="33"/>
                  </a:cubicBezTo>
                  <a:lnTo>
                    <a:pt x="11"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1" name="Freeform 1374">
              <a:extLst>
                <a:ext uri="{FF2B5EF4-FFF2-40B4-BE49-F238E27FC236}">
                  <a16:creationId xmlns:a16="http://schemas.microsoft.com/office/drawing/2014/main" id="{A329A2D4-D3DC-4418-A0B9-A622C147741F}"/>
                </a:ext>
              </a:extLst>
            </p:cNvPr>
            <p:cNvSpPr>
              <a:spLocks noEditPoints="1"/>
            </p:cNvSpPr>
            <p:nvPr/>
          </p:nvSpPr>
          <p:spPr bwMode="auto">
            <a:xfrm rot="20647229" flipH="1">
              <a:off x="5462589" y="4165452"/>
              <a:ext cx="42863" cy="44450"/>
            </a:xfrm>
            <a:custGeom>
              <a:avLst/>
              <a:gdLst>
                <a:gd name="T0" fmla="*/ 18 w 37"/>
                <a:gd name="T1" fmla="*/ 38 h 38"/>
                <a:gd name="T2" fmla="*/ 0 w 37"/>
                <a:gd name="T3" fmla="*/ 19 h 38"/>
                <a:gd name="T4" fmla="*/ 18 w 37"/>
                <a:gd name="T5" fmla="*/ 0 h 38"/>
                <a:gd name="T6" fmla="*/ 37 w 37"/>
                <a:gd name="T7" fmla="*/ 19 h 38"/>
                <a:gd name="T8" fmla="*/ 18 w 37"/>
                <a:gd name="T9" fmla="*/ 38 h 38"/>
                <a:gd name="T10" fmla="*/ 18 w 37"/>
                <a:gd name="T11" fmla="*/ 8 h 38"/>
                <a:gd name="T12" fmla="*/ 8 w 37"/>
                <a:gd name="T13" fmla="*/ 19 h 38"/>
                <a:gd name="T14" fmla="*/ 18 w 37"/>
                <a:gd name="T15" fmla="*/ 29 h 38"/>
                <a:gd name="T16" fmla="*/ 28 w 37"/>
                <a:gd name="T17" fmla="*/ 19 h 38"/>
                <a:gd name="T18" fmla="*/ 18 w 37"/>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8"/>
                  </a:moveTo>
                  <a:cubicBezTo>
                    <a:pt x="8" y="38"/>
                    <a:pt x="0" y="29"/>
                    <a:pt x="0" y="19"/>
                  </a:cubicBezTo>
                  <a:cubicBezTo>
                    <a:pt x="0" y="8"/>
                    <a:pt x="8" y="0"/>
                    <a:pt x="18" y="0"/>
                  </a:cubicBezTo>
                  <a:cubicBezTo>
                    <a:pt x="29" y="0"/>
                    <a:pt x="37" y="8"/>
                    <a:pt x="37" y="19"/>
                  </a:cubicBezTo>
                  <a:cubicBezTo>
                    <a:pt x="37" y="29"/>
                    <a:pt x="29" y="38"/>
                    <a:pt x="18" y="38"/>
                  </a:cubicBezTo>
                  <a:close/>
                  <a:moveTo>
                    <a:pt x="18" y="8"/>
                  </a:moveTo>
                  <a:cubicBezTo>
                    <a:pt x="13" y="8"/>
                    <a:pt x="8" y="13"/>
                    <a:pt x="8" y="19"/>
                  </a:cubicBezTo>
                  <a:cubicBezTo>
                    <a:pt x="8" y="25"/>
                    <a:pt x="13" y="29"/>
                    <a:pt x="18" y="29"/>
                  </a:cubicBezTo>
                  <a:cubicBezTo>
                    <a:pt x="24" y="29"/>
                    <a:pt x="28" y="25"/>
                    <a:pt x="28" y="19"/>
                  </a:cubicBezTo>
                  <a:cubicBezTo>
                    <a:pt x="28" y="13"/>
                    <a:pt x="24" y="8"/>
                    <a:pt x="18" y="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2" name="Freeform 1375">
              <a:extLst>
                <a:ext uri="{FF2B5EF4-FFF2-40B4-BE49-F238E27FC236}">
                  <a16:creationId xmlns:a16="http://schemas.microsoft.com/office/drawing/2014/main" id="{CFD46780-3F5C-45D4-914C-4DCCE83929E8}"/>
                </a:ext>
              </a:extLst>
            </p:cNvPr>
            <p:cNvSpPr>
              <a:spLocks noEditPoints="1"/>
            </p:cNvSpPr>
            <p:nvPr/>
          </p:nvSpPr>
          <p:spPr bwMode="auto">
            <a:xfrm rot="20647229" flipH="1">
              <a:off x="5609539" y="4159734"/>
              <a:ext cx="44450" cy="44450"/>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9 w 38"/>
                <a:gd name="T13" fmla="*/ 19 h 38"/>
                <a:gd name="T14" fmla="*/ 19 w 38"/>
                <a:gd name="T15" fmla="*/ 30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30"/>
                    <a:pt x="0" y="19"/>
                  </a:cubicBezTo>
                  <a:cubicBezTo>
                    <a:pt x="0" y="9"/>
                    <a:pt x="9" y="0"/>
                    <a:pt x="19" y="0"/>
                  </a:cubicBezTo>
                  <a:cubicBezTo>
                    <a:pt x="29" y="0"/>
                    <a:pt x="38" y="9"/>
                    <a:pt x="38" y="19"/>
                  </a:cubicBezTo>
                  <a:cubicBezTo>
                    <a:pt x="38" y="30"/>
                    <a:pt x="29" y="38"/>
                    <a:pt x="19" y="38"/>
                  </a:cubicBezTo>
                  <a:close/>
                  <a:moveTo>
                    <a:pt x="19" y="9"/>
                  </a:moveTo>
                  <a:cubicBezTo>
                    <a:pt x="13" y="9"/>
                    <a:pt x="9" y="14"/>
                    <a:pt x="9" y="19"/>
                  </a:cubicBezTo>
                  <a:cubicBezTo>
                    <a:pt x="9" y="25"/>
                    <a:pt x="13" y="30"/>
                    <a:pt x="19" y="30"/>
                  </a:cubicBezTo>
                  <a:cubicBezTo>
                    <a:pt x="25" y="30"/>
                    <a:pt x="29" y="25"/>
                    <a:pt x="29" y="19"/>
                  </a:cubicBezTo>
                  <a:cubicBezTo>
                    <a:pt x="29" y="14"/>
                    <a:pt x="25" y="9"/>
                    <a:pt x="19" y="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4" name="Freeform 1377">
              <a:extLst>
                <a:ext uri="{FF2B5EF4-FFF2-40B4-BE49-F238E27FC236}">
                  <a16:creationId xmlns:a16="http://schemas.microsoft.com/office/drawing/2014/main" id="{CE155A56-757F-40D6-B83F-9613F54788BB}"/>
                </a:ext>
              </a:extLst>
            </p:cNvPr>
            <p:cNvSpPr>
              <a:spLocks noEditPoints="1"/>
            </p:cNvSpPr>
            <p:nvPr/>
          </p:nvSpPr>
          <p:spPr bwMode="auto">
            <a:xfrm rot="20647229" flipH="1">
              <a:off x="5267430" y="4002576"/>
              <a:ext cx="195263" cy="195263"/>
            </a:xfrm>
            <a:custGeom>
              <a:avLst/>
              <a:gdLst>
                <a:gd name="T0" fmla="*/ 65 w 164"/>
                <a:gd name="T1" fmla="*/ 154 h 164"/>
                <a:gd name="T2" fmla="*/ 48 w 164"/>
                <a:gd name="T3" fmla="*/ 147 h 164"/>
                <a:gd name="T4" fmla="*/ 26 w 164"/>
                <a:gd name="T5" fmla="*/ 141 h 164"/>
                <a:gd name="T6" fmla="*/ 19 w 164"/>
                <a:gd name="T7" fmla="*/ 120 h 164"/>
                <a:gd name="T8" fmla="*/ 11 w 164"/>
                <a:gd name="T9" fmla="*/ 103 h 164"/>
                <a:gd name="T10" fmla="*/ 0 w 164"/>
                <a:gd name="T11" fmla="*/ 83 h 164"/>
                <a:gd name="T12" fmla="*/ 6 w 164"/>
                <a:gd name="T13" fmla="*/ 52 h 164"/>
                <a:gd name="T14" fmla="*/ 23 w 164"/>
                <a:gd name="T15" fmla="*/ 47 h 164"/>
                <a:gd name="T16" fmla="*/ 24 w 164"/>
                <a:gd name="T17" fmla="*/ 24 h 164"/>
                <a:gd name="T18" fmla="*/ 44 w 164"/>
                <a:gd name="T19" fmla="*/ 18 h 164"/>
                <a:gd name="T20" fmla="*/ 61 w 164"/>
                <a:gd name="T21" fmla="*/ 11 h 164"/>
                <a:gd name="T22" fmla="*/ 80 w 164"/>
                <a:gd name="T23" fmla="*/ 0 h 164"/>
                <a:gd name="T24" fmla="*/ 101 w 164"/>
                <a:gd name="T25" fmla="*/ 10 h 164"/>
                <a:gd name="T26" fmla="*/ 117 w 164"/>
                <a:gd name="T27" fmla="*/ 17 h 164"/>
                <a:gd name="T28" fmla="*/ 139 w 164"/>
                <a:gd name="T29" fmla="*/ 23 h 164"/>
                <a:gd name="T30" fmla="*/ 140 w 164"/>
                <a:gd name="T31" fmla="*/ 45 h 164"/>
                <a:gd name="T32" fmla="*/ 158 w 164"/>
                <a:gd name="T33" fmla="*/ 50 h 164"/>
                <a:gd name="T34" fmla="*/ 164 w 164"/>
                <a:gd name="T35" fmla="*/ 81 h 164"/>
                <a:gd name="T36" fmla="*/ 146 w 164"/>
                <a:gd name="T37" fmla="*/ 94 h 164"/>
                <a:gd name="T38" fmla="*/ 151 w 164"/>
                <a:gd name="T39" fmla="*/ 119 h 164"/>
                <a:gd name="T40" fmla="*/ 141 w 164"/>
                <a:gd name="T41" fmla="*/ 128 h 164"/>
                <a:gd name="T42" fmla="*/ 127 w 164"/>
                <a:gd name="T43" fmla="*/ 140 h 164"/>
                <a:gd name="T44" fmla="*/ 116 w 164"/>
                <a:gd name="T45" fmla="*/ 156 h 164"/>
                <a:gd name="T46" fmla="*/ 94 w 164"/>
                <a:gd name="T47" fmla="*/ 155 h 164"/>
                <a:gd name="T48" fmla="*/ 71 w 164"/>
                <a:gd name="T49" fmla="*/ 140 h 164"/>
                <a:gd name="T50" fmla="*/ 84 w 164"/>
                <a:gd name="T51" fmla="*/ 159 h 164"/>
                <a:gd name="T52" fmla="*/ 96 w 164"/>
                <a:gd name="T53" fmla="*/ 140 h 164"/>
                <a:gd name="T54" fmla="*/ 114 w 164"/>
                <a:gd name="T55" fmla="*/ 152 h 164"/>
                <a:gd name="T56" fmla="*/ 118 w 164"/>
                <a:gd name="T57" fmla="*/ 131 h 164"/>
                <a:gd name="T58" fmla="*/ 137 w 164"/>
                <a:gd name="T59" fmla="*/ 136 h 164"/>
                <a:gd name="T60" fmla="*/ 139 w 164"/>
                <a:gd name="T61" fmla="*/ 112 h 164"/>
                <a:gd name="T62" fmla="*/ 153 w 164"/>
                <a:gd name="T63" fmla="*/ 111 h 164"/>
                <a:gd name="T64" fmla="*/ 155 w 164"/>
                <a:gd name="T65" fmla="*/ 86 h 164"/>
                <a:gd name="T66" fmla="*/ 155 w 164"/>
                <a:gd name="T67" fmla="*/ 77 h 164"/>
                <a:gd name="T68" fmla="*/ 153 w 164"/>
                <a:gd name="T69" fmla="*/ 52 h 164"/>
                <a:gd name="T70" fmla="*/ 140 w 164"/>
                <a:gd name="T71" fmla="*/ 50 h 164"/>
                <a:gd name="T72" fmla="*/ 136 w 164"/>
                <a:gd name="T73" fmla="*/ 27 h 164"/>
                <a:gd name="T74" fmla="*/ 114 w 164"/>
                <a:gd name="T75" fmla="*/ 32 h 164"/>
                <a:gd name="T76" fmla="*/ 110 w 164"/>
                <a:gd name="T77" fmla="*/ 10 h 164"/>
                <a:gd name="T78" fmla="*/ 91 w 164"/>
                <a:gd name="T79" fmla="*/ 23 h 164"/>
                <a:gd name="T80" fmla="*/ 80 w 164"/>
                <a:gd name="T81" fmla="*/ 5 h 164"/>
                <a:gd name="T82" fmla="*/ 56 w 164"/>
                <a:gd name="T83" fmla="*/ 14 h 164"/>
                <a:gd name="T84" fmla="*/ 49 w 164"/>
                <a:gd name="T85" fmla="*/ 17 h 164"/>
                <a:gd name="T86" fmla="*/ 30 w 164"/>
                <a:gd name="T87" fmla="*/ 26 h 164"/>
                <a:gd name="T88" fmla="*/ 33 w 164"/>
                <a:gd name="T89" fmla="*/ 47 h 164"/>
                <a:gd name="T90" fmla="*/ 13 w 164"/>
                <a:gd name="T91" fmla="*/ 51 h 164"/>
                <a:gd name="T92" fmla="*/ 24 w 164"/>
                <a:gd name="T93" fmla="*/ 69 h 164"/>
                <a:gd name="T94" fmla="*/ 5 w 164"/>
                <a:gd name="T95" fmla="*/ 84 h 164"/>
                <a:gd name="T96" fmla="*/ 14 w 164"/>
                <a:gd name="T97" fmla="*/ 107 h 164"/>
                <a:gd name="T98" fmla="*/ 17 w 164"/>
                <a:gd name="T99" fmla="*/ 115 h 164"/>
                <a:gd name="T100" fmla="*/ 29 w 164"/>
                <a:gd name="T101" fmla="*/ 132 h 164"/>
                <a:gd name="T102" fmla="*/ 35 w 164"/>
                <a:gd name="T103" fmla="*/ 137 h 164"/>
                <a:gd name="T104" fmla="*/ 54 w 164"/>
                <a:gd name="T105" fmla="*/ 154 h 164"/>
                <a:gd name="T106" fmla="*/ 70 w 164"/>
                <a:gd name="T107" fmla="*/ 140 h 164"/>
                <a:gd name="T108" fmla="*/ 30 w 164"/>
                <a:gd name="T109" fmla="*/ 82 h 164"/>
                <a:gd name="T110" fmla="*/ 134 w 164"/>
                <a:gd name="T111" fmla="*/ 82 h 164"/>
                <a:gd name="T112" fmla="*/ 49 w 164"/>
                <a:gd name="T113" fmla="*/ 49 h 164"/>
                <a:gd name="T114" fmla="*/ 115 w 164"/>
                <a:gd name="T115"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1"/>
                    <a:pt x="76" y="156"/>
                  </a:cubicBezTo>
                  <a:cubicBezTo>
                    <a:pt x="75" y="151"/>
                    <a:pt x="72" y="147"/>
                    <a:pt x="71" y="146"/>
                  </a:cubicBezTo>
                  <a:cubicBezTo>
                    <a:pt x="69" y="147"/>
                    <a:pt x="66" y="150"/>
                    <a:pt x="65" y="154"/>
                  </a:cubicBezTo>
                  <a:cubicBezTo>
                    <a:pt x="63" y="158"/>
                    <a:pt x="60" y="159"/>
                    <a:pt x="57" y="159"/>
                  </a:cubicBezTo>
                  <a:cubicBezTo>
                    <a:pt x="56" y="159"/>
                    <a:pt x="54" y="159"/>
                    <a:pt x="53" y="159"/>
                  </a:cubicBezTo>
                  <a:cubicBezTo>
                    <a:pt x="53" y="158"/>
                    <a:pt x="53" y="158"/>
                    <a:pt x="53" y="158"/>
                  </a:cubicBezTo>
                  <a:cubicBezTo>
                    <a:pt x="50" y="157"/>
                    <a:pt x="46" y="156"/>
                    <a:pt x="48" y="147"/>
                  </a:cubicBezTo>
                  <a:cubicBezTo>
                    <a:pt x="48" y="143"/>
                    <a:pt x="48" y="138"/>
                    <a:pt x="47" y="136"/>
                  </a:cubicBezTo>
                  <a:cubicBezTo>
                    <a:pt x="45" y="137"/>
                    <a:pt x="41" y="139"/>
                    <a:pt x="38" y="141"/>
                  </a:cubicBezTo>
                  <a:cubicBezTo>
                    <a:pt x="36" y="143"/>
                    <a:pt x="34" y="144"/>
                    <a:pt x="31" y="144"/>
                  </a:cubicBezTo>
                  <a:cubicBezTo>
                    <a:pt x="29" y="144"/>
                    <a:pt x="27" y="143"/>
                    <a:pt x="26" y="141"/>
                  </a:cubicBezTo>
                  <a:cubicBezTo>
                    <a:pt x="25" y="141"/>
                    <a:pt x="25" y="141"/>
                    <a:pt x="25" y="141"/>
                  </a:cubicBezTo>
                  <a:cubicBezTo>
                    <a:pt x="23" y="138"/>
                    <a:pt x="20" y="135"/>
                    <a:pt x="25" y="129"/>
                  </a:cubicBezTo>
                  <a:cubicBezTo>
                    <a:pt x="28" y="125"/>
                    <a:pt x="29" y="121"/>
                    <a:pt x="29" y="119"/>
                  </a:cubicBezTo>
                  <a:cubicBezTo>
                    <a:pt x="27" y="118"/>
                    <a:pt x="22" y="119"/>
                    <a:pt x="19" y="120"/>
                  </a:cubicBezTo>
                  <a:cubicBezTo>
                    <a:pt x="17" y="120"/>
                    <a:pt x="16" y="120"/>
                    <a:pt x="14" y="120"/>
                  </a:cubicBezTo>
                  <a:cubicBezTo>
                    <a:pt x="10" y="120"/>
                    <a:pt x="8" y="117"/>
                    <a:pt x="7" y="115"/>
                  </a:cubicBezTo>
                  <a:cubicBezTo>
                    <a:pt x="7" y="114"/>
                    <a:pt x="7" y="114"/>
                    <a:pt x="7" y="114"/>
                  </a:cubicBezTo>
                  <a:cubicBezTo>
                    <a:pt x="6" y="112"/>
                    <a:pt x="4" y="108"/>
                    <a:pt x="11" y="103"/>
                  </a:cubicBezTo>
                  <a:cubicBezTo>
                    <a:pt x="15" y="101"/>
                    <a:pt x="18" y="97"/>
                    <a:pt x="19" y="95"/>
                  </a:cubicBezTo>
                  <a:cubicBezTo>
                    <a:pt x="17" y="94"/>
                    <a:pt x="13" y="93"/>
                    <a:pt x="9" y="92"/>
                  </a:cubicBezTo>
                  <a:cubicBezTo>
                    <a:pt x="0" y="91"/>
                    <a:pt x="0" y="86"/>
                    <a:pt x="0" y="84"/>
                  </a:cubicBezTo>
                  <a:cubicBezTo>
                    <a:pt x="0" y="83"/>
                    <a:pt x="0" y="83"/>
                    <a:pt x="0" y="83"/>
                  </a:cubicBezTo>
                  <a:cubicBezTo>
                    <a:pt x="0" y="80"/>
                    <a:pt x="0" y="75"/>
                    <a:pt x="9" y="74"/>
                  </a:cubicBezTo>
                  <a:cubicBezTo>
                    <a:pt x="13" y="73"/>
                    <a:pt x="17" y="71"/>
                    <a:pt x="19" y="70"/>
                  </a:cubicBezTo>
                  <a:cubicBezTo>
                    <a:pt x="17" y="68"/>
                    <a:pt x="14" y="65"/>
                    <a:pt x="11" y="63"/>
                  </a:cubicBezTo>
                  <a:cubicBezTo>
                    <a:pt x="3" y="59"/>
                    <a:pt x="5" y="54"/>
                    <a:pt x="6" y="52"/>
                  </a:cubicBezTo>
                  <a:cubicBezTo>
                    <a:pt x="6" y="51"/>
                    <a:pt x="6" y="51"/>
                    <a:pt x="6" y="51"/>
                  </a:cubicBezTo>
                  <a:cubicBezTo>
                    <a:pt x="7" y="49"/>
                    <a:pt x="8" y="46"/>
                    <a:pt x="13" y="46"/>
                  </a:cubicBezTo>
                  <a:cubicBezTo>
                    <a:pt x="15" y="46"/>
                    <a:pt x="16" y="46"/>
                    <a:pt x="17" y="46"/>
                  </a:cubicBezTo>
                  <a:cubicBezTo>
                    <a:pt x="19" y="46"/>
                    <a:pt x="21" y="47"/>
                    <a:pt x="23" y="47"/>
                  </a:cubicBezTo>
                  <a:cubicBezTo>
                    <a:pt x="26" y="47"/>
                    <a:pt x="27" y="46"/>
                    <a:pt x="28" y="46"/>
                  </a:cubicBezTo>
                  <a:cubicBezTo>
                    <a:pt x="28" y="44"/>
                    <a:pt x="26" y="40"/>
                    <a:pt x="24" y="37"/>
                  </a:cubicBezTo>
                  <a:cubicBezTo>
                    <a:pt x="18" y="30"/>
                    <a:pt x="22" y="27"/>
                    <a:pt x="24" y="25"/>
                  </a:cubicBezTo>
                  <a:cubicBezTo>
                    <a:pt x="24" y="24"/>
                    <a:pt x="24" y="24"/>
                    <a:pt x="24" y="24"/>
                  </a:cubicBezTo>
                  <a:cubicBezTo>
                    <a:pt x="25" y="23"/>
                    <a:pt x="27" y="21"/>
                    <a:pt x="30" y="21"/>
                  </a:cubicBezTo>
                  <a:cubicBezTo>
                    <a:pt x="32" y="21"/>
                    <a:pt x="34" y="22"/>
                    <a:pt x="36" y="24"/>
                  </a:cubicBezTo>
                  <a:cubicBezTo>
                    <a:pt x="39" y="26"/>
                    <a:pt x="42" y="27"/>
                    <a:pt x="45" y="28"/>
                  </a:cubicBezTo>
                  <a:cubicBezTo>
                    <a:pt x="45" y="25"/>
                    <a:pt x="45" y="22"/>
                    <a:pt x="44" y="18"/>
                  </a:cubicBezTo>
                  <a:cubicBezTo>
                    <a:pt x="41" y="10"/>
                    <a:pt x="46" y="8"/>
                    <a:pt x="48" y="7"/>
                  </a:cubicBezTo>
                  <a:cubicBezTo>
                    <a:pt x="49" y="7"/>
                    <a:pt x="49" y="7"/>
                    <a:pt x="49" y="7"/>
                  </a:cubicBezTo>
                  <a:cubicBezTo>
                    <a:pt x="50" y="6"/>
                    <a:pt x="52" y="6"/>
                    <a:pt x="53" y="6"/>
                  </a:cubicBezTo>
                  <a:cubicBezTo>
                    <a:pt x="56" y="6"/>
                    <a:pt x="58" y="8"/>
                    <a:pt x="61" y="11"/>
                  </a:cubicBezTo>
                  <a:cubicBezTo>
                    <a:pt x="63" y="14"/>
                    <a:pt x="65" y="18"/>
                    <a:pt x="68" y="19"/>
                  </a:cubicBezTo>
                  <a:cubicBezTo>
                    <a:pt x="69" y="17"/>
                    <a:pt x="71" y="13"/>
                    <a:pt x="71" y="8"/>
                  </a:cubicBezTo>
                  <a:cubicBezTo>
                    <a:pt x="72" y="1"/>
                    <a:pt x="76" y="0"/>
                    <a:pt x="80" y="0"/>
                  </a:cubicBezTo>
                  <a:cubicBezTo>
                    <a:pt x="80" y="0"/>
                    <a:pt x="80" y="0"/>
                    <a:pt x="80" y="0"/>
                  </a:cubicBezTo>
                  <a:cubicBezTo>
                    <a:pt x="82" y="0"/>
                    <a:pt x="82" y="0"/>
                    <a:pt x="82" y="0"/>
                  </a:cubicBezTo>
                  <a:cubicBezTo>
                    <a:pt x="86" y="0"/>
                    <a:pt x="89" y="3"/>
                    <a:pt x="90" y="8"/>
                  </a:cubicBezTo>
                  <a:cubicBezTo>
                    <a:pt x="90" y="13"/>
                    <a:pt x="92" y="16"/>
                    <a:pt x="93" y="18"/>
                  </a:cubicBezTo>
                  <a:cubicBezTo>
                    <a:pt x="95" y="17"/>
                    <a:pt x="98" y="14"/>
                    <a:pt x="101" y="10"/>
                  </a:cubicBezTo>
                  <a:cubicBezTo>
                    <a:pt x="103" y="6"/>
                    <a:pt x="105" y="4"/>
                    <a:pt x="108" y="4"/>
                  </a:cubicBezTo>
                  <a:cubicBezTo>
                    <a:pt x="109" y="4"/>
                    <a:pt x="111" y="5"/>
                    <a:pt x="112" y="5"/>
                  </a:cubicBezTo>
                  <a:cubicBezTo>
                    <a:pt x="112" y="6"/>
                    <a:pt x="112" y="6"/>
                    <a:pt x="112" y="6"/>
                  </a:cubicBezTo>
                  <a:cubicBezTo>
                    <a:pt x="115" y="7"/>
                    <a:pt x="120" y="8"/>
                    <a:pt x="117" y="17"/>
                  </a:cubicBezTo>
                  <a:cubicBezTo>
                    <a:pt x="116" y="21"/>
                    <a:pt x="116" y="25"/>
                    <a:pt x="117" y="27"/>
                  </a:cubicBezTo>
                  <a:cubicBezTo>
                    <a:pt x="119" y="27"/>
                    <a:pt x="124" y="25"/>
                    <a:pt x="127" y="23"/>
                  </a:cubicBezTo>
                  <a:cubicBezTo>
                    <a:pt x="129" y="21"/>
                    <a:pt x="132" y="20"/>
                    <a:pt x="134" y="20"/>
                  </a:cubicBezTo>
                  <a:cubicBezTo>
                    <a:pt x="136" y="20"/>
                    <a:pt x="138" y="22"/>
                    <a:pt x="139" y="23"/>
                  </a:cubicBezTo>
                  <a:cubicBezTo>
                    <a:pt x="140" y="23"/>
                    <a:pt x="140" y="23"/>
                    <a:pt x="140" y="23"/>
                  </a:cubicBezTo>
                  <a:cubicBezTo>
                    <a:pt x="142" y="25"/>
                    <a:pt x="145" y="29"/>
                    <a:pt x="140" y="36"/>
                  </a:cubicBezTo>
                  <a:cubicBezTo>
                    <a:pt x="138" y="39"/>
                    <a:pt x="136" y="42"/>
                    <a:pt x="135" y="45"/>
                  </a:cubicBezTo>
                  <a:cubicBezTo>
                    <a:pt x="136" y="45"/>
                    <a:pt x="137" y="45"/>
                    <a:pt x="140" y="45"/>
                  </a:cubicBezTo>
                  <a:cubicBezTo>
                    <a:pt x="142" y="45"/>
                    <a:pt x="144" y="45"/>
                    <a:pt x="146" y="45"/>
                  </a:cubicBezTo>
                  <a:cubicBezTo>
                    <a:pt x="148" y="44"/>
                    <a:pt x="149" y="44"/>
                    <a:pt x="150" y="44"/>
                  </a:cubicBezTo>
                  <a:cubicBezTo>
                    <a:pt x="155" y="44"/>
                    <a:pt x="157" y="48"/>
                    <a:pt x="157" y="49"/>
                  </a:cubicBezTo>
                  <a:cubicBezTo>
                    <a:pt x="158" y="50"/>
                    <a:pt x="158" y="50"/>
                    <a:pt x="158" y="50"/>
                  </a:cubicBezTo>
                  <a:cubicBezTo>
                    <a:pt x="159" y="53"/>
                    <a:pt x="161" y="57"/>
                    <a:pt x="153" y="61"/>
                  </a:cubicBezTo>
                  <a:cubicBezTo>
                    <a:pt x="150" y="63"/>
                    <a:pt x="147" y="66"/>
                    <a:pt x="146" y="68"/>
                  </a:cubicBezTo>
                  <a:cubicBezTo>
                    <a:pt x="147" y="70"/>
                    <a:pt x="151" y="72"/>
                    <a:pt x="156" y="72"/>
                  </a:cubicBezTo>
                  <a:cubicBezTo>
                    <a:pt x="164" y="74"/>
                    <a:pt x="164" y="78"/>
                    <a:pt x="164" y="81"/>
                  </a:cubicBezTo>
                  <a:cubicBezTo>
                    <a:pt x="164" y="81"/>
                    <a:pt x="164" y="81"/>
                    <a:pt x="164" y="81"/>
                  </a:cubicBezTo>
                  <a:cubicBezTo>
                    <a:pt x="164" y="82"/>
                    <a:pt x="164" y="82"/>
                    <a:pt x="164" y="82"/>
                  </a:cubicBezTo>
                  <a:cubicBezTo>
                    <a:pt x="164" y="84"/>
                    <a:pt x="164" y="89"/>
                    <a:pt x="155" y="90"/>
                  </a:cubicBezTo>
                  <a:cubicBezTo>
                    <a:pt x="152" y="91"/>
                    <a:pt x="148" y="92"/>
                    <a:pt x="146" y="94"/>
                  </a:cubicBezTo>
                  <a:cubicBezTo>
                    <a:pt x="147" y="96"/>
                    <a:pt x="150" y="99"/>
                    <a:pt x="154" y="102"/>
                  </a:cubicBezTo>
                  <a:cubicBezTo>
                    <a:pt x="161" y="106"/>
                    <a:pt x="159" y="110"/>
                    <a:pt x="158" y="113"/>
                  </a:cubicBezTo>
                  <a:cubicBezTo>
                    <a:pt x="158" y="114"/>
                    <a:pt x="158" y="114"/>
                    <a:pt x="158" y="114"/>
                  </a:cubicBezTo>
                  <a:cubicBezTo>
                    <a:pt x="157" y="115"/>
                    <a:pt x="156" y="119"/>
                    <a:pt x="151" y="119"/>
                  </a:cubicBezTo>
                  <a:cubicBezTo>
                    <a:pt x="149" y="119"/>
                    <a:pt x="148" y="119"/>
                    <a:pt x="146" y="118"/>
                  </a:cubicBezTo>
                  <a:cubicBezTo>
                    <a:pt x="144" y="118"/>
                    <a:pt x="142" y="117"/>
                    <a:pt x="139" y="117"/>
                  </a:cubicBezTo>
                  <a:cubicBezTo>
                    <a:pt x="138" y="117"/>
                    <a:pt x="137" y="117"/>
                    <a:pt x="136" y="118"/>
                  </a:cubicBezTo>
                  <a:cubicBezTo>
                    <a:pt x="136" y="119"/>
                    <a:pt x="138" y="124"/>
                    <a:pt x="141" y="128"/>
                  </a:cubicBezTo>
                  <a:cubicBezTo>
                    <a:pt x="145" y="134"/>
                    <a:pt x="143" y="137"/>
                    <a:pt x="140" y="140"/>
                  </a:cubicBezTo>
                  <a:cubicBezTo>
                    <a:pt x="140" y="140"/>
                    <a:pt x="140" y="140"/>
                    <a:pt x="140" y="140"/>
                  </a:cubicBezTo>
                  <a:cubicBezTo>
                    <a:pt x="139" y="141"/>
                    <a:pt x="137" y="143"/>
                    <a:pt x="134" y="143"/>
                  </a:cubicBezTo>
                  <a:cubicBezTo>
                    <a:pt x="132" y="143"/>
                    <a:pt x="130" y="142"/>
                    <a:pt x="127" y="140"/>
                  </a:cubicBezTo>
                  <a:cubicBezTo>
                    <a:pt x="125" y="138"/>
                    <a:pt x="122" y="137"/>
                    <a:pt x="120" y="136"/>
                  </a:cubicBezTo>
                  <a:cubicBezTo>
                    <a:pt x="120" y="139"/>
                    <a:pt x="120" y="142"/>
                    <a:pt x="121" y="145"/>
                  </a:cubicBezTo>
                  <a:cubicBezTo>
                    <a:pt x="124" y="153"/>
                    <a:pt x="119" y="155"/>
                    <a:pt x="117" y="156"/>
                  </a:cubicBezTo>
                  <a:cubicBezTo>
                    <a:pt x="116" y="156"/>
                    <a:pt x="116" y="156"/>
                    <a:pt x="116" y="156"/>
                  </a:cubicBezTo>
                  <a:cubicBezTo>
                    <a:pt x="115" y="157"/>
                    <a:pt x="114" y="158"/>
                    <a:pt x="112" y="158"/>
                  </a:cubicBezTo>
                  <a:cubicBezTo>
                    <a:pt x="109" y="158"/>
                    <a:pt x="107" y="156"/>
                    <a:pt x="105" y="152"/>
                  </a:cubicBezTo>
                  <a:cubicBezTo>
                    <a:pt x="102" y="149"/>
                    <a:pt x="99" y="146"/>
                    <a:pt x="97" y="145"/>
                  </a:cubicBezTo>
                  <a:cubicBezTo>
                    <a:pt x="96" y="147"/>
                    <a:pt x="94" y="151"/>
                    <a:pt x="94" y="155"/>
                  </a:cubicBezTo>
                  <a:cubicBezTo>
                    <a:pt x="93" y="164"/>
                    <a:pt x="88" y="164"/>
                    <a:pt x="85" y="164"/>
                  </a:cubicBezTo>
                  <a:cubicBezTo>
                    <a:pt x="85" y="164"/>
                    <a:pt x="85" y="164"/>
                    <a:pt x="85" y="164"/>
                  </a:cubicBezTo>
                  <a:cubicBezTo>
                    <a:pt x="84" y="164"/>
                    <a:pt x="84" y="164"/>
                    <a:pt x="83" y="164"/>
                  </a:cubicBezTo>
                  <a:close/>
                  <a:moveTo>
                    <a:pt x="71" y="140"/>
                  </a:moveTo>
                  <a:cubicBezTo>
                    <a:pt x="72" y="140"/>
                    <a:pt x="72" y="140"/>
                    <a:pt x="72" y="140"/>
                  </a:cubicBezTo>
                  <a:cubicBezTo>
                    <a:pt x="77" y="142"/>
                    <a:pt x="80" y="150"/>
                    <a:pt x="80" y="155"/>
                  </a:cubicBezTo>
                  <a:cubicBezTo>
                    <a:pt x="81" y="159"/>
                    <a:pt x="82" y="159"/>
                    <a:pt x="83" y="159"/>
                  </a:cubicBezTo>
                  <a:cubicBezTo>
                    <a:pt x="84" y="159"/>
                    <a:pt x="84" y="159"/>
                    <a:pt x="84" y="159"/>
                  </a:cubicBezTo>
                  <a:cubicBezTo>
                    <a:pt x="85" y="159"/>
                    <a:pt x="85" y="159"/>
                    <a:pt x="85" y="159"/>
                  </a:cubicBezTo>
                  <a:cubicBezTo>
                    <a:pt x="87" y="159"/>
                    <a:pt x="88" y="159"/>
                    <a:pt x="89" y="154"/>
                  </a:cubicBezTo>
                  <a:cubicBezTo>
                    <a:pt x="89" y="149"/>
                    <a:pt x="91" y="143"/>
                    <a:pt x="94" y="140"/>
                  </a:cubicBezTo>
                  <a:cubicBezTo>
                    <a:pt x="94" y="140"/>
                    <a:pt x="95" y="140"/>
                    <a:pt x="96" y="140"/>
                  </a:cubicBezTo>
                  <a:cubicBezTo>
                    <a:pt x="96" y="140"/>
                    <a:pt x="96" y="140"/>
                    <a:pt x="96" y="140"/>
                  </a:cubicBezTo>
                  <a:cubicBezTo>
                    <a:pt x="101" y="140"/>
                    <a:pt x="106" y="146"/>
                    <a:pt x="109" y="150"/>
                  </a:cubicBezTo>
                  <a:cubicBezTo>
                    <a:pt x="110" y="152"/>
                    <a:pt x="111" y="153"/>
                    <a:pt x="112" y="153"/>
                  </a:cubicBezTo>
                  <a:cubicBezTo>
                    <a:pt x="112" y="153"/>
                    <a:pt x="113" y="152"/>
                    <a:pt x="114" y="152"/>
                  </a:cubicBezTo>
                  <a:cubicBezTo>
                    <a:pt x="115" y="152"/>
                    <a:pt x="115" y="152"/>
                    <a:pt x="115" y="152"/>
                  </a:cubicBezTo>
                  <a:cubicBezTo>
                    <a:pt x="117" y="151"/>
                    <a:pt x="118" y="150"/>
                    <a:pt x="116" y="146"/>
                  </a:cubicBezTo>
                  <a:cubicBezTo>
                    <a:pt x="115" y="142"/>
                    <a:pt x="114" y="136"/>
                    <a:pt x="115" y="132"/>
                  </a:cubicBezTo>
                  <a:cubicBezTo>
                    <a:pt x="116" y="131"/>
                    <a:pt x="117" y="130"/>
                    <a:pt x="118" y="131"/>
                  </a:cubicBezTo>
                  <a:cubicBezTo>
                    <a:pt x="122" y="131"/>
                    <a:pt x="127" y="134"/>
                    <a:pt x="130" y="136"/>
                  </a:cubicBezTo>
                  <a:cubicBezTo>
                    <a:pt x="133" y="138"/>
                    <a:pt x="134" y="138"/>
                    <a:pt x="134" y="138"/>
                  </a:cubicBezTo>
                  <a:cubicBezTo>
                    <a:pt x="135" y="138"/>
                    <a:pt x="135" y="138"/>
                    <a:pt x="136" y="137"/>
                  </a:cubicBezTo>
                  <a:cubicBezTo>
                    <a:pt x="137" y="136"/>
                    <a:pt x="137" y="136"/>
                    <a:pt x="137" y="136"/>
                  </a:cubicBezTo>
                  <a:cubicBezTo>
                    <a:pt x="138" y="135"/>
                    <a:pt x="139" y="134"/>
                    <a:pt x="136" y="131"/>
                  </a:cubicBezTo>
                  <a:cubicBezTo>
                    <a:pt x="134" y="127"/>
                    <a:pt x="130" y="119"/>
                    <a:pt x="132" y="115"/>
                  </a:cubicBezTo>
                  <a:cubicBezTo>
                    <a:pt x="132" y="114"/>
                    <a:pt x="132" y="114"/>
                    <a:pt x="133" y="113"/>
                  </a:cubicBezTo>
                  <a:cubicBezTo>
                    <a:pt x="134" y="113"/>
                    <a:pt x="137" y="112"/>
                    <a:pt x="139" y="112"/>
                  </a:cubicBezTo>
                  <a:cubicBezTo>
                    <a:pt x="142" y="112"/>
                    <a:pt x="145" y="113"/>
                    <a:pt x="148" y="113"/>
                  </a:cubicBezTo>
                  <a:cubicBezTo>
                    <a:pt x="149" y="114"/>
                    <a:pt x="150" y="114"/>
                    <a:pt x="151" y="114"/>
                  </a:cubicBezTo>
                  <a:cubicBezTo>
                    <a:pt x="152" y="114"/>
                    <a:pt x="152" y="113"/>
                    <a:pt x="153" y="112"/>
                  </a:cubicBezTo>
                  <a:cubicBezTo>
                    <a:pt x="153" y="111"/>
                    <a:pt x="153" y="111"/>
                    <a:pt x="153" y="111"/>
                  </a:cubicBezTo>
                  <a:cubicBezTo>
                    <a:pt x="154" y="109"/>
                    <a:pt x="155" y="108"/>
                    <a:pt x="151" y="106"/>
                  </a:cubicBezTo>
                  <a:cubicBezTo>
                    <a:pt x="147" y="103"/>
                    <a:pt x="141" y="98"/>
                    <a:pt x="141" y="93"/>
                  </a:cubicBezTo>
                  <a:cubicBezTo>
                    <a:pt x="141" y="92"/>
                    <a:pt x="141" y="92"/>
                    <a:pt x="141" y="91"/>
                  </a:cubicBezTo>
                  <a:cubicBezTo>
                    <a:pt x="144" y="88"/>
                    <a:pt x="150" y="86"/>
                    <a:pt x="155" y="86"/>
                  </a:cubicBezTo>
                  <a:cubicBezTo>
                    <a:pt x="159" y="85"/>
                    <a:pt x="159" y="84"/>
                    <a:pt x="159" y="82"/>
                  </a:cubicBezTo>
                  <a:cubicBezTo>
                    <a:pt x="159" y="81"/>
                    <a:pt x="159" y="81"/>
                    <a:pt x="159" y="81"/>
                  </a:cubicBezTo>
                  <a:cubicBezTo>
                    <a:pt x="159" y="81"/>
                    <a:pt x="159" y="81"/>
                    <a:pt x="159" y="81"/>
                  </a:cubicBezTo>
                  <a:cubicBezTo>
                    <a:pt x="159" y="79"/>
                    <a:pt x="159" y="78"/>
                    <a:pt x="155" y="77"/>
                  </a:cubicBezTo>
                  <a:cubicBezTo>
                    <a:pt x="151" y="77"/>
                    <a:pt x="142" y="74"/>
                    <a:pt x="140" y="69"/>
                  </a:cubicBezTo>
                  <a:cubicBezTo>
                    <a:pt x="140" y="69"/>
                    <a:pt x="140" y="68"/>
                    <a:pt x="140" y="68"/>
                  </a:cubicBezTo>
                  <a:cubicBezTo>
                    <a:pt x="142" y="64"/>
                    <a:pt x="146" y="60"/>
                    <a:pt x="151" y="57"/>
                  </a:cubicBezTo>
                  <a:cubicBezTo>
                    <a:pt x="154" y="55"/>
                    <a:pt x="154" y="54"/>
                    <a:pt x="153" y="52"/>
                  </a:cubicBezTo>
                  <a:cubicBezTo>
                    <a:pt x="153" y="51"/>
                    <a:pt x="153" y="51"/>
                    <a:pt x="153" y="51"/>
                  </a:cubicBezTo>
                  <a:cubicBezTo>
                    <a:pt x="152" y="50"/>
                    <a:pt x="152" y="49"/>
                    <a:pt x="150" y="49"/>
                  </a:cubicBezTo>
                  <a:cubicBezTo>
                    <a:pt x="150" y="49"/>
                    <a:pt x="149" y="49"/>
                    <a:pt x="148" y="50"/>
                  </a:cubicBezTo>
                  <a:cubicBezTo>
                    <a:pt x="145" y="50"/>
                    <a:pt x="142" y="50"/>
                    <a:pt x="140" y="50"/>
                  </a:cubicBezTo>
                  <a:cubicBezTo>
                    <a:pt x="135" y="50"/>
                    <a:pt x="133" y="50"/>
                    <a:pt x="131" y="48"/>
                  </a:cubicBezTo>
                  <a:cubicBezTo>
                    <a:pt x="131" y="48"/>
                    <a:pt x="130" y="47"/>
                    <a:pt x="130" y="46"/>
                  </a:cubicBezTo>
                  <a:cubicBezTo>
                    <a:pt x="130" y="42"/>
                    <a:pt x="133" y="37"/>
                    <a:pt x="136" y="33"/>
                  </a:cubicBezTo>
                  <a:cubicBezTo>
                    <a:pt x="138" y="29"/>
                    <a:pt x="138" y="29"/>
                    <a:pt x="136" y="27"/>
                  </a:cubicBezTo>
                  <a:cubicBezTo>
                    <a:pt x="135" y="26"/>
                    <a:pt x="135" y="26"/>
                    <a:pt x="135" y="26"/>
                  </a:cubicBezTo>
                  <a:cubicBezTo>
                    <a:pt x="135" y="25"/>
                    <a:pt x="134" y="25"/>
                    <a:pt x="134" y="25"/>
                  </a:cubicBezTo>
                  <a:cubicBezTo>
                    <a:pt x="133" y="25"/>
                    <a:pt x="132" y="25"/>
                    <a:pt x="130" y="27"/>
                  </a:cubicBezTo>
                  <a:cubicBezTo>
                    <a:pt x="125" y="30"/>
                    <a:pt x="118" y="33"/>
                    <a:pt x="114" y="32"/>
                  </a:cubicBezTo>
                  <a:cubicBezTo>
                    <a:pt x="114" y="32"/>
                    <a:pt x="113" y="31"/>
                    <a:pt x="113" y="31"/>
                  </a:cubicBezTo>
                  <a:cubicBezTo>
                    <a:pt x="111" y="27"/>
                    <a:pt x="111" y="21"/>
                    <a:pt x="112" y="16"/>
                  </a:cubicBezTo>
                  <a:cubicBezTo>
                    <a:pt x="114" y="12"/>
                    <a:pt x="113" y="11"/>
                    <a:pt x="111" y="10"/>
                  </a:cubicBezTo>
                  <a:cubicBezTo>
                    <a:pt x="110" y="10"/>
                    <a:pt x="110" y="10"/>
                    <a:pt x="110" y="10"/>
                  </a:cubicBezTo>
                  <a:cubicBezTo>
                    <a:pt x="109" y="10"/>
                    <a:pt x="108" y="9"/>
                    <a:pt x="108" y="9"/>
                  </a:cubicBezTo>
                  <a:cubicBezTo>
                    <a:pt x="107" y="9"/>
                    <a:pt x="106" y="11"/>
                    <a:pt x="105" y="13"/>
                  </a:cubicBezTo>
                  <a:cubicBezTo>
                    <a:pt x="103" y="16"/>
                    <a:pt x="97" y="23"/>
                    <a:pt x="92" y="23"/>
                  </a:cubicBezTo>
                  <a:cubicBezTo>
                    <a:pt x="92" y="23"/>
                    <a:pt x="91" y="23"/>
                    <a:pt x="91" y="23"/>
                  </a:cubicBezTo>
                  <a:cubicBezTo>
                    <a:pt x="88" y="20"/>
                    <a:pt x="85" y="14"/>
                    <a:pt x="85" y="9"/>
                  </a:cubicBezTo>
                  <a:cubicBezTo>
                    <a:pt x="84" y="5"/>
                    <a:pt x="83" y="5"/>
                    <a:pt x="82" y="5"/>
                  </a:cubicBezTo>
                  <a:cubicBezTo>
                    <a:pt x="80" y="5"/>
                    <a:pt x="80" y="5"/>
                    <a:pt x="80" y="5"/>
                  </a:cubicBezTo>
                  <a:cubicBezTo>
                    <a:pt x="80" y="5"/>
                    <a:pt x="80" y="5"/>
                    <a:pt x="80" y="5"/>
                  </a:cubicBezTo>
                  <a:cubicBezTo>
                    <a:pt x="78" y="5"/>
                    <a:pt x="77" y="5"/>
                    <a:pt x="76" y="9"/>
                  </a:cubicBezTo>
                  <a:cubicBezTo>
                    <a:pt x="76" y="14"/>
                    <a:pt x="73" y="22"/>
                    <a:pt x="69" y="24"/>
                  </a:cubicBezTo>
                  <a:cubicBezTo>
                    <a:pt x="68" y="24"/>
                    <a:pt x="68" y="24"/>
                    <a:pt x="67" y="24"/>
                  </a:cubicBezTo>
                  <a:cubicBezTo>
                    <a:pt x="63" y="23"/>
                    <a:pt x="59" y="18"/>
                    <a:pt x="56" y="14"/>
                  </a:cubicBezTo>
                  <a:cubicBezTo>
                    <a:pt x="56" y="13"/>
                    <a:pt x="54" y="11"/>
                    <a:pt x="53" y="11"/>
                  </a:cubicBezTo>
                  <a:cubicBezTo>
                    <a:pt x="53" y="11"/>
                    <a:pt x="52" y="11"/>
                    <a:pt x="51" y="11"/>
                  </a:cubicBezTo>
                  <a:cubicBezTo>
                    <a:pt x="50" y="12"/>
                    <a:pt x="50" y="12"/>
                    <a:pt x="50" y="12"/>
                  </a:cubicBezTo>
                  <a:cubicBezTo>
                    <a:pt x="48" y="13"/>
                    <a:pt x="48" y="13"/>
                    <a:pt x="49" y="17"/>
                  </a:cubicBezTo>
                  <a:cubicBezTo>
                    <a:pt x="50" y="22"/>
                    <a:pt x="50" y="28"/>
                    <a:pt x="49" y="31"/>
                  </a:cubicBezTo>
                  <a:cubicBezTo>
                    <a:pt x="49" y="32"/>
                    <a:pt x="48" y="33"/>
                    <a:pt x="47" y="33"/>
                  </a:cubicBezTo>
                  <a:cubicBezTo>
                    <a:pt x="43" y="33"/>
                    <a:pt x="37" y="30"/>
                    <a:pt x="33" y="28"/>
                  </a:cubicBezTo>
                  <a:cubicBezTo>
                    <a:pt x="31" y="26"/>
                    <a:pt x="30" y="26"/>
                    <a:pt x="30" y="26"/>
                  </a:cubicBezTo>
                  <a:cubicBezTo>
                    <a:pt x="29" y="26"/>
                    <a:pt x="29" y="27"/>
                    <a:pt x="28" y="28"/>
                  </a:cubicBezTo>
                  <a:cubicBezTo>
                    <a:pt x="27" y="28"/>
                    <a:pt x="27" y="28"/>
                    <a:pt x="27" y="28"/>
                  </a:cubicBezTo>
                  <a:cubicBezTo>
                    <a:pt x="26" y="30"/>
                    <a:pt x="25" y="30"/>
                    <a:pt x="28" y="34"/>
                  </a:cubicBezTo>
                  <a:cubicBezTo>
                    <a:pt x="31" y="38"/>
                    <a:pt x="34" y="43"/>
                    <a:pt x="33" y="47"/>
                  </a:cubicBezTo>
                  <a:cubicBezTo>
                    <a:pt x="33" y="48"/>
                    <a:pt x="33" y="49"/>
                    <a:pt x="33" y="49"/>
                  </a:cubicBezTo>
                  <a:cubicBezTo>
                    <a:pt x="31" y="51"/>
                    <a:pt x="27" y="52"/>
                    <a:pt x="23" y="52"/>
                  </a:cubicBezTo>
                  <a:cubicBezTo>
                    <a:pt x="21" y="52"/>
                    <a:pt x="18" y="51"/>
                    <a:pt x="16" y="51"/>
                  </a:cubicBezTo>
                  <a:cubicBezTo>
                    <a:pt x="15" y="51"/>
                    <a:pt x="14" y="51"/>
                    <a:pt x="13" y="51"/>
                  </a:cubicBezTo>
                  <a:cubicBezTo>
                    <a:pt x="12" y="51"/>
                    <a:pt x="12" y="51"/>
                    <a:pt x="11" y="53"/>
                  </a:cubicBezTo>
                  <a:cubicBezTo>
                    <a:pt x="11" y="54"/>
                    <a:pt x="11" y="54"/>
                    <a:pt x="11" y="54"/>
                  </a:cubicBezTo>
                  <a:cubicBezTo>
                    <a:pt x="10" y="56"/>
                    <a:pt x="9" y="57"/>
                    <a:pt x="13" y="59"/>
                  </a:cubicBezTo>
                  <a:cubicBezTo>
                    <a:pt x="18" y="61"/>
                    <a:pt x="22" y="65"/>
                    <a:pt x="24" y="69"/>
                  </a:cubicBezTo>
                  <a:cubicBezTo>
                    <a:pt x="24" y="69"/>
                    <a:pt x="24" y="70"/>
                    <a:pt x="24" y="71"/>
                  </a:cubicBezTo>
                  <a:cubicBezTo>
                    <a:pt x="22" y="75"/>
                    <a:pt x="14" y="78"/>
                    <a:pt x="9" y="79"/>
                  </a:cubicBezTo>
                  <a:cubicBezTo>
                    <a:pt x="5" y="80"/>
                    <a:pt x="5" y="80"/>
                    <a:pt x="5" y="83"/>
                  </a:cubicBezTo>
                  <a:cubicBezTo>
                    <a:pt x="5" y="84"/>
                    <a:pt x="5" y="84"/>
                    <a:pt x="5" y="84"/>
                  </a:cubicBezTo>
                  <a:cubicBezTo>
                    <a:pt x="5" y="86"/>
                    <a:pt x="5" y="87"/>
                    <a:pt x="10" y="87"/>
                  </a:cubicBezTo>
                  <a:cubicBezTo>
                    <a:pt x="15" y="88"/>
                    <a:pt x="21" y="90"/>
                    <a:pt x="23" y="93"/>
                  </a:cubicBezTo>
                  <a:cubicBezTo>
                    <a:pt x="24" y="93"/>
                    <a:pt x="24" y="94"/>
                    <a:pt x="24" y="94"/>
                  </a:cubicBezTo>
                  <a:cubicBezTo>
                    <a:pt x="24" y="99"/>
                    <a:pt x="17" y="105"/>
                    <a:pt x="14" y="107"/>
                  </a:cubicBezTo>
                  <a:cubicBezTo>
                    <a:pt x="10" y="110"/>
                    <a:pt x="11" y="110"/>
                    <a:pt x="12" y="112"/>
                  </a:cubicBezTo>
                  <a:cubicBezTo>
                    <a:pt x="12" y="113"/>
                    <a:pt x="12" y="113"/>
                    <a:pt x="12" y="113"/>
                  </a:cubicBezTo>
                  <a:cubicBezTo>
                    <a:pt x="13" y="115"/>
                    <a:pt x="13" y="115"/>
                    <a:pt x="14" y="115"/>
                  </a:cubicBezTo>
                  <a:cubicBezTo>
                    <a:pt x="15" y="115"/>
                    <a:pt x="16" y="115"/>
                    <a:pt x="17" y="115"/>
                  </a:cubicBezTo>
                  <a:cubicBezTo>
                    <a:pt x="20" y="114"/>
                    <a:pt x="24" y="113"/>
                    <a:pt x="26" y="113"/>
                  </a:cubicBezTo>
                  <a:cubicBezTo>
                    <a:pt x="29" y="113"/>
                    <a:pt x="31" y="114"/>
                    <a:pt x="32" y="114"/>
                  </a:cubicBezTo>
                  <a:cubicBezTo>
                    <a:pt x="33" y="115"/>
                    <a:pt x="33" y="115"/>
                    <a:pt x="33" y="116"/>
                  </a:cubicBezTo>
                  <a:cubicBezTo>
                    <a:pt x="35" y="120"/>
                    <a:pt x="31" y="128"/>
                    <a:pt x="29" y="132"/>
                  </a:cubicBezTo>
                  <a:cubicBezTo>
                    <a:pt x="27" y="135"/>
                    <a:pt x="27" y="136"/>
                    <a:pt x="29" y="137"/>
                  </a:cubicBezTo>
                  <a:cubicBezTo>
                    <a:pt x="29" y="138"/>
                    <a:pt x="29" y="138"/>
                    <a:pt x="29" y="138"/>
                  </a:cubicBezTo>
                  <a:cubicBezTo>
                    <a:pt x="30" y="139"/>
                    <a:pt x="31" y="139"/>
                    <a:pt x="31" y="139"/>
                  </a:cubicBezTo>
                  <a:cubicBezTo>
                    <a:pt x="32" y="139"/>
                    <a:pt x="33" y="139"/>
                    <a:pt x="35" y="137"/>
                  </a:cubicBezTo>
                  <a:cubicBezTo>
                    <a:pt x="39" y="134"/>
                    <a:pt x="45" y="131"/>
                    <a:pt x="48" y="131"/>
                  </a:cubicBezTo>
                  <a:cubicBezTo>
                    <a:pt x="49" y="131"/>
                    <a:pt x="50" y="132"/>
                    <a:pt x="50" y="132"/>
                  </a:cubicBezTo>
                  <a:cubicBezTo>
                    <a:pt x="54" y="135"/>
                    <a:pt x="53" y="144"/>
                    <a:pt x="52" y="148"/>
                  </a:cubicBezTo>
                  <a:cubicBezTo>
                    <a:pt x="52" y="153"/>
                    <a:pt x="52" y="153"/>
                    <a:pt x="54" y="154"/>
                  </a:cubicBezTo>
                  <a:cubicBezTo>
                    <a:pt x="55" y="154"/>
                    <a:pt x="55" y="154"/>
                    <a:pt x="55" y="154"/>
                  </a:cubicBezTo>
                  <a:cubicBezTo>
                    <a:pt x="56" y="154"/>
                    <a:pt x="57" y="154"/>
                    <a:pt x="57" y="154"/>
                  </a:cubicBezTo>
                  <a:cubicBezTo>
                    <a:pt x="58" y="154"/>
                    <a:pt x="59" y="153"/>
                    <a:pt x="60" y="151"/>
                  </a:cubicBezTo>
                  <a:cubicBezTo>
                    <a:pt x="63" y="147"/>
                    <a:pt x="67" y="142"/>
                    <a:pt x="70" y="140"/>
                  </a:cubicBezTo>
                  <a:lnTo>
                    <a:pt x="71" y="140"/>
                  </a:lnTo>
                  <a:close/>
                  <a:moveTo>
                    <a:pt x="82" y="134"/>
                  </a:moveTo>
                  <a:cubicBezTo>
                    <a:pt x="68" y="134"/>
                    <a:pt x="55" y="128"/>
                    <a:pt x="46" y="118"/>
                  </a:cubicBezTo>
                  <a:cubicBezTo>
                    <a:pt x="36" y="109"/>
                    <a:pt x="31" y="96"/>
                    <a:pt x="30" y="82"/>
                  </a:cubicBezTo>
                  <a:cubicBezTo>
                    <a:pt x="30" y="68"/>
                    <a:pt x="36" y="55"/>
                    <a:pt x="46" y="45"/>
                  </a:cubicBezTo>
                  <a:cubicBezTo>
                    <a:pt x="55" y="36"/>
                    <a:pt x="68" y="30"/>
                    <a:pt x="82" y="30"/>
                  </a:cubicBezTo>
                  <a:cubicBezTo>
                    <a:pt x="96" y="30"/>
                    <a:pt x="109" y="36"/>
                    <a:pt x="119" y="45"/>
                  </a:cubicBezTo>
                  <a:cubicBezTo>
                    <a:pt x="128" y="55"/>
                    <a:pt x="134" y="68"/>
                    <a:pt x="134" y="82"/>
                  </a:cubicBezTo>
                  <a:cubicBezTo>
                    <a:pt x="134" y="96"/>
                    <a:pt x="129" y="109"/>
                    <a:pt x="119" y="118"/>
                  </a:cubicBezTo>
                  <a:cubicBezTo>
                    <a:pt x="109" y="128"/>
                    <a:pt x="96" y="134"/>
                    <a:pt x="82" y="134"/>
                  </a:cubicBezTo>
                  <a:close/>
                  <a:moveTo>
                    <a:pt x="82" y="35"/>
                  </a:moveTo>
                  <a:cubicBezTo>
                    <a:pt x="70" y="35"/>
                    <a:pt x="58" y="40"/>
                    <a:pt x="49" y="49"/>
                  </a:cubicBezTo>
                  <a:cubicBezTo>
                    <a:pt x="40" y="58"/>
                    <a:pt x="35" y="69"/>
                    <a:pt x="35" y="82"/>
                  </a:cubicBezTo>
                  <a:cubicBezTo>
                    <a:pt x="36" y="94"/>
                    <a:pt x="40" y="106"/>
                    <a:pt x="49" y="115"/>
                  </a:cubicBezTo>
                  <a:cubicBezTo>
                    <a:pt x="58" y="124"/>
                    <a:pt x="70" y="129"/>
                    <a:pt x="82" y="129"/>
                  </a:cubicBezTo>
                  <a:cubicBezTo>
                    <a:pt x="95" y="129"/>
                    <a:pt x="106" y="124"/>
                    <a:pt x="115" y="115"/>
                  </a:cubicBezTo>
                  <a:cubicBezTo>
                    <a:pt x="124" y="106"/>
                    <a:pt x="129" y="94"/>
                    <a:pt x="129" y="82"/>
                  </a:cubicBezTo>
                  <a:cubicBezTo>
                    <a:pt x="129" y="69"/>
                    <a:pt x="124" y="58"/>
                    <a:pt x="115" y="49"/>
                  </a:cubicBezTo>
                  <a:cubicBezTo>
                    <a:pt x="106" y="40"/>
                    <a:pt x="95" y="35"/>
                    <a:pt x="82" y="3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5" name="Freeform 1378">
              <a:extLst>
                <a:ext uri="{FF2B5EF4-FFF2-40B4-BE49-F238E27FC236}">
                  <a16:creationId xmlns:a16="http://schemas.microsoft.com/office/drawing/2014/main" id="{C113057E-4F38-4FB0-B04E-00A0A23F884B}"/>
                </a:ext>
              </a:extLst>
            </p:cNvPr>
            <p:cNvSpPr>
              <a:spLocks noEditPoints="1"/>
            </p:cNvSpPr>
            <p:nvPr/>
          </p:nvSpPr>
          <p:spPr bwMode="auto">
            <a:xfrm rot="20647229" flipH="1">
              <a:off x="6022567" y="4928019"/>
              <a:ext cx="196850" cy="195263"/>
            </a:xfrm>
            <a:custGeom>
              <a:avLst/>
              <a:gdLst>
                <a:gd name="T0" fmla="*/ 65 w 165"/>
                <a:gd name="T1" fmla="*/ 153 h 164"/>
                <a:gd name="T2" fmla="*/ 48 w 165"/>
                <a:gd name="T3" fmla="*/ 147 h 164"/>
                <a:gd name="T4" fmla="*/ 32 w 165"/>
                <a:gd name="T5" fmla="*/ 144 h 164"/>
                <a:gd name="T6" fmla="*/ 29 w 165"/>
                <a:gd name="T7" fmla="*/ 118 h 164"/>
                <a:gd name="T8" fmla="*/ 8 w 165"/>
                <a:gd name="T9" fmla="*/ 114 h 164"/>
                <a:gd name="T10" fmla="*/ 1 w 165"/>
                <a:gd name="T11" fmla="*/ 83 h 164"/>
                <a:gd name="T12" fmla="*/ 11 w 165"/>
                <a:gd name="T13" fmla="*/ 63 h 164"/>
                <a:gd name="T14" fmla="*/ 18 w 165"/>
                <a:gd name="T15" fmla="*/ 46 h 164"/>
                <a:gd name="T16" fmla="*/ 24 w 165"/>
                <a:gd name="T17" fmla="*/ 24 h 164"/>
                <a:gd name="T18" fmla="*/ 45 w 165"/>
                <a:gd name="T19" fmla="*/ 28 h 164"/>
                <a:gd name="T20" fmla="*/ 54 w 165"/>
                <a:gd name="T21" fmla="*/ 6 h 164"/>
                <a:gd name="T22" fmla="*/ 80 w 165"/>
                <a:gd name="T23" fmla="*/ 0 h 164"/>
                <a:gd name="T24" fmla="*/ 94 w 165"/>
                <a:gd name="T25" fmla="*/ 18 h 164"/>
                <a:gd name="T26" fmla="*/ 113 w 165"/>
                <a:gd name="T27" fmla="*/ 6 h 164"/>
                <a:gd name="T28" fmla="*/ 134 w 165"/>
                <a:gd name="T29" fmla="*/ 20 h 164"/>
                <a:gd name="T30" fmla="*/ 136 w 165"/>
                <a:gd name="T31" fmla="*/ 45 h 164"/>
                <a:gd name="T32" fmla="*/ 158 w 165"/>
                <a:gd name="T33" fmla="*/ 49 h 164"/>
                <a:gd name="T34" fmla="*/ 156 w 165"/>
                <a:gd name="T35" fmla="*/ 72 h 164"/>
                <a:gd name="T36" fmla="*/ 156 w 165"/>
                <a:gd name="T37" fmla="*/ 90 h 164"/>
                <a:gd name="T38" fmla="*/ 158 w 165"/>
                <a:gd name="T39" fmla="*/ 113 h 164"/>
                <a:gd name="T40" fmla="*/ 137 w 165"/>
                <a:gd name="T41" fmla="*/ 117 h 164"/>
                <a:gd name="T42" fmla="*/ 135 w 165"/>
                <a:gd name="T43" fmla="*/ 143 h 164"/>
                <a:gd name="T44" fmla="*/ 117 w 165"/>
                <a:gd name="T45" fmla="*/ 156 h 164"/>
                <a:gd name="T46" fmla="*/ 97 w 165"/>
                <a:gd name="T47" fmla="*/ 145 h 164"/>
                <a:gd name="T48" fmla="*/ 84 w 165"/>
                <a:gd name="T49" fmla="*/ 164 h 164"/>
                <a:gd name="T50" fmla="*/ 84 w 165"/>
                <a:gd name="T51" fmla="*/ 159 h 164"/>
                <a:gd name="T52" fmla="*/ 95 w 165"/>
                <a:gd name="T53" fmla="*/ 140 h 164"/>
                <a:gd name="T54" fmla="*/ 112 w 165"/>
                <a:gd name="T55" fmla="*/ 152 h 164"/>
                <a:gd name="T56" fmla="*/ 116 w 165"/>
                <a:gd name="T57" fmla="*/ 132 h 164"/>
                <a:gd name="T58" fmla="*/ 137 w 165"/>
                <a:gd name="T59" fmla="*/ 137 h 164"/>
                <a:gd name="T60" fmla="*/ 133 w 165"/>
                <a:gd name="T61" fmla="*/ 113 h 164"/>
                <a:gd name="T62" fmla="*/ 154 w 165"/>
                <a:gd name="T63" fmla="*/ 111 h 164"/>
                <a:gd name="T64" fmla="*/ 142 w 165"/>
                <a:gd name="T65" fmla="*/ 91 h 164"/>
                <a:gd name="T66" fmla="*/ 160 w 165"/>
                <a:gd name="T67" fmla="*/ 81 h 164"/>
                <a:gd name="T68" fmla="*/ 151 w 165"/>
                <a:gd name="T69" fmla="*/ 57 h 164"/>
                <a:gd name="T70" fmla="*/ 148 w 165"/>
                <a:gd name="T71" fmla="*/ 49 h 164"/>
                <a:gd name="T72" fmla="*/ 136 w 165"/>
                <a:gd name="T73" fmla="*/ 32 h 164"/>
                <a:gd name="T74" fmla="*/ 130 w 165"/>
                <a:gd name="T75" fmla="*/ 27 h 164"/>
                <a:gd name="T76" fmla="*/ 111 w 165"/>
                <a:gd name="T77" fmla="*/ 10 h 164"/>
                <a:gd name="T78" fmla="*/ 93 w 165"/>
                <a:gd name="T79" fmla="*/ 23 h 164"/>
                <a:gd name="T80" fmla="*/ 81 w 165"/>
                <a:gd name="T81" fmla="*/ 5 h 164"/>
                <a:gd name="T82" fmla="*/ 67 w 165"/>
                <a:gd name="T83" fmla="*/ 24 h 164"/>
                <a:gd name="T84" fmla="*/ 51 w 165"/>
                <a:gd name="T85" fmla="*/ 12 h 164"/>
                <a:gd name="T86" fmla="*/ 34 w 165"/>
                <a:gd name="T87" fmla="*/ 28 h 164"/>
                <a:gd name="T88" fmla="*/ 28 w 165"/>
                <a:gd name="T89" fmla="*/ 34 h 164"/>
                <a:gd name="T90" fmla="*/ 17 w 165"/>
                <a:gd name="T91" fmla="*/ 51 h 164"/>
                <a:gd name="T92" fmla="*/ 14 w 165"/>
                <a:gd name="T93" fmla="*/ 58 h 164"/>
                <a:gd name="T94" fmla="*/ 6 w 165"/>
                <a:gd name="T95" fmla="*/ 82 h 164"/>
                <a:gd name="T96" fmla="*/ 25 w 165"/>
                <a:gd name="T97" fmla="*/ 94 h 164"/>
                <a:gd name="T98" fmla="*/ 15 w 165"/>
                <a:gd name="T99" fmla="*/ 115 h 164"/>
                <a:gd name="T100" fmla="*/ 34 w 165"/>
                <a:gd name="T101" fmla="*/ 115 h 164"/>
                <a:gd name="T102" fmla="*/ 32 w 165"/>
                <a:gd name="T103" fmla="*/ 139 h 164"/>
                <a:gd name="T104" fmla="*/ 53 w 165"/>
                <a:gd name="T105" fmla="*/ 148 h 164"/>
                <a:gd name="T106" fmla="*/ 61 w 165"/>
                <a:gd name="T107" fmla="*/ 151 h 164"/>
                <a:gd name="T108" fmla="*/ 46 w 165"/>
                <a:gd name="T109" fmla="*/ 118 h 164"/>
                <a:gd name="T110" fmla="*/ 119 w 165"/>
                <a:gd name="T111" fmla="*/ 45 h 164"/>
                <a:gd name="T112" fmla="*/ 83 w 165"/>
                <a:gd name="T113" fmla="*/ 35 h 164"/>
                <a:gd name="T114" fmla="*/ 83 w 165"/>
                <a:gd name="T115" fmla="*/ 128 h 164"/>
                <a:gd name="T116" fmla="*/ 83 w 165"/>
                <a:gd name="T117" fmla="*/ 3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4">
                  <a:moveTo>
                    <a:pt x="84" y="164"/>
                  </a:moveTo>
                  <a:cubicBezTo>
                    <a:pt x="80" y="164"/>
                    <a:pt x="77" y="161"/>
                    <a:pt x="76" y="155"/>
                  </a:cubicBezTo>
                  <a:cubicBezTo>
                    <a:pt x="75" y="151"/>
                    <a:pt x="73" y="147"/>
                    <a:pt x="72" y="145"/>
                  </a:cubicBezTo>
                  <a:cubicBezTo>
                    <a:pt x="70" y="147"/>
                    <a:pt x="67" y="150"/>
                    <a:pt x="65" y="153"/>
                  </a:cubicBezTo>
                  <a:cubicBezTo>
                    <a:pt x="63" y="157"/>
                    <a:pt x="61" y="159"/>
                    <a:pt x="58" y="159"/>
                  </a:cubicBezTo>
                  <a:cubicBezTo>
                    <a:pt x="56" y="159"/>
                    <a:pt x="55" y="159"/>
                    <a:pt x="54" y="158"/>
                  </a:cubicBezTo>
                  <a:cubicBezTo>
                    <a:pt x="53" y="158"/>
                    <a:pt x="53" y="158"/>
                    <a:pt x="53" y="158"/>
                  </a:cubicBezTo>
                  <a:cubicBezTo>
                    <a:pt x="51" y="157"/>
                    <a:pt x="46" y="156"/>
                    <a:pt x="48" y="147"/>
                  </a:cubicBezTo>
                  <a:cubicBezTo>
                    <a:pt x="49" y="142"/>
                    <a:pt x="49" y="138"/>
                    <a:pt x="48" y="136"/>
                  </a:cubicBezTo>
                  <a:cubicBezTo>
                    <a:pt x="45" y="137"/>
                    <a:pt x="42" y="139"/>
                    <a:pt x="39" y="141"/>
                  </a:cubicBezTo>
                  <a:cubicBezTo>
                    <a:pt x="36" y="143"/>
                    <a:pt x="34" y="144"/>
                    <a:pt x="32" y="144"/>
                  </a:cubicBezTo>
                  <a:cubicBezTo>
                    <a:pt x="32" y="144"/>
                    <a:pt x="32" y="144"/>
                    <a:pt x="32" y="144"/>
                  </a:cubicBezTo>
                  <a:cubicBezTo>
                    <a:pt x="29" y="144"/>
                    <a:pt x="28" y="142"/>
                    <a:pt x="27" y="141"/>
                  </a:cubicBezTo>
                  <a:cubicBezTo>
                    <a:pt x="26" y="141"/>
                    <a:pt x="26" y="141"/>
                    <a:pt x="26" y="141"/>
                  </a:cubicBezTo>
                  <a:cubicBezTo>
                    <a:pt x="23" y="138"/>
                    <a:pt x="21" y="135"/>
                    <a:pt x="25" y="129"/>
                  </a:cubicBezTo>
                  <a:cubicBezTo>
                    <a:pt x="28" y="125"/>
                    <a:pt x="29" y="120"/>
                    <a:pt x="29" y="118"/>
                  </a:cubicBezTo>
                  <a:cubicBezTo>
                    <a:pt x="27" y="118"/>
                    <a:pt x="23" y="118"/>
                    <a:pt x="19" y="119"/>
                  </a:cubicBezTo>
                  <a:cubicBezTo>
                    <a:pt x="18" y="120"/>
                    <a:pt x="16" y="120"/>
                    <a:pt x="15" y="120"/>
                  </a:cubicBezTo>
                  <a:cubicBezTo>
                    <a:pt x="10" y="120"/>
                    <a:pt x="9" y="117"/>
                    <a:pt x="8" y="115"/>
                  </a:cubicBezTo>
                  <a:cubicBezTo>
                    <a:pt x="8" y="114"/>
                    <a:pt x="8" y="114"/>
                    <a:pt x="8" y="114"/>
                  </a:cubicBezTo>
                  <a:cubicBezTo>
                    <a:pt x="6" y="112"/>
                    <a:pt x="4" y="107"/>
                    <a:pt x="12" y="103"/>
                  </a:cubicBezTo>
                  <a:cubicBezTo>
                    <a:pt x="16" y="100"/>
                    <a:pt x="19" y="97"/>
                    <a:pt x="19" y="95"/>
                  </a:cubicBezTo>
                  <a:cubicBezTo>
                    <a:pt x="17" y="94"/>
                    <a:pt x="14" y="92"/>
                    <a:pt x="10" y="92"/>
                  </a:cubicBezTo>
                  <a:cubicBezTo>
                    <a:pt x="1" y="91"/>
                    <a:pt x="1" y="86"/>
                    <a:pt x="1" y="83"/>
                  </a:cubicBezTo>
                  <a:cubicBezTo>
                    <a:pt x="1" y="83"/>
                    <a:pt x="1" y="83"/>
                    <a:pt x="1" y="83"/>
                  </a:cubicBezTo>
                  <a:cubicBezTo>
                    <a:pt x="1" y="80"/>
                    <a:pt x="0" y="75"/>
                    <a:pt x="9" y="74"/>
                  </a:cubicBezTo>
                  <a:cubicBezTo>
                    <a:pt x="14" y="73"/>
                    <a:pt x="18" y="71"/>
                    <a:pt x="19" y="69"/>
                  </a:cubicBezTo>
                  <a:cubicBezTo>
                    <a:pt x="18" y="67"/>
                    <a:pt x="15" y="65"/>
                    <a:pt x="11" y="63"/>
                  </a:cubicBezTo>
                  <a:cubicBezTo>
                    <a:pt x="4" y="59"/>
                    <a:pt x="5" y="54"/>
                    <a:pt x="6" y="52"/>
                  </a:cubicBezTo>
                  <a:cubicBezTo>
                    <a:pt x="7" y="51"/>
                    <a:pt x="7" y="51"/>
                    <a:pt x="7" y="51"/>
                  </a:cubicBezTo>
                  <a:cubicBezTo>
                    <a:pt x="7" y="49"/>
                    <a:pt x="9" y="45"/>
                    <a:pt x="14" y="45"/>
                  </a:cubicBezTo>
                  <a:cubicBezTo>
                    <a:pt x="15" y="45"/>
                    <a:pt x="16" y="46"/>
                    <a:pt x="18" y="46"/>
                  </a:cubicBezTo>
                  <a:cubicBezTo>
                    <a:pt x="20" y="46"/>
                    <a:pt x="22" y="46"/>
                    <a:pt x="24" y="46"/>
                  </a:cubicBezTo>
                  <a:cubicBezTo>
                    <a:pt x="26" y="46"/>
                    <a:pt x="28" y="46"/>
                    <a:pt x="29" y="46"/>
                  </a:cubicBezTo>
                  <a:cubicBezTo>
                    <a:pt x="28" y="43"/>
                    <a:pt x="26" y="40"/>
                    <a:pt x="24" y="37"/>
                  </a:cubicBezTo>
                  <a:cubicBezTo>
                    <a:pt x="19" y="30"/>
                    <a:pt x="22" y="26"/>
                    <a:pt x="24" y="24"/>
                  </a:cubicBezTo>
                  <a:cubicBezTo>
                    <a:pt x="25" y="24"/>
                    <a:pt x="25" y="24"/>
                    <a:pt x="25" y="24"/>
                  </a:cubicBezTo>
                  <a:cubicBezTo>
                    <a:pt x="26" y="23"/>
                    <a:pt x="27" y="21"/>
                    <a:pt x="30" y="21"/>
                  </a:cubicBezTo>
                  <a:cubicBezTo>
                    <a:pt x="32" y="21"/>
                    <a:pt x="34" y="22"/>
                    <a:pt x="37" y="24"/>
                  </a:cubicBezTo>
                  <a:cubicBezTo>
                    <a:pt x="39" y="25"/>
                    <a:pt x="43" y="27"/>
                    <a:pt x="45" y="28"/>
                  </a:cubicBezTo>
                  <a:cubicBezTo>
                    <a:pt x="45" y="25"/>
                    <a:pt x="45" y="21"/>
                    <a:pt x="44" y="18"/>
                  </a:cubicBezTo>
                  <a:cubicBezTo>
                    <a:pt x="42" y="10"/>
                    <a:pt x="47" y="8"/>
                    <a:pt x="49" y="7"/>
                  </a:cubicBezTo>
                  <a:cubicBezTo>
                    <a:pt x="50" y="7"/>
                    <a:pt x="50" y="7"/>
                    <a:pt x="50" y="7"/>
                  </a:cubicBezTo>
                  <a:cubicBezTo>
                    <a:pt x="51" y="6"/>
                    <a:pt x="52" y="6"/>
                    <a:pt x="54" y="6"/>
                  </a:cubicBezTo>
                  <a:cubicBezTo>
                    <a:pt x="56" y="6"/>
                    <a:pt x="59" y="7"/>
                    <a:pt x="61" y="11"/>
                  </a:cubicBezTo>
                  <a:cubicBezTo>
                    <a:pt x="63" y="14"/>
                    <a:pt x="66" y="17"/>
                    <a:pt x="68" y="19"/>
                  </a:cubicBezTo>
                  <a:cubicBezTo>
                    <a:pt x="69" y="17"/>
                    <a:pt x="71" y="13"/>
                    <a:pt x="72" y="8"/>
                  </a:cubicBezTo>
                  <a:cubicBezTo>
                    <a:pt x="73" y="1"/>
                    <a:pt x="77" y="0"/>
                    <a:pt x="80" y="0"/>
                  </a:cubicBezTo>
                  <a:cubicBezTo>
                    <a:pt x="81" y="0"/>
                    <a:pt x="81" y="0"/>
                    <a:pt x="81" y="0"/>
                  </a:cubicBezTo>
                  <a:cubicBezTo>
                    <a:pt x="82" y="0"/>
                    <a:pt x="82" y="0"/>
                    <a:pt x="82" y="0"/>
                  </a:cubicBezTo>
                  <a:cubicBezTo>
                    <a:pt x="87" y="0"/>
                    <a:pt x="89" y="2"/>
                    <a:pt x="90" y="8"/>
                  </a:cubicBezTo>
                  <a:cubicBezTo>
                    <a:pt x="91" y="12"/>
                    <a:pt x="92" y="16"/>
                    <a:pt x="94" y="18"/>
                  </a:cubicBezTo>
                  <a:cubicBezTo>
                    <a:pt x="95" y="17"/>
                    <a:pt x="99" y="14"/>
                    <a:pt x="101" y="10"/>
                  </a:cubicBezTo>
                  <a:cubicBezTo>
                    <a:pt x="103" y="6"/>
                    <a:pt x="106" y="4"/>
                    <a:pt x="108" y="4"/>
                  </a:cubicBezTo>
                  <a:cubicBezTo>
                    <a:pt x="110" y="4"/>
                    <a:pt x="111" y="5"/>
                    <a:pt x="112" y="5"/>
                  </a:cubicBezTo>
                  <a:cubicBezTo>
                    <a:pt x="113" y="6"/>
                    <a:pt x="113" y="6"/>
                    <a:pt x="113" y="6"/>
                  </a:cubicBezTo>
                  <a:cubicBezTo>
                    <a:pt x="115" y="6"/>
                    <a:pt x="120" y="8"/>
                    <a:pt x="118" y="17"/>
                  </a:cubicBezTo>
                  <a:cubicBezTo>
                    <a:pt x="117" y="21"/>
                    <a:pt x="117" y="25"/>
                    <a:pt x="117" y="27"/>
                  </a:cubicBezTo>
                  <a:cubicBezTo>
                    <a:pt x="120" y="27"/>
                    <a:pt x="124" y="25"/>
                    <a:pt x="127" y="23"/>
                  </a:cubicBezTo>
                  <a:cubicBezTo>
                    <a:pt x="130" y="21"/>
                    <a:pt x="132" y="20"/>
                    <a:pt x="134" y="20"/>
                  </a:cubicBezTo>
                  <a:cubicBezTo>
                    <a:pt x="137" y="20"/>
                    <a:pt x="138" y="22"/>
                    <a:pt x="140" y="23"/>
                  </a:cubicBezTo>
                  <a:cubicBezTo>
                    <a:pt x="140" y="23"/>
                    <a:pt x="140" y="23"/>
                    <a:pt x="140" y="23"/>
                  </a:cubicBezTo>
                  <a:cubicBezTo>
                    <a:pt x="142" y="25"/>
                    <a:pt x="146" y="28"/>
                    <a:pt x="140" y="35"/>
                  </a:cubicBezTo>
                  <a:cubicBezTo>
                    <a:pt x="138" y="38"/>
                    <a:pt x="136" y="42"/>
                    <a:pt x="136" y="45"/>
                  </a:cubicBezTo>
                  <a:cubicBezTo>
                    <a:pt x="137" y="45"/>
                    <a:pt x="138" y="45"/>
                    <a:pt x="140" y="45"/>
                  </a:cubicBezTo>
                  <a:cubicBezTo>
                    <a:pt x="142" y="45"/>
                    <a:pt x="145" y="45"/>
                    <a:pt x="147" y="44"/>
                  </a:cubicBezTo>
                  <a:cubicBezTo>
                    <a:pt x="148" y="44"/>
                    <a:pt x="150" y="44"/>
                    <a:pt x="151" y="44"/>
                  </a:cubicBezTo>
                  <a:cubicBezTo>
                    <a:pt x="156" y="44"/>
                    <a:pt x="157" y="47"/>
                    <a:pt x="158" y="49"/>
                  </a:cubicBezTo>
                  <a:cubicBezTo>
                    <a:pt x="158" y="50"/>
                    <a:pt x="158" y="50"/>
                    <a:pt x="158" y="50"/>
                  </a:cubicBezTo>
                  <a:cubicBezTo>
                    <a:pt x="159" y="52"/>
                    <a:pt x="161" y="57"/>
                    <a:pt x="154" y="61"/>
                  </a:cubicBezTo>
                  <a:cubicBezTo>
                    <a:pt x="150" y="63"/>
                    <a:pt x="147" y="66"/>
                    <a:pt x="146" y="68"/>
                  </a:cubicBezTo>
                  <a:cubicBezTo>
                    <a:pt x="147" y="69"/>
                    <a:pt x="151" y="71"/>
                    <a:pt x="156" y="72"/>
                  </a:cubicBezTo>
                  <a:cubicBezTo>
                    <a:pt x="165" y="73"/>
                    <a:pt x="165" y="78"/>
                    <a:pt x="165" y="81"/>
                  </a:cubicBezTo>
                  <a:cubicBezTo>
                    <a:pt x="165" y="81"/>
                    <a:pt x="165" y="81"/>
                    <a:pt x="165" y="81"/>
                  </a:cubicBezTo>
                  <a:cubicBezTo>
                    <a:pt x="165" y="82"/>
                    <a:pt x="165" y="82"/>
                    <a:pt x="165" y="82"/>
                  </a:cubicBezTo>
                  <a:cubicBezTo>
                    <a:pt x="165" y="84"/>
                    <a:pt x="165" y="89"/>
                    <a:pt x="156" y="90"/>
                  </a:cubicBezTo>
                  <a:cubicBezTo>
                    <a:pt x="152" y="91"/>
                    <a:pt x="148" y="92"/>
                    <a:pt x="146" y="94"/>
                  </a:cubicBezTo>
                  <a:cubicBezTo>
                    <a:pt x="147" y="96"/>
                    <a:pt x="150" y="99"/>
                    <a:pt x="154" y="101"/>
                  </a:cubicBezTo>
                  <a:cubicBezTo>
                    <a:pt x="162" y="106"/>
                    <a:pt x="160" y="110"/>
                    <a:pt x="159" y="113"/>
                  </a:cubicBezTo>
                  <a:cubicBezTo>
                    <a:pt x="158" y="113"/>
                    <a:pt x="158" y="113"/>
                    <a:pt x="158" y="113"/>
                  </a:cubicBezTo>
                  <a:cubicBezTo>
                    <a:pt x="158" y="115"/>
                    <a:pt x="156" y="119"/>
                    <a:pt x="151" y="119"/>
                  </a:cubicBezTo>
                  <a:cubicBezTo>
                    <a:pt x="150" y="119"/>
                    <a:pt x="149" y="118"/>
                    <a:pt x="147" y="118"/>
                  </a:cubicBezTo>
                  <a:cubicBezTo>
                    <a:pt x="145" y="117"/>
                    <a:pt x="142" y="117"/>
                    <a:pt x="140" y="117"/>
                  </a:cubicBezTo>
                  <a:cubicBezTo>
                    <a:pt x="138" y="117"/>
                    <a:pt x="137" y="117"/>
                    <a:pt x="137" y="117"/>
                  </a:cubicBezTo>
                  <a:cubicBezTo>
                    <a:pt x="137" y="119"/>
                    <a:pt x="138" y="123"/>
                    <a:pt x="141" y="127"/>
                  </a:cubicBezTo>
                  <a:cubicBezTo>
                    <a:pt x="146" y="134"/>
                    <a:pt x="144" y="137"/>
                    <a:pt x="141" y="140"/>
                  </a:cubicBezTo>
                  <a:cubicBezTo>
                    <a:pt x="140" y="140"/>
                    <a:pt x="140" y="140"/>
                    <a:pt x="140" y="140"/>
                  </a:cubicBezTo>
                  <a:cubicBezTo>
                    <a:pt x="139" y="141"/>
                    <a:pt x="137" y="143"/>
                    <a:pt x="135" y="143"/>
                  </a:cubicBezTo>
                  <a:cubicBezTo>
                    <a:pt x="133" y="143"/>
                    <a:pt x="130" y="142"/>
                    <a:pt x="128" y="140"/>
                  </a:cubicBezTo>
                  <a:cubicBezTo>
                    <a:pt x="126" y="138"/>
                    <a:pt x="123" y="137"/>
                    <a:pt x="120" y="136"/>
                  </a:cubicBezTo>
                  <a:cubicBezTo>
                    <a:pt x="120" y="138"/>
                    <a:pt x="121" y="142"/>
                    <a:pt x="122" y="145"/>
                  </a:cubicBezTo>
                  <a:cubicBezTo>
                    <a:pt x="124" y="153"/>
                    <a:pt x="120" y="155"/>
                    <a:pt x="117" y="156"/>
                  </a:cubicBezTo>
                  <a:cubicBezTo>
                    <a:pt x="117" y="156"/>
                    <a:pt x="117" y="156"/>
                    <a:pt x="117" y="156"/>
                  </a:cubicBezTo>
                  <a:cubicBezTo>
                    <a:pt x="116" y="157"/>
                    <a:pt x="114" y="157"/>
                    <a:pt x="112" y="157"/>
                  </a:cubicBezTo>
                  <a:cubicBezTo>
                    <a:pt x="110" y="157"/>
                    <a:pt x="107" y="156"/>
                    <a:pt x="105" y="152"/>
                  </a:cubicBezTo>
                  <a:cubicBezTo>
                    <a:pt x="102" y="148"/>
                    <a:pt x="99" y="146"/>
                    <a:pt x="97" y="145"/>
                  </a:cubicBezTo>
                  <a:cubicBezTo>
                    <a:pt x="96" y="147"/>
                    <a:pt x="95" y="150"/>
                    <a:pt x="94" y="155"/>
                  </a:cubicBezTo>
                  <a:cubicBezTo>
                    <a:pt x="94" y="163"/>
                    <a:pt x="88" y="163"/>
                    <a:pt x="86" y="164"/>
                  </a:cubicBezTo>
                  <a:cubicBezTo>
                    <a:pt x="85" y="164"/>
                    <a:pt x="85" y="164"/>
                    <a:pt x="85" y="164"/>
                  </a:cubicBezTo>
                  <a:cubicBezTo>
                    <a:pt x="85" y="164"/>
                    <a:pt x="84" y="164"/>
                    <a:pt x="84" y="164"/>
                  </a:cubicBezTo>
                  <a:close/>
                  <a:moveTo>
                    <a:pt x="72" y="140"/>
                  </a:moveTo>
                  <a:cubicBezTo>
                    <a:pt x="72" y="140"/>
                    <a:pt x="72" y="140"/>
                    <a:pt x="72" y="140"/>
                  </a:cubicBezTo>
                  <a:cubicBezTo>
                    <a:pt x="77" y="142"/>
                    <a:pt x="80" y="150"/>
                    <a:pt x="81" y="154"/>
                  </a:cubicBezTo>
                  <a:cubicBezTo>
                    <a:pt x="82" y="159"/>
                    <a:pt x="83" y="159"/>
                    <a:pt x="84" y="159"/>
                  </a:cubicBezTo>
                  <a:cubicBezTo>
                    <a:pt x="85" y="159"/>
                    <a:pt x="85" y="159"/>
                    <a:pt x="85" y="159"/>
                  </a:cubicBezTo>
                  <a:cubicBezTo>
                    <a:pt x="86" y="159"/>
                    <a:pt x="86" y="159"/>
                    <a:pt x="86" y="159"/>
                  </a:cubicBezTo>
                  <a:cubicBezTo>
                    <a:pt x="88" y="158"/>
                    <a:pt x="89" y="158"/>
                    <a:pt x="89" y="154"/>
                  </a:cubicBezTo>
                  <a:cubicBezTo>
                    <a:pt x="90" y="149"/>
                    <a:pt x="92" y="143"/>
                    <a:pt x="95" y="140"/>
                  </a:cubicBezTo>
                  <a:cubicBezTo>
                    <a:pt x="95" y="140"/>
                    <a:pt x="96" y="140"/>
                    <a:pt x="96" y="139"/>
                  </a:cubicBezTo>
                  <a:cubicBezTo>
                    <a:pt x="96" y="139"/>
                    <a:pt x="96" y="139"/>
                    <a:pt x="96" y="139"/>
                  </a:cubicBezTo>
                  <a:cubicBezTo>
                    <a:pt x="101" y="139"/>
                    <a:pt x="107" y="146"/>
                    <a:pt x="109" y="149"/>
                  </a:cubicBezTo>
                  <a:cubicBezTo>
                    <a:pt x="111" y="151"/>
                    <a:pt x="112" y="152"/>
                    <a:pt x="112" y="152"/>
                  </a:cubicBezTo>
                  <a:cubicBezTo>
                    <a:pt x="113" y="152"/>
                    <a:pt x="114" y="152"/>
                    <a:pt x="114" y="152"/>
                  </a:cubicBezTo>
                  <a:cubicBezTo>
                    <a:pt x="115" y="151"/>
                    <a:pt x="115" y="151"/>
                    <a:pt x="115" y="151"/>
                  </a:cubicBezTo>
                  <a:cubicBezTo>
                    <a:pt x="117" y="150"/>
                    <a:pt x="118" y="150"/>
                    <a:pt x="117" y="146"/>
                  </a:cubicBezTo>
                  <a:cubicBezTo>
                    <a:pt x="116" y="142"/>
                    <a:pt x="115" y="136"/>
                    <a:pt x="116" y="132"/>
                  </a:cubicBezTo>
                  <a:cubicBezTo>
                    <a:pt x="116" y="131"/>
                    <a:pt x="117" y="130"/>
                    <a:pt x="118" y="130"/>
                  </a:cubicBezTo>
                  <a:cubicBezTo>
                    <a:pt x="122" y="131"/>
                    <a:pt x="128" y="133"/>
                    <a:pt x="131" y="136"/>
                  </a:cubicBezTo>
                  <a:cubicBezTo>
                    <a:pt x="133" y="138"/>
                    <a:pt x="134" y="138"/>
                    <a:pt x="135" y="138"/>
                  </a:cubicBezTo>
                  <a:cubicBezTo>
                    <a:pt x="135" y="138"/>
                    <a:pt x="136" y="137"/>
                    <a:pt x="137" y="137"/>
                  </a:cubicBezTo>
                  <a:cubicBezTo>
                    <a:pt x="137" y="136"/>
                    <a:pt x="137" y="136"/>
                    <a:pt x="137" y="136"/>
                  </a:cubicBezTo>
                  <a:cubicBezTo>
                    <a:pt x="139" y="134"/>
                    <a:pt x="140" y="134"/>
                    <a:pt x="137" y="130"/>
                  </a:cubicBezTo>
                  <a:cubicBezTo>
                    <a:pt x="134" y="127"/>
                    <a:pt x="130" y="119"/>
                    <a:pt x="132" y="114"/>
                  </a:cubicBezTo>
                  <a:cubicBezTo>
                    <a:pt x="132" y="114"/>
                    <a:pt x="133" y="113"/>
                    <a:pt x="133" y="113"/>
                  </a:cubicBezTo>
                  <a:cubicBezTo>
                    <a:pt x="135" y="112"/>
                    <a:pt x="137" y="112"/>
                    <a:pt x="140" y="112"/>
                  </a:cubicBezTo>
                  <a:cubicBezTo>
                    <a:pt x="143" y="112"/>
                    <a:pt x="146" y="112"/>
                    <a:pt x="148" y="113"/>
                  </a:cubicBezTo>
                  <a:cubicBezTo>
                    <a:pt x="149" y="113"/>
                    <a:pt x="150" y="114"/>
                    <a:pt x="151" y="114"/>
                  </a:cubicBezTo>
                  <a:cubicBezTo>
                    <a:pt x="153" y="114"/>
                    <a:pt x="153" y="113"/>
                    <a:pt x="154" y="111"/>
                  </a:cubicBezTo>
                  <a:cubicBezTo>
                    <a:pt x="154" y="111"/>
                    <a:pt x="154" y="111"/>
                    <a:pt x="154" y="111"/>
                  </a:cubicBezTo>
                  <a:cubicBezTo>
                    <a:pt x="155" y="109"/>
                    <a:pt x="155" y="108"/>
                    <a:pt x="152" y="106"/>
                  </a:cubicBezTo>
                  <a:cubicBezTo>
                    <a:pt x="148" y="103"/>
                    <a:pt x="141" y="98"/>
                    <a:pt x="141" y="93"/>
                  </a:cubicBezTo>
                  <a:cubicBezTo>
                    <a:pt x="141" y="92"/>
                    <a:pt x="141" y="92"/>
                    <a:pt x="142" y="91"/>
                  </a:cubicBezTo>
                  <a:cubicBezTo>
                    <a:pt x="144" y="88"/>
                    <a:pt x="150" y="86"/>
                    <a:pt x="155" y="85"/>
                  </a:cubicBezTo>
                  <a:cubicBezTo>
                    <a:pt x="160" y="85"/>
                    <a:pt x="160" y="84"/>
                    <a:pt x="160" y="82"/>
                  </a:cubicBezTo>
                  <a:cubicBezTo>
                    <a:pt x="160" y="81"/>
                    <a:pt x="160" y="81"/>
                    <a:pt x="160" y="81"/>
                  </a:cubicBezTo>
                  <a:cubicBezTo>
                    <a:pt x="160" y="81"/>
                    <a:pt x="160" y="81"/>
                    <a:pt x="160" y="81"/>
                  </a:cubicBezTo>
                  <a:cubicBezTo>
                    <a:pt x="160" y="79"/>
                    <a:pt x="160" y="78"/>
                    <a:pt x="155" y="77"/>
                  </a:cubicBezTo>
                  <a:cubicBezTo>
                    <a:pt x="151" y="76"/>
                    <a:pt x="142" y="74"/>
                    <a:pt x="141" y="69"/>
                  </a:cubicBezTo>
                  <a:cubicBezTo>
                    <a:pt x="141" y="69"/>
                    <a:pt x="141" y="68"/>
                    <a:pt x="141" y="67"/>
                  </a:cubicBezTo>
                  <a:cubicBezTo>
                    <a:pt x="142" y="64"/>
                    <a:pt x="147" y="59"/>
                    <a:pt x="151" y="57"/>
                  </a:cubicBezTo>
                  <a:cubicBezTo>
                    <a:pt x="155" y="55"/>
                    <a:pt x="155" y="54"/>
                    <a:pt x="154" y="52"/>
                  </a:cubicBezTo>
                  <a:cubicBezTo>
                    <a:pt x="153" y="51"/>
                    <a:pt x="153" y="51"/>
                    <a:pt x="153" y="51"/>
                  </a:cubicBezTo>
                  <a:cubicBezTo>
                    <a:pt x="153" y="49"/>
                    <a:pt x="152" y="49"/>
                    <a:pt x="151" y="49"/>
                  </a:cubicBezTo>
                  <a:cubicBezTo>
                    <a:pt x="150" y="49"/>
                    <a:pt x="149" y="49"/>
                    <a:pt x="148" y="49"/>
                  </a:cubicBezTo>
                  <a:cubicBezTo>
                    <a:pt x="145" y="50"/>
                    <a:pt x="143" y="50"/>
                    <a:pt x="140" y="50"/>
                  </a:cubicBezTo>
                  <a:cubicBezTo>
                    <a:pt x="136" y="50"/>
                    <a:pt x="133" y="49"/>
                    <a:pt x="131" y="48"/>
                  </a:cubicBezTo>
                  <a:cubicBezTo>
                    <a:pt x="131" y="47"/>
                    <a:pt x="131" y="47"/>
                    <a:pt x="131" y="46"/>
                  </a:cubicBezTo>
                  <a:cubicBezTo>
                    <a:pt x="131" y="42"/>
                    <a:pt x="133" y="36"/>
                    <a:pt x="136" y="32"/>
                  </a:cubicBezTo>
                  <a:cubicBezTo>
                    <a:pt x="139" y="29"/>
                    <a:pt x="138" y="28"/>
                    <a:pt x="137" y="27"/>
                  </a:cubicBezTo>
                  <a:cubicBezTo>
                    <a:pt x="136" y="26"/>
                    <a:pt x="136" y="26"/>
                    <a:pt x="136" y="26"/>
                  </a:cubicBezTo>
                  <a:cubicBezTo>
                    <a:pt x="135" y="25"/>
                    <a:pt x="135" y="25"/>
                    <a:pt x="134" y="25"/>
                  </a:cubicBezTo>
                  <a:cubicBezTo>
                    <a:pt x="134" y="25"/>
                    <a:pt x="132" y="25"/>
                    <a:pt x="130" y="27"/>
                  </a:cubicBezTo>
                  <a:cubicBezTo>
                    <a:pt x="126" y="30"/>
                    <a:pt x="118" y="33"/>
                    <a:pt x="115" y="32"/>
                  </a:cubicBezTo>
                  <a:cubicBezTo>
                    <a:pt x="114" y="31"/>
                    <a:pt x="114" y="31"/>
                    <a:pt x="113" y="30"/>
                  </a:cubicBezTo>
                  <a:cubicBezTo>
                    <a:pt x="112" y="27"/>
                    <a:pt x="112" y="20"/>
                    <a:pt x="113" y="16"/>
                  </a:cubicBezTo>
                  <a:cubicBezTo>
                    <a:pt x="114" y="11"/>
                    <a:pt x="113" y="11"/>
                    <a:pt x="111" y="10"/>
                  </a:cubicBezTo>
                  <a:cubicBezTo>
                    <a:pt x="110" y="10"/>
                    <a:pt x="110" y="10"/>
                    <a:pt x="110" y="10"/>
                  </a:cubicBezTo>
                  <a:cubicBezTo>
                    <a:pt x="110" y="10"/>
                    <a:pt x="109" y="9"/>
                    <a:pt x="108" y="9"/>
                  </a:cubicBezTo>
                  <a:cubicBezTo>
                    <a:pt x="107" y="9"/>
                    <a:pt x="106" y="11"/>
                    <a:pt x="105" y="12"/>
                  </a:cubicBezTo>
                  <a:cubicBezTo>
                    <a:pt x="103" y="16"/>
                    <a:pt x="98" y="23"/>
                    <a:pt x="93" y="23"/>
                  </a:cubicBezTo>
                  <a:cubicBezTo>
                    <a:pt x="92" y="23"/>
                    <a:pt x="92" y="23"/>
                    <a:pt x="91" y="23"/>
                  </a:cubicBezTo>
                  <a:cubicBezTo>
                    <a:pt x="88" y="20"/>
                    <a:pt x="86" y="14"/>
                    <a:pt x="85" y="9"/>
                  </a:cubicBezTo>
                  <a:cubicBezTo>
                    <a:pt x="84" y="5"/>
                    <a:pt x="83" y="5"/>
                    <a:pt x="82" y="5"/>
                  </a:cubicBezTo>
                  <a:cubicBezTo>
                    <a:pt x="81" y="5"/>
                    <a:pt x="81" y="5"/>
                    <a:pt x="81" y="5"/>
                  </a:cubicBezTo>
                  <a:cubicBezTo>
                    <a:pt x="80" y="5"/>
                    <a:pt x="80" y="5"/>
                    <a:pt x="80" y="5"/>
                  </a:cubicBezTo>
                  <a:cubicBezTo>
                    <a:pt x="78" y="5"/>
                    <a:pt x="77" y="5"/>
                    <a:pt x="77" y="9"/>
                  </a:cubicBezTo>
                  <a:cubicBezTo>
                    <a:pt x="76" y="13"/>
                    <a:pt x="74" y="22"/>
                    <a:pt x="69" y="24"/>
                  </a:cubicBezTo>
                  <a:cubicBezTo>
                    <a:pt x="69" y="24"/>
                    <a:pt x="68" y="24"/>
                    <a:pt x="67" y="24"/>
                  </a:cubicBezTo>
                  <a:cubicBezTo>
                    <a:pt x="64" y="23"/>
                    <a:pt x="59" y="18"/>
                    <a:pt x="57" y="14"/>
                  </a:cubicBezTo>
                  <a:cubicBezTo>
                    <a:pt x="56" y="13"/>
                    <a:pt x="55" y="11"/>
                    <a:pt x="54" y="11"/>
                  </a:cubicBezTo>
                  <a:cubicBezTo>
                    <a:pt x="53" y="11"/>
                    <a:pt x="52" y="11"/>
                    <a:pt x="52" y="11"/>
                  </a:cubicBezTo>
                  <a:cubicBezTo>
                    <a:pt x="51" y="12"/>
                    <a:pt x="51" y="12"/>
                    <a:pt x="51" y="12"/>
                  </a:cubicBezTo>
                  <a:cubicBezTo>
                    <a:pt x="49" y="12"/>
                    <a:pt x="48" y="13"/>
                    <a:pt x="49" y="17"/>
                  </a:cubicBezTo>
                  <a:cubicBezTo>
                    <a:pt x="50" y="21"/>
                    <a:pt x="51" y="27"/>
                    <a:pt x="49" y="31"/>
                  </a:cubicBezTo>
                  <a:cubicBezTo>
                    <a:pt x="49" y="32"/>
                    <a:pt x="48" y="33"/>
                    <a:pt x="47" y="33"/>
                  </a:cubicBezTo>
                  <a:cubicBezTo>
                    <a:pt x="43" y="33"/>
                    <a:pt x="38" y="30"/>
                    <a:pt x="34" y="28"/>
                  </a:cubicBezTo>
                  <a:cubicBezTo>
                    <a:pt x="32" y="26"/>
                    <a:pt x="31" y="26"/>
                    <a:pt x="30" y="26"/>
                  </a:cubicBezTo>
                  <a:cubicBezTo>
                    <a:pt x="30" y="26"/>
                    <a:pt x="29" y="26"/>
                    <a:pt x="28" y="27"/>
                  </a:cubicBezTo>
                  <a:cubicBezTo>
                    <a:pt x="28" y="28"/>
                    <a:pt x="28" y="28"/>
                    <a:pt x="28" y="28"/>
                  </a:cubicBezTo>
                  <a:cubicBezTo>
                    <a:pt x="26" y="30"/>
                    <a:pt x="25" y="30"/>
                    <a:pt x="28" y="34"/>
                  </a:cubicBezTo>
                  <a:cubicBezTo>
                    <a:pt x="31" y="38"/>
                    <a:pt x="34" y="43"/>
                    <a:pt x="34" y="47"/>
                  </a:cubicBezTo>
                  <a:cubicBezTo>
                    <a:pt x="34" y="48"/>
                    <a:pt x="34" y="48"/>
                    <a:pt x="33" y="49"/>
                  </a:cubicBezTo>
                  <a:cubicBezTo>
                    <a:pt x="31" y="51"/>
                    <a:pt x="27" y="51"/>
                    <a:pt x="24" y="51"/>
                  </a:cubicBezTo>
                  <a:cubicBezTo>
                    <a:pt x="22" y="51"/>
                    <a:pt x="19" y="51"/>
                    <a:pt x="17" y="51"/>
                  </a:cubicBezTo>
                  <a:cubicBezTo>
                    <a:pt x="16" y="50"/>
                    <a:pt x="15" y="50"/>
                    <a:pt x="14" y="50"/>
                  </a:cubicBezTo>
                  <a:cubicBezTo>
                    <a:pt x="12" y="50"/>
                    <a:pt x="12" y="51"/>
                    <a:pt x="11" y="53"/>
                  </a:cubicBezTo>
                  <a:cubicBezTo>
                    <a:pt x="11" y="53"/>
                    <a:pt x="11" y="53"/>
                    <a:pt x="11" y="53"/>
                  </a:cubicBezTo>
                  <a:cubicBezTo>
                    <a:pt x="10" y="55"/>
                    <a:pt x="10" y="56"/>
                    <a:pt x="14" y="58"/>
                  </a:cubicBezTo>
                  <a:cubicBezTo>
                    <a:pt x="18" y="61"/>
                    <a:pt x="23" y="65"/>
                    <a:pt x="24" y="69"/>
                  </a:cubicBezTo>
                  <a:cubicBezTo>
                    <a:pt x="25" y="69"/>
                    <a:pt x="25" y="70"/>
                    <a:pt x="24" y="70"/>
                  </a:cubicBezTo>
                  <a:cubicBezTo>
                    <a:pt x="23" y="75"/>
                    <a:pt x="14" y="78"/>
                    <a:pt x="10" y="79"/>
                  </a:cubicBezTo>
                  <a:cubicBezTo>
                    <a:pt x="6" y="79"/>
                    <a:pt x="6" y="80"/>
                    <a:pt x="6" y="82"/>
                  </a:cubicBezTo>
                  <a:cubicBezTo>
                    <a:pt x="6" y="83"/>
                    <a:pt x="6" y="83"/>
                    <a:pt x="6" y="83"/>
                  </a:cubicBezTo>
                  <a:cubicBezTo>
                    <a:pt x="6" y="86"/>
                    <a:pt x="6" y="86"/>
                    <a:pt x="10" y="87"/>
                  </a:cubicBezTo>
                  <a:cubicBezTo>
                    <a:pt x="15" y="88"/>
                    <a:pt x="21" y="90"/>
                    <a:pt x="24" y="92"/>
                  </a:cubicBezTo>
                  <a:cubicBezTo>
                    <a:pt x="24" y="93"/>
                    <a:pt x="25" y="93"/>
                    <a:pt x="25" y="94"/>
                  </a:cubicBezTo>
                  <a:cubicBezTo>
                    <a:pt x="25" y="99"/>
                    <a:pt x="18" y="105"/>
                    <a:pt x="14" y="107"/>
                  </a:cubicBezTo>
                  <a:cubicBezTo>
                    <a:pt x="11" y="109"/>
                    <a:pt x="11" y="110"/>
                    <a:pt x="12" y="112"/>
                  </a:cubicBezTo>
                  <a:cubicBezTo>
                    <a:pt x="12" y="113"/>
                    <a:pt x="12" y="113"/>
                    <a:pt x="12" y="113"/>
                  </a:cubicBezTo>
                  <a:cubicBezTo>
                    <a:pt x="13" y="115"/>
                    <a:pt x="13" y="115"/>
                    <a:pt x="15" y="115"/>
                  </a:cubicBezTo>
                  <a:cubicBezTo>
                    <a:pt x="16" y="115"/>
                    <a:pt x="17" y="115"/>
                    <a:pt x="18" y="115"/>
                  </a:cubicBezTo>
                  <a:cubicBezTo>
                    <a:pt x="21" y="114"/>
                    <a:pt x="24" y="113"/>
                    <a:pt x="27" y="113"/>
                  </a:cubicBezTo>
                  <a:cubicBezTo>
                    <a:pt x="29" y="113"/>
                    <a:pt x="31" y="114"/>
                    <a:pt x="33" y="114"/>
                  </a:cubicBezTo>
                  <a:cubicBezTo>
                    <a:pt x="33" y="114"/>
                    <a:pt x="34" y="115"/>
                    <a:pt x="34" y="115"/>
                  </a:cubicBezTo>
                  <a:cubicBezTo>
                    <a:pt x="36" y="120"/>
                    <a:pt x="32" y="128"/>
                    <a:pt x="30" y="131"/>
                  </a:cubicBezTo>
                  <a:cubicBezTo>
                    <a:pt x="27" y="135"/>
                    <a:pt x="28" y="136"/>
                    <a:pt x="29" y="137"/>
                  </a:cubicBezTo>
                  <a:cubicBezTo>
                    <a:pt x="30" y="138"/>
                    <a:pt x="30" y="138"/>
                    <a:pt x="30" y="138"/>
                  </a:cubicBezTo>
                  <a:cubicBezTo>
                    <a:pt x="31" y="139"/>
                    <a:pt x="31" y="139"/>
                    <a:pt x="32" y="139"/>
                  </a:cubicBezTo>
                  <a:cubicBezTo>
                    <a:pt x="32" y="139"/>
                    <a:pt x="34" y="139"/>
                    <a:pt x="36" y="137"/>
                  </a:cubicBezTo>
                  <a:cubicBezTo>
                    <a:pt x="39" y="134"/>
                    <a:pt x="45" y="131"/>
                    <a:pt x="49" y="131"/>
                  </a:cubicBezTo>
                  <a:cubicBezTo>
                    <a:pt x="50" y="131"/>
                    <a:pt x="50" y="131"/>
                    <a:pt x="51" y="132"/>
                  </a:cubicBezTo>
                  <a:cubicBezTo>
                    <a:pt x="54" y="135"/>
                    <a:pt x="54" y="144"/>
                    <a:pt x="53" y="148"/>
                  </a:cubicBezTo>
                  <a:cubicBezTo>
                    <a:pt x="52" y="152"/>
                    <a:pt x="53" y="153"/>
                    <a:pt x="55" y="153"/>
                  </a:cubicBezTo>
                  <a:cubicBezTo>
                    <a:pt x="56" y="154"/>
                    <a:pt x="56" y="154"/>
                    <a:pt x="56" y="154"/>
                  </a:cubicBezTo>
                  <a:cubicBezTo>
                    <a:pt x="56" y="154"/>
                    <a:pt x="57" y="154"/>
                    <a:pt x="58" y="154"/>
                  </a:cubicBezTo>
                  <a:cubicBezTo>
                    <a:pt x="59" y="154"/>
                    <a:pt x="60" y="152"/>
                    <a:pt x="61" y="151"/>
                  </a:cubicBezTo>
                  <a:cubicBezTo>
                    <a:pt x="63" y="147"/>
                    <a:pt x="67" y="142"/>
                    <a:pt x="71" y="140"/>
                  </a:cubicBezTo>
                  <a:lnTo>
                    <a:pt x="72" y="140"/>
                  </a:lnTo>
                  <a:close/>
                  <a:moveTo>
                    <a:pt x="83" y="133"/>
                  </a:moveTo>
                  <a:cubicBezTo>
                    <a:pt x="69" y="133"/>
                    <a:pt x="56" y="128"/>
                    <a:pt x="46" y="118"/>
                  </a:cubicBezTo>
                  <a:cubicBezTo>
                    <a:pt x="36" y="109"/>
                    <a:pt x="31" y="96"/>
                    <a:pt x="31" y="82"/>
                  </a:cubicBezTo>
                  <a:cubicBezTo>
                    <a:pt x="31" y="68"/>
                    <a:pt x="36" y="55"/>
                    <a:pt x="46" y="45"/>
                  </a:cubicBezTo>
                  <a:cubicBezTo>
                    <a:pt x="56" y="35"/>
                    <a:pt x="69" y="30"/>
                    <a:pt x="83" y="30"/>
                  </a:cubicBezTo>
                  <a:cubicBezTo>
                    <a:pt x="96" y="30"/>
                    <a:pt x="109" y="35"/>
                    <a:pt x="119" y="45"/>
                  </a:cubicBezTo>
                  <a:cubicBezTo>
                    <a:pt x="129" y="55"/>
                    <a:pt x="134" y="68"/>
                    <a:pt x="134" y="82"/>
                  </a:cubicBezTo>
                  <a:cubicBezTo>
                    <a:pt x="134" y="95"/>
                    <a:pt x="129" y="108"/>
                    <a:pt x="119" y="118"/>
                  </a:cubicBezTo>
                  <a:cubicBezTo>
                    <a:pt x="110" y="128"/>
                    <a:pt x="97" y="133"/>
                    <a:pt x="83" y="133"/>
                  </a:cubicBezTo>
                  <a:close/>
                  <a:moveTo>
                    <a:pt x="83" y="35"/>
                  </a:moveTo>
                  <a:cubicBezTo>
                    <a:pt x="70" y="35"/>
                    <a:pt x="58" y="40"/>
                    <a:pt x="50" y="49"/>
                  </a:cubicBezTo>
                  <a:cubicBezTo>
                    <a:pt x="41" y="58"/>
                    <a:pt x="36" y="69"/>
                    <a:pt x="36" y="82"/>
                  </a:cubicBezTo>
                  <a:cubicBezTo>
                    <a:pt x="36" y="94"/>
                    <a:pt x="41" y="106"/>
                    <a:pt x="50" y="115"/>
                  </a:cubicBezTo>
                  <a:cubicBezTo>
                    <a:pt x="59" y="124"/>
                    <a:pt x="70" y="128"/>
                    <a:pt x="83" y="128"/>
                  </a:cubicBezTo>
                  <a:cubicBezTo>
                    <a:pt x="95" y="128"/>
                    <a:pt x="107" y="123"/>
                    <a:pt x="116" y="115"/>
                  </a:cubicBezTo>
                  <a:cubicBezTo>
                    <a:pt x="125" y="106"/>
                    <a:pt x="129" y="94"/>
                    <a:pt x="129" y="82"/>
                  </a:cubicBezTo>
                  <a:cubicBezTo>
                    <a:pt x="129" y="69"/>
                    <a:pt x="124" y="57"/>
                    <a:pt x="116" y="49"/>
                  </a:cubicBezTo>
                  <a:cubicBezTo>
                    <a:pt x="107" y="40"/>
                    <a:pt x="95" y="35"/>
                    <a:pt x="83" y="3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6" name="Freeform 1379">
              <a:extLst>
                <a:ext uri="{FF2B5EF4-FFF2-40B4-BE49-F238E27FC236}">
                  <a16:creationId xmlns:a16="http://schemas.microsoft.com/office/drawing/2014/main" id="{1D62A9C8-5BC8-43D2-BCF9-3EDF7437B494}"/>
                </a:ext>
              </a:extLst>
            </p:cNvPr>
            <p:cNvSpPr>
              <a:spLocks noEditPoints="1"/>
            </p:cNvSpPr>
            <p:nvPr/>
          </p:nvSpPr>
          <p:spPr bwMode="auto">
            <a:xfrm rot="20647229" flipH="1">
              <a:off x="6056720" y="5294756"/>
              <a:ext cx="47625" cy="47625"/>
            </a:xfrm>
            <a:custGeom>
              <a:avLst/>
              <a:gdLst>
                <a:gd name="T0" fmla="*/ 20 w 40"/>
                <a:gd name="T1" fmla="*/ 40 h 40"/>
                <a:gd name="T2" fmla="*/ 20 w 40"/>
                <a:gd name="T3" fmla="*/ 40 h 40"/>
                <a:gd name="T4" fmla="*/ 6 w 40"/>
                <a:gd name="T5" fmla="*/ 34 h 40"/>
                <a:gd name="T6" fmla="*/ 0 w 40"/>
                <a:gd name="T7" fmla="*/ 20 h 40"/>
                <a:gd name="T8" fmla="*/ 6 w 40"/>
                <a:gd name="T9" fmla="*/ 6 h 40"/>
                <a:gd name="T10" fmla="*/ 20 w 40"/>
                <a:gd name="T11" fmla="*/ 0 h 40"/>
                <a:gd name="T12" fmla="*/ 34 w 40"/>
                <a:gd name="T13" fmla="*/ 6 h 40"/>
                <a:gd name="T14" fmla="*/ 40 w 40"/>
                <a:gd name="T15" fmla="*/ 20 h 40"/>
                <a:gd name="T16" fmla="*/ 34 w 40"/>
                <a:gd name="T17" fmla="*/ 34 h 40"/>
                <a:gd name="T18" fmla="*/ 20 w 40"/>
                <a:gd name="T19" fmla="*/ 40 h 40"/>
                <a:gd name="T20" fmla="*/ 20 w 40"/>
                <a:gd name="T21" fmla="*/ 3 h 40"/>
                <a:gd name="T22" fmla="*/ 8 w 40"/>
                <a:gd name="T23" fmla="*/ 8 h 40"/>
                <a:gd name="T24" fmla="*/ 3 w 40"/>
                <a:gd name="T25" fmla="*/ 20 h 40"/>
                <a:gd name="T26" fmla="*/ 8 w 40"/>
                <a:gd name="T27" fmla="*/ 32 h 40"/>
                <a:gd name="T28" fmla="*/ 20 w 40"/>
                <a:gd name="T29" fmla="*/ 37 h 40"/>
                <a:gd name="T30" fmla="*/ 20 w 40"/>
                <a:gd name="T31" fmla="*/ 37 h 40"/>
                <a:gd name="T32" fmla="*/ 32 w 40"/>
                <a:gd name="T33" fmla="*/ 32 h 40"/>
                <a:gd name="T34" fmla="*/ 37 w 40"/>
                <a:gd name="T35" fmla="*/ 20 h 40"/>
                <a:gd name="T36" fmla="*/ 32 w 40"/>
                <a:gd name="T37" fmla="*/ 8 h 40"/>
                <a:gd name="T38" fmla="*/ 20 w 40"/>
                <a:gd name="T39" fmla="*/ 3 h 40"/>
                <a:gd name="T40" fmla="*/ 20 w 40"/>
                <a:gd name="T41" fmla="*/ 33 h 40"/>
                <a:gd name="T42" fmla="*/ 11 w 40"/>
                <a:gd name="T43" fmla="*/ 29 h 40"/>
                <a:gd name="T44" fmla="*/ 10 w 40"/>
                <a:gd name="T45" fmla="*/ 11 h 40"/>
                <a:gd name="T46" fmla="*/ 20 w 40"/>
                <a:gd name="T47" fmla="*/ 7 h 40"/>
                <a:gd name="T48" fmla="*/ 29 w 40"/>
                <a:gd name="T49" fmla="*/ 11 h 40"/>
                <a:gd name="T50" fmla="*/ 33 w 40"/>
                <a:gd name="T51" fmla="*/ 20 h 40"/>
                <a:gd name="T52" fmla="*/ 29 w 40"/>
                <a:gd name="T53" fmla="*/ 29 h 40"/>
                <a:gd name="T54" fmla="*/ 20 w 40"/>
                <a:gd name="T55" fmla="*/ 33 h 40"/>
                <a:gd name="T56" fmla="*/ 20 w 40"/>
                <a:gd name="T57" fmla="*/ 10 h 40"/>
                <a:gd name="T58" fmla="*/ 13 w 40"/>
                <a:gd name="T59" fmla="*/ 13 h 40"/>
                <a:gd name="T60" fmla="*/ 13 w 40"/>
                <a:gd name="T61" fmla="*/ 27 h 40"/>
                <a:gd name="T62" fmla="*/ 20 w 40"/>
                <a:gd name="T63" fmla="*/ 30 h 40"/>
                <a:gd name="T64" fmla="*/ 27 w 40"/>
                <a:gd name="T65" fmla="*/ 27 h 40"/>
                <a:gd name="T66" fmla="*/ 30 w 40"/>
                <a:gd name="T67" fmla="*/ 20 h 40"/>
                <a:gd name="T68" fmla="*/ 27 w 40"/>
                <a:gd name="T69" fmla="*/ 13 h 40"/>
                <a:gd name="T70" fmla="*/ 20 w 40"/>
                <a:gd name="T7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0">
                  <a:moveTo>
                    <a:pt x="20" y="40"/>
                  </a:moveTo>
                  <a:cubicBezTo>
                    <a:pt x="20" y="40"/>
                    <a:pt x="20" y="40"/>
                    <a:pt x="20" y="40"/>
                  </a:cubicBezTo>
                  <a:cubicBezTo>
                    <a:pt x="14" y="40"/>
                    <a:pt x="9" y="38"/>
                    <a:pt x="6" y="34"/>
                  </a:cubicBezTo>
                  <a:cubicBezTo>
                    <a:pt x="2" y="30"/>
                    <a:pt x="0" y="25"/>
                    <a:pt x="0" y="20"/>
                  </a:cubicBezTo>
                  <a:cubicBezTo>
                    <a:pt x="0" y="15"/>
                    <a:pt x="2" y="9"/>
                    <a:pt x="6" y="6"/>
                  </a:cubicBezTo>
                  <a:cubicBezTo>
                    <a:pt x="9" y="2"/>
                    <a:pt x="14" y="0"/>
                    <a:pt x="20" y="0"/>
                  </a:cubicBezTo>
                  <a:cubicBezTo>
                    <a:pt x="25" y="0"/>
                    <a:pt x="30" y="2"/>
                    <a:pt x="34" y="6"/>
                  </a:cubicBezTo>
                  <a:cubicBezTo>
                    <a:pt x="38" y="9"/>
                    <a:pt x="40" y="14"/>
                    <a:pt x="40" y="20"/>
                  </a:cubicBezTo>
                  <a:cubicBezTo>
                    <a:pt x="40" y="25"/>
                    <a:pt x="38" y="30"/>
                    <a:pt x="34" y="34"/>
                  </a:cubicBezTo>
                  <a:cubicBezTo>
                    <a:pt x="30" y="38"/>
                    <a:pt x="25" y="40"/>
                    <a:pt x="20" y="40"/>
                  </a:cubicBezTo>
                  <a:close/>
                  <a:moveTo>
                    <a:pt x="20" y="3"/>
                  </a:moveTo>
                  <a:cubicBezTo>
                    <a:pt x="15" y="3"/>
                    <a:pt x="11" y="5"/>
                    <a:pt x="8" y="8"/>
                  </a:cubicBezTo>
                  <a:cubicBezTo>
                    <a:pt x="5" y="11"/>
                    <a:pt x="3" y="15"/>
                    <a:pt x="3" y="20"/>
                  </a:cubicBezTo>
                  <a:cubicBezTo>
                    <a:pt x="3" y="24"/>
                    <a:pt x="5" y="29"/>
                    <a:pt x="8" y="32"/>
                  </a:cubicBezTo>
                  <a:cubicBezTo>
                    <a:pt x="11" y="35"/>
                    <a:pt x="15" y="37"/>
                    <a:pt x="20" y="37"/>
                  </a:cubicBezTo>
                  <a:cubicBezTo>
                    <a:pt x="20" y="37"/>
                    <a:pt x="20" y="37"/>
                    <a:pt x="20" y="37"/>
                  </a:cubicBezTo>
                  <a:cubicBezTo>
                    <a:pt x="24" y="37"/>
                    <a:pt x="28" y="35"/>
                    <a:pt x="32" y="32"/>
                  </a:cubicBezTo>
                  <a:cubicBezTo>
                    <a:pt x="35" y="29"/>
                    <a:pt x="37" y="24"/>
                    <a:pt x="37" y="20"/>
                  </a:cubicBezTo>
                  <a:cubicBezTo>
                    <a:pt x="37" y="15"/>
                    <a:pt x="35" y="11"/>
                    <a:pt x="32" y="8"/>
                  </a:cubicBezTo>
                  <a:cubicBezTo>
                    <a:pt x="28" y="5"/>
                    <a:pt x="24" y="3"/>
                    <a:pt x="20" y="3"/>
                  </a:cubicBezTo>
                  <a:close/>
                  <a:moveTo>
                    <a:pt x="20" y="33"/>
                  </a:moveTo>
                  <a:cubicBezTo>
                    <a:pt x="16" y="33"/>
                    <a:pt x="13" y="32"/>
                    <a:pt x="11" y="29"/>
                  </a:cubicBezTo>
                  <a:cubicBezTo>
                    <a:pt x="5" y="24"/>
                    <a:pt x="5" y="16"/>
                    <a:pt x="10" y="11"/>
                  </a:cubicBezTo>
                  <a:cubicBezTo>
                    <a:pt x="13" y="8"/>
                    <a:pt x="16" y="7"/>
                    <a:pt x="20" y="7"/>
                  </a:cubicBezTo>
                  <a:cubicBezTo>
                    <a:pt x="23" y="7"/>
                    <a:pt x="26" y="8"/>
                    <a:pt x="29" y="11"/>
                  </a:cubicBezTo>
                  <a:cubicBezTo>
                    <a:pt x="31" y="13"/>
                    <a:pt x="33" y="16"/>
                    <a:pt x="33" y="20"/>
                  </a:cubicBezTo>
                  <a:cubicBezTo>
                    <a:pt x="33" y="23"/>
                    <a:pt x="31" y="27"/>
                    <a:pt x="29" y="29"/>
                  </a:cubicBezTo>
                  <a:cubicBezTo>
                    <a:pt x="27" y="32"/>
                    <a:pt x="23" y="33"/>
                    <a:pt x="20" y="33"/>
                  </a:cubicBezTo>
                  <a:close/>
                  <a:moveTo>
                    <a:pt x="20" y="10"/>
                  </a:moveTo>
                  <a:cubicBezTo>
                    <a:pt x="17" y="10"/>
                    <a:pt x="15" y="11"/>
                    <a:pt x="13" y="13"/>
                  </a:cubicBezTo>
                  <a:cubicBezTo>
                    <a:pt x="9" y="17"/>
                    <a:pt x="9" y="23"/>
                    <a:pt x="13" y="27"/>
                  </a:cubicBezTo>
                  <a:cubicBezTo>
                    <a:pt x="15" y="29"/>
                    <a:pt x="17" y="30"/>
                    <a:pt x="20" y="30"/>
                  </a:cubicBezTo>
                  <a:cubicBezTo>
                    <a:pt x="22" y="30"/>
                    <a:pt x="25" y="29"/>
                    <a:pt x="27" y="27"/>
                  </a:cubicBezTo>
                  <a:cubicBezTo>
                    <a:pt x="29" y="25"/>
                    <a:pt x="30" y="22"/>
                    <a:pt x="30" y="20"/>
                  </a:cubicBezTo>
                  <a:cubicBezTo>
                    <a:pt x="30" y="17"/>
                    <a:pt x="29" y="15"/>
                    <a:pt x="27" y="13"/>
                  </a:cubicBezTo>
                  <a:cubicBezTo>
                    <a:pt x="25" y="11"/>
                    <a:pt x="22" y="10"/>
                    <a:pt x="20" y="10"/>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7" name="Freeform 1380">
              <a:extLst>
                <a:ext uri="{FF2B5EF4-FFF2-40B4-BE49-F238E27FC236}">
                  <a16:creationId xmlns:a16="http://schemas.microsoft.com/office/drawing/2014/main" id="{01CD7806-1B7F-4034-98DF-FBD83ECD74E6}"/>
                </a:ext>
              </a:extLst>
            </p:cNvPr>
            <p:cNvSpPr>
              <a:spLocks noEditPoints="1"/>
            </p:cNvSpPr>
            <p:nvPr/>
          </p:nvSpPr>
          <p:spPr bwMode="auto">
            <a:xfrm rot="20647229" flipH="1">
              <a:off x="5991037" y="5091856"/>
              <a:ext cx="50800" cy="49213"/>
            </a:xfrm>
            <a:custGeom>
              <a:avLst/>
              <a:gdLst>
                <a:gd name="T0" fmla="*/ 21 w 42"/>
                <a:gd name="T1" fmla="*/ 41 h 41"/>
                <a:gd name="T2" fmla="*/ 21 w 42"/>
                <a:gd name="T3" fmla="*/ 41 h 41"/>
                <a:gd name="T4" fmla="*/ 6 w 42"/>
                <a:gd name="T5" fmla="*/ 35 h 41"/>
                <a:gd name="T6" fmla="*/ 0 w 42"/>
                <a:gd name="T7" fmla="*/ 20 h 41"/>
                <a:gd name="T8" fmla="*/ 6 w 42"/>
                <a:gd name="T9" fmla="*/ 6 h 41"/>
                <a:gd name="T10" fmla="*/ 21 w 42"/>
                <a:gd name="T11" fmla="*/ 0 h 41"/>
                <a:gd name="T12" fmla="*/ 36 w 42"/>
                <a:gd name="T13" fmla="*/ 6 h 41"/>
                <a:gd name="T14" fmla="*/ 42 w 42"/>
                <a:gd name="T15" fmla="*/ 20 h 41"/>
                <a:gd name="T16" fmla="*/ 36 w 42"/>
                <a:gd name="T17" fmla="*/ 35 h 41"/>
                <a:gd name="T18" fmla="*/ 21 w 42"/>
                <a:gd name="T19" fmla="*/ 41 h 41"/>
                <a:gd name="T20" fmla="*/ 21 w 42"/>
                <a:gd name="T21" fmla="*/ 3 h 41"/>
                <a:gd name="T22" fmla="*/ 9 w 42"/>
                <a:gd name="T23" fmla="*/ 8 h 41"/>
                <a:gd name="T24" fmla="*/ 4 w 42"/>
                <a:gd name="T25" fmla="*/ 20 h 41"/>
                <a:gd name="T26" fmla="*/ 9 w 42"/>
                <a:gd name="T27" fmla="*/ 33 h 41"/>
                <a:gd name="T28" fmla="*/ 21 w 42"/>
                <a:gd name="T29" fmla="*/ 38 h 41"/>
                <a:gd name="T30" fmla="*/ 21 w 42"/>
                <a:gd name="T31" fmla="*/ 38 h 41"/>
                <a:gd name="T32" fmla="*/ 33 w 42"/>
                <a:gd name="T33" fmla="*/ 33 h 41"/>
                <a:gd name="T34" fmla="*/ 38 w 42"/>
                <a:gd name="T35" fmla="*/ 20 h 41"/>
                <a:gd name="T36" fmla="*/ 33 w 42"/>
                <a:gd name="T37" fmla="*/ 8 h 41"/>
                <a:gd name="T38" fmla="*/ 21 w 42"/>
                <a:gd name="T39" fmla="*/ 3 h 41"/>
                <a:gd name="T40" fmla="*/ 21 w 42"/>
                <a:gd name="T41" fmla="*/ 34 h 41"/>
                <a:gd name="T42" fmla="*/ 11 w 42"/>
                <a:gd name="T43" fmla="*/ 30 h 41"/>
                <a:gd name="T44" fmla="*/ 11 w 42"/>
                <a:gd name="T45" fmla="*/ 11 h 41"/>
                <a:gd name="T46" fmla="*/ 21 w 42"/>
                <a:gd name="T47" fmla="*/ 7 h 41"/>
                <a:gd name="T48" fmla="*/ 30 w 42"/>
                <a:gd name="T49" fmla="*/ 11 h 41"/>
                <a:gd name="T50" fmla="*/ 34 w 42"/>
                <a:gd name="T51" fmla="*/ 20 h 41"/>
                <a:gd name="T52" fmla="*/ 30 w 42"/>
                <a:gd name="T53" fmla="*/ 30 h 41"/>
                <a:gd name="T54" fmla="*/ 21 w 42"/>
                <a:gd name="T55" fmla="*/ 34 h 41"/>
                <a:gd name="T56" fmla="*/ 21 w 42"/>
                <a:gd name="T57" fmla="*/ 10 h 41"/>
                <a:gd name="T58" fmla="*/ 14 w 42"/>
                <a:gd name="T59" fmla="*/ 13 h 41"/>
                <a:gd name="T60" fmla="*/ 14 w 42"/>
                <a:gd name="T61" fmla="*/ 28 h 41"/>
                <a:gd name="T62" fmla="*/ 21 w 42"/>
                <a:gd name="T63" fmla="*/ 30 h 41"/>
                <a:gd name="T64" fmla="*/ 28 w 42"/>
                <a:gd name="T65" fmla="*/ 28 h 41"/>
                <a:gd name="T66" fmla="*/ 31 w 42"/>
                <a:gd name="T67" fmla="*/ 20 h 41"/>
                <a:gd name="T68" fmla="*/ 28 w 42"/>
                <a:gd name="T69" fmla="*/ 13 h 41"/>
                <a:gd name="T70" fmla="*/ 21 w 42"/>
                <a:gd name="T7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21" y="41"/>
                  </a:moveTo>
                  <a:cubicBezTo>
                    <a:pt x="21" y="41"/>
                    <a:pt x="21"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2" y="2"/>
                    <a:pt x="36" y="6"/>
                  </a:cubicBezTo>
                  <a:cubicBezTo>
                    <a:pt x="39" y="10"/>
                    <a:pt x="42" y="15"/>
                    <a:pt x="42" y="20"/>
                  </a:cubicBezTo>
                  <a:cubicBezTo>
                    <a:pt x="42" y="26"/>
                    <a:pt x="39" y="31"/>
                    <a:pt x="36" y="35"/>
                  </a:cubicBezTo>
                  <a:cubicBezTo>
                    <a:pt x="32" y="39"/>
                    <a:pt x="26" y="41"/>
                    <a:pt x="21" y="41"/>
                  </a:cubicBezTo>
                  <a:close/>
                  <a:moveTo>
                    <a:pt x="21" y="3"/>
                  </a:moveTo>
                  <a:cubicBezTo>
                    <a:pt x="16" y="3"/>
                    <a:pt x="12" y="5"/>
                    <a:pt x="9" y="8"/>
                  </a:cubicBezTo>
                  <a:cubicBezTo>
                    <a:pt x="5" y="11"/>
                    <a:pt x="4" y="16"/>
                    <a:pt x="4" y="20"/>
                  </a:cubicBezTo>
                  <a:cubicBezTo>
                    <a:pt x="4" y="25"/>
                    <a:pt x="5" y="29"/>
                    <a:pt x="9" y="33"/>
                  </a:cubicBezTo>
                  <a:cubicBezTo>
                    <a:pt x="12" y="36"/>
                    <a:pt x="16" y="38"/>
                    <a:pt x="21" y="38"/>
                  </a:cubicBezTo>
                  <a:cubicBezTo>
                    <a:pt x="21" y="38"/>
                    <a:pt x="21" y="38"/>
                    <a:pt x="21" y="38"/>
                  </a:cubicBezTo>
                  <a:cubicBezTo>
                    <a:pt x="26" y="38"/>
                    <a:pt x="30" y="36"/>
                    <a:pt x="33" y="33"/>
                  </a:cubicBezTo>
                  <a:cubicBezTo>
                    <a:pt x="36" y="29"/>
                    <a:pt x="38" y="25"/>
                    <a:pt x="38" y="20"/>
                  </a:cubicBezTo>
                  <a:cubicBezTo>
                    <a:pt x="38" y="16"/>
                    <a:pt x="36" y="11"/>
                    <a:pt x="33" y="8"/>
                  </a:cubicBezTo>
                  <a:cubicBezTo>
                    <a:pt x="30" y="5"/>
                    <a:pt x="26" y="3"/>
                    <a:pt x="21" y="3"/>
                  </a:cubicBezTo>
                  <a:close/>
                  <a:moveTo>
                    <a:pt x="21" y="34"/>
                  </a:moveTo>
                  <a:cubicBezTo>
                    <a:pt x="17" y="34"/>
                    <a:pt x="14" y="32"/>
                    <a:pt x="11" y="30"/>
                  </a:cubicBezTo>
                  <a:cubicBezTo>
                    <a:pt x="6" y="25"/>
                    <a:pt x="6" y="16"/>
                    <a:pt x="11" y="11"/>
                  </a:cubicBezTo>
                  <a:cubicBezTo>
                    <a:pt x="14" y="8"/>
                    <a:pt x="17" y="7"/>
                    <a:pt x="21" y="7"/>
                  </a:cubicBezTo>
                  <a:cubicBezTo>
                    <a:pt x="25" y="7"/>
                    <a:pt x="28" y="8"/>
                    <a:pt x="30" y="11"/>
                  </a:cubicBezTo>
                  <a:cubicBezTo>
                    <a:pt x="33" y="13"/>
                    <a:pt x="34" y="17"/>
                    <a:pt x="34" y="20"/>
                  </a:cubicBezTo>
                  <a:cubicBezTo>
                    <a:pt x="34" y="24"/>
                    <a:pt x="33" y="27"/>
                    <a:pt x="30" y="30"/>
                  </a:cubicBezTo>
                  <a:cubicBezTo>
                    <a:pt x="28" y="32"/>
                    <a:pt x="25" y="34"/>
                    <a:pt x="21" y="34"/>
                  </a:cubicBezTo>
                  <a:close/>
                  <a:moveTo>
                    <a:pt x="21" y="10"/>
                  </a:moveTo>
                  <a:cubicBezTo>
                    <a:pt x="18" y="10"/>
                    <a:pt x="16" y="11"/>
                    <a:pt x="14" y="13"/>
                  </a:cubicBezTo>
                  <a:cubicBezTo>
                    <a:pt x="10" y="17"/>
                    <a:pt x="10" y="24"/>
                    <a:pt x="14" y="28"/>
                  </a:cubicBezTo>
                  <a:cubicBezTo>
                    <a:pt x="16" y="29"/>
                    <a:pt x="18" y="30"/>
                    <a:pt x="21" y="30"/>
                  </a:cubicBezTo>
                  <a:cubicBezTo>
                    <a:pt x="24" y="30"/>
                    <a:pt x="26" y="29"/>
                    <a:pt x="28" y="28"/>
                  </a:cubicBezTo>
                  <a:cubicBezTo>
                    <a:pt x="30" y="26"/>
                    <a:pt x="31" y="23"/>
                    <a:pt x="31" y="20"/>
                  </a:cubicBezTo>
                  <a:cubicBezTo>
                    <a:pt x="31" y="18"/>
                    <a:pt x="30" y="15"/>
                    <a:pt x="28" y="13"/>
                  </a:cubicBezTo>
                  <a:cubicBezTo>
                    <a:pt x="26" y="11"/>
                    <a:pt x="24" y="10"/>
                    <a:pt x="21" y="10"/>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8" name="Freeform 1381">
              <a:extLst>
                <a:ext uri="{FF2B5EF4-FFF2-40B4-BE49-F238E27FC236}">
                  <a16:creationId xmlns:a16="http://schemas.microsoft.com/office/drawing/2014/main" id="{7C2CDD31-3E53-4BAA-8FA8-88F9CCAC1C73}"/>
                </a:ext>
              </a:extLst>
            </p:cNvPr>
            <p:cNvSpPr>
              <a:spLocks noEditPoints="1"/>
            </p:cNvSpPr>
            <p:nvPr/>
          </p:nvSpPr>
          <p:spPr bwMode="auto">
            <a:xfrm rot="20647229" flipH="1">
              <a:off x="5617140" y="4028427"/>
              <a:ext cx="681038" cy="677863"/>
            </a:xfrm>
            <a:custGeom>
              <a:avLst/>
              <a:gdLst>
                <a:gd name="T0" fmla="*/ 216 w 572"/>
                <a:gd name="T1" fmla="*/ 552 h 571"/>
                <a:gd name="T2" fmla="*/ 150 w 572"/>
                <a:gd name="T3" fmla="*/ 536 h 571"/>
                <a:gd name="T4" fmla="*/ 103 w 572"/>
                <a:gd name="T5" fmla="*/ 491 h 571"/>
                <a:gd name="T6" fmla="*/ 63 w 572"/>
                <a:gd name="T7" fmla="*/ 446 h 571"/>
                <a:gd name="T8" fmla="*/ 30 w 572"/>
                <a:gd name="T9" fmla="*/ 386 h 571"/>
                <a:gd name="T10" fmla="*/ 14 w 572"/>
                <a:gd name="T11" fmla="*/ 327 h 571"/>
                <a:gd name="T12" fmla="*/ 28 w 572"/>
                <a:gd name="T13" fmla="*/ 249 h 571"/>
                <a:gd name="T14" fmla="*/ 20 w 572"/>
                <a:gd name="T15" fmla="*/ 183 h 571"/>
                <a:gd name="T16" fmla="*/ 70 w 572"/>
                <a:gd name="T17" fmla="*/ 141 h 571"/>
                <a:gd name="T18" fmla="*/ 95 w 572"/>
                <a:gd name="T19" fmla="*/ 73 h 571"/>
                <a:gd name="T20" fmla="*/ 165 w 572"/>
                <a:gd name="T21" fmla="*/ 55 h 571"/>
                <a:gd name="T22" fmla="*/ 217 w 572"/>
                <a:gd name="T23" fmla="*/ 9 h 571"/>
                <a:gd name="T24" fmla="*/ 283 w 572"/>
                <a:gd name="T25" fmla="*/ 25 h 571"/>
                <a:gd name="T26" fmla="*/ 346 w 572"/>
                <a:gd name="T27" fmla="*/ 6 h 571"/>
                <a:gd name="T28" fmla="*/ 401 w 572"/>
                <a:gd name="T29" fmla="*/ 52 h 571"/>
                <a:gd name="T30" fmla="*/ 466 w 572"/>
                <a:gd name="T31" fmla="*/ 64 h 571"/>
                <a:gd name="T32" fmla="*/ 495 w 572"/>
                <a:gd name="T33" fmla="*/ 130 h 571"/>
                <a:gd name="T34" fmla="*/ 547 w 572"/>
                <a:gd name="T35" fmla="*/ 170 h 571"/>
                <a:gd name="T36" fmla="*/ 543 w 572"/>
                <a:gd name="T37" fmla="*/ 241 h 571"/>
                <a:gd name="T38" fmla="*/ 545 w 572"/>
                <a:gd name="T39" fmla="*/ 317 h 571"/>
                <a:gd name="T40" fmla="*/ 547 w 572"/>
                <a:gd name="T41" fmla="*/ 373 h 571"/>
                <a:gd name="T42" fmla="*/ 524 w 572"/>
                <a:gd name="T43" fmla="*/ 436 h 571"/>
                <a:gd name="T44" fmla="*/ 479 w 572"/>
                <a:gd name="T45" fmla="*/ 482 h 571"/>
                <a:gd name="T46" fmla="*/ 425 w 572"/>
                <a:gd name="T47" fmla="*/ 523 h 571"/>
                <a:gd name="T48" fmla="*/ 360 w 572"/>
                <a:gd name="T49" fmla="*/ 562 h 571"/>
                <a:gd name="T50" fmla="*/ 296 w 572"/>
                <a:gd name="T51" fmla="*/ 546 h 571"/>
                <a:gd name="T52" fmla="*/ 274 w 572"/>
                <a:gd name="T53" fmla="*/ 566 h 571"/>
                <a:gd name="T54" fmla="*/ 322 w 572"/>
                <a:gd name="T55" fmla="*/ 557 h 571"/>
                <a:gd name="T56" fmla="*/ 366 w 572"/>
                <a:gd name="T57" fmla="*/ 530 h 571"/>
                <a:gd name="T58" fmla="*/ 412 w 572"/>
                <a:gd name="T59" fmla="*/ 509 h 571"/>
                <a:gd name="T60" fmla="*/ 463 w 572"/>
                <a:gd name="T61" fmla="*/ 495 h 571"/>
                <a:gd name="T62" fmla="*/ 504 w 572"/>
                <a:gd name="T63" fmla="*/ 463 h 571"/>
                <a:gd name="T64" fmla="*/ 527 w 572"/>
                <a:gd name="T65" fmla="*/ 416 h 571"/>
                <a:gd name="T66" fmla="*/ 530 w 572"/>
                <a:gd name="T67" fmla="*/ 365 h 571"/>
                <a:gd name="T68" fmla="*/ 539 w 572"/>
                <a:gd name="T69" fmla="*/ 325 h 571"/>
                <a:gd name="T70" fmla="*/ 542 w 572"/>
                <a:gd name="T71" fmla="*/ 273 h 571"/>
                <a:gd name="T72" fmla="*/ 557 w 572"/>
                <a:gd name="T73" fmla="*/ 214 h 571"/>
                <a:gd name="T74" fmla="*/ 542 w 572"/>
                <a:gd name="T75" fmla="*/ 171 h 571"/>
                <a:gd name="T76" fmla="*/ 517 w 572"/>
                <a:gd name="T77" fmla="*/ 129 h 571"/>
                <a:gd name="T78" fmla="*/ 485 w 572"/>
                <a:gd name="T79" fmla="*/ 97 h 571"/>
                <a:gd name="T80" fmla="*/ 434 w 572"/>
                <a:gd name="T81" fmla="*/ 78 h 571"/>
                <a:gd name="T82" fmla="*/ 392 w 572"/>
                <a:gd name="T83" fmla="*/ 53 h 571"/>
                <a:gd name="T84" fmla="*/ 351 w 572"/>
                <a:gd name="T85" fmla="*/ 20 h 571"/>
                <a:gd name="T86" fmla="*/ 300 w 572"/>
                <a:gd name="T87" fmla="*/ 5 h 571"/>
                <a:gd name="T88" fmla="*/ 250 w 572"/>
                <a:gd name="T89" fmla="*/ 14 h 571"/>
                <a:gd name="T90" fmla="*/ 206 w 572"/>
                <a:gd name="T91" fmla="*/ 42 h 571"/>
                <a:gd name="T92" fmla="*/ 161 w 572"/>
                <a:gd name="T93" fmla="*/ 63 h 571"/>
                <a:gd name="T94" fmla="*/ 125 w 572"/>
                <a:gd name="T95" fmla="*/ 86 h 571"/>
                <a:gd name="T96" fmla="*/ 78 w 572"/>
                <a:gd name="T97" fmla="*/ 107 h 571"/>
                <a:gd name="T98" fmla="*/ 43 w 572"/>
                <a:gd name="T99" fmla="*/ 145 h 571"/>
                <a:gd name="T100" fmla="*/ 24 w 572"/>
                <a:gd name="T101" fmla="*/ 186 h 571"/>
                <a:gd name="T102" fmla="*/ 17 w 572"/>
                <a:gd name="T103" fmla="*/ 236 h 571"/>
                <a:gd name="T104" fmla="*/ 31 w 572"/>
                <a:gd name="T105" fmla="*/ 296 h 571"/>
                <a:gd name="T106" fmla="*/ 20 w 572"/>
                <a:gd name="T107" fmla="*/ 349 h 571"/>
                <a:gd name="T108" fmla="*/ 29 w 572"/>
                <a:gd name="T109" fmla="*/ 399 h 571"/>
                <a:gd name="T110" fmla="*/ 51 w 572"/>
                <a:gd name="T111" fmla="*/ 439 h 571"/>
                <a:gd name="T112" fmla="*/ 82 w 572"/>
                <a:gd name="T113" fmla="*/ 477 h 571"/>
                <a:gd name="T114" fmla="*/ 120 w 572"/>
                <a:gd name="T115" fmla="*/ 503 h 571"/>
                <a:gd name="T116" fmla="*/ 172 w 572"/>
                <a:gd name="T117" fmla="*/ 515 h 571"/>
                <a:gd name="T118" fmla="*/ 217 w 572"/>
                <a:gd name="T119" fmla="*/ 532 h 571"/>
                <a:gd name="T120" fmla="*/ 104 w 572"/>
                <a:gd name="T121" fmla="*/ 138 h 571"/>
                <a:gd name="T122" fmla="*/ 515 w 572"/>
                <a:gd name="T123" fmla="*/ 2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2" h="571">
                  <a:moveTo>
                    <a:pt x="274" y="571"/>
                  </a:moveTo>
                  <a:cubicBezTo>
                    <a:pt x="273" y="571"/>
                    <a:pt x="272" y="571"/>
                    <a:pt x="271" y="571"/>
                  </a:cubicBezTo>
                  <a:cubicBezTo>
                    <a:pt x="270" y="571"/>
                    <a:pt x="270" y="571"/>
                    <a:pt x="270" y="571"/>
                  </a:cubicBezTo>
                  <a:cubicBezTo>
                    <a:pt x="267" y="571"/>
                    <a:pt x="260" y="571"/>
                    <a:pt x="259" y="559"/>
                  </a:cubicBezTo>
                  <a:cubicBezTo>
                    <a:pt x="258" y="553"/>
                    <a:pt x="257" y="548"/>
                    <a:pt x="255" y="545"/>
                  </a:cubicBezTo>
                  <a:cubicBezTo>
                    <a:pt x="253" y="544"/>
                    <a:pt x="251" y="544"/>
                    <a:pt x="249" y="544"/>
                  </a:cubicBezTo>
                  <a:cubicBezTo>
                    <a:pt x="246" y="546"/>
                    <a:pt x="243" y="551"/>
                    <a:pt x="241" y="557"/>
                  </a:cubicBezTo>
                  <a:cubicBezTo>
                    <a:pt x="239" y="563"/>
                    <a:pt x="236" y="566"/>
                    <a:pt x="231" y="566"/>
                  </a:cubicBezTo>
                  <a:cubicBezTo>
                    <a:pt x="230" y="566"/>
                    <a:pt x="228" y="566"/>
                    <a:pt x="227" y="565"/>
                  </a:cubicBezTo>
                  <a:cubicBezTo>
                    <a:pt x="226" y="565"/>
                    <a:pt x="226" y="565"/>
                    <a:pt x="226" y="565"/>
                  </a:cubicBezTo>
                  <a:cubicBezTo>
                    <a:pt x="222" y="564"/>
                    <a:pt x="215" y="563"/>
                    <a:pt x="216" y="552"/>
                  </a:cubicBezTo>
                  <a:cubicBezTo>
                    <a:pt x="217" y="546"/>
                    <a:pt x="216" y="540"/>
                    <a:pt x="215" y="537"/>
                  </a:cubicBezTo>
                  <a:cubicBezTo>
                    <a:pt x="213" y="536"/>
                    <a:pt x="211" y="535"/>
                    <a:pt x="209" y="535"/>
                  </a:cubicBezTo>
                  <a:cubicBezTo>
                    <a:pt x="206" y="537"/>
                    <a:pt x="202" y="541"/>
                    <a:pt x="199" y="547"/>
                  </a:cubicBezTo>
                  <a:cubicBezTo>
                    <a:pt x="197" y="552"/>
                    <a:pt x="193" y="554"/>
                    <a:pt x="189" y="554"/>
                  </a:cubicBezTo>
                  <a:cubicBezTo>
                    <a:pt x="187" y="554"/>
                    <a:pt x="185" y="553"/>
                    <a:pt x="184" y="553"/>
                  </a:cubicBezTo>
                  <a:cubicBezTo>
                    <a:pt x="183" y="552"/>
                    <a:pt x="183" y="552"/>
                    <a:pt x="183" y="552"/>
                  </a:cubicBezTo>
                  <a:cubicBezTo>
                    <a:pt x="179" y="551"/>
                    <a:pt x="173" y="549"/>
                    <a:pt x="176" y="537"/>
                  </a:cubicBezTo>
                  <a:cubicBezTo>
                    <a:pt x="177" y="532"/>
                    <a:pt x="177" y="526"/>
                    <a:pt x="176" y="522"/>
                  </a:cubicBezTo>
                  <a:cubicBezTo>
                    <a:pt x="175" y="521"/>
                    <a:pt x="173" y="521"/>
                    <a:pt x="171" y="520"/>
                  </a:cubicBezTo>
                  <a:cubicBezTo>
                    <a:pt x="168" y="521"/>
                    <a:pt x="163" y="525"/>
                    <a:pt x="160" y="530"/>
                  </a:cubicBezTo>
                  <a:cubicBezTo>
                    <a:pt x="157" y="534"/>
                    <a:pt x="153" y="536"/>
                    <a:pt x="150" y="536"/>
                  </a:cubicBezTo>
                  <a:cubicBezTo>
                    <a:pt x="147" y="536"/>
                    <a:pt x="145" y="534"/>
                    <a:pt x="143" y="533"/>
                  </a:cubicBezTo>
                  <a:cubicBezTo>
                    <a:pt x="143" y="533"/>
                    <a:pt x="143" y="533"/>
                    <a:pt x="143" y="533"/>
                  </a:cubicBezTo>
                  <a:cubicBezTo>
                    <a:pt x="139" y="531"/>
                    <a:pt x="133" y="528"/>
                    <a:pt x="138" y="517"/>
                  </a:cubicBezTo>
                  <a:cubicBezTo>
                    <a:pt x="140" y="512"/>
                    <a:pt x="141" y="506"/>
                    <a:pt x="141" y="502"/>
                  </a:cubicBezTo>
                  <a:cubicBezTo>
                    <a:pt x="139" y="501"/>
                    <a:pt x="137" y="500"/>
                    <a:pt x="136" y="499"/>
                  </a:cubicBezTo>
                  <a:cubicBezTo>
                    <a:pt x="132" y="500"/>
                    <a:pt x="127" y="503"/>
                    <a:pt x="123" y="507"/>
                  </a:cubicBezTo>
                  <a:cubicBezTo>
                    <a:pt x="120" y="510"/>
                    <a:pt x="117" y="512"/>
                    <a:pt x="114" y="512"/>
                  </a:cubicBezTo>
                  <a:cubicBezTo>
                    <a:pt x="114" y="512"/>
                    <a:pt x="114" y="512"/>
                    <a:pt x="114" y="512"/>
                  </a:cubicBezTo>
                  <a:cubicBezTo>
                    <a:pt x="111" y="512"/>
                    <a:pt x="108" y="510"/>
                    <a:pt x="106" y="508"/>
                  </a:cubicBezTo>
                  <a:cubicBezTo>
                    <a:pt x="106" y="507"/>
                    <a:pt x="106" y="507"/>
                    <a:pt x="106" y="507"/>
                  </a:cubicBezTo>
                  <a:cubicBezTo>
                    <a:pt x="103" y="505"/>
                    <a:pt x="97" y="501"/>
                    <a:pt x="103" y="491"/>
                  </a:cubicBezTo>
                  <a:cubicBezTo>
                    <a:pt x="106" y="486"/>
                    <a:pt x="108" y="480"/>
                    <a:pt x="109" y="477"/>
                  </a:cubicBezTo>
                  <a:cubicBezTo>
                    <a:pt x="107" y="475"/>
                    <a:pt x="106" y="474"/>
                    <a:pt x="104" y="473"/>
                  </a:cubicBezTo>
                  <a:cubicBezTo>
                    <a:pt x="101" y="473"/>
                    <a:pt x="95" y="476"/>
                    <a:pt x="90" y="479"/>
                  </a:cubicBezTo>
                  <a:cubicBezTo>
                    <a:pt x="87" y="481"/>
                    <a:pt x="85" y="482"/>
                    <a:pt x="82" y="482"/>
                  </a:cubicBezTo>
                  <a:cubicBezTo>
                    <a:pt x="78" y="482"/>
                    <a:pt x="75" y="479"/>
                    <a:pt x="74" y="477"/>
                  </a:cubicBezTo>
                  <a:cubicBezTo>
                    <a:pt x="73" y="476"/>
                    <a:pt x="73" y="476"/>
                    <a:pt x="73" y="476"/>
                  </a:cubicBezTo>
                  <a:cubicBezTo>
                    <a:pt x="71" y="474"/>
                    <a:pt x="66" y="469"/>
                    <a:pt x="73" y="460"/>
                  </a:cubicBezTo>
                  <a:cubicBezTo>
                    <a:pt x="77" y="455"/>
                    <a:pt x="80" y="450"/>
                    <a:pt x="81" y="447"/>
                  </a:cubicBezTo>
                  <a:cubicBezTo>
                    <a:pt x="81" y="447"/>
                    <a:pt x="81" y="447"/>
                    <a:pt x="81" y="447"/>
                  </a:cubicBezTo>
                  <a:cubicBezTo>
                    <a:pt x="80" y="445"/>
                    <a:pt x="78" y="443"/>
                    <a:pt x="77" y="442"/>
                  </a:cubicBezTo>
                  <a:cubicBezTo>
                    <a:pt x="74" y="442"/>
                    <a:pt x="68" y="443"/>
                    <a:pt x="63" y="446"/>
                  </a:cubicBezTo>
                  <a:cubicBezTo>
                    <a:pt x="60" y="447"/>
                    <a:pt x="58" y="448"/>
                    <a:pt x="55" y="448"/>
                  </a:cubicBezTo>
                  <a:cubicBezTo>
                    <a:pt x="50" y="448"/>
                    <a:pt x="48" y="444"/>
                    <a:pt x="47" y="442"/>
                  </a:cubicBezTo>
                  <a:cubicBezTo>
                    <a:pt x="46" y="441"/>
                    <a:pt x="46" y="441"/>
                    <a:pt x="46" y="441"/>
                  </a:cubicBezTo>
                  <a:cubicBezTo>
                    <a:pt x="44" y="438"/>
                    <a:pt x="40" y="432"/>
                    <a:pt x="49" y="424"/>
                  </a:cubicBezTo>
                  <a:cubicBezTo>
                    <a:pt x="53" y="420"/>
                    <a:pt x="57" y="416"/>
                    <a:pt x="58" y="413"/>
                  </a:cubicBezTo>
                  <a:cubicBezTo>
                    <a:pt x="57" y="411"/>
                    <a:pt x="56" y="409"/>
                    <a:pt x="55" y="407"/>
                  </a:cubicBezTo>
                  <a:cubicBezTo>
                    <a:pt x="52" y="407"/>
                    <a:pt x="46" y="407"/>
                    <a:pt x="40" y="409"/>
                  </a:cubicBezTo>
                  <a:cubicBezTo>
                    <a:pt x="38" y="409"/>
                    <a:pt x="36" y="410"/>
                    <a:pt x="35" y="410"/>
                  </a:cubicBezTo>
                  <a:cubicBezTo>
                    <a:pt x="28" y="410"/>
                    <a:pt x="26" y="405"/>
                    <a:pt x="25" y="402"/>
                  </a:cubicBezTo>
                  <a:cubicBezTo>
                    <a:pt x="25" y="401"/>
                    <a:pt x="25" y="401"/>
                    <a:pt x="25" y="401"/>
                  </a:cubicBezTo>
                  <a:cubicBezTo>
                    <a:pt x="23" y="398"/>
                    <a:pt x="20" y="392"/>
                    <a:pt x="30" y="386"/>
                  </a:cubicBezTo>
                  <a:cubicBezTo>
                    <a:pt x="35" y="382"/>
                    <a:pt x="39" y="378"/>
                    <a:pt x="41" y="376"/>
                  </a:cubicBezTo>
                  <a:cubicBezTo>
                    <a:pt x="41" y="374"/>
                    <a:pt x="40" y="372"/>
                    <a:pt x="39" y="370"/>
                  </a:cubicBezTo>
                  <a:cubicBezTo>
                    <a:pt x="37" y="369"/>
                    <a:pt x="34" y="369"/>
                    <a:pt x="30" y="369"/>
                  </a:cubicBezTo>
                  <a:cubicBezTo>
                    <a:pt x="28" y="369"/>
                    <a:pt x="26" y="369"/>
                    <a:pt x="24" y="369"/>
                  </a:cubicBezTo>
                  <a:cubicBezTo>
                    <a:pt x="23" y="369"/>
                    <a:pt x="22" y="369"/>
                    <a:pt x="21" y="369"/>
                  </a:cubicBezTo>
                  <a:cubicBezTo>
                    <a:pt x="12" y="369"/>
                    <a:pt x="11" y="363"/>
                    <a:pt x="10" y="360"/>
                  </a:cubicBezTo>
                  <a:cubicBezTo>
                    <a:pt x="10" y="359"/>
                    <a:pt x="10" y="359"/>
                    <a:pt x="10" y="359"/>
                  </a:cubicBezTo>
                  <a:cubicBezTo>
                    <a:pt x="9" y="355"/>
                    <a:pt x="7" y="349"/>
                    <a:pt x="18" y="344"/>
                  </a:cubicBezTo>
                  <a:cubicBezTo>
                    <a:pt x="23" y="342"/>
                    <a:pt x="28" y="339"/>
                    <a:pt x="30" y="336"/>
                  </a:cubicBezTo>
                  <a:cubicBezTo>
                    <a:pt x="30" y="334"/>
                    <a:pt x="30" y="332"/>
                    <a:pt x="29" y="330"/>
                  </a:cubicBezTo>
                  <a:cubicBezTo>
                    <a:pt x="26" y="329"/>
                    <a:pt x="20" y="327"/>
                    <a:pt x="14" y="327"/>
                  </a:cubicBezTo>
                  <a:cubicBezTo>
                    <a:pt x="3" y="327"/>
                    <a:pt x="2" y="320"/>
                    <a:pt x="2" y="316"/>
                  </a:cubicBezTo>
                  <a:cubicBezTo>
                    <a:pt x="2" y="315"/>
                    <a:pt x="2" y="315"/>
                    <a:pt x="2" y="315"/>
                  </a:cubicBezTo>
                  <a:cubicBezTo>
                    <a:pt x="1" y="311"/>
                    <a:pt x="0" y="304"/>
                    <a:pt x="12" y="302"/>
                  </a:cubicBezTo>
                  <a:cubicBezTo>
                    <a:pt x="17" y="300"/>
                    <a:pt x="23" y="298"/>
                    <a:pt x="26" y="295"/>
                  </a:cubicBezTo>
                  <a:cubicBezTo>
                    <a:pt x="26" y="293"/>
                    <a:pt x="25" y="291"/>
                    <a:pt x="25" y="289"/>
                  </a:cubicBezTo>
                  <a:cubicBezTo>
                    <a:pt x="23" y="287"/>
                    <a:pt x="17" y="285"/>
                    <a:pt x="11" y="284"/>
                  </a:cubicBezTo>
                  <a:cubicBezTo>
                    <a:pt x="0" y="282"/>
                    <a:pt x="0" y="275"/>
                    <a:pt x="1" y="271"/>
                  </a:cubicBezTo>
                  <a:cubicBezTo>
                    <a:pt x="1" y="270"/>
                    <a:pt x="1" y="270"/>
                    <a:pt x="1" y="270"/>
                  </a:cubicBezTo>
                  <a:cubicBezTo>
                    <a:pt x="1" y="266"/>
                    <a:pt x="1" y="259"/>
                    <a:pt x="13" y="259"/>
                  </a:cubicBezTo>
                  <a:cubicBezTo>
                    <a:pt x="19" y="258"/>
                    <a:pt x="24" y="256"/>
                    <a:pt x="27" y="255"/>
                  </a:cubicBezTo>
                  <a:cubicBezTo>
                    <a:pt x="28" y="253"/>
                    <a:pt x="28" y="251"/>
                    <a:pt x="28" y="249"/>
                  </a:cubicBezTo>
                  <a:cubicBezTo>
                    <a:pt x="26" y="246"/>
                    <a:pt x="20" y="243"/>
                    <a:pt x="15" y="241"/>
                  </a:cubicBezTo>
                  <a:cubicBezTo>
                    <a:pt x="4" y="237"/>
                    <a:pt x="6" y="230"/>
                    <a:pt x="6" y="227"/>
                  </a:cubicBezTo>
                  <a:cubicBezTo>
                    <a:pt x="7" y="226"/>
                    <a:pt x="7" y="226"/>
                    <a:pt x="7" y="226"/>
                  </a:cubicBezTo>
                  <a:cubicBezTo>
                    <a:pt x="7" y="222"/>
                    <a:pt x="9" y="216"/>
                    <a:pt x="18" y="216"/>
                  </a:cubicBezTo>
                  <a:cubicBezTo>
                    <a:pt x="19" y="216"/>
                    <a:pt x="20" y="216"/>
                    <a:pt x="20" y="216"/>
                  </a:cubicBezTo>
                  <a:cubicBezTo>
                    <a:pt x="21" y="216"/>
                    <a:pt x="22" y="216"/>
                    <a:pt x="23" y="216"/>
                  </a:cubicBezTo>
                  <a:cubicBezTo>
                    <a:pt x="28" y="216"/>
                    <a:pt x="33" y="216"/>
                    <a:pt x="35" y="215"/>
                  </a:cubicBezTo>
                  <a:cubicBezTo>
                    <a:pt x="36" y="213"/>
                    <a:pt x="36" y="211"/>
                    <a:pt x="37" y="209"/>
                  </a:cubicBezTo>
                  <a:cubicBezTo>
                    <a:pt x="35" y="206"/>
                    <a:pt x="30" y="202"/>
                    <a:pt x="25" y="199"/>
                  </a:cubicBezTo>
                  <a:cubicBezTo>
                    <a:pt x="15" y="194"/>
                    <a:pt x="18" y="187"/>
                    <a:pt x="19" y="184"/>
                  </a:cubicBezTo>
                  <a:cubicBezTo>
                    <a:pt x="20" y="183"/>
                    <a:pt x="20" y="183"/>
                    <a:pt x="20" y="183"/>
                  </a:cubicBezTo>
                  <a:cubicBezTo>
                    <a:pt x="21" y="180"/>
                    <a:pt x="22" y="175"/>
                    <a:pt x="30" y="175"/>
                  </a:cubicBezTo>
                  <a:cubicBezTo>
                    <a:pt x="31" y="175"/>
                    <a:pt x="33" y="175"/>
                    <a:pt x="34" y="175"/>
                  </a:cubicBezTo>
                  <a:cubicBezTo>
                    <a:pt x="40" y="177"/>
                    <a:pt x="46" y="177"/>
                    <a:pt x="50" y="176"/>
                  </a:cubicBezTo>
                  <a:cubicBezTo>
                    <a:pt x="50" y="174"/>
                    <a:pt x="51" y="173"/>
                    <a:pt x="52" y="171"/>
                  </a:cubicBezTo>
                  <a:cubicBezTo>
                    <a:pt x="52" y="171"/>
                    <a:pt x="52" y="171"/>
                    <a:pt x="52" y="171"/>
                  </a:cubicBezTo>
                  <a:cubicBezTo>
                    <a:pt x="51" y="168"/>
                    <a:pt x="47" y="163"/>
                    <a:pt x="42" y="159"/>
                  </a:cubicBezTo>
                  <a:cubicBezTo>
                    <a:pt x="33" y="152"/>
                    <a:pt x="36" y="146"/>
                    <a:pt x="38" y="143"/>
                  </a:cubicBezTo>
                  <a:cubicBezTo>
                    <a:pt x="39" y="142"/>
                    <a:pt x="39" y="142"/>
                    <a:pt x="39" y="142"/>
                  </a:cubicBezTo>
                  <a:cubicBezTo>
                    <a:pt x="40" y="140"/>
                    <a:pt x="43" y="136"/>
                    <a:pt x="48" y="136"/>
                  </a:cubicBezTo>
                  <a:cubicBezTo>
                    <a:pt x="50" y="136"/>
                    <a:pt x="52" y="136"/>
                    <a:pt x="55" y="137"/>
                  </a:cubicBezTo>
                  <a:cubicBezTo>
                    <a:pt x="60" y="139"/>
                    <a:pt x="66" y="141"/>
                    <a:pt x="70" y="141"/>
                  </a:cubicBezTo>
                  <a:cubicBezTo>
                    <a:pt x="71" y="139"/>
                    <a:pt x="72" y="137"/>
                    <a:pt x="73" y="136"/>
                  </a:cubicBezTo>
                  <a:cubicBezTo>
                    <a:pt x="72" y="132"/>
                    <a:pt x="69" y="127"/>
                    <a:pt x="65" y="123"/>
                  </a:cubicBezTo>
                  <a:cubicBezTo>
                    <a:pt x="57" y="114"/>
                    <a:pt x="61" y="109"/>
                    <a:pt x="64" y="106"/>
                  </a:cubicBezTo>
                  <a:cubicBezTo>
                    <a:pt x="64" y="105"/>
                    <a:pt x="64" y="105"/>
                    <a:pt x="64" y="105"/>
                  </a:cubicBezTo>
                  <a:cubicBezTo>
                    <a:pt x="66" y="103"/>
                    <a:pt x="68" y="100"/>
                    <a:pt x="73" y="100"/>
                  </a:cubicBezTo>
                  <a:cubicBezTo>
                    <a:pt x="75" y="100"/>
                    <a:pt x="78" y="101"/>
                    <a:pt x="81" y="103"/>
                  </a:cubicBezTo>
                  <a:cubicBezTo>
                    <a:pt x="86" y="106"/>
                    <a:pt x="92" y="108"/>
                    <a:pt x="95" y="108"/>
                  </a:cubicBezTo>
                  <a:cubicBezTo>
                    <a:pt x="96" y="107"/>
                    <a:pt x="98" y="106"/>
                    <a:pt x="99" y="104"/>
                  </a:cubicBezTo>
                  <a:cubicBezTo>
                    <a:pt x="99" y="101"/>
                    <a:pt x="96" y="95"/>
                    <a:pt x="93" y="90"/>
                  </a:cubicBezTo>
                  <a:cubicBezTo>
                    <a:pt x="87" y="81"/>
                    <a:pt x="92" y="76"/>
                    <a:pt x="95" y="74"/>
                  </a:cubicBezTo>
                  <a:cubicBezTo>
                    <a:pt x="95" y="73"/>
                    <a:pt x="95" y="73"/>
                    <a:pt x="95" y="73"/>
                  </a:cubicBezTo>
                  <a:cubicBezTo>
                    <a:pt x="97" y="71"/>
                    <a:pt x="99" y="69"/>
                    <a:pt x="103" y="69"/>
                  </a:cubicBezTo>
                  <a:cubicBezTo>
                    <a:pt x="106" y="69"/>
                    <a:pt x="109" y="70"/>
                    <a:pt x="112" y="73"/>
                  </a:cubicBezTo>
                  <a:cubicBezTo>
                    <a:pt x="117" y="77"/>
                    <a:pt x="122" y="80"/>
                    <a:pt x="125" y="81"/>
                  </a:cubicBezTo>
                  <a:cubicBezTo>
                    <a:pt x="127" y="79"/>
                    <a:pt x="128" y="78"/>
                    <a:pt x="130" y="77"/>
                  </a:cubicBezTo>
                  <a:cubicBezTo>
                    <a:pt x="130" y="73"/>
                    <a:pt x="128" y="68"/>
                    <a:pt x="126" y="62"/>
                  </a:cubicBezTo>
                  <a:cubicBezTo>
                    <a:pt x="121" y="52"/>
                    <a:pt x="127" y="48"/>
                    <a:pt x="130" y="46"/>
                  </a:cubicBezTo>
                  <a:cubicBezTo>
                    <a:pt x="131" y="46"/>
                    <a:pt x="131" y="46"/>
                    <a:pt x="131" y="46"/>
                  </a:cubicBezTo>
                  <a:cubicBezTo>
                    <a:pt x="133" y="45"/>
                    <a:pt x="135" y="43"/>
                    <a:pt x="138" y="43"/>
                  </a:cubicBezTo>
                  <a:cubicBezTo>
                    <a:pt x="141" y="43"/>
                    <a:pt x="144" y="45"/>
                    <a:pt x="147" y="49"/>
                  </a:cubicBezTo>
                  <a:cubicBezTo>
                    <a:pt x="151" y="53"/>
                    <a:pt x="156" y="57"/>
                    <a:pt x="159" y="58"/>
                  </a:cubicBezTo>
                  <a:cubicBezTo>
                    <a:pt x="161" y="57"/>
                    <a:pt x="163" y="56"/>
                    <a:pt x="165" y="55"/>
                  </a:cubicBezTo>
                  <a:cubicBezTo>
                    <a:pt x="165" y="52"/>
                    <a:pt x="165" y="46"/>
                    <a:pt x="163" y="40"/>
                  </a:cubicBezTo>
                  <a:cubicBezTo>
                    <a:pt x="160" y="29"/>
                    <a:pt x="166" y="26"/>
                    <a:pt x="170" y="25"/>
                  </a:cubicBezTo>
                  <a:cubicBezTo>
                    <a:pt x="171" y="24"/>
                    <a:pt x="171" y="24"/>
                    <a:pt x="171" y="24"/>
                  </a:cubicBezTo>
                  <a:cubicBezTo>
                    <a:pt x="172" y="24"/>
                    <a:pt x="174" y="23"/>
                    <a:pt x="176" y="23"/>
                  </a:cubicBezTo>
                  <a:cubicBezTo>
                    <a:pt x="180" y="23"/>
                    <a:pt x="183" y="25"/>
                    <a:pt x="186" y="30"/>
                  </a:cubicBezTo>
                  <a:cubicBezTo>
                    <a:pt x="189" y="35"/>
                    <a:pt x="193" y="39"/>
                    <a:pt x="196" y="41"/>
                  </a:cubicBezTo>
                  <a:cubicBezTo>
                    <a:pt x="198" y="40"/>
                    <a:pt x="200" y="40"/>
                    <a:pt x="202" y="39"/>
                  </a:cubicBezTo>
                  <a:cubicBezTo>
                    <a:pt x="203" y="36"/>
                    <a:pt x="204" y="30"/>
                    <a:pt x="203" y="24"/>
                  </a:cubicBezTo>
                  <a:cubicBezTo>
                    <a:pt x="201" y="12"/>
                    <a:pt x="208" y="11"/>
                    <a:pt x="212" y="10"/>
                  </a:cubicBezTo>
                  <a:cubicBezTo>
                    <a:pt x="213" y="10"/>
                    <a:pt x="213" y="10"/>
                    <a:pt x="213" y="10"/>
                  </a:cubicBezTo>
                  <a:cubicBezTo>
                    <a:pt x="214" y="9"/>
                    <a:pt x="216" y="9"/>
                    <a:pt x="217" y="9"/>
                  </a:cubicBezTo>
                  <a:cubicBezTo>
                    <a:pt x="222" y="9"/>
                    <a:pt x="225" y="12"/>
                    <a:pt x="227" y="17"/>
                  </a:cubicBezTo>
                  <a:cubicBezTo>
                    <a:pt x="230" y="23"/>
                    <a:pt x="233" y="28"/>
                    <a:pt x="236" y="30"/>
                  </a:cubicBezTo>
                  <a:cubicBezTo>
                    <a:pt x="238" y="30"/>
                    <a:pt x="240" y="29"/>
                    <a:pt x="241" y="29"/>
                  </a:cubicBezTo>
                  <a:cubicBezTo>
                    <a:pt x="242" y="29"/>
                    <a:pt x="242" y="29"/>
                    <a:pt x="242" y="29"/>
                  </a:cubicBezTo>
                  <a:cubicBezTo>
                    <a:pt x="243" y="26"/>
                    <a:pt x="245" y="20"/>
                    <a:pt x="245" y="14"/>
                  </a:cubicBezTo>
                  <a:cubicBezTo>
                    <a:pt x="245" y="3"/>
                    <a:pt x="252" y="2"/>
                    <a:pt x="256" y="2"/>
                  </a:cubicBezTo>
                  <a:cubicBezTo>
                    <a:pt x="257" y="2"/>
                    <a:pt x="257" y="2"/>
                    <a:pt x="257" y="2"/>
                  </a:cubicBezTo>
                  <a:cubicBezTo>
                    <a:pt x="258" y="1"/>
                    <a:pt x="259" y="1"/>
                    <a:pt x="260" y="1"/>
                  </a:cubicBezTo>
                  <a:cubicBezTo>
                    <a:pt x="265" y="1"/>
                    <a:pt x="269" y="5"/>
                    <a:pt x="270" y="11"/>
                  </a:cubicBezTo>
                  <a:cubicBezTo>
                    <a:pt x="272" y="17"/>
                    <a:pt x="274" y="23"/>
                    <a:pt x="276" y="25"/>
                  </a:cubicBezTo>
                  <a:cubicBezTo>
                    <a:pt x="278" y="25"/>
                    <a:pt x="280" y="25"/>
                    <a:pt x="283" y="25"/>
                  </a:cubicBezTo>
                  <a:cubicBezTo>
                    <a:pt x="285" y="22"/>
                    <a:pt x="287" y="17"/>
                    <a:pt x="288" y="11"/>
                  </a:cubicBezTo>
                  <a:cubicBezTo>
                    <a:pt x="289" y="4"/>
                    <a:pt x="293" y="0"/>
                    <a:pt x="299" y="0"/>
                  </a:cubicBezTo>
                  <a:cubicBezTo>
                    <a:pt x="299" y="0"/>
                    <a:pt x="300" y="0"/>
                    <a:pt x="301" y="0"/>
                  </a:cubicBezTo>
                  <a:cubicBezTo>
                    <a:pt x="302" y="0"/>
                    <a:pt x="302" y="0"/>
                    <a:pt x="302" y="0"/>
                  </a:cubicBezTo>
                  <a:cubicBezTo>
                    <a:pt x="305" y="1"/>
                    <a:pt x="312" y="1"/>
                    <a:pt x="313" y="12"/>
                  </a:cubicBezTo>
                  <a:cubicBezTo>
                    <a:pt x="314" y="18"/>
                    <a:pt x="316" y="24"/>
                    <a:pt x="317" y="27"/>
                  </a:cubicBezTo>
                  <a:cubicBezTo>
                    <a:pt x="319" y="27"/>
                    <a:pt x="321" y="28"/>
                    <a:pt x="323" y="28"/>
                  </a:cubicBezTo>
                  <a:cubicBezTo>
                    <a:pt x="326" y="25"/>
                    <a:pt x="329" y="20"/>
                    <a:pt x="331" y="15"/>
                  </a:cubicBezTo>
                  <a:cubicBezTo>
                    <a:pt x="333" y="9"/>
                    <a:pt x="336" y="6"/>
                    <a:pt x="341" y="6"/>
                  </a:cubicBezTo>
                  <a:cubicBezTo>
                    <a:pt x="343" y="6"/>
                    <a:pt x="344" y="6"/>
                    <a:pt x="345" y="6"/>
                  </a:cubicBezTo>
                  <a:cubicBezTo>
                    <a:pt x="346" y="6"/>
                    <a:pt x="346" y="6"/>
                    <a:pt x="346" y="6"/>
                  </a:cubicBezTo>
                  <a:cubicBezTo>
                    <a:pt x="350" y="7"/>
                    <a:pt x="357" y="8"/>
                    <a:pt x="356" y="20"/>
                  </a:cubicBezTo>
                  <a:cubicBezTo>
                    <a:pt x="355" y="26"/>
                    <a:pt x="356" y="32"/>
                    <a:pt x="357" y="35"/>
                  </a:cubicBezTo>
                  <a:cubicBezTo>
                    <a:pt x="359" y="36"/>
                    <a:pt x="361" y="36"/>
                    <a:pt x="363" y="37"/>
                  </a:cubicBezTo>
                  <a:cubicBezTo>
                    <a:pt x="366" y="35"/>
                    <a:pt x="370" y="30"/>
                    <a:pt x="373" y="25"/>
                  </a:cubicBezTo>
                  <a:cubicBezTo>
                    <a:pt x="376" y="20"/>
                    <a:pt x="379" y="18"/>
                    <a:pt x="383" y="18"/>
                  </a:cubicBezTo>
                  <a:cubicBezTo>
                    <a:pt x="385" y="18"/>
                    <a:pt x="387" y="18"/>
                    <a:pt x="388" y="19"/>
                  </a:cubicBezTo>
                  <a:cubicBezTo>
                    <a:pt x="389" y="19"/>
                    <a:pt x="389" y="19"/>
                    <a:pt x="389" y="19"/>
                  </a:cubicBezTo>
                  <a:cubicBezTo>
                    <a:pt x="393" y="21"/>
                    <a:pt x="399" y="23"/>
                    <a:pt x="396" y="34"/>
                  </a:cubicBezTo>
                  <a:cubicBezTo>
                    <a:pt x="395" y="40"/>
                    <a:pt x="395" y="46"/>
                    <a:pt x="396" y="49"/>
                  </a:cubicBezTo>
                  <a:cubicBezTo>
                    <a:pt x="397" y="50"/>
                    <a:pt x="399" y="51"/>
                    <a:pt x="401" y="52"/>
                  </a:cubicBezTo>
                  <a:cubicBezTo>
                    <a:pt x="401" y="52"/>
                    <a:pt x="401" y="52"/>
                    <a:pt x="401" y="52"/>
                  </a:cubicBezTo>
                  <a:cubicBezTo>
                    <a:pt x="404" y="50"/>
                    <a:pt x="409" y="46"/>
                    <a:pt x="413" y="42"/>
                  </a:cubicBezTo>
                  <a:cubicBezTo>
                    <a:pt x="416" y="38"/>
                    <a:pt x="419" y="36"/>
                    <a:pt x="422" y="36"/>
                  </a:cubicBezTo>
                  <a:cubicBezTo>
                    <a:pt x="425" y="36"/>
                    <a:pt x="427" y="37"/>
                    <a:pt x="429" y="38"/>
                  </a:cubicBezTo>
                  <a:cubicBezTo>
                    <a:pt x="430" y="39"/>
                    <a:pt x="430" y="39"/>
                    <a:pt x="430" y="39"/>
                  </a:cubicBezTo>
                  <a:cubicBezTo>
                    <a:pt x="433" y="41"/>
                    <a:pt x="439" y="44"/>
                    <a:pt x="434" y="55"/>
                  </a:cubicBezTo>
                  <a:cubicBezTo>
                    <a:pt x="432" y="60"/>
                    <a:pt x="431" y="66"/>
                    <a:pt x="431" y="69"/>
                  </a:cubicBezTo>
                  <a:cubicBezTo>
                    <a:pt x="433" y="71"/>
                    <a:pt x="435" y="72"/>
                    <a:pt x="436" y="73"/>
                  </a:cubicBezTo>
                  <a:cubicBezTo>
                    <a:pt x="440" y="72"/>
                    <a:pt x="445" y="69"/>
                    <a:pt x="449" y="65"/>
                  </a:cubicBezTo>
                  <a:cubicBezTo>
                    <a:pt x="452" y="62"/>
                    <a:pt x="455" y="60"/>
                    <a:pt x="458" y="60"/>
                  </a:cubicBezTo>
                  <a:cubicBezTo>
                    <a:pt x="462" y="60"/>
                    <a:pt x="464" y="62"/>
                    <a:pt x="466" y="64"/>
                  </a:cubicBezTo>
                  <a:cubicBezTo>
                    <a:pt x="466" y="64"/>
                    <a:pt x="466" y="64"/>
                    <a:pt x="466" y="64"/>
                  </a:cubicBezTo>
                  <a:cubicBezTo>
                    <a:pt x="469" y="66"/>
                    <a:pt x="475" y="71"/>
                    <a:pt x="469" y="81"/>
                  </a:cubicBezTo>
                  <a:cubicBezTo>
                    <a:pt x="466" y="86"/>
                    <a:pt x="464" y="91"/>
                    <a:pt x="463" y="95"/>
                  </a:cubicBezTo>
                  <a:cubicBezTo>
                    <a:pt x="465" y="96"/>
                    <a:pt x="466" y="98"/>
                    <a:pt x="468" y="99"/>
                  </a:cubicBezTo>
                  <a:cubicBezTo>
                    <a:pt x="471" y="98"/>
                    <a:pt x="477" y="96"/>
                    <a:pt x="482" y="93"/>
                  </a:cubicBezTo>
                  <a:cubicBezTo>
                    <a:pt x="485" y="91"/>
                    <a:pt x="488" y="90"/>
                    <a:pt x="490" y="90"/>
                  </a:cubicBezTo>
                  <a:cubicBezTo>
                    <a:pt x="494" y="90"/>
                    <a:pt x="497" y="93"/>
                    <a:pt x="498" y="94"/>
                  </a:cubicBezTo>
                  <a:cubicBezTo>
                    <a:pt x="499" y="95"/>
                    <a:pt x="499" y="95"/>
                    <a:pt x="499" y="95"/>
                  </a:cubicBezTo>
                  <a:cubicBezTo>
                    <a:pt x="502" y="98"/>
                    <a:pt x="506" y="103"/>
                    <a:pt x="499" y="112"/>
                  </a:cubicBezTo>
                  <a:cubicBezTo>
                    <a:pt x="495" y="116"/>
                    <a:pt x="492" y="121"/>
                    <a:pt x="491" y="125"/>
                  </a:cubicBezTo>
                  <a:cubicBezTo>
                    <a:pt x="491" y="125"/>
                    <a:pt x="491" y="125"/>
                    <a:pt x="491" y="125"/>
                  </a:cubicBezTo>
                  <a:cubicBezTo>
                    <a:pt x="493" y="127"/>
                    <a:pt x="494" y="128"/>
                    <a:pt x="495" y="130"/>
                  </a:cubicBezTo>
                  <a:cubicBezTo>
                    <a:pt x="498" y="130"/>
                    <a:pt x="504" y="128"/>
                    <a:pt x="510" y="126"/>
                  </a:cubicBezTo>
                  <a:cubicBezTo>
                    <a:pt x="512" y="125"/>
                    <a:pt x="515" y="124"/>
                    <a:pt x="517" y="124"/>
                  </a:cubicBezTo>
                  <a:cubicBezTo>
                    <a:pt x="522" y="124"/>
                    <a:pt x="524" y="128"/>
                    <a:pt x="526" y="130"/>
                  </a:cubicBezTo>
                  <a:cubicBezTo>
                    <a:pt x="526" y="131"/>
                    <a:pt x="526" y="131"/>
                    <a:pt x="526" y="131"/>
                  </a:cubicBezTo>
                  <a:cubicBezTo>
                    <a:pt x="528" y="134"/>
                    <a:pt x="532" y="140"/>
                    <a:pt x="523" y="147"/>
                  </a:cubicBezTo>
                  <a:cubicBezTo>
                    <a:pt x="519" y="151"/>
                    <a:pt x="515" y="156"/>
                    <a:pt x="514" y="159"/>
                  </a:cubicBezTo>
                  <a:cubicBezTo>
                    <a:pt x="515" y="161"/>
                    <a:pt x="516" y="163"/>
                    <a:pt x="517" y="164"/>
                  </a:cubicBezTo>
                  <a:cubicBezTo>
                    <a:pt x="520" y="165"/>
                    <a:pt x="526" y="164"/>
                    <a:pt x="532" y="163"/>
                  </a:cubicBezTo>
                  <a:cubicBezTo>
                    <a:pt x="534" y="162"/>
                    <a:pt x="536" y="162"/>
                    <a:pt x="537" y="162"/>
                  </a:cubicBezTo>
                  <a:cubicBezTo>
                    <a:pt x="544" y="162"/>
                    <a:pt x="546" y="167"/>
                    <a:pt x="547" y="169"/>
                  </a:cubicBezTo>
                  <a:cubicBezTo>
                    <a:pt x="547" y="170"/>
                    <a:pt x="547" y="170"/>
                    <a:pt x="547" y="170"/>
                  </a:cubicBezTo>
                  <a:cubicBezTo>
                    <a:pt x="549" y="174"/>
                    <a:pt x="552" y="180"/>
                    <a:pt x="542" y="186"/>
                  </a:cubicBezTo>
                  <a:cubicBezTo>
                    <a:pt x="537" y="189"/>
                    <a:pt x="533" y="193"/>
                    <a:pt x="531" y="196"/>
                  </a:cubicBezTo>
                  <a:cubicBezTo>
                    <a:pt x="531" y="198"/>
                    <a:pt x="532" y="200"/>
                    <a:pt x="533" y="202"/>
                  </a:cubicBezTo>
                  <a:cubicBezTo>
                    <a:pt x="536" y="203"/>
                    <a:pt x="542" y="203"/>
                    <a:pt x="548" y="203"/>
                  </a:cubicBezTo>
                  <a:cubicBezTo>
                    <a:pt x="549" y="203"/>
                    <a:pt x="550" y="203"/>
                    <a:pt x="551" y="203"/>
                  </a:cubicBezTo>
                  <a:cubicBezTo>
                    <a:pt x="560" y="203"/>
                    <a:pt x="561" y="208"/>
                    <a:pt x="562" y="212"/>
                  </a:cubicBezTo>
                  <a:cubicBezTo>
                    <a:pt x="562" y="213"/>
                    <a:pt x="562" y="213"/>
                    <a:pt x="562" y="213"/>
                  </a:cubicBezTo>
                  <a:cubicBezTo>
                    <a:pt x="563" y="216"/>
                    <a:pt x="565" y="223"/>
                    <a:pt x="555" y="227"/>
                  </a:cubicBezTo>
                  <a:cubicBezTo>
                    <a:pt x="549" y="230"/>
                    <a:pt x="544" y="233"/>
                    <a:pt x="542" y="236"/>
                  </a:cubicBezTo>
                  <a:cubicBezTo>
                    <a:pt x="542" y="237"/>
                    <a:pt x="542" y="239"/>
                    <a:pt x="543" y="241"/>
                  </a:cubicBezTo>
                  <a:cubicBezTo>
                    <a:pt x="543" y="241"/>
                    <a:pt x="543" y="241"/>
                    <a:pt x="543" y="241"/>
                  </a:cubicBezTo>
                  <a:cubicBezTo>
                    <a:pt x="546" y="243"/>
                    <a:pt x="552" y="244"/>
                    <a:pt x="558" y="245"/>
                  </a:cubicBezTo>
                  <a:cubicBezTo>
                    <a:pt x="569" y="245"/>
                    <a:pt x="570" y="252"/>
                    <a:pt x="570" y="256"/>
                  </a:cubicBezTo>
                  <a:cubicBezTo>
                    <a:pt x="570" y="257"/>
                    <a:pt x="570" y="257"/>
                    <a:pt x="570" y="257"/>
                  </a:cubicBezTo>
                  <a:cubicBezTo>
                    <a:pt x="571" y="260"/>
                    <a:pt x="572" y="267"/>
                    <a:pt x="560" y="270"/>
                  </a:cubicBezTo>
                  <a:cubicBezTo>
                    <a:pt x="555" y="272"/>
                    <a:pt x="549" y="274"/>
                    <a:pt x="546" y="276"/>
                  </a:cubicBezTo>
                  <a:cubicBezTo>
                    <a:pt x="547" y="278"/>
                    <a:pt x="547" y="280"/>
                    <a:pt x="547" y="282"/>
                  </a:cubicBezTo>
                  <a:cubicBezTo>
                    <a:pt x="550" y="284"/>
                    <a:pt x="555" y="286"/>
                    <a:pt x="561" y="288"/>
                  </a:cubicBezTo>
                  <a:cubicBezTo>
                    <a:pt x="572" y="290"/>
                    <a:pt x="572" y="297"/>
                    <a:pt x="571" y="301"/>
                  </a:cubicBezTo>
                  <a:cubicBezTo>
                    <a:pt x="571" y="302"/>
                    <a:pt x="571" y="302"/>
                    <a:pt x="571" y="302"/>
                  </a:cubicBezTo>
                  <a:cubicBezTo>
                    <a:pt x="571" y="305"/>
                    <a:pt x="571" y="312"/>
                    <a:pt x="559" y="313"/>
                  </a:cubicBezTo>
                  <a:cubicBezTo>
                    <a:pt x="554" y="314"/>
                    <a:pt x="548" y="315"/>
                    <a:pt x="545" y="317"/>
                  </a:cubicBezTo>
                  <a:cubicBezTo>
                    <a:pt x="545" y="319"/>
                    <a:pt x="544" y="321"/>
                    <a:pt x="544" y="323"/>
                  </a:cubicBezTo>
                  <a:cubicBezTo>
                    <a:pt x="547" y="326"/>
                    <a:pt x="552" y="329"/>
                    <a:pt x="557" y="331"/>
                  </a:cubicBezTo>
                  <a:cubicBezTo>
                    <a:pt x="568" y="335"/>
                    <a:pt x="567" y="341"/>
                    <a:pt x="566" y="345"/>
                  </a:cubicBezTo>
                  <a:cubicBezTo>
                    <a:pt x="565" y="346"/>
                    <a:pt x="565" y="346"/>
                    <a:pt x="565" y="346"/>
                  </a:cubicBezTo>
                  <a:cubicBezTo>
                    <a:pt x="565" y="349"/>
                    <a:pt x="564" y="356"/>
                    <a:pt x="554" y="356"/>
                  </a:cubicBezTo>
                  <a:cubicBezTo>
                    <a:pt x="553" y="356"/>
                    <a:pt x="553" y="356"/>
                    <a:pt x="552" y="356"/>
                  </a:cubicBezTo>
                  <a:cubicBezTo>
                    <a:pt x="551" y="355"/>
                    <a:pt x="550" y="355"/>
                    <a:pt x="549" y="355"/>
                  </a:cubicBezTo>
                  <a:cubicBezTo>
                    <a:pt x="544" y="355"/>
                    <a:pt x="540" y="356"/>
                    <a:pt x="537" y="357"/>
                  </a:cubicBezTo>
                  <a:cubicBezTo>
                    <a:pt x="536" y="359"/>
                    <a:pt x="536" y="361"/>
                    <a:pt x="535" y="363"/>
                  </a:cubicBezTo>
                  <a:cubicBezTo>
                    <a:pt x="535" y="363"/>
                    <a:pt x="535" y="363"/>
                    <a:pt x="535" y="363"/>
                  </a:cubicBezTo>
                  <a:cubicBezTo>
                    <a:pt x="537" y="366"/>
                    <a:pt x="542" y="370"/>
                    <a:pt x="547" y="373"/>
                  </a:cubicBezTo>
                  <a:cubicBezTo>
                    <a:pt x="557" y="378"/>
                    <a:pt x="554" y="385"/>
                    <a:pt x="553" y="388"/>
                  </a:cubicBezTo>
                  <a:cubicBezTo>
                    <a:pt x="553" y="389"/>
                    <a:pt x="553" y="389"/>
                    <a:pt x="553" y="389"/>
                  </a:cubicBezTo>
                  <a:cubicBezTo>
                    <a:pt x="552" y="392"/>
                    <a:pt x="550" y="397"/>
                    <a:pt x="543" y="397"/>
                  </a:cubicBezTo>
                  <a:cubicBezTo>
                    <a:pt x="541" y="397"/>
                    <a:pt x="539" y="397"/>
                    <a:pt x="538" y="396"/>
                  </a:cubicBezTo>
                  <a:cubicBezTo>
                    <a:pt x="532" y="395"/>
                    <a:pt x="526" y="395"/>
                    <a:pt x="523" y="395"/>
                  </a:cubicBezTo>
                  <a:cubicBezTo>
                    <a:pt x="522" y="397"/>
                    <a:pt x="521" y="399"/>
                    <a:pt x="520" y="400"/>
                  </a:cubicBezTo>
                  <a:cubicBezTo>
                    <a:pt x="520" y="401"/>
                    <a:pt x="520" y="401"/>
                    <a:pt x="520" y="401"/>
                  </a:cubicBezTo>
                  <a:cubicBezTo>
                    <a:pt x="522" y="404"/>
                    <a:pt x="525" y="409"/>
                    <a:pt x="530" y="412"/>
                  </a:cubicBezTo>
                  <a:cubicBezTo>
                    <a:pt x="539" y="419"/>
                    <a:pt x="536" y="425"/>
                    <a:pt x="534" y="428"/>
                  </a:cubicBezTo>
                  <a:cubicBezTo>
                    <a:pt x="533" y="429"/>
                    <a:pt x="533" y="429"/>
                    <a:pt x="533" y="429"/>
                  </a:cubicBezTo>
                  <a:cubicBezTo>
                    <a:pt x="532" y="432"/>
                    <a:pt x="530" y="436"/>
                    <a:pt x="524" y="436"/>
                  </a:cubicBezTo>
                  <a:cubicBezTo>
                    <a:pt x="522" y="436"/>
                    <a:pt x="520" y="435"/>
                    <a:pt x="517" y="434"/>
                  </a:cubicBezTo>
                  <a:cubicBezTo>
                    <a:pt x="512" y="432"/>
                    <a:pt x="506" y="431"/>
                    <a:pt x="502" y="431"/>
                  </a:cubicBezTo>
                  <a:cubicBezTo>
                    <a:pt x="501" y="433"/>
                    <a:pt x="500" y="434"/>
                    <a:pt x="499" y="436"/>
                  </a:cubicBezTo>
                  <a:cubicBezTo>
                    <a:pt x="500" y="439"/>
                    <a:pt x="503" y="444"/>
                    <a:pt x="507" y="449"/>
                  </a:cubicBezTo>
                  <a:cubicBezTo>
                    <a:pt x="515" y="457"/>
                    <a:pt x="511" y="463"/>
                    <a:pt x="508" y="465"/>
                  </a:cubicBezTo>
                  <a:cubicBezTo>
                    <a:pt x="508" y="466"/>
                    <a:pt x="508" y="466"/>
                    <a:pt x="508" y="466"/>
                  </a:cubicBezTo>
                  <a:cubicBezTo>
                    <a:pt x="506" y="468"/>
                    <a:pt x="504" y="471"/>
                    <a:pt x="499" y="471"/>
                  </a:cubicBezTo>
                  <a:cubicBezTo>
                    <a:pt x="497" y="471"/>
                    <a:pt x="494" y="470"/>
                    <a:pt x="491" y="469"/>
                  </a:cubicBezTo>
                  <a:cubicBezTo>
                    <a:pt x="486" y="466"/>
                    <a:pt x="481" y="464"/>
                    <a:pt x="477" y="463"/>
                  </a:cubicBezTo>
                  <a:cubicBezTo>
                    <a:pt x="476" y="465"/>
                    <a:pt x="474" y="466"/>
                    <a:pt x="473" y="468"/>
                  </a:cubicBezTo>
                  <a:cubicBezTo>
                    <a:pt x="473" y="471"/>
                    <a:pt x="476" y="476"/>
                    <a:pt x="479" y="482"/>
                  </a:cubicBezTo>
                  <a:cubicBezTo>
                    <a:pt x="486" y="491"/>
                    <a:pt x="480" y="496"/>
                    <a:pt x="478" y="498"/>
                  </a:cubicBezTo>
                  <a:cubicBezTo>
                    <a:pt x="477" y="499"/>
                    <a:pt x="477" y="499"/>
                    <a:pt x="477" y="499"/>
                  </a:cubicBezTo>
                  <a:cubicBezTo>
                    <a:pt x="475" y="500"/>
                    <a:pt x="473" y="503"/>
                    <a:pt x="469" y="503"/>
                  </a:cubicBezTo>
                  <a:cubicBezTo>
                    <a:pt x="466" y="503"/>
                    <a:pt x="463" y="501"/>
                    <a:pt x="460" y="498"/>
                  </a:cubicBezTo>
                  <a:cubicBezTo>
                    <a:pt x="456" y="495"/>
                    <a:pt x="450" y="492"/>
                    <a:pt x="447" y="491"/>
                  </a:cubicBezTo>
                  <a:cubicBezTo>
                    <a:pt x="445" y="492"/>
                    <a:pt x="444" y="493"/>
                    <a:pt x="442" y="495"/>
                  </a:cubicBezTo>
                  <a:cubicBezTo>
                    <a:pt x="442" y="498"/>
                    <a:pt x="444" y="504"/>
                    <a:pt x="446" y="509"/>
                  </a:cubicBezTo>
                  <a:cubicBezTo>
                    <a:pt x="451" y="520"/>
                    <a:pt x="445" y="523"/>
                    <a:pt x="442" y="525"/>
                  </a:cubicBezTo>
                  <a:cubicBezTo>
                    <a:pt x="441" y="526"/>
                    <a:pt x="441" y="526"/>
                    <a:pt x="441" y="526"/>
                  </a:cubicBezTo>
                  <a:cubicBezTo>
                    <a:pt x="439" y="527"/>
                    <a:pt x="437" y="529"/>
                    <a:pt x="434" y="529"/>
                  </a:cubicBezTo>
                  <a:cubicBezTo>
                    <a:pt x="431" y="529"/>
                    <a:pt x="428" y="527"/>
                    <a:pt x="425" y="523"/>
                  </a:cubicBezTo>
                  <a:cubicBezTo>
                    <a:pt x="421" y="519"/>
                    <a:pt x="416" y="515"/>
                    <a:pt x="413" y="513"/>
                  </a:cubicBezTo>
                  <a:cubicBezTo>
                    <a:pt x="411" y="514"/>
                    <a:pt x="409" y="515"/>
                    <a:pt x="408" y="516"/>
                  </a:cubicBezTo>
                  <a:cubicBezTo>
                    <a:pt x="407" y="520"/>
                    <a:pt x="408" y="526"/>
                    <a:pt x="409" y="532"/>
                  </a:cubicBezTo>
                  <a:cubicBezTo>
                    <a:pt x="412" y="543"/>
                    <a:pt x="406" y="545"/>
                    <a:pt x="403" y="547"/>
                  </a:cubicBezTo>
                  <a:cubicBezTo>
                    <a:pt x="402" y="547"/>
                    <a:pt x="402" y="547"/>
                    <a:pt x="402" y="547"/>
                  </a:cubicBezTo>
                  <a:cubicBezTo>
                    <a:pt x="400" y="548"/>
                    <a:pt x="398" y="549"/>
                    <a:pt x="396" y="549"/>
                  </a:cubicBezTo>
                  <a:cubicBezTo>
                    <a:pt x="392" y="549"/>
                    <a:pt x="389" y="547"/>
                    <a:pt x="386" y="542"/>
                  </a:cubicBezTo>
                  <a:cubicBezTo>
                    <a:pt x="383" y="537"/>
                    <a:pt x="379" y="532"/>
                    <a:pt x="376" y="531"/>
                  </a:cubicBezTo>
                  <a:cubicBezTo>
                    <a:pt x="374" y="531"/>
                    <a:pt x="372" y="532"/>
                    <a:pt x="370" y="533"/>
                  </a:cubicBezTo>
                  <a:cubicBezTo>
                    <a:pt x="369" y="536"/>
                    <a:pt x="369" y="542"/>
                    <a:pt x="369" y="548"/>
                  </a:cubicBezTo>
                  <a:cubicBezTo>
                    <a:pt x="371" y="559"/>
                    <a:pt x="364" y="561"/>
                    <a:pt x="360" y="562"/>
                  </a:cubicBezTo>
                  <a:cubicBezTo>
                    <a:pt x="359" y="562"/>
                    <a:pt x="359" y="562"/>
                    <a:pt x="359" y="562"/>
                  </a:cubicBezTo>
                  <a:cubicBezTo>
                    <a:pt x="358" y="562"/>
                    <a:pt x="356" y="563"/>
                    <a:pt x="355" y="563"/>
                  </a:cubicBezTo>
                  <a:cubicBezTo>
                    <a:pt x="350" y="563"/>
                    <a:pt x="347" y="560"/>
                    <a:pt x="345" y="554"/>
                  </a:cubicBezTo>
                  <a:cubicBezTo>
                    <a:pt x="342" y="549"/>
                    <a:pt x="339" y="544"/>
                    <a:pt x="336" y="542"/>
                  </a:cubicBezTo>
                  <a:cubicBezTo>
                    <a:pt x="334" y="542"/>
                    <a:pt x="332" y="542"/>
                    <a:pt x="330" y="543"/>
                  </a:cubicBezTo>
                  <a:cubicBezTo>
                    <a:pt x="329" y="546"/>
                    <a:pt x="327" y="552"/>
                    <a:pt x="327" y="558"/>
                  </a:cubicBezTo>
                  <a:cubicBezTo>
                    <a:pt x="327" y="569"/>
                    <a:pt x="320" y="570"/>
                    <a:pt x="316" y="570"/>
                  </a:cubicBezTo>
                  <a:cubicBezTo>
                    <a:pt x="315" y="570"/>
                    <a:pt x="315" y="570"/>
                    <a:pt x="315" y="570"/>
                  </a:cubicBezTo>
                  <a:cubicBezTo>
                    <a:pt x="314" y="570"/>
                    <a:pt x="313" y="570"/>
                    <a:pt x="312" y="570"/>
                  </a:cubicBezTo>
                  <a:cubicBezTo>
                    <a:pt x="307" y="570"/>
                    <a:pt x="304" y="567"/>
                    <a:pt x="302" y="560"/>
                  </a:cubicBezTo>
                  <a:cubicBezTo>
                    <a:pt x="300" y="554"/>
                    <a:pt x="298" y="549"/>
                    <a:pt x="296" y="546"/>
                  </a:cubicBezTo>
                  <a:cubicBezTo>
                    <a:pt x="294" y="546"/>
                    <a:pt x="292" y="546"/>
                    <a:pt x="290" y="546"/>
                  </a:cubicBezTo>
                  <a:cubicBezTo>
                    <a:pt x="288" y="549"/>
                    <a:pt x="285" y="555"/>
                    <a:pt x="284" y="561"/>
                  </a:cubicBezTo>
                  <a:cubicBezTo>
                    <a:pt x="283" y="568"/>
                    <a:pt x="279" y="571"/>
                    <a:pt x="274" y="571"/>
                  </a:cubicBezTo>
                  <a:close/>
                  <a:moveTo>
                    <a:pt x="248" y="539"/>
                  </a:moveTo>
                  <a:cubicBezTo>
                    <a:pt x="248" y="539"/>
                    <a:pt x="248" y="539"/>
                    <a:pt x="248" y="539"/>
                  </a:cubicBezTo>
                  <a:cubicBezTo>
                    <a:pt x="251" y="539"/>
                    <a:pt x="254" y="539"/>
                    <a:pt x="257" y="540"/>
                  </a:cubicBezTo>
                  <a:cubicBezTo>
                    <a:pt x="257" y="540"/>
                    <a:pt x="258" y="540"/>
                    <a:pt x="258" y="541"/>
                  </a:cubicBezTo>
                  <a:cubicBezTo>
                    <a:pt x="261" y="545"/>
                    <a:pt x="263" y="553"/>
                    <a:pt x="264" y="559"/>
                  </a:cubicBezTo>
                  <a:cubicBezTo>
                    <a:pt x="264" y="566"/>
                    <a:pt x="267" y="566"/>
                    <a:pt x="271" y="566"/>
                  </a:cubicBezTo>
                  <a:cubicBezTo>
                    <a:pt x="272" y="566"/>
                    <a:pt x="272" y="566"/>
                    <a:pt x="272" y="566"/>
                  </a:cubicBezTo>
                  <a:cubicBezTo>
                    <a:pt x="272" y="566"/>
                    <a:pt x="273" y="566"/>
                    <a:pt x="274" y="566"/>
                  </a:cubicBezTo>
                  <a:cubicBezTo>
                    <a:pt x="275" y="566"/>
                    <a:pt x="278" y="566"/>
                    <a:pt x="279" y="560"/>
                  </a:cubicBezTo>
                  <a:cubicBezTo>
                    <a:pt x="281" y="554"/>
                    <a:pt x="283" y="546"/>
                    <a:pt x="287" y="542"/>
                  </a:cubicBezTo>
                  <a:cubicBezTo>
                    <a:pt x="287" y="542"/>
                    <a:pt x="288" y="541"/>
                    <a:pt x="288" y="541"/>
                  </a:cubicBezTo>
                  <a:cubicBezTo>
                    <a:pt x="291" y="541"/>
                    <a:pt x="294" y="541"/>
                    <a:pt x="296" y="541"/>
                  </a:cubicBezTo>
                  <a:cubicBezTo>
                    <a:pt x="297" y="541"/>
                    <a:pt x="297" y="541"/>
                    <a:pt x="297" y="541"/>
                  </a:cubicBezTo>
                  <a:cubicBezTo>
                    <a:pt x="297" y="541"/>
                    <a:pt x="298" y="541"/>
                    <a:pt x="299" y="542"/>
                  </a:cubicBezTo>
                  <a:cubicBezTo>
                    <a:pt x="302" y="546"/>
                    <a:pt x="305" y="553"/>
                    <a:pt x="307" y="559"/>
                  </a:cubicBezTo>
                  <a:cubicBezTo>
                    <a:pt x="308" y="565"/>
                    <a:pt x="311" y="565"/>
                    <a:pt x="312" y="565"/>
                  </a:cubicBezTo>
                  <a:cubicBezTo>
                    <a:pt x="313" y="565"/>
                    <a:pt x="314" y="565"/>
                    <a:pt x="315" y="565"/>
                  </a:cubicBezTo>
                  <a:cubicBezTo>
                    <a:pt x="316" y="565"/>
                    <a:pt x="316" y="565"/>
                    <a:pt x="316" y="565"/>
                  </a:cubicBezTo>
                  <a:cubicBezTo>
                    <a:pt x="319" y="565"/>
                    <a:pt x="322" y="564"/>
                    <a:pt x="322" y="557"/>
                  </a:cubicBezTo>
                  <a:cubicBezTo>
                    <a:pt x="322" y="551"/>
                    <a:pt x="324" y="543"/>
                    <a:pt x="327" y="539"/>
                  </a:cubicBezTo>
                  <a:cubicBezTo>
                    <a:pt x="327" y="538"/>
                    <a:pt x="328" y="538"/>
                    <a:pt x="328" y="538"/>
                  </a:cubicBezTo>
                  <a:cubicBezTo>
                    <a:pt x="329" y="538"/>
                    <a:pt x="329" y="538"/>
                    <a:pt x="329" y="538"/>
                  </a:cubicBezTo>
                  <a:cubicBezTo>
                    <a:pt x="332" y="537"/>
                    <a:pt x="334" y="537"/>
                    <a:pt x="337" y="536"/>
                  </a:cubicBezTo>
                  <a:cubicBezTo>
                    <a:pt x="337" y="536"/>
                    <a:pt x="338" y="536"/>
                    <a:pt x="339" y="537"/>
                  </a:cubicBezTo>
                  <a:cubicBezTo>
                    <a:pt x="343" y="540"/>
                    <a:pt x="347" y="547"/>
                    <a:pt x="349" y="552"/>
                  </a:cubicBezTo>
                  <a:cubicBezTo>
                    <a:pt x="352" y="558"/>
                    <a:pt x="354" y="558"/>
                    <a:pt x="355" y="558"/>
                  </a:cubicBezTo>
                  <a:cubicBezTo>
                    <a:pt x="356" y="558"/>
                    <a:pt x="357" y="558"/>
                    <a:pt x="358" y="557"/>
                  </a:cubicBezTo>
                  <a:cubicBezTo>
                    <a:pt x="359" y="557"/>
                    <a:pt x="359" y="557"/>
                    <a:pt x="359" y="557"/>
                  </a:cubicBezTo>
                  <a:cubicBezTo>
                    <a:pt x="363" y="556"/>
                    <a:pt x="365" y="555"/>
                    <a:pt x="364" y="548"/>
                  </a:cubicBezTo>
                  <a:cubicBezTo>
                    <a:pt x="364" y="542"/>
                    <a:pt x="364" y="534"/>
                    <a:pt x="366" y="530"/>
                  </a:cubicBezTo>
                  <a:cubicBezTo>
                    <a:pt x="366" y="529"/>
                    <a:pt x="367" y="528"/>
                    <a:pt x="367" y="528"/>
                  </a:cubicBezTo>
                  <a:cubicBezTo>
                    <a:pt x="370" y="527"/>
                    <a:pt x="373" y="526"/>
                    <a:pt x="375" y="525"/>
                  </a:cubicBezTo>
                  <a:cubicBezTo>
                    <a:pt x="376" y="525"/>
                    <a:pt x="377" y="525"/>
                    <a:pt x="377" y="526"/>
                  </a:cubicBezTo>
                  <a:cubicBezTo>
                    <a:pt x="382" y="528"/>
                    <a:pt x="387" y="534"/>
                    <a:pt x="390" y="539"/>
                  </a:cubicBezTo>
                  <a:cubicBezTo>
                    <a:pt x="393" y="544"/>
                    <a:pt x="395" y="544"/>
                    <a:pt x="396" y="544"/>
                  </a:cubicBezTo>
                  <a:cubicBezTo>
                    <a:pt x="397" y="544"/>
                    <a:pt x="398" y="543"/>
                    <a:pt x="399" y="543"/>
                  </a:cubicBezTo>
                  <a:cubicBezTo>
                    <a:pt x="401" y="542"/>
                    <a:pt x="401" y="542"/>
                    <a:pt x="401" y="542"/>
                  </a:cubicBezTo>
                  <a:cubicBezTo>
                    <a:pt x="404" y="541"/>
                    <a:pt x="406" y="540"/>
                    <a:pt x="404" y="533"/>
                  </a:cubicBezTo>
                  <a:cubicBezTo>
                    <a:pt x="403" y="527"/>
                    <a:pt x="402" y="519"/>
                    <a:pt x="403" y="514"/>
                  </a:cubicBezTo>
                  <a:cubicBezTo>
                    <a:pt x="403" y="513"/>
                    <a:pt x="404" y="513"/>
                    <a:pt x="404" y="513"/>
                  </a:cubicBezTo>
                  <a:cubicBezTo>
                    <a:pt x="407" y="511"/>
                    <a:pt x="409" y="510"/>
                    <a:pt x="412" y="509"/>
                  </a:cubicBezTo>
                  <a:cubicBezTo>
                    <a:pt x="412" y="508"/>
                    <a:pt x="413" y="508"/>
                    <a:pt x="414" y="508"/>
                  </a:cubicBezTo>
                  <a:cubicBezTo>
                    <a:pt x="418" y="510"/>
                    <a:pt x="424" y="515"/>
                    <a:pt x="428" y="520"/>
                  </a:cubicBezTo>
                  <a:cubicBezTo>
                    <a:pt x="431" y="522"/>
                    <a:pt x="433" y="524"/>
                    <a:pt x="434" y="524"/>
                  </a:cubicBezTo>
                  <a:cubicBezTo>
                    <a:pt x="436" y="524"/>
                    <a:pt x="437" y="523"/>
                    <a:pt x="438" y="522"/>
                  </a:cubicBezTo>
                  <a:cubicBezTo>
                    <a:pt x="439" y="521"/>
                    <a:pt x="439" y="521"/>
                    <a:pt x="439" y="521"/>
                  </a:cubicBezTo>
                  <a:cubicBezTo>
                    <a:pt x="442" y="519"/>
                    <a:pt x="445" y="518"/>
                    <a:pt x="441" y="511"/>
                  </a:cubicBezTo>
                  <a:cubicBezTo>
                    <a:pt x="440" y="509"/>
                    <a:pt x="437" y="500"/>
                    <a:pt x="437" y="493"/>
                  </a:cubicBezTo>
                  <a:cubicBezTo>
                    <a:pt x="437" y="492"/>
                    <a:pt x="438" y="492"/>
                    <a:pt x="438" y="491"/>
                  </a:cubicBezTo>
                  <a:cubicBezTo>
                    <a:pt x="440" y="490"/>
                    <a:pt x="443" y="488"/>
                    <a:pt x="445" y="486"/>
                  </a:cubicBezTo>
                  <a:cubicBezTo>
                    <a:pt x="445" y="486"/>
                    <a:pt x="446" y="486"/>
                    <a:pt x="447" y="486"/>
                  </a:cubicBezTo>
                  <a:cubicBezTo>
                    <a:pt x="452" y="487"/>
                    <a:pt x="459" y="491"/>
                    <a:pt x="463" y="495"/>
                  </a:cubicBezTo>
                  <a:cubicBezTo>
                    <a:pt x="466" y="497"/>
                    <a:pt x="467" y="498"/>
                    <a:pt x="469" y="498"/>
                  </a:cubicBezTo>
                  <a:cubicBezTo>
                    <a:pt x="471" y="498"/>
                    <a:pt x="472" y="496"/>
                    <a:pt x="473" y="495"/>
                  </a:cubicBezTo>
                  <a:cubicBezTo>
                    <a:pt x="474" y="494"/>
                    <a:pt x="474" y="494"/>
                    <a:pt x="474" y="494"/>
                  </a:cubicBezTo>
                  <a:cubicBezTo>
                    <a:pt x="477" y="492"/>
                    <a:pt x="479" y="490"/>
                    <a:pt x="475" y="484"/>
                  </a:cubicBezTo>
                  <a:cubicBezTo>
                    <a:pt x="472" y="479"/>
                    <a:pt x="468" y="472"/>
                    <a:pt x="468" y="467"/>
                  </a:cubicBezTo>
                  <a:cubicBezTo>
                    <a:pt x="468" y="466"/>
                    <a:pt x="468" y="465"/>
                    <a:pt x="468" y="465"/>
                  </a:cubicBezTo>
                  <a:cubicBezTo>
                    <a:pt x="470" y="463"/>
                    <a:pt x="472" y="461"/>
                    <a:pt x="474" y="459"/>
                  </a:cubicBezTo>
                  <a:cubicBezTo>
                    <a:pt x="475" y="458"/>
                    <a:pt x="475" y="458"/>
                    <a:pt x="476" y="458"/>
                  </a:cubicBezTo>
                  <a:cubicBezTo>
                    <a:pt x="481" y="458"/>
                    <a:pt x="489" y="461"/>
                    <a:pt x="494" y="464"/>
                  </a:cubicBezTo>
                  <a:cubicBezTo>
                    <a:pt x="496" y="466"/>
                    <a:pt x="498" y="466"/>
                    <a:pt x="499" y="466"/>
                  </a:cubicBezTo>
                  <a:cubicBezTo>
                    <a:pt x="501" y="466"/>
                    <a:pt x="502" y="465"/>
                    <a:pt x="504" y="463"/>
                  </a:cubicBezTo>
                  <a:cubicBezTo>
                    <a:pt x="505" y="462"/>
                    <a:pt x="505" y="462"/>
                    <a:pt x="505" y="462"/>
                  </a:cubicBezTo>
                  <a:cubicBezTo>
                    <a:pt x="507" y="460"/>
                    <a:pt x="509" y="457"/>
                    <a:pt x="504" y="452"/>
                  </a:cubicBezTo>
                  <a:cubicBezTo>
                    <a:pt x="500" y="448"/>
                    <a:pt x="495" y="441"/>
                    <a:pt x="494" y="436"/>
                  </a:cubicBezTo>
                  <a:cubicBezTo>
                    <a:pt x="494" y="435"/>
                    <a:pt x="494" y="435"/>
                    <a:pt x="494" y="434"/>
                  </a:cubicBezTo>
                  <a:cubicBezTo>
                    <a:pt x="496" y="432"/>
                    <a:pt x="497" y="430"/>
                    <a:pt x="499" y="427"/>
                  </a:cubicBezTo>
                  <a:cubicBezTo>
                    <a:pt x="499" y="427"/>
                    <a:pt x="500" y="426"/>
                    <a:pt x="501" y="426"/>
                  </a:cubicBezTo>
                  <a:cubicBezTo>
                    <a:pt x="505" y="426"/>
                    <a:pt x="512" y="427"/>
                    <a:pt x="519" y="430"/>
                  </a:cubicBezTo>
                  <a:cubicBezTo>
                    <a:pt x="521" y="430"/>
                    <a:pt x="523" y="431"/>
                    <a:pt x="524" y="431"/>
                  </a:cubicBezTo>
                  <a:cubicBezTo>
                    <a:pt x="527" y="431"/>
                    <a:pt x="527" y="429"/>
                    <a:pt x="529" y="427"/>
                  </a:cubicBezTo>
                  <a:cubicBezTo>
                    <a:pt x="529" y="426"/>
                    <a:pt x="529" y="426"/>
                    <a:pt x="529" y="426"/>
                  </a:cubicBezTo>
                  <a:cubicBezTo>
                    <a:pt x="531" y="423"/>
                    <a:pt x="533" y="421"/>
                    <a:pt x="527" y="416"/>
                  </a:cubicBezTo>
                  <a:cubicBezTo>
                    <a:pt x="522" y="412"/>
                    <a:pt x="517" y="407"/>
                    <a:pt x="515" y="402"/>
                  </a:cubicBezTo>
                  <a:cubicBezTo>
                    <a:pt x="515" y="401"/>
                    <a:pt x="515" y="400"/>
                    <a:pt x="515" y="400"/>
                  </a:cubicBezTo>
                  <a:cubicBezTo>
                    <a:pt x="516" y="398"/>
                    <a:pt x="516" y="398"/>
                    <a:pt x="516" y="398"/>
                  </a:cubicBezTo>
                  <a:cubicBezTo>
                    <a:pt x="517" y="396"/>
                    <a:pt x="518" y="394"/>
                    <a:pt x="519" y="392"/>
                  </a:cubicBezTo>
                  <a:cubicBezTo>
                    <a:pt x="519" y="392"/>
                    <a:pt x="519" y="391"/>
                    <a:pt x="520" y="391"/>
                  </a:cubicBezTo>
                  <a:cubicBezTo>
                    <a:pt x="524" y="390"/>
                    <a:pt x="532" y="390"/>
                    <a:pt x="539" y="391"/>
                  </a:cubicBezTo>
                  <a:cubicBezTo>
                    <a:pt x="540" y="392"/>
                    <a:pt x="542" y="392"/>
                    <a:pt x="543" y="392"/>
                  </a:cubicBezTo>
                  <a:cubicBezTo>
                    <a:pt x="546" y="392"/>
                    <a:pt x="547" y="390"/>
                    <a:pt x="548" y="387"/>
                  </a:cubicBezTo>
                  <a:cubicBezTo>
                    <a:pt x="548" y="386"/>
                    <a:pt x="548" y="386"/>
                    <a:pt x="548" y="386"/>
                  </a:cubicBezTo>
                  <a:cubicBezTo>
                    <a:pt x="550" y="383"/>
                    <a:pt x="551" y="380"/>
                    <a:pt x="544" y="377"/>
                  </a:cubicBezTo>
                  <a:cubicBezTo>
                    <a:pt x="539" y="374"/>
                    <a:pt x="533" y="369"/>
                    <a:pt x="530" y="365"/>
                  </a:cubicBezTo>
                  <a:cubicBezTo>
                    <a:pt x="530" y="364"/>
                    <a:pt x="530" y="363"/>
                    <a:pt x="530" y="363"/>
                  </a:cubicBezTo>
                  <a:cubicBezTo>
                    <a:pt x="530" y="361"/>
                    <a:pt x="530" y="361"/>
                    <a:pt x="530" y="361"/>
                  </a:cubicBezTo>
                  <a:cubicBezTo>
                    <a:pt x="531" y="359"/>
                    <a:pt x="532" y="357"/>
                    <a:pt x="532" y="355"/>
                  </a:cubicBezTo>
                  <a:cubicBezTo>
                    <a:pt x="532" y="354"/>
                    <a:pt x="533" y="353"/>
                    <a:pt x="534" y="353"/>
                  </a:cubicBezTo>
                  <a:cubicBezTo>
                    <a:pt x="538" y="351"/>
                    <a:pt x="546" y="350"/>
                    <a:pt x="549" y="350"/>
                  </a:cubicBezTo>
                  <a:cubicBezTo>
                    <a:pt x="550" y="350"/>
                    <a:pt x="551" y="350"/>
                    <a:pt x="552" y="351"/>
                  </a:cubicBezTo>
                  <a:cubicBezTo>
                    <a:pt x="553" y="351"/>
                    <a:pt x="553" y="351"/>
                    <a:pt x="554" y="351"/>
                  </a:cubicBezTo>
                  <a:cubicBezTo>
                    <a:pt x="559" y="351"/>
                    <a:pt x="560" y="348"/>
                    <a:pt x="561" y="345"/>
                  </a:cubicBezTo>
                  <a:cubicBezTo>
                    <a:pt x="561" y="344"/>
                    <a:pt x="561" y="344"/>
                    <a:pt x="561" y="344"/>
                  </a:cubicBezTo>
                  <a:cubicBezTo>
                    <a:pt x="562" y="340"/>
                    <a:pt x="562" y="338"/>
                    <a:pt x="555" y="335"/>
                  </a:cubicBezTo>
                  <a:cubicBezTo>
                    <a:pt x="550" y="333"/>
                    <a:pt x="543" y="329"/>
                    <a:pt x="539" y="325"/>
                  </a:cubicBezTo>
                  <a:cubicBezTo>
                    <a:pt x="539" y="325"/>
                    <a:pt x="539" y="324"/>
                    <a:pt x="539" y="324"/>
                  </a:cubicBezTo>
                  <a:cubicBezTo>
                    <a:pt x="539" y="321"/>
                    <a:pt x="540" y="318"/>
                    <a:pt x="540" y="315"/>
                  </a:cubicBezTo>
                  <a:cubicBezTo>
                    <a:pt x="540" y="315"/>
                    <a:pt x="540" y="314"/>
                    <a:pt x="541" y="314"/>
                  </a:cubicBezTo>
                  <a:cubicBezTo>
                    <a:pt x="545" y="311"/>
                    <a:pt x="553" y="309"/>
                    <a:pt x="559" y="308"/>
                  </a:cubicBezTo>
                  <a:cubicBezTo>
                    <a:pt x="566" y="308"/>
                    <a:pt x="566" y="305"/>
                    <a:pt x="566" y="301"/>
                  </a:cubicBezTo>
                  <a:cubicBezTo>
                    <a:pt x="566" y="300"/>
                    <a:pt x="566" y="300"/>
                    <a:pt x="566" y="300"/>
                  </a:cubicBezTo>
                  <a:cubicBezTo>
                    <a:pt x="567" y="297"/>
                    <a:pt x="567" y="294"/>
                    <a:pt x="560" y="293"/>
                  </a:cubicBezTo>
                  <a:cubicBezTo>
                    <a:pt x="554" y="291"/>
                    <a:pt x="546" y="289"/>
                    <a:pt x="543" y="285"/>
                  </a:cubicBezTo>
                  <a:cubicBezTo>
                    <a:pt x="542" y="285"/>
                    <a:pt x="542" y="284"/>
                    <a:pt x="542" y="283"/>
                  </a:cubicBezTo>
                  <a:cubicBezTo>
                    <a:pt x="542" y="281"/>
                    <a:pt x="542" y="278"/>
                    <a:pt x="541" y="275"/>
                  </a:cubicBezTo>
                  <a:cubicBezTo>
                    <a:pt x="541" y="275"/>
                    <a:pt x="542" y="274"/>
                    <a:pt x="542" y="273"/>
                  </a:cubicBezTo>
                  <a:cubicBezTo>
                    <a:pt x="546" y="270"/>
                    <a:pt x="553" y="267"/>
                    <a:pt x="559" y="265"/>
                  </a:cubicBezTo>
                  <a:cubicBezTo>
                    <a:pt x="566" y="263"/>
                    <a:pt x="566" y="261"/>
                    <a:pt x="565" y="257"/>
                  </a:cubicBezTo>
                  <a:cubicBezTo>
                    <a:pt x="565" y="256"/>
                    <a:pt x="565" y="256"/>
                    <a:pt x="565" y="256"/>
                  </a:cubicBezTo>
                  <a:cubicBezTo>
                    <a:pt x="565" y="252"/>
                    <a:pt x="565" y="250"/>
                    <a:pt x="558" y="250"/>
                  </a:cubicBezTo>
                  <a:cubicBezTo>
                    <a:pt x="552" y="249"/>
                    <a:pt x="544" y="248"/>
                    <a:pt x="539" y="245"/>
                  </a:cubicBezTo>
                  <a:cubicBezTo>
                    <a:pt x="539" y="245"/>
                    <a:pt x="538" y="244"/>
                    <a:pt x="538" y="244"/>
                  </a:cubicBezTo>
                  <a:cubicBezTo>
                    <a:pt x="538" y="241"/>
                    <a:pt x="538" y="241"/>
                    <a:pt x="538" y="241"/>
                  </a:cubicBezTo>
                  <a:cubicBezTo>
                    <a:pt x="537" y="239"/>
                    <a:pt x="537" y="237"/>
                    <a:pt x="537" y="235"/>
                  </a:cubicBezTo>
                  <a:cubicBezTo>
                    <a:pt x="537" y="235"/>
                    <a:pt x="537" y="234"/>
                    <a:pt x="537" y="233"/>
                  </a:cubicBezTo>
                  <a:cubicBezTo>
                    <a:pt x="540" y="229"/>
                    <a:pt x="547" y="225"/>
                    <a:pt x="553" y="223"/>
                  </a:cubicBezTo>
                  <a:cubicBezTo>
                    <a:pt x="559" y="220"/>
                    <a:pt x="558" y="217"/>
                    <a:pt x="557" y="214"/>
                  </a:cubicBezTo>
                  <a:cubicBezTo>
                    <a:pt x="557" y="213"/>
                    <a:pt x="557" y="213"/>
                    <a:pt x="557" y="213"/>
                  </a:cubicBezTo>
                  <a:cubicBezTo>
                    <a:pt x="556" y="210"/>
                    <a:pt x="556" y="208"/>
                    <a:pt x="551" y="208"/>
                  </a:cubicBezTo>
                  <a:cubicBezTo>
                    <a:pt x="550" y="208"/>
                    <a:pt x="550" y="208"/>
                    <a:pt x="549" y="208"/>
                  </a:cubicBezTo>
                  <a:cubicBezTo>
                    <a:pt x="546" y="208"/>
                    <a:pt x="544" y="208"/>
                    <a:pt x="542" y="208"/>
                  </a:cubicBezTo>
                  <a:cubicBezTo>
                    <a:pt x="538" y="208"/>
                    <a:pt x="533" y="208"/>
                    <a:pt x="530" y="206"/>
                  </a:cubicBezTo>
                  <a:cubicBezTo>
                    <a:pt x="529" y="206"/>
                    <a:pt x="529" y="205"/>
                    <a:pt x="528" y="205"/>
                  </a:cubicBezTo>
                  <a:cubicBezTo>
                    <a:pt x="528" y="202"/>
                    <a:pt x="527" y="199"/>
                    <a:pt x="526" y="197"/>
                  </a:cubicBezTo>
                  <a:cubicBezTo>
                    <a:pt x="525" y="196"/>
                    <a:pt x="525" y="195"/>
                    <a:pt x="526" y="195"/>
                  </a:cubicBezTo>
                  <a:cubicBezTo>
                    <a:pt x="528" y="190"/>
                    <a:pt x="534" y="185"/>
                    <a:pt x="539" y="182"/>
                  </a:cubicBezTo>
                  <a:cubicBezTo>
                    <a:pt x="546" y="178"/>
                    <a:pt x="544" y="176"/>
                    <a:pt x="543" y="172"/>
                  </a:cubicBezTo>
                  <a:cubicBezTo>
                    <a:pt x="542" y="171"/>
                    <a:pt x="542" y="171"/>
                    <a:pt x="542" y="171"/>
                  </a:cubicBezTo>
                  <a:cubicBezTo>
                    <a:pt x="541" y="168"/>
                    <a:pt x="540" y="167"/>
                    <a:pt x="537" y="167"/>
                  </a:cubicBezTo>
                  <a:cubicBezTo>
                    <a:pt x="536" y="167"/>
                    <a:pt x="535" y="167"/>
                    <a:pt x="533" y="168"/>
                  </a:cubicBezTo>
                  <a:cubicBezTo>
                    <a:pt x="528" y="169"/>
                    <a:pt x="523" y="170"/>
                    <a:pt x="520" y="170"/>
                  </a:cubicBezTo>
                  <a:cubicBezTo>
                    <a:pt x="518" y="170"/>
                    <a:pt x="516" y="169"/>
                    <a:pt x="514" y="169"/>
                  </a:cubicBezTo>
                  <a:cubicBezTo>
                    <a:pt x="514" y="169"/>
                    <a:pt x="513" y="168"/>
                    <a:pt x="513" y="168"/>
                  </a:cubicBezTo>
                  <a:cubicBezTo>
                    <a:pt x="512" y="165"/>
                    <a:pt x="510" y="163"/>
                    <a:pt x="509" y="160"/>
                  </a:cubicBezTo>
                  <a:cubicBezTo>
                    <a:pt x="508" y="160"/>
                    <a:pt x="508" y="159"/>
                    <a:pt x="509" y="158"/>
                  </a:cubicBezTo>
                  <a:cubicBezTo>
                    <a:pt x="510" y="153"/>
                    <a:pt x="516" y="147"/>
                    <a:pt x="520" y="143"/>
                  </a:cubicBezTo>
                  <a:cubicBezTo>
                    <a:pt x="525" y="139"/>
                    <a:pt x="524" y="136"/>
                    <a:pt x="522" y="134"/>
                  </a:cubicBezTo>
                  <a:cubicBezTo>
                    <a:pt x="521" y="133"/>
                    <a:pt x="521" y="133"/>
                    <a:pt x="521" y="133"/>
                  </a:cubicBezTo>
                  <a:cubicBezTo>
                    <a:pt x="520" y="130"/>
                    <a:pt x="519" y="129"/>
                    <a:pt x="517" y="129"/>
                  </a:cubicBezTo>
                  <a:cubicBezTo>
                    <a:pt x="515" y="129"/>
                    <a:pt x="514" y="129"/>
                    <a:pt x="512" y="130"/>
                  </a:cubicBezTo>
                  <a:cubicBezTo>
                    <a:pt x="505" y="133"/>
                    <a:pt x="498" y="135"/>
                    <a:pt x="493" y="135"/>
                  </a:cubicBezTo>
                  <a:cubicBezTo>
                    <a:pt x="493" y="135"/>
                    <a:pt x="492" y="134"/>
                    <a:pt x="492" y="134"/>
                  </a:cubicBezTo>
                  <a:cubicBezTo>
                    <a:pt x="490" y="132"/>
                    <a:pt x="489" y="130"/>
                    <a:pt x="487" y="128"/>
                  </a:cubicBezTo>
                  <a:cubicBezTo>
                    <a:pt x="486" y="127"/>
                    <a:pt x="486" y="127"/>
                    <a:pt x="486" y="127"/>
                  </a:cubicBezTo>
                  <a:cubicBezTo>
                    <a:pt x="486" y="127"/>
                    <a:pt x="486" y="126"/>
                    <a:pt x="486" y="125"/>
                  </a:cubicBezTo>
                  <a:cubicBezTo>
                    <a:pt x="487" y="120"/>
                    <a:pt x="491" y="113"/>
                    <a:pt x="495" y="109"/>
                  </a:cubicBezTo>
                  <a:cubicBezTo>
                    <a:pt x="500" y="103"/>
                    <a:pt x="498" y="101"/>
                    <a:pt x="495" y="99"/>
                  </a:cubicBezTo>
                  <a:cubicBezTo>
                    <a:pt x="494" y="98"/>
                    <a:pt x="494" y="98"/>
                    <a:pt x="494" y="98"/>
                  </a:cubicBezTo>
                  <a:cubicBezTo>
                    <a:pt x="493" y="96"/>
                    <a:pt x="492" y="95"/>
                    <a:pt x="490" y="95"/>
                  </a:cubicBezTo>
                  <a:cubicBezTo>
                    <a:pt x="489" y="95"/>
                    <a:pt x="487" y="95"/>
                    <a:pt x="485" y="97"/>
                  </a:cubicBezTo>
                  <a:cubicBezTo>
                    <a:pt x="479" y="100"/>
                    <a:pt x="472" y="104"/>
                    <a:pt x="467" y="104"/>
                  </a:cubicBezTo>
                  <a:cubicBezTo>
                    <a:pt x="466" y="104"/>
                    <a:pt x="466" y="104"/>
                    <a:pt x="465" y="103"/>
                  </a:cubicBezTo>
                  <a:cubicBezTo>
                    <a:pt x="463" y="102"/>
                    <a:pt x="461" y="100"/>
                    <a:pt x="459" y="98"/>
                  </a:cubicBezTo>
                  <a:cubicBezTo>
                    <a:pt x="459" y="97"/>
                    <a:pt x="458" y="97"/>
                    <a:pt x="458" y="96"/>
                  </a:cubicBezTo>
                  <a:cubicBezTo>
                    <a:pt x="458" y="91"/>
                    <a:pt x="462" y="83"/>
                    <a:pt x="465" y="78"/>
                  </a:cubicBezTo>
                  <a:cubicBezTo>
                    <a:pt x="468" y="72"/>
                    <a:pt x="466" y="70"/>
                    <a:pt x="463" y="68"/>
                  </a:cubicBezTo>
                  <a:cubicBezTo>
                    <a:pt x="462" y="67"/>
                    <a:pt x="462" y="67"/>
                    <a:pt x="462" y="67"/>
                  </a:cubicBezTo>
                  <a:cubicBezTo>
                    <a:pt x="461" y="66"/>
                    <a:pt x="460" y="65"/>
                    <a:pt x="458" y="65"/>
                  </a:cubicBezTo>
                  <a:cubicBezTo>
                    <a:pt x="457" y="65"/>
                    <a:pt x="455" y="66"/>
                    <a:pt x="453" y="68"/>
                  </a:cubicBezTo>
                  <a:cubicBezTo>
                    <a:pt x="448" y="72"/>
                    <a:pt x="441" y="77"/>
                    <a:pt x="436" y="78"/>
                  </a:cubicBezTo>
                  <a:cubicBezTo>
                    <a:pt x="436" y="78"/>
                    <a:pt x="435" y="78"/>
                    <a:pt x="434" y="78"/>
                  </a:cubicBezTo>
                  <a:cubicBezTo>
                    <a:pt x="432" y="76"/>
                    <a:pt x="430" y="74"/>
                    <a:pt x="428" y="73"/>
                  </a:cubicBezTo>
                  <a:cubicBezTo>
                    <a:pt x="427" y="73"/>
                    <a:pt x="427" y="72"/>
                    <a:pt x="426" y="71"/>
                  </a:cubicBezTo>
                  <a:cubicBezTo>
                    <a:pt x="426" y="66"/>
                    <a:pt x="428" y="58"/>
                    <a:pt x="430" y="53"/>
                  </a:cubicBezTo>
                  <a:cubicBezTo>
                    <a:pt x="433" y="46"/>
                    <a:pt x="430" y="45"/>
                    <a:pt x="427" y="43"/>
                  </a:cubicBezTo>
                  <a:cubicBezTo>
                    <a:pt x="426" y="42"/>
                    <a:pt x="426" y="42"/>
                    <a:pt x="426" y="42"/>
                  </a:cubicBezTo>
                  <a:cubicBezTo>
                    <a:pt x="425" y="42"/>
                    <a:pt x="423" y="41"/>
                    <a:pt x="422" y="41"/>
                  </a:cubicBezTo>
                  <a:cubicBezTo>
                    <a:pt x="420" y="41"/>
                    <a:pt x="419" y="42"/>
                    <a:pt x="416" y="45"/>
                  </a:cubicBezTo>
                  <a:cubicBezTo>
                    <a:pt x="413" y="50"/>
                    <a:pt x="407" y="55"/>
                    <a:pt x="402" y="57"/>
                  </a:cubicBezTo>
                  <a:cubicBezTo>
                    <a:pt x="401" y="57"/>
                    <a:pt x="401" y="57"/>
                    <a:pt x="400" y="57"/>
                  </a:cubicBezTo>
                  <a:cubicBezTo>
                    <a:pt x="399" y="56"/>
                    <a:pt x="399" y="56"/>
                    <a:pt x="399" y="56"/>
                  </a:cubicBezTo>
                  <a:cubicBezTo>
                    <a:pt x="397" y="55"/>
                    <a:pt x="395" y="54"/>
                    <a:pt x="392" y="53"/>
                  </a:cubicBezTo>
                  <a:cubicBezTo>
                    <a:pt x="392" y="53"/>
                    <a:pt x="391" y="52"/>
                    <a:pt x="391" y="52"/>
                  </a:cubicBezTo>
                  <a:cubicBezTo>
                    <a:pt x="390" y="47"/>
                    <a:pt x="390" y="39"/>
                    <a:pt x="392" y="33"/>
                  </a:cubicBezTo>
                  <a:cubicBezTo>
                    <a:pt x="393" y="26"/>
                    <a:pt x="391" y="25"/>
                    <a:pt x="387" y="24"/>
                  </a:cubicBezTo>
                  <a:cubicBezTo>
                    <a:pt x="386" y="24"/>
                    <a:pt x="386" y="24"/>
                    <a:pt x="386" y="24"/>
                  </a:cubicBezTo>
                  <a:cubicBezTo>
                    <a:pt x="385" y="23"/>
                    <a:pt x="384" y="23"/>
                    <a:pt x="383" y="23"/>
                  </a:cubicBezTo>
                  <a:cubicBezTo>
                    <a:pt x="382" y="23"/>
                    <a:pt x="380" y="23"/>
                    <a:pt x="377" y="27"/>
                  </a:cubicBezTo>
                  <a:cubicBezTo>
                    <a:pt x="374" y="33"/>
                    <a:pt x="369" y="39"/>
                    <a:pt x="365" y="42"/>
                  </a:cubicBezTo>
                  <a:cubicBezTo>
                    <a:pt x="364" y="42"/>
                    <a:pt x="364" y="42"/>
                    <a:pt x="363" y="42"/>
                  </a:cubicBezTo>
                  <a:cubicBezTo>
                    <a:pt x="360" y="41"/>
                    <a:pt x="358" y="40"/>
                    <a:pt x="355" y="40"/>
                  </a:cubicBezTo>
                  <a:cubicBezTo>
                    <a:pt x="354" y="39"/>
                    <a:pt x="354" y="39"/>
                    <a:pt x="353" y="38"/>
                  </a:cubicBezTo>
                  <a:cubicBezTo>
                    <a:pt x="351" y="34"/>
                    <a:pt x="350" y="26"/>
                    <a:pt x="351" y="20"/>
                  </a:cubicBezTo>
                  <a:cubicBezTo>
                    <a:pt x="351" y="13"/>
                    <a:pt x="349" y="12"/>
                    <a:pt x="345" y="11"/>
                  </a:cubicBezTo>
                  <a:cubicBezTo>
                    <a:pt x="344" y="11"/>
                    <a:pt x="344" y="11"/>
                    <a:pt x="344" y="11"/>
                  </a:cubicBezTo>
                  <a:cubicBezTo>
                    <a:pt x="343" y="11"/>
                    <a:pt x="342" y="11"/>
                    <a:pt x="341" y="11"/>
                  </a:cubicBezTo>
                  <a:cubicBezTo>
                    <a:pt x="340" y="11"/>
                    <a:pt x="338" y="11"/>
                    <a:pt x="336" y="16"/>
                  </a:cubicBezTo>
                  <a:cubicBezTo>
                    <a:pt x="333" y="22"/>
                    <a:pt x="330" y="29"/>
                    <a:pt x="326" y="32"/>
                  </a:cubicBezTo>
                  <a:cubicBezTo>
                    <a:pt x="325" y="33"/>
                    <a:pt x="324" y="33"/>
                    <a:pt x="324" y="33"/>
                  </a:cubicBezTo>
                  <a:cubicBezTo>
                    <a:pt x="321" y="33"/>
                    <a:pt x="318" y="32"/>
                    <a:pt x="316" y="32"/>
                  </a:cubicBezTo>
                  <a:cubicBezTo>
                    <a:pt x="315" y="32"/>
                    <a:pt x="314" y="31"/>
                    <a:pt x="314" y="31"/>
                  </a:cubicBezTo>
                  <a:cubicBezTo>
                    <a:pt x="311" y="27"/>
                    <a:pt x="309" y="19"/>
                    <a:pt x="308" y="13"/>
                  </a:cubicBezTo>
                  <a:cubicBezTo>
                    <a:pt x="308" y="6"/>
                    <a:pt x="305" y="6"/>
                    <a:pt x="302" y="5"/>
                  </a:cubicBezTo>
                  <a:cubicBezTo>
                    <a:pt x="300" y="5"/>
                    <a:pt x="300" y="5"/>
                    <a:pt x="300" y="5"/>
                  </a:cubicBezTo>
                  <a:cubicBezTo>
                    <a:pt x="300" y="5"/>
                    <a:pt x="299" y="5"/>
                    <a:pt x="299" y="5"/>
                  </a:cubicBezTo>
                  <a:cubicBezTo>
                    <a:pt x="297" y="5"/>
                    <a:pt x="294" y="5"/>
                    <a:pt x="293" y="12"/>
                  </a:cubicBezTo>
                  <a:cubicBezTo>
                    <a:pt x="292" y="18"/>
                    <a:pt x="289" y="26"/>
                    <a:pt x="286" y="29"/>
                  </a:cubicBezTo>
                  <a:cubicBezTo>
                    <a:pt x="285" y="30"/>
                    <a:pt x="284" y="30"/>
                    <a:pt x="284" y="30"/>
                  </a:cubicBezTo>
                  <a:cubicBezTo>
                    <a:pt x="281" y="30"/>
                    <a:pt x="278" y="30"/>
                    <a:pt x="276" y="30"/>
                  </a:cubicBezTo>
                  <a:cubicBezTo>
                    <a:pt x="275" y="30"/>
                    <a:pt x="274" y="30"/>
                    <a:pt x="274" y="30"/>
                  </a:cubicBezTo>
                  <a:cubicBezTo>
                    <a:pt x="270" y="26"/>
                    <a:pt x="267" y="19"/>
                    <a:pt x="265" y="13"/>
                  </a:cubicBezTo>
                  <a:cubicBezTo>
                    <a:pt x="264" y="6"/>
                    <a:pt x="261" y="6"/>
                    <a:pt x="260" y="6"/>
                  </a:cubicBezTo>
                  <a:cubicBezTo>
                    <a:pt x="259" y="6"/>
                    <a:pt x="258" y="6"/>
                    <a:pt x="258" y="6"/>
                  </a:cubicBezTo>
                  <a:cubicBezTo>
                    <a:pt x="256" y="7"/>
                    <a:pt x="256" y="7"/>
                    <a:pt x="256" y="7"/>
                  </a:cubicBezTo>
                  <a:cubicBezTo>
                    <a:pt x="253" y="7"/>
                    <a:pt x="250" y="7"/>
                    <a:pt x="250" y="14"/>
                  </a:cubicBezTo>
                  <a:cubicBezTo>
                    <a:pt x="250" y="20"/>
                    <a:pt x="248" y="28"/>
                    <a:pt x="245" y="33"/>
                  </a:cubicBezTo>
                  <a:cubicBezTo>
                    <a:pt x="245" y="33"/>
                    <a:pt x="244" y="34"/>
                    <a:pt x="244" y="34"/>
                  </a:cubicBezTo>
                  <a:cubicBezTo>
                    <a:pt x="242" y="34"/>
                    <a:pt x="242" y="34"/>
                    <a:pt x="242" y="34"/>
                  </a:cubicBezTo>
                  <a:cubicBezTo>
                    <a:pt x="240" y="34"/>
                    <a:pt x="238" y="35"/>
                    <a:pt x="236" y="35"/>
                  </a:cubicBezTo>
                  <a:cubicBezTo>
                    <a:pt x="235" y="35"/>
                    <a:pt x="234" y="35"/>
                    <a:pt x="234" y="35"/>
                  </a:cubicBezTo>
                  <a:cubicBezTo>
                    <a:pt x="229" y="32"/>
                    <a:pt x="225" y="25"/>
                    <a:pt x="223" y="19"/>
                  </a:cubicBezTo>
                  <a:cubicBezTo>
                    <a:pt x="221" y="14"/>
                    <a:pt x="218" y="14"/>
                    <a:pt x="217" y="14"/>
                  </a:cubicBezTo>
                  <a:cubicBezTo>
                    <a:pt x="216" y="14"/>
                    <a:pt x="215" y="14"/>
                    <a:pt x="214" y="14"/>
                  </a:cubicBezTo>
                  <a:cubicBezTo>
                    <a:pt x="213" y="15"/>
                    <a:pt x="213" y="15"/>
                    <a:pt x="213" y="15"/>
                  </a:cubicBezTo>
                  <a:cubicBezTo>
                    <a:pt x="210" y="16"/>
                    <a:pt x="207" y="16"/>
                    <a:pt x="208" y="23"/>
                  </a:cubicBezTo>
                  <a:cubicBezTo>
                    <a:pt x="209" y="29"/>
                    <a:pt x="208" y="37"/>
                    <a:pt x="206" y="42"/>
                  </a:cubicBezTo>
                  <a:cubicBezTo>
                    <a:pt x="206" y="43"/>
                    <a:pt x="206" y="43"/>
                    <a:pt x="205" y="43"/>
                  </a:cubicBezTo>
                  <a:cubicBezTo>
                    <a:pt x="202" y="44"/>
                    <a:pt x="200" y="45"/>
                    <a:pt x="197" y="46"/>
                  </a:cubicBezTo>
                  <a:cubicBezTo>
                    <a:pt x="196" y="46"/>
                    <a:pt x="196" y="46"/>
                    <a:pt x="195" y="46"/>
                  </a:cubicBezTo>
                  <a:cubicBezTo>
                    <a:pt x="190" y="44"/>
                    <a:pt x="185" y="38"/>
                    <a:pt x="182" y="32"/>
                  </a:cubicBezTo>
                  <a:cubicBezTo>
                    <a:pt x="179" y="28"/>
                    <a:pt x="177" y="28"/>
                    <a:pt x="176" y="28"/>
                  </a:cubicBezTo>
                  <a:cubicBezTo>
                    <a:pt x="175" y="28"/>
                    <a:pt x="174" y="28"/>
                    <a:pt x="173" y="29"/>
                  </a:cubicBezTo>
                  <a:cubicBezTo>
                    <a:pt x="172" y="29"/>
                    <a:pt x="172" y="29"/>
                    <a:pt x="172" y="29"/>
                  </a:cubicBezTo>
                  <a:cubicBezTo>
                    <a:pt x="168" y="31"/>
                    <a:pt x="166" y="32"/>
                    <a:pt x="168" y="39"/>
                  </a:cubicBezTo>
                  <a:cubicBezTo>
                    <a:pt x="169" y="45"/>
                    <a:pt x="171" y="52"/>
                    <a:pt x="169" y="57"/>
                  </a:cubicBezTo>
                  <a:cubicBezTo>
                    <a:pt x="169" y="58"/>
                    <a:pt x="169" y="59"/>
                    <a:pt x="168" y="59"/>
                  </a:cubicBezTo>
                  <a:cubicBezTo>
                    <a:pt x="165" y="60"/>
                    <a:pt x="163" y="62"/>
                    <a:pt x="161" y="63"/>
                  </a:cubicBezTo>
                  <a:cubicBezTo>
                    <a:pt x="160" y="63"/>
                    <a:pt x="159" y="64"/>
                    <a:pt x="159" y="63"/>
                  </a:cubicBezTo>
                  <a:cubicBezTo>
                    <a:pt x="154" y="62"/>
                    <a:pt x="148" y="56"/>
                    <a:pt x="144" y="52"/>
                  </a:cubicBezTo>
                  <a:cubicBezTo>
                    <a:pt x="141" y="49"/>
                    <a:pt x="140" y="48"/>
                    <a:pt x="138" y="48"/>
                  </a:cubicBezTo>
                  <a:cubicBezTo>
                    <a:pt x="137" y="48"/>
                    <a:pt x="135" y="49"/>
                    <a:pt x="134" y="50"/>
                  </a:cubicBezTo>
                  <a:cubicBezTo>
                    <a:pt x="133" y="51"/>
                    <a:pt x="133" y="51"/>
                    <a:pt x="133" y="51"/>
                  </a:cubicBezTo>
                  <a:cubicBezTo>
                    <a:pt x="130" y="52"/>
                    <a:pt x="128" y="54"/>
                    <a:pt x="131" y="60"/>
                  </a:cubicBezTo>
                  <a:cubicBezTo>
                    <a:pt x="133" y="66"/>
                    <a:pt x="135" y="73"/>
                    <a:pt x="135" y="78"/>
                  </a:cubicBezTo>
                  <a:cubicBezTo>
                    <a:pt x="135" y="79"/>
                    <a:pt x="135" y="80"/>
                    <a:pt x="134" y="80"/>
                  </a:cubicBezTo>
                  <a:cubicBezTo>
                    <a:pt x="132" y="82"/>
                    <a:pt x="130" y="83"/>
                    <a:pt x="128" y="85"/>
                  </a:cubicBezTo>
                  <a:cubicBezTo>
                    <a:pt x="127" y="85"/>
                    <a:pt x="127" y="85"/>
                    <a:pt x="127" y="85"/>
                  </a:cubicBezTo>
                  <a:cubicBezTo>
                    <a:pt x="127" y="86"/>
                    <a:pt x="126" y="86"/>
                    <a:pt x="125" y="86"/>
                  </a:cubicBezTo>
                  <a:cubicBezTo>
                    <a:pt x="120" y="85"/>
                    <a:pt x="113" y="81"/>
                    <a:pt x="109" y="77"/>
                  </a:cubicBezTo>
                  <a:cubicBezTo>
                    <a:pt x="107" y="75"/>
                    <a:pt x="105" y="74"/>
                    <a:pt x="103" y="74"/>
                  </a:cubicBezTo>
                  <a:cubicBezTo>
                    <a:pt x="101" y="74"/>
                    <a:pt x="100" y="75"/>
                    <a:pt x="99" y="77"/>
                  </a:cubicBezTo>
                  <a:cubicBezTo>
                    <a:pt x="98" y="77"/>
                    <a:pt x="98" y="77"/>
                    <a:pt x="98" y="77"/>
                  </a:cubicBezTo>
                  <a:cubicBezTo>
                    <a:pt x="95" y="80"/>
                    <a:pt x="93" y="81"/>
                    <a:pt x="97" y="87"/>
                  </a:cubicBezTo>
                  <a:cubicBezTo>
                    <a:pt x="101" y="92"/>
                    <a:pt x="104" y="100"/>
                    <a:pt x="104" y="105"/>
                  </a:cubicBezTo>
                  <a:cubicBezTo>
                    <a:pt x="104" y="106"/>
                    <a:pt x="104" y="106"/>
                    <a:pt x="104" y="107"/>
                  </a:cubicBezTo>
                  <a:cubicBezTo>
                    <a:pt x="102" y="109"/>
                    <a:pt x="100" y="111"/>
                    <a:pt x="98" y="113"/>
                  </a:cubicBezTo>
                  <a:cubicBezTo>
                    <a:pt x="97" y="113"/>
                    <a:pt x="97" y="114"/>
                    <a:pt x="96" y="114"/>
                  </a:cubicBezTo>
                  <a:cubicBezTo>
                    <a:pt x="96" y="114"/>
                    <a:pt x="96" y="114"/>
                    <a:pt x="96" y="114"/>
                  </a:cubicBezTo>
                  <a:cubicBezTo>
                    <a:pt x="91" y="114"/>
                    <a:pt x="84" y="110"/>
                    <a:pt x="78" y="107"/>
                  </a:cubicBezTo>
                  <a:cubicBezTo>
                    <a:pt x="76" y="106"/>
                    <a:pt x="74" y="105"/>
                    <a:pt x="73" y="105"/>
                  </a:cubicBezTo>
                  <a:cubicBezTo>
                    <a:pt x="71" y="105"/>
                    <a:pt x="70" y="106"/>
                    <a:pt x="68" y="108"/>
                  </a:cubicBezTo>
                  <a:cubicBezTo>
                    <a:pt x="68" y="109"/>
                    <a:pt x="68" y="109"/>
                    <a:pt x="68" y="109"/>
                  </a:cubicBezTo>
                  <a:cubicBezTo>
                    <a:pt x="65" y="112"/>
                    <a:pt x="64" y="114"/>
                    <a:pt x="69" y="119"/>
                  </a:cubicBezTo>
                  <a:cubicBezTo>
                    <a:pt x="73" y="124"/>
                    <a:pt x="77" y="130"/>
                    <a:pt x="78" y="136"/>
                  </a:cubicBezTo>
                  <a:cubicBezTo>
                    <a:pt x="78" y="136"/>
                    <a:pt x="78" y="137"/>
                    <a:pt x="78" y="137"/>
                  </a:cubicBezTo>
                  <a:cubicBezTo>
                    <a:pt x="76" y="140"/>
                    <a:pt x="75" y="142"/>
                    <a:pt x="73" y="144"/>
                  </a:cubicBezTo>
                  <a:cubicBezTo>
                    <a:pt x="73" y="145"/>
                    <a:pt x="72" y="145"/>
                    <a:pt x="71" y="145"/>
                  </a:cubicBezTo>
                  <a:cubicBezTo>
                    <a:pt x="67" y="146"/>
                    <a:pt x="60" y="145"/>
                    <a:pt x="53" y="142"/>
                  </a:cubicBezTo>
                  <a:cubicBezTo>
                    <a:pt x="51" y="141"/>
                    <a:pt x="49" y="141"/>
                    <a:pt x="48" y="141"/>
                  </a:cubicBezTo>
                  <a:cubicBezTo>
                    <a:pt x="46" y="141"/>
                    <a:pt x="45" y="142"/>
                    <a:pt x="43" y="145"/>
                  </a:cubicBezTo>
                  <a:cubicBezTo>
                    <a:pt x="43" y="146"/>
                    <a:pt x="43" y="146"/>
                    <a:pt x="43" y="146"/>
                  </a:cubicBezTo>
                  <a:cubicBezTo>
                    <a:pt x="41" y="149"/>
                    <a:pt x="40" y="151"/>
                    <a:pt x="45" y="155"/>
                  </a:cubicBezTo>
                  <a:cubicBezTo>
                    <a:pt x="50" y="159"/>
                    <a:pt x="55" y="165"/>
                    <a:pt x="57" y="170"/>
                  </a:cubicBezTo>
                  <a:cubicBezTo>
                    <a:pt x="58" y="170"/>
                    <a:pt x="58" y="171"/>
                    <a:pt x="57" y="172"/>
                  </a:cubicBezTo>
                  <a:cubicBezTo>
                    <a:pt x="57" y="173"/>
                    <a:pt x="57" y="173"/>
                    <a:pt x="57" y="173"/>
                  </a:cubicBezTo>
                  <a:cubicBezTo>
                    <a:pt x="56" y="175"/>
                    <a:pt x="55" y="177"/>
                    <a:pt x="54" y="179"/>
                  </a:cubicBezTo>
                  <a:cubicBezTo>
                    <a:pt x="53" y="180"/>
                    <a:pt x="53" y="181"/>
                    <a:pt x="52" y="181"/>
                  </a:cubicBezTo>
                  <a:cubicBezTo>
                    <a:pt x="48" y="182"/>
                    <a:pt x="41" y="182"/>
                    <a:pt x="33" y="180"/>
                  </a:cubicBezTo>
                  <a:cubicBezTo>
                    <a:pt x="32" y="180"/>
                    <a:pt x="31" y="180"/>
                    <a:pt x="30" y="180"/>
                  </a:cubicBezTo>
                  <a:cubicBezTo>
                    <a:pt x="26" y="180"/>
                    <a:pt x="25" y="181"/>
                    <a:pt x="24" y="184"/>
                  </a:cubicBezTo>
                  <a:cubicBezTo>
                    <a:pt x="24" y="186"/>
                    <a:pt x="24" y="186"/>
                    <a:pt x="24" y="186"/>
                  </a:cubicBezTo>
                  <a:cubicBezTo>
                    <a:pt x="22" y="189"/>
                    <a:pt x="21" y="191"/>
                    <a:pt x="28" y="195"/>
                  </a:cubicBezTo>
                  <a:cubicBezTo>
                    <a:pt x="33" y="198"/>
                    <a:pt x="39" y="203"/>
                    <a:pt x="42" y="207"/>
                  </a:cubicBezTo>
                  <a:cubicBezTo>
                    <a:pt x="42" y="208"/>
                    <a:pt x="42" y="208"/>
                    <a:pt x="42" y="209"/>
                  </a:cubicBezTo>
                  <a:cubicBezTo>
                    <a:pt x="41" y="212"/>
                    <a:pt x="41" y="214"/>
                    <a:pt x="40" y="217"/>
                  </a:cubicBezTo>
                  <a:cubicBezTo>
                    <a:pt x="40" y="218"/>
                    <a:pt x="39" y="218"/>
                    <a:pt x="39" y="219"/>
                  </a:cubicBezTo>
                  <a:cubicBezTo>
                    <a:pt x="34" y="221"/>
                    <a:pt x="26" y="221"/>
                    <a:pt x="23" y="221"/>
                  </a:cubicBezTo>
                  <a:cubicBezTo>
                    <a:pt x="22" y="221"/>
                    <a:pt x="21" y="221"/>
                    <a:pt x="20" y="221"/>
                  </a:cubicBezTo>
                  <a:cubicBezTo>
                    <a:pt x="19" y="221"/>
                    <a:pt x="19" y="221"/>
                    <a:pt x="18" y="221"/>
                  </a:cubicBezTo>
                  <a:cubicBezTo>
                    <a:pt x="13" y="221"/>
                    <a:pt x="12" y="223"/>
                    <a:pt x="12" y="227"/>
                  </a:cubicBezTo>
                  <a:cubicBezTo>
                    <a:pt x="11" y="228"/>
                    <a:pt x="11" y="228"/>
                    <a:pt x="11" y="228"/>
                  </a:cubicBezTo>
                  <a:cubicBezTo>
                    <a:pt x="11" y="231"/>
                    <a:pt x="10" y="234"/>
                    <a:pt x="17" y="236"/>
                  </a:cubicBezTo>
                  <a:cubicBezTo>
                    <a:pt x="22" y="238"/>
                    <a:pt x="29" y="242"/>
                    <a:pt x="33" y="246"/>
                  </a:cubicBezTo>
                  <a:cubicBezTo>
                    <a:pt x="33" y="247"/>
                    <a:pt x="33" y="247"/>
                    <a:pt x="33" y="248"/>
                  </a:cubicBezTo>
                  <a:cubicBezTo>
                    <a:pt x="33" y="251"/>
                    <a:pt x="32" y="254"/>
                    <a:pt x="32" y="256"/>
                  </a:cubicBezTo>
                  <a:cubicBezTo>
                    <a:pt x="32" y="257"/>
                    <a:pt x="32" y="258"/>
                    <a:pt x="31" y="258"/>
                  </a:cubicBezTo>
                  <a:cubicBezTo>
                    <a:pt x="27" y="261"/>
                    <a:pt x="19" y="263"/>
                    <a:pt x="13" y="264"/>
                  </a:cubicBezTo>
                  <a:cubicBezTo>
                    <a:pt x="6" y="264"/>
                    <a:pt x="6" y="267"/>
                    <a:pt x="6" y="270"/>
                  </a:cubicBezTo>
                  <a:cubicBezTo>
                    <a:pt x="6" y="272"/>
                    <a:pt x="6" y="272"/>
                    <a:pt x="6" y="272"/>
                  </a:cubicBezTo>
                  <a:cubicBezTo>
                    <a:pt x="5" y="275"/>
                    <a:pt x="5" y="278"/>
                    <a:pt x="12" y="279"/>
                  </a:cubicBezTo>
                  <a:cubicBezTo>
                    <a:pt x="18" y="280"/>
                    <a:pt x="26" y="283"/>
                    <a:pt x="30" y="286"/>
                  </a:cubicBezTo>
                  <a:cubicBezTo>
                    <a:pt x="30" y="287"/>
                    <a:pt x="30" y="287"/>
                    <a:pt x="30" y="288"/>
                  </a:cubicBezTo>
                  <a:cubicBezTo>
                    <a:pt x="30" y="291"/>
                    <a:pt x="31" y="294"/>
                    <a:pt x="31" y="296"/>
                  </a:cubicBezTo>
                  <a:cubicBezTo>
                    <a:pt x="31" y="297"/>
                    <a:pt x="30" y="298"/>
                    <a:pt x="30" y="298"/>
                  </a:cubicBezTo>
                  <a:cubicBezTo>
                    <a:pt x="26" y="302"/>
                    <a:pt x="19" y="305"/>
                    <a:pt x="13" y="307"/>
                  </a:cubicBezTo>
                  <a:cubicBezTo>
                    <a:pt x="6" y="308"/>
                    <a:pt x="6" y="311"/>
                    <a:pt x="7" y="314"/>
                  </a:cubicBezTo>
                  <a:cubicBezTo>
                    <a:pt x="7" y="316"/>
                    <a:pt x="7" y="316"/>
                    <a:pt x="7" y="316"/>
                  </a:cubicBezTo>
                  <a:cubicBezTo>
                    <a:pt x="7" y="319"/>
                    <a:pt x="7" y="322"/>
                    <a:pt x="14" y="322"/>
                  </a:cubicBezTo>
                  <a:cubicBezTo>
                    <a:pt x="21" y="322"/>
                    <a:pt x="29" y="324"/>
                    <a:pt x="33" y="326"/>
                  </a:cubicBezTo>
                  <a:cubicBezTo>
                    <a:pt x="33" y="327"/>
                    <a:pt x="34" y="327"/>
                    <a:pt x="34" y="328"/>
                  </a:cubicBezTo>
                  <a:cubicBezTo>
                    <a:pt x="34" y="329"/>
                    <a:pt x="34" y="329"/>
                    <a:pt x="34" y="329"/>
                  </a:cubicBezTo>
                  <a:cubicBezTo>
                    <a:pt x="35" y="331"/>
                    <a:pt x="35" y="334"/>
                    <a:pt x="35" y="336"/>
                  </a:cubicBezTo>
                  <a:cubicBezTo>
                    <a:pt x="36" y="337"/>
                    <a:pt x="35" y="338"/>
                    <a:pt x="35" y="338"/>
                  </a:cubicBezTo>
                  <a:cubicBezTo>
                    <a:pt x="32" y="342"/>
                    <a:pt x="25" y="347"/>
                    <a:pt x="20" y="349"/>
                  </a:cubicBezTo>
                  <a:cubicBezTo>
                    <a:pt x="13" y="352"/>
                    <a:pt x="14" y="354"/>
                    <a:pt x="15" y="358"/>
                  </a:cubicBezTo>
                  <a:cubicBezTo>
                    <a:pt x="15" y="359"/>
                    <a:pt x="15" y="359"/>
                    <a:pt x="15" y="359"/>
                  </a:cubicBezTo>
                  <a:cubicBezTo>
                    <a:pt x="16" y="362"/>
                    <a:pt x="16" y="364"/>
                    <a:pt x="21" y="364"/>
                  </a:cubicBezTo>
                  <a:cubicBezTo>
                    <a:pt x="22" y="364"/>
                    <a:pt x="23" y="364"/>
                    <a:pt x="23" y="364"/>
                  </a:cubicBezTo>
                  <a:cubicBezTo>
                    <a:pt x="26" y="364"/>
                    <a:pt x="28" y="364"/>
                    <a:pt x="30" y="364"/>
                  </a:cubicBezTo>
                  <a:cubicBezTo>
                    <a:pt x="34" y="364"/>
                    <a:pt x="39" y="364"/>
                    <a:pt x="42" y="366"/>
                  </a:cubicBezTo>
                  <a:cubicBezTo>
                    <a:pt x="43" y="366"/>
                    <a:pt x="43" y="366"/>
                    <a:pt x="44" y="367"/>
                  </a:cubicBezTo>
                  <a:cubicBezTo>
                    <a:pt x="45" y="370"/>
                    <a:pt x="45" y="372"/>
                    <a:pt x="46" y="375"/>
                  </a:cubicBezTo>
                  <a:cubicBezTo>
                    <a:pt x="47" y="376"/>
                    <a:pt x="47" y="376"/>
                    <a:pt x="46" y="377"/>
                  </a:cubicBezTo>
                  <a:cubicBezTo>
                    <a:pt x="44" y="381"/>
                    <a:pt x="38" y="387"/>
                    <a:pt x="33" y="390"/>
                  </a:cubicBezTo>
                  <a:cubicBezTo>
                    <a:pt x="27" y="394"/>
                    <a:pt x="28" y="396"/>
                    <a:pt x="29" y="399"/>
                  </a:cubicBezTo>
                  <a:cubicBezTo>
                    <a:pt x="30" y="400"/>
                    <a:pt x="30" y="400"/>
                    <a:pt x="30" y="400"/>
                  </a:cubicBezTo>
                  <a:cubicBezTo>
                    <a:pt x="31" y="403"/>
                    <a:pt x="32" y="405"/>
                    <a:pt x="35" y="405"/>
                  </a:cubicBezTo>
                  <a:cubicBezTo>
                    <a:pt x="36" y="405"/>
                    <a:pt x="37" y="405"/>
                    <a:pt x="39" y="404"/>
                  </a:cubicBezTo>
                  <a:cubicBezTo>
                    <a:pt x="44" y="403"/>
                    <a:pt x="49" y="402"/>
                    <a:pt x="53" y="402"/>
                  </a:cubicBezTo>
                  <a:cubicBezTo>
                    <a:pt x="55" y="402"/>
                    <a:pt x="56" y="402"/>
                    <a:pt x="58" y="403"/>
                  </a:cubicBezTo>
                  <a:cubicBezTo>
                    <a:pt x="58" y="403"/>
                    <a:pt x="59" y="403"/>
                    <a:pt x="59" y="404"/>
                  </a:cubicBezTo>
                  <a:cubicBezTo>
                    <a:pt x="61" y="406"/>
                    <a:pt x="62" y="409"/>
                    <a:pt x="63" y="411"/>
                  </a:cubicBezTo>
                  <a:cubicBezTo>
                    <a:pt x="64" y="412"/>
                    <a:pt x="64" y="413"/>
                    <a:pt x="64" y="413"/>
                  </a:cubicBezTo>
                  <a:cubicBezTo>
                    <a:pt x="62" y="418"/>
                    <a:pt x="57" y="424"/>
                    <a:pt x="52" y="428"/>
                  </a:cubicBezTo>
                  <a:cubicBezTo>
                    <a:pt x="47" y="433"/>
                    <a:pt x="48" y="435"/>
                    <a:pt x="50" y="438"/>
                  </a:cubicBezTo>
                  <a:cubicBezTo>
                    <a:pt x="51" y="439"/>
                    <a:pt x="51" y="439"/>
                    <a:pt x="51" y="439"/>
                  </a:cubicBezTo>
                  <a:cubicBezTo>
                    <a:pt x="52" y="441"/>
                    <a:pt x="53" y="443"/>
                    <a:pt x="55" y="443"/>
                  </a:cubicBezTo>
                  <a:cubicBezTo>
                    <a:pt x="57" y="443"/>
                    <a:pt x="58" y="442"/>
                    <a:pt x="60" y="441"/>
                  </a:cubicBezTo>
                  <a:cubicBezTo>
                    <a:pt x="67" y="438"/>
                    <a:pt x="74" y="437"/>
                    <a:pt x="79" y="437"/>
                  </a:cubicBezTo>
                  <a:cubicBezTo>
                    <a:pt x="79" y="437"/>
                    <a:pt x="80" y="437"/>
                    <a:pt x="81" y="438"/>
                  </a:cubicBezTo>
                  <a:cubicBezTo>
                    <a:pt x="82" y="440"/>
                    <a:pt x="83" y="442"/>
                    <a:pt x="85" y="443"/>
                  </a:cubicBezTo>
                  <a:cubicBezTo>
                    <a:pt x="86" y="445"/>
                    <a:pt x="86" y="445"/>
                    <a:pt x="86" y="445"/>
                  </a:cubicBezTo>
                  <a:cubicBezTo>
                    <a:pt x="86" y="445"/>
                    <a:pt x="86" y="446"/>
                    <a:pt x="86" y="447"/>
                  </a:cubicBezTo>
                  <a:cubicBezTo>
                    <a:pt x="85" y="452"/>
                    <a:pt x="81" y="458"/>
                    <a:pt x="77" y="463"/>
                  </a:cubicBezTo>
                  <a:cubicBezTo>
                    <a:pt x="73" y="469"/>
                    <a:pt x="74" y="471"/>
                    <a:pt x="77" y="473"/>
                  </a:cubicBezTo>
                  <a:cubicBezTo>
                    <a:pt x="78" y="474"/>
                    <a:pt x="78" y="474"/>
                    <a:pt x="78" y="474"/>
                  </a:cubicBezTo>
                  <a:cubicBezTo>
                    <a:pt x="79" y="476"/>
                    <a:pt x="80" y="477"/>
                    <a:pt x="82" y="477"/>
                  </a:cubicBezTo>
                  <a:cubicBezTo>
                    <a:pt x="84" y="477"/>
                    <a:pt x="85" y="476"/>
                    <a:pt x="88" y="475"/>
                  </a:cubicBezTo>
                  <a:cubicBezTo>
                    <a:pt x="93" y="471"/>
                    <a:pt x="100" y="468"/>
                    <a:pt x="105" y="467"/>
                  </a:cubicBezTo>
                  <a:cubicBezTo>
                    <a:pt x="106" y="467"/>
                    <a:pt x="106" y="468"/>
                    <a:pt x="107" y="468"/>
                  </a:cubicBezTo>
                  <a:cubicBezTo>
                    <a:pt x="109" y="470"/>
                    <a:pt x="111" y="472"/>
                    <a:pt x="113" y="474"/>
                  </a:cubicBezTo>
                  <a:cubicBezTo>
                    <a:pt x="114" y="474"/>
                    <a:pt x="114" y="475"/>
                    <a:pt x="114" y="476"/>
                  </a:cubicBezTo>
                  <a:cubicBezTo>
                    <a:pt x="114" y="481"/>
                    <a:pt x="111" y="488"/>
                    <a:pt x="108" y="494"/>
                  </a:cubicBezTo>
                  <a:cubicBezTo>
                    <a:pt x="104" y="500"/>
                    <a:pt x="106" y="501"/>
                    <a:pt x="109" y="503"/>
                  </a:cubicBezTo>
                  <a:cubicBezTo>
                    <a:pt x="110" y="504"/>
                    <a:pt x="110" y="504"/>
                    <a:pt x="110" y="504"/>
                  </a:cubicBezTo>
                  <a:cubicBezTo>
                    <a:pt x="111" y="505"/>
                    <a:pt x="112" y="507"/>
                    <a:pt x="114" y="507"/>
                  </a:cubicBezTo>
                  <a:cubicBezTo>
                    <a:pt x="114" y="507"/>
                    <a:pt x="114" y="507"/>
                    <a:pt x="114" y="507"/>
                  </a:cubicBezTo>
                  <a:cubicBezTo>
                    <a:pt x="115" y="507"/>
                    <a:pt x="117" y="505"/>
                    <a:pt x="120" y="503"/>
                  </a:cubicBezTo>
                  <a:cubicBezTo>
                    <a:pt x="124" y="499"/>
                    <a:pt x="131" y="495"/>
                    <a:pt x="136" y="494"/>
                  </a:cubicBezTo>
                  <a:cubicBezTo>
                    <a:pt x="136" y="493"/>
                    <a:pt x="137" y="494"/>
                    <a:pt x="138" y="494"/>
                  </a:cubicBezTo>
                  <a:cubicBezTo>
                    <a:pt x="140" y="496"/>
                    <a:pt x="142" y="497"/>
                    <a:pt x="145" y="499"/>
                  </a:cubicBezTo>
                  <a:cubicBezTo>
                    <a:pt x="145" y="499"/>
                    <a:pt x="146" y="500"/>
                    <a:pt x="146" y="500"/>
                  </a:cubicBezTo>
                  <a:cubicBezTo>
                    <a:pt x="146" y="506"/>
                    <a:pt x="144" y="513"/>
                    <a:pt x="142" y="519"/>
                  </a:cubicBezTo>
                  <a:cubicBezTo>
                    <a:pt x="140" y="526"/>
                    <a:pt x="142" y="527"/>
                    <a:pt x="145" y="529"/>
                  </a:cubicBezTo>
                  <a:cubicBezTo>
                    <a:pt x="146" y="529"/>
                    <a:pt x="146" y="529"/>
                    <a:pt x="146" y="529"/>
                  </a:cubicBezTo>
                  <a:cubicBezTo>
                    <a:pt x="147" y="530"/>
                    <a:pt x="149" y="531"/>
                    <a:pt x="150" y="531"/>
                  </a:cubicBezTo>
                  <a:cubicBezTo>
                    <a:pt x="152" y="531"/>
                    <a:pt x="154" y="529"/>
                    <a:pt x="156" y="527"/>
                  </a:cubicBezTo>
                  <a:cubicBezTo>
                    <a:pt x="159" y="522"/>
                    <a:pt x="165" y="516"/>
                    <a:pt x="170" y="515"/>
                  </a:cubicBezTo>
                  <a:cubicBezTo>
                    <a:pt x="171" y="514"/>
                    <a:pt x="171" y="514"/>
                    <a:pt x="172" y="515"/>
                  </a:cubicBezTo>
                  <a:cubicBezTo>
                    <a:pt x="173" y="515"/>
                    <a:pt x="173" y="515"/>
                    <a:pt x="173" y="515"/>
                  </a:cubicBezTo>
                  <a:cubicBezTo>
                    <a:pt x="175" y="516"/>
                    <a:pt x="177" y="517"/>
                    <a:pt x="180" y="518"/>
                  </a:cubicBezTo>
                  <a:cubicBezTo>
                    <a:pt x="180" y="519"/>
                    <a:pt x="181" y="519"/>
                    <a:pt x="181" y="520"/>
                  </a:cubicBezTo>
                  <a:cubicBezTo>
                    <a:pt x="183" y="525"/>
                    <a:pt x="182" y="533"/>
                    <a:pt x="181" y="539"/>
                  </a:cubicBezTo>
                  <a:cubicBezTo>
                    <a:pt x="179" y="546"/>
                    <a:pt x="181" y="546"/>
                    <a:pt x="185" y="548"/>
                  </a:cubicBezTo>
                  <a:cubicBezTo>
                    <a:pt x="186" y="548"/>
                    <a:pt x="186" y="548"/>
                    <a:pt x="186" y="548"/>
                  </a:cubicBezTo>
                  <a:cubicBezTo>
                    <a:pt x="187" y="549"/>
                    <a:pt x="188" y="549"/>
                    <a:pt x="189" y="549"/>
                  </a:cubicBezTo>
                  <a:cubicBezTo>
                    <a:pt x="190" y="549"/>
                    <a:pt x="192" y="549"/>
                    <a:pt x="195" y="544"/>
                  </a:cubicBezTo>
                  <a:cubicBezTo>
                    <a:pt x="198" y="539"/>
                    <a:pt x="203" y="532"/>
                    <a:pt x="207" y="530"/>
                  </a:cubicBezTo>
                  <a:cubicBezTo>
                    <a:pt x="208" y="530"/>
                    <a:pt x="209" y="529"/>
                    <a:pt x="209" y="530"/>
                  </a:cubicBezTo>
                  <a:cubicBezTo>
                    <a:pt x="212" y="530"/>
                    <a:pt x="215" y="531"/>
                    <a:pt x="217" y="532"/>
                  </a:cubicBezTo>
                  <a:cubicBezTo>
                    <a:pt x="218" y="532"/>
                    <a:pt x="219" y="533"/>
                    <a:pt x="219" y="533"/>
                  </a:cubicBezTo>
                  <a:cubicBezTo>
                    <a:pt x="221" y="538"/>
                    <a:pt x="222" y="546"/>
                    <a:pt x="221" y="552"/>
                  </a:cubicBezTo>
                  <a:cubicBezTo>
                    <a:pt x="221" y="559"/>
                    <a:pt x="223" y="560"/>
                    <a:pt x="227" y="560"/>
                  </a:cubicBezTo>
                  <a:cubicBezTo>
                    <a:pt x="228" y="561"/>
                    <a:pt x="228" y="561"/>
                    <a:pt x="228" y="561"/>
                  </a:cubicBezTo>
                  <a:cubicBezTo>
                    <a:pt x="229" y="561"/>
                    <a:pt x="230" y="561"/>
                    <a:pt x="231" y="561"/>
                  </a:cubicBezTo>
                  <a:cubicBezTo>
                    <a:pt x="232" y="561"/>
                    <a:pt x="234" y="561"/>
                    <a:pt x="236" y="555"/>
                  </a:cubicBezTo>
                  <a:cubicBezTo>
                    <a:pt x="239" y="550"/>
                    <a:pt x="242" y="542"/>
                    <a:pt x="246" y="539"/>
                  </a:cubicBezTo>
                  <a:cubicBezTo>
                    <a:pt x="247" y="539"/>
                    <a:pt x="247" y="539"/>
                    <a:pt x="248" y="539"/>
                  </a:cubicBezTo>
                  <a:close/>
                  <a:moveTo>
                    <a:pt x="286" y="521"/>
                  </a:moveTo>
                  <a:cubicBezTo>
                    <a:pt x="232" y="521"/>
                    <a:pt x="180" y="502"/>
                    <a:pt x="138" y="468"/>
                  </a:cubicBezTo>
                  <a:cubicBezTo>
                    <a:pt x="38" y="387"/>
                    <a:pt x="22" y="238"/>
                    <a:pt x="104" y="138"/>
                  </a:cubicBezTo>
                  <a:cubicBezTo>
                    <a:pt x="148" y="83"/>
                    <a:pt x="215" y="51"/>
                    <a:pt x="286" y="51"/>
                  </a:cubicBezTo>
                  <a:cubicBezTo>
                    <a:pt x="340" y="51"/>
                    <a:pt x="392" y="70"/>
                    <a:pt x="434" y="103"/>
                  </a:cubicBezTo>
                  <a:cubicBezTo>
                    <a:pt x="483" y="143"/>
                    <a:pt x="513" y="199"/>
                    <a:pt x="520" y="261"/>
                  </a:cubicBezTo>
                  <a:cubicBezTo>
                    <a:pt x="526" y="324"/>
                    <a:pt x="508" y="385"/>
                    <a:pt x="468" y="434"/>
                  </a:cubicBezTo>
                  <a:cubicBezTo>
                    <a:pt x="424" y="489"/>
                    <a:pt x="357" y="521"/>
                    <a:pt x="286" y="521"/>
                  </a:cubicBezTo>
                  <a:close/>
                  <a:moveTo>
                    <a:pt x="286" y="56"/>
                  </a:moveTo>
                  <a:cubicBezTo>
                    <a:pt x="217" y="56"/>
                    <a:pt x="151" y="87"/>
                    <a:pt x="108" y="141"/>
                  </a:cubicBezTo>
                  <a:cubicBezTo>
                    <a:pt x="28" y="239"/>
                    <a:pt x="43" y="384"/>
                    <a:pt x="141" y="464"/>
                  </a:cubicBezTo>
                  <a:cubicBezTo>
                    <a:pt x="182" y="497"/>
                    <a:pt x="233" y="516"/>
                    <a:pt x="286" y="516"/>
                  </a:cubicBezTo>
                  <a:cubicBezTo>
                    <a:pt x="356" y="516"/>
                    <a:pt x="421" y="485"/>
                    <a:pt x="465" y="431"/>
                  </a:cubicBezTo>
                  <a:cubicBezTo>
                    <a:pt x="503" y="383"/>
                    <a:pt x="521" y="323"/>
                    <a:pt x="515" y="262"/>
                  </a:cubicBezTo>
                  <a:cubicBezTo>
                    <a:pt x="508" y="201"/>
                    <a:pt x="479" y="146"/>
                    <a:pt x="431" y="107"/>
                  </a:cubicBezTo>
                  <a:cubicBezTo>
                    <a:pt x="390" y="74"/>
                    <a:pt x="339" y="56"/>
                    <a:pt x="286" y="5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9" name="Freeform 1382">
              <a:extLst>
                <a:ext uri="{FF2B5EF4-FFF2-40B4-BE49-F238E27FC236}">
                  <a16:creationId xmlns:a16="http://schemas.microsoft.com/office/drawing/2014/main" id="{7141C7A5-DB86-4BFC-84DA-AAF5728EC6FA}"/>
                </a:ext>
              </a:extLst>
            </p:cNvPr>
            <p:cNvSpPr>
              <a:spLocks noEditPoints="1"/>
            </p:cNvSpPr>
            <p:nvPr/>
          </p:nvSpPr>
          <p:spPr bwMode="auto">
            <a:xfrm rot="20647229" flipH="1">
              <a:off x="6155845" y="4600693"/>
              <a:ext cx="147638" cy="146050"/>
            </a:xfrm>
            <a:custGeom>
              <a:avLst/>
              <a:gdLst>
                <a:gd name="T0" fmla="*/ 49 w 124"/>
                <a:gd name="T1" fmla="*/ 115 h 123"/>
                <a:gd name="T2" fmla="*/ 35 w 124"/>
                <a:gd name="T3" fmla="*/ 110 h 123"/>
                <a:gd name="T4" fmla="*/ 19 w 124"/>
                <a:gd name="T5" fmla="*/ 106 h 123"/>
                <a:gd name="T6" fmla="*/ 20 w 124"/>
                <a:gd name="T7" fmla="*/ 89 h 123"/>
                <a:gd name="T8" fmla="*/ 5 w 124"/>
                <a:gd name="T9" fmla="*/ 86 h 123"/>
                <a:gd name="T10" fmla="*/ 0 w 124"/>
                <a:gd name="T11" fmla="*/ 62 h 123"/>
                <a:gd name="T12" fmla="*/ 8 w 124"/>
                <a:gd name="T13" fmla="*/ 49 h 123"/>
                <a:gd name="T14" fmla="*/ 14 w 124"/>
                <a:gd name="T15" fmla="*/ 35 h 123"/>
                <a:gd name="T16" fmla="*/ 18 w 124"/>
                <a:gd name="T17" fmla="*/ 19 h 123"/>
                <a:gd name="T18" fmla="*/ 33 w 124"/>
                <a:gd name="T19" fmla="*/ 14 h 123"/>
                <a:gd name="T20" fmla="*/ 47 w 124"/>
                <a:gd name="T21" fmla="*/ 8 h 123"/>
                <a:gd name="T22" fmla="*/ 61 w 124"/>
                <a:gd name="T23" fmla="*/ 0 h 123"/>
                <a:gd name="T24" fmla="*/ 76 w 124"/>
                <a:gd name="T25" fmla="*/ 8 h 123"/>
                <a:gd name="T26" fmla="*/ 89 w 124"/>
                <a:gd name="T27" fmla="*/ 14 h 123"/>
                <a:gd name="T28" fmla="*/ 105 w 124"/>
                <a:gd name="T29" fmla="*/ 18 h 123"/>
                <a:gd name="T30" fmla="*/ 110 w 124"/>
                <a:gd name="T31" fmla="*/ 34 h 123"/>
                <a:gd name="T32" fmla="*/ 116 w 124"/>
                <a:gd name="T33" fmla="*/ 47 h 123"/>
                <a:gd name="T34" fmla="*/ 124 w 124"/>
                <a:gd name="T35" fmla="*/ 62 h 123"/>
                <a:gd name="T36" fmla="*/ 120 w 124"/>
                <a:gd name="T37" fmla="*/ 83 h 123"/>
                <a:gd name="T38" fmla="*/ 107 w 124"/>
                <a:gd name="T39" fmla="*/ 87 h 123"/>
                <a:gd name="T40" fmla="*/ 107 w 124"/>
                <a:gd name="T41" fmla="*/ 104 h 123"/>
                <a:gd name="T42" fmla="*/ 91 w 124"/>
                <a:gd name="T43" fmla="*/ 109 h 123"/>
                <a:gd name="T44" fmla="*/ 78 w 124"/>
                <a:gd name="T45" fmla="*/ 115 h 123"/>
                <a:gd name="T46" fmla="*/ 63 w 124"/>
                <a:gd name="T47" fmla="*/ 123 h 123"/>
                <a:gd name="T48" fmla="*/ 61 w 124"/>
                <a:gd name="T49" fmla="*/ 116 h 123"/>
                <a:gd name="T50" fmla="*/ 66 w 124"/>
                <a:gd name="T51" fmla="*/ 116 h 123"/>
                <a:gd name="T52" fmla="*/ 82 w 124"/>
                <a:gd name="T53" fmla="*/ 112 h 123"/>
                <a:gd name="T54" fmla="*/ 86 w 124"/>
                <a:gd name="T55" fmla="*/ 110 h 123"/>
                <a:gd name="T56" fmla="*/ 102 w 124"/>
                <a:gd name="T57" fmla="*/ 102 h 123"/>
                <a:gd name="T58" fmla="*/ 99 w 124"/>
                <a:gd name="T59" fmla="*/ 86 h 123"/>
                <a:gd name="T60" fmla="*/ 114 w 124"/>
                <a:gd name="T61" fmla="*/ 83 h 123"/>
                <a:gd name="T62" fmla="*/ 106 w 124"/>
                <a:gd name="T63" fmla="*/ 71 h 123"/>
                <a:gd name="T64" fmla="*/ 119 w 124"/>
                <a:gd name="T65" fmla="*/ 61 h 123"/>
                <a:gd name="T66" fmla="*/ 113 w 124"/>
                <a:gd name="T67" fmla="*/ 43 h 123"/>
                <a:gd name="T68" fmla="*/ 111 w 124"/>
                <a:gd name="T69" fmla="*/ 39 h 123"/>
                <a:gd name="T70" fmla="*/ 102 w 124"/>
                <a:gd name="T71" fmla="*/ 25 h 123"/>
                <a:gd name="T72" fmla="*/ 99 w 124"/>
                <a:gd name="T73" fmla="*/ 21 h 123"/>
                <a:gd name="T74" fmla="*/ 85 w 124"/>
                <a:gd name="T75" fmla="*/ 12 h 123"/>
                <a:gd name="T76" fmla="*/ 80 w 124"/>
                <a:gd name="T77" fmla="*/ 10 h 123"/>
                <a:gd name="T78" fmla="*/ 62 w 124"/>
                <a:gd name="T79" fmla="*/ 5 h 123"/>
                <a:gd name="T80" fmla="*/ 53 w 124"/>
                <a:gd name="T81" fmla="*/ 19 h 123"/>
                <a:gd name="T82" fmla="*/ 40 w 124"/>
                <a:gd name="T83" fmla="*/ 9 h 123"/>
                <a:gd name="T84" fmla="*/ 35 w 124"/>
                <a:gd name="T85" fmla="*/ 26 h 123"/>
                <a:gd name="T86" fmla="*/ 21 w 124"/>
                <a:gd name="T87" fmla="*/ 23 h 123"/>
                <a:gd name="T88" fmla="*/ 18 w 124"/>
                <a:gd name="T89" fmla="*/ 41 h 123"/>
                <a:gd name="T90" fmla="*/ 9 w 124"/>
                <a:gd name="T91" fmla="*/ 42 h 123"/>
                <a:gd name="T92" fmla="*/ 8 w 124"/>
                <a:gd name="T93" fmla="*/ 59 h 123"/>
                <a:gd name="T94" fmla="*/ 19 w 124"/>
                <a:gd name="T95" fmla="*/ 69 h 123"/>
                <a:gd name="T96" fmla="*/ 10 w 124"/>
                <a:gd name="T97" fmla="*/ 84 h 123"/>
                <a:gd name="T98" fmla="*/ 26 w 124"/>
                <a:gd name="T99" fmla="*/ 86 h 123"/>
                <a:gd name="T100" fmla="*/ 24 w 124"/>
                <a:gd name="T101" fmla="*/ 103 h 123"/>
                <a:gd name="T102" fmla="*/ 40 w 124"/>
                <a:gd name="T103" fmla="*/ 111 h 123"/>
                <a:gd name="T104" fmla="*/ 45 w 124"/>
                <a:gd name="T105"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3">
                  <a:moveTo>
                    <a:pt x="62" y="123"/>
                  </a:moveTo>
                  <a:cubicBezTo>
                    <a:pt x="59" y="123"/>
                    <a:pt x="57" y="121"/>
                    <a:pt x="56" y="117"/>
                  </a:cubicBezTo>
                  <a:cubicBezTo>
                    <a:pt x="55" y="114"/>
                    <a:pt x="54" y="111"/>
                    <a:pt x="53" y="110"/>
                  </a:cubicBezTo>
                  <a:cubicBezTo>
                    <a:pt x="52" y="111"/>
                    <a:pt x="50" y="113"/>
                    <a:pt x="49" y="115"/>
                  </a:cubicBezTo>
                  <a:cubicBezTo>
                    <a:pt x="48" y="116"/>
                    <a:pt x="46" y="120"/>
                    <a:pt x="43" y="120"/>
                  </a:cubicBezTo>
                  <a:cubicBezTo>
                    <a:pt x="42" y="120"/>
                    <a:pt x="41" y="119"/>
                    <a:pt x="40" y="119"/>
                  </a:cubicBezTo>
                  <a:cubicBezTo>
                    <a:pt x="39" y="119"/>
                    <a:pt x="39" y="119"/>
                    <a:pt x="39" y="119"/>
                  </a:cubicBezTo>
                  <a:cubicBezTo>
                    <a:pt x="38" y="118"/>
                    <a:pt x="33" y="117"/>
                    <a:pt x="35" y="110"/>
                  </a:cubicBezTo>
                  <a:cubicBezTo>
                    <a:pt x="36" y="107"/>
                    <a:pt x="36" y="104"/>
                    <a:pt x="35" y="103"/>
                  </a:cubicBezTo>
                  <a:cubicBezTo>
                    <a:pt x="34" y="103"/>
                    <a:pt x="31" y="104"/>
                    <a:pt x="29" y="106"/>
                  </a:cubicBezTo>
                  <a:cubicBezTo>
                    <a:pt x="27" y="108"/>
                    <a:pt x="26" y="108"/>
                    <a:pt x="24" y="108"/>
                  </a:cubicBezTo>
                  <a:cubicBezTo>
                    <a:pt x="22" y="108"/>
                    <a:pt x="20" y="107"/>
                    <a:pt x="19" y="106"/>
                  </a:cubicBezTo>
                  <a:cubicBezTo>
                    <a:pt x="19" y="106"/>
                    <a:pt x="19" y="106"/>
                    <a:pt x="19" y="106"/>
                  </a:cubicBezTo>
                  <a:cubicBezTo>
                    <a:pt x="17" y="104"/>
                    <a:pt x="15" y="101"/>
                    <a:pt x="18" y="96"/>
                  </a:cubicBezTo>
                  <a:cubicBezTo>
                    <a:pt x="20" y="93"/>
                    <a:pt x="21" y="91"/>
                    <a:pt x="21" y="89"/>
                  </a:cubicBezTo>
                  <a:cubicBezTo>
                    <a:pt x="21" y="89"/>
                    <a:pt x="20" y="89"/>
                    <a:pt x="20" y="89"/>
                  </a:cubicBezTo>
                  <a:cubicBezTo>
                    <a:pt x="18" y="89"/>
                    <a:pt x="16" y="89"/>
                    <a:pt x="15" y="90"/>
                  </a:cubicBezTo>
                  <a:cubicBezTo>
                    <a:pt x="13" y="90"/>
                    <a:pt x="12" y="90"/>
                    <a:pt x="11" y="90"/>
                  </a:cubicBezTo>
                  <a:cubicBezTo>
                    <a:pt x="7" y="90"/>
                    <a:pt x="6" y="87"/>
                    <a:pt x="5" y="86"/>
                  </a:cubicBezTo>
                  <a:cubicBezTo>
                    <a:pt x="5" y="86"/>
                    <a:pt x="5" y="86"/>
                    <a:pt x="5" y="86"/>
                  </a:cubicBezTo>
                  <a:cubicBezTo>
                    <a:pt x="4" y="83"/>
                    <a:pt x="3" y="79"/>
                    <a:pt x="9" y="76"/>
                  </a:cubicBezTo>
                  <a:cubicBezTo>
                    <a:pt x="11" y="75"/>
                    <a:pt x="13" y="73"/>
                    <a:pt x="14" y="71"/>
                  </a:cubicBezTo>
                  <a:cubicBezTo>
                    <a:pt x="12" y="70"/>
                    <a:pt x="10" y="70"/>
                    <a:pt x="7" y="69"/>
                  </a:cubicBezTo>
                  <a:cubicBezTo>
                    <a:pt x="0" y="68"/>
                    <a:pt x="0" y="64"/>
                    <a:pt x="0" y="62"/>
                  </a:cubicBezTo>
                  <a:cubicBezTo>
                    <a:pt x="0" y="62"/>
                    <a:pt x="0" y="62"/>
                    <a:pt x="0" y="62"/>
                  </a:cubicBezTo>
                  <a:cubicBezTo>
                    <a:pt x="0" y="59"/>
                    <a:pt x="1" y="55"/>
                    <a:pt x="7" y="54"/>
                  </a:cubicBezTo>
                  <a:cubicBezTo>
                    <a:pt x="9" y="54"/>
                    <a:pt x="11" y="53"/>
                    <a:pt x="13" y="53"/>
                  </a:cubicBezTo>
                  <a:cubicBezTo>
                    <a:pt x="12" y="51"/>
                    <a:pt x="10" y="50"/>
                    <a:pt x="8" y="49"/>
                  </a:cubicBezTo>
                  <a:cubicBezTo>
                    <a:pt x="3" y="46"/>
                    <a:pt x="3" y="42"/>
                    <a:pt x="4" y="40"/>
                  </a:cubicBezTo>
                  <a:cubicBezTo>
                    <a:pt x="5" y="39"/>
                    <a:pt x="5" y="39"/>
                    <a:pt x="5" y="39"/>
                  </a:cubicBezTo>
                  <a:cubicBezTo>
                    <a:pt x="5" y="38"/>
                    <a:pt x="6" y="35"/>
                    <a:pt x="11" y="35"/>
                  </a:cubicBezTo>
                  <a:cubicBezTo>
                    <a:pt x="11" y="35"/>
                    <a:pt x="12" y="35"/>
                    <a:pt x="14" y="35"/>
                  </a:cubicBezTo>
                  <a:cubicBezTo>
                    <a:pt x="16" y="36"/>
                    <a:pt x="19" y="36"/>
                    <a:pt x="20" y="35"/>
                  </a:cubicBezTo>
                  <a:cubicBezTo>
                    <a:pt x="20" y="34"/>
                    <a:pt x="19" y="31"/>
                    <a:pt x="17" y="29"/>
                  </a:cubicBezTo>
                  <a:cubicBezTo>
                    <a:pt x="13" y="24"/>
                    <a:pt x="15" y="21"/>
                    <a:pt x="17" y="19"/>
                  </a:cubicBezTo>
                  <a:cubicBezTo>
                    <a:pt x="18" y="19"/>
                    <a:pt x="18" y="19"/>
                    <a:pt x="18" y="19"/>
                  </a:cubicBezTo>
                  <a:cubicBezTo>
                    <a:pt x="19" y="18"/>
                    <a:pt x="20" y="16"/>
                    <a:pt x="22" y="16"/>
                  </a:cubicBezTo>
                  <a:cubicBezTo>
                    <a:pt x="24" y="16"/>
                    <a:pt x="26" y="17"/>
                    <a:pt x="28" y="18"/>
                  </a:cubicBezTo>
                  <a:cubicBezTo>
                    <a:pt x="30" y="20"/>
                    <a:pt x="32" y="21"/>
                    <a:pt x="34" y="21"/>
                  </a:cubicBezTo>
                  <a:cubicBezTo>
                    <a:pt x="34" y="20"/>
                    <a:pt x="34" y="17"/>
                    <a:pt x="33" y="14"/>
                  </a:cubicBezTo>
                  <a:cubicBezTo>
                    <a:pt x="32" y="7"/>
                    <a:pt x="36" y="6"/>
                    <a:pt x="37" y="5"/>
                  </a:cubicBezTo>
                  <a:cubicBezTo>
                    <a:pt x="38" y="5"/>
                    <a:pt x="38" y="5"/>
                    <a:pt x="38" y="5"/>
                  </a:cubicBezTo>
                  <a:cubicBezTo>
                    <a:pt x="39" y="4"/>
                    <a:pt x="40" y="4"/>
                    <a:pt x="41" y="4"/>
                  </a:cubicBezTo>
                  <a:cubicBezTo>
                    <a:pt x="44" y="4"/>
                    <a:pt x="46" y="7"/>
                    <a:pt x="47" y="8"/>
                  </a:cubicBezTo>
                  <a:cubicBezTo>
                    <a:pt x="48" y="11"/>
                    <a:pt x="50" y="13"/>
                    <a:pt x="52" y="14"/>
                  </a:cubicBezTo>
                  <a:cubicBezTo>
                    <a:pt x="52" y="12"/>
                    <a:pt x="53" y="10"/>
                    <a:pt x="54" y="7"/>
                  </a:cubicBezTo>
                  <a:cubicBezTo>
                    <a:pt x="55" y="2"/>
                    <a:pt x="57" y="0"/>
                    <a:pt x="61" y="0"/>
                  </a:cubicBezTo>
                  <a:cubicBezTo>
                    <a:pt x="61" y="0"/>
                    <a:pt x="61" y="0"/>
                    <a:pt x="61" y="0"/>
                  </a:cubicBezTo>
                  <a:cubicBezTo>
                    <a:pt x="62" y="0"/>
                    <a:pt x="62" y="0"/>
                    <a:pt x="62" y="0"/>
                  </a:cubicBezTo>
                  <a:cubicBezTo>
                    <a:pt x="66" y="0"/>
                    <a:pt x="68" y="2"/>
                    <a:pt x="69" y="7"/>
                  </a:cubicBezTo>
                  <a:cubicBezTo>
                    <a:pt x="69" y="9"/>
                    <a:pt x="70" y="12"/>
                    <a:pt x="71" y="13"/>
                  </a:cubicBezTo>
                  <a:cubicBezTo>
                    <a:pt x="72" y="12"/>
                    <a:pt x="74" y="10"/>
                    <a:pt x="76" y="8"/>
                  </a:cubicBezTo>
                  <a:cubicBezTo>
                    <a:pt x="76" y="7"/>
                    <a:pt x="78" y="3"/>
                    <a:pt x="82" y="3"/>
                  </a:cubicBezTo>
                  <a:cubicBezTo>
                    <a:pt x="83" y="3"/>
                    <a:pt x="84" y="4"/>
                    <a:pt x="85" y="4"/>
                  </a:cubicBezTo>
                  <a:cubicBezTo>
                    <a:pt x="86" y="4"/>
                    <a:pt x="86" y="4"/>
                    <a:pt x="86" y="4"/>
                  </a:cubicBezTo>
                  <a:cubicBezTo>
                    <a:pt x="87" y="5"/>
                    <a:pt x="91" y="7"/>
                    <a:pt x="89" y="14"/>
                  </a:cubicBezTo>
                  <a:cubicBezTo>
                    <a:pt x="89" y="16"/>
                    <a:pt x="89" y="19"/>
                    <a:pt x="89" y="20"/>
                  </a:cubicBezTo>
                  <a:cubicBezTo>
                    <a:pt x="91" y="20"/>
                    <a:pt x="93" y="19"/>
                    <a:pt x="96" y="17"/>
                  </a:cubicBezTo>
                  <a:cubicBezTo>
                    <a:pt x="98" y="16"/>
                    <a:pt x="99" y="15"/>
                    <a:pt x="101" y="15"/>
                  </a:cubicBezTo>
                  <a:cubicBezTo>
                    <a:pt x="103" y="15"/>
                    <a:pt x="105" y="17"/>
                    <a:pt x="105" y="18"/>
                  </a:cubicBezTo>
                  <a:cubicBezTo>
                    <a:pt x="106" y="18"/>
                    <a:pt x="106" y="18"/>
                    <a:pt x="106" y="18"/>
                  </a:cubicBezTo>
                  <a:cubicBezTo>
                    <a:pt x="107" y="19"/>
                    <a:pt x="110" y="22"/>
                    <a:pt x="106" y="28"/>
                  </a:cubicBezTo>
                  <a:cubicBezTo>
                    <a:pt x="104" y="30"/>
                    <a:pt x="103" y="32"/>
                    <a:pt x="103" y="34"/>
                  </a:cubicBezTo>
                  <a:cubicBezTo>
                    <a:pt x="104" y="34"/>
                    <a:pt x="107" y="34"/>
                    <a:pt x="110" y="34"/>
                  </a:cubicBezTo>
                  <a:cubicBezTo>
                    <a:pt x="111" y="33"/>
                    <a:pt x="112" y="33"/>
                    <a:pt x="113" y="33"/>
                  </a:cubicBezTo>
                  <a:cubicBezTo>
                    <a:pt x="117" y="33"/>
                    <a:pt x="119" y="36"/>
                    <a:pt x="119" y="38"/>
                  </a:cubicBezTo>
                  <a:cubicBezTo>
                    <a:pt x="119" y="38"/>
                    <a:pt x="119" y="38"/>
                    <a:pt x="119" y="38"/>
                  </a:cubicBezTo>
                  <a:cubicBezTo>
                    <a:pt x="120" y="40"/>
                    <a:pt x="122" y="44"/>
                    <a:pt x="116" y="47"/>
                  </a:cubicBezTo>
                  <a:cubicBezTo>
                    <a:pt x="113" y="49"/>
                    <a:pt x="111" y="51"/>
                    <a:pt x="110" y="52"/>
                  </a:cubicBezTo>
                  <a:cubicBezTo>
                    <a:pt x="111" y="53"/>
                    <a:pt x="114" y="54"/>
                    <a:pt x="117" y="54"/>
                  </a:cubicBezTo>
                  <a:cubicBezTo>
                    <a:pt x="123" y="55"/>
                    <a:pt x="124" y="59"/>
                    <a:pt x="124" y="62"/>
                  </a:cubicBezTo>
                  <a:cubicBezTo>
                    <a:pt x="124" y="62"/>
                    <a:pt x="124" y="62"/>
                    <a:pt x="124" y="62"/>
                  </a:cubicBezTo>
                  <a:cubicBezTo>
                    <a:pt x="124" y="64"/>
                    <a:pt x="124" y="68"/>
                    <a:pt x="117" y="69"/>
                  </a:cubicBezTo>
                  <a:cubicBezTo>
                    <a:pt x="115" y="69"/>
                    <a:pt x="113" y="70"/>
                    <a:pt x="112" y="71"/>
                  </a:cubicBezTo>
                  <a:cubicBezTo>
                    <a:pt x="113" y="72"/>
                    <a:pt x="114" y="73"/>
                    <a:pt x="116" y="74"/>
                  </a:cubicBezTo>
                  <a:cubicBezTo>
                    <a:pt x="122" y="77"/>
                    <a:pt x="121" y="81"/>
                    <a:pt x="120" y="83"/>
                  </a:cubicBezTo>
                  <a:cubicBezTo>
                    <a:pt x="120" y="83"/>
                    <a:pt x="120" y="83"/>
                    <a:pt x="120" y="83"/>
                  </a:cubicBezTo>
                  <a:cubicBezTo>
                    <a:pt x="119" y="85"/>
                    <a:pt x="118" y="88"/>
                    <a:pt x="114" y="88"/>
                  </a:cubicBezTo>
                  <a:cubicBezTo>
                    <a:pt x="113" y="88"/>
                    <a:pt x="112" y="88"/>
                    <a:pt x="111" y="88"/>
                  </a:cubicBezTo>
                  <a:cubicBezTo>
                    <a:pt x="110" y="87"/>
                    <a:pt x="108" y="87"/>
                    <a:pt x="107" y="87"/>
                  </a:cubicBezTo>
                  <a:cubicBezTo>
                    <a:pt x="106" y="87"/>
                    <a:pt x="104" y="88"/>
                    <a:pt x="104" y="88"/>
                  </a:cubicBezTo>
                  <a:cubicBezTo>
                    <a:pt x="104" y="89"/>
                    <a:pt x="105" y="92"/>
                    <a:pt x="107" y="94"/>
                  </a:cubicBezTo>
                  <a:cubicBezTo>
                    <a:pt x="112" y="99"/>
                    <a:pt x="109" y="102"/>
                    <a:pt x="107" y="104"/>
                  </a:cubicBezTo>
                  <a:cubicBezTo>
                    <a:pt x="107" y="104"/>
                    <a:pt x="107" y="104"/>
                    <a:pt x="107" y="104"/>
                  </a:cubicBezTo>
                  <a:cubicBezTo>
                    <a:pt x="106" y="105"/>
                    <a:pt x="105" y="107"/>
                    <a:pt x="102" y="107"/>
                  </a:cubicBezTo>
                  <a:cubicBezTo>
                    <a:pt x="101" y="107"/>
                    <a:pt x="99" y="106"/>
                    <a:pt x="97" y="105"/>
                  </a:cubicBezTo>
                  <a:cubicBezTo>
                    <a:pt x="95" y="103"/>
                    <a:pt x="92" y="102"/>
                    <a:pt x="90" y="102"/>
                  </a:cubicBezTo>
                  <a:cubicBezTo>
                    <a:pt x="90" y="103"/>
                    <a:pt x="90" y="106"/>
                    <a:pt x="91" y="109"/>
                  </a:cubicBezTo>
                  <a:cubicBezTo>
                    <a:pt x="93" y="115"/>
                    <a:pt x="89" y="117"/>
                    <a:pt x="88" y="118"/>
                  </a:cubicBezTo>
                  <a:cubicBezTo>
                    <a:pt x="87" y="118"/>
                    <a:pt x="87" y="118"/>
                    <a:pt x="87" y="118"/>
                  </a:cubicBezTo>
                  <a:cubicBezTo>
                    <a:pt x="86" y="118"/>
                    <a:pt x="85" y="119"/>
                    <a:pt x="84" y="119"/>
                  </a:cubicBezTo>
                  <a:cubicBezTo>
                    <a:pt x="80" y="119"/>
                    <a:pt x="78" y="116"/>
                    <a:pt x="78" y="115"/>
                  </a:cubicBezTo>
                  <a:cubicBezTo>
                    <a:pt x="76" y="112"/>
                    <a:pt x="74" y="110"/>
                    <a:pt x="73" y="110"/>
                  </a:cubicBezTo>
                  <a:cubicBezTo>
                    <a:pt x="72" y="111"/>
                    <a:pt x="71" y="114"/>
                    <a:pt x="71" y="116"/>
                  </a:cubicBezTo>
                  <a:cubicBezTo>
                    <a:pt x="70" y="123"/>
                    <a:pt x="66" y="123"/>
                    <a:pt x="64" y="123"/>
                  </a:cubicBezTo>
                  <a:cubicBezTo>
                    <a:pt x="63" y="123"/>
                    <a:pt x="63" y="123"/>
                    <a:pt x="63" y="123"/>
                  </a:cubicBezTo>
                  <a:lnTo>
                    <a:pt x="62" y="123"/>
                  </a:lnTo>
                  <a:close/>
                  <a:moveTo>
                    <a:pt x="53" y="104"/>
                  </a:moveTo>
                  <a:cubicBezTo>
                    <a:pt x="54" y="105"/>
                    <a:pt x="54" y="105"/>
                    <a:pt x="54" y="105"/>
                  </a:cubicBezTo>
                  <a:cubicBezTo>
                    <a:pt x="58" y="106"/>
                    <a:pt x="60" y="112"/>
                    <a:pt x="61" y="116"/>
                  </a:cubicBezTo>
                  <a:cubicBezTo>
                    <a:pt x="61" y="118"/>
                    <a:pt x="62" y="118"/>
                    <a:pt x="62" y="118"/>
                  </a:cubicBezTo>
                  <a:cubicBezTo>
                    <a:pt x="63" y="118"/>
                    <a:pt x="63" y="118"/>
                    <a:pt x="63" y="118"/>
                  </a:cubicBezTo>
                  <a:cubicBezTo>
                    <a:pt x="64" y="118"/>
                    <a:pt x="64" y="118"/>
                    <a:pt x="64" y="118"/>
                  </a:cubicBezTo>
                  <a:cubicBezTo>
                    <a:pt x="65" y="118"/>
                    <a:pt x="66" y="118"/>
                    <a:pt x="66" y="116"/>
                  </a:cubicBezTo>
                  <a:cubicBezTo>
                    <a:pt x="66" y="112"/>
                    <a:pt x="68" y="107"/>
                    <a:pt x="70" y="105"/>
                  </a:cubicBezTo>
                  <a:cubicBezTo>
                    <a:pt x="70" y="105"/>
                    <a:pt x="71" y="104"/>
                    <a:pt x="72" y="104"/>
                  </a:cubicBezTo>
                  <a:cubicBezTo>
                    <a:pt x="72" y="104"/>
                    <a:pt x="72" y="104"/>
                    <a:pt x="72" y="104"/>
                  </a:cubicBezTo>
                  <a:cubicBezTo>
                    <a:pt x="76" y="104"/>
                    <a:pt x="80" y="109"/>
                    <a:pt x="82" y="112"/>
                  </a:cubicBezTo>
                  <a:cubicBezTo>
                    <a:pt x="83" y="114"/>
                    <a:pt x="84" y="114"/>
                    <a:pt x="84" y="114"/>
                  </a:cubicBezTo>
                  <a:cubicBezTo>
                    <a:pt x="84" y="114"/>
                    <a:pt x="85" y="114"/>
                    <a:pt x="85" y="114"/>
                  </a:cubicBezTo>
                  <a:cubicBezTo>
                    <a:pt x="86" y="113"/>
                    <a:pt x="86" y="113"/>
                    <a:pt x="86" y="113"/>
                  </a:cubicBezTo>
                  <a:cubicBezTo>
                    <a:pt x="87" y="113"/>
                    <a:pt x="87" y="113"/>
                    <a:pt x="86" y="110"/>
                  </a:cubicBezTo>
                  <a:cubicBezTo>
                    <a:pt x="85" y="106"/>
                    <a:pt x="85" y="101"/>
                    <a:pt x="86" y="99"/>
                  </a:cubicBezTo>
                  <a:cubicBezTo>
                    <a:pt x="86" y="98"/>
                    <a:pt x="87" y="98"/>
                    <a:pt x="87" y="97"/>
                  </a:cubicBezTo>
                  <a:cubicBezTo>
                    <a:pt x="90" y="96"/>
                    <a:pt x="97" y="98"/>
                    <a:pt x="100" y="100"/>
                  </a:cubicBezTo>
                  <a:cubicBezTo>
                    <a:pt x="101" y="101"/>
                    <a:pt x="102" y="102"/>
                    <a:pt x="102" y="102"/>
                  </a:cubicBezTo>
                  <a:cubicBezTo>
                    <a:pt x="102" y="102"/>
                    <a:pt x="103" y="101"/>
                    <a:pt x="103" y="101"/>
                  </a:cubicBezTo>
                  <a:cubicBezTo>
                    <a:pt x="104" y="100"/>
                    <a:pt x="104" y="100"/>
                    <a:pt x="104" y="100"/>
                  </a:cubicBezTo>
                  <a:cubicBezTo>
                    <a:pt x="105" y="99"/>
                    <a:pt x="105" y="99"/>
                    <a:pt x="103" y="97"/>
                  </a:cubicBezTo>
                  <a:cubicBezTo>
                    <a:pt x="101" y="94"/>
                    <a:pt x="98" y="89"/>
                    <a:pt x="99" y="86"/>
                  </a:cubicBezTo>
                  <a:cubicBezTo>
                    <a:pt x="99" y="86"/>
                    <a:pt x="99" y="85"/>
                    <a:pt x="99" y="85"/>
                  </a:cubicBezTo>
                  <a:cubicBezTo>
                    <a:pt x="101" y="83"/>
                    <a:pt x="104" y="82"/>
                    <a:pt x="107" y="82"/>
                  </a:cubicBezTo>
                  <a:cubicBezTo>
                    <a:pt x="109" y="82"/>
                    <a:pt x="110" y="82"/>
                    <a:pt x="112" y="83"/>
                  </a:cubicBezTo>
                  <a:cubicBezTo>
                    <a:pt x="113" y="83"/>
                    <a:pt x="113" y="83"/>
                    <a:pt x="114" y="83"/>
                  </a:cubicBezTo>
                  <a:cubicBezTo>
                    <a:pt x="115" y="83"/>
                    <a:pt x="115" y="83"/>
                    <a:pt x="115" y="82"/>
                  </a:cubicBezTo>
                  <a:cubicBezTo>
                    <a:pt x="115" y="81"/>
                    <a:pt x="115" y="81"/>
                    <a:pt x="115" y="81"/>
                  </a:cubicBezTo>
                  <a:cubicBezTo>
                    <a:pt x="116" y="80"/>
                    <a:pt x="116" y="79"/>
                    <a:pt x="114" y="78"/>
                  </a:cubicBezTo>
                  <a:cubicBezTo>
                    <a:pt x="111" y="77"/>
                    <a:pt x="107" y="74"/>
                    <a:pt x="106" y="71"/>
                  </a:cubicBezTo>
                  <a:cubicBezTo>
                    <a:pt x="105" y="70"/>
                    <a:pt x="105" y="69"/>
                    <a:pt x="106" y="68"/>
                  </a:cubicBezTo>
                  <a:cubicBezTo>
                    <a:pt x="109" y="66"/>
                    <a:pt x="113" y="65"/>
                    <a:pt x="116" y="64"/>
                  </a:cubicBezTo>
                  <a:cubicBezTo>
                    <a:pt x="119" y="64"/>
                    <a:pt x="119" y="64"/>
                    <a:pt x="119" y="62"/>
                  </a:cubicBezTo>
                  <a:cubicBezTo>
                    <a:pt x="119" y="61"/>
                    <a:pt x="119" y="61"/>
                    <a:pt x="119" y="61"/>
                  </a:cubicBezTo>
                  <a:cubicBezTo>
                    <a:pt x="119" y="60"/>
                    <a:pt x="119" y="60"/>
                    <a:pt x="116" y="59"/>
                  </a:cubicBezTo>
                  <a:cubicBezTo>
                    <a:pt x="113" y="59"/>
                    <a:pt x="106" y="57"/>
                    <a:pt x="105" y="53"/>
                  </a:cubicBezTo>
                  <a:cubicBezTo>
                    <a:pt x="105" y="52"/>
                    <a:pt x="105" y="52"/>
                    <a:pt x="105" y="51"/>
                  </a:cubicBezTo>
                  <a:cubicBezTo>
                    <a:pt x="106" y="48"/>
                    <a:pt x="110" y="45"/>
                    <a:pt x="113" y="43"/>
                  </a:cubicBezTo>
                  <a:cubicBezTo>
                    <a:pt x="115" y="42"/>
                    <a:pt x="115" y="42"/>
                    <a:pt x="115" y="40"/>
                  </a:cubicBezTo>
                  <a:cubicBezTo>
                    <a:pt x="114" y="40"/>
                    <a:pt x="114" y="40"/>
                    <a:pt x="114" y="40"/>
                  </a:cubicBezTo>
                  <a:cubicBezTo>
                    <a:pt x="114" y="38"/>
                    <a:pt x="114" y="38"/>
                    <a:pt x="113" y="38"/>
                  </a:cubicBezTo>
                  <a:cubicBezTo>
                    <a:pt x="113" y="38"/>
                    <a:pt x="112" y="38"/>
                    <a:pt x="111" y="39"/>
                  </a:cubicBezTo>
                  <a:cubicBezTo>
                    <a:pt x="109" y="39"/>
                    <a:pt x="107" y="39"/>
                    <a:pt x="106" y="39"/>
                  </a:cubicBezTo>
                  <a:cubicBezTo>
                    <a:pt x="102" y="39"/>
                    <a:pt x="100" y="39"/>
                    <a:pt x="98" y="37"/>
                  </a:cubicBezTo>
                  <a:cubicBezTo>
                    <a:pt x="98" y="37"/>
                    <a:pt x="98" y="36"/>
                    <a:pt x="98" y="35"/>
                  </a:cubicBezTo>
                  <a:cubicBezTo>
                    <a:pt x="97" y="32"/>
                    <a:pt x="100" y="28"/>
                    <a:pt x="102" y="25"/>
                  </a:cubicBezTo>
                  <a:cubicBezTo>
                    <a:pt x="104" y="23"/>
                    <a:pt x="103" y="23"/>
                    <a:pt x="102" y="21"/>
                  </a:cubicBezTo>
                  <a:cubicBezTo>
                    <a:pt x="102" y="21"/>
                    <a:pt x="102" y="21"/>
                    <a:pt x="102" y="21"/>
                  </a:cubicBezTo>
                  <a:cubicBezTo>
                    <a:pt x="101" y="21"/>
                    <a:pt x="101" y="20"/>
                    <a:pt x="101" y="20"/>
                  </a:cubicBezTo>
                  <a:cubicBezTo>
                    <a:pt x="101" y="20"/>
                    <a:pt x="100" y="20"/>
                    <a:pt x="99" y="21"/>
                  </a:cubicBezTo>
                  <a:cubicBezTo>
                    <a:pt x="96" y="23"/>
                    <a:pt x="91" y="25"/>
                    <a:pt x="88" y="25"/>
                  </a:cubicBezTo>
                  <a:cubicBezTo>
                    <a:pt x="87" y="25"/>
                    <a:pt x="87" y="25"/>
                    <a:pt x="86" y="25"/>
                  </a:cubicBezTo>
                  <a:cubicBezTo>
                    <a:pt x="85" y="25"/>
                    <a:pt x="85" y="24"/>
                    <a:pt x="85" y="24"/>
                  </a:cubicBezTo>
                  <a:cubicBezTo>
                    <a:pt x="83" y="21"/>
                    <a:pt x="84" y="16"/>
                    <a:pt x="85" y="12"/>
                  </a:cubicBezTo>
                  <a:cubicBezTo>
                    <a:pt x="85" y="10"/>
                    <a:pt x="85" y="10"/>
                    <a:pt x="84" y="9"/>
                  </a:cubicBezTo>
                  <a:cubicBezTo>
                    <a:pt x="83" y="9"/>
                    <a:pt x="83" y="9"/>
                    <a:pt x="83" y="9"/>
                  </a:cubicBezTo>
                  <a:cubicBezTo>
                    <a:pt x="83" y="9"/>
                    <a:pt x="82" y="8"/>
                    <a:pt x="82" y="8"/>
                  </a:cubicBezTo>
                  <a:cubicBezTo>
                    <a:pt x="82" y="8"/>
                    <a:pt x="81" y="9"/>
                    <a:pt x="80" y="10"/>
                  </a:cubicBezTo>
                  <a:cubicBezTo>
                    <a:pt x="78" y="13"/>
                    <a:pt x="74" y="19"/>
                    <a:pt x="70" y="19"/>
                  </a:cubicBezTo>
                  <a:cubicBezTo>
                    <a:pt x="70" y="19"/>
                    <a:pt x="69" y="18"/>
                    <a:pt x="68" y="18"/>
                  </a:cubicBezTo>
                  <a:cubicBezTo>
                    <a:pt x="66" y="16"/>
                    <a:pt x="64" y="11"/>
                    <a:pt x="64" y="7"/>
                  </a:cubicBezTo>
                  <a:cubicBezTo>
                    <a:pt x="63" y="5"/>
                    <a:pt x="63" y="5"/>
                    <a:pt x="62" y="5"/>
                  </a:cubicBezTo>
                  <a:cubicBezTo>
                    <a:pt x="61" y="5"/>
                    <a:pt x="61" y="5"/>
                    <a:pt x="61" y="5"/>
                  </a:cubicBezTo>
                  <a:cubicBezTo>
                    <a:pt x="61" y="5"/>
                    <a:pt x="61" y="5"/>
                    <a:pt x="61" y="5"/>
                  </a:cubicBezTo>
                  <a:cubicBezTo>
                    <a:pt x="60" y="5"/>
                    <a:pt x="59" y="5"/>
                    <a:pt x="59" y="7"/>
                  </a:cubicBezTo>
                  <a:cubicBezTo>
                    <a:pt x="58" y="11"/>
                    <a:pt x="56" y="17"/>
                    <a:pt x="53" y="19"/>
                  </a:cubicBezTo>
                  <a:cubicBezTo>
                    <a:pt x="52" y="19"/>
                    <a:pt x="52" y="19"/>
                    <a:pt x="51" y="19"/>
                  </a:cubicBezTo>
                  <a:cubicBezTo>
                    <a:pt x="48" y="18"/>
                    <a:pt x="45" y="14"/>
                    <a:pt x="43" y="11"/>
                  </a:cubicBezTo>
                  <a:cubicBezTo>
                    <a:pt x="42" y="9"/>
                    <a:pt x="41" y="9"/>
                    <a:pt x="41" y="9"/>
                  </a:cubicBezTo>
                  <a:cubicBezTo>
                    <a:pt x="41" y="9"/>
                    <a:pt x="40" y="9"/>
                    <a:pt x="40" y="9"/>
                  </a:cubicBezTo>
                  <a:cubicBezTo>
                    <a:pt x="39" y="10"/>
                    <a:pt x="39" y="10"/>
                    <a:pt x="39" y="10"/>
                  </a:cubicBezTo>
                  <a:cubicBezTo>
                    <a:pt x="38" y="10"/>
                    <a:pt x="38" y="10"/>
                    <a:pt x="38" y="13"/>
                  </a:cubicBezTo>
                  <a:cubicBezTo>
                    <a:pt x="39" y="16"/>
                    <a:pt x="40" y="23"/>
                    <a:pt x="37" y="26"/>
                  </a:cubicBezTo>
                  <a:cubicBezTo>
                    <a:pt x="37" y="26"/>
                    <a:pt x="36" y="26"/>
                    <a:pt x="35" y="26"/>
                  </a:cubicBezTo>
                  <a:cubicBezTo>
                    <a:pt x="32" y="27"/>
                    <a:pt x="28" y="25"/>
                    <a:pt x="25" y="22"/>
                  </a:cubicBezTo>
                  <a:cubicBezTo>
                    <a:pt x="23" y="21"/>
                    <a:pt x="23" y="21"/>
                    <a:pt x="22" y="21"/>
                  </a:cubicBezTo>
                  <a:cubicBezTo>
                    <a:pt x="22" y="21"/>
                    <a:pt x="22" y="22"/>
                    <a:pt x="21" y="22"/>
                  </a:cubicBezTo>
                  <a:cubicBezTo>
                    <a:pt x="21" y="23"/>
                    <a:pt x="21" y="23"/>
                    <a:pt x="21" y="23"/>
                  </a:cubicBezTo>
                  <a:cubicBezTo>
                    <a:pt x="20" y="24"/>
                    <a:pt x="20" y="24"/>
                    <a:pt x="21" y="26"/>
                  </a:cubicBezTo>
                  <a:cubicBezTo>
                    <a:pt x="23" y="29"/>
                    <a:pt x="27" y="35"/>
                    <a:pt x="25" y="38"/>
                  </a:cubicBezTo>
                  <a:cubicBezTo>
                    <a:pt x="25" y="39"/>
                    <a:pt x="24" y="39"/>
                    <a:pt x="24" y="40"/>
                  </a:cubicBezTo>
                  <a:cubicBezTo>
                    <a:pt x="23" y="40"/>
                    <a:pt x="21" y="41"/>
                    <a:pt x="18" y="41"/>
                  </a:cubicBezTo>
                  <a:cubicBezTo>
                    <a:pt x="16" y="41"/>
                    <a:pt x="14" y="40"/>
                    <a:pt x="12" y="40"/>
                  </a:cubicBezTo>
                  <a:cubicBezTo>
                    <a:pt x="12" y="40"/>
                    <a:pt x="11" y="40"/>
                    <a:pt x="11" y="40"/>
                  </a:cubicBezTo>
                  <a:cubicBezTo>
                    <a:pt x="10" y="40"/>
                    <a:pt x="10" y="40"/>
                    <a:pt x="9" y="41"/>
                  </a:cubicBezTo>
                  <a:cubicBezTo>
                    <a:pt x="9" y="42"/>
                    <a:pt x="9" y="42"/>
                    <a:pt x="9" y="42"/>
                  </a:cubicBezTo>
                  <a:cubicBezTo>
                    <a:pt x="8" y="43"/>
                    <a:pt x="8" y="43"/>
                    <a:pt x="11" y="44"/>
                  </a:cubicBezTo>
                  <a:cubicBezTo>
                    <a:pt x="14" y="46"/>
                    <a:pt x="17" y="49"/>
                    <a:pt x="18" y="52"/>
                  </a:cubicBezTo>
                  <a:cubicBezTo>
                    <a:pt x="19" y="53"/>
                    <a:pt x="19" y="54"/>
                    <a:pt x="18" y="55"/>
                  </a:cubicBezTo>
                  <a:cubicBezTo>
                    <a:pt x="16" y="57"/>
                    <a:pt x="11" y="59"/>
                    <a:pt x="8" y="59"/>
                  </a:cubicBezTo>
                  <a:cubicBezTo>
                    <a:pt x="5" y="60"/>
                    <a:pt x="5" y="60"/>
                    <a:pt x="5" y="61"/>
                  </a:cubicBezTo>
                  <a:cubicBezTo>
                    <a:pt x="5" y="62"/>
                    <a:pt x="5" y="62"/>
                    <a:pt x="5" y="62"/>
                  </a:cubicBezTo>
                  <a:cubicBezTo>
                    <a:pt x="5" y="64"/>
                    <a:pt x="5" y="64"/>
                    <a:pt x="8" y="64"/>
                  </a:cubicBezTo>
                  <a:cubicBezTo>
                    <a:pt x="12" y="65"/>
                    <a:pt x="17" y="66"/>
                    <a:pt x="19" y="69"/>
                  </a:cubicBezTo>
                  <a:cubicBezTo>
                    <a:pt x="19" y="69"/>
                    <a:pt x="19" y="70"/>
                    <a:pt x="19" y="70"/>
                  </a:cubicBezTo>
                  <a:cubicBezTo>
                    <a:pt x="19" y="74"/>
                    <a:pt x="14" y="79"/>
                    <a:pt x="11" y="81"/>
                  </a:cubicBezTo>
                  <a:cubicBezTo>
                    <a:pt x="9" y="82"/>
                    <a:pt x="9" y="82"/>
                    <a:pt x="10" y="83"/>
                  </a:cubicBezTo>
                  <a:cubicBezTo>
                    <a:pt x="10" y="84"/>
                    <a:pt x="10" y="84"/>
                    <a:pt x="10" y="84"/>
                  </a:cubicBezTo>
                  <a:cubicBezTo>
                    <a:pt x="11" y="85"/>
                    <a:pt x="11" y="85"/>
                    <a:pt x="11" y="85"/>
                  </a:cubicBezTo>
                  <a:cubicBezTo>
                    <a:pt x="12" y="85"/>
                    <a:pt x="12" y="85"/>
                    <a:pt x="13" y="85"/>
                  </a:cubicBezTo>
                  <a:cubicBezTo>
                    <a:pt x="18" y="84"/>
                    <a:pt x="22" y="84"/>
                    <a:pt x="25" y="85"/>
                  </a:cubicBezTo>
                  <a:cubicBezTo>
                    <a:pt x="25" y="85"/>
                    <a:pt x="26" y="86"/>
                    <a:pt x="26" y="86"/>
                  </a:cubicBezTo>
                  <a:cubicBezTo>
                    <a:pt x="28" y="90"/>
                    <a:pt x="25" y="96"/>
                    <a:pt x="23" y="99"/>
                  </a:cubicBezTo>
                  <a:cubicBezTo>
                    <a:pt x="21" y="101"/>
                    <a:pt x="21" y="101"/>
                    <a:pt x="22" y="102"/>
                  </a:cubicBezTo>
                  <a:cubicBezTo>
                    <a:pt x="23" y="102"/>
                    <a:pt x="23" y="102"/>
                    <a:pt x="23" y="102"/>
                  </a:cubicBezTo>
                  <a:cubicBezTo>
                    <a:pt x="23" y="103"/>
                    <a:pt x="24" y="103"/>
                    <a:pt x="24" y="103"/>
                  </a:cubicBezTo>
                  <a:cubicBezTo>
                    <a:pt x="24" y="103"/>
                    <a:pt x="25" y="103"/>
                    <a:pt x="26" y="102"/>
                  </a:cubicBezTo>
                  <a:cubicBezTo>
                    <a:pt x="29" y="100"/>
                    <a:pt x="33" y="98"/>
                    <a:pt x="36" y="98"/>
                  </a:cubicBezTo>
                  <a:cubicBezTo>
                    <a:pt x="37" y="98"/>
                    <a:pt x="38" y="98"/>
                    <a:pt x="38" y="98"/>
                  </a:cubicBezTo>
                  <a:cubicBezTo>
                    <a:pt x="41" y="101"/>
                    <a:pt x="41" y="108"/>
                    <a:pt x="40" y="111"/>
                  </a:cubicBezTo>
                  <a:cubicBezTo>
                    <a:pt x="39" y="114"/>
                    <a:pt x="40" y="114"/>
                    <a:pt x="41" y="114"/>
                  </a:cubicBezTo>
                  <a:cubicBezTo>
                    <a:pt x="42" y="115"/>
                    <a:pt x="42" y="115"/>
                    <a:pt x="42" y="115"/>
                  </a:cubicBezTo>
                  <a:cubicBezTo>
                    <a:pt x="42" y="115"/>
                    <a:pt x="43" y="115"/>
                    <a:pt x="43" y="115"/>
                  </a:cubicBezTo>
                  <a:cubicBezTo>
                    <a:pt x="43" y="115"/>
                    <a:pt x="44" y="114"/>
                    <a:pt x="45" y="113"/>
                  </a:cubicBezTo>
                  <a:cubicBezTo>
                    <a:pt x="46" y="110"/>
                    <a:pt x="50" y="106"/>
                    <a:pt x="53" y="105"/>
                  </a:cubicBezTo>
                  <a:lnTo>
                    <a:pt x="53" y="104"/>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0" name="Freeform 1383">
              <a:extLst>
                <a:ext uri="{FF2B5EF4-FFF2-40B4-BE49-F238E27FC236}">
                  <a16:creationId xmlns:a16="http://schemas.microsoft.com/office/drawing/2014/main" id="{57613B2F-9076-4130-B83F-D926CAE4D673}"/>
                </a:ext>
              </a:extLst>
            </p:cNvPr>
            <p:cNvSpPr>
              <a:spLocks noEditPoints="1"/>
            </p:cNvSpPr>
            <p:nvPr/>
          </p:nvSpPr>
          <p:spPr bwMode="auto">
            <a:xfrm rot="20647229" flipH="1">
              <a:off x="6109120" y="4796998"/>
              <a:ext cx="95250" cy="93663"/>
            </a:xfrm>
            <a:custGeom>
              <a:avLst/>
              <a:gdLst>
                <a:gd name="T0" fmla="*/ 33 w 80"/>
                <a:gd name="T1" fmla="*/ 73 h 79"/>
                <a:gd name="T2" fmla="*/ 22 w 80"/>
                <a:gd name="T3" fmla="*/ 69 h 79"/>
                <a:gd name="T4" fmla="*/ 13 w 80"/>
                <a:gd name="T5" fmla="*/ 68 h 79"/>
                <a:gd name="T6" fmla="*/ 11 w 80"/>
                <a:gd name="T7" fmla="*/ 58 h 79"/>
                <a:gd name="T8" fmla="*/ 6 w 80"/>
                <a:gd name="T9" fmla="*/ 48 h 79"/>
                <a:gd name="T10" fmla="*/ 1 w 80"/>
                <a:gd name="T11" fmla="*/ 39 h 79"/>
                <a:gd name="T12" fmla="*/ 3 w 80"/>
                <a:gd name="T13" fmla="*/ 25 h 79"/>
                <a:gd name="T14" fmla="*/ 10 w 80"/>
                <a:gd name="T15" fmla="*/ 22 h 79"/>
                <a:gd name="T16" fmla="*/ 11 w 80"/>
                <a:gd name="T17" fmla="*/ 12 h 79"/>
                <a:gd name="T18" fmla="*/ 19 w 80"/>
                <a:gd name="T19" fmla="*/ 12 h 79"/>
                <a:gd name="T20" fmla="*/ 25 w 80"/>
                <a:gd name="T21" fmla="*/ 5 h 79"/>
                <a:gd name="T22" fmla="*/ 33 w 80"/>
                <a:gd name="T23" fmla="*/ 8 h 79"/>
                <a:gd name="T24" fmla="*/ 40 w 80"/>
                <a:gd name="T25" fmla="*/ 2 h 79"/>
                <a:gd name="T26" fmla="*/ 46 w 80"/>
                <a:gd name="T27" fmla="*/ 8 h 79"/>
                <a:gd name="T28" fmla="*/ 55 w 80"/>
                <a:gd name="T29" fmla="*/ 3 h 79"/>
                <a:gd name="T30" fmla="*/ 64 w 80"/>
                <a:gd name="T31" fmla="*/ 9 h 79"/>
                <a:gd name="T32" fmla="*/ 68 w 80"/>
                <a:gd name="T33" fmla="*/ 19 h 79"/>
                <a:gd name="T34" fmla="*/ 76 w 80"/>
                <a:gd name="T35" fmla="*/ 24 h 79"/>
                <a:gd name="T36" fmla="*/ 74 w 80"/>
                <a:gd name="T37" fmla="*/ 34 h 79"/>
                <a:gd name="T38" fmla="*/ 74 w 80"/>
                <a:gd name="T39" fmla="*/ 45 h 79"/>
                <a:gd name="T40" fmla="*/ 77 w 80"/>
                <a:gd name="T41" fmla="*/ 53 h 79"/>
                <a:gd name="T42" fmla="*/ 69 w 80"/>
                <a:gd name="T43" fmla="*/ 59 h 79"/>
                <a:gd name="T44" fmla="*/ 59 w 80"/>
                <a:gd name="T45" fmla="*/ 66 h 79"/>
                <a:gd name="T46" fmla="*/ 53 w 80"/>
                <a:gd name="T47" fmla="*/ 76 h 79"/>
                <a:gd name="T48" fmla="*/ 41 w 80"/>
                <a:gd name="T49" fmla="*/ 79 h 79"/>
                <a:gd name="T50" fmla="*/ 35 w 80"/>
                <a:gd name="T51" fmla="*/ 65 h 79"/>
                <a:gd name="T52" fmla="*/ 41 w 80"/>
                <a:gd name="T53" fmla="*/ 74 h 79"/>
                <a:gd name="T54" fmla="*/ 46 w 80"/>
                <a:gd name="T55" fmla="*/ 65 h 79"/>
                <a:gd name="T56" fmla="*/ 54 w 80"/>
                <a:gd name="T57" fmla="*/ 71 h 79"/>
                <a:gd name="T58" fmla="*/ 54 w 80"/>
                <a:gd name="T59" fmla="*/ 62 h 79"/>
                <a:gd name="T60" fmla="*/ 65 w 80"/>
                <a:gd name="T61" fmla="*/ 63 h 79"/>
                <a:gd name="T62" fmla="*/ 62 w 80"/>
                <a:gd name="T63" fmla="*/ 55 h 79"/>
                <a:gd name="T64" fmla="*/ 72 w 80"/>
                <a:gd name="T65" fmla="*/ 52 h 79"/>
                <a:gd name="T66" fmla="*/ 72 w 80"/>
                <a:gd name="T67" fmla="*/ 51 h 79"/>
                <a:gd name="T68" fmla="*/ 74 w 80"/>
                <a:gd name="T69" fmla="*/ 40 h 79"/>
                <a:gd name="T70" fmla="*/ 74 w 80"/>
                <a:gd name="T71" fmla="*/ 39 h 79"/>
                <a:gd name="T72" fmla="*/ 72 w 80"/>
                <a:gd name="T73" fmla="*/ 27 h 79"/>
                <a:gd name="T74" fmla="*/ 71 w 80"/>
                <a:gd name="T75" fmla="*/ 26 h 79"/>
                <a:gd name="T76" fmla="*/ 64 w 80"/>
                <a:gd name="T77" fmla="*/ 16 h 79"/>
                <a:gd name="T78" fmla="*/ 64 w 80"/>
                <a:gd name="T79" fmla="*/ 15 h 79"/>
                <a:gd name="T80" fmla="*/ 53 w 80"/>
                <a:gd name="T81" fmla="*/ 8 h 79"/>
                <a:gd name="T82" fmla="*/ 53 w 80"/>
                <a:gd name="T83" fmla="*/ 7 h 79"/>
                <a:gd name="T84" fmla="*/ 40 w 80"/>
                <a:gd name="T85" fmla="*/ 6 h 79"/>
                <a:gd name="T86" fmla="*/ 39 w 80"/>
                <a:gd name="T87" fmla="*/ 5 h 79"/>
                <a:gd name="T88" fmla="*/ 27 w 80"/>
                <a:gd name="T89" fmla="*/ 8 h 79"/>
                <a:gd name="T90" fmla="*/ 26 w 80"/>
                <a:gd name="T91" fmla="*/ 8 h 79"/>
                <a:gd name="T92" fmla="*/ 23 w 80"/>
                <a:gd name="T93" fmla="*/ 18 h 79"/>
                <a:gd name="T94" fmla="*/ 15 w 80"/>
                <a:gd name="T95" fmla="*/ 16 h 79"/>
                <a:gd name="T96" fmla="*/ 17 w 80"/>
                <a:gd name="T97" fmla="*/ 26 h 79"/>
                <a:gd name="T98" fmla="*/ 8 w 80"/>
                <a:gd name="T99" fmla="*/ 27 h 79"/>
                <a:gd name="T100" fmla="*/ 14 w 80"/>
                <a:gd name="T101" fmla="*/ 33 h 79"/>
                <a:gd name="T102" fmla="*/ 6 w 80"/>
                <a:gd name="T103" fmla="*/ 39 h 79"/>
                <a:gd name="T104" fmla="*/ 14 w 80"/>
                <a:gd name="T105" fmla="*/ 43 h 79"/>
                <a:gd name="T106" fmla="*/ 8 w 80"/>
                <a:gd name="T107" fmla="*/ 53 h 79"/>
                <a:gd name="T108" fmla="*/ 17 w 80"/>
                <a:gd name="T109" fmla="*/ 53 h 79"/>
                <a:gd name="T110" fmla="*/ 16 w 80"/>
                <a:gd name="T111" fmla="*/ 64 h 79"/>
                <a:gd name="T112" fmla="*/ 24 w 80"/>
                <a:gd name="T113" fmla="*/ 61 h 79"/>
                <a:gd name="T114" fmla="*/ 27 w 80"/>
                <a:gd name="T115" fmla="*/ 71 h 79"/>
                <a:gd name="T116" fmla="*/ 34 w 80"/>
                <a:gd name="T117" fmla="*/ 6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79">
                  <a:moveTo>
                    <a:pt x="40" y="79"/>
                  </a:moveTo>
                  <a:cubicBezTo>
                    <a:pt x="38" y="79"/>
                    <a:pt x="36" y="78"/>
                    <a:pt x="35" y="74"/>
                  </a:cubicBezTo>
                  <a:cubicBezTo>
                    <a:pt x="35" y="73"/>
                    <a:pt x="35" y="72"/>
                    <a:pt x="34" y="71"/>
                  </a:cubicBezTo>
                  <a:cubicBezTo>
                    <a:pt x="34" y="71"/>
                    <a:pt x="33" y="72"/>
                    <a:pt x="33" y="73"/>
                  </a:cubicBezTo>
                  <a:cubicBezTo>
                    <a:pt x="31" y="75"/>
                    <a:pt x="30" y="77"/>
                    <a:pt x="28" y="77"/>
                  </a:cubicBezTo>
                  <a:cubicBezTo>
                    <a:pt x="27" y="77"/>
                    <a:pt x="26" y="76"/>
                    <a:pt x="26" y="76"/>
                  </a:cubicBezTo>
                  <a:cubicBezTo>
                    <a:pt x="26" y="76"/>
                    <a:pt x="26" y="76"/>
                    <a:pt x="26" y="76"/>
                  </a:cubicBezTo>
                  <a:cubicBezTo>
                    <a:pt x="24" y="76"/>
                    <a:pt x="21" y="74"/>
                    <a:pt x="22" y="69"/>
                  </a:cubicBezTo>
                  <a:cubicBezTo>
                    <a:pt x="23" y="68"/>
                    <a:pt x="23" y="67"/>
                    <a:pt x="23" y="66"/>
                  </a:cubicBezTo>
                  <a:cubicBezTo>
                    <a:pt x="22" y="67"/>
                    <a:pt x="21" y="67"/>
                    <a:pt x="20" y="68"/>
                  </a:cubicBezTo>
                  <a:cubicBezTo>
                    <a:pt x="19" y="69"/>
                    <a:pt x="17" y="69"/>
                    <a:pt x="16" y="69"/>
                  </a:cubicBezTo>
                  <a:cubicBezTo>
                    <a:pt x="14" y="69"/>
                    <a:pt x="13" y="68"/>
                    <a:pt x="13" y="68"/>
                  </a:cubicBezTo>
                  <a:cubicBezTo>
                    <a:pt x="12" y="67"/>
                    <a:pt x="12" y="67"/>
                    <a:pt x="12" y="67"/>
                  </a:cubicBezTo>
                  <a:cubicBezTo>
                    <a:pt x="12" y="67"/>
                    <a:pt x="9" y="64"/>
                    <a:pt x="12" y="60"/>
                  </a:cubicBezTo>
                  <a:cubicBezTo>
                    <a:pt x="13" y="59"/>
                    <a:pt x="13" y="58"/>
                    <a:pt x="13" y="57"/>
                  </a:cubicBezTo>
                  <a:cubicBezTo>
                    <a:pt x="13" y="57"/>
                    <a:pt x="12" y="58"/>
                    <a:pt x="11" y="58"/>
                  </a:cubicBezTo>
                  <a:cubicBezTo>
                    <a:pt x="10" y="58"/>
                    <a:pt x="9" y="58"/>
                    <a:pt x="8" y="58"/>
                  </a:cubicBezTo>
                  <a:cubicBezTo>
                    <a:pt x="5" y="58"/>
                    <a:pt x="4" y="56"/>
                    <a:pt x="4" y="55"/>
                  </a:cubicBezTo>
                  <a:cubicBezTo>
                    <a:pt x="4" y="55"/>
                    <a:pt x="4" y="55"/>
                    <a:pt x="4" y="55"/>
                  </a:cubicBezTo>
                  <a:cubicBezTo>
                    <a:pt x="3" y="54"/>
                    <a:pt x="2" y="50"/>
                    <a:pt x="6" y="48"/>
                  </a:cubicBezTo>
                  <a:cubicBezTo>
                    <a:pt x="7" y="47"/>
                    <a:pt x="8" y="46"/>
                    <a:pt x="9" y="46"/>
                  </a:cubicBezTo>
                  <a:cubicBezTo>
                    <a:pt x="8" y="45"/>
                    <a:pt x="7" y="45"/>
                    <a:pt x="6" y="45"/>
                  </a:cubicBezTo>
                  <a:cubicBezTo>
                    <a:pt x="1" y="44"/>
                    <a:pt x="1" y="41"/>
                    <a:pt x="1" y="40"/>
                  </a:cubicBezTo>
                  <a:cubicBezTo>
                    <a:pt x="1" y="39"/>
                    <a:pt x="1" y="39"/>
                    <a:pt x="1" y="39"/>
                  </a:cubicBezTo>
                  <a:cubicBezTo>
                    <a:pt x="1" y="38"/>
                    <a:pt x="0" y="35"/>
                    <a:pt x="6" y="34"/>
                  </a:cubicBezTo>
                  <a:cubicBezTo>
                    <a:pt x="6" y="34"/>
                    <a:pt x="7" y="34"/>
                    <a:pt x="8" y="33"/>
                  </a:cubicBezTo>
                  <a:cubicBezTo>
                    <a:pt x="7" y="33"/>
                    <a:pt x="7" y="33"/>
                    <a:pt x="6" y="32"/>
                  </a:cubicBezTo>
                  <a:cubicBezTo>
                    <a:pt x="1" y="30"/>
                    <a:pt x="3" y="26"/>
                    <a:pt x="3" y="25"/>
                  </a:cubicBezTo>
                  <a:cubicBezTo>
                    <a:pt x="6" y="26"/>
                    <a:pt x="6" y="26"/>
                    <a:pt x="6" y="26"/>
                  </a:cubicBezTo>
                  <a:cubicBezTo>
                    <a:pt x="3" y="25"/>
                    <a:pt x="3" y="25"/>
                    <a:pt x="3" y="25"/>
                  </a:cubicBezTo>
                  <a:cubicBezTo>
                    <a:pt x="4" y="24"/>
                    <a:pt x="5" y="22"/>
                    <a:pt x="8" y="22"/>
                  </a:cubicBezTo>
                  <a:cubicBezTo>
                    <a:pt x="9" y="22"/>
                    <a:pt x="9" y="22"/>
                    <a:pt x="10" y="22"/>
                  </a:cubicBezTo>
                  <a:cubicBezTo>
                    <a:pt x="11" y="22"/>
                    <a:pt x="12" y="22"/>
                    <a:pt x="13" y="22"/>
                  </a:cubicBezTo>
                  <a:cubicBezTo>
                    <a:pt x="13" y="22"/>
                    <a:pt x="13" y="22"/>
                    <a:pt x="13" y="22"/>
                  </a:cubicBezTo>
                  <a:cubicBezTo>
                    <a:pt x="13" y="21"/>
                    <a:pt x="12" y="20"/>
                    <a:pt x="11" y="19"/>
                  </a:cubicBezTo>
                  <a:cubicBezTo>
                    <a:pt x="8" y="15"/>
                    <a:pt x="11" y="13"/>
                    <a:pt x="11" y="12"/>
                  </a:cubicBezTo>
                  <a:cubicBezTo>
                    <a:pt x="13" y="14"/>
                    <a:pt x="13" y="14"/>
                    <a:pt x="13" y="14"/>
                  </a:cubicBezTo>
                  <a:cubicBezTo>
                    <a:pt x="12" y="12"/>
                    <a:pt x="12" y="12"/>
                    <a:pt x="12" y="12"/>
                  </a:cubicBezTo>
                  <a:cubicBezTo>
                    <a:pt x="12" y="11"/>
                    <a:pt x="13" y="10"/>
                    <a:pt x="15" y="10"/>
                  </a:cubicBezTo>
                  <a:cubicBezTo>
                    <a:pt x="17" y="10"/>
                    <a:pt x="18" y="11"/>
                    <a:pt x="19" y="12"/>
                  </a:cubicBezTo>
                  <a:cubicBezTo>
                    <a:pt x="20" y="12"/>
                    <a:pt x="21" y="13"/>
                    <a:pt x="22" y="13"/>
                  </a:cubicBezTo>
                  <a:cubicBezTo>
                    <a:pt x="22" y="12"/>
                    <a:pt x="21" y="11"/>
                    <a:pt x="21" y="10"/>
                  </a:cubicBezTo>
                  <a:cubicBezTo>
                    <a:pt x="20" y="5"/>
                    <a:pt x="23" y="4"/>
                    <a:pt x="24" y="3"/>
                  </a:cubicBezTo>
                  <a:cubicBezTo>
                    <a:pt x="25" y="5"/>
                    <a:pt x="25" y="5"/>
                    <a:pt x="25" y="5"/>
                  </a:cubicBezTo>
                  <a:cubicBezTo>
                    <a:pt x="24" y="3"/>
                    <a:pt x="24" y="3"/>
                    <a:pt x="24" y="3"/>
                  </a:cubicBezTo>
                  <a:cubicBezTo>
                    <a:pt x="25" y="3"/>
                    <a:pt x="26" y="2"/>
                    <a:pt x="27" y="2"/>
                  </a:cubicBezTo>
                  <a:cubicBezTo>
                    <a:pt x="29" y="2"/>
                    <a:pt x="30" y="4"/>
                    <a:pt x="31" y="6"/>
                  </a:cubicBezTo>
                  <a:cubicBezTo>
                    <a:pt x="32" y="7"/>
                    <a:pt x="33" y="7"/>
                    <a:pt x="33" y="8"/>
                  </a:cubicBezTo>
                  <a:cubicBezTo>
                    <a:pt x="33" y="7"/>
                    <a:pt x="34" y="6"/>
                    <a:pt x="34" y="5"/>
                  </a:cubicBezTo>
                  <a:cubicBezTo>
                    <a:pt x="34" y="2"/>
                    <a:pt x="36" y="0"/>
                    <a:pt x="39" y="0"/>
                  </a:cubicBezTo>
                  <a:cubicBezTo>
                    <a:pt x="39" y="0"/>
                    <a:pt x="39" y="0"/>
                    <a:pt x="39" y="0"/>
                  </a:cubicBezTo>
                  <a:cubicBezTo>
                    <a:pt x="40" y="2"/>
                    <a:pt x="40" y="2"/>
                    <a:pt x="40" y="2"/>
                  </a:cubicBezTo>
                  <a:cubicBezTo>
                    <a:pt x="40" y="0"/>
                    <a:pt x="40" y="0"/>
                    <a:pt x="40" y="0"/>
                  </a:cubicBezTo>
                  <a:cubicBezTo>
                    <a:pt x="40" y="0"/>
                    <a:pt x="40" y="0"/>
                    <a:pt x="40" y="0"/>
                  </a:cubicBezTo>
                  <a:cubicBezTo>
                    <a:pt x="43" y="0"/>
                    <a:pt x="45" y="2"/>
                    <a:pt x="45" y="5"/>
                  </a:cubicBezTo>
                  <a:cubicBezTo>
                    <a:pt x="45" y="6"/>
                    <a:pt x="46" y="7"/>
                    <a:pt x="46" y="8"/>
                  </a:cubicBezTo>
                  <a:cubicBezTo>
                    <a:pt x="46" y="7"/>
                    <a:pt x="47" y="6"/>
                    <a:pt x="48" y="5"/>
                  </a:cubicBezTo>
                  <a:cubicBezTo>
                    <a:pt x="48" y="5"/>
                    <a:pt x="50" y="2"/>
                    <a:pt x="52" y="2"/>
                  </a:cubicBezTo>
                  <a:cubicBezTo>
                    <a:pt x="53" y="2"/>
                    <a:pt x="54" y="3"/>
                    <a:pt x="55" y="3"/>
                  </a:cubicBezTo>
                  <a:cubicBezTo>
                    <a:pt x="55" y="3"/>
                    <a:pt x="55" y="3"/>
                    <a:pt x="55" y="3"/>
                  </a:cubicBezTo>
                  <a:cubicBezTo>
                    <a:pt x="56" y="3"/>
                    <a:pt x="59" y="5"/>
                    <a:pt x="58" y="10"/>
                  </a:cubicBezTo>
                  <a:cubicBezTo>
                    <a:pt x="58" y="11"/>
                    <a:pt x="58" y="12"/>
                    <a:pt x="58" y="12"/>
                  </a:cubicBezTo>
                  <a:cubicBezTo>
                    <a:pt x="58" y="12"/>
                    <a:pt x="59" y="12"/>
                    <a:pt x="60" y="11"/>
                  </a:cubicBezTo>
                  <a:cubicBezTo>
                    <a:pt x="62" y="10"/>
                    <a:pt x="63" y="9"/>
                    <a:pt x="64" y="9"/>
                  </a:cubicBezTo>
                  <a:cubicBezTo>
                    <a:pt x="66" y="9"/>
                    <a:pt x="67" y="11"/>
                    <a:pt x="68" y="11"/>
                  </a:cubicBezTo>
                  <a:cubicBezTo>
                    <a:pt x="66" y="13"/>
                    <a:pt x="66" y="13"/>
                    <a:pt x="66" y="13"/>
                  </a:cubicBezTo>
                  <a:cubicBezTo>
                    <a:pt x="68" y="11"/>
                    <a:pt x="68" y="11"/>
                    <a:pt x="68" y="11"/>
                  </a:cubicBezTo>
                  <a:cubicBezTo>
                    <a:pt x="69" y="12"/>
                    <a:pt x="71" y="15"/>
                    <a:pt x="68" y="19"/>
                  </a:cubicBezTo>
                  <a:cubicBezTo>
                    <a:pt x="67" y="20"/>
                    <a:pt x="67" y="21"/>
                    <a:pt x="67" y="21"/>
                  </a:cubicBezTo>
                  <a:cubicBezTo>
                    <a:pt x="68" y="21"/>
                    <a:pt x="69" y="21"/>
                    <a:pt x="70" y="21"/>
                  </a:cubicBezTo>
                  <a:cubicBezTo>
                    <a:pt x="70" y="21"/>
                    <a:pt x="71" y="21"/>
                    <a:pt x="72" y="21"/>
                  </a:cubicBezTo>
                  <a:cubicBezTo>
                    <a:pt x="75" y="21"/>
                    <a:pt x="76" y="23"/>
                    <a:pt x="76" y="24"/>
                  </a:cubicBezTo>
                  <a:cubicBezTo>
                    <a:pt x="76" y="24"/>
                    <a:pt x="76" y="24"/>
                    <a:pt x="76" y="24"/>
                  </a:cubicBezTo>
                  <a:cubicBezTo>
                    <a:pt x="77" y="25"/>
                    <a:pt x="78" y="29"/>
                    <a:pt x="74" y="31"/>
                  </a:cubicBezTo>
                  <a:cubicBezTo>
                    <a:pt x="73" y="32"/>
                    <a:pt x="72" y="32"/>
                    <a:pt x="72" y="33"/>
                  </a:cubicBezTo>
                  <a:cubicBezTo>
                    <a:pt x="72" y="33"/>
                    <a:pt x="73" y="34"/>
                    <a:pt x="74" y="34"/>
                  </a:cubicBezTo>
                  <a:cubicBezTo>
                    <a:pt x="80" y="35"/>
                    <a:pt x="79" y="38"/>
                    <a:pt x="79" y="39"/>
                  </a:cubicBezTo>
                  <a:cubicBezTo>
                    <a:pt x="77" y="40"/>
                    <a:pt x="77" y="40"/>
                    <a:pt x="77" y="40"/>
                  </a:cubicBezTo>
                  <a:cubicBezTo>
                    <a:pt x="79" y="40"/>
                    <a:pt x="79" y="40"/>
                    <a:pt x="79" y="40"/>
                  </a:cubicBezTo>
                  <a:cubicBezTo>
                    <a:pt x="79" y="41"/>
                    <a:pt x="79" y="44"/>
                    <a:pt x="74" y="45"/>
                  </a:cubicBezTo>
                  <a:cubicBezTo>
                    <a:pt x="74" y="45"/>
                    <a:pt x="73" y="45"/>
                    <a:pt x="73" y="45"/>
                  </a:cubicBezTo>
                  <a:cubicBezTo>
                    <a:pt x="73" y="46"/>
                    <a:pt x="74" y="46"/>
                    <a:pt x="74" y="46"/>
                  </a:cubicBezTo>
                  <a:cubicBezTo>
                    <a:pt x="79" y="48"/>
                    <a:pt x="77" y="52"/>
                    <a:pt x="77" y="53"/>
                  </a:cubicBezTo>
                  <a:cubicBezTo>
                    <a:pt x="77" y="53"/>
                    <a:pt x="77" y="53"/>
                    <a:pt x="77" y="53"/>
                  </a:cubicBezTo>
                  <a:cubicBezTo>
                    <a:pt x="77" y="54"/>
                    <a:pt x="76" y="57"/>
                    <a:pt x="72" y="57"/>
                  </a:cubicBezTo>
                  <a:cubicBezTo>
                    <a:pt x="72" y="57"/>
                    <a:pt x="71" y="57"/>
                    <a:pt x="70" y="56"/>
                  </a:cubicBezTo>
                  <a:cubicBezTo>
                    <a:pt x="69" y="56"/>
                    <a:pt x="68" y="56"/>
                    <a:pt x="67" y="56"/>
                  </a:cubicBezTo>
                  <a:cubicBezTo>
                    <a:pt x="68" y="57"/>
                    <a:pt x="68" y="58"/>
                    <a:pt x="69" y="59"/>
                  </a:cubicBezTo>
                  <a:cubicBezTo>
                    <a:pt x="72" y="63"/>
                    <a:pt x="70" y="65"/>
                    <a:pt x="69" y="66"/>
                  </a:cubicBezTo>
                  <a:cubicBezTo>
                    <a:pt x="68" y="67"/>
                    <a:pt x="67" y="68"/>
                    <a:pt x="65" y="68"/>
                  </a:cubicBezTo>
                  <a:cubicBezTo>
                    <a:pt x="64" y="68"/>
                    <a:pt x="63" y="68"/>
                    <a:pt x="61" y="67"/>
                  </a:cubicBezTo>
                  <a:cubicBezTo>
                    <a:pt x="60" y="66"/>
                    <a:pt x="59" y="66"/>
                    <a:pt x="59" y="66"/>
                  </a:cubicBezTo>
                  <a:cubicBezTo>
                    <a:pt x="59" y="66"/>
                    <a:pt x="59" y="67"/>
                    <a:pt x="59" y="68"/>
                  </a:cubicBezTo>
                  <a:cubicBezTo>
                    <a:pt x="61" y="73"/>
                    <a:pt x="57" y="75"/>
                    <a:pt x="56" y="75"/>
                  </a:cubicBezTo>
                  <a:cubicBezTo>
                    <a:pt x="56" y="75"/>
                    <a:pt x="56" y="75"/>
                    <a:pt x="56" y="75"/>
                  </a:cubicBezTo>
                  <a:cubicBezTo>
                    <a:pt x="55" y="76"/>
                    <a:pt x="55" y="76"/>
                    <a:pt x="53" y="76"/>
                  </a:cubicBezTo>
                  <a:cubicBezTo>
                    <a:pt x="51" y="76"/>
                    <a:pt x="49" y="74"/>
                    <a:pt x="49" y="73"/>
                  </a:cubicBezTo>
                  <a:cubicBezTo>
                    <a:pt x="48" y="72"/>
                    <a:pt x="48" y="71"/>
                    <a:pt x="47" y="71"/>
                  </a:cubicBezTo>
                  <a:cubicBezTo>
                    <a:pt x="47" y="71"/>
                    <a:pt x="46" y="72"/>
                    <a:pt x="46" y="73"/>
                  </a:cubicBezTo>
                  <a:cubicBezTo>
                    <a:pt x="46" y="79"/>
                    <a:pt x="42" y="79"/>
                    <a:pt x="41" y="79"/>
                  </a:cubicBezTo>
                  <a:cubicBezTo>
                    <a:pt x="41" y="79"/>
                    <a:pt x="41" y="79"/>
                    <a:pt x="41" y="79"/>
                  </a:cubicBezTo>
                  <a:lnTo>
                    <a:pt x="40" y="79"/>
                  </a:lnTo>
                  <a:close/>
                  <a:moveTo>
                    <a:pt x="35" y="65"/>
                  </a:moveTo>
                  <a:cubicBezTo>
                    <a:pt x="35" y="65"/>
                    <a:pt x="35" y="65"/>
                    <a:pt x="35" y="65"/>
                  </a:cubicBezTo>
                  <a:cubicBezTo>
                    <a:pt x="39" y="66"/>
                    <a:pt x="40" y="72"/>
                    <a:pt x="40" y="73"/>
                  </a:cubicBezTo>
                  <a:cubicBezTo>
                    <a:pt x="40" y="73"/>
                    <a:pt x="40" y="74"/>
                    <a:pt x="40" y="74"/>
                  </a:cubicBezTo>
                  <a:cubicBezTo>
                    <a:pt x="41" y="74"/>
                    <a:pt x="41" y="74"/>
                    <a:pt x="41" y="74"/>
                  </a:cubicBezTo>
                  <a:cubicBezTo>
                    <a:pt x="41" y="74"/>
                    <a:pt x="41" y="74"/>
                    <a:pt x="41" y="74"/>
                  </a:cubicBezTo>
                  <a:cubicBezTo>
                    <a:pt x="41" y="74"/>
                    <a:pt x="41" y="74"/>
                    <a:pt x="41" y="74"/>
                  </a:cubicBezTo>
                  <a:cubicBezTo>
                    <a:pt x="41" y="74"/>
                    <a:pt x="41" y="73"/>
                    <a:pt x="41" y="73"/>
                  </a:cubicBezTo>
                  <a:cubicBezTo>
                    <a:pt x="42" y="71"/>
                    <a:pt x="43" y="67"/>
                    <a:pt x="44" y="66"/>
                  </a:cubicBezTo>
                  <a:cubicBezTo>
                    <a:pt x="45" y="65"/>
                    <a:pt x="45" y="65"/>
                    <a:pt x="46" y="65"/>
                  </a:cubicBezTo>
                  <a:cubicBezTo>
                    <a:pt x="46" y="65"/>
                    <a:pt x="46" y="65"/>
                    <a:pt x="46" y="65"/>
                  </a:cubicBezTo>
                  <a:cubicBezTo>
                    <a:pt x="49" y="65"/>
                    <a:pt x="53" y="70"/>
                    <a:pt x="53" y="70"/>
                  </a:cubicBezTo>
                  <a:cubicBezTo>
                    <a:pt x="54" y="71"/>
                    <a:pt x="54" y="71"/>
                    <a:pt x="54" y="71"/>
                  </a:cubicBezTo>
                  <a:cubicBezTo>
                    <a:pt x="54" y="71"/>
                    <a:pt x="54" y="71"/>
                    <a:pt x="54" y="71"/>
                  </a:cubicBezTo>
                  <a:cubicBezTo>
                    <a:pt x="54" y="71"/>
                    <a:pt x="54" y="71"/>
                    <a:pt x="54" y="71"/>
                  </a:cubicBezTo>
                  <a:cubicBezTo>
                    <a:pt x="54" y="71"/>
                    <a:pt x="54" y="71"/>
                    <a:pt x="54" y="71"/>
                  </a:cubicBezTo>
                  <a:cubicBezTo>
                    <a:pt x="54" y="70"/>
                    <a:pt x="54" y="70"/>
                    <a:pt x="54" y="70"/>
                  </a:cubicBezTo>
                  <a:cubicBezTo>
                    <a:pt x="54" y="67"/>
                    <a:pt x="53" y="64"/>
                    <a:pt x="54" y="62"/>
                  </a:cubicBezTo>
                  <a:cubicBezTo>
                    <a:pt x="54" y="61"/>
                    <a:pt x="55" y="61"/>
                    <a:pt x="55" y="61"/>
                  </a:cubicBezTo>
                  <a:cubicBezTo>
                    <a:pt x="58" y="60"/>
                    <a:pt x="62" y="61"/>
                    <a:pt x="64" y="63"/>
                  </a:cubicBezTo>
                  <a:cubicBezTo>
                    <a:pt x="65" y="63"/>
                    <a:pt x="65" y="63"/>
                    <a:pt x="65" y="63"/>
                  </a:cubicBezTo>
                  <a:cubicBezTo>
                    <a:pt x="65" y="63"/>
                    <a:pt x="65" y="63"/>
                    <a:pt x="65" y="63"/>
                  </a:cubicBezTo>
                  <a:cubicBezTo>
                    <a:pt x="65" y="63"/>
                    <a:pt x="65" y="63"/>
                    <a:pt x="65" y="63"/>
                  </a:cubicBezTo>
                  <a:cubicBezTo>
                    <a:pt x="65" y="63"/>
                    <a:pt x="65" y="63"/>
                    <a:pt x="65" y="63"/>
                  </a:cubicBezTo>
                  <a:cubicBezTo>
                    <a:pt x="65" y="62"/>
                    <a:pt x="65" y="62"/>
                    <a:pt x="65" y="62"/>
                  </a:cubicBezTo>
                  <a:cubicBezTo>
                    <a:pt x="63" y="60"/>
                    <a:pt x="62" y="57"/>
                    <a:pt x="62" y="55"/>
                  </a:cubicBezTo>
                  <a:cubicBezTo>
                    <a:pt x="62" y="54"/>
                    <a:pt x="62" y="54"/>
                    <a:pt x="62" y="53"/>
                  </a:cubicBezTo>
                  <a:cubicBezTo>
                    <a:pt x="63" y="52"/>
                    <a:pt x="65" y="51"/>
                    <a:pt x="68" y="51"/>
                  </a:cubicBezTo>
                  <a:cubicBezTo>
                    <a:pt x="69" y="51"/>
                    <a:pt x="70" y="51"/>
                    <a:pt x="71" y="52"/>
                  </a:cubicBezTo>
                  <a:cubicBezTo>
                    <a:pt x="72" y="52"/>
                    <a:pt x="72" y="52"/>
                    <a:pt x="72" y="52"/>
                  </a:cubicBezTo>
                  <a:cubicBezTo>
                    <a:pt x="72" y="52"/>
                    <a:pt x="72" y="52"/>
                    <a:pt x="72" y="52"/>
                  </a:cubicBezTo>
                  <a:cubicBezTo>
                    <a:pt x="72" y="51"/>
                    <a:pt x="72" y="51"/>
                    <a:pt x="72" y="51"/>
                  </a:cubicBezTo>
                  <a:cubicBezTo>
                    <a:pt x="72" y="51"/>
                    <a:pt x="72" y="51"/>
                    <a:pt x="72" y="51"/>
                  </a:cubicBezTo>
                  <a:cubicBezTo>
                    <a:pt x="72" y="51"/>
                    <a:pt x="72" y="51"/>
                    <a:pt x="72" y="51"/>
                  </a:cubicBezTo>
                  <a:cubicBezTo>
                    <a:pt x="70" y="49"/>
                    <a:pt x="67" y="48"/>
                    <a:pt x="66" y="46"/>
                  </a:cubicBezTo>
                  <a:cubicBezTo>
                    <a:pt x="66" y="45"/>
                    <a:pt x="66" y="43"/>
                    <a:pt x="67" y="43"/>
                  </a:cubicBezTo>
                  <a:cubicBezTo>
                    <a:pt x="69" y="41"/>
                    <a:pt x="72" y="40"/>
                    <a:pt x="74" y="40"/>
                  </a:cubicBezTo>
                  <a:cubicBezTo>
                    <a:pt x="74" y="40"/>
                    <a:pt x="74" y="40"/>
                    <a:pt x="74" y="40"/>
                  </a:cubicBezTo>
                  <a:cubicBezTo>
                    <a:pt x="74" y="40"/>
                    <a:pt x="74" y="40"/>
                    <a:pt x="74" y="40"/>
                  </a:cubicBezTo>
                  <a:cubicBezTo>
                    <a:pt x="74" y="39"/>
                    <a:pt x="74" y="39"/>
                    <a:pt x="74" y="39"/>
                  </a:cubicBezTo>
                  <a:cubicBezTo>
                    <a:pt x="74" y="39"/>
                    <a:pt x="74" y="39"/>
                    <a:pt x="74" y="39"/>
                  </a:cubicBezTo>
                  <a:cubicBezTo>
                    <a:pt x="74" y="39"/>
                    <a:pt x="74" y="39"/>
                    <a:pt x="74" y="39"/>
                  </a:cubicBezTo>
                  <a:cubicBezTo>
                    <a:pt x="73" y="39"/>
                    <a:pt x="67" y="38"/>
                    <a:pt x="66" y="34"/>
                  </a:cubicBezTo>
                  <a:cubicBezTo>
                    <a:pt x="66" y="34"/>
                    <a:pt x="66" y="33"/>
                    <a:pt x="66" y="33"/>
                  </a:cubicBezTo>
                  <a:cubicBezTo>
                    <a:pt x="67" y="30"/>
                    <a:pt x="70" y="27"/>
                    <a:pt x="71" y="27"/>
                  </a:cubicBezTo>
                  <a:cubicBezTo>
                    <a:pt x="72" y="27"/>
                    <a:pt x="72" y="27"/>
                    <a:pt x="72" y="27"/>
                  </a:cubicBezTo>
                  <a:cubicBezTo>
                    <a:pt x="72" y="26"/>
                    <a:pt x="72" y="26"/>
                    <a:pt x="72" y="26"/>
                  </a:cubicBezTo>
                  <a:cubicBezTo>
                    <a:pt x="72" y="26"/>
                    <a:pt x="72" y="26"/>
                    <a:pt x="72" y="26"/>
                  </a:cubicBezTo>
                  <a:cubicBezTo>
                    <a:pt x="72" y="26"/>
                    <a:pt x="72" y="26"/>
                    <a:pt x="72" y="26"/>
                  </a:cubicBezTo>
                  <a:cubicBezTo>
                    <a:pt x="71" y="26"/>
                    <a:pt x="71" y="26"/>
                    <a:pt x="71" y="26"/>
                  </a:cubicBezTo>
                  <a:cubicBezTo>
                    <a:pt x="70" y="26"/>
                    <a:pt x="68" y="26"/>
                    <a:pt x="67" y="26"/>
                  </a:cubicBezTo>
                  <a:cubicBezTo>
                    <a:pt x="65" y="26"/>
                    <a:pt x="63" y="26"/>
                    <a:pt x="62" y="25"/>
                  </a:cubicBezTo>
                  <a:cubicBezTo>
                    <a:pt x="61" y="24"/>
                    <a:pt x="61" y="24"/>
                    <a:pt x="61" y="23"/>
                  </a:cubicBezTo>
                  <a:cubicBezTo>
                    <a:pt x="61" y="21"/>
                    <a:pt x="63" y="18"/>
                    <a:pt x="64" y="16"/>
                  </a:cubicBezTo>
                  <a:cubicBezTo>
                    <a:pt x="65" y="15"/>
                    <a:pt x="65" y="15"/>
                    <a:pt x="65" y="15"/>
                  </a:cubicBezTo>
                  <a:cubicBezTo>
                    <a:pt x="64" y="15"/>
                    <a:pt x="64" y="15"/>
                    <a:pt x="64" y="15"/>
                  </a:cubicBezTo>
                  <a:cubicBezTo>
                    <a:pt x="64" y="15"/>
                    <a:pt x="64" y="15"/>
                    <a:pt x="64" y="15"/>
                  </a:cubicBezTo>
                  <a:cubicBezTo>
                    <a:pt x="64" y="15"/>
                    <a:pt x="64" y="15"/>
                    <a:pt x="64" y="15"/>
                  </a:cubicBezTo>
                  <a:cubicBezTo>
                    <a:pt x="63" y="15"/>
                    <a:pt x="63" y="15"/>
                    <a:pt x="63" y="15"/>
                  </a:cubicBezTo>
                  <a:cubicBezTo>
                    <a:pt x="61" y="17"/>
                    <a:pt x="57" y="18"/>
                    <a:pt x="55" y="17"/>
                  </a:cubicBezTo>
                  <a:cubicBezTo>
                    <a:pt x="54" y="17"/>
                    <a:pt x="54" y="17"/>
                    <a:pt x="53" y="16"/>
                  </a:cubicBezTo>
                  <a:cubicBezTo>
                    <a:pt x="52" y="14"/>
                    <a:pt x="53" y="11"/>
                    <a:pt x="53" y="8"/>
                  </a:cubicBezTo>
                  <a:cubicBezTo>
                    <a:pt x="53" y="8"/>
                    <a:pt x="53" y="8"/>
                    <a:pt x="53" y="8"/>
                  </a:cubicBezTo>
                  <a:cubicBezTo>
                    <a:pt x="53" y="8"/>
                    <a:pt x="53" y="8"/>
                    <a:pt x="53" y="8"/>
                  </a:cubicBezTo>
                  <a:cubicBezTo>
                    <a:pt x="53" y="7"/>
                    <a:pt x="53" y="7"/>
                    <a:pt x="53" y="7"/>
                  </a:cubicBezTo>
                  <a:cubicBezTo>
                    <a:pt x="53" y="7"/>
                    <a:pt x="53" y="7"/>
                    <a:pt x="53" y="7"/>
                  </a:cubicBezTo>
                  <a:cubicBezTo>
                    <a:pt x="52" y="8"/>
                    <a:pt x="52" y="8"/>
                    <a:pt x="52" y="8"/>
                  </a:cubicBezTo>
                  <a:cubicBezTo>
                    <a:pt x="52" y="9"/>
                    <a:pt x="48" y="14"/>
                    <a:pt x="45" y="14"/>
                  </a:cubicBezTo>
                  <a:cubicBezTo>
                    <a:pt x="44" y="14"/>
                    <a:pt x="44" y="13"/>
                    <a:pt x="43" y="13"/>
                  </a:cubicBezTo>
                  <a:cubicBezTo>
                    <a:pt x="42" y="11"/>
                    <a:pt x="41" y="8"/>
                    <a:pt x="40" y="6"/>
                  </a:cubicBezTo>
                  <a:cubicBezTo>
                    <a:pt x="40" y="5"/>
                    <a:pt x="40" y="5"/>
                    <a:pt x="40" y="5"/>
                  </a:cubicBezTo>
                  <a:cubicBezTo>
                    <a:pt x="40" y="5"/>
                    <a:pt x="40" y="5"/>
                    <a:pt x="40" y="5"/>
                  </a:cubicBezTo>
                  <a:cubicBezTo>
                    <a:pt x="39" y="5"/>
                    <a:pt x="39" y="5"/>
                    <a:pt x="39" y="5"/>
                  </a:cubicBezTo>
                  <a:cubicBezTo>
                    <a:pt x="39" y="5"/>
                    <a:pt x="39" y="5"/>
                    <a:pt x="39" y="5"/>
                  </a:cubicBezTo>
                  <a:cubicBezTo>
                    <a:pt x="39" y="6"/>
                    <a:pt x="39" y="6"/>
                    <a:pt x="39" y="6"/>
                  </a:cubicBezTo>
                  <a:cubicBezTo>
                    <a:pt x="39" y="6"/>
                    <a:pt x="38" y="12"/>
                    <a:pt x="35" y="14"/>
                  </a:cubicBezTo>
                  <a:cubicBezTo>
                    <a:pt x="34" y="14"/>
                    <a:pt x="33" y="14"/>
                    <a:pt x="33" y="14"/>
                  </a:cubicBezTo>
                  <a:cubicBezTo>
                    <a:pt x="31" y="13"/>
                    <a:pt x="28" y="10"/>
                    <a:pt x="27" y="8"/>
                  </a:cubicBezTo>
                  <a:cubicBezTo>
                    <a:pt x="27" y="8"/>
                    <a:pt x="27" y="8"/>
                    <a:pt x="27" y="8"/>
                  </a:cubicBezTo>
                  <a:cubicBezTo>
                    <a:pt x="26" y="8"/>
                    <a:pt x="26" y="8"/>
                    <a:pt x="26" y="8"/>
                  </a:cubicBezTo>
                  <a:cubicBezTo>
                    <a:pt x="26" y="8"/>
                    <a:pt x="26" y="8"/>
                    <a:pt x="26" y="8"/>
                  </a:cubicBezTo>
                  <a:cubicBezTo>
                    <a:pt x="26" y="8"/>
                    <a:pt x="26" y="8"/>
                    <a:pt x="26" y="8"/>
                  </a:cubicBezTo>
                  <a:cubicBezTo>
                    <a:pt x="26" y="9"/>
                    <a:pt x="26" y="9"/>
                    <a:pt x="26" y="9"/>
                  </a:cubicBezTo>
                  <a:cubicBezTo>
                    <a:pt x="26" y="9"/>
                    <a:pt x="28" y="15"/>
                    <a:pt x="25" y="18"/>
                  </a:cubicBezTo>
                  <a:cubicBezTo>
                    <a:pt x="25" y="18"/>
                    <a:pt x="24" y="18"/>
                    <a:pt x="23" y="18"/>
                  </a:cubicBezTo>
                  <a:cubicBezTo>
                    <a:pt x="23" y="18"/>
                    <a:pt x="23" y="18"/>
                    <a:pt x="23" y="18"/>
                  </a:cubicBezTo>
                  <a:cubicBezTo>
                    <a:pt x="21" y="18"/>
                    <a:pt x="18" y="17"/>
                    <a:pt x="16" y="16"/>
                  </a:cubicBezTo>
                  <a:cubicBezTo>
                    <a:pt x="15" y="15"/>
                    <a:pt x="15" y="15"/>
                    <a:pt x="15" y="15"/>
                  </a:cubicBezTo>
                  <a:cubicBezTo>
                    <a:pt x="15" y="15"/>
                    <a:pt x="15" y="15"/>
                    <a:pt x="15" y="15"/>
                  </a:cubicBezTo>
                  <a:cubicBezTo>
                    <a:pt x="15" y="16"/>
                    <a:pt x="15" y="16"/>
                    <a:pt x="15" y="16"/>
                  </a:cubicBezTo>
                  <a:cubicBezTo>
                    <a:pt x="15" y="16"/>
                    <a:pt x="15" y="16"/>
                    <a:pt x="15" y="16"/>
                  </a:cubicBezTo>
                  <a:cubicBezTo>
                    <a:pt x="15" y="16"/>
                    <a:pt x="15" y="16"/>
                    <a:pt x="15" y="16"/>
                  </a:cubicBezTo>
                  <a:cubicBezTo>
                    <a:pt x="16" y="17"/>
                    <a:pt x="19" y="22"/>
                    <a:pt x="18" y="25"/>
                  </a:cubicBezTo>
                  <a:cubicBezTo>
                    <a:pt x="18" y="26"/>
                    <a:pt x="17" y="26"/>
                    <a:pt x="17" y="26"/>
                  </a:cubicBezTo>
                  <a:cubicBezTo>
                    <a:pt x="16" y="27"/>
                    <a:pt x="14" y="27"/>
                    <a:pt x="13" y="27"/>
                  </a:cubicBezTo>
                  <a:cubicBezTo>
                    <a:pt x="12" y="27"/>
                    <a:pt x="10" y="27"/>
                    <a:pt x="9" y="27"/>
                  </a:cubicBezTo>
                  <a:cubicBezTo>
                    <a:pt x="8" y="27"/>
                    <a:pt x="8" y="27"/>
                    <a:pt x="8" y="27"/>
                  </a:cubicBezTo>
                  <a:cubicBezTo>
                    <a:pt x="8" y="27"/>
                    <a:pt x="8" y="27"/>
                    <a:pt x="8" y="27"/>
                  </a:cubicBezTo>
                  <a:cubicBezTo>
                    <a:pt x="8" y="27"/>
                    <a:pt x="8" y="27"/>
                    <a:pt x="8" y="27"/>
                  </a:cubicBezTo>
                  <a:cubicBezTo>
                    <a:pt x="8" y="27"/>
                    <a:pt x="8" y="27"/>
                    <a:pt x="8" y="27"/>
                  </a:cubicBezTo>
                  <a:cubicBezTo>
                    <a:pt x="8" y="28"/>
                    <a:pt x="8" y="28"/>
                    <a:pt x="8" y="28"/>
                  </a:cubicBezTo>
                  <a:cubicBezTo>
                    <a:pt x="10" y="29"/>
                    <a:pt x="13" y="31"/>
                    <a:pt x="14" y="33"/>
                  </a:cubicBezTo>
                  <a:cubicBezTo>
                    <a:pt x="14" y="34"/>
                    <a:pt x="14" y="35"/>
                    <a:pt x="13" y="36"/>
                  </a:cubicBezTo>
                  <a:cubicBezTo>
                    <a:pt x="12" y="37"/>
                    <a:pt x="9" y="38"/>
                    <a:pt x="6" y="39"/>
                  </a:cubicBezTo>
                  <a:cubicBezTo>
                    <a:pt x="6" y="39"/>
                    <a:pt x="6" y="39"/>
                    <a:pt x="6" y="39"/>
                  </a:cubicBezTo>
                  <a:cubicBezTo>
                    <a:pt x="6" y="39"/>
                    <a:pt x="6" y="39"/>
                    <a:pt x="6" y="39"/>
                  </a:cubicBezTo>
                  <a:cubicBezTo>
                    <a:pt x="6" y="39"/>
                    <a:pt x="6" y="39"/>
                    <a:pt x="6" y="39"/>
                  </a:cubicBezTo>
                  <a:cubicBezTo>
                    <a:pt x="6" y="40"/>
                    <a:pt x="6" y="40"/>
                    <a:pt x="6" y="40"/>
                  </a:cubicBezTo>
                  <a:cubicBezTo>
                    <a:pt x="6" y="40"/>
                    <a:pt x="6" y="40"/>
                    <a:pt x="6" y="40"/>
                  </a:cubicBezTo>
                  <a:cubicBezTo>
                    <a:pt x="9" y="40"/>
                    <a:pt x="12" y="41"/>
                    <a:pt x="14" y="43"/>
                  </a:cubicBezTo>
                  <a:cubicBezTo>
                    <a:pt x="14" y="44"/>
                    <a:pt x="14" y="44"/>
                    <a:pt x="14" y="45"/>
                  </a:cubicBezTo>
                  <a:cubicBezTo>
                    <a:pt x="14" y="48"/>
                    <a:pt x="9" y="52"/>
                    <a:pt x="9" y="52"/>
                  </a:cubicBezTo>
                  <a:cubicBezTo>
                    <a:pt x="8" y="52"/>
                    <a:pt x="8" y="52"/>
                    <a:pt x="8" y="52"/>
                  </a:cubicBezTo>
                  <a:cubicBezTo>
                    <a:pt x="8" y="53"/>
                    <a:pt x="8" y="53"/>
                    <a:pt x="8" y="53"/>
                  </a:cubicBezTo>
                  <a:cubicBezTo>
                    <a:pt x="8" y="53"/>
                    <a:pt x="8" y="53"/>
                    <a:pt x="8" y="53"/>
                  </a:cubicBezTo>
                  <a:cubicBezTo>
                    <a:pt x="9" y="53"/>
                    <a:pt x="9" y="53"/>
                    <a:pt x="9" y="53"/>
                  </a:cubicBezTo>
                  <a:cubicBezTo>
                    <a:pt x="9" y="53"/>
                    <a:pt x="9" y="53"/>
                    <a:pt x="9" y="53"/>
                  </a:cubicBezTo>
                  <a:cubicBezTo>
                    <a:pt x="12" y="52"/>
                    <a:pt x="15" y="52"/>
                    <a:pt x="17" y="53"/>
                  </a:cubicBezTo>
                  <a:cubicBezTo>
                    <a:pt x="18" y="53"/>
                    <a:pt x="18" y="54"/>
                    <a:pt x="18" y="54"/>
                  </a:cubicBezTo>
                  <a:cubicBezTo>
                    <a:pt x="20" y="57"/>
                    <a:pt x="17" y="62"/>
                    <a:pt x="16" y="63"/>
                  </a:cubicBezTo>
                  <a:cubicBezTo>
                    <a:pt x="16" y="64"/>
                    <a:pt x="16" y="64"/>
                    <a:pt x="16" y="64"/>
                  </a:cubicBezTo>
                  <a:cubicBezTo>
                    <a:pt x="16" y="64"/>
                    <a:pt x="16" y="64"/>
                    <a:pt x="16" y="64"/>
                  </a:cubicBezTo>
                  <a:cubicBezTo>
                    <a:pt x="16" y="64"/>
                    <a:pt x="16" y="64"/>
                    <a:pt x="16" y="64"/>
                  </a:cubicBezTo>
                  <a:cubicBezTo>
                    <a:pt x="16" y="64"/>
                    <a:pt x="16" y="64"/>
                    <a:pt x="16" y="64"/>
                  </a:cubicBezTo>
                  <a:cubicBezTo>
                    <a:pt x="17" y="64"/>
                    <a:pt x="17" y="64"/>
                    <a:pt x="17" y="64"/>
                  </a:cubicBezTo>
                  <a:cubicBezTo>
                    <a:pt x="19" y="62"/>
                    <a:pt x="22" y="61"/>
                    <a:pt x="24" y="61"/>
                  </a:cubicBezTo>
                  <a:cubicBezTo>
                    <a:pt x="25" y="61"/>
                    <a:pt x="25" y="61"/>
                    <a:pt x="26" y="61"/>
                  </a:cubicBezTo>
                  <a:cubicBezTo>
                    <a:pt x="28" y="64"/>
                    <a:pt x="27" y="70"/>
                    <a:pt x="27" y="70"/>
                  </a:cubicBezTo>
                  <a:cubicBezTo>
                    <a:pt x="27" y="71"/>
                    <a:pt x="27" y="71"/>
                    <a:pt x="27" y="71"/>
                  </a:cubicBezTo>
                  <a:cubicBezTo>
                    <a:pt x="27" y="71"/>
                    <a:pt x="27" y="71"/>
                    <a:pt x="27" y="71"/>
                  </a:cubicBezTo>
                  <a:cubicBezTo>
                    <a:pt x="27" y="71"/>
                    <a:pt x="27" y="71"/>
                    <a:pt x="27" y="71"/>
                  </a:cubicBezTo>
                  <a:cubicBezTo>
                    <a:pt x="28" y="71"/>
                    <a:pt x="28" y="71"/>
                    <a:pt x="28" y="71"/>
                  </a:cubicBezTo>
                  <a:cubicBezTo>
                    <a:pt x="28" y="71"/>
                    <a:pt x="28" y="71"/>
                    <a:pt x="28" y="71"/>
                  </a:cubicBezTo>
                  <a:cubicBezTo>
                    <a:pt x="29" y="69"/>
                    <a:pt x="32" y="66"/>
                    <a:pt x="34" y="65"/>
                  </a:cubicBezTo>
                  <a:lnTo>
                    <a:pt x="35" y="65"/>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5" name="Freeform 1388">
              <a:extLst>
                <a:ext uri="{FF2B5EF4-FFF2-40B4-BE49-F238E27FC236}">
                  <a16:creationId xmlns:a16="http://schemas.microsoft.com/office/drawing/2014/main" id="{48BE8950-B3EE-452E-A01C-EA70BE634F3C}"/>
                </a:ext>
              </a:extLst>
            </p:cNvPr>
            <p:cNvSpPr>
              <a:spLocks noEditPoints="1"/>
            </p:cNvSpPr>
            <p:nvPr/>
          </p:nvSpPr>
          <p:spPr bwMode="auto">
            <a:xfrm rot="20647229" flipH="1">
              <a:off x="5666232" y="4621242"/>
              <a:ext cx="39688" cy="42863"/>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1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5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3"/>
                    <a:pt x="0" y="3"/>
                    <a:pt x="0" y="3"/>
                  </a:cubicBezTo>
                  <a:cubicBezTo>
                    <a:pt x="1" y="3"/>
                    <a:pt x="1" y="3"/>
                    <a:pt x="1" y="3"/>
                  </a:cubicBezTo>
                  <a:cubicBezTo>
                    <a:pt x="4" y="1"/>
                    <a:pt x="8" y="0"/>
                    <a:pt x="11" y="0"/>
                  </a:cubicBezTo>
                  <a:cubicBezTo>
                    <a:pt x="17" y="0"/>
                    <a:pt x="23" y="3"/>
                    <a:pt x="27" y="7"/>
                  </a:cubicBezTo>
                  <a:cubicBezTo>
                    <a:pt x="34" y="16"/>
                    <a:pt x="33" y="28"/>
                    <a:pt x="25" y="36"/>
                  </a:cubicBezTo>
                  <a:lnTo>
                    <a:pt x="24" y="36"/>
                  </a:lnTo>
                  <a:close/>
                  <a:moveTo>
                    <a:pt x="3" y="4"/>
                  </a:moveTo>
                  <a:cubicBezTo>
                    <a:pt x="25" y="33"/>
                    <a:pt x="25" y="33"/>
                    <a:pt x="25" y="33"/>
                  </a:cubicBezTo>
                  <a:cubicBezTo>
                    <a:pt x="31" y="26"/>
                    <a:pt x="31" y="16"/>
                    <a:pt x="25" y="9"/>
                  </a:cubicBezTo>
                  <a:cubicBezTo>
                    <a:pt x="22" y="5"/>
                    <a:pt x="17" y="2"/>
                    <a:pt x="11" y="2"/>
                  </a:cubicBezTo>
                  <a:cubicBezTo>
                    <a:pt x="8" y="2"/>
                    <a:pt x="6" y="3"/>
                    <a:pt x="3" y="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6" name="Freeform 1389">
              <a:extLst>
                <a:ext uri="{FF2B5EF4-FFF2-40B4-BE49-F238E27FC236}">
                  <a16:creationId xmlns:a16="http://schemas.microsoft.com/office/drawing/2014/main" id="{8F6168F9-0602-4504-BC65-7C674ED0279F}"/>
                </a:ext>
              </a:extLst>
            </p:cNvPr>
            <p:cNvSpPr>
              <a:spLocks noEditPoints="1"/>
            </p:cNvSpPr>
            <p:nvPr/>
          </p:nvSpPr>
          <p:spPr bwMode="auto">
            <a:xfrm rot="20647229" flipH="1">
              <a:off x="5681277" y="4621914"/>
              <a:ext cx="39688" cy="42863"/>
            </a:xfrm>
            <a:custGeom>
              <a:avLst/>
              <a:gdLst>
                <a:gd name="T0" fmla="*/ 23 w 34"/>
                <a:gd name="T1" fmla="*/ 36 h 36"/>
                <a:gd name="T2" fmla="*/ 7 w 34"/>
                <a:gd name="T3" fmla="*/ 29 h 36"/>
                <a:gd name="T4" fmla="*/ 9 w 34"/>
                <a:gd name="T5" fmla="*/ 0 h 36"/>
                <a:gd name="T6" fmla="*/ 10 w 34"/>
                <a:gd name="T7" fmla="*/ 0 h 36"/>
                <a:gd name="T8" fmla="*/ 11 w 34"/>
                <a:gd name="T9" fmla="*/ 1 h 36"/>
                <a:gd name="T10" fmla="*/ 34 w 34"/>
                <a:gd name="T11" fmla="*/ 32 h 36"/>
                <a:gd name="T12" fmla="*/ 34 w 34"/>
                <a:gd name="T13" fmla="*/ 33 h 36"/>
                <a:gd name="T14" fmla="*/ 34 w 34"/>
                <a:gd name="T15" fmla="*/ 34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4"/>
                    <a:pt x="7" y="29"/>
                  </a:cubicBezTo>
                  <a:cubicBezTo>
                    <a:pt x="0" y="20"/>
                    <a:pt x="1" y="8"/>
                    <a:pt x="9" y="0"/>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7" name="Freeform 1390">
              <a:extLst>
                <a:ext uri="{FF2B5EF4-FFF2-40B4-BE49-F238E27FC236}">
                  <a16:creationId xmlns:a16="http://schemas.microsoft.com/office/drawing/2014/main" id="{096B7ACA-B631-4284-9309-FD52F4F12915}"/>
                </a:ext>
              </a:extLst>
            </p:cNvPr>
            <p:cNvSpPr>
              <a:spLocks noEditPoints="1"/>
            </p:cNvSpPr>
            <p:nvPr/>
          </p:nvSpPr>
          <p:spPr bwMode="auto">
            <a:xfrm rot="20647229" flipH="1">
              <a:off x="6121491" y="4669601"/>
              <a:ext cx="28575" cy="26988"/>
            </a:xfrm>
            <a:custGeom>
              <a:avLst/>
              <a:gdLst>
                <a:gd name="T0" fmla="*/ 12 w 23"/>
                <a:gd name="T1" fmla="*/ 24 h 24"/>
                <a:gd name="T2" fmla="*/ 0 w 23"/>
                <a:gd name="T3" fmla="*/ 12 h 24"/>
                <a:gd name="T4" fmla="*/ 12 w 23"/>
                <a:gd name="T5" fmla="*/ 0 h 24"/>
                <a:gd name="T6" fmla="*/ 23 w 23"/>
                <a:gd name="T7" fmla="*/ 12 h 24"/>
                <a:gd name="T8" fmla="*/ 12 w 23"/>
                <a:gd name="T9" fmla="*/ 24 h 24"/>
                <a:gd name="T10" fmla="*/ 12 w 23"/>
                <a:gd name="T11" fmla="*/ 5 h 24"/>
                <a:gd name="T12" fmla="*/ 5 w 23"/>
                <a:gd name="T13" fmla="*/ 12 h 24"/>
                <a:gd name="T14" fmla="*/ 12 w 23"/>
                <a:gd name="T15" fmla="*/ 19 h 24"/>
                <a:gd name="T16" fmla="*/ 19 w 23"/>
                <a:gd name="T17" fmla="*/ 12 h 24"/>
                <a:gd name="T18" fmla="*/ 12 w 23"/>
                <a:gd name="T1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2" y="24"/>
                  </a:moveTo>
                  <a:cubicBezTo>
                    <a:pt x="5" y="24"/>
                    <a:pt x="0" y="18"/>
                    <a:pt x="0" y="12"/>
                  </a:cubicBezTo>
                  <a:cubicBezTo>
                    <a:pt x="0" y="5"/>
                    <a:pt x="5" y="0"/>
                    <a:pt x="12" y="0"/>
                  </a:cubicBezTo>
                  <a:cubicBezTo>
                    <a:pt x="18" y="0"/>
                    <a:pt x="23" y="5"/>
                    <a:pt x="23" y="12"/>
                  </a:cubicBezTo>
                  <a:cubicBezTo>
                    <a:pt x="23" y="18"/>
                    <a:pt x="18" y="24"/>
                    <a:pt x="12" y="24"/>
                  </a:cubicBezTo>
                  <a:close/>
                  <a:moveTo>
                    <a:pt x="12" y="5"/>
                  </a:moveTo>
                  <a:cubicBezTo>
                    <a:pt x="8" y="5"/>
                    <a:pt x="5" y="8"/>
                    <a:pt x="5" y="12"/>
                  </a:cubicBezTo>
                  <a:cubicBezTo>
                    <a:pt x="5" y="16"/>
                    <a:pt x="8" y="19"/>
                    <a:pt x="12" y="19"/>
                  </a:cubicBezTo>
                  <a:cubicBezTo>
                    <a:pt x="15" y="19"/>
                    <a:pt x="19" y="16"/>
                    <a:pt x="19" y="12"/>
                  </a:cubicBezTo>
                  <a:cubicBezTo>
                    <a:pt x="19" y="8"/>
                    <a:pt x="15" y="5"/>
                    <a:pt x="12" y="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9" name="Freeform 1392">
              <a:extLst>
                <a:ext uri="{FF2B5EF4-FFF2-40B4-BE49-F238E27FC236}">
                  <a16:creationId xmlns:a16="http://schemas.microsoft.com/office/drawing/2014/main" id="{281FBF97-D70E-401C-96F2-72A28EDAF963}"/>
                </a:ext>
              </a:extLst>
            </p:cNvPr>
            <p:cNvSpPr>
              <a:spLocks/>
            </p:cNvSpPr>
            <p:nvPr/>
          </p:nvSpPr>
          <p:spPr bwMode="auto">
            <a:xfrm rot="20647229" flipH="1">
              <a:off x="5839214" y="5453000"/>
              <a:ext cx="109538" cy="107950"/>
            </a:xfrm>
            <a:custGeom>
              <a:avLst/>
              <a:gdLst>
                <a:gd name="T0" fmla="*/ 80 w 91"/>
                <a:gd name="T1" fmla="*/ 40 h 91"/>
                <a:gd name="T2" fmla="*/ 88 w 91"/>
                <a:gd name="T3" fmla="*/ 30 h 91"/>
                <a:gd name="T4" fmla="*/ 75 w 91"/>
                <a:gd name="T5" fmla="*/ 27 h 91"/>
                <a:gd name="T6" fmla="*/ 79 w 91"/>
                <a:gd name="T7" fmla="*/ 15 h 91"/>
                <a:gd name="T8" fmla="*/ 66 w 91"/>
                <a:gd name="T9" fmla="*/ 17 h 91"/>
                <a:gd name="T10" fmla="*/ 64 w 91"/>
                <a:gd name="T11" fmla="*/ 5 h 91"/>
                <a:gd name="T12" fmla="*/ 53 w 91"/>
                <a:gd name="T13" fmla="*/ 12 h 91"/>
                <a:gd name="T14" fmla="*/ 47 w 91"/>
                <a:gd name="T15" fmla="*/ 1 h 91"/>
                <a:gd name="T16" fmla="*/ 39 w 91"/>
                <a:gd name="T17" fmla="*/ 11 h 91"/>
                <a:gd name="T18" fmla="*/ 30 w 91"/>
                <a:gd name="T19" fmla="*/ 4 h 91"/>
                <a:gd name="T20" fmla="*/ 27 w 91"/>
                <a:gd name="T21" fmla="*/ 16 h 91"/>
                <a:gd name="T22" fmla="*/ 15 w 91"/>
                <a:gd name="T23" fmla="*/ 12 h 91"/>
                <a:gd name="T24" fmla="*/ 18 w 91"/>
                <a:gd name="T25" fmla="*/ 25 h 91"/>
                <a:gd name="T26" fmla="*/ 5 w 91"/>
                <a:gd name="T27" fmla="*/ 27 h 91"/>
                <a:gd name="T28" fmla="*/ 12 w 91"/>
                <a:gd name="T29" fmla="*/ 37 h 91"/>
                <a:gd name="T30" fmla="*/ 1 w 91"/>
                <a:gd name="T31" fmla="*/ 44 h 91"/>
                <a:gd name="T32" fmla="*/ 11 w 91"/>
                <a:gd name="T33" fmla="*/ 51 h 91"/>
                <a:gd name="T34" fmla="*/ 3 w 91"/>
                <a:gd name="T35" fmla="*/ 61 h 91"/>
                <a:gd name="T36" fmla="*/ 16 w 91"/>
                <a:gd name="T37" fmla="*/ 64 h 91"/>
                <a:gd name="T38" fmla="*/ 13 w 91"/>
                <a:gd name="T39" fmla="*/ 76 h 91"/>
                <a:gd name="T40" fmla="*/ 25 w 91"/>
                <a:gd name="T41" fmla="*/ 74 h 91"/>
                <a:gd name="T42" fmla="*/ 27 w 91"/>
                <a:gd name="T43" fmla="*/ 87 h 91"/>
                <a:gd name="T44" fmla="*/ 37 w 91"/>
                <a:gd name="T45" fmla="*/ 80 h 91"/>
                <a:gd name="T46" fmla="*/ 45 w 91"/>
                <a:gd name="T47" fmla="*/ 91 h 91"/>
                <a:gd name="T48" fmla="*/ 51 w 91"/>
                <a:gd name="T49" fmla="*/ 80 h 91"/>
                <a:gd name="T50" fmla="*/ 62 w 91"/>
                <a:gd name="T51" fmla="*/ 87 h 91"/>
                <a:gd name="T52" fmla="*/ 64 w 91"/>
                <a:gd name="T53" fmla="*/ 76 h 91"/>
                <a:gd name="T54" fmla="*/ 75 w 91"/>
                <a:gd name="T55" fmla="*/ 79 h 91"/>
                <a:gd name="T56" fmla="*/ 74 w 91"/>
                <a:gd name="T57" fmla="*/ 66 h 91"/>
                <a:gd name="T58" fmla="*/ 86 w 91"/>
                <a:gd name="T59" fmla="*/ 65 h 91"/>
                <a:gd name="T60" fmla="*/ 80 w 91"/>
                <a:gd name="T61" fmla="*/ 54 h 91"/>
                <a:gd name="T62" fmla="*/ 90 w 91"/>
                <a:gd name="T6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91">
                  <a:moveTo>
                    <a:pt x="87" y="44"/>
                  </a:moveTo>
                  <a:cubicBezTo>
                    <a:pt x="84" y="43"/>
                    <a:pt x="81" y="42"/>
                    <a:pt x="80" y="40"/>
                  </a:cubicBezTo>
                  <a:cubicBezTo>
                    <a:pt x="81" y="39"/>
                    <a:pt x="83" y="36"/>
                    <a:pt x="86" y="35"/>
                  </a:cubicBezTo>
                  <a:cubicBezTo>
                    <a:pt x="89" y="33"/>
                    <a:pt x="88" y="32"/>
                    <a:pt x="88" y="30"/>
                  </a:cubicBezTo>
                  <a:cubicBezTo>
                    <a:pt x="87" y="29"/>
                    <a:pt x="87" y="27"/>
                    <a:pt x="83" y="28"/>
                  </a:cubicBezTo>
                  <a:cubicBezTo>
                    <a:pt x="80" y="29"/>
                    <a:pt x="76" y="28"/>
                    <a:pt x="75" y="27"/>
                  </a:cubicBezTo>
                  <a:cubicBezTo>
                    <a:pt x="75" y="26"/>
                    <a:pt x="77" y="23"/>
                    <a:pt x="78" y="21"/>
                  </a:cubicBezTo>
                  <a:cubicBezTo>
                    <a:pt x="81" y="18"/>
                    <a:pt x="80" y="16"/>
                    <a:pt x="79" y="15"/>
                  </a:cubicBezTo>
                  <a:cubicBezTo>
                    <a:pt x="78" y="14"/>
                    <a:pt x="77" y="13"/>
                    <a:pt x="74" y="15"/>
                  </a:cubicBezTo>
                  <a:cubicBezTo>
                    <a:pt x="71" y="17"/>
                    <a:pt x="67" y="18"/>
                    <a:pt x="66" y="17"/>
                  </a:cubicBezTo>
                  <a:cubicBezTo>
                    <a:pt x="65" y="16"/>
                    <a:pt x="65" y="12"/>
                    <a:pt x="66" y="10"/>
                  </a:cubicBezTo>
                  <a:cubicBezTo>
                    <a:pt x="67" y="6"/>
                    <a:pt x="66" y="6"/>
                    <a:pt x="64" y="5"/>
                  </a:cubicBezTo>
                  <a:cubicBezTo>
                    <a:pt x="63" y="4"/>
                    <a:pt x="62" y="3"/>
                    <a:pt x="59" y="7"/>
                  </a:cubicBezTo>
                  <a:cubicBezTo>
                    <a:pt x="58" y="9"/>
                    <a:pt x="55" y="12"/>
                    <a:pt x="53" y="12"/>
                  </a:cubicBezTo>
                  <a:cubicBezTo>
                    <a:pt x="52" y="10"/>
                    <a:pt x="51" y="7"/>
                    <a:pt x="51" y="5"/>
                  </a:cubicBezTo>
                  <a:cubicBezTo>
                    <a:pt x="50" y="1"/>
                    <a:pt x="49" y="1"/>
                    <a:pt x="47" y="1"/>
                  </a:cubicBezTo>
                  <a:cubicBezTo>
                    <a:pt x="46" y="1"/>
                    <a:pt x="44" y="0"/>
                    <a:pt x="43" y="4"/>
                  </a:cubicBezTo>
                  <a:cubicBezTo>
                    <a:pt x="43" y="7"/>
                    <a:pt x="41" y="11"/>
                    <a:pt x="39" y="11"/>
                  </a:cubicBezTo>
                  <a:cubicBezTo>
                    <a:pt x="38" y="11"/>
                    <a:pt x="36" y="8"/>
                    <a:pt x="34" y="6"/>
                  </a:cubicBezTo>
                  <a:cubicBezTo>
                    <a:pt x="33" y="2"/>
                    <a:pt x="31" y="3"/>
                    <a:pt x="30" y="4"/>
                  </a:cubicBezTo>
                  <a:cubicBezTo>
                    <a:pt x="28" y="4"/>
                    <a:pt x="27" y="5"/>
                    <a:pt x="27" y="8"/>
                  </a:cubicBezTo>
                  <a:cubicBezTo>
                    <a:pt x="28" y="11"/>
                    <a:pt x="28" y="14"/>
                    <a:pt x="27" y="16"/>
                  </a:cubicBezTo>
                  <a:cubicBezTo>
                    <a:pt x="25" y="15"/>
                    <a:pt x="23" y="14"/>
                    <a:pt x="21" y="12"/>
                  </a:cubicBezTo>
                  <a:cubicBezTo>
                    <a:pt x="18" y="10"/>
                    <a:pt x="17" y="11"/>
                    <a:pt x="15" y="12"/>
                  </a:cubicBezTo>
                  <a:cubicBezTo>
                    <a:pt x="14" y="13"/>
                    <a:pt x="13" y="14"/>
                    <a:pt x="15" y="18"/>
                  </a:cubicBezTo>
                  <a:cubicBezTo>
                    <a:pt x="17" y="20"/>
                    <a:pt x="18" y="23"/>
                    <a:pt x="18" y="25"/>
                  </a:cubicBezTo>
                  <a:cubicBezTo>
                    <a:pt x="17" y="26"/>
                    <a:pt x="13" y="26"/>
                    <a:pt x="10" y="25"/>
                  </a:cubicBezTo>
                  <a:cubicBezTo>
                    <a:pt x="6" y="24"/>
                    <a:pt x="6" y="25"/>
                    <a:pt x="5" y="27"/>
                  </a:cubicBezTo>
                  <a:cubicBezTo>
                    <a:pt x="4" y="28"/>
                    <a:pt x="3" y="29"/>
                    <a:pt x="7" y="32"/>
                  </a:cubicBezTo>
                  <a:cubicBezTo>
                    <a:pt x="9" y="33"/>
                    <a:pt x="11" y="35"/>
                    <a:pt x="12" y="37"/>
                  </a:cubicBezTo>
                  <a:cubicBezTo>
                    <a:pt x="11" y="38"/>
                    <a:pt x="8" y="40"/>
                    <a:pt x="4" y="40"/>
                  </a:cubicBezTo>
                  <a:cubicBezTo>
                    <a:pt x="1" y="41"/>
                    <a:pt x="1" y="42"/>
                    <a:pt x="1" y="44"/>
                  </a:cubicBezTo>
                  <a:cubicBezTo>
                    <a:pt x="1" y="45"/>
                    <a:pt x="0" y="47"/>
                    <a:pt x="4" y="48"/>
                  </a:cubicBezTo>
                  <a:cubicBezTo>
                    <a:pt x="7" y="48"/>
                    <a:pt x="10" y="49"/>
                    <a:pt x="11" y="51"/>
                  </a:cubicBezTo>
                  <a:cubicBezTo>
                    <a:pt x="11" y="52"/>
                    <a:pt x="8" y="55"/>
                    <a:pt x="5" y="57"/>
                  </a:cubicBezTo>
                  <a:cubicBezTo>
                    <a:pt x="2" y="58"/>
                    <a:pt x="3" y="60"/>
                    <a:pt x="3" y="61"/>
                  </a:cubicBezTo>
                  <a:cubicBezTo>
                    <a:pt x="4" y="63"/>
                    <a:pt x="4" y="64"/>
                    <a:pt x="8" y="64"/>
                  </a:cubicBezTo>
                  <a:cubicBezTo>
                    <a:pt x="11" y="63"/>
                    <a:pt x="14" y="63"/>
                    <a:pt x="16" y="64"/>
                  </a:cubicBezTo>
                  <a:cubicBezTo>
                    <a:pt x="16" y="65"/>
                    <a:pt x="15" y="69"/>
                    <a:pt x="13" y="71"/>
                  </a:cubicBezTo>
                  <a:cubicBezTo>
                    <a:pt x="10" y="74"/>
                    <a:pt x="12" y="75"/>
                    <a:pt x="13" y="76"/>
                  </a:cubicBezTo>
                  <a:cubicBezTo>
                    <a:pt x="14" y="77"/>
                    <a:pt x="15" y="79"/>
                    <a:pt x="18" y="77"/>
                  </a:cubicBezTo>
                  <a:cubicBezTo>
                    <a:pt x="20" y="75"/>
                    <a:pt x="23" y="74"/>
                    <a:pt x="25" y="74"/>
                  </a:cubicBezTo>
                  <a:cubicBezTo>
                    <a:pt x="26" y="75"/>
                    <a:pt x="26" y="79"/>
                    <a:pt x="25" y="82"/>
                  </a:cubicBezTo>
                  <a:cubicBezTo>
                    <a:pt x="24" y="86"/>
                    <a:pt x="26" y="86"/>
                    <a:pt x="27" y="87"/>
                  </a:cubicBezTo>
                  <a:cubicBezTo>
                    <a:pt x="29" y="87"/>
                    <a:pt x="30" y="88"/>
                    <a:pt x="32" y="85"/>
                  </a:cubicBezTo>
                  <a:cubicBezTo>
                    <a:pt x="34" y="83"/>
                    <a:pt x="36" y="80"/>
                    <a:pt x="37" y="80"/>
                  </a:cubicBezTo>
                  <a:cubicBezTo>
                    <a:pt x="39" y="80"/>
                    <a:pt x="40" y="84"/>
                    <a:pt x="41" y="87"/>
                  </a:cubicBezTo>
                  <a:cubicBezTo>
                    <a:pt x="41" y="91"/>
                    <a:pt x="43" y="91"/>
                    <a:pt x="45" y="91"/>
                  </a:cubicBezTo>
                  <a:cubicBezTo>
                    <a:pt x="46" y="91"/>
                    <a:pt x="48" y="91"/>
                    <a:pt x="48" y="87"/>
                  </a:cubicBezTo>
                  <a:cubicBezTo>
                    <a:pt x="49" y="84"/>
                    <a:pt x="50" y="81"/>
                    <a:pt x="51" y="80"/>
                  </a:cubicBezTo>
                  <a:cubicBezTo>
                    <a:pt x="53" y="80"/>
                    <a:pt x="56" y="83"/>
                    <a:pt x="57" y="86"/>
                  </a:cubicBezTo>
                  <a:cubicBezTo>
                    <a:pt x="59" y="89"/>
                    <a:pt x="61" y="88"/>
                    <a:pt x="62" y="87"/>
                  </a:cubicBezTo>
                  <a:cubicBezTo>
                    <a:pt x="63" y="87"/>
                    <a:pt x="65" y="86"/>
                    <a:pt x="64" y="83"/>
                  </a:cubicBezTo>
                  <a:cubicBezTo>
                    <a:pt x="64" y="80"/>
                    <a:pt x="63" y="77"/>
                    <a:pt x="64" y="76"/>
                  </a:cubicBezTo>
                  <a:cubicBezTo>
                    <a:pt x="66" y="76"/>
                    <a:pt x="68" y="77"/>
                    <a:pt x="70" y="79"/>
                  </a:cubicBezTo>
                  <a:cubicBezTo>
                    <a:pt x="73" y="82"/>
                    <a:pt x="74" y="80"/>
                    <a:pt x="75" y="79"/>
                  </a:cubicBezTo>
                  <a:cubicBezTo>
                    <a:pt x="76" y="78"/>
                    <a:pt x="78" y="77"/>
                    <a:pt x="76" y="74"/>
                  </a:cubicBezTo>
                  <a:cubicBezTo>
                    <a:pt x="74" y="72"/>
                    <a:pt x="73" y="68"/>
                    <a:pt x="74" y="66"/>
                  </a:cubicBezTo>
                  <a:cubicBezTo>
                    <a:pt x="75" y="66"/>
                    <a:pt x="79" y="66"/>
                    <a:pt x="81" y="67"/>
                  </a:cubicBezTo>
                  <a:cubicBezTo>
                    <a:pt x="85" y="68"/>
                    <a:pt x="85" y="66"/>
                    <a:pt x="86" y="65"/>
                  </a:cubicBezTo>
                  <a:cubicBezTo>
                    <a:pt x="87" y="64"/>
                    <a:pt x="88" y="62"/>
                    <a:pt x="84" y="60"/>
                  </a:cubicBezTo>
                  <a:cubicBezTo>
                    <a:pt x="82" y="58"/>
                    <a:pt x="79" y="56"/>
                    <a:pt x="80" y="54"/>
                  </a:cubicBezTo>
                  <a:cubicBezTo>
                    <a:pt x="81" y="53"/>
                    <a:pt x="84" y="52"/>
                    <a:pt x="87" y="52"/>
                  </a:cubicBezTo>
                  <a:cubicBezTo>
                    <a:pt x="90" y="51"/>
                    <a:pt x="90" y="49"/>
                    <a:pt x="90" y="48"/>
                  </a:cubicBezTo>
                  <a:cubicBezTo>
                    <a:pt x="91" y="47"/>
                    <a:pt x="91" y="45"/>
                    <a:pt x="87" y="4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0" name="Freeform 1393">
              <a:extLst>
                <a:ext uri="{FF2B5EF4-FFF2-40B4-BE49-F238E27FC236}">
                  <a16:creationId xmlns:a16="http://schemas.microsoft.com/office/drawing/2014/main" id="{D4B1716D-B70F-49FC-B955-8441C3AE657D}"/>
                </a:ext>
              </a:extLst>
            </p:cNvPr>
            <p:cNvSpPr>
              <a:spLocks noEditPoints="1"/>
            </p:cNvSpPr>
            <p:nvPr/>
          </p:nvSpPr>
          <p:spPr bwMode="auto">
            <a:xfrm rot="20647229" flipH="1">
              <a:off x="5926592" y="5333023"/>
              <a:ext cx="185738" cy="185738"/>
            </a:xfrm>
            <a:custGeom>
              <a:avLst/>
              <a:gdLst>
                <a:gd name="T0" fmla="*/ 33 w 156"/>
                <a:gd name="T1" fmla="*/ 134 h 156"/>
                <a:gd name="T2" fmla="*/ 46 w 156"/>
                <a:gd name="T3" fmla="*/ 142 h 156"/>
                <a:gd name="T4" fmla="*/ 58 w 156"/>
                <a:gd name="T5" fmla="*/ 147 h 156"/>
                <a:gd name="T6" fmla="*/ 74 w 156"/>
                <a:gd name="T7" fmla="*/ 149 h 156"/>
                <a:gd name="T8" fmla="*/ 86 w 156"/>
                <a:gd name="T9" fmla="*/ 149 h 156"/>
                <a:gd name="T10" fmla="*/ 102 w 156"/>
                <a:gd name="T11" fmla="*/ 145 h 156"/>
                <a:gd name="T12" fmla="*/ 113 w 156"/>
                <a:gd name="T13" fmla="*/ 140 h 156"/>
                <a:gd name="T14" fmla="*/ 123 w 156"/>
                <a:gd name="T15" fmla="*/ 133 h 156"/>
                <a:gd name="T16" fmla="*/ 132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4 w 156"/>
                <a:gd name="T43" fmla="*/ 10 h 156"/>
                <a:gd name="T44" fmla="*/ 43 w 156"/>
                <a:gd name="T45" fmla="*/ 15 h 156"/>
                <a:gd name="T46" fmla="*/ 31 w 156"/>
                <a:gd name="T47" fmla="*/ 23 h 156"/>
                <a:gd name="T48" fmla="*/ 22 w 156"/>
                <a:gd name="T49" fmla="*/ 32 h 156"/>
                <a:gd name="T50" fmla="*/ 14 w 156"/>
                <a:gd name="T51" fmla="*/ 45 h 156"/>
                <a:gd name="T52" fmla="*/ 9 w 156"/>
                <a:gd name="T53" fmla="*/ 57 h 156"/>
                <a:gd name="T54" fmla="*/ 6 w 156"/>
                <a:gd name="T55" fmla="*/ 73 h 156"/>
                <a:gd name="T56" fmla="*/ 7 w 156"/>
                <a:gd name="T57" fmla="*/ 85 h 156"/>
                <a:gd name="T58" fmla="*/ 10 w 156"/>
                <a:gd name="T59" fmla="*/ 101 h 156"/>
                <a:gd name="T60" fmla="*/ 15 w 156"/>
                <a:gd name="T61" fmla="*/ 112 h 156"/>
                <a:gd name="T62" fmla="*/ 24 w 156"/>
                <a:gd name="T63" fmla="*/ 125 h 156"/>
                <a:gd name="T64" fmla="*/ 44 w 156"/>
                <a:gd name="T65" fmla="*/ 112 h 156"/>
                <a:gd name="T66" fmla="*/ 111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8"/>
                    <a:pt x="45" y="128"/>
                  </a:cubicBezTo>
                  <a:cubicBezTo>
                    <a:pt x="47" y="130"/>
                    <a:pt x="47" y="137"/>
                    <a:pt x="46" y="142"/>
                  </a:cubicBezTo>
                  <a:cubicBezTo>
                    <a:pt x="45" y="149"/>
                    <a:pt x="48" y="149"/>
                    <a:pt x="50" y="150"/>
                  </a:cubicBezTo>
                  <a:cubicBezTo>
                    <a:pt x="52" y="151"/>
                    <a:pt x="55" y="153"/>
                    <a:pt x="58" y="147"/>
                  </a:cubicBezTo>
                  <a:cubicBezTo>
                    <a:pt x="61" y="143"/>
                    <a:pt x="64" y="138"/>
                    <a:pt x="67" y="137"/>
                  </a:cubicBezTo>
                  <a:cubicBezTo>
                    <a:pt x="70" y="138"/>
                    <a:pt x="72" y="144"/>
                    <a:pt x="74" y="149"/>
                  </a:cubicBezTo>
                  <a:cubicBezTo>
                    <a:pt x="75" y="156"/>
                    <a:pt x="78" y="155"/>
                    <a:pt x="80" y="155"/>
                  </a:cubicBezTo>
                  <a:cubicBezTo>
                    <a:pt x="83" y="155"/>
                    <a:pt x="86" y="155"/>
                    <a:pt x="86" y="149"/>
                  </a:cubicBezTo>
                  <a:cubicBezTo>
                    <a:pt x="87" y="144"/>
                    <a:pt x="89" y="139"/>
                    <a:pt x="91" y="137"/>
                  </a:cubicBezTo>
                  <a:cubicBezTo>
                    <a:pt x="94" y="137"/>
                    <a:pt x="99" y="141"/>
                    <a:pt x="102" y="145"/>
                  </a:cubicBezTo>
                  <a:cubicBezTo>
                    <a:pt x="105" y="151"/>
                    <a:pt x="108" y="149"/>
                    <a:pt x="110" y="148"/>
                  </a:cubicBezTo>
                  <a:cubicBezTo>
                    <a:pt x="112" y="147"/>
                    <a:pt x="115" y="146"/>
                    <a:pt x="113" y="140"/>
                  </a:cubicBezTo>
                  <a:cubicBezTo>
                    <a:pt x="112" y="136"/>
                    <a:pt x="111" y="131"/>
                    <a:pt x="112" y="128"/>
                  </a:cubicBezTo>
                  <a:cubicBezTo>
                    <a:pt x="115" y="128"/>
                    <a:pt x="120" y="130"/>
                    <a:pt x="123" y="133"/>
                  </a:cubicBezTo>
                  <a:cubicBezTo>
                    <a:pt x="128" y="137"/>
                    <a:pt x="130" y="135"/>
                    <a:pt x="132" y="133"/>
                  </a:cubicBezTo>
                  <a:cubicBezTo>
                    <a:pt x="134" y="131"/>
                    <a:pt x="136" y="129"/>
                    <a:pt x="132" y="124"/>
                  </a:cubicBezTo>
                  <a:cubicBezTo>
                    <a:pt x="129" y="119"/>
                    <a:pt x="127" y="113"/>
                    <a:pt x="128" y="111"/>
                  </a:cubicBezTo>
                  <a:cubicBezTo>
                    <a:pt x="131" y="110"/>
                    <a:pt x="136" y="110"/>
                    <a:pt x="141" y="111"/>
                  </a:cubicBezTo>
                  <a:cubicBezTo>
                    <a:pt x="147" y="113"/>
                    <a:pt x="148" y="110"/>
                    <a:pt x="149" y="107"/>
                  </a:cubicBezTo>
                  <a:cubicBezTo>
                    <a:pt x="150" y="105"/>
                    <a:pt x="152" y="103"/>
                    <a:pt x="146" y="99"/>
                  </a:cubicBezTo>
                  <a:cubicBezTo>
                    <a:pt x="142" y="96"/>
                    <a:pt x="137" y="92"/>
                    <a:pt x="137" y="89"/>
                  </a:cubicBezTo>
                  <a:cubicBezTo>
                    <a:pt x="139" y="87"/>
                    <a:pt x="144" y="85"/>
                    <a:pt x="149" y="84"/>
                  </a:cubicBezTo>
                  <a:cubicBezTo>
                    <a:pt x="155" y="83"/>
                    <a:pt x="155" y="80"/>
                    <a:pt x="155" y="77"/>
                  </a:cubicBezTo>
                  <a:cubicBezTo>
                    <a:pt x="155" y="75"/>
                    <a:pt x="156" y="72"/>
                    <a:pt x="149" y="71"/>
                  </a:cubicBezTo>
                  <a:cubicBezTo>
                    <a:pt x="144" y="70"/>
                    <a:pt x="137" y="67"/>
                    <a:pt x="137" y="65"/>
                  </a:cubicBezTo>
                  <a:cubicBezTo>
                    <a:pt x="138" y="62"/>
                    <a:pt x="142" y="58"/>
                    <a:pt x="146" y="56"/>
                  </a:cubicBezTo>
                  <a:cubicBezTo>
                    <a:pt x="151" y="53"/>
                    <a:pt x="150" y="50"/>
                    <a:pt x="149" y="48"/>
                  </a:cubicBezTo>
                  <a:cubicBezTo>
                    <a:pt x="148" y="45"/>
                    <a:pt x="147" y="42"/>
                    <a:pt x="141" y="44"/>
                  </a:cubicBezTo>
                  <a:cubicBezTo>
                    <a:pt x="135" y="45"/>
                    <a:pt x="129" y="45"/>
                    <a:pt x="127" y="43"/>
                  </a:cubicBezTo>
                  <a:cubicBezTo>
                    <a:pt x="127" y="40"/>
                    <a:pt x="129" y="35"/>
                    <a:pt x="132" y="31"/>
                  </a:cubicBezTo>
                  <a:cubicBezTo>
                    <a:pt x="136" y="26"/>
                    <a:pt x="133" y="24"/>
                    <a:pt x="132" y="22"/>
                  </a:cubicBezTo>
                  <a:cubicBezTo>
                    <a:pt x="130" y="21"/>
                    <a:pt x="128" y="18"/>
                    <a:pt x="123" y="22"/>
                  </a:cubicBezTo>
                  <a:cubicBezTo>
                    <a:pt x="118" y="25"/>
                    <a:pt x="112" y="28"/>
                    <a:pt x="110" y="27"/>
                  </a:cubicBezTo>
                  <a:cubicBezTo>
                    <a:pt x="108" y="24"/>
                    <a:pt x="108" y="19"/>
                    <a:pt x="110" y="14"/>
                  </a:cubicBezTo>
                  <a:cubicBezTo>
                    <a:pt x="111" y="7"/>
                    <a:pt x="108" y="7"/>
                    <a:pt x="106" y="6"/>
                  </a:cubicBezTo>
                  <a:cubicBezTo>
                    <a:pt x="104" y="5"/>
                    <a:pt x="101" y="3"/>
                    <a:pt x="98" y="9"/>
                  </a:cubicBezTo>
                  <a:cubicBezTo>
                    <a:pt x="95" y="14"/>
                    <a:pt x="90" y="18"/>
                    <a:pt x="87" y="18"/>
                  </a:cubicBezTo>
                  <a:cubicBezTo>
                    <a:pt x="85" y="16"/>
                    <a:pt x="83" y="11"/>
                    <a:pt x="82" y="7"/>
                  </a:cubicBezTo>
                  <a:cubicBezTo>
                    <a:pt x="81" y="0"/>
                    <a:pt x="78" y="0"/>
                    <a:pt x="76" y="0"/>
                  </a:cubicBezTo>
                  <a:cubicBezTo>
                    <a:pt x="73" y="0"/>
                    <a:pt x="70" y="0"/>
                    <a:pt x="70" y="7"/>
                  </a:cubicBezTo>
                  <a:cubicBezTo>
                    <a:pt x="69" y="12"/>
                    <a:pt x="66" y="18"/>
                    <a:pt x="64" y="19"/>
                  </a:cubicBezTo>
                  <a:cubicBezTo>
                    <a:pt x="61" y="18"/>
                    <a:pt x="57" y="14"/>
                    <a:pt x="54"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2" y="23"/>
                  </a:cubicBezTo>
                  <a:cubicBezTo>
                    <a:pt x="21" y="25"/>
                    <a:pt x="18" y="27"/>
                    <a:pt x="22" y="32"/>
                  </a:cubicBezTo>
                  <a:cubicBezTo>
                    <a:pt x="25" y="36"/>
                    <a:pt x="28" y="41"/>
                    <a:pt x="28" y="44"/>
                  </a:cubicBezTo>
                  <a:cubicBezTo>
                    <a:pt x="26" y="46"/>
                    <a:pt x="19" y="46"/>
                    <a:pt x="14" y="45"/>
                  </a:cubicBezTo>
                  <a:cubicBezTo>
                    <a:pt x="7" y="44"/>
                    <a:pt x="7" y="47"/>
                    <a:pt x="6" y="49"/>
                  </a:cubicBezTo>
                  <a:cubicBezTo>
                    <a:pt x="5" y="51"/>
                    <a:pt x="3" y="54"/>
                    <a:pt x="9" y="57"/>
                  </a:cubicBezTo>
                  <a:cubicBezTo>
                    <a:pt x="13" y="60"/>
                    <a:pt x="17" y="63"/>
                    <a:pt x="18" y="66"/>
                  </a:cubicBezTo>
                  <a:cubicBezTo>
                    <a:pt x="18" y="69"/>
                    <a:pt x="12" y="72"/>
                    <a:pt x="6" y="73"/>
                  </a:cubicBezTo>
                  <a:cubicBezTo>
                    <a:pt x="0" y="74"/>
                    <a:pt x="0" y="77"/>
                    <a:pt x="0" y="79"/>
                  </a:cubicBezTo>
                  <a:cubicBezTo>
                    <a:pt x="0" y="82"/>
                    <a:pt x="0" y="85"/>
                    <a:pt x="7" y="85"/>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4"/>
                    <a:pt x="27" y="121"/>
                    <a:pt x="24" y="125"/>
                  </a:cubicBezTo>
                  <a:cubicBezTo>
                    <a:pt x="20" y="131"/>
                    <a:pt x="22" y="132"/>
                    <a:pt x="24" y="134"/>
                  </a:cubicBezTo>
                  <a:close/>
                  <a:moveTo>
                    <a:pt x="44" y="112"/>
                  </a:moveTo>
                  <a:cubicBezTo>
                    <a:pt x="25" y="93"/>
                    <a:pt x="25" y="63"/>
                    <a:pt x="44" y="44"/>
                  </a:cubicBezTo>
                  <a:cubicBezTo>
                    <a:pt x="62" y="25"/>
                    <a:pt x="93" y="25"/>
                    <a:pt x="111" y="44"/>
                  </a:cubicBezTo>
                  <a:cubicBezTo>
                    <a:pt x="130" y="63"/>
                    <a:pt x="130" y="93"/>
                    <a:pt x="112" y="112"/>
                  </a:cubicBezTo>
                  <a:cubicBezTo>
                    <a:pt x="93" y="130"/>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1" name="Freeform 1394">
              <a:extLst>
                <a:ext uri="{FF2B5EF4-FFF2-40B4-BE49-F238E27FC236}">
                  <a16:creationId xmlns:a16="http://schemas.microsoft.com/office/drawing/2014/main" id="{186B2275-C453-48CF-8883-57BCE7C03731}"/>
                </a:ext>
              </a:extLst>
            </p:cNvPr>
            <p:cNvSpPr>
              <a:spLocks noEditPoints="1"/>
            </p:cNvSpPr>
            <p:nvPr/>
          </p:nvSpPr>
          <p:spPr bwMode="auto">
            <a:xfrm rot="20647229" flipH="1">
              <a:off x="5466498" y="3994945"/>
              <a:ext cx="185738" cy="184150"/>
            </a:xfrm>
            <a:custGeom>
              <a:avLst/>
              <a:gdLst>
                <a:gd name="T0" fmla="*/ 34 w 156"/>
                <a:gd name="T1" fmla="*/ 134 h 156"/>
                <a:gd name="T2" fmla="*/ 47 w 156"/>
                <a:gd name="T3" fmla="*/ 142 h 156"/>
                <a:gd name="T4" fmla="*/ 59 w 156"/>
                <a:gd name="T5" fmla="*/ 147 h 156"/>
                <a:gd name="T6" fmla="*/ 74 w 156"/>
                <a:gd name="T7" fmla="*/ 149 h 156"/>
                <a:gd name="T8" fmla="*/ 87 w 156"/>
                <a:gd name="T9" fmla="*/ 149 h 156"/>
                <a:gd name="T10" fmla="*/ 102 w 156"/>
                <a:gd name="T11" fmla="*/ 145 h 156"/>
                <a:gd name="T12" fmla="*/ 114 w 156"/>
                <a:gd name="T13" fmla="*/ 140 h 156"/>
                <a:gd name="T14" fmla="*/ 124 w 156"/>
                <a:gd name="T15" fmla="*/ 133 h 156"/>
                <a:gd name="T16" fmla="*/ 133 w 156"/>
                <a:gd name="T17" fmla="*/ 124 h 156"/>
                <a:gd name="T18" fmla="*/ 141 w 156"/>
                <a:gd name="T19" fmla="*/ 111 h 156"/>
                <a:gd name="T20" fmla="*/ 147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3 w 156"/>
                <a:gd name="T39" fmla="*/ 7 h 156"/>
                <a:gd name="T40" fmla="*/ 70 w 156"/>
                <a:gd name="T41" fmla="*/ 7 h 156"/>
                <a:gd name="T42" fmla="*/ 55 w 156"/>
                <a:gd name="T43" fmla="*/ 10 h 156"/>
                <a:gd name="T44" fmla="*/ 43 w 156"/>
                <a:gd name="T45" fmla="*/ 15 h 156"/>
                <a:gd name="T46" fmla="*/ 32 w 156"/>
                <a:gd name="T47" fmla="*/ 23 h 156"/>
                <a:gd name="T48" fmla="*/ 23 w 156"/>
                <a:gd name="T49" fmla="*/ 32 h 156"/>
                <a:gd name="T50" fmla="*/ 14 w 156"/>
                <a:gd name="T51" fmla="*/ 45 h 156"/>
                <a:gd name="T52" fmla="*/ 10 w 156"/>
                <a:gd name="T53" fmla="*/ 57 h 156"/>
                <a:gd name="T54" fmla="*/ 7 w 156"/>
                <a:gd name="T55" fmla="*/ 73 h 156"/>
                <a:gd name="T56" fmla="*/ 7 w 156"/>
                <a:gd name="T57" fmla="*/ 85 h 156"/>
                <a:gd name="T58" fmla="*/ 10 w 156"/>
                <a:gd name="T59" fmla="*/ 101 h 156"/>
                <a:gd name="T60" fmla="*/ 16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5" y="134"/>
                  </a:moveTo>
                  <a:cubicBezTo>
                    <a:pt x="27" y="136"/>
                    <a:pt x="29" y="138"/>
                    <a:pt x="34" y="134"/>
                  </a:cubicBezTo>
                  <a:cubicBezTo>
                    <a:pt x="37" y="131"/>
                    <a:pt x="42" y="128"/>
                    <a:pt x="45" y="128"/>
                  </a:cubicBezTo>
                  <a:cubicBezTo>
                    <a:pt x="47" y="130"/>
                    <a:pt x="48" y="137"/>
                    <a:pt x="47" y="142"/>
                  </a:cubicBezTo>
                  <a:cubicBezTo>
                    <a:pt x="45" y="149"/>
                    <a:pt x="48" y="149"/>
                    <a:pt x="51" y="150"/>
                  </a:cubicBezTo>
                  <a:cubicBezTo>
                    <a:pt x="53" y="151"/>
                    <a:pt x="56" y="153"/>
                    <a:pt x="59" y="147"/>
                  </a:cubicBezTo>
                  <a:cubicBezTo>
                    <a:pt x="61" y="143"/>
                    <a:pt x="65" y="138"/>
                    <a:pt x="67" y="137"/>
                  </a:cubicBezTo>
                  <a:cubicBezTo>
                    <a:pt x="70" y="138"/>
                    <a:pt x="73" y="144"/>
                    <a:pt x="74" y="149"/>
                  </a:cubicBezTo>
                  <a:cubicBezTo>
                    <a:pt x="75" y="156"/>
                    <a:pt x="78" y="155"/>
                    <a:pt x="81" y="155"/>
                  </a:cubicBezTo>
                  <a:cubicBezTo>
                    <a:pt x="83" y="155"/>
                    <a:pt x="86" y="155"/>
                    <a:pt x="87" y="149"/>
                  </a:cubicBezTo>
                  <a:cubicBezTo>
                    <a:pt x="87" y="144"/>
                    <a:pt x="89" y="139"/>
                    <a:pt x="91" y="137"/>
                  </a:cubicBezTo>
                  <a:cubicBezTo>
                    <a:pt x="94" y="137"/>
                    <a:pt x="99" y="141"/>
                    <a:pt x="102" y="145"/>
                  </a:cubicBezTo>
                  <a:cubicBezTo>
                    <a:pt x="106" y="151"/>
                    <a:pt x="108" y="149"/>
                    <a:pt x="111" y="148"/>
                  </a:cubicBezTo>
                  <a:cubicBezTo>
                    <a:pt x="113" y="147"/>
                    <a:pt x="116" y="146"/>
                    <a:pt x="114" y="140"/>
                  </a:cubicBezTo>
                  <a:cubicBezTo>
                    <a:pt x="112" y="136"/>
                    <a:pt x="112" y="131"/>
                    <a:pt x="113" y="128"/>
                  </a:cubicBezTo>
                  <a:cubicBezTo>
                    <a:pt x="116" y="128"/>
                    <a:pt x="120" y="130"/>
                    <a:pt x="124" y="133"/>
                  </a:cubicBezTo>
                  <a:cubicBezTo>
                    <a:pt x="129" y="137"/>
                    <a:pt x="131" y="135"/>
                    <a:pt x="133" y="133"/>
                  </a:cubicBezTo>
                  <a:cubicBezTo>
                    <a:pt x="135" y="131"/>
                    <a:pt x="137" y="129"/>
                    <a:pt x="133" y="124"/>
                  </a:cubicBezTo>
                  <a:cubicBezTo>
                    <a:pt x="130" y="120"/>
                    <a:pt x="128" y="113"/>
                    <a:pt x="129" y="111"/>
                  </a:cubicBezTo>
                  <a:cubicBezTo>
                    <a:pt x="131" y="110"/>
                    <a:pt x="137" y="110"/>
                    <a:pt x="141" y="111"/>
                  </a:cubicBezTo>
                  <a:cubicBezTo>
                    <a:pt x="148" y="113"/>
                    <a:pt x="149" y="110"/>
                    <a:pt x="150" y="107"/>
                  </a:cubicBezTo>
                  <a:cubicBezTo>
                    <a:pt x="151" y="105"/>
                    <a:pt x="152" y="103"/>
                    <a:pt x="147" y="99"/>
                  </a:cubicBezTo>
                  <a:cubicBezTo>
                    <a:pt x="142" y="96"/>
                    <a:pt x="137" y="92"/>
                    <a:pt x="137" y="89"/>
                  </a:cubicBezTo>
                  <a:cubicBezTo>
                    <a:pt x="139" y="87"/>
                    <a:pt x="145" y="85"/>
                    <a:pt x="149" y="84"/>
                  </a:cubicBezTo>
                  <a:cubicBezTo>
                    <a:pt x="156" y="83"/>
                    <a:pt x="156" y="80"/>
                    <a:pt x="156" y="77"/>
                  </a:cubicBezTo>
                  <a:cubicBezTo>
                    <a:pt x="156" y="75"/>
                    <a:pt x="156" y="72"/>
                    <a:pt x="149" y="71"/>
                  </a:cubicBezTo>
                  <a:cubicBezTo>
                    <a:pt x="144" y="70"/>
                    <a:pt x="138" y="67"/>
                    <a:pt x="137" y="65"/>
                  </a:cubicBezTo>
                  <a:cubicBezTo>
                    <a:pt x="138" y="62"/>
                    <a:pt x="142" y="58"/>
                    <a:pt x="146" y="56"/>
                  </a:cubicBezTo>
                  <a:cubicBezTo>
                    <a:pt x="152" y="53"/>
                    <a:pt x="150" y="50"/>
                    <a:pt x="149" y="48"/>
                  </a:cubicBezTo>
                  <a:cubicBezTo>
                    <a:pt x="148" y="45"/>
                    <a:pt x="148" y="42"/>
                    <a:pt x="141" y="44"/>
                  </a:cubicBezTo>
                  <a:cubicBezTo>
                    <a:pt x="136" y="45"/>
                    <a:pt x="129" y="45"/>
                    <a:pt x="127" y="43"/>
                  </a:cubicBezTo>
                  <a:cubicBezTo>
                    <a:pt x="127" y="40"/>
                    <a:pt x="130" y="35"/>
                    <a:pt x="132" y="31"/>
                  </a:cubicBezTo>
                  <a:cubicBezTo>
                    <a:pt x="136" y="26"/>
                    <a:pt x="134" y="24"/>
                    <a:pt x="132" y="22"/>
                  </a:cubicBezTo>
                  <a:cubicBezTo>
                    <a:pt x="130" y="21"/>
                    <a:pt x="129" y="18"/>
                    <a:pt x="123" y="22"/>
                  </a:cubicBezTo>
                  <a:cubicBezTo>
                    <a:pt x="119" y="25"/>
                    <a:pt x="113" y="28"/>
                    <a:pt x="110" y="27"/>
                  </a:cubicBezTo>
                  <a:cubicBezTo>
                    <a:pt x="109" y="24"/>
                    <a:pt x="109" y="19"/>
                    <a:pt x="110" y="14"/>
                  </a:cubicBezTo>
                  <a:cubicBezTo>
                    <a:pt x="112" y="7"/>
                    <a:pt x="109" y="7"/>
                    <a:pt x="106" y="6"/>
                  </a:cubicBezTo>
                  <a:cubicBezTo>
                    <a:pt x="104" y="5"/>
                    <a:pt x="102" y="3"/>
                    <a:pt x="98" y="9"/>
                  </a:cubicBezTo>
                  <a:cubicBezTo>
                    <a:pt x="95" y="14"/>
                    <a:pt x="91" y="18"/>
                    <a:pt x="88" y="18"/>
                  </a:cubicBezTo>
                  <a:cubicBezTo>
                    <a:pt x="86" y="16"/>
                    <a:pt x="84" y="11"/>
                    <a:pt x="83" y="7"/>
                  </a:cubicBezTo>
                  <a:cubicBezTo>
                    <a:pt x="82" y="0"/>
                    <a:pt x="79" y="0"/>
                    <a:pt x="76" y="0"/>
                  </a:cubicBezTo>
                  <a:cubicBezTo>
                    <a:pt x="74" y="0"/>
                    <a:pt x="71" y="0"/>
                    <a:pt x="70" y="7"/>
                  </a:cubicBezTo>
                  <a:cubicBezTo>
                    <a:pt x="69" y="12"/>
                    <a:pt x="67" y="18"/>
                    <a:pt x="64" y="19"/>
                  </a:cubicBezTo>
                  <a:cubicBezTo>
                    <a:pt x="61" y="18"/>
                    <a:pt x="57" y="14"/>
                    <a:pt x="55" y="10"/>
                  </a:cubicBezTo>
                  <a:cubicBezTo>
                    <a:pt x="52" y="5"/>
                    <a:pt x="49" y="6"/>
                    <a:pt x="47" y="7"/>
                  </a:cubicBezTo>
                  <a:cubicBezTo>
                    <a:pt x="44" y="8"/>
                    <a:pt x="41" y="9"/>
                    <a:pt x="43" y="15"/>
                  </a:cubicBezTo>
                  <a:cubicBezTo>
                    <a:pt x="44" y="20"/>
                    <a:pt x="44" y="25"/>
                    <a:pt x="43" y="28"/>
                  </a:cubicBezTo>
                  <a:cubicBezTo>
                    <a:pt x="40" y="28"/>
                    <a:pt x="36" y="26"/>
                    <a:pt x="32" y="23"/>
                  </a:cubicBezTo>
                  <a:cubicBezTo>
                    <a:pt x="26" y="19"/>
                    <a:pt x="25" y="22"/>
                    <a:pt x="23" y="23"/>
                  </a:cubicBezTo>
                  <a:cubicBezTo>
                    <a:pt x="21" y="25"/>
                    <a:pt x="19" y="27"/>
                    <a:pt x="23" y="32"/>
                  </a:cubicBezTo>
                  <a:cubicBezTo>
                    <a:pt x="26" y="36"/>
                    <a:pt x="28" y="41"/>
                    <a:pt x="28" y="44"/>
                  </a:cubicBezTo>
                  <a:cubicBezTo>
                    <a:pt x="26" y="46"/>
                    <a:pt x="20" y="46"/>
                    <a:pt x="14" y="45"/>
                  </a:cubicBezTo>
                  <a:cubicBezTo>
                    <a:pt x="8" y="44"/>
                    <a:pt x="7" y="47"/>
                    <a:pt x="6" y="49"/>
                  </a:cubicBezTo>
                  <a:cubicBezTo>
                    <a:pt x="5" y="51"/>
                    <a:pt x="4" y="54"/>
                    <a:pt x="10" y="57"/>
                  </a:cubicBezTo>
                  <a:cubicBezTo>
                    <a:pt x="14" y="60"/>
                    <a:pt x="18" y="63"/>
                    <a:pt x="19" y="66"/>
                  </a:cubicBezTo>
                  <a:cubicBezTo>
                    <a:pt x="18" y="69"/>
                    <a:pt x="12" y="72"/>
                    <a:pt x="7" y="73"/>
                  </a:cubicBezTo>
                  <a:cubicBezTo>
                    <a:pt x="0" y="74"/>
                    <a:pt x="1" y="77"/>
                    <a:pt x="1" y="79"/>
                  </a:cubicBezTo>
                  <a:cubicBezTo>
                    <a:pt x="1" y="82"/>
                    <a:pt x="0" y="85"/>
                    <a:pt x="7" y="85"/>
                  </a:cubicBezTo>
                  <a:cubicBezTo>
                    <a:pt x="12" y="86"/>
                    <a:pt x="17" y="88"/>
                    <a:pt x="19" y="90"/>
                  </a:cubicBezTo>
                  <a:cubicBezTo>
                    <a:pt x="19" y="93"/>
                    <a:pt x="15" y="98"/>
                    <a:pt x="10" y="101"/>
                  </a:cubicBezTo>
                  <a:cubicBezTo>
                    <a:pt x="5" y="104"/>
                    <a:pt x="6" y="107"/>
                    <a:pt x="7" y="109"/>
                  </a:cubicBezTo>
                  <a:cubicBezTo>
                    <a:pt x="8" y="111"/>
                    <a:pt x="9" y="114"/>
                    <a:pt x="16" y="112"/>
                  </a:cubicBezTo>
                  <a:cubicBezTo>
                    <a:pt x="20" y="111"/>
                    <a:pt x="26" y="111"/>
                    <a:pt x="28" y="112"/>
                  </a:cubicBezTo>
                  <a:cubicBezTo>
                    <a:pt x="30" y="114"/>
                    <a:pt x="27" y="121"/>
                    <a:pt x="24" y="125"/>
                  </a:cubicBezTo>
                  <a:cubicBezTo>
                    <a:pt x="20" y="131"/>
                    <a:pt x="23" y="132"/>
                    <a:pt x="25" y="134"/>
                  </a:cubicBezTo>
                  <a:close/>
                  <a:moveTo>
                    <a:pt x="44" y="112"/>
                  </a:moveTo>
                  <a:cubicBezTo>
                    <a:pt x="26" y="93"/>
                    <a:pt x="25" y="63"/>
                    <a:pt x="44" y="44"/>
                  </a:cubicBezTo>
                  <a:cubicBezTo>
                    <a:pt x="63" y="25"/>
                    <a:pt x="93" y="25"/>
                    <a:pt x="112" y="44"/>
                  </a:cubicBezTo>
                  <a:cubicBezTo>
                    <a:pt x="131" y="63"/>
                    <a:pt x="131" y="93"/>
                    <a:pt x="112" y="112"/>
                  </a:cubicBezTo>
                  <a:cubicBezTo>
                    <a:pt x="93" y="130"/>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2" name="Freeform 1395">
              <a:extLst>
                <a:ext uri="{FF2B5EF4-FFF2-40B4-BE49-F238E27FC236}">
                  <a16:creationId xmlns:a16="http://schemas.microsoft.com/office/drawing/2014/main" id="{DE142BE6-DCDD-4D4D-832A-18F629B3D77A}"/>
                </a:ext>
              </a:extLst>
            </p:cNvPr>
            <p:cNvSpPr>
              <a:spLocks noEditPoints="1"/>
            </p:cNvSpPr>
            <p:nvPr/>
          </p:nvSpPr>
          <p:spPr bwMode="auto">
            <a:xfrm rot="20647229" flipH="1">
              <a:off x="6210630" y="4846204"/>
              <a:ext cx="185738" cy="185738"/>
            </a:xfrm>
            <a:custGeom>
              <a:avLst/>
              <a:gdLst>
                <a:gd name="T0" fmla="*/ 33 w 156"/>
                <a:gd name="T1" fmla="*/ 134 h 156"/>
                <a:gd name="T2" fmla="*/ 46 w 156"/>
                <a:gd name="T3" fmla="*/ 142 h 156"/>
                <a:gd name="T4" fmla="*/ 58 w 156"/>
                <a:gd name="T5" fmla="*/ 147 h 156"/>
                <a:gd name="T6" fmla="*/ 74 w 156"/>
                <a:gd name="T7" fmla="*/ 150 h 156"/>
                <a:gd name="T8" fmla="*/ 87 w 156"/>
                <a:gd name="T9" fmla="*/ 149 h 156"/>
                <a:gd name="T10" fmla="*/ 102 w 156"/>
                <a:gd name="T11" fmla="*/ 146 h 156"/>
                <a:gd name="T12" fmla="*/ 113 w 156"/>
                <a:gd name="T13" fmla="*/ 140 h 156"/>
                <a:gd name="T14" fmla="*/ 123 w 156"/>
                <a:gd name="T15" fmla="*/ 133 h 156"/>
                <a:gd name="T16" fmla="*/ 133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5 w 156"/>
                <a:gd name="T43" fmla="*/ 10 h 156"/>
                <a:gd name="T44" fmla="*/ 43 w 156"/>
                <a:gd name="T45" fmla="*/ 15 h 156"/>
                <a:gd name="T46" fmla="*/ 31 w 156"/>
                <a:gd name="T47" fmla="*/ 23 h 156"/>
                <a:gd name="T48" fmla="*/ 23 w 156"/>
                <a:gd name="T49" fmla="*/ 33 h 156"/>
                <a:gd name="T50" fmla="*/ 14 w 156"/>
                <a:gd name="T51" fmla="*/ 45 h 156"/>
                <a:gd name="T52" fmla="*/ 9 w 156"/>
                <a:gd name="T53" fmla="*/ 57 h 156"/>
                <a:gd name="T54" fmla="*/ 6 w 156"/>
                <a:gd name="T55" fmla="*/ 73 h 156"/>
                <a:gd name="T56" fmla="*/ 7 w 156"/>
                <a:gd name="T57" fmla="*/ 86 h 156"/>
                <a:gd name="T58" fmla="*/ 10 w 156"/>
                <a:gd name="T59" fmla="*/ 101 h 156"/>
                <a:gd name="T60" fmla="*/ 15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9"/>
                    <a:pt x="45" y="129"/>
                  </a:cubicBezTo>
                  <a:cubicBezTo>
                    <a:pt x="47" y="130"/>
                    <a:pt x="47" y="137"/>
                    <a:pt x="46" y="142"/>
                  </a:cubicBezTo>
                  <a:cubicBezTo>
                    <a:pt x="45" y="149"/>
                    <a:pt x="48" y="150"/>
                    <a:pt x="50" y="150"/>
                  </a:cubicBezTo>
                  <a:cubicBezTo>
                    <a:pt x="53" y="151"/>
                    <a:pt x="55" y="153"/>
                    <a:pt x="58" y="147"/>
                  </a:cubicBezTo>
                  <a:cubicBezTo>
                    <a:pt x="61" y="143"/>
                    <a:pt x="64" y="138"/>
                    <a:pt x="67" y="137"/>
                  </a:cubicBezTo>
                  <a:cubicBezTo>
                    <a:pt x="70" y="138"/>
                    <a:pt x="73" y="144"/>
                    <a:pt x="74" y="150"/>
                  </a:cubicBezTo>
                  <a:cubicBezTo>
                    <a:pt x="75" y="156"/>
                    <a:pt x="78" y="156"/>
                    <a:pt x="80" y="155"/>
                  </a:cubicBezTo>
                  <a:cubicBezTo>
                    <a:pt x="83" y="155"/>
                    <a:pt x="86" y="156"/>
                    <a:pt x="87" y="149"/>
                  </a:cubicBezTo>
                  <a:cubicBezTo>
                    <a:pt x="87" y="144"/>
                    <a:pt x="89" y="139"/>
                    <a:pt x="91" y="137"/>
                  </a:cubicBezTo>
                  <a:cubicBezTo>
                    <a:pt x="94" y="137"/>
                    <a:pt x="99" y="141"/>
                    <a:pt x="102" y="146"/>
                  </a:cubicBezTo>
                  <a:cubicBezTo>
                    <a:pt x="105" y="151"/>
                    <a:pt x="108" y="149"/>
                    <a:pt x="110" y="148"/>
                  </a:cubicBezTo>
                  <a:cubicBezTo>
                    <a:pt x="112" y="147"/>
                    <a:pt x="115" y="146"/>
                    <a:pt x="113" y="140"/>
                  </a:cubicBezTo>
                  <a:cubicBezTo>
                    <a:pt x="112" y="136"/>
                    <a:pt x="112" y="131"/>
                    <a:pt x="112" y="128"/>
                  </a:cubicBezTo>
                  <a:cubicBezTo>
                    <a:pt x="115" y="128"/>
                    <a:pt x="120" y="130"/>
                    <a:pt x="123" y="133"/>
                  </a:cubicBezTo>
                  <a:cubicBezTo>
                    <a:pt x="129" y="137"/>
                    <a:pt x="131" y="135"/>
                    <a:pt x="132" y="133"/>
                  </a:cubicBezTo>
                  <a:cubicBezTo>
                    <a:pt x="134" y="131"/>
                    <a:pt x="137" y="129"/>
                    <a:pt x="133" y="124"/>
                  </a:cubicBezTo>
                  <a:cubicBezTo>
                    <a:pt x="130" y="120"/>
                    <a:pt x="127" y="113"/>
                    <a:pt x="128" y="111"/>
                  </a:cubicBezTo>
                  <a:cubicBezTo>
                    <a:pt x="131" y="110"/>
                    <a:pt x="136" y="110"/>
                    <a:pt x="141" y="111"/>
                  </a:cubicBezTo>
                  <a:cubicBezTo>
                    <a:pt x="147" y="113"/>
                    <a:pt x="148" y="110"/>
                    <a:pt x="149" y="108"/>
                  </a:cubicBezTo>
                  <a:cubicBezTo>
                    <a:pt x="150" y="105"/>
                    <a:pt x="152" y="103"/>
                    <a:pt x="146" y="99"/>
                  </a:cubicBezTo>
                  <a:cubicBezTo>
                    <a:pt x="142" y="96"/>
                    <a:pt x="137" y="92"/>
                    <a:pt x="137" y="89"/>
                  </a:cubicBezTo>
                  <a:cubicBezTo>
                    <a:pt x="139" y="87"/>
                    <a:pt x="144" y="85"/>
                    <a:pt x="149" y="84"/>
                  </a:cubicBezTo>
                  <a:cubicBezTo>
                    <a:pt x="156" y="83"/>
                    <a:pt x="155" y="80"/>
                    <a:pt x="155" y="78"/>
                  </a:cubicBezTo>
                  <a:cubicBezTo>
                    <a:pt x="155" y="75"/>
                    <a:pt x="156" y="72"/>
                    <a:pt x="149" y="71"/>
                  </a:cubicBezTo>
                  <a:cubicBezTo>
                    <a:pt x="144" y="70"/>
                    <a:pt x="138" y="68"/>
                    <a:pt x="137" y="65"/>
                  </a:cubicBezTo>
                  <a:cubicBezTo>
                    <a:pt x="138" y="62"/>
                    <a:pt x="142" y="58"/>
                    <a:pt x="146" y="56"/>
                  </a:cubicBezTo>
                  <a:cubicBezTo>
                    <a:pt x="152" y="53"/>
                    <a:pt x="150" y="50"/>
                    <a:pt x="149" y="48"/>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1"/>
                    <a:pt x="128" y="18"/>
                    <a:pt x="123" y="22"/>
                  </a:cubicBezTo>
                  <a:cubicBezTo>
                    <a:pt x="118" y="25"/>
                    <a:pt x="112" y="28"/>
                    <a:pt x="110" y="27"/>
                  </a:cubicBezTo>
                  <a:cubicBezTo>
                    <a:pt x="108" y="24"/>
                    <a:pt x="109" y="19"/>
                    <a:pt x="110" y="14"/>
                  </a:cubicBezTo>
                  <a:cubicBezTo>
                    <a:pt x="111" y="8"/>
                    <a:pt x="108" y="7"/>
                    <a:pt x="106" y="6"/>
                  </a:cubicBezTo>
                  <a:cubicBezTo>
                    <a:pt x="104" y="5"/>
                    <a:pt x="101" y="3"/>
                    <a:pt x="98" y="9"/>
                  </a:cubicBezTo>
                  <a:cubicBezTo>
                    <a:pt x="95" y="14"/>
                    <a:pt x="90" y="18"/>
                    <a:pt x="88" y="18"/>
                  </a:cubicBezTo>
                  <a:cubicBezTo>
                    <a:pt x="85" y="17"/>
                    <a:pt x="83" y="11"/>
                    <a:pt x="82" y="7"/>
                  </a:cubicBezTo>
                  <a:cubicBezTo>
                    <a:pt x="82" y="0"/>
                    <a:pt x="78" y="1"/>
                    <a:pt x="76" y="1"/>
                  </a:cubicBezTo>
                  <a:cubicBezTo>
                    <a:pt x="73" y="1"/>
                    <a:pt x="70" y="0"/>
                    <a:pt x="70" y="7"/>
                  </a:cubicBezTo>
                  <a:cubicBezTo>
                    <a:pt x="69" y="12"/>
                    <a:pt x="66" y="18"/>
                    <a:pt x="64" y="19"/>
                  </a:cubicBezTo>
                  <a:cubicBezTo>
                    <a:pt x="61" y="18"/>
                    <a:pt x="57" y="14"/>
                    <a:pt x="55"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3" y="24"/>
                  </a:cubicBezTo>
                  <a:cubicBezTo>
                    <a:pt x="21" y="25"/>
                    <a:pt x="18" y="27"/>
                    <a:pt x="23" y="33"/>
                  </a:cubicBezTo>
                  <a:cubicBezTo>
                    <a:pt x="25" y="36"/>
                    <a:pt x="28" y="41"/>
                    <a:pt x="28" y="44"/>
                  </a:cubicBezTo>
                  <a:cubicBezTo>
                    <a:pt x="26" y="46"/>
                    <a:pt x="19" y="47"/>
                    <a:pt x="14" y="45"/>
                  </a:cubicBezTo>
                  <a:cubicBezTo>
                    <a:pt x="7" y="44"/>
                    <a:pt x="7" y="47"/>
                    <a:pt x="6" y="49"/>
                  </a:cubicBezTo>
                  <a:cubicBezTo>
                    <a:pt x="5" y="52"/>
                    <a:pt x="3" y="54"/>
                    <a:pt x="9" y="57"/>
                  </a:cubicBezTo>
                  <a:cubicBezTo>
                    <a:pt x="13" y="60"/>
                    <a:pt x="17" y="63"/>
                    <a:pt x="19" y="66"/>
                  </a:cubicBezTo>
                  <a:cubicBezTo>
                    <a:pt x="18" y="69"/>
                    <a:pt x="12" y="72"/>
                    <a:pt x="6" y="73"/>
                  </a:cubicBezTo>
                  <a:cubicBezTo>
                    <a:pt x="0" y="74"/>
                    <a:pt x="0" y="77"/>
                    <a:pt x="0" y="79"/>
                  </a:cubicBezTo>
                  <a:cubicBezTo>
                    <a:pt x="0" y="82"/>
                    <a:pt x="0" y="85"/>
                    <a:pt x="7" y="86"/>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5"/>
                    <a:pt x="27" y="121"/>
                    <a:pt x="24" y="125"/>
                  </a:cubicBezTo>
                  <a:cubicBezTo>
                    <a:pt x="20" y="131"/>
                    <a:pt x="23" y="132"/>
                    <a:pt x="24" y="134"/>
                  </a:cubicBezTo>
                  <a:close/>
                  <a:moveTo>
                    <a:pt x="44" y="112"/>
                  </a:moveTo>
                  <a:cubicBezTo>
                    <a:pt x="25" y="93"/>
                    <a:pt x="25" y="63"/>
                    <a:pt x="44" y="44"/>
                  </a:cubicBezTo>
                  <a:cubicBezTo>
                    <a:pt x="62" y="25"/>
                    <a:pt x="93" y="25"/>
                    <a:pt x="112" y="44"/>
                  </a:cubicBezTo>
                  <a:cubicBezTo>
                    <a:pt x="130" y="63"/>
                    <a:pt x="130" y="93"/>
                    <a:pt x="112" y="112"/>
                  </a:cubicBezTo>
                  <a:cubicBezTo>
                    <a:pt x="93" y="131"/>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5" name="Freeform 1398">
              <a:extLst>
                <a:ext uri="{FF2B5EF4-FFF2-40B4-BE49-F238E27FC236}">
                  <a16:creationId xmlns:a16="http://schemas.microsoft.com/office/drawing/2014/main" id="{0FC96620-637A-46AF-8F96-C9B8120CAA1F}"/>
                </a:ext>
              </a:extLst>
            </p:cNvPr>
            <p:cNvSpPr>
              <a:spLocks noEditPoints="1"/>
            </p:cNvSpPr>
            <p:nvPr/>
          </p:nvSpPr>
          <p:spPr bwMode="auto">
            <a:xfrm rot="20647229" flipH="1">
              <a:off x="5766605" y="3446350"/>
              <a:ext cx="423863" cy="422275"/>
            </a:xfrm>
            <a:custGeom>
              <a:avLst/>
              <a:gdLst>
                <a:gd name="T0" fmla="*/ 87 w 356"/>
                <a:gd name="T1" fmla="*/ 319 h 356"/>
                <a:gd name="T2" fmla="*/ 108 w 356"/>
                <a:gd name="T3" fmla="*/ 331 h 356"/>
                <a:gd name="T4" fmla="*/ 127 w 356"/>
                <a:gd name="T5" fmla="*/ 338 h 356"/>
                <a:gd name="T6" fmla="*/ 149 w 356"/>
                <a:gd name="T7" fmla="*/ 344 h 356"/>
                <a:gd name="T8" fmla="*/ 170 w 356"/>
                <a:gd name="T9" fmla="*/ 346 h 356"/>
                <a:gd name="T10" fmla="*/ 193 w 356"/>
                <a:gd name="T11" fmla="*/ 345 h 356"/>
                <a:gd name="T12" fmla="*/ 214 w 356"/>
                <a:gd name="T13" fmla="*/ 342 h 356"/>
                <a:gd name="T14" fmla="*/ 236 w 356"/>
                <a:gd name="T15" fmla="*/ 336 h 356"/>
                <a:gd name="T16" fmla="*/ 255 w 356"/>
                <a:gd name="T17" fmla="*/ 327 h 356"/>
                <a:gd name="T18" fmla="*/ 275 w 356"/>
                <a:gd name="T19" fmla="*/ 315 h 356"/>
                <a:gd name="T20" fmla="*/ 291 w 356"/>
                <a:gd name="T21" fmla="*/ 302 h 356"/>
                <a:gd name="T22" fmla="*/ 306 w 356"/>
                <a:gd name="T23" fmla="*/ 286 h 356"/>
                <a:gd name="T24" fmla="*/ 319 w 356"/>
                <a:gd name="T25" fmla="*/ 270 h 356"/>
                <a:gd name="T26" fmla="*/ 330 w 356"/>
                <a:gd name="T27" fmla="*/ 249 h 356"/>
                <a:gd name="T28" fmla="*/ 338 w 356"/>
                <a:gd name="T29" fmla="*/ 230 h 356"/>
                <a:gd name="T30" fmla="*/ 343 w 356"/>
                <a:gd name="T31" fmla="*/ 208 h 356"/>
                <a:gd name="T32" fmla="*/ 346 w 356"/>
                <a:gd name="T33" fmla="*/ 187 h 356"/>
                <a:gd name="T34" fmla="*/ 345 w 356"/>
                <a:gd name="T35" fmla="*/ 164 h 356"/>
                <a:gd name="T36" fmla="*/ 342 w 356"/>
                <a:gd name="T37" fmla="*/ 143 h 356"/>
                <a:gd name="T38" fmla="*/ 335 w 356"/>
                <a:gd name="T39" fmla="*/ 121 h 356"/>
                <a:gd name="T40" fmla="*/ 328 w 356"/>
                <a:gd name="T41" fmla="*/ 102 h 356"/>
                <a:gd name="T42" fmla="*/ 315 w 356"/>
                <a:gd name="T43" fmla="*/ 82 h 356"/>
                <a:gd name="T44" fmla="*/ 303 w 356"/>
                <a:gd name="T45" fmla="*/ 66 h 356"/>
                <a:gd name="T46" fmla="*/ 286 w 356"/>
                <a:gd name="T47" fmla="*/ 50 h 356"/>
                <a:gd name="T48" fmla="*/ 269 w 356"/>
                <a:gd name="T49" fmla="*/ 37 h 356"/>
                <a:gd name="T50" fmla="*/ 249 w 356"/>
                <a:gd name="T51" fmla="*/ 26 h 356"/>
                <a:gd name="T52" fmla="*/ 230 w 356"/>
                <a:gd name="T53" fmla="*/ 18 h 356"/>
                <a:gd name="T54" fmla="*/ 207 w 356"/>
                <a:gd name="T55" fmla="*/ 13 h 356"/>
                <a:gd name="T56" fmla="*/ 187 w 356"/>
                <a:gd name="T57" fmla="*/ 10 h 356"/>
                <a:gd name="T58" fmla="*/ 163 w 356"/>
                <a:gd name="T59" fmla="*/ 11 h 356"/>
                <a:gd name="T60" fmla="*/ 143 w 356"/>
                <a:gd name="T61" fmla="*/ 14 h 356"/>
                <a:gd name="T62" fmla="*/ 121 w 356"/>
                <a:gd name="T63" fmla="*/ 21 h 356"/>
                <a:gd name="T64" fmla="*/ 102 w 356"/>
                <a:gd name="T65" fmla="*/ 28 h 356"/>
                <a:gd name="T66" fmla="*/ 82 w 356"/>
                <a:gd name="T67" fmla="*/ 41 h 356"/>
                <a:gd name="T68" fmla="*/ 65 w 356"/>
                <a:gd name="T69" fmla="*/ 53 h 356"/>
                <a:gd name="T70" fmla="*/ 49 w 356"/>
                <a:gd name="T71" fmla="*/ 71 h 356"/>
                <a:gd name="T72" fmla="*/ 37 w 356"/>
                <a:gd name="T73" fmla="*/ 88 h 356"/>
                <a:gd name="T74" fmla="*/ 25 w 356"/>
                <a:gd name="T75" fmla="*/ 108 h 356"/>
                <a:gd name="T76" fmla="*/ 18 w 356"/>
                <a:gd name="T77" fmla="*/ 127 h 356"/>
                <a:gd name="T78" fmla="*/ 12 w 356"/>
                <a:gd name="T79" fmla="*/ 150 h 356"/>
                <a:gd name="T80" fmla="*/ 10 w 356"/>
                <a:gd name="T81" fmla="*/ 170 h 356"/>
                <a:gd name="T82" fmla="*/ 11 w 356"/>
                <a:gd name="T83" fmla="*/ 194 h 356"/>
                <a:gd name="T84" fmla="*/ 14 w 356"/>
                <a:gd name="T85" fmla="*/ 214 h 356"/>
                <a:gd name="T86" fmla="*/ 20 w 356"/>
                <a:gd name="T87" fmla="*/ 236 h 356"/>
                <a:gd name="T88" fmla="*/ 29 w 356"/>
                <a:gd name="T89" fmla="*/ 255 h 356"/>
                <a:gd name="T90" fmla="*/ 41 w 356"/>
                <a:gd name="T91" fmla="*/ 275 h 356"/>
                <a:gd name="T92" fmla="*/ 54 w 356"/>
                <a:gd name="T93" fmla="*/ 291 h 356"/>
                <a:gd name="T94" fmla="*/ 70 w 356"/>
                <a:gd name="T95" fmla="*/ 307 h 356"/>
                <a:gd name="T96" fmla="*/ 105 w 356"/>
                <a:gd name="T97" fmla="*/ 277 h 356"/>
                <a:gd name="T98" fmla="*/ 250 w 356"/>
                <a:gd name="T99" fmla="*/ 80 h 356"/>
                <a:gd name="T100" fmla="*/ 105 w 356"/>
                <a:gd name="T101" fmla="*/ 2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356">
                  <a:moveTo>
                    <a:pt x="73" y="321"/>
                  </a:moveTo>
                  <a:cubicBezTo>
                    <a:pt x="76" y="324"/>
                    <a:pt x="80" y="327"/>
                    <a:pt x="87" y="319"/>
                  </a:cubicBezTo>
                  <a:cubicBezTo>
                    <a:pt x="93" y="314"/>
                    <a:pt x="100" y="309"/>
                    <a:pt x="105" y="308"/>
                  </a:cubicBezTo>
                  <a:cubicBezTo>
                    <a:pt x="109" y="311"/>
                    <a:pt x="109" y="322"/>
                    <a:pt x="108" y="331"/>
                  </a:cubicBezTo>
                  <a:cubicBezTo>
                    <a:pt x="105" y="341"/>
                    <a:pt x="110" y="342"/>
                    <a:pt x="114" y="344"/>
                  </a:cubicBezTo>
                  <a:cubicBezTo>
                    <a:pt x="118" y="345"/>
                    <a:pt x="122" y="347"/>
                    <a:pt x="127" y="338"/>
                  </a:cubicBezTo>
                  <a:cubicBezTo>
                    <a:pt x="131" y="331"/>
                    <a:pt x="137" y="324"/>
                    <a:pt x="141" y="323"/>
                  </a:cubicBezTo>
                  <a:cubicBezTo>
                    <a:pt x="145" y="324"/>
                    <a:pt x="149" y="335"/>
                    <a:pt x="149" y="344"/>
                  </a:cubicBezTo>
                  <a:cubicBezTo>
                    <a:pt x="150" y="355"/>
                    <a:pt x="155" y="354"/>
                    <a:pt x="159" y="355"/>
                  </a:cubicBezTo>
                  <a:cubicBezTo>
                    <a:pt x="163" y="355"/>
                    <a:pt x="168" y="356"/>
                    <a:pt x="170" y="346"/>
                  </a:cubicBezTo>
                  <a:cubicBezTo>
                    <a:pt x="172" y="338"/>
                    <a:pt x="176" y="330"/>
                    <a:pt x="180" y="327"/>
                  </a:cubicBezTo>
                  <a:cubicBezTo>
                    <a:pt x="184" y="327"/>
                    <a:pt x="190" y="337"/>
                    <a:pt x="193" y="345"/>
                  </a:cubicBezTo>
                  <a:cubicBezTo>
                    <a:pt x="196" y="356"/>
                    <a:pt x="201" y="354"/>
                    <a:pt x="205" y="354"/>
                  </a:cubicBezTo>
                  <a:cubicBezTo>
                    <a:pt x="209" y="353"/>
                    <a:pt x="214" y="353"/>
                    <a:pt x="214" y="342"/>
                  </a:cubicBezTo>
                  <a:cubicBezTo>
                    <a:pt x="214" y="334"/>
                    <a:pt x="215" y="325"/>
                    <a:pt x="219" y="322"/>
                  </a:cubicBezTo>
                  <a:cubicBezTo>
                    <a:pt x="223" y="321"/>
                    <a:pt x="231" y="328"/>
                    <a:pt x="236" y="336"/>
                  </a:cubicBezTo>
                  <a:cubicBezTo>
                    <a:pt x="242" y="345"/>
                    <a:pt x="246" y="342"/>
                    <a:pt x="250" y="341"/>
                  </a:cubicBezTo>
                  <a:cubicBezTo>
                    <a:pt x="253" y="339"/>
                    <a:pt x="258" y="337"/>
                    <a:pt x="255" y="327"/>
                  </a:cubicBezTo>
                  <a:cubicBezTo>
                    <a:pt x="253" y="320"/>
                    <a:pt x="252" y="311"/>
                    <a:pt x="254" y="306"/>
                  </a:cubicBezTo>
                  <a:cubicBezTo>
                    <a:pt x="258" y="304"/>
                    <a:pt x="268" y="309"/>
                    <a:pt x="275" y="315"/>
                  </a:cubicBezTo>
                  <a:cubicBezTo>
                    <a:pt x="283" y="323"/>
                    <a:pt x="286" y="319"/>
                    <a:pt x="289" y="316"/>
                  </a:cubicBezTo>
                  <a:cubicBezTo>
                    <a:pt x="292" y="314"/>
                    <a:pt x="296" y="311"/>
                    <a:pt x="291" y="302"/>
                  </a:cubicBezTo>
                  <a:cubicBezTo>
                    <a:pt x="286" y="295"/>
                    <a:pt x="283" y="286"/>
                    <a:pt x="285" y="281"/>
                  </a:cubicBezTo>
                  <a:cubicBezTo>
                    <a:pt x="289" y="280"/>
                    <a:pt x="299" y="282"/>
                    <a:pt x="306" y="286"/>
                  </a:cubicBezTo>
                  <a:cubicBezTo>
                    <a:pt x="315" y="292"/>
                    <a:pt x="318" y="287"/>
                    <a:pt x="320" y="284"/>
                  </a:cubicBezTo>
                  <a:cubicBezTo>
                    <a:pt x="323" y="281"/>
                    <a:pt x="326" y="277"/>
                    <a:pt x="319" y="270"/>
                  </a:cubicBezTo>
                  <a:cubicBezTo>
                    <a:pt x="312" y="263"/>
                    <a:pt x="307" y="254"/>
                    <a:pt x="309" y="249"/>
                  </a:cubicBezTo>
                  <a:cubicBezTo>
                    <a:pt x="313" y="247"/>
                    <a:pt x="322" y="248"/>
                    <a:pt x="330" y="249"/>
                  </a:cubicBezTo>
                  <a:cubicBezTo>
                    <a:pt x="340" y="252"/>
                    <a:pt x="341" y="247"/>
                    <a:pt x="343" y="244"/>
                  </a:cubicBezTo>
                  <a:cubicBezTo>
                    <a:pt x="344" y="240"/>
                    <a:pt x="347" y="236"/>
                    <a:pt x="338" y="230"/>
                  </a:cubicBezTo>
                  <a:cubicBezTo>
                    <a:pt x="330" y="226"/>
                    <a:pt x="322" y="218"/>
                    <a:pt x="323" y="213"/>
                  </a:cubicBezTo>
                  <a:cubicBezTo>
                    <a:pt x="326" y="210"/>
                    <a:pt x="335" y="208"/>
                    <a:pt x="343" y="208"/>
                  </a:cubicBezTo>
                  <a:cubicBezTo>
                    <a:pt x="354" y="208"/>
                    <a:pt x="354" y="203"/>
                    <a:pt x="354" y="199"/>
                  </a:cubicBezTo>
                  <a:cubicBezTo>
                    <a:pt x="355" y="195"/>
                    <a:pt x="356" y="190"/>
                    <a:pt x="346" y="187"/>
                  </a:cubicBezTo>
                  <a:cubicBezTo>
                    <a:pt x="337" y="185"/>
                    <a:pt x="328" y="179"/>
                    <a:pt x="327" y="175"/>
                  </a:cubicBezTo>
                  <a:cubicBezTo>
                    <a:pt x="329" y="171"/>
                    <a:pt x="337" y="166"/>
                    <a:pt x="345" y="164"/>
                  </a:cubicBezTo>
                  <a:cubicBezTo>
                    <a:pt x="355" y="161"/>
                    <a:pt x="354" y="156"/>
                    <a:pt x="353" y="152"/>
                  </a:cubicBezTo>
                  <a:cubicBezTo>
                    <a:pt x="353" y="148"/>
                    <a:pt x="353" y="143"/>
                    <a:pt x="342" y="143"/>
                  </a:cubicBezTo>
                  <a:cubicBezTo>
                    <a:pt x="333" y="143"/>
                    <a:pt x="322" y="140"/>
                    <a:pt x="321" y="136"/>
                  </a:cubicBezTo>
                  <a:cubicBezTo>
                    <a:pt x="322" y="131"/>
                    <a:pt x="329" y="125"/>
                    <a:pt x="335" y="121"/>
                  </a:cubicBezTo>
                  <a:cubicBezTo>
                    <a:pt x="345" y="116"/>
                    <a:pt x="342" y="111"/>
                    <a:pt x="341" y="108"/>
                  </a:cubicBezTo>
                  <a:cubicBezTo>
                    <a:pt x="339" y="104"/>
                    <a:pt x="338" y="99"/>
                    <a:pt x="328" y="102"/>
                  </a:cubicBezTo>
                  <a:cubicBezTo>
                    <a:pt x="319" y="104"/>
                    <a:pt x="308" y="104"/>
                    <a:pt x="305" y="100"/>
                  </a:cubicBezTo>
                  <a:cubicBezTo>
                    <a:pt x="305" y="96"/>
                    <a:pt x="310" y="88"/>
                    <a:pt x="315" y="82"/>
                  </a:cubicBezTo>
                  <a:cubicBezTo>
                    <a:pt x="323" y="75"/>
                    <a:pt x="319" y="71"/>
                    <a:pt x="317" y="68"/>
                  </a:cubicBezTo>
                  <a:cubicBezTo>
                    <a:pt x="314" y="65"/>
                    <a:pt x="312" y="60"/>
                    <a:pt x="303" y="66"/>
                  </a:cubicBezTo>
                  <a:cubicBezTo>
                    <a:pt x="295" y="70"/>
                    <a:pt x="284" y="73"/>
                    <a:pt x="281" y="70"/>
                  </a:cubicBezTo>
                  <a:cubicBezTo>
                    <a:pt x="279" y="66"/>
                    <a:pt x="282" y="57"/>
                    <a:pt x="286" y="50"/>
                  </a:cubicBezTo>
                  <a:cubicBezTo>
                    <a:pt x="291" y="41"/>
                    <a:pt x="287" y="38"/>
                    <a:pt x="284" y="36"/>
                  </a:cubicBezTo>
                  <a:cubicBezTo>
                    <a:pt x="280" y="33"/>
                    <a:pt x="277" y="30"/>
                    <a:pt x="269" y="37"/>
                  </a:cubicBezTo>
                  <a:cubicBezTo>
                    <a:pt x="263" y="44"/>
                    <a:pt x="253" y="49"/>
                    <a:pt x="249" y="47"/>
                  </a:cubicBezTo>
                  <a:cubicBezTo>
                    <a:pt x="247" y="43"/>
                    <a:pt x="247" y="34"/>
                    <a:pt x="249" y="26"/>
                  </a:cubicBezTo>
                  <a:cubicBezTo>
                    <a:pt x="252" y="16"/>
                    <a:pt x="247" y="15"/>
                    <a:pt x="243" y="13"/>
                  </a:cubicBezTo>
                  <a:cubicBezTo>
                    <a:pt x="239" y="12"/>
                    <a:pt x="235" y="9"/>
                    <a:pt x="230" y="18"/>
                  </a:cubicBezTo>
                  <a:cubicBezTo>
                    <a:pt x="225" y="26"/>
                    <a:pt x="217" y="34"/>
                    <a:pt x="213" y="33"/>
                  </a:cubicBezTo>
                  <a:cubicBezTo>
                    <a:pt x="210" y="30"/>
                    <a:pt x="207" y="21"/>
                    <a:pt x="207" y="13"/>
                  </a:cubicBezTo>
                  <a:cubicBezTo>
                    <a:pt x="207" y="2"/>
                    <a:pt x="202" y="2"/>
                    <a:pt x="198" y="2"/>
                  </a:cubicBezTo>
                  <a:cubicBezTo>
                    <a:pt x="194" y="1"/>
                    <a:pt x="189" y="0"/>
                    <a:pt x="187" y="10"/>
                  </a:cubicBezTo>
                  <a:cubicBezTo>
                    <a:pt x="184" y="19"/>
                    <a:pt x="179" y="28"/>
                    <a:pt x="174" y="29"/>
                  </a:cubicBezTo>
                  <a:cubicBezTo>
                    <a:pt x="170" y="27"/>
                    <a:pt x="166" y="19"/>
                    <a:pt x="163" y="11"/>
                  </a:cubicBezTo>
                  <a:cubicBezTo>
                    <a:pt x="161" y="1"/>
                    <a:pt x="156" y="2"/>
                    <a:pt x="152" y="3"/>
                  </a:cubicBezTo>
                  <a:cubicBezTo>
                    <a:pt x="148" y="3"/>
                    <a:pt x="143" y="3"/>
                    <a:pt x="143" y="14"/>
                  </a:cubicBezTo>
                  <a:cubicBezTo>
                    <a:pt x="143" y="23"/>
                    <a:pt x="140" y="34"/>
                    <a:pt x="135" y="35"/>
                  </a:cubicBezTo>
                  <a:cubicBezTo>
                    <a:pt x="131" y="34"/>
                    <a:pt x="125" y="27"/>
                    <a:pt x="121" y="21"/>
                  </a:cubicBezTo>
                  <a:cubicBezTo>
                    <a:pt x="115" y="11"/>
                    <a:pt x="111" y="14"/>
                    <a:pt x="107" y="15"/>
                  </a:cubicBezTo>
                  <a:cubicBezTo>
                    <a:pt x="104" y="17"/>
                    <a:pt x="99" y="18"/>
                    <a:pt x="102" y="28"/>
                  </a:cubicBezTo>
                  <a:cubicBezTo>
                    <a:pt x="104" y="37"/>
                    <a:pt x="104" y="48"/>
                    <a:pt x="100" y="51"/>
                  </a:cubicBezTo>
                  <a:cubicBezTo>
                    <a:pt x="95" y="51"/>
                    <a:pt x="87" y="46"/>
                    <a:pt x="82" y="41"/>
                  </a:cubicBezTo>
                  <a:cubicBezTo>
                    <a:pt x="74" y="33"/>
                    <a:pt x="71" y="37"/>
                    <a:pt x="68" y="39"/>
                  </a:cubicBezTo>
                  <a:cubicBezTo>
                    <a:pt x="64" y="42"/>
                    <a:pt x="60" y="44"/>
                    <a:pt x="65" y="53"/>
                  </a:cubicBezTo>
                  <a:cubicBezTo>
                    <a:pt x="69" y="61"/>
                    <a:pt x="72" y="71"/>
                    <a:pt x="70" y="75"/>
                  </a:cubicBezTo>
                  <a:cubicBezTo>
                    <a:pt x="66" y="77"/>
                    <a:pt x="56" y="75"/>
                    <a:pt x="49" y="71"/>
                  </a:cubicBezTo>
                  <a:cubicBezTo>
                    <a:pt x="39" y="66"/>
                    <a:pt x="37" y="70"/>
                    <a:pt x="35" y="73"/>
                  </a:cubicBezTo>
                  <a:cubicBezTo>
                    <a:pt x="32" y="77"/>
                    <a:pt x="29" y="80"/>
                    <a:pt x="37" y="88"/>
                  </a:cubicBezTo>
                  <a:cubicBezTo>
                    <a:pt x="42" y="93"/>
                    <a:pt x="47" y="101"/>
                    <a:pt x="48" y="105"/>
                  </a:cubicBezTo>
                  <a:cubicBezTo>
                    <a:pt x="45" y="109"/>
                    <a:pt x="34" y="110"/>
                    <a:pt x="25" y="108"/>
                  </a:cubicBezTo>
                  <a:cubicBezTo>
                    <a:pt x="15" y="106"/>
                    <a:pt x="14" y="110"/>
                    <a:pt x="12" y="114"/>
                  </a:cubicBezTo>
                  <a:cubicBezTo>
                    <a:pt x="11" y="118"/>
                    <a:pt x="9" y="122"/>
                    <a:pt x="18" y="127"/>
                  </a:cubicBezTo>
                  <a:cubicBezTo>
                    <a:pt x="25" y="131"/>
                    <a:pt x="32" y="137"/>
                    <a:pt x="33" y="142"/>
                  </a:cubicBezTo>
                  <a:cubicBezTo>
                    <a:pt x="32" y="146"/>
                    <a:pt x="21" y="149"/>
                    <a:pt x="12" y="150"/>
                  </a:cubicBezTo>
                  <a:cubicBezTo>
                    <a:pt x="1" y="150"/>
                    <a:pt x="2" y="155"/>
                    <a:pt x="1" y="159"/>
                  </a:cubicBezTo>
                  <a:cubicBezTo>
                    <a:pt x="1" y="163"/>
                    <a:pt x="0" y="168"/>
                    <a:pt x="10" y="170"/>
                  </a:cubicBezTo>
                  <a:cubicBezTo>
                    <a:pt x="18" y="172"/>
                    <a:pt x="26" y="176"/>
                    <a:pt x="29" y="180"/>
                  </a:cubicBezTo>
                  <a:cubicBezTo>
                    <a:pt x="28" y="185"/>
                    <a:pt x="19" y="191"/>
                    <a:pt x="11" y="194"/>
                  </a:cubicBezTo>
                  <a:cubicBezTo>
                    <a:pt x="0" y="197"/>
                    <a:pt x="2" y="201"/>
                    <a:pt x="2" y="205"/>
                  </a:cubicBezTo>
                  <a:cubicBezTo>
                    <a:pt x="3" y="209"/>
                    <a:pt x="3" y="214"/>
                    <a:pt x="14" y="214"/>
                  </a:cubicBezTo>
                  <a:cubicBezTo>
                    <a:pt x="22" y="214"/>
                    <a:pt x="31" y="216"/>
                    <a:pt x="34" y="219"/>
                  </a:cubicBezTo>
                  <a:cubicBezTo>
                    <a:pt x="35" y="223"/>
                    <a:pt x="28" y="232"/>
                    <a:pt x="20" y="236"/>
                  </a:cubicBezTo>
                  <a:cubicBezTo>
                    <a:pt x="11" y="242"/>
                    <a:pt x="14" y="246"/>
                    <a:pt x="15" y="250"/>
                  </a:cubicBezTo>
                  <a:cubicBezTo>
                    <a:pt x="17" y="254"/>
                    <a:pt x="19" y="258"/>
                    <a:pt x="29" y="255"/>
                  </a:cubicBezTo>
                  <a:cubicBezTo>
                    <a:pt x="36" y="253"/>
                    <a:pt x="45" y="252"/>
                    <a:pt x="50" y="255"/>
                  </a:cubicBezTo>
                  <a:cubicBezTo>
                    <a:pt x="52" y="259"/>
                    <a:pt x="47" y="268"/>
                    <a:pt x="41" y="275"/>
                  </a:cubicBezTo>
                  <a:cubicBezTo>
                    <a:pt x="33" y="283"/>
                    <a:pt x="37" y="286"/>
                    <a:pt x="40" y="289"/>
                  </a:cubicBezTo>
                  <a:cubicBezTo>
                    <a:pt x="42" y="293"/>
                    <a:pt x="45" y="297"/>
                    <a:pt x="54" y="291"/>
                  </a:cubicBezTo>
                  <a:cubicBezTo>
                    <a:pt x="60" y="287"/>
                    <a:pt x="69" y="284"/>
                    <a:pt x="74" y="285"/>
                  </a:cubicBezTo>
                  <a:cubicBezTo>
                    <a:pt x="77" y="288"/>
                    <a:pt x="74" y="299"/>
                    <a:pt x="70" y="307"/>
                  </a:cubicBezTo>
                  <a:cubicBezTo>
                    <a:pt x="65" y="317"/>
                    <a:pt x="70" y="319"/>
                    <a:pt x="73" y="321"/>
                  </a:cubicBezTo>
                  <a:close/>
                  <a:moveTo>
                    <a:pt x="105" y="277"/>
                  </a:moveTo>
                  <a:cubicBezTo>
                    <a:pt x="51" y="237"/>
                    <a:pt x="39" y="160"/>
                    <a:pt x="79" y="106"/>
                  </a:cubicBezTo>
                  <a:cubicBezTo>
                    <a:pt x="119" y="51"/>
                    <a:pt x="196" y="40"/>
                    <a:pt x="250" y="80"/>
                  </a:cubicBezTo>
                  <a:cubicBezTo>
                    <a:pt x="305" y="120"/>
                    <a:pt x="316" y="196"/>
                    <a:pt x="276" y="251"/>
                  </a:cubicBezTo>
                  <a:cubicBezTo>
                    <a:pt x="236" y="305"/>
                    <a:pt x="160" y="317"/>
                    <a:pt x="105" y="277"/>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6" name="Freeform 1399">
              <a:extLst>
                <a:ext uri="{FF2B5EF4-FFF2-40B4-BE49-F238E27FC236}">
                  <a16:creationId xmlns:a16="http://schemas.microsoft.com/office/drawing/2014/main" id="{5C181C53-6014-434E-889D-E68C2B4F64CF}"/>
                </a:ext>
              </a:extLst>
            </p:cNvPr>
            <p:cNvSpPr>
              <a:spLocks noEditPoints="1"/>
            </p:cNvSpPr>
            <p:nvPr/>
          </p:nvSpPr>
          <p:spPr bwMode="auto">
            <a:xfrm rot="20647229" flipH="1">
              <a:off x="5603921" y="3267328"/>
              <a:ext cx="754063" cy="750888"/>
            </a:xfrm>
            <a:custGeom>
              <a:avLst/>
              <a:gdLst>
                <a:gd name="T0" fmla="*/ 240 w 634"/>
                <a:gd name="T1" fmla="*/ 611 h 632"/>
                <a:gd name="T2" fmla="*/ 177 w 634"/>
                <a:gd name="T3" fmla="*/ 586 h 632"/>
                <a:gd name="T4" fmla="*/ 115 w 634"/>
                <a:gd name="T5" fmla="*/ 544 h 632"/>
                <a:gd name="T6" fmla="*/ 69 w 634"/>
                <a:gd name="T7" fmla="*/ 493 h 632"/>
                <a:gd name="T8" fmla="*/ 34 w 634"/>
                <a:gd name="T9" fmla="*/ 427 h 632"/>
                <a:gd name="T10" fmla="*/ 16 w 634"/>
                <a:gd name="T11" fmla="*/ 361 h 632"/>
                <a:gd name="T12" fmla="*/ 32 w 634"/>
                <a:gd name="T13" fmla="*/ 275 h 632"/>
                <a:gd name="T14" fmla="*/ 22 w 634"/>
                <a:gd name="T15" fmla="*/ 202 h 632"/>
                <a:gd name="T16" fmla="*/ 81 w 634"/>
                <a:gd name="T17" fmla="*/ 150 h 632"/>
                <a:gd name="T18" fmla="*/ 114 w 634"/>
                <a:gd name="T19" fmla="*/ 76 h 632"/>
                <a:gd name="T20" fmla="*/ 183 w 634"/>
                <a:gd name="T21" fmla="*/ 61 h 632"/>
                <a:gd name="T22" fmla="*/ 241 w 634"/>
                <a:gd name="T23" fmla="*/ 9 h 632"/>
                <a:gd name="T24" fmla="*/ 313 w 634"/>
                <a:gd name="T25" fmla="*/ 28 h 632"/>
                <a:gd name="T26" fmla="*/ 384 w 634"/>
                <a:gd name="T27" fmla="*/ 7 h 632"/>
                <a:gd name="T28" fmla="*/ 445 w 634"/>
                <a:gd name="T29" fmla="*/ 57 h 632"/>
                <a:gd name="T30" fmla="*/ 517 w 634"/>
                <a:gd name="T31" fmla="*/ 71 h 632"/>
                <a:gd name="T32" fmla="*/ 548 w 634"/>
                <a:gd name="T33" fmla="*/ 144 h 632"/>
                <a:gd name="T34" fmla="*/ 606 w 634"/>
                <a:gd name="T35" fmla="*/ 188 h 632"/>
                <a:gd name="T36" fmla="*/ 618 w 634"/>
                <a:gd name="T37" fmla="*/ 271 h 632"/>
                <a:gd name="T38" fmla="*/ 603 w 634"/>
                <a:gd name="T39" fmla="*/ 358 h 632"/>
                <a:gd name="T40" fmla="*/ 612 w 634"/>
                <a:gd name="T41" fmla="*/ 430 h 632"/>
                <a:gd name="T42" fmla="*/ 553 w 634"/>
                <a:gd name="T43" fmla="*/ 483 h 632"/>
                <a:gd name="T44" fmla="*/ 520 w 634"/>
                <a:gd name="T45" fmla="*/ 556 h 632"/>
                <a:gd name="T46" fmla="*/ 453 w 634"/>
                <a:gd name="T47" fmla="*/ 589 h 632"/>
                <a:gd name="T48" fmla="*/ 382 w 634"/>
                <a:gd name="T49" fmla="*/ 614 h 632"/>
                <a:gd name="T50" fmla="*/ 315 w 634"/>
                <a:gd name="T51" fmla="*/ 621 h 632"/>
                <a:gd name="T52" fmla="*/ 318 w 634"/>
                <a:gd name="T53" fmla="*/ 601 h 632"/>
                <a:gd name="T54" fmla="*/ 364 w 634"/>
                <a:gd name="T55" fmla="*/ 596 h 632"/>
                <a:gd name="T56" fmla="*/ 416 w 634"/>
                <a:gd name="T57" fmla="*/ 582 h 632"/>
                <a:gd name="T58" fmla="*/ 475 w 634"/>
                <a:gd name="T59" fmla="*/ 576 h 632"/>
                <a:gd name="T60" fmla="*/ 520 w 634"/>
                <a:gd name="T61" fmla="*/ 551 h 632"/>
                <a:gd name="T62" fmla="*/ 559 w 634"/>
                <a:gd name="T63" fmla="*/ 512 h 632"/>
                <a:gd name="T64" fmla="*/ 571 w 634"/>
                <a:gd name="T65" fmla="*/ 445 h 632"/>
                <a:gd name="T66" fmla="*/ 590 w 634"/>
                <a:gd name="T67" fmla="*/ 392 h 632"/>
                <a:gd name="T68" fmla="*/ 600 w 634"/>
                <a:gd name="T69" fmla="*/ 347 h 632"/>
                <a:gd name="T70" fmla="*/ 627 w 634"/>
                <a:gd name="T71" fmla="*/ 285 h 632"/>
                <a:gd name="T72" fmla="*/ 611 w 634"/>
                <a:gd name="T73" fmla="*/ 229 h 632"/>
                <a:gd name="T74" fmla="*/ 591 w 634"/>
                <a:gd name="T75" fmla="*/ 185 h 632"/>
                <a:gd name="T76" fmla="*/ 547 w 634"/>
                <a:gd name="T77" fmla="*/ 149 h 632"/>
                <a:gd name="T78" fmla="*/ 516 w 634"/>
                <a:gd name="T79" fmla="*/ 114 h 632"/>
                <a:gd name="T80" fmla="*/ 473 w 634"/>
                <a:gd name="T81" fmla="*/ 78 h 632"/>
                <a:gd name="T82" fmla="*/ 434 w 634"/>
                <a:gd name="T83" fmla="*/ 36 h 632"/>
                <a:gd name="T84" fmla="*/ 381 w 634"/>
                <a:gd name="T85" fmla="*/ 12 h 632"/>
                <a:gd name="T86" fmla="*/ 324 w 634"/>
                <a:gd name="T87" fmla="*/ 13 h 632"/>
                <a:gd name="T88" fmla="*/ 270 w 634"/>
                <a:gd name="T89" fmla="*/ 37 h 632"/>
                <a:gd name="T90" fmla="*/ 218 w 634"/>
                <a:gd name="T91" fmla="*/ 50 h 632"/>
                <a:gd name="T92" fmla="*/ 159 w 634"/>
                <a:gd name="T93" fmla="*/ 57 h 632"/>
                <a:gd name="T94" fmla="*/ 114 w 634"/>
                <a:gd name="T95" fmla="*/ 81 h 632"/>
                <a:gd name="T96" fmla="*/ 76 w 634"/>
                <a:gd name="T97" fmla="*/ 120 h 632"/>
                <a:gd name="T98" fmla="*/ 50 w 634"/>
                <a:gd name="T99" fmla="*/ 172 h 632"/>
                <a:gd name="T100" fmla="*/ 46 w 634"/>
                <a:gd name="T101" fmla="*/ 229 h 632"/>
                <a:gd name="T102" fmla="*/ 37 w 634"/>
                <a:gd name="T103" fmla="*/ 274 h 632"/>
                <a:gd name="T104" fmla="*/ 33 w 634"/>
                <a:gd name="T105" fmla="*/ 330 h 632"/>
                <a:gd name="T106" fmla="*/ 16 w 634"/>
                <a:gd name="T107" fmla="*/ 396 h 632"/>
                <a:gd name="T108" fmla="*/ 33 w 634"/>
                <a:gd name="T109" fmla="*/ 443 h 632"/>
                <a:gd name="T110" fmla="*/ 62 w 634"/>
                <a:gd name="T111" fmla="*/ 490 h 632"/>
                <a:gd name="T112" fmla="*/ 97 w 634"/>
                <a:gd name="T113" fmla="*/ 526 h 632"/>
                <a:gd name="T114" fmla="*/ 153 w 634"/>
                <a:gd name="T115" fmla="*/ 547 h 632"/>
                <a:gd name="T116" fmla="*/ 199 w 634"/>
                <a:gd name="T117" fmla="*/ 574 h 632"/>
                <a:gd name="T118" fmla="*/ 245 w 634"/>
                <a:gd name="T119" fmla="*/ 611 h 632"/>
                <a:gd name="T120" fmla="*/ 481 w 634"/>
                <a:gd name="T121" fmla="*/ 114 h 632"/>
                <a:gd name="T122" fmla="*/ 317 w 634"/>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4" h="632">
                  <a:moveTo>
                    <a:pt x="303" y="632"/>
                  </a:moveTo>
                  <a:cubicBezTo>
                    <a:pt x="302" y="632"/>
                    <a:pt x="302" y="632"/>
                    <a:pt x="301" y="632"/>
                  </a:cubicBezTo>
                  <a:cubicBezTo>
                    <a:pt x="300" y="632"/>
                    <a:pt x="300" y="632"/>
                    <a:pt x="300" y="632"/>
                  </a:cubicBezTo>
                  <a:cubicBezTo>
                    <a:pt x="296" y="632"/>
                    <a:pt x="288" y="632"/>
                    <a:pt x="287" y="619"/>
                  </a:cubicBezTo>
                  <a:cubicBezTo>
                    <a:pt x="286" y="612"/>
                    <a:pt x="285" y="606"/>
                    <a:pt x="283" y="603"/>
                  </a:cubicBezTo>
                  <a:cubicBezTo>
                    <a:pt x="280" y="602"/>
                    <a:pt x="278" y="602"/>
                    <a:pt x="276" y="602"/>
                  </a:cubicBezTo>
                  <a:cubicBezTo>
                    <a:pt x="273" y="605"/>
                    <a:pt x="270" y="610"/>
                    <a:pt x="267" y="617"/>
                  </a:cubicBezTo>
                  <a:cubicBezTo>
                    <a:pt x="265" y="623"/>
                    <a:pt x="261" y="626"/>
                    <a:pt x="256" y="626"/>
                  </a:cubicBezTo>
                  <a:cubicBezTo>
                    <a:pt x="255" y="626"/>
                    <a:pt x="253" y="626"/>
                    <a:pt x="252" y="626"/>
                  </a:cubicBezTo>
                  <a:cubicBezTo>
                    <a:pt x="251" y="626"/>
                    <a:pt x="251" y="626"/>
                    <a:pt x="251" y="626"/>
                  </a:cubicBezTo>
                  <a:cubicBezTo>
                    <a:pt x="247" y="625"/>
                    <a:pt x="239" y="623"/>
                    <a:pt x="240" y="611"/>
                  </a:cubicBezTo>
                  <a:cubicBezTo>
                    <a:pt x="240" y="604"/>
                    <a:pt x="240" y="597"/>
                    <a:pt x="238" y="594"/>
                  </a:cubicBezTo>
                  <a:cubicBezTo>
                    <a:pt x="236" y="593"/>
                    <a:pt x="234" y="592"/>
                    <a:pt x="232" y="592"/>
                  </a:cubicBezTo>
                  <a:cubicBezTo>
                    <a:pt x="228" y="594"/>
                    <a:pt x="224" y="599"/>
                    <a:pt x="221" y="605"/>
                  </a:cubicBezTo>
                  <a:cubicBezTo>
                    <a:pt x="218" y="611"/>
                    <a:pt x="214" y="613"/>
                    <a:pt x="210" y="613"/>
                  </a:cubicBezTo>
                  <a:cubicBezTo>
                    <a:pt x="208" y="613"/>
                    <a:pt x="206" y="612"/>
                    <a:pt x="204" y="612"/>
                  </a:cubicBezTo>
                  <a:cubicBezTo>
                    <a:pt x="203" y="611"/>
                    <a:pt x="203" y="611"/>
                    <a:pt x="203" y="611"/>
                  </a:cubicBezTo>
                  <a:cubicBezTo>
                    <a:pt x="199" y="610"/>
                    <a:pt x="192" y="607"/>
                    <a:pt x="195" y="595"/>
                  </a:cubicBezTo>
                  <a:cubicBezTo>
                    <a:pt x="196" y="588"/>
                    <a:pt x="197" y="582"/>
                    <a:pt x="196" y="578"/>
                  </a:cubicBezTo>
                  <a:cubicBezTo>
                    <a:pt x="194" y="577"/>
                    <a:pt x="192" y="576"/>
                    <a:pt x="190" y="575"/>
                  </a:cubicBezTo>
                  <a:cubicBezTo>
                    <a:pt x="189" y="575"/>
                    <a:pt x="189" y="575"/>
                    <a:pt x="189" y="575"/>
                  </a:cubicBezTo>
                  <a:cubicBezTo>
                    <a:pt x="186" y="577"/>
                    <a:pt x="181" y="581"/>
                    <a:pt x="177" y="586"/>
                  </a:cubicBezTo>
                  <a:cubicBezTo>
                    <a:pt x="173" y="591"/>
                    <a:pt x="170" y="593"/>
                    <a:pt x="166" y="593"/>
                  </a:cubicBezTo>
                  <a:cubicBezTo>
                    <a:pt x="163" y="593"/>
                    <a:pt x="161" y="591"/>
                    <a:pt x="159" y="590"/>
                  </a:cubicBezTo>
                  <a:cubicBezTo>
                    <a:pt x="158" y="590"/>
                    <a:pt x="158" y="590"/>
                    <a:pt x="158" y="590"/>
                  </a:cubicBezTo>
                  <a:cubicBezTo>
                    <a:pt x="155" y="588"/>
                    <a:pt x="148" y="584"/>
                    <a:pt x="153" y="573"/>
                  </a:cubicBezTo>
                  <a:cubicBezTo>
                    <a:pt x="155" y="566"/>
                    <a:pt x="157" y="560"/>
                    <a:pt x="156" y="556"/>
                  </a:cubicBezTo>
                  <a:cubicBezTo>
                    <a:pt x="154" y="555"/>
                    <a:pt x="153" y="553"/>
                    <a:pt x="151" y="552"/>
                  </a:cubicBezTo>
                  <a:cubicBezTo>
                    <a:pt x="147" y="553"/>
                    <a:pt x="141" y="557"/>
                    <a:pt x="136" y="561"/>
                  </a:cubicBezTo>
                  <a:cubicBezTo>
                    <a:pt x="133" y="564"/>
                    <a:pt x="129" y="566"/>
                    <a:pt x="126" y="566"/>
                  </a:cubicBezTo>
                  <a:cubicBezTo>
                    <a:pt x="123" y="566"/>
                    <a:pt x="120" y="564"/>
                    <a:pt x="118" y="562"/>
                  </a:cubicBezTo>
                  <a:cubicBezTo>
                    <a:pt x="117" y="562"/>
                    <a:pt x="117" y="562"/>
                    <a:pt x="117" y="562"/>
                  </a:cubicBezTo>
                  <a:cubicBezTo>
                    <a:pt x="114" y="559"/>
                    <a:pt x="108" y="554"/>
                    <a:pt x="115" y="544"/>
                  </a:cubicBezTo>
                  <a:cubicBezTo>
                    <a:pt x="118" y="538"/>
                    <a:pt x="121" y="532"/>
                    <a:pt x="121" y="528"/>
                  </a:cubicBezTo>
                  <a:cubicBezTo>
                    <a:pt x="119" y="526"/>
                    <a:pt x="117" y="525"/>
                    <a:pt x="116" y="523"/>
                  </a:cubicBezTo>
                  <a:cubicBezTo>
                    <a:pt x="112" y="523"/>
                    <a:pt x="106" y="526"/>
                    <a:pt x="100" y="530"/>
                  </a:cubicBezTo>
                  <a:cubicBezTo>
                    <a:pt x="97" y="532"/>
                    <a:pt x="94" y="533"/>
                    <a:pt x="91" y="533"/>
                  </a:cubicBezTo>
                  <a:cubicBezTo>
                    <a:pt x="87" y="533"/>
                    <a:pt x="84" y="530"/>
                    <a:pt x="82" y="528"/>
                  </a:cubicBezTo>
                  <a:cubicBezTo>
                    <a:pt x="81" y="527"/>
                    <a:pt x="81" y="527"/>
                    <a:pt x="81" y="527"/>
                  </a:cubicBezTo>
                  <a:cubicBezTo>
                    <a:pt x="79" y="524"/>
                    <a:pt x="73" y="519"/>
                    <a:pt x="82" y="509"/>
                  </a:cubicBezTo>
                  <a:cubicBezTo>
                    <a:pt x="86" y="504"/>
                    <a:pt x="89" y="498"/>
                    <a:pt x="90" y="494"/>
                  </a:cubicBezTo>
                  <a:cubicBezTo>
                    <a:pt x="90" y="494"/>
                    <a:pt x="90" y="494"/>
                    <a:pt x="90" y="494"/>
                  </a:cubicBezTo>
                  <a:cubicBezTo>
                    <a:pt x="88" y="492"/>
                    <a:pt x="87" y="491"/>
                    <a:pt x="86" y="489"/>
                  </a:cubicBezTo>
                  <a:cubicBezTo>
                    <a:pt x="82" y="489"/>
                    <a:pt x="76" y="491"/>
                    <a:pt x="69" y="493"/>
                  </a:cubicBezTo>
                  <a:cubicBezTo>
                    <a:pt x="66" y="495"/>
                    <a:pt x="64" y="495"/>
                    <a:pt x="62" y="495"/>
                  </a:cubicBezTo>
                  <a:cubicBezTo>
                    <a:pt x="56" y="495"/>
                    <a:pt x="54" y="491"/>
                    <a:pt x="52" y="489"/>
                  </a:cubicBezTo>
                  <a:cubicBezTo>
                    <a:pt x="51" y="488"/>
                    <a:pt x="51" y="488"/>
                    <a:pt x="51" y="488"/>
                  </a:cubicBezTo>
                  <a:cubicBezTo>
                    <a:pt x="49" y="484"/>
                    <a:pt x="45" y="478"/>
                    <a:pt x="54" y="470"/>
                  </a:cubicBezTo>
                  <a:cubicBezTo>
                    <a:pt x="59" y="466"/>
                    <a:pt x="64" y="460"/>
                    <a:pt x="65" y="457"/>
                  </a:cubicBezTo>
                  <a:cubicBezTo>
                    <a:pt x="64" y="455"/>
                    <a:pt x="63" y="453"/>
                    <a:pt x="62" y="451"/>
                  </a:cubicBezTo>
                  <a:cubicBezTo>
                    <a:pt x="58" y="450"/>
                    <a:pt x="51" y="451"/>
                    <a:pt x="45" y="452"/>
                  </a:cubicBezTo>
                  <a:cubicBezTo>
                    <a:pt x="42" y="453"/>
                    <a:pt x="40" y="453"/>
                    <a:pt x="39" y="453"/>
                  </a:cubicBezTo>
                  <a:cubicBezTo>
                    <a:pt x="32" y="453"/>
                    <a:pt x="29" y="448"/>
                    <a:pt x="28" y="445"/>
                  </a:cubicBezTo>
                  <a:cubicBezTo>
                    <a:pt x="28" y="444"/>
                    <a:pt x="28" y="444"/>
                    <a:pt x="28" y="444"/>
                  </a:cubicBezTo>
                  <a:cubicBezTo>
                    <a:pt x="26" y="440"/>
                    <a:pt x="23" y="434"/>
                    <a:pt x="34" y="427"/>
                  </a:cubicBezTo>
                  <a:cubicBezTo>
                    <a:pt x="39" y="423"/>
                    <a:pt x="44" y="419"/>
                    <a:pt x="46" y="416"/>
                  </a:cubicBezTo>
                  <a:cubicBezTo>
                    <a:pt x="45" y="413"/>
                    <a:pt x="45" y="411"/>
                    <a:pt x="44" y="409"/>
                  </a:cubicBezTo>
                  <a:cubicBezTo>
                    <a:pt x="41" y="408"/>
                    <a:pt x="38" y="408"/>
                    <a:pt x="33" y="408"/>
                  </a:cubicBezTo>
                  <a:cubicBezTo>
                    <a:pt x="31" y="408"/>
                    <a:pt x="29" y="408"/>
                    <a:pt x="27" y="408"/>
                  </a:cubicBezTo>
                  <a:cubicBezTo>
                    <a:pt x="26" y="408"/>
                    <a:pt x="24" y="408"/>
                    <a:pt x="23" y="408"/>
                  </a:cubicBezTo>
                  <a:cubicBezTo>
                    <a:pt x="14" y="408"/>
                    <a:pt x="12" y="402"/>
                    <a:pt x="12" y="398"/>
                  </a:cubicBezTo>
                  <a:cubicBezTo>
                    <a:pt x="11" y="397"/>
                    <a:pt x="11" y="397"/>
                    <a:pt x="11" y="397"/>
                  </a:cubicBezTo>
                  <a:cubicBezTo>
                    <a:pt x="10" y="393"/>
                    <a:pt x="8" y="386"/>
                    <a:pt x="20" y="381"/>
                  </a:cubicBezTo>
                  <a:cubicBezTo>
                    <a:pt x="26" y="379"/>
                    <a:pt x="31" y="375"/>
                    <a:pt x="34" y="372"/>
                  </a:cubicBezTo>
                  <a:cubicBezTo>
                    <a:pt x="34" y="370"/>
                    <a:pt x="33" y="367"/>
                    <a:pt x="33" y="365"/>
                  </a:cubicBezTo>
                  <a:cubicBezTo>
                    <a:pt x="29" y="363"/>
                    <a:pt x="23" y="362"/>
                    <a:pt x="16" y="361"/>
                  </a:cubicBezTo>
                  <a:cubicBezTo>
                    <a:pt x="3" y="361"/>
                    <a:pt x="3" y="354"/>
                    <a:pt x="2" y="350"/>
                  </a:cubicBezTo>
                  <a:cubicBezTo>
                    <a:pt x="2" y="348"/>
                    <a:pt x="2" y="348"/>
                    <a:pt x="2" y="348"/>
                  </a:cubicBezTo>
                  <a:cubicBezTo>
                    <a:pt x="2" y="344"/>
                    <a:pt x="1" y="337"/>
                    <a:pt x="13" y="334"/>
                  </a:cubicBezTo>
                  <a:cubicBezTo>
                    <a:pt x="20" y="332"/>
                    <a:pt x="26" y="330"/>
                    <a:pt x="29" y="327"/>
                  </a:cubicBezTo>
                  <a:cubicBezTo>
                    <a:pt x="29" y="325"/>
                    <a:pt x="29" y="322"/>
                    <a:pt x="29" y="320"/>
                  </a:cubicBezTo>
                  <a:cubicBezTo>
                    <a:pt x="25" y="318"/>
                    <a:pt x="19" y="315"/>
                    <a:pt x="13" y="314"/>
                  </a:cubicBezTo>
                  <a:cubicBezTo>
                    <a:pt x="0" y="312"/>
                    <a:pt x="1" y="304"/>
                    <a:pt x="1" y="300"/>
                  </a:cubicBezTo>
                  <a:cubicBezTo>
                    <a:pt x="1" y="299"/>
                    <a:pt x="1" y="299"/>
                    <a:pt x="1" y="299"/>
                  </a:cubicBezTo>
                  <a:cubicBezTo>
                    <a:pt x="1" y="295"/>
                    <a:pt x="2" y="287"/>
                    <a:pt x="14" y="286"/>
                  </a:cubicBezTo>
                  <a:cubicBezTo>
                    <a:pt x="21" y="286"/>
                    <a:pt x="27" y="284"/>
                    <a:pt x="31" y="282"/>
                  </a:cubicBezTo>
                  <a:cubicBezTo>
                    <a:pt x="31" y="279"/>
                    <a:pt x="31" y="277"/>
                    <a:pt x="32" y="275"/>
                  </a:cubicBezTo>
                  <a:cubicBezTo>
                    <a:pt x="29" y="272"/>
                    <a:pt x="23" y="269"/>
                    <a:pt x="17" y="266"/>
                  </a:cubicBezTo>
                  <a:cubicBezTo>
                    <a:pt x="5" y="262"/>
                    <a:pt x="7" y="255"/>
                    <a:pt x="8" y="251"/>
                  </a:cubicBezTo>
                  <a:cubicBezTo>
                    <a:pt x="8" y="250"/>
                    <a:pt x="8" y="250"/>
                    <a:pt x="8" y="250"/>
                  </a:cubicBezTo>
                  <a:cubicBezTo>
                    <a:pt x="9" y="246"/>
                    <a:pt x="10" y="239"/>
                    <a:pt x="20" y="239"/>
                  </a:cubicBezTo>
                  <a:cubicBezTo>
                    <a:pt x="21" y="239"/>
                    <a:pt x="22" y="239"/>
                    <a:pt x="23" y="239"/>
                  </a:cubicBezTo>
                  <a:cubicBezTo>
                    <a:pt x="24" y="239"/>
                    <a:pt x="25" y="239"/>
                    <a:pt x="26" y="239"/>
                  </a:cubicBezTo>
                  <a:cubicBezTo>
                    <a:pt x="31" y="239"/>
                    <a:pt x="36" y="239"/>
                    <a:pt x="40" y="237"/>
                  </a:cubicBezTo>
                  <a:cubicBezTo>
                    <a:pt x="40" y="235"/>
                    <a:pt x="41" y="233"/>
                    <a:pt x="42" y="231"/>
                  </a:cubicBezTo>
                  <a:cubicBezTo>
                    <a:pt x="39" y="227"/>
                    <a:pt x="34" y="223"/>
                    <a:pt x="28" y="220"/>
                  </a:cubicBezTo>
                  <a:cubicBezTo>
                    <a:pt x="17" y="214"/>
                    <a:pt x="20" y="207"/>
                    <a:pt x="22" y="203"/>
                  </a:cubicBezTo>
                  <a:cubicBezTo>
                    <a:pt x="22" y="202"/>
                    <a:pt x="22" y="202"/>
                    <a:pt x="22" y="202"/>
                  </a:cubicBezTo>
                  <a:cubicBezTo>
                    <a:pt x="23" y="199"/>
                    <a:pt x="25" y="193"/>
                    <a:pt x="33" y="193"/>
                  </a:cubicBezTo>
                  <a:cubicBezTo>
                    <a:pt x="34" y="193"/>
                    <a:pt x="36" y="194"/>
                    <a:pt x="38" y="194"/>
                  </a:cubicBezTo>
                  <a:cubicBezTo>
                    <a:pt x="45" y="195"/>
                    <a:pt x="51" y="196"/>
                    <a:pt x="55" y="195"/>
                  </a:cubicBezTo>
                  <a:cubicBezTo>
                    <a:pt x="56" y="193"/>
                    <a:pt x="57" y="191"/>
                    <a:pt x="58" y="189"/>
                  </a:cubicBezTo>
                  <a:cubicBezTo>
                    <a:pt x="57" y="185"/>
                    <a:pt x="52" y="180"/>
                    <a:pt x="47" y="176"/>
                  </a:cubicBezTo>
                  <a:cubicBezTo>
                    <a:pt x="37" y="168"/>
                    <a:pt x="41" y="162"/>
                    <a:pt x="43" y="158"/>
                  </a:cubicBezTo>
                  <a:cubicBezTo>
                    <a:pt x="44" y="157"/>
                    <a:pt x="44" y="157"/>
                    <a:pt x="44" y="157"/>
                  </a:cubicBezTo>
                  <a:cubicBezTo>
                    <a:pt x="45" y="155"/>
                    <a:pt x="47" y="150"/>
                    <a:pt x="53" y="150"/>
                  </a:cubicBezTo>
                  <a:cubicBezTo>
                    <a:pt x="56" y="150"/>
                    <a:pt x="58" y="151"/>
                    <a:pt x="61" y="152"/>
                  </a:cubicBezTo>
                  <a:cubicBezTo>
                    <a:pt x="67" y="154"/>
                    <a:pt x="74" y="156"/>
                    <a:pt x="77" y="156"/>
                  </a:cubicBezTo>
                  <a:cubicBezTo>
                    <a:pt x="79" y="154"/>
                    <a:pt x="80" y="152"/>
                    <a:pt x="81" y="150"/>
                  </a:cubicBezTo>
                  <a:cubicBezTo>
                    <a:pt x="80" y="146"/>
                    <a:pt x="77" y="140"/>
                    <a:pt x="72" y="135"/>
                  </a:cubicBezTo>
                  <a:cubicBezTo>
                    <a:pt x="64" y="126"/>
                    <a:pt x="68" y="120"/>
                    <a:pt x="71" y="117"/>
                  </a:cubicBezTo>
                  <a:cubicBezTo>
                    <a:pt x="72" y="116"/>
                    <a:pt x="72" y="116"/>
                    <a:pt x="72" y="116"/>
                  </a:cubicBezTo>
                  <a:cubicBezTo>
                    <a:pt x="73" y="114"/>
                    <a:pt x="76" y="111"/>
                    <a:pt x="81" y="111"/>
                  </a:cubicBezTo>
                  <a:cubicBezTo>
                    <a:pt x="83" y="111"/>
                    <a:pt x="86" y="112"/>
                    <a:pt x="90" y="114"/>
                  </a:cubicBezTo>
                  <a:cubicBezTo>
                    <a:pt x="95" y="117"/>
                    <a:pt x="102" y="120"/>
                    <a:pt x="106" y="120"/>
                  </a:cubicBezTo>
                  <a:cubicBezTo>
                    <a:pt x="107" y="118"/>
                    <a:pt x="109" y="117"/>
                    <a:pt x="110" y="115"/>
                  </a:cubicBezTo>
                  <a:cubicBezTo>
                    <a:pt x="110" y="111"/>
                    <a:pt x="107" y="105"/>
                    <a:pt x="103" y="99"/>
                  </a:cubicBezTo>
                  <a:cubicBezTo>
                    <a:pt x="96" y="89"/>
                    <a:pt x="102" y="84"/>
                    <a:pt x="105" y="81"/>
                  </a:cubicBezTo>
                  <a:cubicBezTo>
                    <a:pt x="106" y="80"/>
                    <a:pt x="106" y="80"/>
                    <a:pt x="106" y="80"/>
                  </a:cubicBezTo>
                  <a:cubicBezTo>
                    <a:pt x="108" y="79"/>
                    <a:pt x="110" y="76"/>
                    <a:pt x="114" y="76"/>
                  </a:cubicBezTo>
                  <a:cubicBezTo>
                    <a:pt x="117" y="76"/>
                    <a:pt x="121" y="78"/>
                    <a:pt x="124" y="81"/>
                  </a:cubicBezTo>
                  <a:cubicBezTo>
                    <a:pt x="129" y="85"/>
                    <a:pt x="135" y="88"/>
                    <a:pt x="139" y="89"/>
                  </a:cubicBezTo>
                  <a:cubicBezTo>
                    <a:pt x="139" y="89"/>
                    <a:pt x="139" y="89"/>
                    <a:pt x="139" y="89"/>
                  </a:cubicBezTo>
                  <a:cubicBezTo>
                    <a:pt x="141" y="88"/>
                    <a:pt x="143" y="86"/>
                    <a:pt x="144" y="85"/>
                  </a:cubicBezTo>
                  <a:cubicBezTo>
                    <a:pt x="144" y="81"/>
                    <a:pt x="143" y="75"/>
                    <a:pt x="140" y="68"/>
                  </a:cubicBezTo>
                  <a:cubicBezTo>
                    <a:pt x="135" y="57"/>
                    <a:pt x="141" y="53"/>
                    <a:pt x="145" y="51"/>
                  </a:cubicBezTo>
                  <a:cubicBezTo>
                    <a:pt x="146" y="50"/>
                    <a:pt x="146" y="50"/>
                    <a:pt x="146" y="50"/>
                  </a:cubicBezTo>
                  <a:cubicBezTo>
                    <a:pt x="147" y="49"/>
                    <a:pt x="150" y="47"/>
                    <a:pt x="153" y="47"/>
                  </a:cubicBezTo>
                  <a:cubicBezTo>
                    <a:pt x="156" y="47"/>
                    <a:pt x="160" y="49"/>
                    <a:pt x="163" y="54"/>
                  </a:cubicBezTo>
                  <a:cubicBezTo>
                    <a:pt x="168" y="58"/>
                    <a:pt x="173" y="63"/>
                    <a:pt x="177" y="64"/>
                  </a:cubicBezTo>
                  <a:cubicBezTo>
                    <a:pt x="179" y="63"/>
                    <a:pt x="181" y="62"/>
                    <a:pt x="183" y="61"/>
                  </a:cubicBezTo>
                  <a:cubicBezTo>
                    <a:pt x="183" y="57"/>
                    <a:pt x="183" y="50"/>
                    <a:pt x="181" y="44"/>
                  </a:cubicBezTo>
                  <a:cubicBezTo>
                    <a:pt x="177" y="32"/>
                    <a:pt x="184" y="29"/>
                    <a:pt x="188" y="27"/>
                  </a:cubicBezTo>
                  <a:cubicBezTo>
                    <a:pt x="189" y="27"/>
                    <a:pt x="189" y="27"/>
                    <a:pt x="189" y="27"/>
                  </a:cubicBezTo>
                  <a:cubicBezTo>
                    <a:pt x="191" y="26"/>
                    <a:pt x="193" y="25"/>
                    <a:pt x="196" y="25"/>
                  </a:cubicBezTo>
                  <a:cubicBezTo>
                    <a:pt x="200" y="25"/>
                    <a:pt x="203" y="28"/>
                    <a:pt x="206" y="33"/>
                  </a:cubicBezTo>
                  <a:cubicBezTo>
                    <a:pt x="210" y="38"/>
                    <a:pt x="214" y="43"/>
                    <a:pt x="218" y="45"/>
                  </a:cubicBezTo>
                  <a:cubicBezTo>
                    <a:pt x="220" y="45"/>
                    <a:pt x="222" y="44"/>
                    <a:pt x="224" y="43"/>
                  </a:cubicBezTo>
                  <a:cubicBezTo>
                    <a:pt x="226" y="39"/>
                    <a:pt x="226" y="33"/>
                    <a:pt x="225" y="26"/>
                  </a:cubicBezTo>
                  <a:cubicBezTo>
                    <a:pt x="224" y="13"/>
                    <a:pt x="231" y="12"/>
                    <a:pt x="235" y="11"/>
                  </a:cubicBezTo>
                  <a:cubicBezTo>
                    <a:pt x="236" y="10"/>
                    <a:pt x="236" y="10"/>
                    <a:pt x="236" y="10"/>
                  </a:cubicBezTo>
                  <a:cubicBezTo>
                    <a:pt x="237" y="10"/>
                    <a:pt x="239" y="9"/>
                    <a:pt x="241" y="9"/>
                  </a:cubicBezTo>
                  <a:cubicBezTo>
                    <a:pt x="246" y="9"/>
                    <a:pt x="249" y="13"/>
                    <a:pt x="252" y="19"/>
                  </a:cubicBezTo>
                  <a:cubicBezTo>
                    <a:pt x="255" y="25"/>
                    <a:pt x="258" y="30"/>
                    <a:pt x="261" y="33"/>
                  </a:cubicBezTo>
                  <a:cubicBezTo>
                    <a:pt x="263" y="33"/>
                    <a:pt x="266" y="32"/>
                    <a:pt x="268" y="32"/>
                  </a:cubicBezTo>
                  <a:cubicBezTo>
                    <a:pt x="268" y="32"/>
                    <a:pt x="268" y="32"/>
                    <a:pt x="268" y="32"/>
                  </a:cubicBezTo>
                  <a:cubicBezTo>
                    <a:pt x="270" y="28"/>
                    <a:pt x="271" y="22"/>
                    <a:pt x="272" y="15"/>
                  </a:cubicBezTo>
                  <a:cubicBezTo>
                    <a:pt x="272" y="3"/>
                    <a:pt x="280" y="2"/>
                    <a:pt x="284" y="2"/>
                  </a:cubicBezTo>
                  <a:cubicBezTo>
                    <a:pt x="285" y="1"/>
                    <a:pt x="285" y="1"/>
                    <a:pt x="285" y="1"/>
                  </a:cubicBezTo>
                  <a:cubicBezTo>
                    <a:pt x="286" y="1"/>
                    <a:pt x="287" y="1"/>
                    <a:pt x="288" y="1"/>
                  </a:cubicBezTo>
                  <a:cubicBezTo>
                    <a:pt x="294" y="1"/>
                    <a:pt x="298" y="5"/>
                    <a:pt x="299" y="12"/>
                  </a:cubicBezTo>
                  <a:cubicBezTo>
                    <a:pt x="301" y="19"/>
                    <a:pt x="304" y="25"/>
                    <a:pt x="306" y="28"/>
                  </a:cubicBezTo>
                  <a:cubicBezTo>
                    <a:pt x="309" y="28"/>
                    <a:pt x="311" y="28"/>
                    <a:pt x="313" y="28"/>
                  </a:cubicBezTo>
                  <a:cubicBezTo>
                    <a:pt x="316" y="25"/>
                    <a:pt x="318" y="18"/>
                    <a:pt x="320" y="12"/>
                  </a:cubicBezTo>
                  <a:cubicBezTo>
                    <a:pt x="321" y="4"/>
                    <a:pt x="325" y="0"/>
                    <a:pt x="331" y="0"/>
                  </a:cubicBezTo>
                  <a:cubicBezTo>
                    <a:pt x="332" y="0"/>
                    <a:pt x="333" y="0"/>
                    <a:pt x="333" y="0"/>
                  </a:cubicBezTo>
                  <a:cubicBezTo>
                    <a:pt x="335" y="0"/>
                    <a:pt x="335" y="0"/>
                    <a:pt x="335" y="0"/>
                  </a:cubicBezTo>
                  <a:cubicBezTo>
                    <a:pt x="339" y="0"/>
                    <a:pt x="346" y="1"/>
                    <a:pt x="347" y="13"/>
                  </a:cubicBezTo>
                  <a:cubicBezTo>
                    <a:pt x="348" y="20"/>
                    <a:pt x="350" y="26"/>
                    <a:pt x="352" y="30"/>
                  </a:cubicBezTo>
                  <a:cubicBezTo>
                    <a:pt x="354" y="30"/>
                    <a:pt x="356" y="30"/>
                    <a:pt x="358" y="31"/>
                  </a:cubicBezTo>
                  <a:cubicBezTo>
                    <a:pt x="361" y="28"/>
                    <a:pt x="365" y="22"/>
                    <a:pt x="367" y="16"/>
                  </a:cubicBezTo>
                  <a:cubicBezTo>
                    <a:pt x="369" y="9"/>
                    <a:pt x="373" y="6"/>
                    <a:pt x="378" y="6"/>
                  </a:cubicBezTo>
                  <a:cubicBezTo>
                    <a:pt x="380" y="6"/>
                    <a:pt x="381" y="6"/>
                    <a:pt x="383" y="7"/>
                  </a:cubicBezTo>
                  <a:cubicBezTo>
                    <a:pt x="384" y="7"/>
                    <a:pt x="384" y="7"/>
                    <a:pt x="384" y="7"/>
                  </a:cubicBezTo>
                  <a:cubicBezTo>
                    <a:pt x="388" y="8"/>
                    <a:pt x="395" y="9"/>
                    <a:pt x="394" y="22"/>
                  </a:cubicBezTo>
                  <a:cubicBezTo>
                    <a:pt x="394" y="28"/>
                    <a:pt x="394" y="35"/>
                    <a:pt x="396" y="39"/>
                  </a:cubicBezTo>
                  <a:cubicBezTo>
                    <a:pt x="398" y="39"/>
                    <a:pt x="400" y="40"/>
                    <a:pt x="403" y="41"/>
                  </a:cubicBezTo>
                  <a:cubicBezTo>
                    <a:pt x="406" y="38"/>
                    <a:pt x="410" y="33"/>
                    <a:pt x="413" y="27"/>
                  </a:cubicBezTo>
                  <a:cubicBezTo>
                    <a:pt x="416" y="22"/>
                    <a:pt x="420" y="19"/>
                    <a:pt x="424" y="19"/>
                  </a:cubicBezTo>
                  <a:cubicBezTo>
                    <a:pt x="426" y="19"/>
                    <a:pt x="429" y="20"/>
                    <a:pt x="430" y="21"/>
                  </a:cubicBezTo>
                  <a:cubicBezTo>
                    <a:pt x="431" y="21"/>
                    <a:pt x="431" y="21"/>
                    <a:pt x="431" y="21"/>
                  </a:cubicBezTo>
                  <a:cubicBezTo>
                    <a:pt x="435" y="23"/>
                    <a:pt x="442" y="25"/>
                    <a:pt x="439" y="37"/>
                  </a:cubicBezTo>
                  <a:cubicBezTo>
                    <a:pt x="438" y="44"/>
                    <a:pt x="438" y="50"/>
                    <a:pt x="438" y="54"/>
                  </a:cubicBezTo>
                  <a:cubicBezTo>
                    <a:pt x="440" y="55"/>
                    <a:pt x="442" y="56"/>
                    <a:pt x="444" y="57"/>
                  </a:cubicBezTo>
                  <a:cubicBezTo>
                    <a:pt x="445" y="57"/>
                    <a:pt x="445" y="57"/>
                    <a:pt x="445" y="57"/>
                  </a:cubicBezTo>
                  <a:cubicBezTo>
                    <a:pt x="448" y="56"/>
                    <a:pt x="453" y="51"/>
                    <a:pt x="457" y="46"/>
                  </a:cubicBezTo>
                  <a:cubicBezTo>
                    <a:pt x="461" y="42"/>
                    <a:pt x="464" y="39"/>
                    <a:pt x="468" y="39"/>
                  </a:cubicBezTo>
                  <a:cubicBezTo>
                    <a:pt x="471" y="39"/>
                    <a:pt x="473" y="41"/>
                    <a:pt x="475" y="42"/>
                  </a:cubicBezTo>
                  <a:cubicBezTo>
                    <a:pt x="476" y="43"/>
                    <a:pt x="476" y="43"/>
                    <a:pt x="476" y="43"/>
                  </a:cubicBezTo>
                  <a:cubicBezTo>
                    <a:pt x="480" y="45"/>
                    <a:pt x="486" y="48"/>
                    <a:pt x="481" y="60"/>
                  </a:cubicBezTo>
                  <a:cubicBezTo>
                    <a:pt x="479" y="66"/>
                    <a:pt x="478" y="73"/>
                    <a:pt x="478" y="77"/>
                  </a:cubicBezTo>
                  <a:cubicBezTo>
                    <a:pt x="480" y="78"/>
                    <a:pt x="482" y="79"/>
                    <a:pt x="484" y="81"/>
                  </a:cubicBezTo>
                  <a:cubicBezTo>
                    <a:pt x="487" y="79"/>
                    <a:pt x="493" y="76"/>
                    <a:pt x="498" y="71"/>
                  </a:cubicBezTo>
                  <a:cubicBezTo>
                    <a:pt x="501" y="68"/>
                    <a:pt x="505" y="66"/>
                    <a:pt x="508" y="66"/>
                  </a:cubicBezTo>
                  <a:cubicBezTo>
                    <a:pt x="512" y="66"/>
                    <a:pt x="514" y="69"/>
                    <a:pt x="516" y="70"/>
                  </a:cubicBezTo>
                  <a:cubicBezTo>
                    <a:pt x="517" y="71"/>
                    <a:pt x="517" y="71"/>
                    <a:pt x="517" y="71"/>
                  </a:cubicBezTo>
                  <a:cubicBezTo>
                    <a:pt x="520" y="73"/>
                    <a:pt x="526" y="78"/>
                    <a:pt x="519" y="89"/>
                  </a:cubicBezTo>
                  <a:cubicBezTo>
                    <a:pt x="516" y="95"/>
                    <a:pt x="514" y="101"/>
                    <a:pt x="513" y="105"/>
                  </a:cubicBezTo>
                  <a:cubicBezTo>
                    <a:pt x="515" y="106"/>
                    <a:pt x="517" y="108"/>
                    <a:pt x="518" y="110"/>
                  </a:cubicBezTo>
                  <a:cubicBezTo>
                    <a:pt x="522" y="109"/>
                    <a:pt x="528" y="106"/>
                    <a:pt x="534" y="103"/>
                  </a:cubicBezTo>
                  <a:cubicBezTo>
                    <a:pt x="537" y="100"/>
                    <a:pt x="540" y="99"/>
                    <a:pt x="543" y="99"/>
                  </a:cubicBezTo>
                  <a:cubicBezTo>
                    <a:pt x="548" y="99"/>
                    <a:pt x="550" y="102"/>
                    <a:pt x="552" y="104"/>
                  </a:cubicBezTo>
                  <a:cubicBezTo>
                    <a:pt x="553" y="105"/>
                    <a:pt x="553" y="105"/>
                    <a:pt x="553" y="105"/>
                  </a:cubicBezTo>
                  <a:cubicBezTo>
                    <a:pt x="556" y="108"/>
                    <a:pt x="561" y="114"/>
                    <a:pt x="552" y="123"/>
                  </a:cubicBezTo>
                  <a:cubicBezTo>
                    <a:pt x="548" y="128"/>
                    <a:pt x="545" y="134"/>
                    <a:pt x="544" y="138"/>
                  </a:cubicBezTo>
                  <a:cubicBezTo>
                    <a:pt x="544" y="138"/>
                    <a:pt x="544" y="138"/>
                    <a:pt x="544" y="138"/>
                  </a:cubicBezTo>
                  <a:cubicBezTo>
                    <a:pt x="546" y="140"/>
                    <a:pt x="547" y="142"/>
                    <a:pt x="548" y="144"/>
                  </a:cubicBezTo>
                  <a:cubicBezTo>
                    <a:pt x="552" y="144"/>
                    <a:pt x="559" y="142"/>
                    <a:pt x="565" y="139"/>
                  </a:cubicBezTo>
                  <a:cubicBezTo>
                    <a:pt x="568" y="138"/>
                    <a:pt x="570" y="137"/>
                    <a:pt x="573" y="137"/>
                  </a:cubicBezTo>
                  <a:cubicBezTo>
                    <a:pt x="578" y="137"/>
                    <a:pt x="581" y="141"/>
                    <a:pt x="582" y="144"/>
                  </a:cubicBezTo>
                  <a:cubicBezTo>
                    <a:pt x="583" y="145"/>
                    <a:pt x="583" y="145"/>
                    <a:pt x="583" y="145"/>
                  </a:cubicBezTo>
                  <a:cubicBezTo>
                    <a:pt x="585" y="148"/>
                    <a:pt x="589" y="154"/>
                    <a:pt x="580" y="162"/>
                  </a:cubicBezTo>
                  <a:cubicBezTo>
                    <a:pt x="575" y="167"/>
                    <a:pt x="571" y="172"/>
                    <a:pt x="569" y="176"/>
                  </a:cubicBezTo>
                  <a:cubicBezTo>
                    <a:pt x="570" y="178"/>
                    <a:pt x="571" y="180"/>
                    <a:pt x="572" y="182"/>
                  </a:cubicBezTo>
                  <a:cubicBezTo>
                    <a:pt x="576" y="182"/>
                    <a:pt x="583" y="182"/>
                    <a:pt x="589" y="180"/>
                  </a:cubicBezTo>
                  <a:cubicBezTo>
                    <a:pt x="592" y="179"/>
                    <a:pt x="594" y="179"/>
                    <a:pt x="596" y="179"/>
                  </a:cubicBezTo>
                  <a:cubicBezTo>
                    <a:pt x="603" y="179"/>
                    <a:pt x="605" y="184"/>
                    <a:pt x="606" y="187"/>
                  </a:cubicBezTo>
                  <a:cubicBezTo>
                    <a:pt x="606" y="188"/>
                    <a:pt x="606" y="188"/>
                    <a:pt x="606" y="188"/>
                  </a:cubicBezTo>
                  <a:cubicBezTo>
                    <a:pt x="608" y="192"/>
                    <a:pt x="611" y="199"/>
                    <a:pt x="601" y="205"/>
                  </a:cubicBezTo>
                  <a:cubicBezTo>
                    <a:pt x="595" y="209"/>
                    <a:pt x="590" y="213"/>
                    <a:pt x="588" y="217"/>
                  </a:cubicBezTo>
                  <a:cubicBezTo>
                    <a:pt x="589" y="219"/>
                    <a:pt x="590" y="221"/>
                    <a:pt x="590" y="223"/>
                  </a:cubicBezTo>
                  <a:cubicBezTo>
                    <a:pt x="594" y="225"/>
                    <a:pt x="601" y="225"/>
                    <a:pt x="607" y="224"/>
                  </a:cubicBezTo>
                  <a:cubicBezTo>
                    <a:pt x="609" y="224"/>
                    <a:pt x="610" y="224"/>
                    <a:pt x="611" y="224"/>
                  </a:cubicBezTo>
                  <a:cubicBezTo>
                    <a:pt x="620" y="224"/>
                    <a:pt x="622" y="231"/>
                    <a:pt x="623" y="234"/>
                  </a:cubicBezTo>
                  <a:cubicBezTo>
                    <a:pt x="623" y="235"/>
                    <a:pt x="623" y="235"/>
                    <a:pt x="623" y="235"/>
                  </a:cubicBezTo>
                  <a:cubicBezTo>
                    <a:pt x="624" y="239"/>
                    <a:pt x="626" y="246"/>
                    <a:pt x="614" y="251"/>
                  </a:cubicBezTo>
                  <a:cubicBezTo>
                    <a:pt x="608" y="254"/>
                    <a:pt x="603" y="257"/>
                    <a:pt x="600" y="260"/>
                  </a:cubicBezTo>
                  <a:cubicBezTo>
                    <a:pt x="601" y="263"/>
                    <a:pt x="601" y="265"/>
                    <a:pt x="601" y="267"/>
                  </a:cubicBezTo>
                  <a:cubicBezTo>
                    <a:pt x="605" y="269"/>
                    <a:pt x="611" y="271"/>
                    <a:pt x="618" y="271"/>
                  </a:cubicBezTo>
                  <a:cubicBezTo>
                    <a:pt x="631" y="271"/>
                    <a:pt x="631" y="279"/>
                    <a:pt x="632" y="283"/>
                  </a:cubicBezTo>
                  <a:cubicBezTo>
                    <a:pt x="632" y="284"/>
                    <a:pt x="632" y="284"/>
                    <a:pt x="632" y="284"/>
                  </a:cubicBezTo>
                  <a:cubicBezTo>
                    <a:pt x="632" y="288"/>
                    <a:pt x="633" y="295"/>
                    <a:pt x="621" y="298"/>
                  </a:cubicBezTo>
                  <a:cubicBezTo>
                    <a:pt x="615" y="300"/>
                    <a:pt x="608" y="303"/>
                    <a:pt x="605" y="305"/>
                  </a:cubicBezTo>
                  <a:cubicBezTo>
                    <a:pt x="605" y="308"/>
                    <a:pt x="606" y="310"/>
                    <a:pt x="606" y="312"/>
                  </a:cubicBezTo>
                  <a:cubicBezTo>
                    <a:pt x="609" y="315"/>
                    <a:pt x="615" y="317"/>
                    <a:pt x="622" y="319"/>
                  </a:cubicBezTo>
                  <a:cubicBezTo>
                    <a:pt x="634" y="321"/>
                    <a:pt x="633" y="328"/>
                    <a:pt x="633" y="332"/>
                  </a:cubicBezTo>
                  <a:cubicBezTo>
                    <a:pt x="633" y="334"/>
                    <a:pt x="633" y="334"/>
                    <a:pt x="633" y="334"/>
                  </a:cubicBezTo>
                  <a:cubicBezTo>
                    <a:pt x="633" y="338"/>
                    <a:pt x="633" y="345"/>
                    <a:pt x="620" y="346"/>
                  </a:cubicBezTo>
                  <a:cubicBezTo>
                    <a:pt x="613" y="347"/>
                    <a:pt x="607" y="349"/>
                    <a:pt x="604" y="351"/>
                  </a:cubicBezTo>
                  <a:cubicBezTo>
                    <a:pt x="603" y="353"/>
                    <a:pt x="603" y="355"/>
                    <a:pt x="603" y="358"/>
                  </a:cubicBezTo>
                  <a:cubicBezTo>
                    <a:pt x="605" y="360"/>
                    <a:pt x="611" y="364"/>
                    <a:pt x="617" y="366"/>
                  </a:cubicBezTo>
                  <a:cubicBezTo>
                    <a:pt x="629" y="370"/>
                    <a:pt x="628" y="378"/>
                    <a:pt x="627" y="382"/>
                  </a:cubicBezTo>
                  <a:cubicBezTo>
                    <a:pt x="626" y="383"/>
                    <a:pt x="626" y="383"/>
                    <a:pt x="626" y="383"/>
                  </a:cubicBezTo>
                  <a:cubicBezTo>
                    <a:pt x="626" y="386"/>
                    <a:pt x="624" y="393"/>
                    <a:pt x="614" y="393"/>
                  </a:cubicBezTo>
                  <a:cubicBezTo>
                    <a:pt x="613" y="393"/>
                    <a:pt x="612" y="393"/>
                    <a:pt x="612" y="393"/>
                  </a:cubicBezTo>
                  <a:cubicBezTo>
                    <a:pt x="611" y="393"/>
                    <a:pt x="610" y="393"/>
                    <a:pt x="608" y="393"/>
                  </a:cubicBezTo>
                  <a:cubicBezTo>
                    <a:pt x="603" y="393"/>
                    <a:pt x="598" y="394"/>
                    <a:pt x="595" y="395"/>
                  </a:cubicBezTo>
                  <a:cubicBezTo>
                    <a:pt x="594" y="397"/>
                    <a:pt x="593" y="399"/>
                    <a:pt x="593" y="402"/>
                  </a:cubicBezTo>
                  <a:cubicBezTo>
                    <a:pt x="595" y="405"/>
                    <a:pt x="600" y="409"/>
                    <a:pt x="606" y="413"/>
                  </a:cubicBezTo>
                  <a:cubicBezTo>
                    <a:pt x="617" y="419"/>
                    <a:pt x="614" y="426"/>
                    <a:pt x="613" y="429"/>
                  </a:cubicBezTo>
                  <a:cubicBezTo>
                    <a:pt x="612" y="430"/>
                    <a:pt x="612" y="430"/>
                    <a:pt x="612" y="430"/>
                  </a:cubicBezTo>
                  <a:cubicBezTo>
                    <a:pt x="611" y="434"/>
                    <a:pt x="609" y="439"/>
                    <a:pt x="601" y="439"/>
                  </a:cubicBezTo>
                  <a:cubicBezTo>
                    <a:pt x="600" y="439"/>
                    <a:pt x="598" y="439"/>
                    <a:pt x="596" y="438"/>
                  </a:cubicBezTo>
                  <a:cubicBezTo>
                    <a:pt x="590" y="437"/>
                    <a:pt x="583" y="437"/>
                    <a:pt x="579" y="437"/>
                  </a:cubicBezTo>
                  <a:cubicBezTo>
                    <a:pt x="578" y="440"/>
                    <a:pt x="577" y="442"/>
                    <a:pt x="576" y="444"/>
                  </a:cubicBezTo>
                  <a:cubicBezTo>
                    <a:pt x="578" y="447"/>
                    <a:pt x="582" y="452"/>
                    <a:pt x="587" y="457"/>
                  </a:cubicBezTo>
                  <a:cubicBezTo>
                    <a:pt x="597" y="464"/>
                    <a:pt x="593" y="471"/>
                    <a:pt x="591" y="474"/>
                  </a:cubicBezTo>
                  <a:cubicBezTo>
                    <a:pt x="591" y="475"/>
                    <a:pt x="591" y="475"/>
                    <a:pt x="591" y="475"/>
                  </a:cubicBezTo>
                  <a:cubicBezTo>
                    <a:pt x="589" y="478"/>
                    <a:pt x="587" y="482"/>
                    <a:pt x="581" y="482"/>
                  </a:cubicBezTo>
                  <a:cubicBezTo>
                    <a:pt x="579" y="482"/>
                    <a:pt x="576" y="482"/>
                    <a:pt x="573" y="480"/>
                  </a:cubicBezTo>
                  <a:cubicBezTo>
                    <a:pt x="567" y="478"/>
                    <a:pt x="561" y="477"/>
                    <a:pt x="557" y="477"/>
                  </a:cubicBezTo>
                  <a:cubicBezTo>
                    <a:pt x="555" y="479"/>
                    <a:pt x="554" y="481"/>
                    <a:pt x="553" y="483"/>
                  </a:cubicBezTo>
                  <a:cubicBezTo>
                    <a:pt x="554" y="486"/>
                    <a:pt x="558" y="492"/>
                    <a:pt x="562" y="497"/>
                  </a:cubicBezTo>
                  <a:cubicBezTo>
                    <a:pt x="571" y="506"/>
                    <a:pt x="566" y="512"/>
                    <a:pt x="563" y="515"/>
                  </a:cubicBezTo>
                  <a:cubicBezTo>
                    <a:pt x="562" y="516"/>
                    <a:pt x="562" y="516"/>
                    <a:pt x="562" y="516"/>
                  </a:cubicBezTo>
                  <a:cubicBezTo>
                    <a:pt x="561" y="518"/>
                    <a:pt x="558" y="521"/>
                    <a:pt x="553" y="521"/>
                  </a:cubicBezTo>
                  <a:cubicBezTo>
                    <a:pt x="551" y="521"/>
                    <a:pt x="548" y="521"/>
                    <a:pt x="545" y="518"/>
                  </a:cubicBezTo>
                  <a:cubicBezTo>
                    <a:pt x="539" y="515"/>
                    <a:pt x="533" y="513"/>
                    <a:pt x="529" y="512"/>
                  </a:cubicBezTo>
                  <a:cubicBezTo>
                    <a:pt x="527" y="514"/>
                    <a:pt x="525" y="516"/>
                    <a:pt x="524" y="518"/>
                  </a:cubicBezTo>
                  <a:cubicBezTo>
                    <a:pt x="524" y="521"/>
                    <a:pt x="527" y="528"/>
                    <a:pt x="531" y="533"/>
                  </a:cubicBezTo>
                  <a:cubicBezTo>
                    <a:pt x="538" y="543"/>
                    <a:pt x="532" y="548"/>
                    <a:pt x="529" y="551"/>
                  </a:cubicBezTo>
                  <a:cubicBezTo>
                    <a:pt x="528" y="552"/>
                    <a:pt x="528" y="552"/>
                    <a:pt x="528" y="552"/>
                  </a:cubicBezTo>
                  <a:cubicBezTo>
                    <a:pt x="526" y="554"/>
                    <a:pt x="524" y="556"/>
                    <a:pt x="520" y="556"/>
                  </a:cubicBezTo>
                  <a:cubicBezTo>
                    <a:pt x="517" y="556"/>
                    <a:pt x="514" y="555"/>
                    <a:pt x="510" y="552"/>
                  </a:cubicBezTo>
                  <a:cubicBezTo>
                    <a:pt x="505" y="547"/>
                    <a:pt x="499" y="544"/>
                    <a:pt x="495" y="543"/>
                  </a:cubicBezTo>
                  <a:cubicBezTo>
                    <a:pt x="494" y="545"/>
                    <a:pt x="492" y="546"/>
                    <a:pt x="490" y="547"/>
                  </a:cubicBezTo>
                  <a:cubicBezTo>
                    <a:pt x="490" y="551"/>
                    <a:pt x="491" y="558"/>
                    <a:pt x="494" y="564"/>
                  </a:cubicBezTo>
                  <a:cubicBezTo>
                    <a:pt x="500" y="575"/>
                    <a:pt x="493" y="579"/>
                    <a:pt x="490" y="581"/>
                  </a:cubicBezTo>
                  <a:cubicBezTo>
                    <a:pt x="489" y="582"/>
                    <a:pt x="489" y="582"/>
                    <a:pt x="489" y="582"/>
                  </a:cubicBezTo>
                  <a:cubicBezTo>
                    <a:pt x="487" y="583"/>
                    <a:pt x="484" y="585"/>
                    <a:pt x="481" y="585"/>
                  </a:cubicBezTo>
                  <a:cubicBezTo>
                    <a:pt x="478" y="585"/>
                    <a:pt x="474" y="583"/>
                    <a:pt x="471" y="579"/>
                  </a:cubicBezTo>
                  <a:cubicBezTo>
                    <a:pt x="466" y="574"/>
                    <a:pt x="461" y="570"/>
                    <a:pt x="458" y="568"/>
                  </a:cubicBezTo>
                  <a:cubicBezTo>
                    <a:pt x="456" y="569"/>
                    <a:pt x="454" y="570"/>
                    <a:pt x="451" y="572"/>
                  </a:cubicBezTo>
                  <a:cubicBezTo>
                    <a:pt x="451" y="575"/>
                    <a:pt x="451" y="582"/>
                    <a:pt x="453" y="589"/>
                  </a:cubicBezTo>
                  <a:cubicBezTo>
                    <a:pt x="457" y="601"/>
                    <a:pt x="450" y="604"/>
                    <a:pt x="446" y="605"/>
                  </a:cubicBezTo>
                  <a:cubicBezTo>
                    <a:pt x="445" y="606"/>
                    <a:pt x="445" y="606"/>
                    <a:pt x="445" y="606"/>
                  </a:cubicBezTo>
                  <a:cubicBezTo>
                    <a:pt x="443" y="606"/>
                    <a:pt x="441" y="607"/>
                    <a:pt x="439" y="607"/>
                  </a:cubicBezTo>
                  <a:cubicBezTo>
                    <a:pt x="435" y="607"/>
                    <a:pt x="431" y="605"/>
                    <a:pt x="428" y="600"/>
                  </a:cubicBezTo>
                  <a:cubicBezTo>
                    <a:pt x="424" y="594"/>
                    <a:pt x="420" y="589"/>
                    <a:pt x="417" y="587"/>
                  </a:cubicBezTo>
                  <a:cubicBezTo>
                    <a:pt x="414" y="588"/>
                    <a:pt x="412" y="589"/>
                    <a:pt x="410" y="589"/>
                  </a:cubicBezTo>
                  <a:cubicBezTo>
                    <a:pt x="409" y="593"/>
                    <a:pt x="408" y="600"/>
                    <a:pt x="409" y="607"/>
                  </a:cubicBezTo>
                  <a:cubicBezTo>
                    <a:pt x="411" y="619"/>
                    <a:pt x="403" y="621"/>
                    <a:pt x="399" y="622"/>
                  </a:cubicBezTo>
                  <a:cubicBezTo>
                    <a:pt x="398" y="622"/>
                    <a:pt x="398" y="622"/>
                    <a:pt x="398" y="622"/>
                  </a:cubicBezTo>
                  <a:cubicBezTo>
                    <a:pt x="397" y="622"/>
                    <a:pt x="395" y="623"/>
                    <a:pt x="393" y="623"/>
                  </a:cubicBezTo>
                  <a:cubicBezTo>
                    <a:pt x="388" y="623"/>
                    <a:pt x="385" y="620"/>
                    <a:pt x="382" y="614"/>
                  </a:cubicBezTo>
                  <a:cubicBezTo>
                    <a:pt x="380" y="607"/>
                    <a:pt x="376" y="602"/>
                    <a:pt x="373" y="599"/>
                  </a:cubicBezTo>
                  <a:cubicBezTo>
                    <a:pt x="371" y="600"/>
                    <a:pt x="368" y="600"/>
                    <a:pt x="366" y="600"/>
                  </a:cubicBezTo>
                  <a:cubicBezTo>
                    <a:pt x="366" y="600"/>
                    <a:pt x="366" y="600"/>
                    <a:pt x="366" y="600"/>
                  </a:cubicBezTo>
                  <a:cubicBezTo>
                    <a:pt x="364" y="604"/>
                    <a:pt x="363" y="611"/>
                    <a:pt x="362" y="617"/>
                  </a:cubicBezTo>
                  <a:cubicBezTo>
                    <a:pt x="362" y="630"/>
                    <a:pt x="355" y="630"/>
                    <a:pt x="350" y="631"/>
                  </a:cubicBezTo>
                  <a:cubicBezTo>
                    <a:pt x="349" y="631"/>
                    <a:pt x="349" y="631"/>
                    <a:pt x="349" y="631"/>
                  </a:cubicBezTo>
                  <a:cubicBezTo>
                    <a:pt x="348" y="631"/>
                    <a:pt x="347" y="631"/>
                    <a:pt x="346" y="631"/>
                  </a:cubicBezTo>
                  <a:cubicBezTo>
                    <a:pt x="340" y="631"/>
                    <a:pt x="337" y="628"/>
                    <a:pt x="335" y="620"/>
                  </a:cubicBezTo>
                  <a:cubicBezTo>
                    <a:pt x="333" y="613"/>
                    <a:pt x="330" y="608"/>
                    <a:pt x="328" y="604"/>
                  </a:cubicBezTo>
                  <a:cubicBezTo>
                    <a:pt x="326" y="605"/>
                    <a:pt x="323" y="605"/>
                    <a:pt x="321" y="605"/>
                  </a:cubicBezTo>
                  <a:cubicBezTo>
                    <a:pt x="319" y="608"/>
                    <a:pt x="316" y="614"/>
                    <a:pt x="315" y="621"/>
                  </a:cubicBezTo>
                  <a:cubicBezTo>
                    <a:pt x="313" y="629"/>
                    <a:pt x="310" y="632"/>
                    <a:pt x="303" y="632"/>
                  </a:cubicBezTo>
                  <a:close/>
                  <a:moveTo>
                    <a:pt x="275" y="597"/>
                  </a:moveTo>
                  <a:cubicBezTo>
                    <a:pt x="275" y="597"/>
                    <a:pt x="275" y="597"/>
                    <a:pt x="275" y="597"/>
                  </a:cubicBezTo>
                  <a:cubicBezTo>
                    <a:pt x="278" y="597"/>
                    <a:pt x="281" y="597"/>
                    <a:pt x="284" y="598"/>
                  </a:cubicBezTo>
                  <a:cubicBezTo>
                    <a:pt x="285" y="598"/>
                    <a:pt x="286" y="598"/>
                    <a:pt x="286" y="599"/>
                  </a:cubicBezTo>
                  <a:cubicBezTo>
                    <a:pt x="289" y="603"/>
                    <a:pt x="291" y="612"/>
                    <a:pt x="292" y="619"/>
                  </a:cubicBezTo>
                  <a:cubicBezTo>
                    <a:pt x="293" y="627"/>
                    <a:pt x="296" y="627"/>
                    <a:pt x="300" y="627"/>
                  </a:cubicBezTo>
                  <a:cubicBezTo>
                    <a:pt x="301" y="627"/>
                    <a:pt x="301" y="627"/>
                    <a:pt x="301" y="627"/>
                  </a:cubicBezTo>
                  <a:cubicBezTo>
                    <a:pt x="302" y="627"/>
                    <a:pt x="303" y="627"/>
                    <a:pt x="303" y="627"/>
                  </a:cubicBezTo>
                  <a:cubicBezTo>
                    <a:pt x="305" y="627"/>
                    <a:pt x="308" y="627"/>
                    <a:pt x="310" y="620"/>
                  </a:cubicBezTo>
                  <a:cubicBezTo>
                    <a:pt x="311" y="613"/>
                    <a:pt x="314" y="605"/>
                    <a:pt x="318" y="601"/>
                  </a:cubicBezTo>
                  <a:cubicBezTo>
                    <a:pt x="318" y="600"/>
                    <a:pt x="319" y="600"/>
                    <a:pt x="320" y="600"/>
                  </a:cubicBezTo>
                  <a:cubicBezTo>
                    <a:pt x="323" y="600"/>
                    <a:pt x="325" y="600"/>
                    <a:pt x="328" y="599"/>
                  </a:cubicBezTo>
                  <a:cubicBezTo>
                    <a:pt x="329" y="599"/>
                    <a:pt x="329" y="599"/>
                    <a:pt x="329" y="599"/>
                  </a:cubicBezTo>
                  <a:cubicBezTo>
                    <a:pt x="330" y="599"/>
                    <a:pt x="330" y="600"/>
                    <a:pt x="331" y="600"/>
                  </a:cubicBezTo>
                  <a:cubicBezTo>
                    <a:pt x="335" y="604"/>
                    <a:pt x="338" y="612"/>
                    <a:pt x="340" y="619"/>
                  </a:cubicBezTo>
                  <a:cubicBezTo>
                    <a:pt x="342" y="626"/>
                    <a:pt x="345" y="626"/>
                    <a:pt x="346" y="626"/>
                  </a:cubicBezTo>
                  <a:cubicBezTo>
                    <a:pt x="347" y="626"/>
                    <a:pt x="348" y="626"/>
                    <a:pt x="349" y="626"/>
                  </a:cubicBezTo>
                  <a:cubicBezTo>
                    <a:pt x="350" y="626"/>
                    <a:pt x="350" y="626"/>
                    <a:pt x="350" y="626"/>
                  </a:cubicBezTo>
                  <a:cubicBezTo>
                    <a:pt x="354" y="626"/>
                    <a:pt x="357" y="625"/>
                    <a:pt x="357" y="617"/>
                  </a:cubicBezTo>
                  <a:cubicBezTo>
                    <a:pt x="358" y="610"/>
                    <a:pt x="359" y="602"/>
                    <a:pt x="362" y="597"/>
                  </a:cubicBezTo>
                  <a:cubicBezTo>
                    <a:pt x="363" y="596"/>
                    <a:pt x="363" y="596"/>
                    <a:pt x="364" y="596"/>
                  </a:cubicBezTo>
                  <a:cubicBezTo>
                    <a:pt x="365" y="596"/>
                    <a:pt x="365" y="596"/>
                    <a:pt x="365" y="596"/>
                  </a:cubicBezTo>
                  <a:cubicBezTo>
                    <a:pt x="368" y="595"/>
                    <a:pt x="371" y="595"/>
                    <a:pt x="373" y="594"/>
                  </a:cubicBezTo>
                  <a:cubicBezTo>
                    <a:pt x="374" y="594"/>
                    <a:pt x="374" y="594"/>
                    <a:pt x="375" y="595"/>
                  </a:cubicBezTo>
                  <a:cubicBezTo>
                    <a:pt x="380" y="598"/>
                    <a:pt x="384" y="606"/>
                    <a:pt x="387" y="612"/>
                  </a:cubicBezTo>
                  <a:cubicBezTo>
                    <a:pt x="389" y="618"/>
                    <a:pt x="392" y="618"/>
                    <a:pt x="393" y="618"/>
                  </a:cubicBezTo>
                  <a:cubicBezTo>
                    <a:pt x="394" y="618"/>
                    <a:pt x="396" y="618"/>
                    <a:pt x="397" y="617"/>
                  </a:cubicBezTo>
                  <a:cubicBezTo>
                    <a:pt x="398" y="617"/>
                    <a:pt x="398" y="617"/>
                    <a:pt x="398" y="617"/>
                  </a:cubicBezTo>
                  <a:cubicBezTo>
                    <a:pt x="402" y="616"/>
                    <a:pt x="405" y="615"/>
                    <a:pt x="404" y="607"/>
                  </a:cubicBezTo>
                  <a:cubicBezTo>
                    <a:pt x="403" y="600"/>
                    <a:pt x="403" y="591"/>
                    <a:pt x="406" y="586"/>
                  </a:cubicBezTo>
                  <a:cubicBezTo>
                    <a:pt x="406" y="586"/>
                    <a:pt x="406" y="585"/>
                    <a:pt x="407" y="585"/>
                  </a:cubicBezTo>
                  <a:cubicBezTo>
                    <a:pt x="410" y="584"/>
                    <a:pt x="413" y="583"/>
                    <a:pt x="416" y="582"/>
                  </a:cubicBezTo>
                  <a:cubicBezTo>
                    <a:pt x="417" y="582"/>
                    <a:pt x="417" y="582"/>
                    <a:pt x="418" y="582"/>
                  </a:cubicBezTo>
                  <a:cubicBezTo>
                    <a:pt x="423" y="585"/>
                    <a:pt x="429" y="592"/>
                    <a:pt x="432" y="597"/>
                  </a:cubicBezTo>
                  <a:cubicBezTo>
                    <a:pt x="435" y="602"/>
                    <a:pt x="438" y="602"/>
                    <a:pt x="439" y="602"/>
                  </a:cubicBezTo>
                  <a:cubicBezTo>
                    <a:pt x="440" y="602"/>
                    <a:pt x="441" y="602"/>
                    <a:pt x="443" y="601"/>
                  </a:cubicBezTo>
                  <a:cubicBezTo>
                    <a:pt x="444" y="600"/>
                    <a:pt x="444" y="600"/>
                    <a:pt x="444" y="600"/>
                  </a:cubicBezTo>
                  <a:cubicBezTo>
                    <a:pt x="448" y="599"/>
                    <a:pt x="451" y="598"/>
                    <a:pt x="448" y="590"/>
                  </a:cubicBezTo>
                  <a:cubicBezTo>
                    <a:pt x="447" y="583"/>
                    <a:pt x="445" y="575"/>
                    <a:pt x="447" y="569"/>
                  </a:cubicBezTo>
                  <a:cubicBezTo>
                    <a:pt x="447" y="569"/>
                    <a:pt x="447" y="568"/>
                    <a:pt x="448" y="568"/>
                  </a:cubicBezTo>
                  <a:cubicBezTo>
                    <a:pt x="451" y="566"/>
                    <a:pt x="453" y="565"/>
                    <a:pt x="456" y="563"/>
                  </a:cubicBezTo>
                  <a:cubicBezTo>
                    <a:pt x="457" y="563"/>
                    <a:pt x="458" y="563"/>
                    <a:pt x="458" y="563"/>
                  </a:cubicBezTo>
                  <a:cubicBezTo>
                    <a:pt x="464" y="565"/>
                    <a:pt x="470" y="571"/>
                    <a:pt x="475" y="576"/>
                  </a:cubicBezTo>
                  <a:cubicBezTo>
                    <a:pt x="477" y="578"/>
                    <a:pt x="479" y="580"/>
                    <a:pt x="481" y="580"/>
                  </a:cubicBezTo>
                  <a:cubicBezTo>
                    <a:pt x="483" y="580"/>
                    <a:pt x="484" y="579"/>
                    <a:pt x="486" y="578"/>
                  </a:cubicBezTo>
                  <a:cubicBezTo>
                    <a:pt x="487" y="577"/>
                    <a:pt x="487" y="577"/>
                    <a:pt x="487" y="577"/>
                  </a:cubicBezTo>
                  <a:cubicBezTo>
                    <a:pt x="490" y="575"/>
                    <a:pt x="493" y="573"/>
                    <a:pt x="490" y="566"/>
                  </a:cubicBezTo>
                  <a:cubicBezTo>
                    <a:pt x="487" y="560"/>
                    <a:pt x="484" y="552"/>
                    <a:pt x="485" y="546"/>
                  </a:cubicBezTo>
                  <a:cubicBezTo>
                    <a:pt x="485" y="545"/>
                    <a:pt x="485" y="545"/>
                    <a:pt x="486" y="544"/>
                  </a:cubicBezTo>
                  <a:cubicBezTo>
                    <a:pt x="488" y="542"/>
                    <a:pt x="491" y="541"/>
                    <a:pt x="493" y="539"/>
                  </a:cubicBezTo>
                  <a:cubicBezTo>
                    <a:pt x="493" y="538"/>
                    <a:pt x="493" y="538"/>
                    <a:pt x="493" y="538"/>
                  </a:cubicBezTo>
                  <a:cubicBezTo>
                    <a:pt x="494" y="538"/>
                    <a:pt x="494" y="538"/>
                    <a:pt x="495" y="538"/>
                  </a:cubicBezTo>
                  <a:cubicBezTo>
                    <a:pt x="501" y="539"/>
                    <a:pt x="508" y="544"/>
                    <a:pt x="513" y="548"/>
                  </a:cubicBezTo>
                  <a:cubicBezTo>
                    <a:pt x="516" y="550"/>
                    <a:pt x="518" y="551"/>
                    <a:pt x="520" y="551"/>
                  </a:cubicBezTo>
                  <a:cubicBezTo>
                    <a:pt x="522" y="551"/>
                    <a:pt x="523" y="550"/>
                    <a:pt x="525" y="548"/>
                  </a:cubicBezTo>
                  <a:cubicBezTo>
                    <a:pt x="526" y="547"/>
                    <a:pt x="526" y="547"/>
                    <a:pt x="526" y="547"/>
                  </a:cubicBezTo>
                  <a:cubicBezTo>
                    <a:pt x="529" y="545"/>
                    <a:pt x="531" y="543"/>
                    <a:pt x="527" y="536"/>
                  </a:cubicBezTo>
                  <a:cubicBezTo>
                    <a:pt x="523" y="530"/>
                    <a:pt x="519" y="522"/>
                    <a:pt x="519" y="517"/>
                  </a:cubicBezTo>
                  <a:cubicBezTo>
                    <a:pt x="519" y="516"/>
                    <a:pt x="519" y="515"/>
                    <a:pt x="519" y="515"/>
                  </a:cubicBezTo>
                  <a:cubicBezTo>
                    <a:pt x="522" y="513"/>
                    <a:pt x="524" y="510"/>
                    <a:pt x="526" y="508"/>
                  </a:cubicBezTo>
                  <a:cubicBezTo>
                    <a:pt x="526" y="508"/>
                    <a:pt x="527" y="507"/>
                    <a:pt x="528" y="507"/>
                  </a:cubicBezTo>
                  <a:cubicBezTo>
                    <a:pt x="533" y="507"/>
                    <a:pt x="541" y="511"/>
                    <a:pt x="547" y="514"/>
                  </a:cubicBezTo>
                  <a:cubicBezTo>
                    <a:pt x="550" y="516"/>
                    <a:pt x="552" y="516"/>
                    <a:pt x="553" y="516"/>
                  </a:cubicBezTo>
                  <a:cubicBezTo>
                    <a:pt x="556" y="516"/>
                    <a:pt x="557" y="515"/>
                    <a:pt x="559" y="513"/>
                  </a:cubicBezTo>
                  <a:cubicBezTo>
                    <a:pt x="559" y="512"/>
                    <a:pt x="559" y="512"/>
                    <a:pt x="559" y="512"/>
                  </a:cubicBezTo>
                  <a:cubicBezTo>
                    <a:pt x="562" y="509"/>
                    <a:pt x="564" y="506"/>
                    <a:pt x="558" y="501"/>
                  </a:cubicBezTo>
                  <a:cubicBezTo>
                    <a:pt x="554" y="495"/>
                    <a:pt x="549" y="488"/>
                    <a:pt x="548" y="483"/>
                  </a:cubicBezTo>
                  <a:cubicBezTo>
                    <a:pt x="547" y="482"/>
                    <a:pt x="548" y="481"/>
                    <a:pt x="548" y="481"/>
                  </a:cubicBezTo>
                  <a:cubicBezTo>
                    <a:pt x="550" y="478"/>
                    <a:pt x="552" y="476"/>
                    <a:pt x="553" y="473"/>
                  </a:cubicBezTo>
                  <a:cubicBezTo>
                    <a:pt x="554" y="473"/>
                    <a:pt x="554" y="472"/>
                    <a:pt x="555" y="472"/>
                  </a:cubicBezTo>
                  <a:cubicBezTo>
                    <a:pt x="560" y="471"/>
                    <a:pt x="568" y="473"/>
                    <a:pt x="575" y="476"/>
                  </a:cubicBezTo>
                  <a:cubicBezTo>
                    <a:pt x="578" y="477"/>
                    <a:pt x="579" y="477"/>
                    <a:pt x="581" y="477"/>
                  </a:cubicBezTo>
                  <a:cubicBezTo>
                    <a:pt x="584" y="477"/>
                    <a:pt x="585" y="475"/>
                    <a:pt x="586" y="473"/>
                  </a:cubicBezTo>
                  <a:cubicBezTo>
                    <a:pt x="587" y="472"/>
                    <a:pt x="587" y="472"/>
                    <a:pt x="587" y="472"/>
                  </a:cubicBezTo>
                  <a:cubicBezTo>
                    <a:pt x="589" y="468"/>
                    <a:pt x="591" y="465"/>
                    <a:pt x="584" y="461"/>
                  </a:cubicBezTo>
                  <a:cubicBezTo>
                    <a:pt x="579" y="456"/>
                    <a:pt x="573" y="450"/>
                    <a:pt x="571" y="445"/>
                  </a:cubicBezTo>
                  <a:cubicBezTo>
                    <a:pt x="571" y="444"/>
                    <a:pt x="571" y="443"/>
                    <a:pt x="571" y="443"/>
                  </a:cubicBezTo>
                  <a:cubicBezTo>
                    <a:pt x="572" y="440"/>
                    <a:pt x="574" y="437"/>
                    <a:pt x="575" y="434"/>
                  </a:cubicBezTo>
                  <a:cubicBezTo>
                    <a:pt x="575" y="434"/>
                    <a:pt x="576" y="433"/>
                    <a:pt x="577" y="433"/>
                  </a:cubicBezTo>
                  <a:cubicBezTo>
                    <a:pt x="581" y="431"/>
                    <a:pt x="589" y="432"/>
                    <a:pt x="597" y="433"/>
                  </a:cubicBezTo>
                  <a:cubicBezTo>
                    <a:pt x="599" y="434"/>
                    <a:pt x="600" y="434"/>
                    <a:pt x="601" y="434"/>
                  </a:cubicBezTo>
                  <a:cubicBezTo>
                    <a:pt x="605" y="434"/>
                    <a:pt x="606" y="432"/>
                    <a:pt x="607" y="429"/>
                  </a:cubicBezTo>
                  <a:cubicBezTo>
                    <a:pt x="608" y="427"/>
                    <a:pt x="608" y="427"/>
                    <a:pt x="608" y="427"/>
                  </a:cubicBezTo>
                  <a:cubicBezTo>
                    <a:pt x="609" y="424"/>
                    <a:pt x="611" y="421"/>
                    <a:pt x="603" y="417"/>
                  </a:cubicBezTo>
                  <a:cubicBezTo>
                    <a:pt x="598" y="414"/>
                    <a:pt x="591" y="408"/>
                    <a:pt x="588" y="403"/>
                  </a:cubicBezTo>
                  <a:cubicBezTo>
                    <a:pt x="587" y="403"/>
                    <a:pt x="587" y="402"/>
                    <a:pt x="588" y="401"/>
                  </a:cubicBezTo>
                  <a:cubicBezTo>
                    <a:pt x="588" y="398"/>
                    <a:pt x="589" y="395"/>
                    <a:pt x="590" y="392"/>
                  </a:cubicBezTo>
                  <a:cubicBezTo>
                    <a:pt x="590" y="392"/>
                    <a:pt x="591" y="391"/>
                    <a:pt x="592" y="391"/>
                  </a:cubicBezTo>
                  <a:cubicBezTo>
                    <a:pt x="597" y="388"/>
                    <a:pt x="605" y="388"/>
                    <a:pt x="608" y="388"/>
                  </a:cubicBezTo>
                  <a:cubicBezTo>
                    <a:pt x="610" y="388"/>
                    <a:pt x="611" y="388"/>
                    <a:pt x="612" y="388"/>
                  </a:cubicBezTo>
                  <a:cubicBezTo>
                    <a:pt x="613" y="388"/>
                    <a:pt x="613" y="388"/>
                    <a:pt x="614" y="388"/>
                  </a:cubicBezTo>
                  <a:cubicBezTo>
                    <a:pt x="620" y="388"/>
                    <a:pt x="621" y="385"/>
                    <a:pt x="621" y="382"/>
                  </a:cubicBezTo>
                  <a:cubicBezTo>
                    <a:pt x="622" y="381"/>
                    <a:pt x="622" y="381"/>
                    <a:pt x="622" y="381"/>
                  </a:cubicBezTo>
                  <a:cubicBezTo>
                    <a:pt x="623" y="377"/>
                    <a:pt x="623" y="374"/>
                    <a:pt x="616" y="371"/>
                  </a:cubicBezTo>
                  <a:cubicBezTo>
                    <a:pt x="609" y="368"/>
                    <a:pt x="602" y="364"/>
                    <a:pt x="598" y="360"/>
                  </a:cubicBezTo>
                  <a:cubicBezTo>
                    <a:pt x="598" y="359"/>
                    <a:pt x="597" y="359"/>
                    <a:pt x="598" y="358"/>
                  </a:cubicBezTo>
                  <a:cubicBezTo>
                    <a:pt x="598" y="355"/>
                    <a:pt x="598" y="352"/>
                    <a:pt x="599" y="349"/>
                  </a:cubicBezTo>
                  <a:cubicBezTo>
                    <a:pt x="599" y="348"/>
                    <a:pt x="599" y="348"/>
                    <a:pt x="600" y="347"/>
                  </a:cubicBezTo>
                  <a:cubicBezTo>
                    <a:pt x="604" y="344"/>
                    <a:pt x="613" y="342"/>
                    <a:pt x="620" y="341"/>
                  </a:cubicBezTo>
                  <a:cubicBezTo>
                    <a:pt x="628" y="341"/>
                    <a:pt x="628" y="337"/>
                    <a:pt x="628" y="333"/>
                  </a:cubicBezTo>
                  <a:cubicBezTo>
                    <a:pt x="628" y="332"/>
                    <a:pt x="628" y="332"/>
                    <a:pt x="628" y="332"/>
                  </a:cubicBezTo>
                  <a:cubicBezTo>
                    <a:pt x="628" y="328"/>
                    <a:pt x="629" y="325"/>
                    <a:pt x="621" y="324"/>
                  </a:cubicBezTo>
                  <a:cubicBezTo>
                    <a:pt x="614" y="322"/>
                    <a:pt x="606" y="319"/>
                    <a:pt x="601" y="315"/>
                  </a:cubicBezTo>
                  <a:cubicBezTo>
                    <a:pt x="601" y="315"/>
                    <a:pt x="601" y="314"/>
                    <a:pt x="601" y="314"/>
                  </a:cubicBezTo>
                  <a:cubicBezTo>
                    <a:pt x="601" y="311"/>
                    <a:pt x="600" y="308"/>
                    <a:pt x="600" y="305"/>
                  </a:cubicBezTo>
                  <a:cubicBezTo>
                    <a:pt x="600" y="304"/>
                    <a:pt x="600" y="304"/>
                    <a:pt x="600" y="304"/>
                  </a:cubicBezTo>
                  <a:cubicBezTo>
                    <a:pt x="600" y="304"/>
                    <a:pt x="601" y="303"/>
                    <a:pt x="601" y="303"/>
                  </a:cubicBezTo>
                  <a:cubicBezTo>
                    <a:pt x="605" y="299"/>
                    <a:pt x="613" y="295"/>
                    <a:pt x="620" y="294"/>
                  </a:cubicBezTo>
                  <a:cubicBezTo>
                    <a:pt x="628" y="292"/>
                    <a:pt x="627" y="289"/>
                    <a:pt x="627" y="285"/>
                  </a:cubicBezTo>
                  <a:cubicBezTo>
                    <a:pt x="627" y="283"/>
                    <a:pt x="627" y="283"/>
                    <a:pt x="627" y="283"/>
                  </a:cubicBezTo>
                  <a:cubicBezTo>
                    <a:pt x="626" y="279"/>
                    <a:pt x="626" y="276"/>
                    <a:pt x="618" y="276"/>
                  </a:cubicBezTo>
                  <a:cubicBezTo>
                    <a:pt x="611" y="276"/>
                    <a:pt x="602" y="274"/>
                    <a:pt x="598" y="271"/>
                  </a:cubicBezTo>
                  <a:cubicBezTo>
                    <a:pt x="597" y="271"/>
                    <a:pt x="597" y="270"/>
                    <a:pt x="597" y="269"/>
                  </a:cubicBezTo>
                  <a:cubicBezTo>
                    <a:pt x="597" y="268"/>
                    <a:pt x="597" y="268"/>
                    <a:pt x="597" y="268"/>
                  </a:cubicBezTo>
                  <a:cubicBezTo>
                    <a:pt x="596" y="266"/>
                    <a:pt x="596" y="263"/>
                    <a:pt x="595" y="260"/>
                  </a:cubicBezTo>
                  <a:cubicBezTo>
                    <a:pt x="595" y="260"/>
                    <a:pt x="595" y="259"/>
                    <a:pt x="595" y="258"/>
                  </a:cubicBezTo>
                  <a:cubicBezTo>
                    <a:pt x="599" y="254"/>
                    <a:pt x="606" y="249"/>
                    <a:pt x="612" y="246"/>
                  </a:cubicBezTo>
                  <a:cubicBezTo>
                    <a:pt x="620" y="243"/>
                    <a:pt x="619" y="240"/>
                    <a:pt x="618" y="237"/>
                  </a:cubicBezTo>
                  <a:cubicBezTo>
                    <a:pt x="618" y="235"/>
                    <a:pt x="618" y="235"/>
                    <a:pt x="618" y="235"/>
                  </a:cubicBezTo>
                  <a:cubicBezTo>
                    <a:pt x="617" y="232"/>
                    <a:pt x="616" y="229"/>
                    <a:pt x="611" y="229"/>
                  </a:cubicBezTo>
                  <a:cubicBezTo>
                    <a:pt x="610" y="229"/>
                    <a:pt x="609" y="229"/>
                    <a:pt x="608" y="229"/>
                  </a:cubicBezTo>
                  <a:cubicBezTo>
                    <a:pt x="606" y="230"/>
                    <a:pt x="603" y="230"/>
                    <a:pt x="601" y="230"/>
                  </a:cubicBezTo>
                  <a:cubicBezTo>
                    <a:pt x="597" y="230"/>
                    <a:pt x="591" y="229"/>
                    <a:pt x="587" y="228"/>
                  </a:cubicBezTo>
                  <a:cubicBezTo>
                    <a:pt x="587" y="227"/>
                    <a:pt x="586" y="227"/>
                    <a:pt x="586" y="226"/>
                  </a:cubicBezTo>
                  <a:cubicBezTo>
                    <a:pt x="585" y="223"/>
                    <a:pt x="584" y="220"/>
                    <a:pt x="583" y="217"/>
                  </a:cubicBezTo>
                  <a:cubicBezTo>
                    <a:pt x="583" y="217"/>
                    <a:pt x="583" y="216"/>
                    <a:pt x="583" y="215"/>
                  </a:cubicBezTo>
                  <a:cubicBezTo>
                    <a:pt x="586" y="210"/>
                    <a:pt x="592" y="205"/>
                    <a:pt x="598" y="201"/>
                  </a:cubicBezTo>
                  <a:cubicBezTo>
                    <a:pt x="605" y="197"/>
                    <a:pt x="604" y="194"/>
                    <a:pt x="602" y="190"/>
                  </a:cubicBezTo>
                  <a:cubicBezTo>
                    <a:pt x="601" y="189"/>
                    <a:pt x="601" y="189"/>
                    <a:pt x="601" y="189"/>
                  </a:cubicBezTo>
                  <a:cubicBezTo>
                    <a:pt x="600" y="186"/>
                    <a:pt x="599" y="184"/>
                    <a:pt x="596" y="184"/>
                  </a:cubicBezTo>
                  <a:cubicBezTo>
                    <a:pt x="594" y="184"/>
                    <a:pt x="593" y="184"/>
                    <a:pt x="591" y="185"/>
                  </a:cubicBezTo>
                  <a:cubicBezTo>
                    <a:pt x="586" y="186"/>
                    <a:pt x="580" y="187"/>
                    <a:pt x="576" y="187"/>
                  </a:cubicBezTo>
                  <a:cubicBezTo>
                    <a:pt x="574" y="187"/>
                    <a:pt x="572" y="187"/>
                    <a:pt x="570" y="186"/>
                  </a:cubicBezTo>
                  <a:cubicBezTo>
                    <a:pt x="570" y="186"/>
                    <a:pt x="569" y="186"/>
                    <a:pt x="569" y="185"/>
                  </a:cubicBezTo>
                  <a:cubicBezTo>
                    <a:pt x="567" y="182"/>
                    <a:pt x="566" y="180"/>
                    <a:pt x="564" y="177"/>
                  </a:cubicBezTo>
                  <a:cubicBezTo>
                    <a:pt x="564" y="176"/>
                    <a:pt x="564" y="176"/>
                    <a:pt x="564" y="175"/>
                  </a:cubicBezTo>
                  <a:cubicBezTo>
                    <a:pt x="566" y="170"/>
                    <a:pt x="572" y="163"/>
                    <a:pt x="576" y="159"/>
                  </a:cubicBezTo>
                  <a:cubicBezTo>
                    <a:pt x="583" y="153"/>
                    <a:pt x="581" y="151"/>
                    <a:pt x="579" y="147"/>
                  </a:cubicBezTo>
                  <a:cubicBezTo>
                    <a:pt x="578" y="146"/>
                    <a:pt x="578" y="146"/>
                    <a:pt x="578" y="146"/>
                  </a:cubicBezTo>
                  <a:cubicBezTo>
                    <a:pt x="576" y="144"/>
                    <a:pt x="575" y="142"/>
                    <a:pt x="573" y="142"/>
                  </a:cubicBezTo>
                  <a:cubicBezTo>
                    <a:pt x="571" y="142"/>
                    <a:pt x="569" y="143"/>
                    <a:pt x="567" y="144"/>
                  </a:cubicBezTo>
                  <a:cubicBezTo>
                    <a:pt x="559" y="147"/>
                    <a:pt x="552" y="149"/>
                    <a:pt x="547" y="149"/>
                  </a:cubicBezTo>
                  <a:cubicBezTo>
                    <a:pt x="546" y="148"/>
                    <a:pt x="545" y="148"/>
                    <a:pt x="545" y="148"/>
                  </a:cubicBezTo>
                  <a:cubicBezTo>
                    <a:pt x="544" y="145"/>
                    <a:pt x="542" y="143"/>
                    <a:pt x="540" y="141"/>
                  </a:cubicBezTo>
                  <a:cubicBezTo>
                    <a:pt x="539" y="140"/>
                    <a:pt x="539" y="140"/>
                    <a:pt x="539" y="140"/>
                  </a:cubicBezTo>
                  <a:cubicBezTo>
                    <a:pt x="539" y="140"/>
                    <a:pt x="539" y="139"/>
                    <a:pt x="539" y="138"/>
                  </a:cubicBezTo>
                  <a:cubicBezTo>
                    <a:pt x="540" y="133"/>
                    <a:pt x="544" y="125"/>
                    <a:pt x="549" y="120"/>
                  </a:cubicBezTo>
                  <a:cubicBezTo>
                    <a:pt x="554" y="114"/>
                    <a:pt x="552" y="111"/>
                    <a:pt x="549" y="109"/>
                  </a:cubicBezTo>
                  <a:cubicBezTo>
                    <a:pt x="548" y="108"/>
                    <a:pt x="548" y="108"/>
                    <a:pt x="548" y="108"/>
                  </a:cubicBezTo>
                  <a:cubicBezTo>
                    <a:pt x="546" y="106"/>
                    <a:pt x="545" y="104"/>
                    <a:pt x="543" y="104"/>
                  </a:cubicBezTo>
                  <a:cubicBezTo>
                    <a:pt x="541" y="104"/>
                    <a:pt x="539" y="105"/>
                    <a:pt x="537" y="107"/>
                  </a:cubicBezTo>
                  <a:cubicBezTo>
                    <a:pt x="531" y="110"/>
                    <a:pt x="523" y="114"/>
                    <a:pt x="518" y="115"/>
                  </a:cubicBezTo>
                  <a:cubicBezTo>
                    <a:pt x="517" y="115"/>
                    <a:pt x="516" y="114"/>
                    <a:pt x="516" y="114"/>
                  </a:cubicBezTo>
                  <a:cubicBezTo>
                    <a:pt x="514" y="112"/>
                    <a:pt x="511" y="110"/>
                    <a:pt x="509" y="108"/>
                  </a:cubicBezTo>
                  <a:cubicBezTo>
                    <a:pt x="509" y="107"/>
                    <a:pt x="508" y="106"/>
                    <a:pt x="508" y="106"/>
                  </a:cubicBezTo>
                  <a:cubicBezTo>
                    <a:pt x="508" y="100"/>
                    <a:pt x="512" y="92"/>
                    <a:pt x="515" y="86"/>
                  </a:cubicBezTo>
                  <a:cubicBezTo>
                    <a:pt x="519" y="79"/>
                    <a:pt x="517" y="77"/>
                    <a:pt x="514" y="75"/>
                  </a:cubicBezTo>
                  <a:cubicBezTo>
                    <a:pt x="513" y="74"/>
                    <a:pt x="513" y="74"/>
                    <a:pt x="513" y="74"/>
                  </a:cubicBezTo>
                  <a:cubicBezTo>
                    <a:pt x="511" y="73"/>
                    <a:pt x="510" y="71"/>
                    <a:pt x="508" y="71"/>
                  </a:cubicBezTo>
                  <a:cubicBezTo>
                    <a:pt x="506" y="71"/>
                    <a:pt x="504" y="73"/>
                    <a:pt x="501" y="75"/>
                  </a:cubicBezTo>
                  <a:cubicBezTo>
                    <a:pt x="496" y="79"/>
                    <a:pt x="489" y="85"/>
                    <a:pt x="484" y="86"/>
                  </a:cubicBezTo>
                  <a:cubicBezTo>
                    <a:pt x="483" y="86"/>
                    <a:pt x="482" y="86"/>
                    <a:pt x="482" y="85"/>
                  </a:cubicBezTo>
                  <a:cubicBezTo>
                    <a:pt x="479" y="84"/>
                    <a:pt x="477" y="82"/>
                    <a:pt x="474" y="80"/>
                  </a:cubicBezTo>
                  <a:cubicBezTo>
                    <a:pt x="473" y="80"/>
                    <a:pt x="473" y="79"/>
                    <a:pt x="473" y="78"/>
                  </a:cubicBezTo>
                  <a:cubicBezTo>
                    <a:pt x="472" y="73"/>
                    <a:pt x="474" y="64"/>
                    <a:pt x="477" y="58"/>
                  </a:cubicBezTo>
                  <a:cubicBezTo>
                    <a:pt x="480" y="50"/>
                    <a:pt x="477" y="49"/>
                    <a:pt x="474" y="47"/>
                  </a:cubicBezTo>
                  <a:cubicBezTo>
                    <a:pt x="472" y="46"/>
                    <a:pt x="472" y="46"/>
                    <a:pt x="472" y="46"/>
                  </a:cubicBezTo>
                  <a:cubicBezTo>
                    <a:pt x="471" y="45"/>
                    <a:pt x="469" y="45"/>
                    <a:pt x="468" y="45"/>
                  </a:cubicBezTo>
                  <a:cubicBezTo>
                    <a:pt x="466" y="45"/>
                    <a:pt x="464" y="46"/>
                    <a:pt x="461" y="49"/>
                  </a:cubicBezTo>
                  <a:cubicBezTo>
                    <a:pt x="457" y="54"/>
                    <a:pt x="451" y="60"/>
                    <a:pt x="446" y="63"/>
                  </a:cubicBezTo>
                  <a:cubicBezTo>
                    <a:pt x="445" y="63"/>
                    <a:pt x="444" y="63"/>
                    <a:pt x="444" y="62"/>
                  </a:cubicBezTo>
                  <a:cubicBezTo>
                    <a:pt x="442" y="62"/>
                    <a:pt x="442" y="62"/>
                    <a:pt x="442" y="62"/>
                  </a:cubicBezTo>
                  <a:cubicBezTo>
                    <a:pt x="440" y="60"/>
                    <a:pt x="437" y="59"/>
                    <a:pt x="435" y="58"/>
                  </a:cubicBezTo>
                  <a:cubicBezTo>
                    <a:pt x="434" y="58"/>
                    <a:pt x="434" y="57"/>
                    <a:pt x="434" y="57"/>
                  </a:cubicBezTo>
                  <a:cubicBezTo>
                    <a:pt x="432" y="51"/>
                    <a:pt x="433" y="43"/>
                    <a:pt x="434" y="36"/>
                  </a:cubicBezTo>
                  <a:cubicBezTo>
                    <a:pt x="436" y="28"/>
                    <a:pt x="433" y="27"/>
                    <a:pt x="430" y="26"/>
                  </a:cubicBezTo>
                  <a:cubicBezTo>
                    <a:pt x="428" y="25"/>
                    <a:pt x="428" y="25"/>
                    <a:pt x="428" y="25"/>
                  </a:cubicBezTo>
                  <a:cubicBezTo>
                    <a:pt x="427" y="25"/>
                    <a:pt x="426" y="24"/>
                    <a:pt x="424" y="24"/>
                  </a:cubicBezTo>
                  <a:cubicBezTo>
                    <a:pt x="423" y="24"/>
                    <a:pt x="421" y="24"/>
                    <a:pt x="418" y="30"/>
                  </a:cubicBezTo>
                  <a:cubicBezTo>
                    <a:pt x="414" y="36"/>
                    <a:pt x="409" y="43"/>
                    <a:pt x="404" y="46"/>
                  </a:cubicBezTo>
                  <a:cubicBezTo>
                    <a:pt x="404" y="46"/>
                    <a:pt x="403" y="46"/>
                    <a:pt x="402" y="46"/>
                  </a:cubicBezTo>
                  <a:cubicBezTo>
                    <a:pt x="399" y="45"/>
                    <a:pt x="396" y="44"/>
                    <a:pt x="393" y="43"/>
                  </a:cubicBezTo>
                  <a:cubicBezTo>
                    <a:pt x="393" y="43"/>
                    <a:pt x="392" y="42"/>
                    <a:pt x="392" y="42"/>
                  </a:cubicBezTo>
                  <a:cubicBezTo>
                    <a:pt x="389" y="37"/>
                    <a:pt x="389" y="28"/>
                    <a:pt x="389" y="21"/>
                  </a:cubicBezTo>
                  <a:cubicBezTo>
                    <a:pt x="390" y="13"/>
                    <a:pt x="387" y="13"/>
                    <a:pt x="383" y="12"/>
                  </a:cubicBezTo>
                  <a:cubicBezTo>
                    <a:pt x="381" y="12"/>
                    <a:pt x="381" y="12"/>
                    <a:pt x="381" y="12"/>
                  </a:cubicBezTo>
                  <a:cubicBezTo>
                    <a:pt x="380" y="11"/>
                    <a:pt x="379" y="11"/>
                    <a:pt x="378" y="11"/>
                  </a:cubicBezTo>
                  <a:cubicBezTo>
                    <a:pt x="377" y="11"/>
                    <a:pt x="374" y="11"/>
                    <a:pt x="372" y="18"/>
                  </a:cubicBezTo>
                  <a:cubicBezTo>
                    <a:pt x="369" y="24"/>
                    <a:pt x="365" y="32"/>
                    <a:pt x="361" y="35"/>
                  </a:cubicBezTo>
                  <a:cubicBezTo>
                    <a:pt x="360" y="36"/>
                    <a:pt x="360" y="36"/>
                    <a:pt x="359" y="36"/>
                  </a:cubicBezTo>
                  <a:cubicBezTo>
                    <a:pt x="356" y="35"/>
                    <a:pt x="353" y="35"/>
                    <a:pt x="350" y="35"/>
                  </a:cubicBezTo>
                  <a:cubicBezTo>
                    <a:pt x="349" y="35"/>
                    <a:pt x="348" y="34"/>
                    <a:pt x="348" y="34"/>
                  </a:cubicBezTo>
                  <a:cubicBezTo>
                    <a:pt x="345" y="29"/>
                    <a:pt x="343" y="20"/>
                    <a:pt x="342" y="14"/>
                  </a:cubicBezTo>
                  <a:cubicBezTo>
                    <a:pt x="341" y="6"/>
                    <a:pt x="338" y="5"/>
                    <a:pt x="334" y="5"/>
                  </a:cubicBezTo>
                  <a:cubicBezTo>
                    <a:pt x="333" y="5"/>
                    <a:pt x="333" y="5"/>
                    <a:pt x="333" y="5"/>
                  </a:cubicBezTo>
                  <a:cubicBezTo>
                    <a:pt x="332" y="5"/>
                    <a:pt x="332" y="5"/>
                    <a:pt x="331" y="5"/>
                  </a:cubicBezTo>
                  <a:cubicBezTo>
                    <a:pt x="329" y="5"/>
                    <a:pt x="326" y="5"/>
                    <a:pt x="324" y="13"/>
                  </a:cubicBezTo>
                  <a:cubicBezTo>
                    <a:pt x="323" y="19"/>
                    <a:pt x="320" y="28"/>
                    <a:pt x="316" y="32"/>
                  </a:cubicBezTo>
                  <a:cubicBezTo>
                    <a:pt x="316" y="32"/>
                    <a:pt x="315" y="33"/>
                    <a:pt x="315" y="33"/>
                  </a:cubicBezTo>
                  <a:cubicBezTo>
                    <a:pt x="311" y="33"/>
                    <a:pt x="308" y="33"/>
                    <a:pt x="305" y="33"/>
                  </a:cubicBezTo>
                  <a:cubicBezTo>
                    <a:pt x="305" y="33"/>
                    <a:pt x="304" y="33"/>
                    <a:pt x="303" y="32"/>
                  </a:cubicBezTo>
                  <a:cubicBezTo>
                    <a:pt x="299" y="28"/>
                    <a:pt x="296" y="20"/>
                    <a:pt x="294" y="14"/>
                  </a:cubicBezTo>
                  <a:cubicBezTo>
                    <a:pt x="293" y="6"/>
                    <a:pt x="290" y="6"/>
                    <a:pt x="288" y="6"/>
                  </a:cubicBezTo>
                  <a:cubicBezTo>
                    <a:pt x="287" y="6"/>
                    <a:pt x="286" y="6"/>
                    <a:pt x="285" y="6"/>
                  </a:cubicBezTo>
                  <a:cubicBezTo>
                    <a:pt x="284" y="7"/>
                    <a:pt x="284" y="7"/>
                    <a:pt x="284" y="7"/>
                  </a:cubicBezTo>
                  <a:cubicBezTo>
                    <a:pt x="280" y="7"/>
                    <a:pt x="277" y="7"/>
                    <a:pt x="277" y="15"/>
                  </a:cubicBezTo>
                  <a:cubicBezTo>
                    <a:pt x="276" y="22"/>
                    <a:pt x="275" y="31"/>
                    <a:pt x="272" y="36"/>
                  </a:cubicBezTo>
                  <a:cubicBezTo>
                    <a:pt x="271" y="36"/>
                    <a:pt x="271" y="37"/>
                    <a:pt x="270" y="37"/>
                  </a:cubicBezTo>
                  <a:cubicBezTo>
                    <a:pt x="268" y="37"/>
                    <a:pt x="268" y="37"/>
                    <a:pt x="268" y="37"/>
                  </a:cubicBezTo>
                  <a:cubicBezTo>
                    <a:pt x="266" y="37"/>
                    <a:pt x="264" y="38"/>
                    <a:pt x="261" y="38"/>
                  </a:cubicBezTo>
                  <a:cubicBezTo>
                    <a:pt x="260" y="38"/>
                    <a:pt x="260" y="38"/>
                    <a:pt x="259" y="38"/>
                  </a:cubicBezTo>
                  <a:cubicBezTo>
                    <a:pt x="255" y="34"/>
                    <a:pt x="250" y="27"/>
                    <a:pt x="247" y="21"/>
                  </a:cubicBezTo>
                  <a:cubicBezTo>
                    <a:pt x="245" y="14"/>
                    <a:pt x="242" y="14"/>
                    <a:pt x="241" y="14"/>
                  </a:cubicBezTo>
                  <a:cubicBezTo>
                    <a:pt x="240" y="14"/>
                    <a:pt x="239" y="15"/>
                    <a:pt x="237" y="15"/>
                  </a:cubicBezTo>
                  <a:cubicBezTo>
                    <a:pt x="236" y="16"/>
                    <a:pt x="236" y="16"/>
                    <a:pt x="236" y="16"/>
                  </a:cubicBezTo>
                  <a:cubicBezTo>
                    <a:pt x="232" y="16"/>
                    <a:pt x="229" y="17"/>
                    <a:pt x="230" y="25"/>
                  </a:cubicBezTo>
                  <a:cubicBezTo>
                    <a:pt x="231" y="32"/>
                    <a:pt x="231" y="41"/>
                    <a:pt x="229" y="46"/>
                  </a:cubicBezTo>
                  <a:cubicBezTo>
                    <a:pt x="228" y="47"/>
                    <a:pt x="228" y="47"/>
                    <a:pt x="227" y="47"/>
                  </a:cubicBezTo>
                  <a:cubicBezTo>
                    <a:pt x="224" y="48"/>
                    <a:pt x="221" y="49"/>
                    <a:pt x="218" y="50"/>
                  </a:cubicBezTo>
                  <a:cubicBezTo>
                    <a:pt x="218" y="51"/>
                    <a:pt x="217" y="51"/>
                    <a:pt x="216" y="50"/>
                  </a:cubicBezTo>
                  <a:cubicBezTo>
                    <a:pt x="211" y="48"/>
                    <a:pt x="206" y="41"/>
                    <a:pt x="202" y="35"/>
                  </a:cubicBezTo>
                  <a:cubicBezTo>
                    <a:pt x="199" y="30"/>
                    <a:pt x="196" y="30"/>
                    <a:pt x="196" y="30"/>
                  </a:cubicBezTo>
                  <a:cubicBezTo>
                    <a:pt x="194" y="30"/>
                    <a:pt x="193" y="31"/>
                    <a:pt x="191" y="31"/>
                  </a:cubicBezTo>
                  <a:cubicBezTo>
                    <a:pt x="190" y="32"/>
                    <a:pt x="190" y="32"/>
                    <a:pt x="190" y="32"/>
                  </a:cubicBezTo>
                  <a:cubicBezTo>
                    <a:pt x="186" y="33"/>
                    <a:pt x="184" y="35"/>
                    <a:pt x="186" y="42"/>
                  </a:cubicBezTo>
                  <a:cubicBezTo>
                    <a:pt x="188" y="49"/>
                    <a:pt x="189" y="58"/>
                    <a:pt x="187" y="63"/>
                  </a:cubicBezTo>
                  <a:cubicBezTo>
                    <a:pt x="187" y="64"/>
                    <a:pt x="187" y="64"/>
                    <a:pt x="186" y="65"/>
                  </a:cubicBezTo>
                  <a:cubicBezTo>
                    <a:pt x="183" y="66"/>
                    <a:pt x="181" y="68"/>
                    <a:pt x="178" y="69"/>
                  </a:cubicBezTo>
                  <a:cubicBezTo>
                    <a:pt x="177" y="70"/>
                    <a:pt x="177" y="70"/>
                    <a:pt x="176" y="69"/>
                  </a:cubicBezTo>
                  <a:cubicBezTo>
                    <a:pt x="171" y="68"/>
                    <a:pt x="164" y="62"/>
                    <a:pt x="159" y="57"/>
                  </a:cubicBezTo>
                  <a:cubicBezTo>
                    <a:pt x="157" y="54"/>
                    <a:pt x="155" y="52"/>
                    <a:pt x="153" y="52"/>
                  </a:cubicBezTo>
                  <a:cubicBezTo>
                    <a:pt x="151" y="52"/>
                    <a:pt x="150" y="54"/>
                    <a:pt x="148" y="55"/>
                  </a:cubicBezTo>
                  <a:cubicBezTo>
                    <a:pt x="147" y="55"/>
                    <a:pt x="147" y="55"/>
                    <a:pt x="147" y="55"/>
                  </a:cubicBezTo>
                  <a:cubicBezTo>
                    <a:pt x="144" y="57"/>
                    <a:pt x="141" y="59"/>
                    <a:pt x="145" y="66"/>
                  </a:cubicBezTo>
                  <a:cubicBezTo>
                    <a:pt x="147" y="72"/>
                    <a:pt x="150" y="81"/>
                    <a:pt x="149" y="86"/>
                  </a:cubicBezTo>
                  <a:cubicBezTo>
                    <a:pt x="149" y="87"/>
                    <a:pt x="149" y="88"/>
                    <a:pt x="148" y="88"/>
                  </a:cubicBezTo>
                  <a:cubicBezTo>
                    <a:pt x="146" y="90"/>
                    <a:pt x="144" y="91"/>
                    <a:pt x="142" y="93"/>
                  </a:cubicBezTo>
                  <a:cubicBezTo>
                    <a:pt x="141" y="94"/>
                    <a:pt x="141" y="94"/>
                    <a:pt x="141" y="94"/>
                  </a:cubicBezTo>
                  <a:cubicBezTo>
                    <a:pt x="140" y="94"/>
                    <a:pt x="140" y="95"/>
                    <a:pt x="139" y="94"/>
                  </a:cubicBezTo>
                  <a:cubicBezTo>
                    <a:pt x="133" y="94"/>
                    <a:pt x="126" y="89"/>
                    <a:pt x="121" y="85"/>
                  </a:cubicBezTo>
                  <a:cubicBezTo>
                    <a:pt x="118" y="82"/>
                    <a:pt x="116" y="81"/>
                    <a:pt x="114" y="81"/>
                  </a:cubicBezTo>
                  <a:cubicBezTo>
                    <a:pt x="112" y="81"/>
                    <a:pt x="111" y="83"/>
                    <a:pt x="109" y="84"/>
                  </a:cubicBezTo>
                  <a:cubicBezTo>
                    <a:pt x="108" y="85"/>
                    <a:pt x="108" y="85"/>
                    <a:pt x="108" y="85"/>
                  </a:cubicBezTo>
                  <a:cubicBezTo>
                    <a:pt x="105" y="88"/>
                    <a:pt x="103" y="90"/>
                    <a:pt x="108" y="96"/>
                  </a:cubicBezTo>
                  <a:cubicBezTo>
                    <a:pt x="111" y="102"/>
                    <a:pt x="115" y="110"/>
                    <a:pt x="116" y="116"/>
                  </a:cubicBezTo>
                  <a:cubicBezTo>
                    <a:pt x="116" y="116"/>
                    <a:pt x="115" y="117"/>
                    <a:pt x="115" y="118"/>
                  </a:cubicBezTo>
                  <a:cubicBezTo>
                    <a:pt x="113" y="120"/>
                    <a:pt x="111" y="122"/>
                    <a:pt x="108" y="124"/>
                  </a:cubicBezTo>
                  <a:cubicBezTo>
                    <a:pt x="108" y="125"/>
                    <a:pt x="107" y="125"/>
                    <a:pt x="107" y="125"/>
                  </a:cubicBezTo>
                  <a:cubicBezTo>
                    <a:pt x="107" y="125"/>
                    <a:pt x="107" y="125"/>
                    <a:pt x="107" y="125"/>
                  </a:cubicBezTo>
                  <a:cubicBezTo>
                    <a:pt x="101" y="125"/>
                    <a:pt x="93" y="122"/>
                    <a:pt x="87" y="118"/>
                  </a:cubicBezTo>
                  <a:cubicBezTo>
                    <a:pt x="85" y="117"/>
                    <a:pt x="82" y="116"/>
                    <a:pt x="81" y="116"/>
                  </a:cubicBezTo>
                  <a:cubicBezTo>
                    <a:pt x="79" y="116"/>
                    <a:pt x="77" y="117"/>
                    <a:pt x="76" y="120"/>
                  </a:cubicBezTo>
                  <a:cubicBezTo>
                    <a:pt x="75" y="121"/>
                    <a:pt x="75" y="121"/>
                    <a:pt x="75" y="121"/>
                  </a:cubicBezTo>
                  <a:cubicBezTo>
                    <a:pt x="72" y="124"/>
                    <a:pt x="70" y="126"/>
                    <a:pt x="76" y="132"/>
                  </a:cubicBezTo>
                  <a:cubicBezTo>
                    <a:pt x="80" y="137"/>
                    <a:pt x="85" y="144"/>
                    <a:pt x="87" y="150"/>
                  </a:cubicBezTo>
                  <a:cubicBezTo>
                    <a:pt x="87" y="150"/>
                    <a:pt x="87" y="151"/>
                    <a:pt x="86" y="152"/>
                  </a:cubicBezTo>
                  <a:cubicBezTo>
                    <a:pt x="84" y="154"/>
                    <a:pt x="83" y="157"/>
                    <a:pt x="81" y="159"/>
                  </a:cubicBezTo>
                  <a:cubicBezTo>
                    <a:pt x="81" y="160"/>
                    <a:pt x="80" y="160"/>
                    <a:pt x="79" y="160"/>
                  </a:cubicBezTo>
                  <a:cubicBezTo>
                    <a:pt x="75" y="161"/>
                    <a:pt x="67" y="160"/>
                    <a:pt x="59" y="157"/>
                  </a:cubicBezTo>
                  <a:cubicBezTo>
                    <a:pt x="57" y="156"/>
                    <a:pt x="55" y="155"/>
                    <a:pt x="53" y="155"/>
                  </a:cubicBezTo>
                  <a:cubicBezTo>
                    <a:pt x="51" y="155"/>
                    <a:pt x="49" y="157"/>
                    <a:pt x="48" y="160"/>
                  </a:cubicBezTo>
                  <a:cubicBezTo>
                    <a:pt x="47" y="161"/>
                    <a:pt x="47" y="161"/>
                    <a:pt x="47" y="161"/>
                  </a:cubicBezTo>
                  <a:cubicBezTo>
                    <a:pt x="45" y="164"/>
                    <a:pt x="44" y="167"/>
                    <a:pt x="50" y="172"/>
                  </a:cubicBezTo>
                  <a:cubicBezTo>
                    <a:pt x="55" y="176"/>
                    <a:pt x="61" y="182"/>
                    <a:pt x="63" y="188"/>
                  </a:cubicBezTo>
                  <a:cubicBezTo>
                    <a:pt x="64" y="188"/>
                    <a:pt x="64" y="189"/>
                    <a:pt x="63" y="190"/>
                  </a:cubicBezTo>
                  <a:cubicBezTo>
                    <a:pt x="63" y="190"/>
                    <a:pt x="63" y="190"/>
                    <a:pt x="63" y="190"/>
                  </a:cubicBezTo>
                  <a:cubicBezTo>
                    <a:pt x="62" y="193"/>
                    <a:pt x="60" y="196"/>
                    <a:pt x="59" y="198"/>
                  </a:cubicBezTo>
                  <a:cubicBezTo>
                    <a:pt x="59" y="199"/>
                    <a:pt x="58" y="199"/>
                    <a:pt x="58" y="200"/>
                  </a:cubicBezTo>
                  <a:cubicBezTo>
                    <a:pt x="53" y="201"/>
                    <a:pt x="45" y="201"/>
                    <a:pt x="37" y="199"/>
                  </a:cubicBezTo>
                  <a:cubicBezTo>
                    <a:pt x="35" y="199"/>
                    <a:pt x="34" y="198"/>
                    <a:pt x="33" y="198"/>
                  </a:cubicBezTo>
                  <a:cubicBezTo>
                    <a:pt x="29" y="198"/>
                    <a:pt x="28" y="200"/>
                    <a:pt x="27" y="204"/>
                  </a:cubicBezTo>
                  <a:cubicBezTo>
                    <a:pt x="26" y="205"/>
                    <a:pt x="26" y="205"/>
                    <a:pt x="26" y="205"/>
                  </a:cubicBezTo>
                  <a:cubicBezTo>
                    <a:pt x="25" y="209"/>
                    <a:pt x="24" y="212"/>
                    <a:pt x="31" y="215"/>
                  </a:cubicBezTo>
                  <a:cubicBezTo>
                    <a:pt x="36" y="219"/>
                    <a:pt x="44" y="224"/>
                    <a:pt x="46" y="229"/>
                  </a:cubicBezTo>
                  <a:cubicBezTo>
                    <a:pt x="47" y="230"/>
                    <a:pt x="47" y="230"/>
                    <a:pt x="47" y="231"/>
                  </a:cubicBezTo>
                  <a:cubicBezTo>
                    <a:pt x="46" y="234"/>
                    <a:pt x="45" y="237"/>
                    <a:pt x="44" y="240"/>
                  </a:cubicBezTo>
                  <a:cubicBezTo>
                    <a:pt x="44" y="241"/>
                    <a:pt x="43" y="241"/>
                    <a:pt x="43" y="242"/>
                  </a:cubicBezTo>
                  <a:cubicBezTo>
                    <a:pt x="38" y="244"/>
                    <a:pt x="29" y="244"/>
                    <a:pt x="26" y="244"/>
                  </a:cubicBezTo>
                  <a:cubicBezTo>
                    <a:pt x="25" y="244"/>
                    <a:pt x="23" y="244"/>
                    <a:pt x="22" y="244"/>
                  </a:cubicBezTo>
                  <a:cubicBezTo>
                    <a:pt x="21" y="244"/>
                    <a:pt x="21" y="244"/>
                    <a:pt x="20" y="244"/>
                  </a:cubicBezTo>
                  <a:cubicBezTo>
                    <a:pt x="14" y="244"/>
                    <a:pt x="13" y="247"/>
                    <a:pt x="13" y="251"/>
                  </a:cubicBezTo>
                  <a:cubicBezTo>
                    <a:pt x="12" y="252"/>
                    <a:pt x="12" y="252"/>
                    <a:pt x="12" y="252"/>
                  </a:cubicBezTo>
                  <a:cubicBezTo>
                    <a:pt x="12" y="256"/>
                    <a:pt x="11" y="259"/>
                    <a:pt x="18" y="261"/>
                  </a:cubicBezTo>
                  <a:cubicBezTo>
                    <a:pt x="25" y="264"/>
                    <a:pt x="33" y="268"/>
                    <a:pt x="36" y="272"/>
                  </a:cubicBezTo>
                  <a:cubicBezTo>
                    <a:pt x="37" y="273"/>
                    <a:pt x="37" y="274"/>
                    <a:pt x="37" y="274"/>
                  </a:cubicBezTo>
                  <a:cubicBezTo>
                    <a:pt x="36" y="277"/>
                    <a:pt x="36" y="280"/>
                    <a:pt x="36" y="284"/>
                  </a:cubicBezTo>
                  <a:cubicBezTo>
                    <a:pt x="35" y="284"/>
                    <a:pt x="35" y="285"/>
                    <a:pt x="34" y="285"/>
                  </a:cubicBezTo>
                  <a:cubicBezTo>
                    <a:pt x="30" y="289"/>
                    <a:pt x="21" y="291"/>
                    <a:pt x="15" y="291"/>
                  </a:cubicBezTo>
                  <a:cubicBezTo>
                    <a:pt x="6" y="292"/>
                    <a:pt x="6" y="295"/>
                    <a:pt x="6" y="299"/>
                  </a:cubicBezTo>
                  <a:cubicBezTo>
                    <a:pt x="6" y="300"/>
                    <a:pt x="6" y="300"/>
                    <a:pt x="6" y="300"/>
                  </a:cubicBezTo>
                  <a:cubicBezTo>
                    <a:pt x="6" y="304"/>
                    <a:pt x="6" y="307"/>
                    <a:pt x="14" y="309"/>
                  </a:cubicBezTo>
                  <a:cubicBezTo>
                    <a:pt x="20" y="310"/>
                    <a:pt x="29" y="313"/>
                    <a:pt x="33" y="317"/>
                  </a:cubicBezTo>
                  <a:cubicBezTo>
                    <a:pt x="33" y="317"/>
                    <a:pt x="34" y="318"/>
                    <a:pt x="34" y="319"/>
                  </a:cubicBezTo>
                  <a:cubicBezTo>
                    <a:pt x="34" y="322"/>
                    <a:pt x="34" y="325"/>
                    <a:pt x="34" y="327"/>
                  </a:cubicBezTo>
                  <a:cubicBezTo>
                    <a:pt x="34" y="328"/>
                    <a:pt x="34" y="328"/>
                    <a:pt x="34" y="328"/>
                  </a:cubicBezTo>
                  <a:cubicBezTo>
                    <a:pt x="34" y="329"/>
                    <a:pt x="34" y="329"/>
                    <a:pt x="33" y="330"/>
                  </a:cubicBezTo>
                  <a:cubicBezTo>
                    <a:pt x="29" y="334"/>
                    <a:pt x="21" y="337"/>
                    <a:pt x="14" y="339"/>
                  </a:cubicBezTo>
                  <a:cubicBezTo>
                    <a:pt x="6" y="341"/>
                    <a:pt x="7" y="344"/>
                    <a:pt x="7" y="348"/>
                  </a:cubicBezTo>
                  <a:cubicBezTo>
                    <a:pt x="7" y="349"/>
                    <a:pt x="7" y="349"/>
                    <a:pt x="7" y="349"/>
                  </a:cubicBezTo>
                  <a:cubicBezTo>
                    <a:pt x="8" y="353"/>
                    <a:pt x="8" y="356"/>
                    <a:pt x="16" y="356"/>
                  </a:cubicBezTo>
                  <a:cubicBezTo>
                    <a:pt x="23" y="357"/>
                    <a:pt x="32" y="358"/>
                    <a:pt x="36" y="361"/>
                  </a:cubicBezTo>
                  <a:cubicBezTo>
                    <a:pt x="37" y="362"/>
                    <a:pt x="37" y="362"/>
                    <a:pt x="38" y="363"/>
                  </a:cubicBezTo>
                  <a:cubicBezTo>
                    <a:pt x="38" y="364"/>
                    <a:pt x="38" y="364"/>
                    <a:pt x="38" y="364"/>
                  </a:cubicBezTo>
                  <a:cubicBezTo>
                    <a:pt x="38" y="367"/>
                    <a:pt x="39" y="369"/>
                    <a:pt x="39" y="372"/>
                  </a:cubicBezTo>
                  <a:cubicBezTo>
                    <a:pt x="39" y="373"/>
                    <a:pt x="39" y="374"/>
                    <a:pt x="39" y="374"/>
                  </a:cubicBezTo>
                  <a:cubicBezTo>
                    <a:pt x="35" y="379"/>
                    <a:pt x="28" y="383"/>
                    <a:pt x="22" y="386"/>
                  </a:cubicBezTo>
                  <a:cubicBezTo>
                    <a:pt x="14" y="389"/>
                    <a:pt x="15" y="392"/>
                    <a:pt x="16" y="396"/>
                  </a:cubicBezTo>
                  <a:cubicBezTo>
                    <a:pt x="16" y="397"/>
                    <a:pt x="16" y="397"/>
                    <a:pt x="16" y="397"/>
                  </a:cubicBezTo>
                  <a:cubicBezTo>
                    <a:pt x="17" y="401"/>
                    <a:pt x="18" y="403"/>
                    <a:pt x="23" y="403"/>
                  </a:cubicBezTo>
                  <a:cubicBezTo>
                    <a:pt x="24" y="403"/>
                    <a:pt x="25" y="403"/>
                    <a:pt x="26" y="403"/>
                  </a:cubicBezTo>
                  <a:cubicBezTo>
                    <a:pt x="29" y="403"/>
                    <a:pt x="31" y="403"/>
                    <a:pt x="33" y="403"/>
                  </a:cubicBezTo>
                  <a:cubicBezTo>
                    <a:pt x="37" y="403"/>
                    <a:pt x="43" y="403"/>
                    <a:pt x="47" y="405"/>
                  </a:cubicBezTo>
                  <a:cubicBezTo>
                    <a:pt x="48" y="405"/>
                    <a:pt x="48" y="406"/>
                    <a:pt x="48" y="406"/>
                  </a:cubicBezTo>
                  <a:cubicBezTo>
                    <a:pt x="49" y="409"/>
                    <a:pt x="50" y="412"/>
                    <a:pt x="51" y="415"/>
                  </a:cubicBezTo>
                  <a:cubicBezTo>
                    <a:pt x="52" y="416"/>
                    <a:pt x="52" y="416"/>
                    <a:pt x="51" y="417"/>
                  </a:cubicBezTo>
                  <a:cubicBezTo>
                    <a:pt x="49" y="422"/>
                    <a:pt x="42" y="428"/>
                    <a:pt x="36" y="431"/>
                  </a:cubicBezTo>
                  <a:cubicBezTo>
                    <a:pt x="29" y="436"/>
                    <a:pt x="31" y="438"/>
                    <a:pt x="32" y="442"/>
                  </a:cubicBezTo>
                  <a:cubicBezTo>
                    <a:pt x="33" y="443"/>
                    <a:pt x="33" y="443"/>
                    <a:pt x="33" y="443"/>
                  </a:cubicBezTo>
                  <a:cubicBezTo>
                    <a:pt x="34" y="446"/>
                    <a:pt x="35" y="448"/>
                    <a:pt x="39" y="448"/>
                  </a:cubicBezTo>
                  <a:cubicBezTo>
                    <a:pt x="40" y="448"/>
                    <a:pt x="42" y="448"/>
                    <a:pt x="43" y="447"/>
                  </a:cubicBezTo>
                  <a:cubicBezTo>
                    <a:pt x="49" y="446"/>
                    <a:pt x="54" y="445"/>
                    <a:pt x="58" y="445"/>
                  </a:cubicBezTo>
                  <a:cubicBezTo>
                    <a:pt x="61" y="445"/>
                    <a:pt x="62" y="446"/>
                    <a:pt x="64" y="446"/>
                  </a:cubicBezTo>
                  <a:cubicBezTo>
                    <a:pt x="65" y="446"/>
                    <a:pt x="65" y="447"/>
                    <a:pt x="66" y="447"/>
                  </a:cubicBezTo>
                  <a:cubicBezTo>
                    <a:pt x="67" y="450"/>
                    <a:pt x="69" y="453"/>
                    <a:pt x="70" y="455"/>
                  </a:cubicBezTo>
                  <a:cubicBezTo>
                    <a:pt x="70" y="456"/>
                    <a:pt x="70" y="457"/>
                    <a:pt x="70" y="457"/>
                  </a:cubicBezTo>
                  <a:cubicBezTo>
                    <a:pt x="68" y="463"/>
                    <a:pt x="63" y="469"/>
                    <a:pt x="58" y="474"/>
                  </a:cubicBezTo>
                  <a:cubicBezTo>
                    <a:pt x="51" y="479"/>
                    <a:pt x="53" y="482"/>
                    <a:pt x="55" y="485"/>
                  </a:cubicBezTo>
                  <a:cubicBezTo>
                    <a:pt x="56" y="486"/>
                    <a:pt x="56" y="486"/>
                    <a:pt x="56" y="486"/>
                  </a:cubicBezTo>
                  <a:cubicBezTo>
                    <a:pt x="58" y="489"/>
                    <a:pt x="59" y="490"/>
                    <a:pt x="62" y="490"/>
                  </a:cubicBezTo>
                  <a:cubicBezTo>
                    <a:pt x="63" y="490"/>
                    <a:pt x="65" y="490"/>
                    <a:pt x="67" y="489"/>
                  </a:cubicBezTo>
                  <a:cubicBezTo>
                    <a:pt x="75" y="485"/>
                    <a:pt x="83" y="483"/>
                    <a:pt x="87" y="484"/>
                  </a:cubicBezTo>
                  <a:cubicBezTo>
                    <a:pt x="88" y="484"/>
                    <a:pt x="89" y="484"/>
                    <a:pt x="89" y="485"/>
                  </a:cubicBezTo>
                  <a:cubicBezTo>
                    <a:pt x="91" y="487"/>
                    <a:pt x="92" y="489"/>
                    <a:pt x="94" y="491"/>
                  </a:cubicBezTo>
                  <a:cubicBezTo>
                    <a:pt x="95" y="492"/>
                    <a:pt x="95" y="492"/>
                    <a:pt x="95" y="492"/>
                  </a:cubicBezTo>
                  <a:cubicBezTo>
                    <a:pt x="95" y="493"/>
                    <a:pt x="96" y="494"/>
                    <a:pt x="95" y="494"/>
                  </a:cubicBezTo>
                  <a:cubicBezTo>
                    <a:pt x="94" y="500"/>
                    <a:pt x="90" y="507"/>
                    <a:pt x="86" y="512"/>
                  </a:cubicBezTo>
                  <a:cubicBezTo>
                    <a:pt x="80" y="519"/>
                    <a:pt x="82" y="521"/>
                    <a:pt x="85" y="524"/>
                  </a:cubicBezTo>
                  <a:cubicBezTo>
                    <a:pt x="86" y="525"/>
                    <a:pt x="86" y="525"/>
                    <a:pt x="86" y="525"/>
                  </a:cubicBezTo>
                  <a:cubicBezTo>
                    <a:pt x="88" y="527"/>
                    <a:pt x="89" y="528"/>
                    <a:pt x="91" y="528"/>
                  </a:cubicBezTo>
                  <a:cubicBezTo>
                    <a:pt x="93" y="528"/>
                    <a:pt x="95" y="527"/>
                    <a:pt x="97" y="526"/>
                  </a:cubicBezTo>
                  <a:cubicBezTo>
                    <a:pt x="103" y="522"/>
                    <a:pt x="111" y="518"/>
                    <a:pt x="117" y="518"/>
                  </a:cubicBezTo>
                  <a:cubicBezTo>
                    <a:pt x="117" y="518"/>
                    <a:pt x="118" y="518"/>
                    <a:pt x="118" y="518"/>
                  </a:cubicBezTo>
                  <a:cubicBezTo>
                    <a:pt x="121" y="521"/>
                    <a:pt x="123" y="523"/>
                    <a:pt x="125" y="525"/>
                  </a:cubicBezTo>
                  <a:cubicBezTo>
                    <a:pt x="126" y="525"/>
                    <a:pt x="126" y="526"/>
                    <a:pt x="126" y="527"/>
                  </a:cubicBezTo>
                  <a:cubicBezTo>
                    <a:pt x="126" y="532"/>
                    <a:pt x="122" y="540"/>
                    <a:pt x="119" y="546"/>
                  </a:cubicBezTo>
                  <a:cubicBezTo>
                    <a:pt x="115" y="553"/>
                    <a:pt x="117" y="555"/>
                    <a:pt x="120" y="558"/>
                  </a:cubicBezTo>
                  <a:cubicBezTo>
                    <a:pt x="121" y="558"/>
                    <a:pt x="121" y="558"/>
                    <a:pt x="121" y="558"/>
                  </a:cubicBezTo>
                  <a:cubicBezTo>
                    <a:pt x="123" y="560"/>
                    <a:pt x="125" y="561"/>
                    <a:pt x="126" y="561"/>
                  </a:cubicBezTo>
                  <a:cubicBezTo>
                    <a:pt x="128" y="561"/>
                    <a:pt x="130" y="560"/>
                    <a:pt x="133" y="557"/>
                  </a:cubicBezTo>
                  <a:cubicBezTo>
                    <a:pt x="138" y="553"/>
                    <a:pt x="145" y="548"/>
                    <a:pt x="151" y="547"/>
                  </a:cubicBezTo>
                  <a:cubicBezTo>
                    <a:pt x="151" y="546"/>
                    <a:pt x="152" y="547"/>
                    <a:pt x="153" y="547"/>
                  </a:cubicBezTo>
                  <a:cubicBezTo>
                    <a:pt x="155" y="549"/>
                    <a:pt x="158" y="551"/>
                    <a:pt x="160" y="552"/>
                  </a:cubicBezTo>
                  <a:cubicBezTo>
                    <a:pt x="161" y="553"/>
                    <a:pt x="161" y="553"/>
                    <a:pt x="161" y="554"/>
                  </a:cubicBezTo>
                  <a:cubicBezTo>
                    <a:pt x="162" y="560"/>
                    <a:pt x="160" y="568"/>
                    <a:pt x="158" y="574"/>
                  </a:cubicBezTo>
                  <a:cubicBezTo>
                    <a:pt x="154" y="582"/>
                    <a:pt x="157" y="583"/>
                    <a:pt x="161" y="585"/>
                  </a:cubicBezTo>
                  <a:cubicBezTo>
                    <a:pt x="162" y="586"/>
                    <a:pt x="162" y="586"/>
                    <a:pt x="162" y="586"/>
                  </a:cubicBezTo>
                  <a:cubicBezTo>
                    <a:pt x="163" y="587"/>
                    <a:pt x="165" y="588"/>
                    <a:pt x="166" y="588"/>
                  </a:cubicBezTo>
                  <a:cubicBezTo>
                    <a:pt x="168" y="588"/>
                    <a:pt x="170" y="586"/>
                    <a:pt x="173" y="583"/>
                  </a:cubicBezTo>
                  <a:cubicBezTo>
                    <a:pt x="177" y="578"/>
                    <a:pt x="183" y="572"/>
                    <a:pt x="189" y="570"/>
                  </a:cubicBezTo>
                  <a:cubicBezTo>
                    <a:pt x="189" y="570"/>
                    <a:pt x="190" y="570"/>
                    <a:pt x="191" y="570"/>
                  </a:cubicBezTo>
                  <a:cubicBezTo>
                    <a:pt x="192" y="571"/>
                    <a:pt x="192" y="571"/>
                    <a:pt x="192" y="571"/>
                  </a:cubicBezTo>
                  <a:cubicBezTo>
                    <a:pt x="194" y="572"/>
                    <a:pt x="197" y="573"/>
                    <a:pt x="199" y="574"/>
                  </a:cubicBezTo>
                  <a:cubicBezTo>
                    <a:pt x="200" y="574"/>
                    <a:pt x="200" y="575"/>
                    <a:pt x="200" y="576"/>
                  </a:cubicBezTo>
                  <a:cubicBezTo>
                    <a:pt x="202" y="581"/>
                    <a:pt x="201" y="590"/>
                    <a:pt x="200" y="596"/>
                  </a:cubicBezTo>
                  <a:cubicBezTo>
                    <a:pt x="198" y="604"/>
                    <a:pt x="201" y="605"/>
                    <a:pt x="205" y="607"/>
                  </a:cubicBezTo>
                  <a:cubicBezTo>
                    <a:pt x="206" y="607"/>
                    <a:pt x="206" y="607"/>
                    <a:pt x="206" y="607"/>
                  </a:cubicBezTo>
                  <a:cubicBezTo>
                    <a:pt x="207" y="608"/>
                    <a:pt x="209" y="608"/>
                    <a:pt x="210" y="608"/>
                  </a:cubicBezTo>
                  <a:cubicBezTo>
                    <a:pt x="211" y="608"/>
                    <a:pt x="213" y="608"/>
                    <a:pt x="216" y="603"/>
                  </a:cubicBezTo>
                  <a:cubicBezTo>
                    <a:pt x="220" y="597"/>
                    <a:pt x="225" y="590"/>
                    <a:pt x="230" y="587"/>
                  </a:cubicBezTo>
                  <a:cubicBezTo>
                    <a:pt x="231" y="586"/>
                    <a:pt x="231" y="586"/>
                    <a:pt x="232" y="587"/>
                  </a:cubicBezTo>
                  <a:cubicBezTo>
                    <a:pt x="235" y="588"/>
                    <a:pt x="238" y="588"/>
                    <a:pt x="241" y="589"/>
                  </a:cubicBezTo>
                  <a:cubicBezTo>
                    <a:pt x="242" y="589"/>
                    <a:pt x="242" y="590"/>
                    <a:pt x="242" y="591"/>
                  </a:cubicBezTo>
                  <a:cubicBezTo>
                    <a:pt x="245" y="596"/>
                    <a:pt x="245" y="604"/>
                    <a:pt x="245" y="611"/>
                  </a:cubicBezTo>
                  <a:cubicBezTo>
                    <a:pt x="244" y="619"/>
                    <a:pt x="248" y="620"/>
                    <a:pt x="251" y="621"/>
                  </a:cubicBezTo>
                  <a:cubicBezTo>
                    <a:pt x="253" y="621"/>
                    <a:pt x="253" y="621"/>
                    <a:pt x="253" y="621"/>
                  </a:cubicBezTo>
                  <a:cubicBezTo>
                    <a:pt x="254" y="621"/>
                    <a:pt x="255" y="621"/>
                    <a:pt x="256" y="621"/>
                  </a:cubicBezTo>
                  <a:cubicBezTo>
                    <a:pt x="257" y="621"/>
                    <a:pt x="260" y="621"/>
                    <a:pt x="262" y="615"/>
                  </a:cubicBezTo>
                  <a:cubicBezTo>
                    <a:pt x="265" y="609"/>
                    <a:pt x="269" y="601"/>
                    <a:pt x="273" y="597"/>
                  </a:cubicBezTo>
                  <a:cubicBezTo>
                    <a:pt x="274" y="597"/>
                    <a:pt x="274" y="597"/>
                    <a:pt x="275" y="597"/>
                  </a:cubicBezTo>
                  <a:close/>
                  <a:moveTo>
                    <a:pt x="317" y="576"/>
                  </a:moveTo>
                  <a:cubicBezTo>
                    <a:pt x="258" y="576"/>
                    <a:pt x="200" y="556"/>
                    <a:pt x="153" y="518"/>
                  </a:cubicBezTo>
                  <a:cubicBezTo>
                    <a:pt x="42" y="428"/>
                    <a:pt x="25" y="264"/>
                    <a:pt x="115" y="152"/>
                  </a:cubicBezTo>
                  <a:cubicBezTo>
                    <a:pt x="165" y="91"/>
                    <a:pt x="238" y="56"/>
                    <a:pt x="317" y="56"/>
                  </a:cubicBezTo>
                  <a:cubicBezTo>
                    <a:pt x="377" y="56"/>
                    <a:pt x="435" y="77"/>
                    <a:pt x="481" y="114"/>
                  </a:cubicBezTo>
                  <a:cubicBezTo>
                    <a:pt x="535" y="158"/>
                    <a:pt x="568" y="220"/>
                    <a:pt x="576" y="289"/>
                  </a:cubicBezTo>
                  <a:cubicBezTo>
                    <a:pt x="583" y="358"/>
                    <a:pt x="563" y="426"/>
                    <a:pt x="519" y="480"/>
                  </a:cubicBezTo>
                  <a:cubicBezTo>
                    <a:pt x="469" y="541"/>
                    <a:pt x="396" y="576"/>
                    <a:pt x="317" y="576"/>
                  </a:cubicBezTo>
                  <a:close/>
                  <a:moveTo>
                    <a:pt x="317" y="61"/>
                  </a:moveTo>
                  <a:cubicBezTo>
                    <a:pt x="240" y="61"/>
                    <a:pt x="168" y="96"/>
                    <a:pt x="119" y="156"/>
                  </a:cubicBezTo>
                  <a:cubicBezTo>
                    <a:pt x="31" y="265"/>
                    <a:pt x="47" y="426"/>
                    <a:pt x="157" y="514"/>
                  </a:cubicBezTo>
                  <a:cubicBezTo>
                    <a:pt x="202" y="551"/>
                    <a:pt x="259" y="571"/>
                    <a:pt x="317" y="571"/>
                  </a:cubicBezTo>
                  <a:cubicBezTo>
                    <a:pt x="394" y="571"/>
                    <a:pt x="466" y="537"/>
                    <a:pt x="515" y="477"/>
                  </a:cubicBezTo>
                  <a:cubicBezTo>
                    <a:pt x="558" y="424"/>
                    <a:pt x="578" y="357"/>
                    <a:pt x="571" y="290"/>
                  </a:cubicBezTo>
                  <a:cubicBezTo>
                    <a:pt x="564" y="222"/>
                    <a:pt x="531" y="161"/>
                    <a:pt x="478" y="118"/>
                  </a:cubicBezTo>
                  <a:cubicBezTo>
                    <a:pt x="432" y="81"/>
                    <a:pt x="375" y="61"/>
                    <a:pt x="317" y="6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7" name="Freeform 1400">
              <a:extLst>
                <a:ext uri="{FF2B5EF4-FFF2-40B4-BE49-F238E27FC236}">
                  <a16:creationId xmlns:a16="http://schemas.microsoft.com/office/drawing/2014/main" id="{0656E698-F7D6-4C0B-9260-FF790B9B4C89}"/>
                </a:ext>
              </a:extLst>
            </p:cNvPr>
            <p:cNvSpPr>
              <a:spLocks noEditPoints="1"/>
            </p:cNvSpPr>
            <p:nvPr/>
          </p:nvSpPr>
          <p:spPr bwMode="auto">
            <a:xfrm rot="20647229" flipH="1">
              <a:off x="5994138" y="5140640"/>
              <a:ext cx="144463" cy="146050"/>
            </a:xfrm>
            <a:custGeom>
              <a:avLst/>
              <a:gdLst>
                <a:gd name="T0" fmla="*/ 111 w 121"/>
                <a:gd name="T1" fmla="*/ 98 h 124"/>
                <a:gd name="T2" fmla="*/ 121 w 121"/>
                <a:gd name="T3" fmla="*/ 51 h 124"/>
                <a:gd name="T4" fmla="*/ 96 w 121"/>
                <a:gd name="T5" fmla="*/ 10 h 124"/>
                <a:gd name="T6" fmla="*/ 50 w 121"/>
                <a:gd name="T7" fmla="*/ 0 h 124"/>
                <a:gd name="T8" fmla="*/ 10 w 121"/>
                <a:gd name="T9" fmla="*/ 25 h 124"/>
                <a:gd name="T10" fmla="*/ 0 w 121"/>
                <a:gd name="T11" fmla="*/ 72 h 124"/>
                <a:gd name="T12" fmla="*/ 25 w 121"/>
                <a:gd name="T13" fmla="*/ 113 h 124"/>
                <a:gd name="T14" fmla="*/ 71 w 121"/>
                <a:gd name="T15" fmla="*/ 124 h 124"/>
                <a:gd name="T16" fmla="*/ 69 w 121"/>
                <a:gd name="T17" fmla="*/ 97 h 124"/>
                <a:gd name="T18" fmla="*/ 66 w 121"/>
                <a:gd name="T19" fmla="*/ 98 h 124"/>
                <a:gd name="T20" fmla="*/ 62 w 121"/>
                <a:gd name="T21" fmla="*/ 98 h 124"/>
                <a:gd name="T22" fmla="*/ 57 w 121"/>
                <a:gd name="T23" fmla="*/ 98 h 124"/>
                <a:gd name="T24" fmla="*/ 54 w 121"/>
                <a:gd name="T25" fmla="*/ 97 h 124"/>
                <a:gd name="T26" fmla="*/ 50 w 121"/>
                <a:gd name="T27" fmla="*/ 97 h 124"/>
                <a:gd name="T28" fmla="*/ 43 w 121"/>
                <a:gd name="T29" fmla="*/ 93 h 124"/>
                <a:gd name="T30" fmla="*/ 38 w 121"/>
                <a:gd name="T31" fmla="*/ 90 h 124"/>
                <a:gd name="T32" fmla="*/ 34 w 121"/>
                <a:gd name="T33" fmla="*/ 85 h 124"/>
                <a:gd name="T34" fmla="*/ 30 w 121"/>
                <a:gd name="T35" fmla="*/ 81 h 124"/>
                <a:gd name="T36" fmla="*/ 27 w 121"/>
                <a:gd name="T37" fmla="*/ 72 h 124"/>
                <a:gd name="T38" fmla="*/ 26 w 121"/>
                <a:gd name="T39" fmla="*/ 69 h 124"/>
                <a:gd name="T40" fmla="*/ 25 w 121"/>
                <a:gd name="T41" fmla="*/ 66 h 124"/>
                <a:gd name="T42" fmla="*/ 25 w 121"/>
                <a:gd name="T43" fmla="*/ 62 h 124"/>
                <a:gd name="T44" fmla="*/ 25 w 121"/>
                <a:gd name="T45" fmla="*/ 58 h 124"/>
                <a:gd name="T46" fmla="*/ 26 w 121"/>
                <a:gd name="T47" fmla="*/ 54 h 124"/>
                <a:gd name="T48" fmla="*/ 29 w 121"/>
                <a:gd name="T49" fmla="*/ 45 h 124"/>
                <a:gd name="T50" fmla="*/ 30 w 121"/>
                <a:gd name="T51" fmla="*/ 42 h 124"/>
                <a:gd name="T52" fmla="*/ 34 w 121"/>
                <a:gd name="T53" fmla="*/ 38 h 124"/>
                <a:gd name="T54" fmla="*/ 38 w 121"/>
                <a:gd name="T55" fmla="*/ 33 h 124"/>
                <a:gd name="T56" fmla="*/ 43 w 121"/>
                <a:gd name="T57" fmla="*/ 30 h 124"/>
                <a:gd name="T58" fmla="*/ 50 w 121"/>
                <a:gd name="T59" fmla="*/ 27 h 124"/>
                <a:gd name="T60" fmla="*/ 54 w 121"/>
                <a:gd name="T61" fmla="*/ 26 h 124"/>
                <a:gd name="T62" fmla="*/ 57 w 121"/>
                <a:gd name="T63" fmla="*/ 25 h 124"/>
                <a:gd name="T64" fmla="*/ 62 w 121"/>
                <a:gd name="T65" fmla="*/ 25 h 124"/>
                <a:gd name="T66" fmla="*/ 66 w 121"/>
                <a:gd name="T67" fmla="*/ 26 h 124"/>
                <a:gd name="T68" fmla="*/ 69 w 121"/>
                <a:gd name="T69" fmla="*/ 26 h 124"/>
                <a:gd name="T70" fmla="*/ 78 w 121"/>
                <a:gd name="T71" fmla="*/ 30 h 124"/>
                <a:gd name="T72" fmla="*/ 83 w 121"/>
                <a:gd name="T73" fmla="*/ 33 h 124"/>
                <a:gd name="T74" fmla="*/ 87 w 121"/>
                <a:gd name="T75" fmla="*/ 38 h 124"/>
                <a:gd name="T76" fmla="*/ 91 w 121"/>
                <a:gd name="T77" fmla="*/ 42 h 124"/>
                <a:gd name="T78" fmla="*/ 94 w 121"/>
                <a:gd name="T79" fmla="*/ 51 h 124"/>
                <a:gd name="T80" fmla="*/ 95 w 121"/>
                <a:gd name="T81" fmla="*/ 55 h 124"/>
                <a:gd name="T82" fmla="*/ 96 w 121"/>
                <a:gd name="T83" fmla="*/ 58 h 124"/>
                <a:gd name="T84" fmla="*/ 96 w 121"/>
                <a:gd name="T85" fmla="*/ 63 h 124"/>
                <a:gd name="T86" fmla="*/ 96 w 121"/>
                <a:gd name="T87" fmla="*/ 67 h 124"/>
                <a:gd name="T88" fmla="*/ 95 w 121"/>
                <a:gd name="T89" fmla="*/ 70 h 124"/>
                <a:gd name="T90" fmla="*/ 92 w 121"/>
                <a:gd name="T91" fmla="*/ 79 h 124"/>
                <a:gd name="T92" fmla="*/ 90 w 121"/>
                <a:gd name="T93" fmla="*/ 81 h 124"/>
                <a:gd name="T94" fmla="*/ 87 w 121"/>
                <a:gd name="T95" fmla="*/ 86 h 124"/>
                <a:gd name="T96" fmla="*/ 82 w 121"/>
                <a:gd name="T97" fmla="*/ 90 h 124"/>
                <a:gd name="T98" fmla="*/ 78 w 121"/>
                <a:gd name="T99"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71" y="111"/>
                  </a:moveTo>
                  <a:cubicBezTo>
                    <a:pt x="77" y="110"/>
                    <a:pt x="82" y="108"/>
                    <a:pt x="87" y="104"/>
                  </a:cubicBezTo>
                  <a:cubicBezTo>
                    <a:pt x="96" y="113"/>
                    <a:pt x="96" y="113"/>
                    <a:pt x="96" y="113"/>
                  </a:cubicBezTo>
                  <a:cubicBezTo>
                    <a:pt x="111" y="98"/>
                    <a:pt x="111" y="98"/>
                    <a:pt x="111" y="98"/>
                  </a:cubicBezTo>
                  <a:cubicBezTo>
                    <a:pt x="102" y="89"/>
                    <a:pt x="102" y="89"/>
                    <a:pt x="102" y="89"/>
                  </a:cubicBezTo>
                  <a:cubicBezTo>
                    <a:pt x="105" y="84"/>
                    <a:pt x="107" y="78"/>
                    <a:pt x="109" y="72"/>
                  </a:cubicBezTo>
                  <a:cubicBezTo>
                    <a:pt x="121" y="72"/>
                    <a:pt x="121" y="72"/>
                    <a:pt x="121" y="72"/>
                  </a:cubicBezTo>
                  <a:cubicBezTo>
                    <a:pt x="121" y="51"/>
                    <a:pt x="121" y="51"/>
                    <a:pt x="121" y="51"/>
                  </a:cubicBezTo>
                  <a:cubicBezTo>
                    <a:pt x="109" y="51"/>
                    <a:pt x="109" y="51"/>
                    <a:pt x="109" y="51"/>
                  </a:cubicBezTo>
                  <a:cubicBezTo>
                    <a:pt x="107" y="45"/>
                    <a:pt x="105" y="39"/>
                    <a:pt x="102" y="34"/>
                  </a:cubicBezTo>
                  <a:cubicBezTo>
                    <a:pt x="111" y="25"/>
                    <a:pt x="111" y="25"/>
                    <a:pt x="111" y="25"/>
                  </a:cubicBezTo>
                  <a:cubicBezTo>
                    <a:pt x="96" y="10"/>
                    <a:pt x="96" y="10"/>
                    <a:pt x="96" y="10"/>
                  </a:cubicBezTo>
                  <a:cubicBezTo>
                    <a:pt x="87" y="19"/>
                    <a:pt x="87" y="19"/>
                    <a:pt x="87" y="19"/>
                  </a:cubicBezTo>
                  <a:cubicBezTo>
                    <a:pt x="82" y="16"/>
                    <a:pt x="77" y="13"/>
                    <a:pt x="71" y="12"/>
                  </a:cubicBezTo>
                  <a:cubicBezTo>
                    <a:pt x="71" y="0"/>
                    <a:pt x="71" y="0"/>
                    <a:pt x="71" y="0"/>
                  </a:cubicBezTo>
                  <a:cubicBezTo>
                    <a:pt x="50" y="0"/>
                    <a:pt x="50" y="0"/>
                    <a:pt x="50" y="0"/>
                  </a:cubicBezTo>
                  <a:cubicBezTo>
                    <a:pt x="50" y="12"/>
                    <a:pt x="50" y="12"/>
                    <a:pt x="50" y="12"/>
                  </a:cubicBezTo>
                  <a:cubicBezTo>
                    <a:pt x="44" y="13"/>
                    <a:pt x="39" y="16"/>
                    <a:pt x="34" y="19"/>
                  </a:cubicBezTo>
                  <a:cubicBezTo>
                    <a:pt x="25" y="10"/>
                    <a:pt x="25" y="10"/>
                    <a:pt x="25" y="10"/>
                  </a:cubicBezTo>
                  <a:cubicBezTo>
                    <a:pt x="10" y="25"/>
                    <a:pt x="10" y="25"/>
                    <a:pt x="10" y="25"/>
                  </a:cubicBezTo>
                  <a:cubicBezTo>
                    <a:pt x="19" y="34"/>
                    <a:pt x="19" y="34"/>
                    <a:pt x="19" y="34"/>
                  </a:cubicBezTo>
                  <a:cubicBezTo>
                    <a:pt x="16" y="39"/>
                    <a:pt x="14" y="45"/>
                    <a:pt x="12" y="51"/>
                  </a:cubicBezTo>
                  <a:cubicBezTo>
                    <a:pt x="0" y="51"/>
                    <a:pt x="0" y="51"/>
                    <a:pt x="0" y="51"/>
                  </a:cubicBezTo>
                  <a:cubicBezTo>
                    <a:pt x="0" y="72"/>
                    <a:pt x="0" y="72"/>
                    <a:pt x="0" y="72"/>
                  </a:cubicBezTo>
                  <a:cubicBezTo>
                    <a:pt x="12" y="72"/>
                    <a:pt x="12" y="72"/>
                    <a:pt x="12" y="72"/>
                  </a:cubicBezTo>
                  <a:cubicBezTo>
                    <a:pt x="14" y="78"/>
                    <a:pt x="16" y="84"/>
                    <a:pt x="19" y="89"/>
                  </a:cubicBezTo>
                  <a:cubicBezTo>
                    <a:pt x="10" y="98"/>
                    <a:pt x="10" y="98"/>
                    <a:pt x="10" y="98"/>
                  </a:cubicBezTo>
                  <a:cubicBezTo>
                    <a:pt x="25" y="113"/>
                    <a:pt x="25" y="113"/>
                    <a:pt x="25" y="113"/>
                  </a:cubicBezTo>
                  <a:cubicBezTo>
                    <a:pt x="34" y="104"/>
                    <a:pt x="34" y="104"/>
                    <a:pt x="34" y="104"/>
                  </a:cubicBezTo>
                  <a:cubicBezTo>
                    <a:pt x="39" y="108"/>
                    <a:pt x="44" y="110"/>
                    <a:pt x="50" y="111"/>
                  </a:cubicBezTo>
                  <a:cubicBezTo>
                    <a:pt x="50" y="124"/>
                    <a:pt x="50" y="124"/>
                    <a:pt x="50" y="124"/>
                  </a:cubicBezTo>
                  <a:cubicBezTo>
                    <a:pt x="71" y="124"/>
                    <a:pt x="71" y="124"/>
                    <a:pt x="71" y="124"/>
                  </a:cubicBezTo>
                  <a:lnTo>
                    <a:pt x="71" y="111"/>
                  </a:lnTo>
                  <a:close/>
                  <a:moveTo>
                    <a:pt x="77" y="94"/>
                  </a:moveTo>
                  <a:cubicBezTo>
                    <a:pt x="75" y="95"/>
                    <a:pt x="72" y="96"/>
                    <a:pt x="70" y="97"/>
                  </a:cubicBezTo>
                  <a:cubicBezTo>
                    <a:pt x="69" y="97"/>
                    <a:pt x="69" y="97"/>
                    <a:pt x="69" y="97"/>
                  </a:cubicBezTo>
                  <a:cubicBezTo>
                    <a:pt x="69" y="97"/>
                    <a:pt x="68" y="97"/>
                    <a:pt x="68" y="97"/>
                  </a:cubicBezTo>
                  <a:cubicBezTo>
                    <a:pt x="67" y="97"/>
                    <a:pt x="67" y="97"/>
                    <a:pt x="67" y="97"/>
                  </a:cubicBezTo>
                  <a:cubicBezTo>
                    <a:pt x="67" y="98"/>
                    <a:pt x="66" y="98"/>
                    <a:pt x="66" y="98"/>
                  </a:cubicBezTo>
                  <a:cubicBezTo>
                    <a:pt x="66" y="98"/>
                    <a:pt x="66" y="98"/>
                    <a:pt x="66" y="98"/>
                  </a:cubicBezTo>
                  <a:cubicBezTo>
                    <a:pt x="65" y="98"/>
                    <a:pt x="65" y="98"/>
                    <a:pt x="64" y="98"/>
                  </a:cubicBezTo>
                  <a:cubicBezTo>
                    <a:pt x="64" y="98"/>
                    <a:pt x="64" y="98"/>
                    <a:pt x="64" y="98"/>
                  </a:cubicBezTo>
                  <a:cubicBezTo>
                    <a:pt x="63" y="98"/>
                    <a:pt x="63" y="98"/>
                    <a:pt x="63" y="98"/>
                  </a:cubicBezTo>
                  <a:cubicBezTo>
                    <a:pt x="62" y="98"/>
                    <a:pt x="62" y="98"/>
                    <a:pt x="62" y="98"/>
                  </a:cubicBezTo>
                  <a:cubicBezTo>
                    <a:pt x="62" y="98"/>
                    <a:pt x="61" y="98"/>
                    <a:pt x="60" y="98"/>
                  </a:cubicBezTo>
                  <a:cubicBezTo>
                    <a:pt x="60" y="98"/>
                    <a:pt x="59" y="98"/>
                    <a:pt x="59" y="98"/>
                  </a:cubicBezTo>
                  <a:cubicBezTo>
                    <a:pt x="58" y="98"/>
                    <a:pt x="58" y="98"/>
                    <a:pt x="58" y="98"/>
                  </a:cubicBezTo>
                  <a:cubicBezTo>
                    <a:pt x="58" y="98"/>
                    <a:pt x="58" y="98"/>
                    <a:pt x="57" y="98"/>
                  </a:cubicBezTo>
                  <a:cubicBezTo>
                    <a:pt x="57" y="98"/>
                    <a:pt x="57" y="98"/>
                    <a:pt x="57" y="98"/>
                  </a:cubicBezTo>
                  <a:cubicBezTo>
                    <a:pt x="56" y="98"/>
                    <a:pt x="56" y="98"/>
                    <a:pt x="55" y="98"/>
                  </a:cubicBezTo>
                  <a:cubicBezTo>
                    <a:pt x="55" y="98"/>
                    <a:pt x="55" y="98"/>
                    <a:pt x="55" y="98"/>
                  </a:cubicBezTo>
                  <a:cubicBezTo>
                    <a:pt x="54" y="98"/>
                    <a:pt x="54" y="98"/>
                    <a:pt x="54" y="97"/>
                  </a:cubicBezTo>
                  <a:cubicBezTo>
                    <a:pt x="53" y="97"/>
                    <a:pt x="53" y="97"/>
                    <a:pt x="53" y="97"/>
                  </a:cubicBezTo>
                  <a:cubicBezTo>
                    <a:pt x="52" y="97"/>
                    <a:pt x="52" y="97"/>
                    <a:pt x="52" y="97"/>
                  </a:cubicBezTo>
                  <a:cubicBezTo>
                    <a:pt x="51" y="97"/>
                    <a:pt x="51" y="97"/>
                    <a:pt x="51" y="97"/>
                  </a:cubicBezTo>
                  <a:cubicBezTo>
                    <a:pt x="51" y="97"/>
                    <a:pt x="50" y="97"/>
                    <a:pt x="50" y="97"/>
                  </a:cubicBezTo>
                  <a:cubicBezTo>
                    <a:pt x="50" y="97"/>
                    <a:pt x="50" y="97"/>
                    <a:pt x="50" y="97"/>
                  </a:cubicBezTo>
                  <a:cubicBezTo>
                    <a:pt x="48" y="96"/>
                    <a:pt x="46" y="95"/>
                    <a:pt x="44" y="94"/>
                  </a:cubicBezTo>
                  <a:cubicBezTo>
                    <a:pt x="43" y="93"/>
                    <a:pt x="43" y="93"/>
                    <a:pt x="43" y="93"/>
                  </a:cubicBezTo>
                  <a:cubicBezTo>
                    <a:pt x="43" y="93"/>
                    <a:pt x="43" y="93"/>
                    <a:pt x="43" y="93"/>
                  </a:cubicBezTo>
                  <a:cubicBezTo>
                    <a:pt x="42" y="93"/>
                    <a:pt x="42" y="93"/>
                    <a:pt x="42" y="93"/>
                  </a:cubicBezTo>
                  <a:cubicBezTo>
                    <a:pt x="42" y="93"/>
                    <a:pt x="42" y="93"/>
                    <a:pt x="42" y="93"/>
                  </a:cubicBezTo>
                  <a:cubicBezTo>
                    <a:pt x="40" y="92"/>
                    <a:pt x="39" y="91"/>
                    <a:pt x="38" y="90"/>
                  </a:cubicBezTo>
                  <a:cubicBezTo>
                    <a:pt x="38" y="90"/>
                    <a:pt x="38" y="90"/>
                    <a:pt x="38" y="90"/>
                  </a:cubicBezTo>
                  <a:cubicBezTo>
                    <a:pt x="37" y="89"/>
                    <a:pt x="37" y="89"/>
                    <a:pt x="37" y="89"/>
                  </a:cubicBezTo>
                  <a:cubicBezTo>
                    <a:pt x="37" y="89"/>
                    <a:pt x="37" y="89"/>
                    <a:pt x="37" y="89"/>
                  </a:cubicBezTo>
                  <a:cubicBezTo>
                    <a:pt x="36" y="88"/>
                    <a:pt x="35" y="87"/>
                    <a:pt x="34" y="86"/>
                  </a:cubicBezTo>
                  <a:cubicBezTo>
                    <a:pt x="34" y="85"/>
                    <a:pt x="34" y="85"/>
                    <a:pt x="34" y="85"/>
                  </a:cubicBezTo>
                  <a:cubicBezTo>
                    <a:pt x="33" y="84"/>
                    <a:pt x="33" y="84"/>
                    <a:pt x="33" y="84"/>
                  </a:cubicBezTo>
                  <a:cubicBezTo>
                    <a:pt x="33" y="84"/>
                    <a:pt x="33" y="84"/>
                    <a:pt x="33" y="84"/>
                  </a:cubicBezTo>
                  <a:cubicBezTo>
                    <a:pt x="32" y="83"/>
                    <a:pt x="31" y="82"/>
                    <a:pt x="31" y="81"/>
                  </a:cubicBezTo>
                  <a:cubicBezTo>
                    <a:pt x="30" y="81"/>
                    <a:pt x="30" y="81"/>
                    <a:pt x="30" y="81"/>
                  </a:cubicBezTo>
                  <a:cubicBezTo>
                    <a:pt x="30" y="80"/>
                    <a:pt x="30" y="80"/>
                    <a:pt x="30" y="80"/>
                  </a:cubicBezTo>
                  <a:cubicBezTo>
                    <a:pt x="30" y="80"/>
                    <a:pt x="30" y="80"/>
                    <a:pt x="30" y="80"/>
                  </a:cubicBezTo>
                  <a:cubicBezTo>
                    <a:pt x="30" y="79"/>
                    <a:pt x="29" y="79"/>
                    <a:pt x="29" y="79"/>
                  </a:cubicBezTo>
                  <a:cubicBezTo>
                    <a:pt x="28" y="77"/>
                    <a:pt x="27" y="75"/>
                    <a:pt x="27" y="72"/>
                  </a:cubicBezTo>
                  <a:cubicBezTo>
                    <a:pt x="27" y="72"/>
                    <a:pt x="27" y="72"/>
                    <a:pt x="27" y="72"/>
                  </a:cubicBezTo>
                  <a:cubicBezTo>
                    <a:pt x="26" y="72"/>
                    <a:pt x="26" y="71"/>
                    <a:pt x="26" y="71"/>
                  </a:cubicBezTo>
                  <a:cubicBezTo>
                    <a:pt x="26" y="70"/>
                    <a:pt x="26" y="70"/>
                    <a:pt x="26" y="70"/>
                  </a:cubicBezTo>
                  <a:cubicBezTo>
                    <a:pt x="26" y="69"/>
                    <a:pt x="26" y="69"/>
                    <a:pt x="26" y="69"/>
                  </a:cubicBezTo>
                  <a:cubicBezTo>
                    <a:pt x="26" y="69"/>
                    <a:pt x="26" y="69"/>
                    <a:pt x="26" y="69"/>
                  </a:cubicBezTo>
                  <a:cubicBezTo>
                    <a:pt x="26" y="68"/>
                    <a:pt x="26" y="68"/>
                    <a:pt x="25" y="67"/>
                  </a:cubicBezTo>
                  <a:cubicBezTo>
                    <a:pt x="25" y="67"/>
                    <a:pt x="25" y="67"/>
                    <a:pt x="25" y="67"/>
                  </a:cubicBezTo>
                  <a:cubicBezTo>
                    <a:pt x="25" y="67"/>
                    <a:pt x="25" y="66"/>
                    <a:pt x="25" y="66"/>
                  </a:cubicBezTo>
                  <a:cubicBezTo>
                    <a:pt x="25" y="65"/>
                    <a:pt x="25" y="65"/>
                    <a:pt x="25" y="65"/>
                  </a:cubicBezTo>
                  <a:cubicBezTo>
                    <a:pt x="25" y="65"/>
                    <a:pt x="25" y="64"/>
                    <a:pt x="25" y="64"/>
                  </a:cubicBezTo>
                  <a:cubicBezTo>
                    <a:pt x="25" y="63"/>
                    <a:pt x="25" y="63"/>
                    <a:pt x="25" y="63"/>
                  </a:cubicBezTo>
                  <a:cubicBezTo>
                    <a:pt x="25" y="63"/>
                    <a:pt x="25" y="62"/>
                    <a:pt x="25" y="62"/>
                  </a:cubicBezTo>
                  <a:cubicBezTo>
                    <a:pt x="25" y="61"/>
                    <a:pt x="25" y="61"/>
                    <a:pt x="25" y="60"/>
                  </a:cubicBezTo>
                  <a:cubicBezTo>
                    <a:pt x="25" y="59"/>
                    <a:pt x="25" y="59"/>
                    <a:pt x="25" y="59"/>
                  </a:cubicBezTo>
                  <a:cubicBezTo>
                    <a:pt x="25" y="59"/>
                    <a:pt x="25" y="59"/>
                    <a:pt x="25" y="58"/>
                  </a:cubicBezTo>
                  <a:cubicBezTo>
                    <a:pt x="25" y="58"/>
                    <a:pt x="25" y="58"/>
                    <a:pt x="25" y="58"/>
                  </a:cubicBezTo>
                  <a:cubicBezTo>
                    <a:pt x="25" y="57"/>
                    <a:pt x="25" y="57"/>
                    <a:pt x="25" y="56"/>
                  </a:cubicBezTo>
                  <a:cubicBezTo>
                    <a:pt x="25" y="56"/>
                    <a:pt x="25" y="56"/>
                    <a:pt x="25" y="56"/>
                  </a:cubicBezTo>
                  <a:cubicBezTo>
                    <a:pt x="26" y="55"/>
                    <a:pt x="26" y="55"/>
                    <a:pt x="26" y="55"/>
                  </a:cubicBezTo>
                  <a:cubicBezTo>
                    <a:pt x="26" y="54"/>
                    <a:pt x="26" y="54"/>
                    <a:pt x="26" y="54"/>
                  </a:cubicBezTo>
                  <a:cubicBezTo>
                    <a:pt x="26" y="53"/>
                    <a:pt x="26" y="53"/>
                    <a:pt x="26" y="53"/>
                  </a:cubicBezTo>
                  <a:cubicBezTo>
                    <a:pt x="26" y="52"/>
                    <a:pt x="26" y="52"/>
                    <a:pt x="26" y="52"/>
                  </a:cubicBezTo>
                  <a:cubicBezTo>
                    <a:pt x="26" y="52"/>
                    <a:pt x="26" y="51"/>
                    <a:pt x="27" y="51"/>
                  </a:cubicBezTo>
                  <a:cubicBezTo>
                    <a:pt x="27" y="49"/>
                    <a:pt x="28" y="47"/>
                    <a:pt x="29" y="45"/>
                  </a:cubicBezTo>
                  <a:cubicBezTo>
                    <a:pt x="29" y="44"/>
                    <a:pt x="30" y="44"/>
                    <a:pt x="30" y="44"/>
                  </a:cubicBezTo>
                  <a:cubicBezTo>
                    <a:pt x="30" y="43"/>
                    <a:pt x="30" y="43"/>
                    <a:pt x="30" y="43"/>
                  </a:cubicBezTo>
                  <a:cubicBezTo>
                    <a:pt x="30" y="42"/>
                    <a:pt x="30" y="42"/>
                    <a:pt x="30" y="42"/>
                  </a:cubicBezTo>
                  <a:cubicBezTo>
                    <a:pt x="30" y="42"/>
                    <a:pt x="30" y="42"/>
                    <a:pt x="30" y="42"/>
                  </a:cubicBezTo>
                  <a:cubicBezTo>
                    <a:pt x="31" y="41"/>
                    <a:pt x="32" y="40"/>
                    <a:pt x="33" y="39"/>
                  </a:cubicBezTo>
                  <a:cubicBezTo>
                    <a:pt x="33" y="39"/>
                    <a:pt x="33" y="39"/>
                    <a:pt x="33" y="39"/>
                  </a:cubicBezTo>
                  <a:cubicBezTo>
                    <a:pt x="34" y="38"/>
                    <a:pt x="34" y="38"/>
                    <a:pt x="34" y="38"/>
                  </a:cubicBezTo>
                  <a:cubicBezTo>
                    <a:pt x="34" y="38"/>
                    <a:pt x="34" y="38"/>
                    <a:pt x="34" y="38"/>
                  </a:cubicBezTo>
                  <a:cubicBezTo>
                    <a:pt x="35" y="36"/>
                    <a:pt x="36" y="35"/>
                    <a:pt x="37" y="34"/>
                  </a:cubicBezTo>
                  <a:cubicBezTo>
                    <a:pt x="37" y="34"/>
                    <a:pt x="37" y="34"/>
                    <a:pt x="37" y="34"/>
                  </a:cubicBezTo>
                  <a:cubicBezTo>
                    <a:pt x="38" y="33"/>
                    <a:pt x="38" y="33"/>
                    <a:pt x="38" y="33"/>
                  </a:cubicBezTo>
                  <a:cubicBezTo>
                    <a:pt x="38" y="33"/>
                    <a:pt x="38" y="33"/>
                    <a:pt x="38" y="33"/>
                  </a:cubicBezTo>
                  <a:cubicBezTo>
                    <a:pt x="39" y="32"/>
                    <a:pt x="40" y="32"/>
                    <a:pt x="42" y="31"/>
                  </a:cubicBezTo>
                  <a:cubicBezTo>
                    <a:pt x="42" y="31"/>
                    <a:pt x="42" y="31"/>
                    <a:pt x="42" y="31"/>
                  </a:cubicBezTo>
                  <a:cubicBezTo>
                    <a:pt x="43" y="30"/>
                    <a:pt x="43" y="30"/>
                    <a:pt x="43" y="30"/>
                  </a:cubicBezTo>
                  <a:cubicBezTo>
                    <a:pt x="43" y="30"/>
                    <a:pt x="43" y="30"/>
                    <a:pt x="43" y="30"/>
                  </a:cubicBezTo>
                  <a:cubicBezTo>
                    <a:pt x="44" y="29"/>
                    <a:pt x="44" y="29"/>
                    <a:pt x="44" y="29"/>
                  </a:cubicBezTo>
                  <a:cubicBezTo>
                    <a:pt x="46" y="28"/>
                    <a:pt x="48" y="27"/>
                    <a:pt x="50" y="27"/>
                  </a:cubicBezTo>
                  <a:cubicBezTo>
                    <a:pt x="50" y="27"/>
                    <a:pt x="50" y="27"/>
                    <a:pt x="50" y="27"/>
                  </a:cubicBezTo>
                  <a:cubicBezTo>
                    <a:pt x="50" y="27"/>
                    <a:pt x="50" y="27"/>
                    <a:pt x="50" y="27"/>
                  </a:cubicBezTo>
                  <a:cubicBezTo>
                    <a:pt x="50" y="27"/>
                    <a:pt x="51" y="26"/>
                    <a:pt x="51" y="26"/>
                  </a:cubicBezTo>
                  <a:cubicBezTo>
                    <a:pt x="52" y="26"/>
                    <a:pt x="52" y="26"/>
                    <a:pt x="52" y="26"/>
                  </a:cubicBezTo>
                  <a:cubicBezTo>
                    <a:pt x="53" y="26"/>
                    <a:pt x="53" y="26"/>
                    <a:pt x="53" y="26"/>
                  </a:cubicBezTo>
                  <a:cubicBezTo>
                    <a:pt x="54" y="26"/>
                    <a:pt x="54" y="26"/>
                    <a:pt x="54" y="26"/>
                  </a:cubicBezTo>
                  <a:cubicBezTo>
                    <a:pt x="54" y="26"/>
                    <a:pt x="54" y="26"/>
                    <a:pt x="55" y="26"/>
                  </a:cubicBezTo>
                  <a:cubicBezTo>
                    <a:pt x="55" y="26"/>
                    <a:pt x="55" y="26"/>
                    <a:pt x="55" y="26"/>
                  </a:cubicBezTo>
                  <a:cubicBezTo>
                    <a:pt x="56" y="25"/>
                    <a:pt x="56" y="25"/>
                    <a:pt x="57" y="25"/>
                  </a:cubicBezTo>
                  <a:cubicBezTo>
                    <a:pt x="57" y="25"/>
                    <a:pt x="57" y="25"/>
                    <a:pt x="57" y="25"/>
                  </a:cubicBezTo>
                  <a:cubicBezTo>
                    <a:pt x="58" y="25"/>
                    <a:pt x="58" y="25"/>
                    <a:pt x="58" y="25"/>
                  </a:cubicBezTo>
                  <a:cubicBezTo>
                    <a:pt x="59" y="25"/>
                    <a:pt x="59" y="25"/>
                    <a:pt x="59" y="25"/>
                  </a:cubicBezTo>
                  <a:cubicBezTo>
                    <a:pt x="59" y="25"/>
                    <a:pt x="60" y="25"/>
                    <a:pt x="60" y="25"/>
                  </a:cubicBezTo>
                  <a:cubicBezTo>
                    <a:pt x="61" y="25"/>
                    <a:pt x="62" y="25"/>
                    <a:pt x="62" y="25"/>
                  </a:cubicBezTo>
                  <a:cubicBezTo>
                    <a:pt x="63" y="25"/>
                    <a:pt x="63" y="25"/>
                    <a:pt x="63" y="25"/>
                  </a:cubicBezTo>
                  <a:cubicBezTo>
                    <a:pt x="63" y="25"/>
                    <a:pt x="63" y="25"/>
                    <a:pt x="64" y="25"/>
                  </a:cubicBezTo>
                  <a:cubicBezTo>
                    <a:pt x="64" y="25"/>
                    <a:pt x="64" y="25"/>
                    <a:pt x="64" y="25"/>
                  </a:cubicBezTo>
                  <a:cubicBezTo>
                    <a:pt x="65" y="25"/>
                    <a:pt x="65" y="25"/>
                    <a:pt x="66" y="26"/>
                  </a:cubicBezTo>
                  <a:cubicBezTo>
                    <a:pt x="66" y="26"/>
                    <a:pt x="66" y="26"/>
                    <a:pt x="66" y="26"/>
                  </a:cubicBezTo>
                  <a:cubicBezTo>
                    <a:pt x="66" y="26"/>
                    <a:pt x="67" y="26"/>
                    <a:pt x="67" y="26"/>
                  </a:cubicBezTo>
                  <a:cubicBezTo>
                    <a:pt x="68" y="26"/>
                    <a:pt x="68" y="26"/>
                    <a:pt x="68" y="26"/>
                  </a:cubicBezTo>
                  <a:cubicBezTo>
                    <a:pt x="68" y="26"/>
                    <a:pt x="69" y="26"/>
                    <a:pt x="69" y="26"/>
                  </a:cubicBezTo>
                  <a:cubicBezTo>
                    <a:pt x="70" y="26"/>
                    <a:pt x="70" y="26"/>
                    <a:pt x="70" y="26"/>
                  </a:cubicBezTo>
                  <a:cubicBezTo>
                    <a:pt x="72" y="27"/>
                    <a:pt x="75" y="28"/>
                    <a:pt x="77" y="29"/>
                  </a:cubicBezTo>
                  <a:cubicBezTo>
                    <a:pt x="78" y="30"/>
                    <a:pt x="78" y="30"/>
                    <a:pt x="78" y="30"/>
                  </a:cubicBezTo>
                  <a:cubicBezTo>
                    <a:pt x="78" y="30"/>
                    <a:pt x="78" y="30"/>
                    <a:pt x="78" y="30"/>
                  </a:cubicBezTo>
                  <a:cubicBezTo>
                    <a:pt x="79" y="31"/>
                    <a:pt x="79" y="31"/>
                    <a:pt x="79" y="31"/>
                  </a:cubicBezTo>
                  <a:cubicBezTo>
                    <a:pt x="79" y="31"/>
                    <a:pt x="79" y="31"/>
                    <a:pt x="79" y="31"/>
                  </a:cubicBezTo>
                  <a:cubicBezTo>
                    <a:pt x="80" y="32"/>
                    <a:pt x="81" y="32"/>
                    <a:pt x="82" y="33"/>
                  </a:cubicBezTo>
                  <a:cubicBezTo>
                    <a:pt x="83" y="33"/>
                    <a:pt x="83" y="33"/>
                    <a:pt x="83" y="33"/>
                  </a:cubicBezTo>
                  <a:cubicBezTo>
                    <a:pt x="83" y="34"/>
                    <a:pt x="83" y="34"/>
                    <a:pt x="83" y="34"/>
                  </a:cubicBezTo>
                  <a:cubicBezTo>
                    <a:pt x="84" y="34"/>
                    <a:pt x="84" y="34"/>
                    <a:pt x="84" y="34"/>
                  </a:cubicBezTo>
                  <a:cubicBezTo>
                    <a:pt x="85" y="35"/>
                    <a:pt x="86" y="36"/>
                    <a:pt x="87" y="38"/>
                  </a:cubicBezTo>
                  <a:cubicBezTo>
                    <a:pt x="87" y="38"/>
                    <a:pt x="87" y="38"/>
                    <a:pt x="87" y="38"/>
                  </a:cubicBezTo>
                  <a:cubicBezTo>
                    <a:pt x="88" y="39"/>
                    <a:pt x="88" y="39"/>
                    <a:pt x="88" y="39"/>
                  </a:cubicBezTo>
                  <a:cubicBezTo>
                    <a:pt x="88" y="39"/>
                    <a:pt x="88" y="39"/>
                    <a:pt x="88" y="39"/>
                  </a:cubicBezTo>
                  <a:cubicBezTo>
                    <a:pt x="89" y="40"/>
                    <a:pt x="90" y="41"/>
                    <a:pt x="90" y="42"/>
                  </a:cubicBezTo>
                  <a:cubicBezTo>
                    <a:pt x="91" y="42"/>
                    <a:pt x="91" y="42"/>
                    <a:pt x="91" y="42"/>
                  </a:cubicBezTo>
                  <a:cubicBezTo>
                    <a:pt x="91" y="43"/>
                    <a:pt x="91" y="43"/>
                    <a:pt x="91" y="43"/>
                  </a:cubicBezTo>
                  <a:cubicBezTo>
                    <a:pt x="91" y="44"/>
                    <a:pt x="91" y="44"/>
                    <a:pt x="91" y="44"/>
                  </a:cubicBezTo>
                  <a:cubicBezTo>
                    <a:pt x="92" y="45"/>
                    <a:pt x="92" y="45"/>
                    <a:pt x="92" y="45"/>
                  </a:cubicBezTo>
                  <a:cubicBezTo>
                    <a:pt x="93" y="47"/>
                    <a:pt x="94" y="49"/>
                    <a:pt x="94" y="51"/>
                  </a:cubicBezTo>
                  <a:cubicBezTo>
                    <a:pt x="94" y="51"/>
                    <a:pt x="95" y="52"/>
                    <a:pt x="95" y="52"/>
                  </a:cubicBezTo>
                  <a:cubicBezTo>
                    <a:pt x="95" y="53"/>
                    <a:pt x="95" y="53"/>
                    <a:pt x="95" y="53"/>
                  </a:cubicBezTo>
                  <a:cubicBezTo>
                    <a:pt x="95" y="53"/>
                    <a:pt x="95" y="54"/>
                    <a:pt x="95" y="54"/>
                  </a:cubicBezTo>
                  <a:cubicBezTo>
                    <a:pt x="95" y="55"/>
                    <a:pt x="95" y="55"/>
                    <a:pt x="95" y="55"/>
                  </a:cubicBezTo>
                  <a:cubicBezTo>
                    <a:pt x="95" y="55"/>
                    <a:pt x="95" y="55"/>
                    <a:pt x="95" y="56"/>
                  </a:cubicBezTo>
                  <a:cubicBezTo>
                    <a:pt x="96" y="56"/>
                    <a:pt x="96" y="56"/>
                    <a:pt x="96" y="56"/>
                  </a:cubicBezTo>
                  <a:cubicBezTo>
                    <a:pt x="96" y="57"/>
                    <a:pt x="96" y="57"/>
                    <a:pt x="96" y="58"/>
                  </a:cubicBezTo>
                  <a:cubicBezTo>
                    <a:pt x="96" y="58"/>
                    <a:pt x="96" y="58"/>
                    <a:pt x="96" y="58"/>
                  </a:cubicBezTo>
                  <a:cubicBezTo>
                    <a:pt x="96" y="59"/>
                    <a:pt x="96" y="59"/>
                    <a:pt x="96" y="59"/>
                  </a:cubicBezTo>
                  <a:cubicBezTo>
                    <a:pt x="96" y="60"/>
                    <a:pt x="96" y="60"/>
                    <a:pt x="96" y="60"/>
                  </a:cubicBezTo>
                  <a:cubicBezTo>
                    <a:pt x="96" y="61"/>
                    <a:pt x="96" y="61"/>
                    <a:pt x="96" y="62"/>
                  </a:cubicBezTo>
                  <a:cubicBezTo>
                    <a:pt x="96" y="62"/>
                    <a:pt x="96" y="63"/>
                    <a:pt x="96" y="63"/>
                  </a:cubicBezTo>
                  <a:cubicBezTo>
                    <a:pt x="96" y="64"/>
                    <a:pt x="96" y="64"/>
                    <a:pt x="96" y="64"/>
                  </a:cubicBezTo>
                  <a:cubicBezTo>
                    <a:pt x="96" y="64"/>
                    <a:pt x="96" y="65"/>
                    <a:pt x="96" y="65"/>
                  </a:cubicBezTo>
                  <a:cubicBezTo>
                    <a:pt x="96" y="66"/>
                    <a:pt x="96" y="66"/>
                    <a:pt x="96" y="66"/>
                  </a:cubicBezTo>
                  <a:cubicBezTo>
                    <a:pt x="96" y="66"/>
                    <a:pt x="96" y="67"/>
                    <a:pt x="96" y="67"/>
                  </a:cubicBezTo>
                  <a:cubicBezTo>
                    <a:pt x="95" y="67"/>
                    <a:pt x="95" y="67"/>
                    <a:pt x="95" y="67"/>
                  </a:cubicBezTo>
                  <a:cubicBezTo>
                    <a:pt x="95" y="68"/>
                    <a:pt x="95" y="68"/>
                    <a:pt x="95" y="69"/>
                  </a:cubicBezTo>
                  <a:cubicBezTo>
                    <a:pt x="95" y="69"/>
                    <a:pt x="95" y="69"/>
                    <a:pt x="95" y="69"/>
                  </a:cubicBezTo>
                  <a:cubicBezTo>
                    <a:pt x="95" y="70"/>
                    <a:pt x="95" y="70"/>
                    <a:pt x="95" y="70"/>
                  </a:cubicBezTo>
                  <a:cubicBezTo>
                    <a:pt x="95" y="71"/>
                    <a:pt x="95" y="71"/>
                    <a:pt x="95" y="71"/>
                  </a:cubicBezTo>
                  <a:cubicBezTo>
                    <a:pt x="95" y="71"/>
                    <a:pt x="94" y="72"/>
                    <a:pt x="94" y="72"/>
                  </a:cubicBezTo>
                  <a:cubicBezTo>
                    <a:pt x="94" y="72"/>
                    <a:pt x="94" y="72"/>
                    <a:pt x="94" y="72"/>
                  </a:cubicBezTo>
                  <a:cubicBezTo>
                    <a:pt x="94" y="75"/>
                    <a:pt x="93" y="77"/>
                    <a:pt x="92" y="79"/>
                  </a:cubicBezTo>
                  <a:cubicBezTo>
                    <a:pt x="91" y="80"/>
                    <a:pt x="91" y="80"/>
                    <a:pt x="91" y="80"/>
                  </a:cubicBezTo>
                  <a:cubicBezTo>
                    <a:pt x="91" y="80"/>
                    <a:pt x="91" y="80"/>
                    <a:pt x="91" y="80"/>
                  </a:cubicBezTo>
                  <a:cubicBezTo>
                    <a:pt x="91" y="81"/>
                    <a:pt x="91" y="81"/>
                    <a:pt x="91" y="81"/>
                  </a:cubicBezTo>
                  <a:cubicBezTo>
                    <a:pt x="90" y="81"/>
                    <a:pt x="90" y="81"/>
                    <a:pt x="90" y="81"/>
                  </a:cubicBezTo>
                  <a:cubicBezTo>
                    <a:pt x="90" y="82"/>
                    <a:pt x="89" y="83"/>
                    <a:pt x="88" y="84"/>
                  </a:cubicBezTo>
                  <a:cubicBezTo>
                    <a:pt x="88" y="84"/>
                    <a:pt x="88" y="84"/>
                    <a:pt x="88" y="84"/>
                  </a:cubicBezTo>
                  <a:cubicBezTo>
                    <a:pt x="87" y="85"/>
                    <a:pt x="87" y="85"/>
                    <a:pt x="87" y="85"/>
                  </a:cubicBezTo>
                  <a:cubicBezTo>
                    <a:pt x="87" y="86"/>
                    <a:pt x="87" y="86"/>
                    <a:pt x="87" y="86"/>
                  </a:cubicBezTo>
                  <a:cubicBezTo>
                    <a:pt x="86" y="87"/>
                    <a:pt x="85" y="88"/>
                    <a:pt x="84" y="89"/>
                  </a:cubicBezTo>
                  <a:cubicBezTo>
                    <a:pt x="83" y="89"/>
                    <a:pt x="83" y="89"/>
                    <a:pt x="83" y="89"/>
                  </a:cubicBezTo>
                  <a:cubicBezTo>
                    <a:pt x="83" y="90"/>
                    <a:pt x="83" y="90"/>
                    <a:pt x="83" y="90"/>
                  </a:cubicBezTo>
                  <a:cubicBezTo>
                    <a:pt x="82" y="90"/>
                    <a:pt x="82" y="90"/>
                    <a:pt x="82" y="90"/>
                  </a:cubicBezTo>
                  <a:cubicBezTo>
                    <a:pt x="81" y="91"/>
                    <a:pt x="80" y="92"/>
                    <a:pt x="79" y="93"/>
                  </a:cubicBezTo>
                  <a:cubicBezTo>
                    <a:pt x="79" y="93"/>
                    <a:pt x="79" y="93"/>
                    <a:pt x="79" y="93"/>
                  </a:cubicBezTo>
                  <a:cubicBezTo>
                    <a:pt x="78" y="93"/>
                    <a:pt x="78" y="93"/>
                    <a:pt x="78" y="93"/>
                  </a:cubicBezTo>
                  <a:cubicBezTo>
                    <a:pt x="78" y="93"/>
                    <a:pt x="78" y="93"/>
                    <a:pt x="78" y="93"/>
                  </a:cubicBezTo>
                  <a:cubicBezTo>
                    <a:pt x="78" y="94"/>
                    <a:pt x="77" y="94"/>
                    <a:pt x="77" y="9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8" name="Freeform 1401">
              <a:extLst>
                <a:ext uri="{FF2B5EF4-FFF2-40B4-BE49-F238E27FC236}">
                  <a16:creationId xmlns:a16="http://schemas.microsoft.com/office/drawing/2014/main" id="{14A149F7-656B-4568-809C-A604C57665E3}"/>
                </a:ext>
              </a:extLst>
            </p:cNvPr>
            <p:cNvSpPr>
              <a:spLocks noEditPoints="1"/>
            </p:cNvSpPr>
            <p:nvPr/>
          </p:nvSpPr>
          <p:spPr bwMode="auto">
            <a:xfrm rot="20647229" flipH="1">
              <a:off x="5511552" y="4185949"/>
              <a:ext cx="112713" cy="117475"/>
            </a:xfrm>
            <a:custGeom>
              <a:avLst/>
              <a:gdLst>
                <a:gd name="T0" fmla="*/ 87 w 95"/>
                <a:gd name="T1" fmla="*/ 78 h 98"/>
                <a:gd name="T2" fmla="*/ 95 w 95"/>
                <a:gd name="T3" fmla="*/ 41 h 98"/>
                <a:gd name="T4" fmla="*/ 75 w 95"/>
                <a:gd name="T5" fmla="*/ 9 h 98"/>
                <a:gd name="T6" fmla="*/ 39 w 95"/>
                <a:gd name="T7" fmla="*/ 0 h 98"/>
                <a:gd name="T8" fmla="*/ 8 w 95"/>
                <a:gd name="T9" fmla="*/ 21 h 98"/>
                <a:gd name="T10" fmla="*/ 0 w 95"/>
                <a:gd name="T11" fmla="*/ 58 h 98"/>
                <a:gd name="T12" fmla="*/ 19 w 95"/>
                <a:gd name="T13" fmla="*/ 90 h 98"/>
                <a:gd name="T14" fmla="*/ 55 w 95"/>
                <a:gd name="T15" fmla="*/ 98 h 98"/>
                <a:gd name="T16" fmla="*/ 54 w 95"/>
                <a:gd name="T17" fmla="*/ 77 h 98"/>
                <a:gd name="T18" fmla="*/ 51 w 95"/>
                <a:gd name="T19" fmla="*/ 78 h 98"/>
                <a:gd name="T20" fmla="*/ 49 w 95"/>
                <a:gd name="T21" fmla="*/ 78 h 98"/>
                <a:gd name="T22" fmla="*/ 45 w 95"/>
                <a:gd name="T23" fmla="*/ 78 h 98"/>
                <a:gd name="T24" fmla="*/ 42 w 95"/>
                <a:gd name="T25" fmla="*/ 77 h 98"/>
                <a:gd name="T26" fmla="*/ 39 w 95"/>
                <a:gd name="T27" fmla="*/ 77 h 98"/>
                <a:gd name="T28" fmla="*/ 33 w 95"/>
                <a:gd name="T29" fmla="*/ 74 h 98"/>
                <a:gd name="T30" fmla="*/ 30 w 95"/>
                <a:gd name="T31" fmla="*/ 72 h 98"/>
                <a:gd name="T32" fmla="*/ 26 w 95"/>
                <a:gd name="T33" fmla="*/ 68 h 98"/>
                <a:gd name="T34" fmla="*/ 24 w 95"/>
                <a:gd name="T35" fmla="*/ 64 h 98"/>
                <a:gd name="T36" fmla="*/ 21 w 95"/>
                <a:gd name="T37" fmla="*/ 58 h 98"/>
                <a:gd name="T38" fmla="*/ 20 w 95"/>
                <a:gd name="T39" fmla="*/ 55 h 98"/>
                <a:gd name="T40" fmla="*/ 19 w 95"/>
                <a:gd name="T41" fmla="*/ 52 h 98"/>
                <a:gd name="T42" fmla="*/ 19 w 95"/>
                <a:gd name="T43" fmla="*/ 48 h 98"/>
                <a:gd name="T44" fmla="*/ 20 w 95"/>
                <a:gd name="T45" fmla="*/ 45 h 98"/>
                <a:gd name="T46" fmla="*/ 20 w 95"/>
                <a:gd name="T47" fmla="*/ 42 h 98"/>
                <a:gd name="T48" fmla="*/ 23 w 95"/>
                <a:gd name="T49" fmla="*/ 35 h 98"/>
                <a:gd name="T50" fmla="*/ 25 w 95"/>
                <a:gd name="T51" fmla="*/ 31 h 98"/>
                <a:gd name="T52" fmla="*/ 29 w 95"/>
                <a:gd name="T53" fmla="*/ 27 h 98"/>
                <a:gd name="T54" fmla="*/ 32 w 95"/>
                <a:gd name="T55" fmla="*/ 25 h 98"/>
                <a:gd name="T56" fmla="*/ 34 w 95"/>
                <a:gd name="T57" fmla="*/ 24 h 98"/>
                <a:gd name="T58" fmla="*/ 40 w 95"/>
                <a:gd name="T59" fmla="*/ 21 h 98"/>
                <a:gd name="T60" fmla="*/ 43 w 95"/>
                <a:gd name="T61" fmla="*/ 21 h 98"/>
                <a:gd name="T62" fmla="*/ 46 w 95"/>
                <a:gd name="T63" fmla="*/ 21 h 98"/>
                <a:gd name="T64" fmla="*/ 49 w 95"/>
                <a:gd name="T65" fmla="*/ 21 h 98"/>
                <a:gd name="T66" fmla="*/ 52 w 95"/>
                <a:gd name="T67" fmla="*/ 21 h 98"/>
                <a:gd name="T68" fmla="*/ 54 w 95"/>
                <a:gd name="T69" fmla="*/ 21 h 98"/>
                <a:gd name="T70" fmla="*/ 62 w 95"/>
                <a:gd name="T71" fmla="*/ 25 h 98"/>
                <a:gd name="T72" fmla="*/ 65 w 95"/>
                <a:gd name="T73" fmla="*/ 27 h 98"/>
                <a:gd name="T74" fmla="*/ 69 w 95"/>
                <a:gd name="T75" fmla="*/ 31 h 98"/>
                <a:gd name="T76" fmla="*/ 71 w 95"/>
                <a:gd name="T77" fmla="*/ 35 h 98"/>
                <a:gd name="T78" fmla="*/ 74 w 95"/>
                <a:gd name="T79" fmla="*/ 42 h 98"/>
                <a:gd name="T80" fmla="*/ 75 w 95"/>
                <a:gd name="T81" fmla="*/ 45 h 98"/>
                <a:gd name="T82" fmla="*/ 75 w 95"/>
                <a:gd name="T83" fmla="*/ 47 h 98"/>
                <a:gd name="T84" fmla="*/ 75 w 95"/>
                <a:gd name="T85" fmla="*/ 51 h 98"/>
                <a:gd name="T86" fmla="*/ 75 w 95"/>
                <a:gd name="T87" fmla="*/ 54 h 98"/>
                <a:gd name="T88" fmla="*/ 74 w 95"/>
                <a:gd name="T89" fmla="*/ 57 h 98"/>
                <a:gd name="T90" fmla="*/ 71 w 95"/>
                <a:gd name="T91" fmla="*/ 64 h 98"/>
                <a:gd name="T92" fmla="*/ 69 w 95"/>
                <a:gd name="T93" fmla="*/ 67 h 98"/>
                <a:gd name="T94" fmla="*/ 65 w 95"/>
                <a:gd name="T95" fmla="*/ 71 h 98"/>
                <a:gd name="T96" fmla="*/ 62 w 95"/>
                <a:gd name="T97" fmla="*/ 7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55" y="88"/>
                  </a:moveTo>
                  <a:cubicBezTo>
                    <a:pt x="60" y="87"/>
                    <a:pt x="64" y="85"/>
                    <a:pt x="68" y="83"/>
                  </a:cubicBezTo>
                  <a:cubicBezTo>
                    <a:pt x="75" y="90"/>
                    <a:pt x="75" y="90"/>
                    <a:pt x="75" y="90"/>
                  </a:cubicBezTo>
                  <a:cubicBezTo>
                    <a:pt x="87" y="78"/>
                    <a:pt x="87" y="78"/>
                    <a:pt x="87" y="78"/>
                  </a:cubicBezTo>
                  <a:cubicBezTo>
                    <a:pt x="80" y="71"/>
                    <a:pt x="80" y="71"/>
                    <a:pt x="80" y="71"/>
                  </a:cubicBezTo>
                  <a:cubicBezTo>
                    <a:pt x="82" y="67"/>
                    <a:pt x="84" y="62"/>
                    <a:pt x="85" y="58"/>
                  </a:cubicBezTo>
                  <a:cubicBezTo>
                    <a:pt x="95" y="58"/>
                    <a:pt x="95" y="58"/>
                    <a:pt x="95" y="58"/>
                  </a:cubicBezTo>
                  <a:cubicBezTo>
                    <a:pt x="95" y="41"/>
                    <a:pt x="95" y="41"/>
                    <a:pt x="95" y="41"/>
                  </a:cubicBezTo>
                  <a:cubicBezTo>
                    <a:pt x="85" y="41"/>
                    <a:pt x="85" y="41"/>
                    <a:pt x="85" y="41"/>
                  </a:cubicBezTo>
                  <a:cubicBezTo>
                    <a:pt x="84" y="36"/>
                    <a:pt x="82" y="32"/>
                    <a:pt x="80" y="28"/>
                  </a:cubicBezTo>
                  <a:cubicBezTo>
                    <a:pt x="87" y="21"/>
                    <a:pt x="87" y="21"/>
                    <a:pt x="87" y="21"/>
                  </a:cubicBezTo>
                  <a:cubicBezTo>
                    <a:pt x="75" y="9"/>
                    <a:pt x="75" y="9"/>
                    <a:pt x="75" y="9"/>
                  </a:cubicBezTo>
                  <a:cubicBezTo>
                    <a:pt x="68" y="16"/>
                    <a:pt x="68" y="16"/>
                    <a:pt x="68" y="16"/>
                  </a:cubicBezTo>
                  <a:cubicBezTo>
                    <a:pt x="64" y="13"/>
                    <a:pt x="60" y="11"/>
                    <a:pt x="55" y="10"/>
                  </a:cubicBezTo>
                  <a:cubicBezTo>
                    <a:pt x="55" y="0"/>
                    <a:pt x="55" y="0"/>
                    <a:pt x="55" y="0"/>
                  </a:cubicBezTo>
                  <a:cubicBezTo>
                    <a:pt x="39" y="0"/>
                    <a:pt x="39" y="0"/>
                    <a:pt x="39" y="0"/>
                  </a:cubicBezTo>
                  <a:cubicBezTo>
                    <a:pt x="39" y="10"/>
                    <a:pt x="39" y="10"/>
                    <a:pt x="39" y="10"/>
                  </a:cubicBezTo>
                  <a:cubicBezTo>
                    <a:pt x="34" y="11"/>
                    <a:pt x="30" y="13"/>
                    <a:pt x="26" y="16"/>
                  </a:cubicBezTo>
                  <a:cubicBezTo>
                    <a:pt x="19" y="9"/>
                    <a:pt x="19" y="9"/>
                    <a:pt x="19" y="9"/>
                  </a:cubicBezTo>
                  <a:cubicBezTo>
                    <a:pt x="8" y="21"/>
                    <a:pt x="8" y="21"/>
                    <a:pt x="8" y="21"/>
                  </a:cubicBezTo>
                  <a:cubicBezTo>
                    <a:pt x="15" y="28"/>
                    <a:pt x="15" y="28"/>
                    <a:pt x="15" y="28"/>
                  </a:cubicBezTo>
                  <a:cubicBezTo>
                    <a:pt x="12" y="32"/>
                    <a:pt x="10" y="36"/>
                    <a:pt x="9" y="41"/>
                  </a:cubicBezTo>
                  <a:cubicBezTo>
                    <a:pt x="0" y="41"/>
                    <a:pt x="0" y="41"/>
                    <a:pt x="0" y="41"/>
                  </a:cubicBezTo>
                  <a:cubicBezTo>
                    <a:pt x="0" y="58"/>
                    <a:pt x="0" y="58"/>
                    <a:pt x="0" y="58"/>
                  </a:cubicBezTo>
                  <a:cubicBezTo>
                    <a:pt x="9" y="58"/>
                    <a:pt x="9" y="58"/>
                    <a:pt x="9" y="58"/>
                  </a:cubicBezTo>
                  <a:cubicBezTo>
                    <a:pt x="10" y="62"/>
                    <a:pt x="12" y="67"/>
                    <a:pt x="15" y="71"/>
                  </a:cubicBezTo>
                  <a:cubicBezTo>
                    <a:pt x="8" y="78"/>
                    <a:pt x="8" y="78"/>
                    <a:pt x="8" y="78"/>
                  </a:cubicBezTo>
                  <a:cubicBezTo>
                    <a:pt x="19" y="90"/>
                    <a:pt x="19" y="90"/>
                    <a:pt x="19" y="90"/>
                  </a:cubicBezTo>
                  <a:cubicBezTo>
                    <a:pt x="26" y="83"/>
                    <a:pt x="26" y="83"/>
                    <a:pt x="26" y="83"/>
                  </a:cubicBezTo>
                  <a:cubicBezTo>
                    <a:pt x="30" y="85"/>
                    <a:pt x="34" y="87"/>
                    <a:pt x="39" y="88"/>
                  </a:cubicBezTo>
                  <a:cubicBezTo>
                    <a:pt x="39" y="98"/>
                    <a:pt x="39" y="98"/>
                    <a:pt x="39" y="98"/>
                  </a:cubicBezTo>
                  <a:cubicBezTo>
                    <a:pt x="55" y="98"/>
                    <a:pt x="55" y="98"/>
                    <a:pt x="55" y="98"/>
                  </a:cubicBezTo>
                  <a:lnTo>
                    <a:pt x="55" y="88"/>
                  </a:lnTo>
                  <a:close/>
                  <a:moveTo>
                    <a:pt x="60" y="75"/>
                  </a:moveTo>
                  <a:cubicBezTo>
                    <a:pt x="58" y="76"/>
                    <a:pt x="56" y="76"/>
                    <a:pt x="54" y="77"/>
                  </a:cubicBezTo>
                  <a:cubicBezTo>
                    <a:pt x="54" y="77"/>
                    <a:pt x="54" y="77"/>
                    <a:pt x="54" y="77"/>
                  </a:cubicBezTo>
                  <a:cubicBezTo>
                    <a:pt x="53" y="77"/>
                    <a:pt x="53" y="77"/>
                    <a:pt x="53" y="77"/>
                  </a:cubicBezTo>
                  <a:cubicBezTo>
                    <a:pt x="53" y="77"/>
                    <a:pt x="53" y="77"/>
                    <a:pt x="53" y="77"/>
                  </a:cubicBezTo>
                  <a:cubicBezTo>
                    <a:pt x="52" y="78"/>
                    <a:pt x="52" y="78"/>
                    <a:pt x="52" y="78"/>
                  </a:cubicBezTo>
                  <a:cubicBezTo>
                    <a:pt x="51" y="78"/>
                    <a:pt x="51" y="78"/>
                    <a:pt x="51" y="78"/>
                  </a:cubicBezTo>
                  <a:cubicBezTo>
                    <a:pt x="51" y="78"/>
                    <a:pt x="51" y="78"/>
                    <a:pt x="50" y="78"/>
                  </a:cubicBezTo>
                  <a:cubicBezTo>
                    <a:pt x="50" y="78"/>
                    <a:pt x="50" y="78"/>
                    <a:pt x="50" y="78"/>
                  </a:cubicBezTo>
                  <a:cubicBezTo>
                    <a:pt x="49" y="78"/>
                    <a:pt x="49" y="78"/>
                    <a:pt x="49" y="78"/>
                  </a:cubicBezTo>
                  <a:cubicBezTo>
                    <a:pt x="49" y="78"/>
                    <a:pt x="49" y="78"/>
                    <a:pt x="49" y="78"/>
                  </a:cubicBezTo>
                  <a:cubicBezTo>
                    <a:pt x="48" y="78"/>
                    <a:pt x="48" y="78"/>
                    <a:pt x="47" y="78"/>
                  </a:cubicBezTo>
                  <a:cubicBezTo>
                    <a:pt x="47" y="78"/>
                    <a:pt x="46" y="78"/>
                    <a:pt x="46" y="78"/>
                  </a:cubicBezTo>
                  <a:cubicBezTo>
                    <a:pt x="46" y="78"/>
                    <a:pt x="46" y="78"/>
                    <a:pt x="46" y="78"/>
                  </a:cubicBezTo>
                  <a:cubicBezTo>
                    <a:pt x="45" y="78"/>
                    <a:pt x="45" y="78"/>
                    <a:pt x="45" y="78"/>
                  </a:cubicBezTo>
                  <a:cubicBezTo>
                    <a:pt x="44" y="78"/>
                    <a:pt x="44" y="78"/>
                    <a:pt x="44" y="78"/>
                  </a:cubicBezTo>
                  <a:cubicBezTo>
                    <a:pt x="44" y="78"/>
                    <a:pt x="43" y="78"/>
                    <a:pt x="43" y="78"/>
                  </a:cubicBezTo>
                  <a:cubicBezTo>
                    <a:pt x="43" y="78"/>
                    <a:pt x="43" y="78"/>
                    <a:pt x="43" y="78"/>
                  </a:cubicBezTo>
                  <a:cubicBezTo>
                    <a:pt x="42" y="78"/>
                    <a:pt x="42" y="78"/>
                    <a:pt x="42" y="77"/>
                  </a:cubicBezTo>
                  <a:cubicBezTo>
                    <a:pt x="41" y="77"/>
                    <a:pt x="41" y="77"/>
                    <a:pt x="41" y="77"/>
                  </a:cubicBezTo>
                  <a:cubicBezTo>
                    <a:pt x="41" y="77"/>
                    <a:pt x="41" y="77"/>
                    <a:pt x="41" y="77"/>
                  </a:cubicBezTo>
                  <a:cubicBezTo>
                    <a:pt x="40" y="77"/>
                    <a:pt x="40" y="77"/>
                    <a:pt x="40" y="77"/>
                  </a:cubicBezTo>
                  <a:cubicBezTo>
                    <a:pt x="40" y="77"/>
                    <a:pt x="39" y="77"/>
                    <a:pt x="39" y="77"/>
                  </a:cubicBezTo>
                  <a:cubicBezTo>
                    <a:pt x="39" y="77"/>
                    <a:pt x="39" y="77"/>
                    <a:pt x="39" y="77"/>
                  </a:cubicBezTo>
                  <a:cubicBezTo>
                    <a:pt x="37" y="76"/>
                    <a:pt x="36" y="76"/>
                    <a:pt x="34" y="75"/>
                  </a:cubicBezTo>
                  <a:cubicBezTo>
                    <a:pt x="33" y="74"/>
                    <a:pt x="33" y="74"/>
                    <a:pt x="33" y="74"/>
                  </a:cubicBezTo>
                  <a:cubicBezTo>
                    <a:pt x="33" y="74"/>
                    <a:pt x="33" y="74"/>
                    <a:pt x="33" y="74"/>
                  </a:cubicBezTo>
                  <a:cubicBezTo>
                    <a:pt x="32" y="74"/>
                    <a:pt x="32" y="74"/>
                    <a:pt x="32" y="74"/>
                  </a:cubicBezTo>
                  <a:cubicBezTo>
                    <a:pt x="32" y="74"/>
                    <a:pt x="32" y="74"/>
                    <a:pt x="32" y="74"/>
                  </a:cubicBezTo>
                  <a:cubicBezTo>
                    <a:pt x="31" y="73"/>
                    <a:pt x="31" y="72"/>
                    <a:pt x="30" y="72"/>
                  </a:cubicBezTo>
                  <a:cubicBezTo>
                    <a:pt x="30" y="72"/>
                    <a:pt x="30" y="72"/>
                    <a:pt x="30" y="72"/>
                  </a:cubicBezTo>
                  <a:cubicBezTo>
                    <a:pt x="29" y="71"/>
                    <a:pt x="29" y="71"/>
                    <a:pt x="29" y="71"/>
                  </a:cubicBezTo>
                  <a:cubicBezTo>
                    <a:pt x="29" y="71"/>
                    <a:pt x="29" y="71"/>
                    <a:pt x="29" y="71"/>
                  </a:cubicBezTo>
                  <a:cubicBezTo>
                    <a:pt x="28" y="70"/>
                    <a:pt x="27" y="69"/>
                    <a:pt x="26" y="68"/>
                  </a:cubicBezTo>
                  <a:cubicBezTo>
                    <a:pt x="26" y="68"/>
                    <a:pt x="26" y="68"/>
                    <a:pt x="26" y="68"/>
                  </a:cubicBezTo>
                  <a:cubicBezTo>
                    <a:pt x="25" y="67"/>
                    <a:pt x="25" y="67"/>
                    <a:pt x="25" y="67"/>
                  </a:cubicBezTo>
                  <a:cubicBezTo>
                    <a:pt x="25" y="67"/>
                    <a:pt x="25" y="67"/>
                    <a:pt x="25" y="67"/>
                  </a:cubicBezTo>
                  <a:cubicBezTo>
                    <a:pt x="25" y="66"/>
                    <a:pt x="24" y="65"/>
                    <a:pt x="24" y="65"/>
                  </a:cubicBezTo>
                  <a:cubicBezTo>
                    <a:pt x="24" y="64"/>
                    <a:pt x="24" y="64"/>
                    <a:pt x="24" y="64"/>
                  </a:cubicBezTo>
                  <a:cubicBezTo>
                    <a:pt x="23" y="64"/>
                    <a:pt x="23" y="64"/>
                    <a:pt x="23" y="64"/>
                  </a:cubicBezTo>
                  <a:cubicBezTo>
                    <a:pt x="23" y="63"/>
                    <a:pt x="23" y="63"/>
                    <a:pt x="23" y="63"/>
                  </a:cubicBezTo>
                  <a:cubicBezTo>
                    <a:pt x="22" y="63"/>
                    <a:pt x="22" y="63"/>
                    <a:pt x="22" y="63"/>
                  </a:cubicBezTo>
                  <a:cubicBezTo>
                    <a:pt x="22" y="61"/>
                    <a:pt x="21" y="59"/>
                    <a:pt x="21" y="58"/>
                  </a:cubicBezTo>
                  <a:cubicBezTo>
                    <a:pt x="20" y="57"/>
                    <a:pt x="20" y="57"/>
                    <a:pt x="20" y="57"/>
                  </a:cubicBezTo>
                  <a:cubicBezTo>
                    <a:pt x="20" y="56"/>
                    <a:pt x="20" y="56"/>
                    <a:pt x="20" y="56"/>
                  </a:cubicBezTo>
                  <a:cubicBezTo>
                    <a:pt x="20" y="55"/>
                    <a:pt x="20" y="55"/>
                    <a:pt x="20" y="55"/>
                  </a:cubicBezTo>
                  <a:cubicBezTo>
                    <a:pt x="20" y="55"/>
                    <a:pt x="20" y="55"/>
                    <a:pt x="20" y="55"/>
                  </a:cubicBezTo>
                  <a:cubicBezTo>
                    <a:pt x="20" y="54"/>
                    <a:pt x="20" y="54"/>
                    <a:pt x="20" y="54"/>
                  </a:cubicBezTo>
                  <a:cubicBezTo>
                    <a:pt x="20" y="54"/>
                    <a:pt x="20" y="54"/>
                    <a:pt x="20" y="54"/>
                  </a:cubicBezTo>
                  <a:cubicBezTo>
                    <a:pt x="20" y="53"/>
                    <a:pt x="19" y="53"/>
                    <a:pt x="19" y="52"/>
                  </a:cubicBezTo>
                  <a:cubicBezTo>
                    <a:pt x="19" y="52"/>
                    <a:pt x="19" y="52"/>
                    <a:pt x="19" y="52"/>
                  </a:cubicBezTo>
                  <a:cubicBezTo>
                    <a:pt x="19" y="51"/>
                    <a:pt x="19" y="51"/>
                    <a:pt x="19" y="51"/>
                  </a:cubicBezTo>
                  <a:cubicBezTo>
                    <a:pt x="19" y="51"/>
                    <a:pt x="19" y="51"/>
                    <a:pt x="19" y="51"/>
                  </a:cubicBezTo>
                  <a:cubicBezTo>
                    <a:pt x="19" y="50"/>
                    <a:pt x="19" y="50"/>
                    <a:pt x="19" y="49"/>
                  </a:cubicBezTo>
                  <a:cubicBezTo>
                    <a:pt x="19" y="49"/>
                    <a:pt x="19" y="48"/>
                    <a:pt x="19" y="48"/>
                  </a:cubicBezTo>
                  <a:cubicBezTo>
                    <a:pt x="19" y="47"/>
                    <a:pt x="19" y="47"/>
                    <a:pt x="19" y="47"/>
                  </a:cubicBezTo>
                  <a:cubicBezTo>
                    <a:pt x="19" y="47"/>
                    <a:pt x="19" y="47"/>
                    <a:pt x="19" y="47"/>
                  </a:cubicBezTo>
                  <a:cubicBezTo>
                    <a:pt x="19" y="46"/>
                    <a:pt x="19" y="46"/>
                    <a:pt x="19" y="46"/>
                  </a:cubicBezTo>
                  <a:cubicBezTo>
                    <a:pt x="19" y="46"/>
                    <a:pt x="20" y="45"/>
                    <a:pt x="20" y="45"/>
                  </a:cubicBezTo>
                  <a:cubicBezTo>
                    <a:pt x="20" y="45"/>
                    <a:pt x="20" y="45"/>
                    <a:pt x="20" y="45"/>
                  </a:cubicBezTo>
                  <a:cubicBezTo>
                    <a:pt x="20" y="44"/>
                    <a:pt x="20" y="44"/>
                    <a:pt x="20" y="44"/>
                  </a:cubicBezTo>
                  <a:cubicBezTo>
                    <a:pt x="20" y="43"/>
                    <a:pt x="20" y="43"/>
                    <a:pt x="20" y="43"/>
                  </a:cubicBezTo>
                  <a:cubicBezTo>
                    <a:pt x="20" y="42"/>
                    <a:pt x="20" y="42"/>
                    <a:pt x="20" y="42"/>
                  </a:cubicBezTo>
                  <a:cubicBezTo>
                    <a:pt x="20" y="42"/>
                    <a:pt x="20" y="42"/>
                    <a:pt x="20" y="42"/>
                  </a:cubicBezTo>
                  <a:cubicBezTo>
                    <a:pt x="20" y="42"/>
                    <a:pt x="20" y="41"/>
                    <a:pt x="21" y="41"/>
                  </a:cubicBezTo>
                  <a:cubicBezTo>
                    <a:pt x="21" y="39"/>
                    <a:pt x="22" y="37"/>
                    <a:pt x="22" y="36"/>
                  </a:cubicBezTo>
                  <a:cubicBezTo>
                    <a:pt x="23" y="35"/>
                    <a:pt x="23" y="35"/>
                    <a:pt x="23" y="35"/>
                  </a:cubicBezTo>
                  <a:cubicBezTo>
                    <a:pt x="23" y="35"/>
                    <a:pt x="23" y="35"/>
                    <a:pt x="23" y="35"/>
                  </a:cubicBezTo>
                  <a:cubicBezTo>
                    <a:pt x="24" y="34"/>
                    <a:pt x="24" y="34"/>
                    <a:pt x="24" y="34"/>
                  </a:cubicBezTo>
                  <a:cubicBezTo>
                    <a:pt x="24" y="34"/>
                    <a:pt x="24" y="34"/>
                    <a:pt x="24" y="34"/>
                  </a:cubicBezTo>
                  <a:cubicBezTo>
                    <a:pt x="24" y="33"/>
                    <a:pt x="25" y="32"/>
                    <a:pt x="25" y="31"/>
                  </a:cubicBezTo>
                  <a:cubicBezTo>
                    <a:pt x="25" y="31"/>
                    <a:pt x="25" y="31"/>
                    <a:pt x="25" y="31"/>
                  </a:cubicBezTo>
                  <a:cubicBezTo>
                    <a:pt x="26" y="31"/>
                    <a:pt x="26" y="31"/>
                    <a:pt x="26" y="31"/>
                  </a:cubicBezTo>
                  <a:cubicBezTo>
                    <a:pt x="26" y="30"/>
                    <a:pt x="26" y="30"/>
                    <a:pt x="26" y="30"/>
                  </a:cubicBezTo>
                  <a:cubicBezTo>
                    <a:pt x="27" y="29"/>
                    <a:pt x="28" y="28"/>
                    <a:pt x="29" y="27"/>
                  </a:cubicBezTo>
                  <a:cubicBezTo>
                    <a:pt x="29" y="27"/>
                    <a:pt x="29" y="27"/>
                    <a:pt x="29" y="27"/>
                  </a:cubicBezTo>
                  <a:cubicBezTo>
                    <a:pt x="30" y="27"/>
                    <a:pt x="30" y="27"/>
                    <a:pt x="30" y="27"/>
                  </a:cubicBezTo>
                  <a:cubicBezTo>
                    <a:pt x="30" y="27"/>
                    <a:pt x="30" y="27"/>
                    <a:pt x="30" y="27"/>
                  </a:cubicBezTo>
                  <a:cubicBezTo>
                    <a:pt x="31" y="26"/>
                    <a:pt x="31" y="25"/>
                    <a:pt x="32" y="25"/>
                  </a:cubicBezTo>
                  <a:cubicBezTo>
                    <a:pt x="32" y="25"/>
                    <a:pt x="32" y="25"/>
                    <a:pt x="32" y="25"/>
                  </a:cubicBezTo>
                  <a:cubicBezTo>
                    <a:pt x="33" y="24"/>
                    <a:pt x="33" y="24"/>
                    <a:pt x="33" y="24"/>
                  </a:cubicBezTo>
                  <a:cubicBezTo>
                    <a:pt x="33" y="24"/>
                    <a:pt x="33" y="24"/>
                    <a:pt x="33" y="24"/>
                  </a:cubicBezTo>
                  <a:cubicBezTo>
                    <a:pt x="34" y="24"/>
                    <a:pt x="34" y="24"/>
                    <a:pt x="34" y="24"/>
                  </a:cubicBezTo>
                  <a:cubicBezTo>
                    <a:pt x="36" y="23"/>
                    <a:pt x="37" y="22"/>
                    <a:pt x="39" y="22"/>
                  </a:cubicBezTo>
                  <a:cubicBezTo>
                    <a:pt x="39" y="22"/>
                    <a:pt x="39" y="22"/>
                    <a:pt x="39" y="22"/>
                  </a:cubicBezTo>
                  <a:cubicBezTo>
                    <a:pt x="39" y="22"/>
                    <a:pt x="39" y="22"/>
                    <a:pt x="39" y="22"/>
                  </a:cubicBezTo>
                  <a:cubicBezTo>
                    <a:pt x="39" y="22"/>
                    <a:pt x="40" y="22"/>
                    <a:pt x="40" y="21"/>
                  </a:cubicBezTo>
                  <a:cubicBezTo>
                    <a:pt x="41" y="21"/>
                    <a:pt x="41" y="21"/>
                    <a:pt x="41" y="21"/>
                  </a:cubicBezTo>
                  <a:cubicBezTo>
                    <a:pt x="41" y="21"/>
                    <a:pt x="41" y="21"/>
                    <a:pt x="41" y="21"/>
                  </a:cubicBezTo>
                  <a:cubicBezTo>
                    <a:pt x="42" y="21"/>
                    <a:pt x="42" y="21"/>
                    <a:pt x="42" y="21"/>
                  </a:cubicBezTo>
                  <a:cubicBezTo>
                    <a:pt x="42" y="21"/>
                    <a:pt x="42" y="21"/>
                    <a:pt x="43" y="21"/>
                  </a:cubicBezTo>
                  <a:cubicBezTo>
                    <a:pt x="43" y="21"/>
                    <a:pt x="43" y="21"/>
                    <a:pt x="43" y="21"/>
                  </a:cubicBezTo>
                  <a:cubicBezTo>
                    <a:pt x="43" y="21"/>
                    <a:pt x="44" y="21"/>
                    <a:pt x="44" y="21"/>
                  </a:cubicBezTo>
                  <a:cubicBezTo>
                    <a:pt x="45" y="21"/>
                    <a:pt x="45" y="21"/>
                    <a:pt x="45" y="21"/>
                  </a:cubicBezTo>
                  <a:cubicBezTo>
                    <a:pt x="46" y="21"/>
                    <a:pt x="46" y="21"/>
                    <a:pt x="46" y="21"/>
                  </a:cubicBezTo>
                  <a:cubicBezTo>
                    <a:pt x="46" y="20"/>
                    <a:pt x="46" y="20"/>
                    <a:pt x="46" y="20"/>
                  </a:cubicBezTo>
                  <a:cubicBezTo>
                    <a:pt x="46" y="20"/>
                    <a:pt x="47" y="20"/>
                    <a:pt x="47" y="20"/>
                  </a:cubicBezTo>
                  <a:cubicBezTo>
                    <a:pt x="48" y="20"/>
                    <a:pt x="48" y="20"/>
                    <a:pt x="49" y="20"/>
                  </a:cubicBezTo>
                  <a:cubicBezTo>
                    <a:pt x="49" y="21"/>
                    <a:pt x="49" y="21"/>
                    <a:pt x="49" y="21"/>
                  </a:cubicBezTo>
                  <a:cubicBezTo>
                    <a:pt x="50" y="21"/>
                    <a:pt x="50" y="21"/>
                    <a:pt x="50" y="21"/>
                  </a:cubicBezTo>
                  <a:cubicBezTo>
                    <a:pt x="50" y="21"/>
                    <a:pt x="50" y="21"/>
                    <a:pt x="50" y="21"/>
                  </a:cubicBezTo>
                  <a:cubicBezTo>
                    <a:pt x="51" y="21"/>
                    <a:pt x="51" y="21"/>
                    <a:pt x="51" y="21"/>
                  </a:cubicBezTo>
                  <a:cubicBezTo>
                    <a:pt x="52" y="21"/>
                    <a:pt x="52" y="21"/>
                    <a:pt x="52" y="21"/>
                  </a:cubicBezTo>
                  <a:cubicBezTo>
                    <a:pt x="52" y="21"/>
                    <a:pt x="52" y="21"/>
                    <a:pt x="53" y="21"/>
                  </a:cubicBezTo>
                  <a:cubicBezTo>
                    <a:pt x="53" y="21"/>
                    <a:pt x="53" y="21"/>
                    <a:pt x="53" y="21"/>
                  </a:cubicBezTo>
                  <a:cubicBezTo>
                    <a:pt x="54" y="21"/>
                    <a:pt x="54" y="21"/>
                    <a:pt x="54" y="21"/>
                  </a:cubicBezTo>
                  <a:cubicBezTo>
                    <a:pt x="54" y="21"/>
                    <a:pt x="54" y="21"/>
                    <a:pt x="54" y="21"/>
                  </a:cubicBezTo>
                  <a:cubicBezTo>
                    <a:pt x="56" y="22"/>
                    <a:pt x="58" y="23"/>
                    <a:pt x="60" y="24"/>
                  </a:cubicBezTo>
                  <a:cubicBezTo>
                    <a:pt x="61" y="24"/>
                    <a:pt x="61" y="24"/>
                    <a:pt x="61" y="24"/>
                  </a:cubicBezTo>
                  <a:cubicBezTo>
                    <a:pt x="61" y="24"/>
                    <a:pt x="61" y="24"/>
                    <a:pt x="61" y="24"/>
                  </a:cubicBezTo>
                  <a:cubicBezTo>
                    <a:pt x="62" y="25"/>
                    <a:pt x="62" y="25"/>
                    <a:pt x="62" y="25"/>
                  </a:cubicBezTo>
                  <a:cubicBezTo>
                    <a:pt x="62" y="25"/>
                    <a:pt x="62" y="25"/>
                    <a:pt x="62" y="25"/>
                  </a:cubicBezTo>
                  <a:cubicBezTo>
                    <a:pt x="63" y="25"/>
                    <a:pt x="64" y="26"/>
                    <a:pt x="65" y="27"/>
                  </a:cubicBezTo>
                  <a:cubicBezTo>
                    <a:pt x="65" y="27"/>
                    <a:pt x="65" y="27"/>
                    <a:pt x="65" y="27"/>
                  </a:cubicBezTo>
                  <a:cubicBezTo>
                    <a:pt x="65" y="27"/>
                    <a:pt x="65" y="27"/>
                    <a:pt x="65" y="27"/>
                  </a:cubicBezTo>
                  <a:cubicBezTo>
                    <a:pt x="66" y="27"/>
                    <a:pt x="66" y="27"/>
                    <a:pt x="66" y="27"/>
                  </a:cubicBezTo>
                  <a:cubicBezTo>
                    <a:pt x="67" y="28"/>
                    <a:pt x="67" y="29"/>
                    <a:pt x="68" y="30"/>
                  </a:cubicBezTo>
                  <a:cubicBezTo>
                    <a:pt x="68" y="31"/>
                    <a:pt x="68" y="31"/>
                    <a:pt x="68" y="31"/>
                  </a:cubicBezTo>
                  <a:cubicBezTo>
                    <a:pt x="69" y="31"/>
                    <a:pt x="69" y="31"/>
                    <a:pt x="69" y="31"/>
                  </a:cubicBezTo>
                  <a:cubicBezTo>
                    <a:pt x="69" y="31"/>
                    <a:pt x="69" y="31"/>
                    <a:pt x="69" y="31"/>
                  </a:cubicBezTo>
                  <a:cubicBezTo>
                    <a:pt x="70" y="32"/>
                    <a:pt x="70" y="33"/>
                    <a:pt x="71" y="34"/>
                  </a:cubicBezTo>
                  <a:cubicBezTo>
                    <a:pt x="71" y="34"/>
                    <a:pt x="71" y="34"/>
                    <a:pt x="71" y="34"/>
                  </a:cubicBezTo>
                  <a:cubicBezTo>
                    <a:pt x="71" y="35"/>
                    <a:pt x="71" y="35"/>
                    <a:pt x="71" y="35"/>
                  </a:cubicBezTo>
                  <a:cubicBezTo>
                    <a:pt x="71" y="35"/>
                    <a:pt x="71" y="35"/>
                    <a:pt x="71" y="35"/>
                  </a:cubicBezTo>
                  <a:cubicBezTo>
                    <a:pt x="72" y="36"/>
                    <a:pt x="72" y="36"/>
                    <a:pt x="72" y="36"/>
                  </a:cubicBezTo>
                  <a:cubicBezTo>
                    <a:pt x="73" y="37"/>
                    <a:pt x="73" y="39"/>
                    <a:pt x="74" y="41"/>
                  </a:cubicBezTo>
                  <a:cubicBezTo>
                    <a:pt x="74" y="41"/>
                    <a:pt x="74" y="42"/>
                    <a:pt x="74" y="42"/>
                  </a:cubicBezTo>
                  <a:cubicBezTo>
                    <a:pt x="74" y="42"/>
                    <a:pt x="74" y="42"/>
                    <a:pt x="74" y="42"/>
                  </a:cubicBezTo>
                  <a:cubicBezTo>
                    <a:pt x="75" y="43"/>
                    <a:pt x="75" y="43"/>
                    <a:pt x="75" y="43"/>
                  </a:cubicBezTo>
                  <a:cubicBezTo>
                    <a:pt x="75" y="44"/>
                    <a:pt x="75" y="44"/>
                    <a:pt x="75" y="44"/>
                  </a:cubicBezTo>
                  <a:cubicBezTo>
                    <a:pt x="75" y="44"/>
                    <a:pt x="75" y="44"/>
                    <a:pt x="75" y="45"/>
                  </a:cubicBezTo>
                  <a:cubicBezTo>
                    <a:pt x="75" y="45"/>
                    <a:pt x="75" y="45"/>
                    <a:pt x="75" y="45"/>
                  </a:cubicBezTo>
                  <a:cubicBezTo>
                    <a:pt x="75" y="45"/>
                    <a:pt x="75" y="46"/>
                    <a:pt x="75" y="46"/>
                  </a:cubicBezTo>
                  <a:cubicBezTo>
                    <a:pt x="75" y="47"/>
                    <a:pt x="75" y="47"/>
                    <a:pt x="75" y="47"/>
                  </a:cubicBezTo>
                  <a:cubicBezTo>
                    <a:pt x="75" y="47"/>
                    <a:pt x="75" y="47"/>
                    <a:pt x="75" y="47"/>
                  </a:cubicBezTo>
                  <a:cubicBezTo>
                    <a:pt x="75" y="48"/>
                    <a:pt x="75" y="48"/>
                    <a:pt x="75" y="48"/>
                  </a:cubicBezTo>
                  <a:cubicBezTo>
                    <a:pt x="75" y="48"/>
                    <a:pt x="75" y="49"/>
                    <a:pt x="75" y="49"/>
                  </a:cubicBezTo>
                  <a:cubicBezTo>
                    <a:pt x="75" y="50"/>
                    <a:pt x="75" y="50"/>
                    <a:pt x="75" y="51"/>
                  </a:cubicBezTo>
                  <a:cubicBezTo>
                    <a:pt x="75" y="51"/>
                    <a:pt x="75" y="51"/>
                    <a:pt x="75" y="51"/>
                  </a:cubicBezTo>
                  <a:cubicBezTo>
                    <a:pt x="75" y="52"/>
                    <a:pt x="75" y="52"/>
                    <a:pt x="75" y="52"/>
                  </a:cubicBezTo>
                  <a:cubicBezTo>
                    <a:pt x="75" y="52"/>
                    <a:pt x="75" y="52"/>
                    <a:pt x="75" y="52"/>
                  </a:cubicBezTo>
                  <a:cubicBezTo>
                    <a:pt x="75" y="53"/>
                    <a:pt x="75" y="53"/>
                    <a:pt x="75" y="54"/>
                  </a:cubicBezTo>
                  <a:cubicBezTo>
                    <a:pt x="75" y="54"/>
                    <a:pt x="75" y="54"/>
                    <a:pt x="75" y="54"/>
                  </a:cubicBezTo>
                  <a:cubicBezTo>
                    <a:pt x="75" y="54"/>
                    <a:pt x="75" y="54"/>
                    <a:pt x="75" y="55"/>
                  </a:cubicBezTo>
                  <a:cubicBezTo>
                    <a:pt x="75" y="55"/>
                    <a:pt x="75" y="55"/>
                    <a:pt x="75" y="55"/>
                  </a:cubicBezTo>
                  <a:cubicBezTo>
                    <a:pt x="74" y="56"/>
                    <a:pt x="74" y="56"/>
                    <a:pt x="74" y="56"/>
                  </a:cubicBezTo>
                  <a:cubicBezTo>
                    <a:pt x="74" y="57"/>
                    <a:pt x="74" y="57"/>
                    <a:pt x="74" y="57"/>
                  </a:cubicBezTo>
                  <a:cubicBezTo>
                    <a:pt x="74" y="57"/>
                    <a:pt x="74" y="57"/>
                    <a:pt x="74" y="58"/>
                  </a:cubicBezTo>
                  <a:cubicBezTo>
                    <a:pt x="73" y="59"/>
                    <a:pt x="73" y="61"/>
                    <a:pt x="72" y="63"/>
                  </a:cubicBezTo>
                  <a:cubicBezTo>
                    <a:pt x="71" y="63"/>
                    <a:pt x="71" y="63"/>
                    <a:pt x="71" y="63"/>
                  </a:cubicBezTo>
                  <a:cubicBezTo>
                    <a:pt x="71" y="64"/>
                    <a:pt x="71" y="64"/>
                    <a:pt x="71" y="64"/>
                  </a:cubicBezTo>
                  <a:cubicBezTo>
                    <a:pt x="71" y="64"/>
                    <a:pt x="71" y="64"/>
                    <a:pt x="71" y="64"/>
                  </a:cubicBezTo>
                  <a:cubicBezTo>
                    <a:pt x="71" y="65"/>
                    <a:pt x="71" y="65"/>
                    <a:pt x="71" y="65"/>
                  </a:cubicBezTo>
                  <a:cubicBezTo>
                    <a:pt x="70" y="65"/>
                    <a:pt x="70" y="66"/>
                    <a:pt x="69" y="67"/>
                  </a:cubicBezTo>
                  <a:cubicBezTo>
                    <a:pt x="69" y="67"/>
                    <a:pt x="69" y="67"/>
                    <a:pt x="69" y="67"/>
                  </a:cubicBezTo>
                  <a:cubicBezTo>
                    <a:pt x="68" y="68"/>
                    <a:pt x="68" y="68"/>
                    <a:pt x="68" y="68"/>
                  </a:cubicBezTo>
                  <a:cubicBezTo>
                    <a:pt x="68" y="68"/>
                    <a:pt x="68" y="68"/>
                    <a:pt x="68" y="68"/>
                  </a:cubicBezTo>
                  <a:cubicBezTo>
                    <a:pt x="67" y="69"/>
                    <a:pt x="67" y="70"/>
                    <a:pt x="66" y="71"/>
                  </a:cubicBezTo>
                  <a:cubicBezTo>
                    <a:pt x="65" y="71"/>
                    <a:pt x="65" y="71"/>
                    <a:pt x="65" y="71"/>
                  </a:cubicBezTo>
                  <a:cubicBezTo>
                    <a:pt x="65" y="72"/>
                    <a:pt x="65" y="72"/>
                    <a:pt x="65" y="72"/>
                  </a:cubicBezTo>
                  <a:cubicBezTo>
                    <a:pt x="65" y="72"/>
                    <a:pt x="65" y="72"/>
                    <a:pt x="65" y="72"/>
                  </a:cubicBezTo>
                  <a:cubicBezTo>
                    <a:pt x="64" y="72"/>
                    <a:pt x="63" y="73"/>
                    <a:pt x="62" y="74"/>
                  </a:cubicBezTo>
                  <a:cubicBezTo>
                    <a:pt x="62" y="74"/>
                    <a:pt x="62" y="74"/>
                    <a:pt x="62" y="74"/>
                  </a:cubicBezTo>
                  <a:cubicBezTo>
                    <a:pt x="61" y="74"/>
                    <a:pt x="61" y="74"/>
                    <a:pt x="61" y="74"/>
                  </a:cubicBezTo>
                  <a:cubicBezTo>
                    <a:pt x="61" y="74"/>
                    <a:pt x="61" y="74"/>
                    <a:pt x="61" y="74"/>
                  </a:cubicBezTo>
                  <a:lnTo>
                    <a:pt x="60" y="75"/>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2" name="Freeform 1405">
              <a:extLst>
                <a:ext uri="{FF2B5EF4-FFF2-40B4-BE49-F238E27FC236}">
                  <a16:creationId xmlns:a16="http://schemas.microsoft.com/office/drawing/2014/main" id="{78A0E7CD-D981-45B4-9732-172BFCA12E5E}"/>
                </a:ext>
              </a:extLst>
            </p:cNvPr>
            <p:cNvSpPr>
              <a:spLocks noEditPoints="1"/>
            </p:cNvSpPr>
            <p:nvPr/>
          </p:nvSpPr>
          <p:spPr bwMode="auto">
            <a:xfrm rot="20647229" flipH="1">
              <a:off x="5650319" y="3951006"/>
              <a:ext cx="144463" cy="142875"/>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7 h 121"/>
                <a:gd name="T12" fmla="*/ 114 w 121"/>
                <a:gd name="T13" fmla="*/ 60 h 121"/>
                <a:gd name="T14" fmla="*/ 68 w 121"/>
                <a:gd name="T15" fmla="*/ 113 h 121"/>
                <a:gd name="T16" fmla="*/ 68 w 121"/>
                <a:gd name="T17" fmla="*/ 62 h 121"/>
                <a:gd name="T18" fmla="*/ 68 w 121"/>
                <a:gd name="T19" fmla="*/ 44 h 121"/>
                <a:gd name="T20" fmla="*/ 76 w 121"/>
                <a:gd name="T21" fmla="*/ 52 h 121"/>
                <a:gd name="T22" fmla="*/ 76 w 121"/>
                <a:gd name="T23" fmla="*/ 52 h 121"/>
                <a:gd name="T24" fmla="*/ 78 w 121"/>
                <a:gd name="T25" fmla="*/ 54 h 121"/>
                <a:gd name="T26" fmla="*/ 84 w 121"/>
                <a:gd name="T27" fmla="*/ 56 h 121"/>
                <a:gd name="T28" fmla="*/ 89 w 121"/>
                <a:gd name="T29" fmla="*/ 54 h 121"/>
                <a:gd name="T30" fmla="*/ 89 w 121"/>
                <a:gd name="T31" fmla="*/ 43 h 121"/>
                <a:gd name="T32" fmla="*/ 79 w 121"/>
                <a:gd name="T33" fmla="*/ 32 h 121"/>
                <a:gd name="T34" fmla="*/ 60 w 121"/>
                <a:gd name="T35" fmla="*/ 12 h 121"/>
                <a:gd name="T36" fmla="*/ 31 w 121"/>
                <a:gd name="T37" fmla="*/ 43 h 121"/>
                <a:gd name="T38" fmla="*/ 31 w 121"/>
                <a:gd name="T39" fmla="*/ 54 h 121"/>
                <a:gd name="T40" fmla="*/ 42 w 121"/>
                <a:gd name="T41" fmla="*/ 54 h 121"/>
                <a:gd name="T42" fmla="*/ 52 w 121"/>
                <a:gd name="T43" fmla="*/ 44 h 121"/>
                <a:gd name="T44" fmla="*/ 52 w 121"/>
                <a:gd name="T45" fmla="*/ 72 h 121"/>
                <a:gd name="T46" fmla="*/ 52 w 121"/>
                <a:gd name="T47" fmla="*/ 113 h 121"/>
                <a:gd name="T48" fmla="*/ 7 w 121"/>
                <a:gd name="T49" fmla="*/ 60 h 121"/>
                <a:gd name="T50" fmla="*/ 60 w 121"/>
                <a:gd name="T51" fmla="*/ 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1">
                  <a:moveTo>
                    <a:pt x="60" y="0"/>
                  </a:moveTo>
                  <a:cubicBezTo>
                    <a:pt x="27" y="0"/>
                    <a:pt x="0" y="27"/>
                    <a:pt x="0" y="60"/>
                  </a:cubicBezTo>
                  <a:cubicBezTo>
                    <a:pt x="0" y="94"/>
                    <a:pt x="27" y="121"/>
                    <a:pt x="60" y="121"/>
                  </a:cubicBezTo>
                  <a:cubicBezTo>
                    <a:pt x="94" y="121"/>
                    <a:pt x="121" y="94"/>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79" y="55"/>
                    <a:pt x="82" y="56"/>
                    <a:pt x="84" y="56"/>
                  </a:cubicBezTo>
                  <a:cubicBezTo>
                    <a:pt x="86" y="56"/>
                    <a:pt x="88" y="56"/>
                    <a:pt x="89" y="54"/>
                  </a:cubicBezTo>
                  <a:cubicBezTo>
                    <a:pt x="92" y="51"/>
                    <a:pt x="92" y="46"/>
                    <a:pt x="89" y="43"/>
                  </a:cubicBezTo>
                  <a:cubicBezTo>
                    <a:pt x="79" y="32"/>
                    <a:pt x="79" y="32"/>
                    <a:pt x="79" y="32"/>
                  </a:cubicBezTo>
                  <a:cubicBezTo>
                    <a:pt x="60" y="12"/>
                    <a:pt x="60" y="12"/>
                    <a:pt x="60" y="12"/>
                  </a:cubicBezTo>
                  <a:cubicBezTo>
                    <a:pt x="31" y="43"/>
                    <a:pt x="31" y="43"/>
                    <a:pt x="31" y="43"/>
                  </a:cubicBezTo>
                  <a:cubicBezTo>
                    <a:pt x="28" y="46"/>
                    <a:pt x="28" y="51"/>
                    <a:pt x="31" y="54"/>
                  </a:cubicBezTo>
                  <a:cubicBezTo>
                    <a:pt x="34" y="57"/>
                    <a:pt x="39" y="57"/>
                    <a:pt x="42" y="54"/>
                  </a:cubicBezTo>
                  <a:cubicBezTo>
                    <a:pt x="52" y="44"/>
                    <a:pt x="52" y="44"/>
                    <a:pt x="52" y="44"/>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3" name="Freeform 1406">
              <a:extLst>
                <a:ext uri="{FF2B5EF4-FFF2-40B4-BE49-F238E27FC236}">
                  <a16:creationId xmlns:a16="http://schemas.microsoft.com/office/drawing/2014/main" id="{236D0204-436B-469F-940E-5BB5E6A4052F}"/>
                </a:ext>
              </a:extLst>
            </p:cNvPr>
            <p:cNvSpPr>
              <a:spLocks noEditPoints="1"/>
            </p:cNvSpPr>
            <p:nvPr/>
          </p:nvSpPr>
          <p:spPr bwMode="auto">
            <a:xfrm rot="20647229" flipH="1">
              <a:off x="5952340" y="4790723"/>
              <a:ext cx="106363" cy="104775"/>
            </a:xfrm>
            <a:custGeom>
              <a:avLst/>
              <a:gdLst>
                <a:gd name="T0" fmla="*/ 0 w 89"/>
                <a:gd name="T1" fmla="*/ 45 h 89"/>
                <a:gd name="T2" fmla="*/ 45 w 89"/>
                <a:gd name="T3" fmla="*/ 89 h 89"/>
                <a:gd name="T4" fmla="*/ 89 w 89"/>
                <a:gd name="T5" fmla="*/ 45 h 89"/>
                <a:gd name="T6" fmla="*/ 45 w 89"/>
                <a:gd name="T7" fmla="*/ 0 h 89"/>
                <a:gd name="T8" fmla="*/ 0 w 89"/>
                <a:gd name="T9" fmla="*/ 45 h 89"/>
                <a:gd name="T10" fmla="*/ 84 w 89"/>
                <a:gd name="T11" fmla="*/ 45 h 89"/>
                <a:gd name="T12" fmla="*/ 51 w 89"/>
                <a:gd name="T13" fmla="*/ 84 h 89"/>
                <a:gd name="T14" fmla="*/ 51 w 89"/>
                <a:gd name="T15" fmla="*/ 53 h 89"/>
                <a:gd name="T16" fmla="*/ 51 w 89"/>
                <a:gd name="T17" fmla="*/ 32 h 89"/>
                <a:gd name="T18" fmla="*/ 58 w 89"/>
                <a:gd name="T19" fmla="*/ 40 h 89"/>
                <a:gd name="T20" fmla="*/ 67 w 89"/>
                <a:gd name="T21" fmla="*/ 40 h 89"/>
                <a:gd name="T22" fmla="*/ 67 w 89"/>
                <a:gd name="T23" fmla="*/ 32 h 89"/>
                <a:gd name="T24" fmla="*/ 45 w 89"/>
                <a:gd name="T25" fmla="*/ 9 h 89"/>
                <a:gd name="T26" fmla="*/ 31 w 89"/>
                <a:gd name="T27" fmla="*/ 24 h 89"/>
                <a:gd name="T28" fmla="*/ 23 w 89"/>
                <a:gd name="T29" fmla="*/ 32 h 89"/>
                <a:gd name="T30" fmla="*/ 24 w 89"/>
                <a:gd name="T31" fmla="*/ 40 h 89"/>
                <a:gd name="T32" fmla="*/ 28 w 89"/>
                <a:gd name="T33" fmla="*/ 42 h 89"/>
                <a:gd name="T34" fmla="*/ 32 w 89"/>
                <a:gd name="T35" fmla="*/ 40 h 89"/>
                <a:gd name="T36" fmla="*/ 34 w 89"/>
                <a:gd name="T37" fmla="*/ 38 h 89"/>
                <a:gd name="T38" fmla="*/ 39 w 89"/>
                <a:gd name="T39" fmla="*/ 32 h 89"/>
                <a:gd name="T40" fmla="*/ 39 w 89"/>
                <a:gd name="T41" fmla="*/ 46 h 89"/>
                <a:gd name="T42" fmla="*/ 39 w 89"/>
                <a:gd name="T43" fmla="*/ 84 h 89"/>
                <a:gd name="T44" fmla="*/ 5 w 89"/>
                <a:gd name="T45" fmla="*/ 45 h 89"/>
                <a:gd name="T46" fmla="*/ 45 w 89"/>
                <a:gd name="T47" fmla="*/ 5 h 89"/>
                <a:gd name="T48" fmla="*/ 84 w 89"/>
                <a:gd name="T4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89">
                  <a:moveTo>
                    <a:pt x="0" y="45"/>
                  </a:moveTo>
                  <a:cubicBezTo>
                    <a:pt x="0" y="69"/>
                    <a:pt x="20" y="89"/>
                    <a:pt x="45" y="89"/>
                  </a:cubicBezTo>
                  <a:cubicBezTo>
                    <a:pt x="69" y="89"/>
                    <a:pt x="89" y="69"/>
                    <a:pt x="89" y="45"/>
                  </a:cubicBezTo>
                  <a:cubicBezTo>
                    <a:pt x="89" y="20"/>
                    <a:pt x="69" y="0"/>
                    <a:pt x="45" y="0"/>
                  </a:cubicBezTo>
                  <a:cubicBezTo>
                    <a:pt x="20" y="0"/>
                    <a:pt x="0" y="20"/>
                    <a:pt x="0" y="45"/>
                  </a:cubicBezTo>
                  <a:close/>
                  <a:moveTo>
                    <a:pt x="84" y="45"/>
                  </a:moveTo>
                  <a:cubicBezTo>
                    <a:pt x="84" y="64"/>
                    <a:pt x="70" y="81"/>
                    <a:pt x="51" y="84"/>
                  </a:cubicBezTo>
                  <a:cubicBezTo>
                    <a:pt x="51" y="53"/>
                    <a:pt x="51" y="53"/>
                    <a:pt x="51" y="53"/>
                  </a:cubicBezTo>
                  <a:cubicBezTo>
                    <a:pt x="51" y="32"/>
                    <a:pt x="51" y="32"/>
                    <a:pt x="51" y="32"/>
                  </a:cubicBezTo>
                  <a:cubicBezTo>
                    <a:pt x="58" y="40"/>
                    <a:pt x="58" y="40"/>
                    <a:pt x="58" y="40"/>
                  </a:cubicBezTo>
                  <a:cubicBezTo>
                    <a:pt x="61" y="42"/>
                    <a:pt x="64" y="42"/>
                    <a:pt x="67" y="40"/>
                  </a:cubicBezTo>
                  <a:cubicBezTo>
                    <a:pt x="69" y="38"/>
                    <a:pt x="69" y="34"/>
                    <a:pt x="67" y="32"/>
                  </a:cubicBezTo>
                  <a:cubicBezTo>
                    <a:pt x="45" y="9"/>
                    <a:pt x="45" y="9"/>
                    <a:pt x="45" y="9"/>
                  </a:cubicBezTo>
                  <a:cubicBezTo>
                    <a:pt x="31" y="24"/>
                    <a:pt x="31" y="24"/>
                    <a:pt x="31" y="24"/>
                  </a:cubicBezTo>
                  <a:cubicBezTo>
                    <a:pt x="23" y="32"/>
                    <a:pt x="23" y="32"/>
                    <a:pt x="23" y="32"/>
                  </a:cubicBezTo>
                  <a:cubicBezTo>
                    <a:pt x="21" y="34"/>
                    <a:pt x="21" y="38"/>
                    <a:pt x="24" y="40"/>
                  </a:cubicBezTo>
                  <a:cubicBezTo>
                    <a:pt x="25" y="41"/>
                    <a:pt x="26" y="42"/>
                    <a:pt x="28" y="42"/>
                  </a:cubicBezTo>
                  <a:cubicBezTo>
                    <a:pt x="29" y="42"/>
                    <a:pt x="31" y="41"/>
                    <a:pt x="32" y="40"/>
                  </a:cubicBezTo>
                  <a:cubicBezTo>
                    <a:pt x="34" y="38"/>
                    <a:pt x="34" y="38"/>
                    <a:pt x="34" y="38"/>
                  </a:cubicBezTo>
                  <a:cubicBezTo>
                    <a:pt x="39" y="32"/>
                    <a:pt x="39" y="32"/>
                    <a:pt x="39" y="32"/>
                  </a:cubicBezTo>
                  <a:cubicBezTo>
                    <a:pt x="39" y="46"/>
                    <a:pt x="39" y="46"/>
                    <a:pt x="39" y="46"/>
                  </a:cubicBezTo>
                  <a:cubicBezTo>
                    <a:pt x="39" y="84"/>
                    <a:pt x="39" y="84"/>
                    <a:pt x="39" y="84"/>
                  </a:cubicBezTo>
                  <a:cubicBezTo>
                    <a:pt x="20" y="81"/>
                    <a:pt x="5" y="65"/>
                    <a:pt x="5" y="45"/>
                  </a:cubicBezTo>
                  <a:cubicBezTo>
                    <a:pt x="5" y="23"/>
                    <a:pt x="23" y="5"/>
                    <a:pt x="45" y="5"/>
                  </a:cubicBezTo>
                  <a:cubicBezTo>
                    <a:pt x="67" y="5"/>
                    <a:pt x="84" y="23"/>
                    <a:pt x="84" y="4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4" name="Freeform 1407">
              <a:extLst>
                <a:ext uri="{FF2B5EF4-FFF2-40B4-BE49-F238E27FC236}">
                  <a16:creationId xmlns:a16="http://schemas.microsoft.com/office/drawing/2014/main" id="{3A0E789D-23FA-472D-B16E-669422B522CB}"/>
                </a:ext>
              </a:extLst>
            </p:cNvPr>
            <p:cNvSpPr>
              <a:spLocks noEditPoints="1"/>
            </p:cNvSpPr>
            <p:nvPr/>
          </p:nvSpPr>
          <p:spPr bwMode="auto">
            <a:xfrm rot="20647229" flipH="1">
              <a:off x="6056868" y="4699177"/>
              <a:ext cx="85725" cy="85725"/>
            </a:xfrm>
            <a:custGeom>
              <a:avLst/>
              <a:gdLst>
                <a:gd name="T0" fmla="*/ 0 w 72"/>
                <a:gd name="T1" fmla="*/ 36 h 72"/>
                <a:gd name="T2" fmla="*/ 36 w 72"/>
                <a:gd name="T3" fmla="*/ 72 h 72"/>
                <a:gd name="T4" fmla="*/ 72 w 72"/>
                <a:gd name="T5" fmla="*/ 36 h 72"/>
                <a:gd name="T6" fmla="*/ 36 w 72"/>
                <a:gd name="T7" fmla="*/ 0 h 72"/>
                <a:gd name="T8" fmla="*/ 0 w 72"/>
                <a:gd name="T9" fmla="*/ 36 h 72"/>
                <a:gd name="T10" fmla="*/ 68 w 72"/>
                <a:gd name="T11" fmla="*/ 36 h 72"/>
                <a:gd name="T12" fmla="*/ 41 w 72"/>
                <a:gd name="T13" fmla="*/ 68 h 72"/>
                <a:gd name="T14" fmla="*/ 41 w 72"/>
                <a:gd name="T15" fmla="*/ 43 h 72"/>
                <a:gd name="T16" fmla="*/ 41 w 72"/>
                <a:gd name="T17" fmla="*/ 26 h 72"/>
                <a:gd name="T18" fmla="*/ 47 w 72"/>
                <a:gd name="T19" fmla="*/ 32 h 72"/>
                <a:gd name="T20" fmla="*/ 53 w 72"/>
                <a:gd name="T21" fmla="*/ 33 h 72"/>
                <a:gd name="T22" fmla="*/ 54 w 72"/>
                <a:gd name="T23" fmla="*/ 26 h 72"/>
                <a:gd name="T24" fmla="*/ 36 w 72"/>
                <a:gd name="T25" fmla="*/ 8 h 72"/>
                <a:gd name="T26" fmla="*/ 24 w 72"/>
                <a:gd name="T27" fmla="*/ 20 h 72"/>
                <a:gd name="T28" fmla="*/ 18 w 72"/>
                <a:gd name="T29" fmla="*/ 26 h 72"/>
                <a:gd name="T30" fmla="*/ 19 w 72"/>
                <a:gd name="T31" fmla="*/ 33 h 72"/>
                <a:gd name="T32" fmla="*/ 22 w 72"/>
                <a:gd name="T33" fmla="*/ 34 h 72"/>
                <a:gd name="T34" fmla="*/ 25 w 72"/>
                <a:gd name="T35" fmla="*/ 32 h 72"/>
                <a:gd name="T36" fmla="*/ 27 w 72"/>
                <a:gd name="T37" fmla="*/ 31 h 72"/>
                <a:gd name="T38" fmla="*/ 31 w 72"/>
                <a:gd name="T39" fmla="*/ 26 h 72"/>
                <a:gd name="T40" fmla="*/ 31 w 72"/>
                <a:gd name="T41" fmla="*/ 38 h 72"/>
                <a:gd name="T42" fmla="*/ 31 w 72"/>
                <a:gd name="T43" fmla="*/ 68 h 72"/>
                <a:gd name="T44" fmla="*/ 4 w 72"/>
                <a:gd name="T45" fmla="*/ 36 h 72"/>
                <a:gd name="T46" fmla="*/ 36 w 72"/>
                <a:gd name="T47" fmla="*/ 4 h 72"/>
                <a:gd name="T48" fmla="*/ 68 w 72"/>
                <a:gd name="T49"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72">
                  <a:moveTo>
                    <a:pt x="0" y="36"/>
                  </a:moveTo>
                  <a:cubicBezTo>
                    <a:pt x="0" y="56"/>
                    <a:pt x="16" y="72"/>
                    <a:pt x="36" y="72"/>
                  </a:cubicBezTo>
                  <a:cubicBezTo>
                    <a:pt x="56" y="72"/>
                    <a:pt x="72" y="56"/>
                    <a:pt x="72" y="36"/>
                  </a:cubicBezTo>
                  <a:cubicBezTo>
                    <a:pt x="72" y="17"/>
                    <a:pt x="56" y="0"/>
                    <a:pt x="36" y="0"/>
                  </a:cubicBezTo>
                  <a:cubicBezTo>
                    <a:pt x="16" y="0"/>
                    <a:pt x="0" y="17"/>
                    <a:pt x="0" y="36"/>
                  </a:cubicBezTo>
                  <a:close/>
                  <a:moveTo>
                    <a:pt x="68" y="36"/>
                  </a:moveTo>
                  <a:cubicBezTo>
                    <a:pt x="68" y="52"/>
                    <a:pt x="56" y="65"/>
                    <a:pt x="41" y="68"/>
                  </a:cubicBezTo>
                  <a:cubicBezTo>
                    <a:pt x="41" y="43"/>
                    <a:pt x="41" y="43"/>
                    <a:pt x="41" y="43"/>
                  </a:cubicBezTo>
                  <a:cubicBezTo>
                    <a:pt x="41" y="26"/>
                    <a:pt x="41" y="26"/>
                    <a:pt x="41" y="26"/>
                  </a:cubicBezTo>
                  <a:cubicBezTo>
                    <a:pt x="47" y="32"/>
                    <a:pt x="47" y="32"/>
                    <a:pt x="47" y="32"/>
                  </a:cubicBezTo>
                  <a:cubicBezTo>
                    <a:pt x="48" y="34"/>
                    <a:pt x="51" y="34"/>
                    <a:pt x="53" y="33"/>
                  </a:cubicBezTo>
                  <a:cubicBezTo>
                    <a:pt x="55" y="31"/>
                    <a:pt x="55" y="28"/>
                    <a:pt x="54" y="26"/>
                  </a:cubicBezTo>
                  <a:cubicBezTo>
                    <a:pt x="36" y="8"/>
                    <a:pt x="36" y="8"/>
                    <a:pt x="36" y="8"/>
                  </a:cubicBezTo>
                  <a:cubicBezTo>
                    <a:pt x="24" y="20"/>
                    <a:pt x="24" y="20"/>
                    <a:pt x="24" y="20"/>
                  </a:cubicBezTo>
                  <a:cubicBezTo>
                    <a:pt x="18" y="26"/>
                    <a:pt x="18" y="26"/>
                    <a:pt x="18" y="26"/>
                  </a:cubicBezTo>
                  <a:cubicBezTo>
                    <a:pt x="17" y="28"/>
                    <a:pt x="17" y="31"/>
                    <a:pt x="19" y="33"/>
                  </a:cubicBezTo>
                  <a:cubicBezTo>
                    <a:pt x="20" y="33"/>
                    <a:pt x="21" y="34"/>
                    <a:pt x="22" y="34"/>
                  </a:cubicBezTo>
                  <a:cubicBezTo>
                    <a:pt x="23" y="34"/>
                    <a:pt x="24" y="33"/>
                    <a:pt x="25" y="32"/>
                  </a:cubicBezTo>
                  <a:cubicBezTo>
                    <a:pt x="27" y="31"/>
                    <a:pt x="27" y="31"/>
                    <a:pt x="27" y="31"/>
                  </a:cubicBezTo>
                  <a:cubicBezTo>
                    <a:pt x="31" y="26"/>
                    <a:pt x="31" y="26"/>
                    <a:pt x="31" y="26"/>
                  </a:cubicBezTo>
                  <a:cubicBezTo>
                    <a:pt x="31" y="38"/>
                    <a:pt x="31" y="38"/>
                    <a:pt x="31" y="38"/>
                  </a:cubicBezTo>
                  <a:cubicBezTo>
                    <a:pt x="31" y="68"/>
                    <a:pt x="31" y="68"/>
                    <a:pt x="31" y="68"/>
                  </a:cubicBezTo>
                  <a:cubicBezTo>
                    <a:pt x="16" y="66"/>
                    <a:pt x="4" y="52"/>
                    <a:pt x="4" y="36"/>
                  </a:cubicBezTo>
                  <a:cubicBezTo>
                    <a:pt x="4" y="19"/>
                    <a:pt x="18" y="4"/>
                    <a:pt x="36" y="4"/>
                  </a:cubicBezTo>
                  <a:cubicBezTo>
                    <a:pt x="53" y="4"/>
                    <a:pt x="68" y="19"/>
                    <a:pt x="68" y="3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6" name="Freeform 1409">
              <a:extLst>
                <a:ext uri="{FF2B5EF4-FFF2-40B4-BE49-F238E27FC236}">
                  <a16:creationId xmlns:a16="http://schemas.microsoft.com/office/drawing/2014/main" id="{E8E0575D-79F2-4983-A9EA-244380B5E80F}"/>
                </a:ext>
              </a:extLst>
            </p:cNvPr>
            <p:cNvSpPr>
              <a:spLocks noEditPoints="1"/>
            </p:cNvSpPr>
            <p:nvPr/>
          </p:nvSpPr>
          <p:spPr bwMode="auto">
            <a:xfrm rot="20647229" flipH="1">
              <a:off x="5916097" y="4916311"/>
              <a:ext cx="68263" cy="68263"/>
            </a:xfrm>
            <a:custGeom>
              <a:avLst/>
              <a:gdLst>
                <a:gd name="T0" fmla="*/ 0 w 58"/>
                <a:gd name="T1" fmla="*/ 29 h 58"/>
                <a:gd name="T2" fmla="*/ 29 w 58"/>
                <a:gd name="T3" fmla="*/ 58 h 58"/>
                <a:gd name="T4" fmla="*/ 58 w 58"/>
                <a:gd name="T5" fmla="*/ 29 h 58"/>
                <a:gd name="T6" fmla="*/ 29 w 58"/>
                <a:gd name="T7" fmla="*/ 0 h 58"/>
                <a:gd name="T8" fmla="*/ 0 w 58"/>
                <a:gd name="T9" fmla="*/ 29 h 58"/>
                <a:gd name="T10" fmla="*/ 55 w 58"/>
                <a:gd name="T11" fmla="*/ 29 h 58"/>
                <a:gd name="T12" fmla="*/ 33 w 58"/>
                <a:gd name="T13" fmla="*/ 55 h 58"/>
                <a:gd name="T14" fmla="*/ 33 w 58"/>
                <a:gd name="T15" fmla="*/ 35 h 58"/>
                <a:gd name="T16" fmla="*/ 33 w 58"/>
                <a:gd name="T17" fmla="*/ 21 h 58"/>
                <a:gd name="T18" fmla="*/ 38 w 58"/>
                <a:gd name="T19" fmla="*/ 26 h 58"/>
                <a:gd name="T20" fmla="*/ 44 w 58"/>
                <a:gd name="T21" fmla="*/ 26 h 58"/>
                <a:gd name="T22" fmla="*/ 44 w 58"/>
                <a:gd name="T23" fmla="*/ 21 h 58"/>
                <a:gd name="T24" fmla="*/ 30 w 58"/>
                <a:gd name="T25" fmla="*/ 6 h 58"/>
                <a:gd name="T26" fmla="*/ 20 w 58"/>
                <a:gd name="T27" fmla="*/ 16 h 58"/>
                <a:gd name="T28" fmla="*/ 15 w 58"/>
                <a:gd name="T29" fmla="*/ 21 h 58"/>
                <a:gd name="T30" fmla="*/ 16 w 58"/>
                <a:gd name="T31" fmla="*/ 26 h 58"/>
                <a:gd name="T32" fmla="*/ 18 w 58"/>
                <a:gd name="T33" fmla="*/ 27 h 58"/>
                <a:gd name="T34" fmla="*/ 21 w 58"/>
                <a:gd name="T35" fmla="*/ 26 h 58"/>
                <a:gd name="T36" fmla="*/ 22 w 58"/>
                <a:gd name="T37" fmla="*/ 25 h 58"/>
                <a:gd name="T38" fmla="*/ 26 w 58"/>
                <a:gd name="T39" fmla="*/ 21 h 58"/>
                <a:gd name="T40" fmla="*/ 26 w 58"/>
                <a:gd name="T41" fmla="*/ 30 h 58"/>
                <a:gd name="T42" fmla="*/ 26 w 58"/>
                <a:gd name="T43" fmla="*/ 55 h 58"/>
                <a:gd name="T44" fmla="*/ 4 w 58"/>
                <a:gd name="T45" fmla="*/ 29 h 58"/>
                <a:gd name="T46" fmla="*/ 29 w 58"/>
                <a:gd name="T47" fmla="*/ 4 h 58"/>
                <a:gd name="T48" fmla="*/ 55 w 58"/>
                <a:gd name="T4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58">
                  <a:moveTo>
                    <a:pt x="0" y="29"/>
                  </a:moveTo>
                  <a:cubicBezTo>
                    <a:pt x="0" y="45"/>
                    <a:pt x="13" y="58"/>
                    <a:pt x="29" y="58"/>
                  </a:cubicBezTo>
                  <a:cubicBezTo>
                    <a:pt x="45" y="58"/>
                    <a:pt x="58" y="45"/>
                    <a:pt x="58" y="29"/>
                  </a:cubicBezTo>
                  <a:cubicBezTo>
                    <a:pt x="58" y="13"/>
                    <a:pt x="45" y="0"/>
                    <a:pt x="29" y="0"/>
                  </a:cubicBezTo>
                  <a:cubicBezTo>
                    <a:pt x="13" y="0"/>
                    <a:pt x="0" y="13"/>
                    <a:pt x="0" y="29"/>
                  </a:cubicBezTo>
                  <a:close/>
                  <a:moveTo>
                    <a:pt x="55" y="29"/>
                  </a:moveTo>
                  <a:cubicBezTo>
                    <a:pt x="55" y="42"/>
                    <a:pt x="46" y="53"/>
                    <a:pt x="33" y="55"/>
                  </a:cubicBezTo>
                  <a:cubicBezTo>
                    <a:pt x="33" y="35"/>
                    <a:pt x="33" y="35"/>
                    <a:pt x="33" y="35"/>
                  </a:cubicBezTo>
                  <a:cubicBezTo>
                    <a:pt x="33" y="21"/>
                    <a:pt x="33" y="21"/>
                    <a:pt x="33" y="21"/>
                  </a:cubicBezTo>
                  <a:cubicBezTo>
                    <a:pt x="38" y="26"/>
                    <a:pt x="38" y="26"/>
                    <a:pt x="38" y="26"/>
                  </a:cubicBezTo>
                  <a:cubicBezTo>
                    <a:pt x="40" y="28"/>
                    <a:pt x="42" y="28"/>
                    <a:pt x="44" y="26"/>
                  </a:cubicBezTo>
                  <a:cubicBezTo>
                    <a:pt x="45" y="25"/>
                    <a:pt x="45" y="22"/>
                    <a:pt x="44" y="21"/>
                  </a:cubicBezTo>
                  <a:cubicBezTo>
                    <a:pt x="30" y="6"/>
                    <a:pt x="30" y="6"/>
                    <a:pt x="30" y="6"/>
                  </a:cubicBezTo>
                  <a:cubicBezTo>
                    <a:pt x="20" y="16"/>
                    <a:pt x="20" y="16"/>
                    <a:pt x="20" y="16"/>
                  </a:cubicBezTo>
                  <a:cubicBezTo>
                    <a:pt x="15" y="21"/>
                    <a:pt x="15" y="21"/>
                    <a:pt x="15" y="21"/>
                  </a:cubicBezTo>
                  <a:cubicBezTo>
                    <a:pt x="14" y="22"/>
                    <a:pt x="14" y="25"/>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5"/>
                    <a:pt x="26" y="55"/>
                    <a:pt x="26" y="55"/>
                  </a:cubicBezTo>
                  <a:cubicBezTo>
                    <a:pt x="13" y="53"/>
                    <a:pt x="4" y="42"/>
                    <a:pt x="4" y="29"/>
                  </a:cubicBezTo>
                  <a:cubicBezTo>
                    <a:pt x="4" y="15"/>
                    <a:pt x="15" y="4"/>
                    <a:pt x="29" y="4"/>
                  </a:cubicBezTo>
                  <a:cubicBezTo>
                    <a:pt x="44" y="4"/>
                    <a:pt x="55" y="15"/>
                    <a:pt x="55" y="2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 name="Freeform 1411">
              <a:extLst>
                <a:ext uri="{FF2B5EF4-FFF2-40B4-BE49-F238E27FC236}">
                  <a16:creationId xmlns:a16="http://schemas.microsoft.com/office/drawing/2014/main" id="{13407A6B-9B8F-4C5F-829B-578172C64854}"/>
                </a:ext>
              </a:extLst>
            </p:cNvPr>
            <p:cNvSpPr>
              <a:spLocks noEditPoints="1"/>
            </p:cNvSpPr>
            <p:nvPr/>
          </p:nvSpPr>
          <p:spPr bwMode="auto">
            <a:xfrm rot="20647229" flipH="1">
              <a:off x="6000707" y="5571519"/>
              <a:ext cx="195263" cy="193675"/>
            </a:xfrm>
            <a:custGeom>
              <a:avLst/>
              <a:gdLst>
                <a:gd name="T0" fmla="*/ 65 w 164"/>
                <a:gd name="T1" fmla="*/ 154 h 164"/>
                <a:gd name="T2" fmla="*/ 47 w 164"/>
                <a:gd name="T3" fmla="*/ 148 h 164"/>
                <a:gd name="T4" fmla="*/ 26 w 164"/>
                <a:gd name="T5" fmla="*/ 142 h 164"/>
                <a:gd name="T6" fmla="*/ 19 w 164"/>
                <a:gd name="T7" fmla="*/ 120 h 164"/>
                <a:gd name="T8" fmla="*/ 11 w 164"/>
                <a:gd name="T9" fmla="*/ 104 h 164"/>
                <a:gd name="T10" fmla="*/ 0 w 164"/>
                <a:gd name="T11" fmla="*/ 83 h 164"/>
                <a:gd name="T12" fmla="*/ 6 w 164"/>
                <a:gd name="T13" fmla="*/ 52 h 164"/>
                <a:gd name="T14" fmla="*/ 23 w 164"/>
                <a:gd name="T15" fmla="*/ 47 h 164"/>
                <a:gd name="T16" fmla="*/ 24 w 164"/>
                <a:gd name="T17" fmla="*/ 25 h 164"/>
                <a:gd name="T18" fmla="*/ 44 w 164"/>
                <a:gd name="T19" fmla="*/ 19 h 164"/>
                <a:gd name="T20" fmla="*/ 60 w 164"/>
                <a:gd name="T21" fmla="*/ 12 h 164"/>
                <a:gd name="T22" fmla="*/ 80 w 164"/>
                <a:gd name="T23" fmla="*/ 0 h 164"/>
                <a:gd name="T24" fmla="*/ 101 w 164"/>
                <a:gd name="T25" fmla="*/ 11 h 164"/>
                <a:gd name="T26" fmla="*/ 117 w 164"/>
                <a:gd name="T27" fmla="*/ 18 h 164"/>
                <a:gd name="T28" fmla="*/ 139 w 164"/>
                <a:gd name="T29" fmla="*/ 23 h 164"/>
                <a:gd name="T30" fmla="*/ 140 w 164"/>
                <a:gd name="T31" fmla="*/ 46 h 164"/>
                <a:gd name="T32" fmla="*/ 158 w 164"/>
                <a:gd name="T33" fmla="*/ 51 h 164"/>
                <a:gd name="T34" fmla="*/ 164 w 164"/>
                <a:gd name="T35" fmla="*/ 82 h 164"/>
                <a:gd name="T36" fmla="*/ 146 w 164"/>
                <a:gd name="T37" fmla="*/ 94 h 164"/>
                <a:gd name="T38" fmla="*/ 151 w 164"/>
                <a:gd name="T39" fmla="*/ 119 h 164"/>
                <a:gd name="T40" fmla="*/ 140 w 164"/>
                <a:gd name="T41" fmla="*/ 128 h 164"/>
                <a:gd name="T42" fmla="*/ 127 w 164"/>
                <a:gd name="T43" fmla="*/ 141 h 164"/>
                <a:gd name="T44" fmla="*/ 116 w 164"/>
                <a:gd name="T45" fmla="*/ 157 h 164"/>
                <a:gd name="T46" fmla="*/ 94 w 164"/>
                <a:gd name="T47" fmla="*/ 155 h 164"/>
                <a:gd name="T48" fmla="*/ 71 w 164"/>
                <a:gd name="T49" fmla="*/ 141 h 164"/>
                <a:gd name="T50" fmla="*/ 84 w 164"/>
                <a:gd name="T51" fmla="*/ 159 h 164"/>
                <a:gd name="T52" fmla="*/ 96 w 164"/>
                <a:gd name="T53" fmla="*/ 140 h 164"/>
                <a:gd name="T54" fmla="*/ 115 w 164"/>
                <a:gd name="T55" fmla="*/ 152 h 164"/>
                <a:gd name="T56" fmla="*/ 130 w 164"/>
                <a:gd name="T57" fmla="*/ 137 h 164"/>
                <a:gd name="T58" fmla="*/ 136 w 164"/>
                <a:gd name="T59" fmla="*/ 131 h 164"/>
                <a:gd name="T60" fmla="*/ 148 w 164"/>
                <a:gd name="T61" fmla="*/ 114 h 164"/>
                <a:gd name="T62" fmla="*/ 151 w 164"/>
                <a:gd name="T63" fmla="*/ 106 h 164"/>
                <a:gd name="T64" fmla="*/ 159 w 164"/>
                <a:gd name="T65" fmla="*/ 82 h 164"/>
                <a:gd name="T66" fmla="*/ 140 w 164"/>
                <a:gd name="T67" fmla="*/ 70 h 164"/>
                <a:gd name="T68" fmla="*/ 153 w 164"/>
                <a:gd name="T69" fmla="*/ 52 h 164"/>
                <a:gd name="T70" fmla="*/ 131 w 164"/>
                <a:gd name="T71" fmla="*/ 49 h 164"/>
                <a:gd name="T72" fmla="*/ 135 w 164"/>
                <a:gd name="T73" fmla="*/ 27 h 164"/>
                <a:gd name="T74" fmla="*/ 113 w 164"/>
                <a:gd name="T75" fmla="*/ 31 h 164"/>
                <a:gd name="T76" fmla="*/ 108 w 164"/>
                <a:gd name="T77" fmla="*/ 10 h 164"/>
                <a:gd name="T78" fmla="*/ 84 w 164"/>
                <a:gd name="T79" fmla="*/ 10 h 164"/>
                <a:gd name="T80" fmla="*/ 76 w 164"/>
                <a:gd name="T81" fmla="*/ 10 h 164"/>
                <a:gd name="T82" fmla="*/ 53 w 164"/>
                <a:gd name="T83" fmla="*/ 11 h 164"/>
                <a:gd name="T84" fmla="*/ 49 w 164"/>
                <a:gd name="T85" fmla="*/ 32 h 164"/>
                <a:gd name="T86" fmla="*/ 28 w 164"/>
                <a:gd name="T87" fmla="*/ 28 h 164"/>
                <a:gd name="T88" fmla="*/ 33 w 164"/>
                <a:gd name="T89" fmla="*/ 50 h 164"/>
                <a:gd name="T90" fmla="*/ 11 w 164"/>
                <a:gd name="T91" fmla="*/ 53 h 164"/>
                <a:gd name="T92" fmla="*/ 24 w 164"/>
                <a:gd name="T93" fmla="*/ 71 h 164"/>
                <a:gd name="T94" fmla="*/ 10 w 164"/>
                <a:gd name="T95" fmla="*/ 88 h 164"/>
                <a:gd name="T96" fmla="*/ 11 w 164"/>
                <a:gd name="T97" fmla="*/ 113 h 164"/>
                <a:gd name="T98" fmla="*/ 26 w 164"/>
                <a:gd name="T99" fmla="*/ 114 h 164"/>
                <a:gd name="T100" fmla="*/ 29 w 164"/>
                <a:gd name="T101" fmla="*/ 138 h 164"/>
                <a:gd name="T102" fmla="*/ 48 w 164"/>
                <a:gd name="T103" fmla="*/ 132 h 164"/>
                <a:gd name="T104" fmla="*/ 55 w 164"/>
                <a:gd name="T105" fmla="*/ 154 h 164"/>
                <a:gd name="T106" fmla="*/ 71 w 164"/>
                <a:gd name="T107" fmla="*/ 141 h 164"/>
                <a:gd name="T108" fmla="*/ 45 w 164"/>
                <a:gd name="T109" fmla="*/ 46 h 164"/>
                <a:gd name="T110" fmla="*/ 119 w 164"/>
                <a:gd name="T111" fmla="*/ 119 h 164"/>
                <a:gd name="T112" fmla="*/ 35 w 164"/>
                <a:gd name="T113" fmla="*/ 83 h 164"/>
                <a:gd name="T114" fmla="*/ 129 w 164"/>
                <a:gd name="T115"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2"/>
                    <a:pt x="76" y="156"/>
                  </a:cubicBezTo>
                  <a:cubicBezTo>
                    <a:pt x="75" y="151"/>
                    <a:pt x="72" y="148"/>
                    <a:pt x="71" y="146"/>
                  </a:cubicBezTo>
                  <a:cubicBezTo>
                    <a:pt x="69" y="148"/>
                    <a:pt x="66" y="151"/>
                    <a:pt x="65" y="154"/>
                  </a:cubicBezTo>
                  <a:cubicBezTo>
                    <a:pt x="62" y="158"/>
                    <a:pt x="60" y="160"/>
                    <a:pt x="57" y="160"/>
                  </a:cubicBezTo>
                  <a:cubicBezTo>
                    <a:pt x="56" y="160"/>
                    <a:pt x="54" y="160"/>
                    <a:pt x="53" y="159"/>
                  </a:cubicBezTo>
                  <a:cubicBezTo>
                    <a:pt x="53" y="159"/>
                    <a:pt x="53" y="159"/>
                    <a:pt x="53" y="159"/>
                  </a:cubicBezTo>
                  <a:cubicBezTo>
                    <a:pt x="50" y="158"/>
                    <a:pt x="46" y="156"/>
                    <a:pt x="47" y="148"/>
                  </a:cubicBezTo>
                  <a:cubicBezTo>
                    <a:pt x="48" y="143"/>
                    <a:pt x="48" y="139"/>
                    <a:pt x="47" y="137"/>
                  </a:cubicBezTo>
                  <a:cubicBezTo>
                    <a:pt x="45" y="137"/>
                    <a:pt x="41" y="139"/>
                    <a:pt x="38" y="142"/>
                  </a:cubicBezTo>
                  <a:cubicBezTo>
                    <a:pt x="36" y="144"/>
                    <a:pt x="34" y="145"/>
                    <a:pt x="31" y="145"/>
                  </a:cubicBezTo>
                  <a:cubicBezTo>
                    <a:pt x="29" y="145"/>
                    <a:pt x="27" y="143"/>
                    <a:pt x="26" y="142"/>
                  </a:cubicBezTo>
                  <a:cubicBezTo>
                    <a:pt x="25" y="142"/>
                    <a:pt x="25" y="142"/>
                    <a:pt x="25" y="142"/>
                  </a:cubicBezTo>
                  <a:cubicBezTo>
                    <a:pt x="22" y="139"/>
                    <a:pt x="20" y="136"/>
                    <a:pt x="25" y="129"/>
                  </a:cubicBezTo>
                  <a:cubicBezTo>
                    <a:pt x="28" y="125"/>
                    <a:pt x="29" y="121"/>
                    <a:pt x="29" y="119"/>
                  </a:cubicBezTo>
                  <a:cubicBezTo>
                    <a:pt x="26" y="119"/>
                    <a:pt x="22" y="119"/>
                    <a:pt x="19" y="120"/>
                  </a:cubicBezTo>
                  <a:cubicBezTo>
                    <a:pt x="17" y="121"/>
                    <a:pt x="16" y="121"/>
                    <a:pt x="14" y="121"/>
                  </a:cubicBezTo>
                  <a:cubicBezTo>
                    <a:pt x="9" y="121"/>
                    <a:pt x="8" y="117"/>
                    <a:pt x="7" y="116"/>
                  </a:cubicBezTo>
                  <a:cubicBezTo>
                    <a:pt x="7" y="115"/>
                    <a:pt x="7" y="115"/>
                    <a:pt x="7" y="115"/>
                  </a:cubicBezTo>
                  <a:cubicBezTo>
                    <a:pt x="6" y="113"/>
                    <a:pt x="4" y="108"/>
                    <a:pt x="11" y="104"/>
                  </a:cubicBezTo>
                  <a:cubicBezTo>
                    <a:pt x="15" y="101"/>
                    <a:pt x="18" y="98"/>
                    <a:pt x="19" y="96"/>
                  </a:cubicBezTo>
                  <a:cubicBezTo>
                    <a:pt x="17" y="95"/>
                    <a:pt x="13" y="93"/>
                    <a:pt x="9" y="93"/>
                  </a:cubicBezTo>
                  <a:cubicBezTo>
                    <a:pt x="0" y="92"/>
                    <a:pt x="0" y="87"/>
                    <a:pt x="0" y="84"/>
                  </a:cubicBezTo>
                  <a:cubicBezTo>
                    <a:pt x="0" y="83"/>
                    <a:pt x="0" y="83"/>
                    <a:pt x="0" y="83"/>
                  </a:cubicBezTo>
                  <a:cubicBezTo>
                    <a:pt x="0" y="81"/>
                    <a:pt x="0" y="76"/>
                    <a:pt x="8" y="74"/>
                  </a:cubicBezTo>
                  <a:cubicBezTo>
                    <a:pt x="13" y="74"/>
                    <a:pt x="17" y="72"/>
                    <a:pt x="19" y="70"/>
                  </a:cubicBezTo>
                  <a:cubicBezTo>
                    <a:pt x="17" y="68"/>
                    <a:pt x="14" y="65"/>
                    <a:pt x="11" y="63"/>
                  </a:cubicBezTo>
                  <a:cubicBezTo>
                    <a:pt x="3" y="59"/>
                    <a:pt x="5" y="55"/>
                    <a:pt x="6" y="52"/>
                  </a:cubicBezTo>
                  <a:cubicBezTo>
                    <a:pt x="6" y="52"/>
                    <a:pt x="6" y="52"/>
                    <a:pt x="6" y="52"/>
                  </a:cubicBezTo>
                  <a:cubicBezTo>
                    <a:pt x="7" y="50"/>
                    <a:pt x="8" y="46"/>
                    <a:pt x="13" y="46"/>
                  </a:cubicBezTo>
                  <a:cubicBezTo>
                    <a:pt x="15" y="46"/>
                    <a:pt x="16" y="46"/>
                    <a:pt x="17" y="47"/>
                  </a:cubicBezTo>
                  <a:cubicBezTo>
                    <a:pt x="19" y="47"/>
                    <a:pt x="21" y="47"/>
                    <a:pt x="23" y="47"/>
                  </a:cubicBezTo>
                  <a:cubicBezTo>
                    <a:pt x="26" y="47"/>
                    <a:pt x="27" y="47"/>
                    <a:pt x="28" y="47"/>
                  </a:cubicBezTo>
                  <a:cubicBezTo>
                    <a:pt x="28" y="44"/>
                    <a:pt x="26" y="40"/>
                    <a:pt x="24" y="37"/>
                  </a:cubicBezTo>
                  <a:cubicBezTo>
                    <a:pt x="18" y="31"/>
                    <a:pt x="22" y="27"/>
                    <a:pt x="23" y="25"/>
                  </a:cubicBezTo>
                  <a:cubicBezTo>
                    <a:pt x="24" y="25"/>
                    <a:pt x="24" y="25"/>
                    <a:pt x="24" y="25"/>
                  </a:cubicBezTo>
                  <a:cubicBezTo>
                    <a:pt x="25" y="23"/>
                    <a:pt x="27" y="22"/>
                    <a:pt x="30" y="22"/>
                  </a:cubicBezTo>
                  <a:cubicBezTo>
                    <a:pt x="32" y="22"/>
                    <a:pt x="34" y="23"/>
                    <a:pt x="36" y="24"/>
                  </a:cubicBezTo>
                  <a:cubicBezTo>
                    <a:pt x="39" y="26"/>
                    <a:pt x="42" y="28"/>
                    <a:pt x="45" y="28"/>
                  </a:cubicBezTo>
                  <a:cubicBezTo>
                    <a:pt x="45" y="26"/>
                    <a:pt x="45" y="22"/>
                    <a:pt x="44" y="19"/>
                  </a:cubicBezTo>
                  <a:cubicBezTo>
                    <a:pt x="41" y="11"/>
                    <a:pt x="46" y="9"/>
                    <a:pt x="48" y="8"/>
                  </a:cubicBezTo>
                  <a:cubicBezTo>
                    <a:pt x="49" y="7"/>
                    <a:pt x="49" y="7"/>
                    <a:pt x="49" y="7"/>
                  </a:cubicBezTo>
                  <a:cubicBezTo>
                    <a:pt x="50" y="7"/>
                    <a:pt x="51" y="6"/>
                    <a:pt x="53" y="6"/>
                  </a:cubicBezTo>
                  <a:cubicBezTo>
                    <a:pt x="56" y="6"/>
                    <a:pt x="58" y="8"/>
                    <a:pt x="60" y="12"/>
                  </a:cubicBezTo>
                  <a:cubicBezTo>
                    <a:pt x="62" y="15"/>
                    <a:pt x="65" y="18"/>
                    <a:pt x="67" y="19"/>
                  </a:cubicBezTo>
                  <a:cubicBezTo>
                    <a:pt x="69" y="18"/>
                    <a:pt x="71" y="14"/>
                    <a:pt x="71" y="9"/>
                  </a:cubicBezTo>
                  <a:cubicBezTo>
                    <a:pt x="72" y="1"/>
                    <a:pt x="76" y="0"/>
                    <a:pt x="79" y="0"/>
                  </a:cubicBezTo>
                  <a:cubicBezTo>
                    <a:pt x="80" y="0"/>
                    <a:pt x="80" y="0"/>
                    <a:pt x="80" y="0"/>
                  </a:cubicBezTo>
                  <a:cubicBezTo>
                    <a:pt x="81" y="0"/>
                    <a:pt x="81" y="0"/>
                    <a:pt x="81" y="0"/>
                  </a:cubicBezTo>
                  <a:cubicBezTo>
                    <a:pt x="86" y="0"/>
                    <a:pt x="89" y="3"/>
                    <a:pt x="89" y="9"/>
                  </a:cubicBezTo>
                  <a:cubicBezTo>
                    <a:pt x="90" y="13"/>
                    <a:pt x="92" y="17"/>
                    <a:pt x="93" y="19"/>
                  </a:cubicBezTo>
                  <a:cubicBezTo>
                    <a:pt x="95" y="18"/>
                    <a:pt x="98" y="15"/>
                    <a:pt x="101" y="11"/>
                  </a:cubicBezTo>
                  <a:cubicBezTo>
                    <a:pt x="103" y="7"/>
                    <a:pt x="105" y="5"/>
                    <a:pt x="108" y="5"/>
                  </a:cubicBezTo>
                  <a:cubicBezTo>
                    <a:pt x="109" y="5"/>
                    <a:pt x="111" y="6"/>
                    <a:pt x="112" y="6"/>
                  </a:cubicBezTo>
                  <a:cubicBezTo>
                    <a:pt x="112" y="6"/>
                    <a:pt x="112" y="6"/>
                    <a:pt x="112" y="6"/>
                  </a:cubicBezTo>
                  <a:cubicBezTo>
                    <a:pt x="115" y="7"/>
                    <a:pt x="120" y="9"/>
                    <a:pt x="117" y="18"/>
                  </a:cubicBezTo>
                  <a:cubicBezTo>
                    <a:pt x="116" y="22"/>
                    <a:pt x="116" y="26"/>
                    <a:pt x="117" y="28"/>
                  </a:cubicBezTo>
                  <a:cubicBezTo>
                    <a:pt x="119" y="28"/>
                    <a:pt x="124" y="26"/>
                    <a:pt x="127" y="23"/>
                  </a:cubicBezTo>
                  <a:cubicBezTo>
                    <a:pt x="129" y="21"/>
                    <a:pt x="131" y="21"/>
                    <a:pt x="133" y="21"/>
                  </a:cubicBezTo>
                  <a:cubicBezTo>
                    <a:pt x="136" y="21"/>
                    <a:pt x="138" y="22"/>
                    <a:pt x="139" y="23"/>
                  </a:cubicBezTo>
                  <a:cubicBezTo>
                    <a:pt x="140" y="24"/>
                    <a:pt x="140" y="24"/>
                    <a:pt x="140" y="24"/>
                  </a:cubicBezTo>
                  <a:cubicBezTo>
                    <a:pt x="141" y="26"/>
                    <a:pt x="145" y="29"/>
                    <a:pt x="140" y="36"/>
                  </a:cubicBezTo>
                  <a:cubicBezTo>
                    <a:pt x="137" y="39"/>
                    <a:pt x="136" y="43"/>
                    <a:pt x="135" y="45"/>
                  </a:cubicBezTo>
                  <a:cubicBezTo>
                    <a:pt x="136" y="46"/>
                    <a:pt x="137" y="46"/>
                    <a:pt x="140" y="46"/>
                  </a:cubicBezTo>
                  <a:cubicBezTo>
                    <a:pt x="142" y="46"/>
                    <a:pt x="144" y="46"/>
                    <a:pt x="146" y="45"/>
                  </a:cubicBezTo>
                  <a:cubicBezTo>
                    <a:pt x="148" y="45"/>
                    <a:pt x="149" y="45"/>
                    <a:pt x="150" y="45"/>
                  </a:cubicBezTo>
                  <a:cubicBezTo>
                    <a:pt x="155" y="45"/>
                    <a:pt x="157" y="48"/>
                    <a:pt x="157" y="50"/>
                  </a:cubicBezTo>
                  <a:cubicBezTo>
                    <a:pt x="158" y="51"/>
                    <a:pt x="158" y="51"/>
                    <a:pt x="158" y="51"/>
                  </a:cubicBezTo>
                  <a:cubicBezTo>
                    <a:pt x="159" y="53"/>
                    <a:pt x="161" y="58"/>
                    <a:pt x="153" y="62"/>
                  </a:cubicBezTo>
                  <a:cubicBezTo>
                    <a:pt x="150" y="64"/>
                    <a:pt x="147" y="67"/>
                    <a:pt x="145" y="69"/>
                  </a:cubicBezTo>
                  <a:cubicBezTo>
                    <a:pt x="147" y="70"/>
                    <a:pt x="151" y="72"/>
                    <a:pt x="156" y="73"/>
                  </a:cubicBezTo>
                  <a:cubicBezTo>
                    <a:pt x="164" y="74"/>
                    <a:pt x="164" y="79"/>
                    <a:pt x="164" y="82"/>
                  </a:cubicBezTo>
                  <a:cubicBezTo>
                    <a:pt x="164" y="82"/>
                    <a:pt x="164" y="82"/>
                    <a:pt x="164" y="82"/>
                  </a:cubicBezTo>
                  <a:cubicBezTo>
                    <a:pt x="164" y="82"/>
                    <a:pt x="164" y="82"/>
                    <a:pt x="164" y="82"/>
                  </a:cubicBezTo>
                  <a:cubicBezTo>
                    <a:pt x="164" y="85"/>
                    <a:pt x="164" y="90"/>
                    <a:pt x="155" y="91"/>
                  </a:cubicBezTo>
                  <a:cubicBezTo>
                    <a:pt x="152" y="92"/>
                    <a:pt x="148" y="93"/>
                    <a:pt x="146" y="94"/>
                  </a:cubicBezTo>
                  <a:cubicBezTo>
                    <a:pt x="147" y="96"/>
                    <a:pt x="150" y="100"/>
                    <a:pt x="154" y="102"/>
                  </a:cubicBezTo>
                  <a:cubicBezTo>
                    <a:pt x="161" y="107"/>
                    <a:pt x="159" y="111"/>
                    <a:pt x="158" y="113"/>
                  </a:cubicBezTo>
                  <a:cubicBezTo>
                    <a:pt x="158" y="114"/>
                    <a:pt x="158" y="114"/>
                    <a:pt x="158" y="114"/>
                  </a:cubicBezTo>
                  <a:cubicBezTo>
                    <a:pt x="157" y="116"/>
                    <a:pt x="156" y="119"/>
                    <a:pt x="151" y="119"/>
                  </a:cubicBezTo>
                  <a:cubicBezTo>
                    <a:pt x="149" y="119"/>
                    <a:pt x="148" y="119"/>
                    <a:pt x="146" y="119"/>
                  </a:cubicBezTo>
                  <a:cubicBezTo>
                    <a:pt x="144" y="118"/>
                    <a:pt x="142" y="118"/>
                    <a:pt x="139" y="118"/>
                  </a:cubicBezTo>
                  <a:cubicBezTo>
                    <a:pt x="138" y="118"/>
                    <a:pt x="137" y="118"/>
                    <a:pt x="136" y="118"/>
                  </a:cubicBezTo>
                  <a:cubicBezTo>
                    <a:pt x="136" y="120"/>
                    <a:pt x="138" y="124"/>
                    <a:pt x="140" y="128"/>
                  </a:cubicBezTo>
                  <a:cubicBezTo>
                    <a:pt x="145" y="134"/>
                    <a:pt x="143" y="138"/>
                    <a:pt x="140" y="140"/>
                  </a:cubicBezTo>
                  <a:cubicBezTo>
                    <a:pt x="140" y="141"/>
                    <a:pt x="140" y="141"/>
                    <a:pt x="140" y="141"/>
                  </a:cubicBezTo>
                  <a:cubicBezTo>
                    <a:pt x="138" y="142"/>
                    <a:pt x="137" y="144"/>
                    <a:pt x="134" y="144"/>
                  </a:cubicBezTo>
                  <a:cubicBezTo>
                    <a:pt x="132" y="144"/>
                    <a:pt x="130" y="143"/>
                    <a:pt x="127" y="141"/>
                  </a:cubicBezTo>
                  <a:cubicBezTo>
                    <a:pt x="125" y="139"/>
                    <a:pt x="122" y="137"/>
                    <a:pt x="120" y="137"/>
                  </a:cubicBezTo>
                  <a:cubicBezTo>
                    <a:pt x="120" y="139"/>
                    <a:pt x="120" y="142"/>
                    <a:pt x="121" y="145"/>
                  </a:cubicBezTo>
                  <a:cubicBezTo>
                    <a:pt x="124" y="154"/>
                    <a:pt x="119" y="156"/>
                    <a:pt x="117" y="157"/>
                  </a:cubicBezTo>
                  <a:cubicBezTo>
                    <a:pt x="116" y="157"/>
                    <a:pt x="116" y="157"/>
                    <a:pt x="116" y="157"/>
                  </a:cubicBezTo>
                  <a:cubicBezTo>
                    <a:pt x="115" y="158"/>
                    <a:pt x="114" y="158"/>
                    <a:pt x="112" y="158"/>
                  </a:cubicBezTo>
                  <a:cubicBezTo>
                    <a:pt x="109" y="158"/>
                    <a:pt x="107" y="157"/>
                    <a:pt x="105" y="153"/>
                  </a:cubicBezTo>
                  <a:cubicBezTo>
                    <a:pt x="102" y="149"/>
                    <a:pt x="98" y="146"/>
                    <a:pt x="97" y="146"/>
                  </a:cubicBezTo>
                  <a:cubicBezTo>
                    <a:pt x="95" y="147"/>
                    <a:pt x="94" y="151"/>
                    <a:pt x="94" y="155"/>
                  </a:cubicBezTo>
                  <a:cubicBezTo>
                    <a:pt x="93" y="164"/>
                    <a:pt x="88" y="164"/>
                    <a:pt x="85" y="164"/>
                  </a:cubicBezTo>
                  <a:cubicBezTo>
                    <a:pt x="85" y="164"/>
                    <a:pt x="85" y="164"/>
                    <a:pt x="85" y="164"/>
                  </a:cubicBezTo>
                  <a:cubicBezTo>
                    <a:pt x="84" y="164"/>
                    <a:pt x="84" y="164"/>
                    <a:pt x="83" y="164"/>
                  </a:cubicBezTo>
                  <a:close/>
                  <a:moveTo>
                    <a:pt x="71" y="141"/>
                  </a:moveTo>
                  <a:cubicBezTo>
                    <a:pt x="72" y="141"/>
                    <a:pt x="72" y="141"/>
                    <a:pt x="72" y="141"/>
                  </a:cubicBezTo>
                  <a:cubicBezTo>
                    <a:pt x="77" y="142"/>
                    <a:pt x="80" y="151"/>
                    <a:pt x="80" y="155"/>
                  </a:cubicBezTo>
                  <a:cubicBezTo>
                    <a:pt x="81" y="159"/>
                    <a:pt x="82" y="159"/>
                    <a:pt x="83" y="159"/>
                  </a:cubicBezTo>
                  <a:cubicBezTo>
                    <a:pt x="84" y="159"/>
                    <a:pt x="84" y="159"/>
                    <a:pt x="84" y="159"/>
                  </a:cubicBezTo>
                  <a:cubicBezTo>
                    <a:pt x="85" y="159"/>
                    <a:pt x="85" y="159"/>
                    <a:pt x="85" y="159"/>
                  </a:cubicBezTo>
                  <a:cubicBezTo>
                    <a:pt x="87" y="159"/>
                    <a:pt x="88" y="159"/>
                    <a:pt x="89" y="155"/>
                  </a:cubicBezTo>
                  <a:cubicBezTo>
                    <a:pt x="89" y="150"/>
                    <a:pt x="91" y="144"/>
                    <a:pt x="94" y="141"/>
                  </a:cubicBezTo>
                  <a:cubicBezTo>
                    <a:pt x="94" y="141"/>
                    <a:pt x="95" y="140"/>
                    <a:pt x="96" y="140"/>
                  </a:cubicBezTo>
                  <a:cubicBezTo>
                    <a:pt x="101" y="140"/>
                    <a:pt x="106" y="147"/>
                    <a:pt x="109" y="150"/>
                  </a:cubicBezTo>
                  <a:cubicBezTo>
                    <a:pt x="110" y="152"/>
                    <a:pt x="111" y="153"/>
                    <a:pt x="112" y="153"/>
                  </a:cubicBezTo>
                  <a:cubicBezTo>
                    <a:pt x="112" y="153"/>
                    <a:pt x="113" y="153"/>
                    <a:pt x="114" y="153"/>
                  </a:cubicBezTo>
                  <a:cubicBezTo>
                    <a:pt x="115" y="152"/>
                    <a:pt x="115" y="152"/>
                    <a:pt x="115" y="152"/>
                  </a:cubicBezTo>
                  <a:cubicBezTo>
                    <a:pt x="117" y="151"/>
                    <a:pt x="117" y="151"/>
                    <a:pt x="116" y="147"/>
                  </a:cubicBezTo>
                  <a:cubicBezTo>
                    <a:pt x="115" y="143"/>
                    <a:pt x="114" y="137"/>
                    <a:pt x="115" y="133"/>
                  </a:cubicBezTo>
                  <a:cubicBezTo>
                    <a:pt x="116" y="132"/>
                    <a:pt x="117" y="131"/>
                    <a:pt x="118" y="131"/>
                  </a:cubicBezTo>
                  <a:cubicBezTo>
                    <a:pt x="122" y="131"/>
                    <a:pt x="127" y="134"/>
                    <a:pt x="130" y="137"/>
                  </a:cubicBezTo>
                  <a:cubicBezTo>
                    <a:pt x="132" y="138"/>
                    <a:pt x="134" y="139"/>
                    <a:pt x="134" y="139"/>
                  </a:cubicBezTo>
                  <a:cubicBezTo>
                    <a:pt x="135" y="139"/>
                    <a:pt x="135" y="138"/>
                    <a:pt x="136" y="137"/>
                  </a:cubicBezTo>
                  <a:cubicBezTo>
                    <a:pt x="137" y="137"/>
                    <a:pt x="137" y="137"/>
                    <a:pt x="137" y="137"/>
                  </a:cubicBezTo>
                  <a:cubicBezTo>
                    <a:pt x="138" y="135"/>
                    <a:pt x="139" y="135"/>
                    <a:pt x="136" y="131"/>
                  </a:cubicBezTo>
                  <a:cubicBezTo>
                    <a:pt x="134" y="128"/>
                    <a:pt x="130" y="120"/>
                    <a:pt x="132" y="115"/>
                  </a:cubicBezTo>
                  <a:cubicBezTo>
                    <a:pt x="132" y="115"/>
                    <a:pt x="132" y="114"/>
                    <a:pt x="133" y="114"/>
                  </a:cubicBezTo>
                  <a:cubicBezTo>
                    <a:pt x="134" y="113"/>
                    <a:pt x="137" y="113"/>
                    <a:pt x="139" y="113"/>
                  </a:cubicBezTo>
                  <a:cubicBezTo>
                    <a:pt x="142" y="113"/>
                    <a:pt x="145" y="113"/>
                    <a:pt x="148" y="114"/>
                  </a:cubicBezTo>
                  <a:cubicBezTo>
                    <a:pt x="149" y="114"/>
                    <a:pt x="150" y="114"/>
                    <a:pt x="151" y="114"/>
                  </a:cubicBezTo>
                  <a:cubicBezTo>
                    <a:pt x="152" y="114"/>
                    <a:pt x="152" y="114"/>
                    <a:pt x="153" y="112"/>
                  </a:cubicBezTo>
                  <a:cubicBezTo>
                    <a:pt x="153" y="111"/>
                    <a:pt x="153" y="111"/>
                    <a:pt x="153" y="111"/>
                  </a:cubicBezTo>
                  <a:cubicBezTo>
                    <a:pt x="154" y="109"/>
                    <a:pt x="155" y="109"/>
                    <a:pt x="151" y="106"/>
                  </a:cubicBezTo>
                  <a:cubicBezTo>
                    <a:pt x="147" y="104"/>
                    <a:pt x="140" y="98"/>
                    <a:pt x="140" y="94"/>
                  </a:cubicBezTo>
                  <a:cubicBezTo>
                    <a:pt x="140" y="93"/>
                    <a:pt x="141" y="92"/>
                    <a:pt x="141" y="92"/>
                  </a:cubicBezTo>
                  <a:cubicBezTo>
                    <a:pt x="144" y="89"/>
                    <a:pt x="150" y="87"/>
                    <a:pt x="155" y="86"/>
                  </a:cubicBezTo>
                  <a:cubicBezTo>
                    <a:pt x="159" y="86"/>
                    <a:pt x="159" y="85"/>
                    <a:pt x="159" y="82"/>
                  </a:cubicBezTo>
                  <a:cubicBezTo>
                    <a:pt x="159" y="82"/>
                    <a:pt x="159" y="82"/>
                    <a:pt x="159" y="82"/>
                  </a:cubicBezTo>
                  <a:cubicBezTo>
                    <a:pt x="159" y="81"/>
                    <a:pt x="159" y="81"/>
                    <a:pt x="159" y="81"/>
                  </a:cubicBezTo>
                  <a:cubicBezTo>
                    <a:pt x="159" y="79"/>
                    <a:pt x="159" y="78"/>
                    <a:pt x="155" y="78"/>
                  </a:cubicBezTo>
                  <a:cubicBezTo>
                    <a:pt x="151" y="77"/>
                    <a:pt x="142" y="74"/>
                    <a:pt x="140" y="70"/>
                  </a:cubicBezTo>
                  <a:cubicBezTo>
                    <a:pt x="140" y="69"/>
                    <a:pt x="140" y="69"/>
                    <a:pt x="140" y="68"/>
                  </a:cubicBezTo>
                  <a:cubicBezTo>
                    <a:pt x="142" y="64"/>
                    <a:pt x="146" y="60"/>
                    <a:pt x="151" y="58"/>
                  </a:cubicBezTo>
                  <a:cubicBezTo>
                    <a:pt x="154" y="56"/>
                    <a:pt x="154" y="55"/>
                    <a:pt x="153" y="53"/>
                  </a:cubicBezTo>
                  <a:cubicBezTo>
                    <a:pt x="153" y="52"/>
                    <a:pt x="153" y="52"/>
                    <a:pt x="153" y="52"/>
                  </a:cubicBezTo>
                  <a:cubicBezTo>
                    <a:pt x="152" y="50"/>
                    <a:pt x="152" y="50"/>
                    <a:pt x="150" y="50"/>
                  </a:cubicBezTo>
                  <a:cubicBezTo>
                    <a:pt x="150" y="50"/>
                    <a:pt x="149" y="50"/>
                    <a:pt x="148" y="50"/>
                  </a:cubicBezTo>
                  <a:cubicBezTo>
                    <a:pt x="145" y="51"/>
                    <a:pt x="142" y="51"/>
                    <a:pt x="140" y="51"/>
                  </a:cubicBezTo>
                  <a:cubicBezTo>
                    <a:pt x="135" y="51"/>
                    <a:pt x="132" y="50"/>
                    <a:pt x="131" y="49"/>
                  </a:cubicBezTo>
                  <a:cubicBezTo>
                    <a:pt x="130" y="48"/>
                    <a:pt x="130" y="48"/>
                    <a:pt x="130" y="47"/>
                  </a:cubicBezTo>
                  <a:cubicBezTo>
                    <a:pt x="130" y="43"/>
                    <a:pt x="133" y="37"/>
                    <a:pt x="136" y="33"/>
                  </a:cubicBezTo>
                  <a:cubicBezTo>
                    <a:pt x="138" y="30"/>
                    <a:pt x="138" y="29"/>
                    <a:pt x="136" y="28"/>
                  </a:cubicBezTo>
                  <a:cubicBezTo>
                    <a:pt x="135" y="27"/>
                    <a:pt x="135" y="27"/>
                    <a:pt x="135" y="27"/>
                  </a:cubicBezTo>
                  <a:cubicBezTo>
                    <a:pt x="134" y="26"/>
                    <a:pt x="134" y="26"/>
                    <a:pt x="133" y="26"/>
                  </a:cubicBezTo>
                  <a:cubicBezTo>
                    <a:pt x="133" y="26"/>
                    <a:pt x="132" y="26"/>
                    <a:pt x="130" y="27"/>
                  </a:cubicBezTo>
                  <a:cubicBezTo>
                    <a:pt x="125" y="31"/>
                    <a:pt x="118" y="34"/>
                    <a:pt x="114" y="32"/>
                  </a:cubicBezTo>
                  <a:cubicBezTo>
                    <a:pt x="113" y="32"/>
                    <a:pt x="113" y="32"/>
                    <a:pt x="113" y="31"/>
                  </a:cubicBezTo>
                  <a:cubicBezTo>
                    <a:pt x="111" y="28"/>
                    <a:pt x="111" y="21"/>
                    <a:pt x="112" y="16"/>
                  </a:cubicBezTo>
                  <a:cubicBezTo>
                    <a:pt x="114" y="12"/>
                    <a:pt x="113" y="12"/>
                    <a:pt x="111" y="11"/>
                  </a:cubicBezTo>
                  <a:cubicBezTo>
                    <a:pt x="110" y="11"/>
                    <a:pt x="110" y="11"/>
                    <a:pt x="110" y="11"/>
                  </a:cubicBezTo>
                  <a:cubicBezTo>
                    <a:pt x="109" y="10"/>
                    <a:pt x="108" y="10"/>
                    <a:pt x="108" y="10"/>
                  </a:cubicBezTo>
                  <a:cubicBezTo>
                    <a:pt x="107" y="10"/>
                    <a:pt x="106" y="12"/>
                    <a:pt x="105" y="13"/>
                  </a:cubicBezTo>
                  <a:cubicBezTo>
                    <a:pt x="103" y="17"/>
                    <a:pt x="97" y="24"/>
                    <a:pt x="92" y="24"/>
                  </a:cubicBezTo>
                  <a:cubicBezTo>
                    <a:pt x="92" y="24"/>
                    <a:pt x="91" y="24"/>
                    <a:pt x="91" y="23"/>
                  </a:cubicBezTo>
                  <a:cubicBezTo>
                    <a:pt x="88" y="21"/>
                    <a:pt x="85" y="15"/>
                    <a:pt x="84" y="10"/>
                  </a:cubicBezTo>
                  <a:cubicBezTo>
                    <a:pt x="84" y="5"/>
                    <a:pt x="83" y="5"/>
                    <a:pt x="81" y="5"/>
                  </a:cubicBezTo>
                  <a:cubicBezTo>
                    <a:pt x="80" y="6"/>
                    <a:pt x="80" y="6"/>
                    <a:pt x="80" y="6"/>
                  </a:cubicBezTo>
                  <a:cubicBezTo>
                    <a:pt x="79" y="5"/>
                    <a:pt x="79" y="5"/>
                    <a:pt x="79" y="5"/>
                  </a:cubicBezTo>
                  <a:cubicBezTo>
                    <a:pt x="78" y="5"/>
                    <a:pt x="77" y="5"/>
                    <a:pt x="76" y="10"/>
                  </a:cubicBezTo>
                  <a:cubicBezTo>
                    <a:pt x="76" y="14"/>
                    <a:pt x="73" y="23"/>
                    <a:pt x="69" y="25"/>
                  </a:cubicBezTo>
                  <a:cubicBezTo>
                    <a:pt x="68" y="25"/>
                    <a:pt x="67" y="25"/>
                    <a:pt x="67" y="25"/>
                  </a:cubicBezTo>
                  <a:cubicBezTo>
                    <a:pt x="63" y="23"/>
                    <a:pt x="59" y="19"/>
                    <a:pt x="56" y="14"/>
                  </a:cubicBezTo>
                  <a:cubicBezTo>
                    <a:pt x="55" y="13"/>
                    <a:pt x="54" y="11"/>
                    <a:pt x="53" y="11"/>
                  </a:cubicBezTo>
                  <a:cubicBezTo>
                    <a:pt x="53" y="11"/>
                    <a:pt x="52" y="12"/>
                    <a:pt x="51" y="12"/>
                  </a:cubicBezTo>
                  <a:cubicBezTo>
                    <a:pt x="50" y="12"/>
                    <a:pt x="50" y="12"/>
                    <a:pt x="50" y="12"/>
                  </a:cubicBezTo>
                  <a:cubicBezTo>
                    <a:pt x="48" y="13"/>
                    <a:pt x="47" y="14"/>
                    <a:pt x="49" y="18"/>
                  </a:cubicBezTo>
                  <a:cubicBezTo>
                    <a:pt x="50" y="22"/>
                    <a:pt x="50" y="28"/>
                    <a:pt x="49" y="32"/>
                  </a:cubicBezTo>
                  <a:cubicBezTo>
                    <a:pt x="48" y="33"/>
                    <a:pt x="48" y="34"/>
                    <a:pt x="47" y="34"/>
                  </a:cubicBezTo>
                  <a:cubicBezTo>
                    <a:pt x="43" y="34"/>
                    <a:pt x="37" y="31"/>
                    <a:pt x="33" y="28"/>
                  </a:cubicBezTo>
                  <a:cubicBezTo>
                    <a:pt x="31" y="27"/>
                    <a:pt x="30" y="27"/>
                    <a:pt x="30" y="27"/>
                  </a:cubicBezTo>
                  <a:cubicBezTo>
                    <a:pt x="29" y="27"/>
                    <a:pt x="29" y="27"/>
                    <a:pt x="28" y="28"/>
                  </a:cubicBezTo>
                  <a:cubicBezTo>
                    <a:pt x="27" y="29"/>
                    <a:pt x="27" y="29"/>
                    <a:pt x="27" y="29"/>
                  </a:cubicBezTo>
                  <a:cubicBezTo>
                    <a:pt x="25" y="30"/>
                    <a:pt x="25" y="31"/>
                    <a:pt x="28" y="34"/>
                  </a:cubicBezTo>
                  <a:cubicBezTo>
                    <a:pt x="31" y="38"/>
                    <a:pt x="33" y="44"/>
                    <a:pt x="33" y="48"/>
                  </a:cubicBezTo>
                  <a:cubicBezTo>
                    <a:pt x="33" y="49"/>
                    <a:pt x="33" y="49"/>
                    <a:pt x="33" y="50"/>
                  </a:cubicBezTo>
                  <a:cubicBezTo>
                    <a:pt x="31" y="52"/>
                    <a:pt x="26" y="52"/>
                    <a:pt x="23" y="52"/>
                  </a:cubicBezTo>
                  <a:cubicBezTo>
                    <a:pt x="21" y="52"/>
                    <a:pt x="18" y="52"/>
                    <a:pt x="16" y="52"/>
                  </a:cubicBezTo>
                  <a:cubicBezTo>
                    <a:pt x="15" y="51"/>
                    <a:pt x="14" y="51"/>
                    <a:pt x="13" y="51"/>
                  </a:cubicBezTo>
                  <a:cubicBezTo>
                    <a:pt x="12" y="51"/>
                    <a:pt x="12" y="51"/>
                    <a:pt x="11" y="53"/>
                  </a:cubicBezTo>
                  <a:cubicBezTo>
                    <a:pt x="11" y="54"/>
                    <a:pt x="11" y="54"/>
                    <a:pt x="11" y="54"/>
                  </a:cubicBezTo>
                  <a:cubicBezTo>
                    <a:pt x="10" y="56"/>
                    <a:pt x="9" y="57"/>
                    <a:pt x="13" y="59"/>
                  </a:cubicBezTo>
                  <a:cubicBezTo>
                    <a:pt x="17" y="62"/>
                    <a:pt x="22" y="66"/>
                    <a:pt x="24" y="69"/>
                  </a:cubicBezTo>
                  <a:cubicBezTo>
                    <a:pt x="24" y="70"/>
                    <a:pt x="24" y="71"/>
                    <a:pt x="24" y="71"/>
                  </a:cubicBezTo>
                  <a:cubicBezTo>
                    <a:pt x="22" y="76"/>
                    <a:pt x="14" y="79"/>
                    <a:pt x="9" y="79"/>
                  </a:cubicBezTo>
                  <a:cubicBezTo>
                    <a:pt x="5" y="80"/>
                    <a:pt x="5" y="81"/>
                    <a:pt x="5" y="83"/>
                  </a:cubicBezTo>
                  <a:cubicBezTo>
                    <a:pt x="5" y="84"/>
                    <a:pt x="5" y="84"/>
                    <a:pt x="5" y="84"/>
                  </a:cubicBezTo>
                  <a:cubicBezTo>
                    <a:pt x="5" y="86"/>
                    <a:pt x="5" y="87"/>
                    <a:pt x="10" y="88"/>
                  </a:cubicBezTo>
                  <a:cubicBezTo>
                    <a:pt x="15" y="88"/>
                    <a:pt x="21" y="90"/>
                    <a:pt x="23" y="93"/>
                  </a:cubicBezTo>
                  <a:cubicBezTo>
                    <a:pt x="24" y="94"/>
                    <a:pt x="24" y="94"/>
                    <a:pt x="24" y="95"/>
                  </a:cubicBezTo>
                  <a:cubicBezTo>
                    <a:pt x="24" y="100"/>
                    <a:pt x="17" y="105"/>
                    <a:pt x="14" y="108"/>
                  </a:cubicBezTo>
                  <a:cubicBezTo>
                    <a:pt x="10" y="110"/>
                    <a:pt x="11" y="111"/>
                    <a:pt x="11" y="113"/>
                  </a:cubicBezTo>
                  <a:cubicBezTo>
                    <a:pt x="12" y="114"/>
                    <a:pt x="12" y="114"/>
                    <a:pt x="12" y="114"/>
                  </a:cubicBezTo>
                  <a:cubicBezTo>
                    <a:pt x="13" y="115"/>
                    <a:pt x="13" y="116"/>
                    <a:pt x="14" y="116"/>
                  </a:cubicBezTo>
                  <a:cubicBezTo>
                    <a:pt x="15" y="116"/>
                    <a:pt x="16" y="116"/>
                    <a:pt x="17" y="115"/>
                  </a:cubicBezTo>
                  <a:cubicBezTo>
                    <a:pt x="20" y="114"/>
                    <a:pt x="23" y="114"/>
                    <a:pt x="26" y="114"/>
                  </a:cubicBezTo>
                  <a:cubicBezTo>
                    <a:pt x="29" y="114"/>
                    <a:pt x="31" y="114"/>
                    <a:pt x="32" y="115"/>
                  </a:cubicBezTo>
                  <a:cubicBezTo>
                    <a:pt x="33" y="115"/>
                    <a:pt x="33" y="116"/>
                    <a:pt x="33" y="116"/>
                  </a:cubicBezTo>
                  <a:cubicBezTo>
                    <a:pt x="35" y="121"/>
                    <a:pt x="31" y="129"/>
                    <a:pt x="29" y="132"/>
                  </a:cubicBezTo>
                  <a:cubicBezTo>
                    <a:pt x="26" y="136"/>
                    <a:pt x="27" y="136"/>
                    <a:pt x="29" y="138"/>
                  </a:cubicBezTo>
                  <a:cubicBezTo>
                    <a:pt x="29" y="138"/>
                    <a:pt x="29" y="138"/>
                    <a:pt x="29" y="138"/>
                  </a:cubicBezTo>
                  <a:cubicBezTo>
                    <a:pt x="30" y="139"/>
                    <a:pt x="31" y="140"/>
                    <a:pt x="31" y="140"/>
                  </a:cubicBezTo>
                  <a:cubicBezTo>
                    <a:pt x="32" y="140"/>
                    <a:pt x="33" y="140"/>
                    <a:pt x="35" y="138"/>
                  </a:cubicBezTo>
                  <a:cubicBezTo>
                    <a:pt x="39" y="135"/>
                    <a:pt x="44" y="132"/>
                    <a:pt x="48" y="132"/>
                  </a:cubicBezTo>
                  <a:cubicBezTo>
                    <a:pt x="49" y="132"/>
                    <a:pt x="50" y="132"/>
                    <a:pt x="50" y="132"/>
                  </a:cubicBezTo>
                  <a:cubicBezTo>
                    <a:pt x="54" y="136"/>
                    <a:pt x="53" y="145"/>
                    <a:pt x="52" y="149"/>
                  </a:cubicBezTo>
                  <a:cubicBezTo>
                    <a:pt x="51" y="153"/>
                    <a:pt x="52" y="153"/>
                    <a:pt x="54" y="154"/>
                  </a:cubicBezTo>
                  <a:cubicBezTo>
                    <a:pt x="55" y="154"/>
                    <a:pt x="55" y="154"/>
                    <a:pt x="55" y="154"/>
                  </a:cubicBezTo>
                  <a:cubicBezTo>
                    <a:pt x="56" y="155"/>
                    <a:pt x="57" y="155"/>
                    <a:pt x="57" y="155"/>
                  </a:cubicBezTo>
                  <a:cubicBezTo>
                    <a:pt x="58" y="155"/>
                    <a:pt x="59" y="153"/>
                    <a:pt x="60" y="152"/>
                  </a:cubicBezTo>
                  <a:cubicBezTo>
                    <a:pt x="63" y="147"/>
                    <a:pt x="67" y="142"/>
                    <a:pt x="70" y="141"/>
                  </a:cubicBezTo>
                  <a:lnTo>
                    <a:pt x="71" y="141"/>
                  </a:lnTo>
                  <a:close/>
                  <a:moveTo>
                    <a:pt x="82" y="134"/>
                  </a:moveTo>
                  <a:cubicBezTo>
                    <a:pt x="68" y="134"/>
                    <a:pt x="55" y="129"/>
                    <a:pt x="46" y="119"/>
                  </a:cubicBezTo>
                  <a:cubicBezTo>
                    <a:pt x="36" y="109"/>
                    <a:pt x="30" y="96"/>
                    <a:pt x="30" y="83"/>
                  </a:cubicBezTo>
                  <a:cubicBezTo>
                    <a:pt x="30" y="69"/>
                    <a:pt x="36" y="56"/>
                    <a:pt x="45" y="46"/>
                  </a:cubicBezTo>
                  <a:cubicBezTo>
                    <a:pt x="55" y="36"/>
                    <a:pt x="68" y="31"/>
                    <a:pt x="82" y="31"/>
                  </a:cubicBezTo>
                  <a:cubicBezTo>
                    <a:pt x="96" y="31"/>
                    <a:pt x="109" y="36"/>
                    <a:pt x="119" y="46"/>
                  </a:cubicBezTo>
                  <a:cubicBezTo>
                    <a:pt x="128" y="56"/>
                    <a:pt x="134" y="69"/>
                    <a:pt x="134" y="82"/>
                  </a:cubicBezTo>
                  <a:cubicBezTo>
                    <a:pt x="134" y="96"/>
                    <a:pt x="128" y="109"/>
                    <a:pt x="119" y="119"/>
                  </a:cubicBezTo>
                  <a:cubicBezTo>
                    <a:pt x="109" y="129"/>
                    <a:pt x="96" y="134"/>
                    <a:pt x="82" y="134"/>
                  </a:cubicBezTo>
                  <a:close/>
                  <a:moveTo>
                    <a:pt x="82" y="36"/>
                  </a:moveTo>
                  <a:cubicBezTo>
                    <a:pt x="70" y="36"/>
                    <a:pt x="58" y="41"/>
                    <a:pt x="49" y="49"/>
                  </a:cubicBezTo>
                  <a:cubicBezTo>
                    <a:pt x="40" y="58"/>
                    <a:pt x="35" y="70"/>
                    <a:pt x="35" y="83"/>
                  </a:cubicBezTo>
                  <a:cubicBezTo>
                    <a:pt x="35" y="95"/>
                    <a:pt x="40" y="107"/>
                    <a:pt x="49" y="115"/>
                  </a:cubicBezTo>
                  <a:cubicBezTo>
                    <a:pt x="58" y="124"/>
                    <a:pt x="70" y="129"/>
                    <a:pt x="82" y="129"/>
                  </a:cubicBezTo>
                  <a:cubicBezTo>
                    <a:pt x="95" y="129"/>
                    <a:pt x="106" y="124"/>
                    <a:pt x="115" y="115"/>
                  </a:cubicBezTo>
                  <a:cubicBezTo>
                    <a:pt x="124" y="107"/>
                    <a:pt x="129" y="95"/>
                    <a:pt x="129" y="82"/>
                  </a:cubicBezTo>
                  <a:cubicBezTo>
                    <a:pt x="129" y="70"/>
                    <a:pt x="124" y="58"/>
                    <a:pt x="115" y="49"/>
                  </a:cubicBezTo>
                  <a:cubicBezTo>
                    <a:pt x="106" y="41"/>
                    <a:pt x="95" y="36"/>
                    <a:pt x="82" y="3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5" name="Freeform 1420">
              <a:extLst>
                <a:ext uri="{FF2B5EF4-FFF2-40B4-BE49-F238E27FC236}">
                  <a16:creationId xmlns:a16="http://schemas.microsoft.com/office/drawing/2014/main" id="{D6D63671-1070-4CFF-BE92-5CCEBB35F6A5}"/>
                </a:ext>
              </a:extLst>
            </p:cNvPr>
            <p:cNvSpPr>
              <a:spLocks noEditPoints="1"/>
            </p:cNvSpPr>
            <p:nvPr/>
          </p:nvSpPr>
          <p:spPr bwMode="auto">
            <a:xfrm rot="20647229" flipH="1">
              <a:off x="5779144" y="4215001"/>
              <a:ext cx="341313" cy="319088"/>
            </a:xfrm>
            <a:custGeom>
              <a:avLst/>
              <a:gdLst>
                <a:gd name="T0" fmla="*/ 136 w 287"/>
                <a:gd name="T1" fmla="*/ 268 h 268"/>
                <a:gd name="T2" fmla="*/ 136 w 287"/>
                <a:gd name="T3" fmla="*/ 268 h 268"/>
                <a:gd name="T4" fmla="*/ 52 w 287"/>
                <a:gd name="T5" fmla="*/ 238 h 268"/>
                <a:gd name="T6" fmla="*/ 3 w 287"/>
                <a:gd name="T7" fmla="*/ 148 h 268"/>
                <a:gd name="T8" fmla="*/ 32 w 287"/>
                <a:gd name="T9" fmla="*/ 49 h 268"/>
                <a:gd name="T10" fmla="*/ 137 w 287"/>
                <a:gd name="T11" fmla="*/ 0 h 268"/>
                <a:gd name="T12" fmla="*/ 221 w 287"/>
                <a:gd name="T13" fmla="*/ 30 h 268"/>
                <a:gd name="T14" fmla="*/ 240 w 287"/>
                <a:gd name="T15" fmla="*/ 218 h 268"/>
                <a:gd name="T16" fmla="*/ 136 w 287"/>
                <a:gd name="T17" fmla="*/ 268 h 268"/>
                <a:gd name="T18" fmla="*/ 137 w 287"/>
                <a:gd name="T19" fmla="*/ 5 h 268"/>
                <a:gd name="T20" fmla="*/ 36 w 287"/>
                <a:gd name="T21" fmla="*/ 52 h 268"/>
                <a:gd name="T22" fmla="*/ 8 w 287"/>
                <a:gd name="T23" fmla="*/ 147 h 268"/>
                <a:gd name="T24" fmla="*/ 55 w 287"/>
                <a:gd name="T25" fmla="*/ 234 h 268"/>
                <a:gd name="T26" fmla="*/ 136 w 287"/>
                <a:gd name="T27" fmla="*/ 263 h 268"/>
                <a:gd name="T28" fmla="*/ 136 w 287"/>
                <a:gd name="T29" fmla="*/ 263 h 268"/>
                <a:gd name="T30" fmla="*/ 237 w 287"/>
                <a:gd name="T31" fmla="*/ 215 h 268"/>
                <a:gd name="T32" fmla="*/ 218 w 287"/>
                <a:gd name="T33" fmla="*/ 34 h 268"/>
                <a:gd name="T34" fmla="*/ 137 w 287"/>
                <a:gd name="T35" fmla="*/ 5 h 268"/>
                <a:gd name="T36" fmla="*/ 136 w 287"/>
                <a:gd name="T37" fmla="*/ 184 h 268"/>
                <a:gd name="T38" fmla="*/ 105 w 287"/>
                <a:gd name="T39" fmla="*/ 172 h 268"/>
                <a:gd name="T40" fmla="*/ 98 w 287"/>
                <a:gd name="T41" fmla="*/ 102 h 268"/>
                <a:gd name="T42" fmla="*/ 136 w 287"/>
                <a:gd name="T43" fmla="*/ 84 h 268"/>
                <a:gd name="T44" fmla="*/ 168 w 287"/>
                <a:gd name="T45" fmla="*/ 95 h 268"/>
                <a:gd name="T46" fmla="*/ 175 w 287"/>
                <a:gd name="T47" fmla="*/ 165 h 268"/>
                <a:gd name="T48" fmla="*/ 136 w 287"/>
                <a:gd name="T49" fmla="*/ 184 h 268"/>
                <a:gd name="T50" fmla="*/ 136 w 287"/>
                <a:gd name="T51" fmla="*/ 89 h 268"/>
                <a:gd name="T52" fmla="*/ 102 w 287"/>
                <a:gd name="T53" fmla="*/ 105 h 268"/>
                <a:gd name="T54" fmla="*/ 108 w 287"/>
                <a:gd name="T55" fmla="*/ 169 h 268"/>
                <a:gd name="T56" fmla="*/ 136 w 287"/>
                <a:gd name="T57" fmla="*/ 179 h 268"/>
                <a:gd name="T58" fmla="*/ 171 w 287"/>
                <a:gd name="T59" fmla="*/ 162 h 268"/>
                <a:gd name="T60" fmla="*/ 165 w 287"/>
                <a:gd name="T61" fmla="*/ 99 h 268"/>
                <a:gd name="T62" fmla="*/ 136 w 287"/>
                <a:gd name="T63" fmla="*/ 8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6" y="268"/>
                  </a:moveTo>
                  <a:cubicBezTo>
                    <a:pt x="136" y="268"/>
                    <a:pt x="136" y="268"/>
                    <a:pt x="136" y="268"/>
                  </a:cubicBezTo>
                  <a:cubicBezTo>
                    <a:pt x="106" y="268"/>
                    <a:pt x="76" y="257"/>
                    <a:pt x="52" y="238"/>
                  </a:cubicBezTo>
                  <a:cubicBezTo>
                    <a:pt x="24" y="215"/>
                    <a:pt x="7" y="183"/>
                    <a:pt x="3" y="148"/>
                  </a:cubicBezTo>
                  <a:cubicBezTo>
                    <a:pt x="0" y="112"/>
                    <a:pt x="10" y="77"/>
                    <a:pt x="32" y="49"/>
                  </a:cubicBezTo>
                  <a:cubicBezTo>
                    <a:pt x="58" y="18"/>
                    <a:pt x="96" y="0"/>
                    <a:pt x="137" y="0"/>
                  </a:cubicBezTo>
                  <a:cubicBezTo>
                    <a:pt x="167" y="0"/>
                    <a:pt x="197" y="10"/>
                    <a:pt x="221" y="30"/>
                  </a:cubicBezTo>
                  <a:cubicBezTo>
                    <a:pt x="278" y="76"/>
                    <a:pt x="287" y="161"/>
                    <a:pt x="240" y="218"/>
                  </a:cubicBezTo>
                  <a:cubicBezTo>
                    <a:pt x="215" y="250"/>
                    <a:pt x="177" y="268"/>
                    <a:pt x="136" y="268"/>
                  </a:cubicBezTo>
                  <a:close/>
                  <a:moveTo>
                    <a:pt x="137" y="5"/>
                  </a:moveTo>
                  <a:cubicBezTo>
                    <a:pt x="97" y="5"/>
                    <a:pt x="61" y="22"/>
                    <a:pt x="36" y="52"/>
                  </a:cubicBezTo>
                  <a:cubicBezTo>
                    <a:pt x="15" y="79"/>
                    <a:pt x="5" y="113"/>
                    <a:pt x="8" y="147"/>
                  </a:cubicBezTo>
                  <a:cubicBezTo>
                    <a:pt x="12" y="181"/>
                    <a:pt x="28" y="212"/>
                    <a:pt x="55" y="234"/>
                  </a:cubicBezTo>
                  <a:cubicBezTo>
                    <a:pt x="78" y="252"/>
                    <a:pt x="107" y="263"/>
                    <a:pt x="136" y="263"/>
                  </a:cubicBezTo>
                  <a:cubicBezTo>
                    <a:pt x="136" y="263"/>
                    <a:pt x="136" y="263"/>
                    <a:pt x="136" y="263"/>
                  </a:cubicBezTo>
                  <a:cubicBezTo>
                    <a:pt x="175" y="263"/>
                    <a:pt x="212" y="245"/>
                    <a:pt x="237" y="215"/>
                  </a:cubicBezTo>
                  <a:cubicBezTo>
                    <a:pt x="281" y="160"/>
                    <a:pt x="273" y="78"/>
                    <a:pt x="218" y="34"/>
                  </a:cubicBezTo>
                  <a:cubicBezTo>
                    <a:pt x="195" y="15"/>
                    <a:pt x="166" y="5"/>
                    <a:pt x="137" y="5"/>
                  </a:cubicBezTo>
                  <a:close/>
                  <a:moveTo>
                    <a:pt x="136" y="184"/>
                  </a:moveTo>
                  <a:cubicBezTo>
                    <a:pt x="125" y="184"/>
                    <a:pt x="114" y="180"/>
                    <a:pt x="105" y="172"/>
                  </a:cubicBezTo>
                  <a:cubicBezTo>
                    <a:pt x="84" y="155"/>
                    <a:pt x="80" y="124"/>
                    <a:pt x="98" y="102"/>
                  </a:cubicBezTo>
                  <a:cubicBezTo>
                    <a:pt x="107" y="90"/>
                    <a:pt x="121" y="84"/>
                    <a:pt x="136" y="84"/>
                  </a:cubicBezTo>
                  <a:cubicBezTo>
                    <a:pt x="148" y="84"/>
                    <a:pt x="159" y="88"/>
                    <a:pt x="168" y="95"/>
                  </a:cubicBezTo>
                  <a:cubicBezTo>
                    <a:pt x="189" y="112"/>
                    <a:pt x="193" y="144"/>
                    <a:pt x="175" y="165"/>
                  </a:cubicBezTo>
                  <a:cubicBezTo>
                    <a:pt x="166" y="177"/>
                    <a:pt x="152" y="184"/>
                    <a:pt x="136" y="184"/>
                  </a:cubicBezTo>
                  <a:close/>
                  <a:moveTo>
                    <a:pt x="136" y="89"/>
                  </a:moveTo>
                  <a:cubicBezTo>
                    <a:pt x="123" y="89"/>
                    <a:pt x="110" y="95"/>
                    <a:pt x="102" y="105"/>
                  </a:cubicBezTo>
                  <a:cubicBezTo>
                    <a:pt x="86" y="125"/>
                    <a:pt x="89" y="153"/>
                    <a:pt x="108" y="169"/>
                  </a:cubicBezTo>
                  <a:cubicBezTo>
                    <a:pt x="116" y="175"/>
                    <a:pt x="126" y="179"/>
                    <a:pt x="136" y="179"/>
                  </a:cubicBezTo>
                  <a:cubicBezTo>
                    <a:pt x="150" y="179"/>
                    <a:pt x="163" y="173"/>
                    <a:pt x="171" y="162"/>
                  </a:cubicBezTo>
                  <a:cubicBezTo>
                    <a:pt x="187" y="143"/>
                    <a:pt x="184" y="114"/>
                    <a:pt x="165" y="99"/>
                  </a:cubicBezTo>
                  <a:cubicBezTo>
                    <a:pt x="157" y="92"/>
                    <a:pt x="147" y="89"/>
                    <a:pt x="136" y="8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6" name="Freeform 1422">
              <a:extLst>
                <a:ext uri="{FF2B5EF4-FFF2-40B4-BE49-F238E27FC236}">
                  <a16:creationId xmlns:a16="http://schemas.microsoft.com/office/drawing/2014/main" id="{A582E9CD-BEF3-4A3B-B9B1-ADE0E004FA0B}"/>
                </a:ext>
              </a:extLst>
            </p:cNvPr>
            <p:cNvSpPr>
              <a:spLocks noEditPoints="1"/>
            </p:cNvSpPr>
            <p:nvPr/>
          </p:nvSpPr>
          <p:spPr bwMode="auto">
            <a:xfrm rot="20647229" flipH="1">
              <a:off x="5745504" y="4160442"/>
              <a:ext cx="423863" cy="423863"/>
            </a:xfrm>
            <a:custGeom>
              <a:avLst/>
              <a:gdLst>
                <a:gd name="T0" fmla="*/ 145 w 357"/>
                <a:gd name="T1" fmla="*/ 320 h 356"/>
                <a:gd name="T2" fmla="*/ 103 w 357"/>
                <a:gd name="T3" fmla="*/ 325 h 356"/>
                <a:gd name="T4" fmla="*/ 64 w 357"/>
                <a:gd name="T5" fmla="*/ 314 h 356"/>
                <a:gd name="T6" fmla="*/ 29 w 357"/>
                <a:gd name="T7" fmla="*/ 274 h 356"/>
                <a:gd name="T8" fmla="*/ 23 w 357"/>
                <a:gd name="T9" fmla="*/ 233 h 356"/>
                <a:gd name="T10" fmla="*/ 33 w 357"/>
                <a:gd name="T11" fmla="*/ 191 h 356"/>
                <a:gd name="T12" fmla="*/ 36 w 357"/>
                <a:gd name="T13" fmla="*/ 146 h 356"/>
                <a:gd name="T14" fmla="*/ 30 w 357"/>
                <a:gd name="T15" fmla="*/ 105 h 356"/>
                <a:gd name="T16" fmla="*/ 40 w 357"/>
                <a:gd name="T17" fmla="*/ 66 h 356"/>
                <a:gd name="T18" fmla="*/ 83 w 357"/>
                <a:gd name="T19" fmla="*/ 68 h 356"/>
                <a:gd name="T20" fmla="*/ 87 w 357"/>
                <a:gd name="T21" fmla="*/ 25 h 356"/>
                <a:gd name="T22" fmla="*/ 137 w 357"/>
                <a:gd name="T23" fmla="*/ 4 h 356"/>
                <a:gd name="T24" fmla="*/ 177 w 357"/>
                <a:gd name="T25" fmla="*/ 12 h 356"/>
                <a:gd name="T26" fmla="*/ 212 w 357"/>
                <a:gd name="T27" fmla="*/ 36 h 356"/>
                <a:gd name="T28" fmla="*/ 254 w 357"/>
                <a:gd name="T29" fmla="*/ 32 h 356"/>
                <a:gd name="T30" fmla="*/ 294 w 357"/>
                <a:gd name="T31" fmla="*/ 42 h 356"/>
                <a:gd name="T32" fmla="*/ 319 w 357"/>
                <a:gd name="T33" fmla="*/ 76 h 356"/>
                <a:gd name="T34" fmla="*/ 331 w 357"/>
                <a:gd name="T35" fmla="*/ 123 h 356"/>
                <a:gd name="T36" fmla="*/ 341 w 357"/>
                <a:gd name="T37" fmla="*/ 152 h 356"/>
                <a:gd name="T38" fmla="*/ 341 w 357"/>
                <a:gd name="T39" fmla="*/ 203 h 356"/>
                <a:gd name="T40" fmla="*/ 333 w 357"/>
                <a:gd name="T41" fmla="*/ 252 h 356"/>
                <a:gd name="T42" fmla="*/ 316 w 357"/>
                <a:gd name="T43" fmla="*/ 291 h 356"/>
                <a:gd name="T44" fmla="*/ 277 w 357"/>
                <a:gd name="T45" fmla="*/ 310 h 356"/>
                <a:gd name="T46" fmla="*/ 234 w 357"/>
                <a:gd name="T47" fmla="*/ 313 h 356"/>
                <a:gd name="T48" fmla="*/ 203 w 357"/>
                <a:gd name="T49" fmla="*/ 341 h 356"/>
                <a:gd name="T50" fmla="*/ 146 w 357"/>
                <a:gd name="T51" fmla="*/ 315 h 356"/>
                <a:gd name="T52" fmla="*/ 176 w 357"/>
                <a:gd name="T53" fmla="*/ 341 h 356"/>
                <a:gd name="T54" fmla="*/ 219 w 357"/>
                <a:gd name="T55" fmla="*/ 346 h 356"/>
                <a:gd name="T56" fmla="*/ 256 w 357"/>
                <a:gd name="T57" fmla="*/ 322 h 356"/>
                <a:gd name="T58" fmla="*/ 270 w 357"/>
                <a:gd name="T59" fmla="*/ 282 h 356"/>
                <a:gd name="T60" fmla="*/ 313 w 357"/>
                <a:gd name="T61" fmla="*/ 287 h 356"/>
                <a:gd name="T62" fmla="*/ 327 w 357"/>
                <a:gd name="T63" fmla="*/ 246 h 356"/>
                <a:gd name="T64" fmla="*/ 316 w 357"/>
                <a:gd name="T65" fmla="*/ 208 h 356"/>
                <a:gd name="T66" fmla="*/ 342 w 357"/>
                <a:gd name="T67" fmla="*/ 178 h 356"/>
                <a:gd name="T68" fmla="*/ 346 w 357"/>
                <a:gd name="T69" fmla="*/ 135 h 356"/>
                <a:gd name="T70" fmla="*/ 307 w 357"/>
                <a:gd name="T71" fmla="*/ 120 h 356"/>
                <a:gd name="T72" fmla="*/ 312 w 357"/>
                <a:gd name="T73" fmla="*/ 83 h 356"/>
                <a:gd name="T74" fmla="*/ 291 w 357"/>
                <a:gd name="T75" fmla="*/ 46 h 356"/>
                <a:gd name="T76" fmla="*/ 251 w 357"/>
                <a:gd name="T77" fmla="*/ 57 h 356"/>
                <a:gd name="T78" fmla="*/ 239 w 357"/>
                <a:gd name="T79" fmla="*/ 16 h 356"/>
                <a:gd name="T80" fmla="*/ 193 w 357"/>
                <a:gd name="T81" fmla="*/ 5 h 356"/>
                <a:gd name="T82" fmla="*/ 165 w 357"/>
                <a:gd name="T83" fmla="*/ 37 h 356"/>
                <a:gd name="T84" fmla="*/ 132 w 357"/>
                <a:gd name="T85" fmla="*/ 20 h 356"/>
                <a:gd name="T86" fmla="*/ 90 w 357"/>
                <a:gd name="T87" fmla="*/ 29 h 356"/>
                <a:gd name="T88" fmla="*/ 86 w 357"/>
                <a:gd name="T89" fmla="*/ 72 h 356"/>
                <a:gd name="T90" fmla="*/ 44 w 357"/>
                <a:gd name="T91" fmla="*/ 69 h 356"/>
                <a:gd name="T92" fmla="*/ 41 w 357"/>
                <a:gd name="T93" fmla="*/ 111 h 356"/>
                <a:gd name="T94" fmla="*/ 22 w 357"/>
                <a:gd name="T95" fmla="*/ 128 h 356"/>
                <a:gd name="T96" fmla="*/ 6 w 357"/>
                <a:gd name="T97" fmla="*/ 169 h 356"/>
                <a:gd name="T98" fmla="*/ 11 w 357"/>
                <a:gd name="T99" fmla="*/ 221 h 356"/>
                <a:gd name="T100" fmla="*/ 48 w 357"/>
                <a:gd name="T101" fmla="*/ 232 h 356"/>
                <a:gd name="T102" fmla="*/ 38 w 357"/>
                <a:gd name="T103" fmla="*/ 276 h 356"/>
                <a:gd name="T104" fmla="*/ 67 w 357"/>
                <a:gd name="T105" fmla="*/ 310 h 356"/>
                <a:gd name="T106" fmla="*/ 106 w 357"/>
                <a:gd name="T107" fmla="*/ 298 h 356"/>
                <a:gd name="T108" fmla="*/ 126 w 357"/>
                <a:gd name="T109" fmla="*/ 333 h 356"/>
                <a:gd name="T110" fmla="*/ 88 w 357"/>
                <a:gd name="T111" fmla="*/ 104 h 356"/>
                <a:gd name="T112" fmla="*/ 178 w 357"/>
                <a:gd name="T113" fmla="*/ 294 h 356"/>
                <a:gd name="T114" fmla="*/ 265 w 357"/>
                <a:gd name="T115" fmla="*/ 24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169" y="356"/>
                  </a:moveTo>
                  <a:cubicBezTo>
                    <a:pt x="168" y="356"/>
                    <a:pt x="167" y="356"/>
                    <a:pt x="166" y="355"/>
                  </a:cubicBezTo>
                  <a:cubicBezTo>
                    <a:pt x="165" y="355"/>
                    <a:pt x="165" y="355"/>
                    <a:pt x="165" y="355"/>
                  </a:cubicBezTo>
                  <a:cubicBezTo>
                    <a:pt x="159" y="355"/>
                    <a:pt x="153" y="354"/>
                    <a:pt x="152" y="341"/>
                  </a:cubicBezTo>
                  <a:cubicBezTo>
                    <a:pt x="151" y="332"/>
                    <a:pt x="148" y="323"/>
                    <a:pt x="145" y="320"/>
                  </a:cubicBezTo>
                  <a:cubicBezTo>
                    <a:pt x="141" y="322"/>
                    <a:pt x="135" y="328"/>
                    <a:pt x="131" y="335"/>
                  </a:cubicBezTo>
                  <a:cubicBezTo>
                    <a:pt x="127" y="342"/>
                    <a:pt x="123" y="345"/>
                    <a:pt x="119" y="345"/>
                  </a:cubicBezTo>
                  <a:cubicBezTo>
                    <a:pt x="117" y="345"/>
                    <a:pt x="114" y="344"/>
                    <a:pt x="113" y="343"/>
                  </a:cubicBezTo>
                  <a:cubicBezTo>
                    <a:pt x="111" y="343"/>
                    <a:pt x="111" y="343"/>
                    <a:pt x="111" y="343"/>
                  </a:cubicBezTo>
                  <a:cubicBezTo>
                    <a:pt x="106" y="341"/>
                    <a:pt x="100" y="338"/>
                    <a:pt x="103" y="325"/>
                  </a:cubicBezTo>
                  <a:cubicBezTo>
                    <a:pt x="105" y="316"/>
                    <a:pt x="105" y="307"/>
                    <a:pt x="103" y="303"/>
                  </a:cubicBezTo>
                  <a:cubicBezTo>
                    <a:pt x="98" y="303"/>
                    <a:pt x="91" y="308"/>
                    <a:pt x="85" y="313"/>
                  </a:cubicBezTo>
                  <a:cubicBezTo>
                    <a:pt x="81" y="317"/>
                    <a:pt x="77" y="319"/>
                    <a:pt x="73" y="319"/>
                  </a:cubicBezTo>
                  <a:cubicBezTo>
                    <a:pt x="70" y="319"/>
                    <a:pt x="67" y="317"/>
                    <a:pt x="65" y="315"/>
                  </a:cubicBezTo>
                  <a:cubicBezTo>
                    <a:pt x="64" y="314"/>
                    <a:pt x="64" y="314"/>
                    <a:pt x="64" y="314"/>
                  </a:cubicBezTo>
                  <a:cubicBezTo>
                    <a:pt x="59" y="311"/>
                    <a:pt x="55" y="306"/>
                    <a:pt x="62" y="295"/>
                  </a:cubicBezTo>
                  <a:cubicBezTo>
                    <a:pt x="66" y="287"/>
                    <a:pt x="69" y="278"/>
                    <a:pt x="68" y="273"/>
                  </a:cubicBezTo>
                  <a:cubicBezTo>
                    <a:pt x="64" y="273"/>
                    <a:pt x="55" y="275"/>
                    <a:pt x="48" y="278"/>
                  </a:cubicBezTo>
                  <a:cubicBezTo>
                    <a:pt x="44" y="280"/>
                    <a:pt x="41" y="281"/>
                    <a:pt x="38" y="281"/>
                  </a:cubicBezTo>
                  <a:cubicBezTo>
                    <a:pt x="33" y="281"/>
                    <a:pt x="30" y="277"/>
                    <a:pt x="29" y="274"/>
                  </a:cubicBezTo>
                  <a:cubicBezTo>
                    <a:pt x="28" y="273"/>
                    <a:pt x="28" y="273"/>
                    <a:pt x="28" y="273"/>
                  </a:cubicBezTo>
                  <a:cubicBezTo>
                    <a:pt x="24" y="268"/>
                    <a:pt x="22" y="262"/>
                    <a:pt x="32" y="254"/>
                  </a:cubicBezTo>
                  <a:cubicBezTo>
                    <a:pt x="38" y="248"/>
                    <a:pt x="44" y="240"/>
                    <a:pt x="44" y="235"/>
                  </a:cubicBezTo>
                  <a:cubicBezTo>
                    <a:pt x="41" y="234"/>
                    <a:pt x="36" y="233"/>
                    <a:pt x="30" y="233"/>
                  </a:cubicBezTo>
                  <a:cubicBezTo>
                    <a:pt x="28" y="233"/>
                    <a:pt x="25" y="233"/>
                    <a:pt x="23" y="233"/>
                  </a:cubicBezTo>
                  <a:cubicBezTo>
                    <a:pt x="22" y="233"/>
                    <a:pt x="20" y="234"/>
                    <a:pt x="19" y="234"/>
                  </a:cubicBezTo>
                  <a:cubicBezTo>
                    <a:pt x="9" y="234"/>
                    <a:pt x="7" y="227"/>
                    <a:pt x="6" y="223"/>
                  </a:cubicBezTo>
                  <a:cubicBezTo>
                    <a:pt x="6" y="222"/>
                    <a:pt x="6" y="222"/>
                    <a:pt x="6" y="222"/>
                  </a:cubicBezTo>
                  <a:cubicBezTo>
                    <a:pt x="4" y="216"/>
                    <a:pt x="3" y="210"/>
                    <a:pt x="16" y="205"/>
                  </a:cubicBezTo>
                  <a:cubicBezTo>
                    <a:pt x="24" y="201"/>
                    <a:pt x="31" y="195"/>
                    <a:pt x="33" y="191"/>
                  </a:cubicBezTo>
                  <a:cubicBezTo>
                    <a:pt x="30" y="188"/>
                    <a:pt x="22" y="185"/>
                    <a:pt x="14" y="183"/>
                  </a:cubicBezTo>
                  <a:cubicBezTo>
                    <a:pt x="1" y="181"/>
                    <a:pt x="0" y="175"/>
                    <a:pt x="0" y="169"/>
                  </a:cubicBezTo>
                  <a:cubicBezTo>
                    <a:pt x="1" y="167"/>
                    <a:pt x="1" y="167"/>
                    <a:pt x="1" y="167"/>
                  </a:cubicBezTo>
                  <a:cubicBezTo>
                    <a:pt x="1" y="161"/>
                    <a:pt x="2" y="155"/>
                    <a:pt x="15" y="154"/>
                  </a:cubicBezTo>
                  <a:cubicBezTo>
                    <a:pt x="24" y="153"/>
                    <a:pt x="33" y="150"/>
                    <a:pt x="36" y="146"/>
                  </a:cubicBezTo>
                  <a:cubicBezTo>
                    <a:pt x="34" y="142"/>
                    <a:pt x="27" y="136"/>
                    <a:pt x="20" y="132"/>
                  </a:cubicBezTo>
                  <a:cubicBezTo>
                    <a:pt x="8" y="126"/>
                    <a:pt x="10" y="120"/>
                    <a:pt x="12" y="115"/>
                  </a:cubicBezTo>
                  <a:cubicBezTo>
                    <a:pt x="12" y="113"/>
                    <a:pt x="12" y="113"/>
                    <a:pt x="12" y="113"/>
                  </a:cubicBezTo>
                  <a:cubicBezTo>
                    <a:pt x="14" y="110"/>
                    <a:pt x="15" y="104"/>
                    <a:pt x="24" y="104"/>
                  </a:cubicBezTo>
                  <a:cubicBezTo>
                    <a:pt x="26" y="104"/>
                    <a:pt x="28" y="105"/>
                    <a:pt x="30" y="105"/>
                  </a:cubicBezTo>
                  <a:cubicBezTo>
                    <a:pt x="33" y="106"/>
                    <a:pt x="37" y="106"/>
                    <a:pt x="41" y="106"/>
                  </a:cubicBezTo>
                  <a:cubicBezTo>
                    <a:pt x="47" y="106"/>
                    <a:pt x="50" y="105"/>
                    <a:pt x="52" y="104"/>
                  </a:cubicBezTo>
                  <a:cubicBezTo>
                    <a:pt x="51" y="100"/>
                    <a:pt x="47" y="92"/>
                    <a:pt x="41" y="86"/>
                  </a:cubicBezTo>
                  <a:cubicBezTo>
                    <a:pt x="32" y="77"/>
                    <a:pt x="35" y="71"/>
                    <a:pt x="39" y="67"/>
                  </a:cubicBezTo>
                  <a:cubicBezTo>
                    <a:pt x="40" y="66"/>
                    <a:pt x="40" y="66"/>
                    <a:pt x="40" y="66"/>
                  </a:cubicBezTo>
                  <a:cubicBezTo>
                    <a:pt x="42" y="63"/>
                    <a:pt x="44" y="60"/>
                    <a:pt x="49" y="60"/>
                  </a:cubicBezTo>
                  <a:cubicBezTo>
                    <a:pt x="52" y="60"/>
                    <a:pt x="55" y="61"/>
                    <a:pt x="59" y="63"/>
                  </a:cubicBezTo>
                  <a:cubicBezTo>
                    <a:pt x="66" y="67"/>
                    <a:pt x="74" y="69"/>
                    <a:pt x="79" y="69"/>
                  </a:cubicBezTo>
                  <a:cubicBezTo>
                    <a:pt x="81" y="69"/>
                    <a:pt x="82" y="69"/>
                    <a:pt x="82" y="69"/>
                  </a:cubicBezTo>
                  <a:cubicBezTo>
                    <a:pt x="83" y="68"/>
                    <a:pt x="83" y="68"/>
                    <a:pt x="83" y="68"/>
                  </a:cubicBezTo>
                  <a:cubicBezTo>
                    <a:pt x="83" y="68"/>
                    <a:pt x="83" y="68"/>
                    <a:pt x="83" y="68"/>
                  </a:cubicBezTo>
                  <a:cubicBezTo>
                    <a:pt x="83" y="68"/>
                    <a:pt x="83" y="68"/>
                    <a:pt x="83" y="68"/>
                  </a:cubicBezTo>
                  <a:cubicBezTo>
                    <a:pt x="86" y="66"/>
                    <a:pt x="85" y="55"/>
                    <a:pt x="81" y="44"/>
                  </a:cubicBezTo>
                  <a:cubicBezTo>
                    <a:pt x="76" y="32"/>
                    <a:pt x="81" y="28"/>
                    <a:pt x="86" y="25"/>
                  </a:cubicBezTo>
                  <a:cubicBezTo>
                    <a:pt x="87" y="25"/>
                    <a:pt x="87" y="25"/>
                    <a:pt x="87" y="25"/>
                  </a:cubicBezTo>
                  <a:cubicBezTo>
                    <a:pt x="89" y="23"/>
                    <a:pt x="92" y="22"/>
                    <a:pt x="95" y="22"/>
                  </a:cubicBezTo>
                  <a:cubicBezTo>
                    <a:pt x="99" y="22"/>
                    <a:pt x="102" y="25"/>
                    <a:pt x="106" y="30"/>
                  </a:cubicBezTo>
                  <a:cubicBezTo>
                    <a:pt x="111" y="36"/>
                    <a:pt x="118" y="41"/>
                    <a:pt x="123" y="43"/>
                  </a:cubicBezTo>
                  <a:cubicBezTo>
                    <a:pt x="125" y="39"/>
                    <a:pt x="127" y="30"/>
                    <a:pt x="127" y="21"/>
                  </a:cubicBezTo>
                  <a:cubicBezTo>
                    <a:pt x="125" y="8"/>
                    <a:pt x="131" y="6"/>
                    <a:pt x="137" y="4"/>
                  </a:cubicBezTo>
                  <a:cubicBezTo>
                    <a:pt x="138" y="4"/>
                    <a:pt x="138" y="4"/>
                    <a:pt x="138" y="4"/>
                  </a:cubicBezTo>
                  <a:cubicBezTo>
                    <a:pt x="140" y="4"/>
                    <a:pt x="141" y="3"/>
                    <a:pt x="143" y="3"/>
                  </a:cubicBezTo>
                  <a:cubicBezTo>
                    <a:pt x="149" y="3"/>
                    <a:pt x="152" y="7"/>
                    <a:pt x="155" y="15"/>
                  </a:cubicBezTo>
                  <a:cubicBezTo>
                    <a:pt x="158" y="22"/>
                    <a:pt x="163" y="29"/>
                    <a:pt x="167" y="32"/>
                  </a:cubicBezTo>
                  <a:cubicBezTo>
                    <a:pt x="170" y="30"/>
                    <a:pt x="175" y="21"/>
                    <a:pt x="177" y="12"/>
                  </a:cubicBezTo>
                  <a:cubicBezTo>
                    <a:pt x="179" y="4"/>
                    <a:pt x="183" y="0"/>
                    <a:pt x="189" y="0"/>
                  </a:cubicBezTo>
                  <a:cubicBezTo>
                    <a:pt x="190" y="0"/>
                    <a:pt x="191" y="0"/>
                    <a:pt x="192" y="0"/>
                  </a:cubicBezTo>
                  <a:cubicBezTo>
                    <a:pt x="193" y="0"/>
                    <a:pt x="193" y="0"/>
                    <a:pt x="193" y="0"/>
                  </a:cubicBezTo>
                  <a:cubicBezTo>
                    <a:pt x="200" y="1"/>
                    <a:pt x="206" y="2"/>
                    <a:pt x="206" y="15"/>
                  </a:cubicBezTo>
                  <a:cubicBezTo>
                    <a:pt x="207" y="23"/>
                    <a:pt x="209" y="32"/>
                    <a:pt x="212" y="36"/>
                  </a:cubicBezTo>
                  <a:cubicBezTo>
                    <a:pt x="216" y="34"/>
                    <a:pt x="223" y="27"/>
                    <a:pt x="228" y="20"/>
                  </a:cubicBezTo>
                  <a:cubicBezTo>
                    <a:pt x="231" y="14"/>
                    <a:pt x="235" y="11"/>
                    <a:pt x="239" y="11"/>
                  </a:cubicBezTo>
                  <a:cubicBezTo>
                    <a:pt x="242" y="11"/>
                    <a:pt x="244" y="12"/>
                    <a:pt x="246" y="13"/>
                  </a:cubicBezTo>
                  <a:cubicBezTo>
                    <a:pt x="247" y="13"/>
                    <a:pt x="247" y="13"/>
                    <a:pt x="247" y="13"/>
                  </a:cubicBezTo>
                  <a:cubicBezTo>
                    <a:pt x="253" y="16"/>
                    <a:pt x="258" y="19"/>
                    <a:pt x="254" y="32"/>
                  </a:cubicBezTo>
                  <a:cubicBezTo>
                    <a:pt x="252" y="39"/>
                    <a:pt x="252" y="48"/>
                    <a:pt x="253" y="53"/>
                  </a:cubicBezTo>
                  <a:cubicBezTo>
                    <a:pt x="258" y="53"/>
                    <a:pt x="267" y="48"/>
                    <a:pt x="274" y="43"/>
                  </a:cubicBezTo>
                  <a:cubicBezTo>
                    <a:pt x="278" y="39"/>
                    <a:pt x="281" y="37"/>
                    <a:pt x="285" y="37"/>
                  </a:cubicBezTo>
                  <a:cubicBezTo>
                    <a:pt x="288" y="37"/>
                    <a:pt x="291" y="39"/>
                    <a:pt x="293" y="41"/>
                  </a:cubicBezTo>
                  <a:cubicBezTo>
                    <a:pt x="294" y="42"/>
                    <a:pt x="294" y="42"/>
                    <a:pt x="294" y="42"/>
                  </a:cubicBezTo>
                  <a:cubicBezTo>
                    <a:pt x="299" y="46"/>
                    <a:pt x="303" y="51"/>
                    <a:pt x="295" y="62"/>
                  </a:cubicBezTo>
                  <a:cubicBezTo>
                    <a:pt x="291" y="69"/>
                    <a:pt x="288" y="77"/>
                    <a:pt x="288" y="82"/>
                  </a:cubicBezTo>
                  <a:cubicBezTo>
                    <a:pt x="289" y="82"/>
                    <a:pt x="290" y="82"/>
                    <a:pt x="292" y="82"/>
                  </a:cubicBezTo>
                  <a:cubicBezTo>
                    <a:pt x="297" y="82"/>
                    <a:pt x="304" y="81"/>
                    <a:pt x="310" y="78"/>
                  </a:cubicBezTo>
                  <a:cubicBezTo>
                    <a:pt x="314" y="77"/>
                    <a:pt x="317" y="76"/>
                    <a:pt x="319" y="76"/>
                  </a:cubicBezTo>
                  <a:cubicBezTo>
                    <a:pt x="325" y="76"/>
                    <a:pt x="328" y="80"/>
                    <a:pt x="329" y="83"/>
                  </a:cubicBezTo>
                  <a:cubicBezTo>
                    <a:pt x="330" y="84"/>
                    <a:pt x="330" y="84"/>
                    <a:pt x="330" y="84"/>
                  </a:cubicBezTo>
                  <a:cubicBezTo>
                    <a:pt x="333" y="89"/>
                    <a:pt x="336" y="95"/>
                    <a:pt x="325" y="103"/>
                  </a:cubicBezTo>
                  <a:cubicBezTo>
                    <a:pt x="319" y="108"/>
                    <a:pt x="314" y="115"/>
                    <a:pt x="312" y="120"/>
                  </a:cubicBezTo>
                  <a:cubicBezTo>
                    <a:pt x="315" y="122"/>
                    <a:pt x="323" y="123"/>
                    <a:pt x="331" y="123"/>
                  </a:cubicBezTo>
                  <a:cubicBezTo>
                    <a:pt x="332" y="123"/>
                    <a:pt x="333" y="123"/>
                    <a:pt x="334" y="123"/>
                  </a:cubicBezTo>
                  <a:cubicBezTo>
                    <a:pt x="336" y="123"/>
                    <a:pt x="337" y="123"/>
                    <a:pt x="338" y="123"/>
                  </a:cubicBezTo>
                  <a:cubicBezTo>
                    <a:pt x="349" y="123"/>
                    <a:pt x="350" y="129"/>
                    <a:pt x="351" y="133"/>
                  </a:cubicBezTo>
                  <a:cubicBezTo>
                    <a:pt x="351" y="135"/>
                    <a:pt x="351" y="135"/>
                    <a:pt x="351" y="135"/>
                  </a:cubicBezTo>
                  <a:cubicBezTo>
                    <a:pt x="353" y="141"/>
                    <a:pt x="353" y="147"/>
                    <a:pt x="341" y="152"/>
                  </a:cubicBezTo>
                  <a:cubicBezTo>
                    <a:pt x="334" y="155"/>
                    <a:pt x="326" y="160"/>
                    <a:pt x="324" y="164"/>
                  </a:cubicBezTo>
                  <a:cubicBezTo>
                    <a:pt x="326" y="167"/>
                    <a:pt x="335" y="172"/>
                    <a:pt x="344" y="174"/>
                  </a:cubicBezTo>
                  <a:cubicBezTo>
                    <a:pt x="356" y="176"/>
                    <a:pt x="357" y="182"/>
                    <a:pt x="356" y="188"/>
                  </a:cubicBezTo>
                  <a:cubicBezTo>
                    <a:pt x="356" y="190"/>
                    <a:pt x="356" y="190"/>
                    <a:pt x="356" y="190"/>
                  </a:cubicBezTo>
                  <a:cubicBezTo>
                    <a:pt x="356" y="196"/>
                    <a:pt x="354" y="202"/>
                    <a:pt x="341" y="203"/>
                  </a:cubicBezTo>
                  <a:cubicBezTo>
                    <a:pt x="333" y="203"/>
                    <a:pt x="325" y="206"/>
                    <a:pt x="321" y="209"/>
                  </a:cubicBezTo>
                  <a:cubicBezTo>
                    <a:pt x="322" y="213"/>
                    <a:pt x="329" y="220"/>
                    <a:pt x="337" y="224"/>
                  </a:cubicBezTo>
                  <a:cubicBezTo>
                    <a:pt x="348" y="231"/>
                    <a:pt x="347" y="237"/>
                    <a:pt x="344" y="242"/>
                  </a:cubicBezTo>
                  <a:cubicBezTo>
                    <a:pt x="344" y="244"/>
                    <a:pt x="344" y="244"/>
                    <a:pt x="344" y="244"/>
                  </a:cubicBezTo>
                  <a:cubicBezTo>
                    <a:pt x="343" y="247"/>
                    <a:pt x="341" y="252"/>
                    <a:pt x="333" y="252"/>
                  </a:cubicBezTo>
                  <a:cubicBezTo>
                    <a:pt x="331" y="252"/>
                    <a:pt x="328" y="252"/>
                    <a:pt x="326" y="251"/>
                  </a:cubicBezTo>
                  <a:cubicBezTo>
                    <a:pt x="318" y="250"/>
                    <a:pt x="309" y="249"/>
                    <a:pt x="305" y="251"/>
                  </a:cubicBezTo>
                  <a:cubicBezTo>
                    <a:pt x="305" y="255"/>
                    <a:pt x="309" y="264"/>
                    <a:pt x="315" y="271"/>
                  </a:cubicBezTo>
                  <a:cubicBezTo>
                    <a:pt x="324" y="280"/>
                    <a:pt x="321" y="285"/>
                    <a:pt x="317" y="290"/>
                  </a:cubicBezTo>
                  <a:cubicBezTo>
                    <a:pt x="316" y="291"/>
                    <a:pt x="316" y="291"/>
                    <a:pt x="316" y="291"/>
                  </a:cubicBezTo>
                  <a:cubicBezTo>
                    <a:pt x="314" y="293"/>
                    <a:pt x="311" y="297"/>
                    <a:pt x="307" y="297"/>
                  </a:cubicBezTo>
                  <a:cubicBezTo>
                    <a:pt x="304" y="297"/>
                    <a:pt x="300" y="295"/>
                    <a:pt x="296" y="293"/>
                  </a:cubicBezTo>
                  <a:cubicBezTo>
                    <a:pt x="289" y="289"/>
                    <a:pt x="281" y="286"/>
                    <a:pt x="276" y="286"/>
                  </a:cubicBezTo>
                  <a:cubicBezTo>
                    <a:pt x="274" y="286"/>
                    <a:pt x="274" y="286"/>
                    <a:pt x="273" y="286"/>
                  </a:cubicBezTo>
                  <a:cubicBezTo>
                    <a:pt x="271" y="288"/>
                    <a:pt x="272" y="299"/>
                    <a:pt x="277" y="310"/>
                  </a:cubicBezTo>
                  <a:cubicBezTo>
                    <a:pt x="282" y="322"/>
                    <a:pt x="277" y="326"/>
                    <a:pt x="272" y="329"/>
                  </a:cubicBezTo>
                  <a:cubicBezTo>
                    <a:pt x="271" y="330"/>
                    <a:pt x="271" y="330"/>
                    <a:pt x="271" y="330"/>
                  </a:cubicBezTo>
                  <a:cubicBezTo>
                    <a:pt x="269" y="331"/>
                    <a:pt x="267" y="333"/>
                    <a:pt x="264" y="333"/>
                  </a:cubicBezTo>
                  <a:cubicBezTo>
                    <a:pt x="260" y="333"/>
                    <a:pt x="256" y="331"/>
                    <a:pt x="252" y="326"/>
                  </a:cubicBezTo>
                  <a:cubicBezTo>
                    <a:pt x="246" y="319"/>
                    <a:pt x="238" y="313"/>
                    <a:pt x="234" y="313"/>
                  </a:cubicBezTo>
                  <a:cubicBezTo>
                    <a:pt x="232" y="317"/>
                    <a:pt x="231" y="326"/>
                    <a:pt x="231" y="334"/>
                  </a:cubicBezTo>
                  <a:cubicBezTo>
                    <a:pt x="233" y="347"/>
                    <a:pt x="227" y="349"/>
                    <a:pt x="221" y="351"/>
                  </a:cubicBezTo>
                  <a:cubicBezTo>
                    <a:pt x="220" y="351"/>
                    <a:pt x="220" y="351"/>
                    <a:pt x="220" y="351"/>
                  </a:cubicBezTo>
                  <a:cubicBezTo>
                    <a:pt x="219" y="351"/>
                    <a:pt x="217" y="352"/>
                    <a:pt x="215" y="352"/>
                  </a:cubicBezTo>
                  <a:cubicBezTo>
                    <a:pt x="210" y="352"/>
                    <a:pt x="206" y="348"/>
                    <a:pt x="203" y="341"/>
                  </a:cubicBezTo>
                  <a:cubicBezTo>
                    <a:pt x="200" y="333"/>
                    <a:pt x="194" y="325"/>
                    <a:pt x="190" y="323"/>
                  </a:cubicBezTo>
                  <a:cubicBezTo>
                    <a:pt x="186" y="327"/>
                    <a:pt x="183" y="335"/>
                    <a:pt x="181" y="342"/>
                  </a:cubicBezTo>
                  <a:cubicBezTo>
                    <a:pt x="179" y="351"/>
                    <a:pt x="176" y="356"/>
                    <a:pt x="169" y="356"/>
                  </a:cubicBezTo>
                  <a:close/>
                  <a:moveTo>
                    <a:pt x="145" y="314"/>
                  </a:moveTo>
                  <a:cubicBezTo>
                    <a:pt x="146" y="314"/>
                    <a:pt x="146" y="314"/>
                    <a:pt x="146" y="315"/>
                  </a:cubicBezTo>
                  <a:cubicBezTo>
                    <a:pt x="152" y="318"/>
                    <a:pt x="156" y="330"/>
                    <a:pt x="157" y="340"/>
                  </a:cubicBezTo>
                  <a:cubicBezTo>
                    <a:pt x="158" y="350"/>
                    <a:pt x="161" y="350"/>
                    <a:pt x="165" y="350"/>
                  </a:cubicBezTo>
                  <a:cubicBezTo>
                    <a:pt x="167" y="350"/>
                    <a:pt x="167" y="350"/>
                    <a:pt x="167" y="350"/>
                  </a:cubicBezTo>
                  <a:cubicBezTo>
                    <a:pt x="168" y="350"/>
                    <a:pt x="168" y="351"/>
                    <a:pt x="169" y="351"/>
                  </a:cubicBezTo>
                  <a:cubicBezTo>
                    <a:pt x="171" y="351"/>
                    <a:pt x="175" y="351"/>
                    <a:pt x="176" y="341"/>
                  </a:cubicBezTo>
                  <a:cubicBezTo>
                    <a:pt x="178" y="333"/>
                    <a:pt x="182" y="322"/>
                    <a:pt x="188" y="318"/>
                  </a:cubicBezTo>
                  <a:cubicBezTo>
                    <a:pt x="188" y="318"/>
                    <a:pt x="189" y="318"/>
                    <a:pt x="190" y="318"/>
                  </a:cubicBezTo>
                  <a:cubicBezTo>
                    <a:pt x="196" y="319"/>
                    <a:pt x="204" y="330"/>
                    <a:pt x="208" y="339"/>
                  </a:cubicBezTo>
                  <a:cubicBezTo>
                    <a:pt x="211" y="347"/>
                    <a:pt x="214" y="347"/>
                    <a:pt x="215" y="347"/>
                  </a:cubicBezTo>
                  <a:cubicBezTo>
                    <a:pt x="216" y="347"/>
                    <a:pt x="217" y="346"/>
                    <a:pt x="219" y="346"/>
                  </a:cubicBezTo>
                  <a:cubicBezTo>
                    <a:pt x="220" y="346"/>
                    <a:pt x="220" y="346"/>
                    <a:pt x="220" y="346"/>
                  </a:cubicBezTo>
                  <a:cubicBezTo>
                    <a:pt x="224" y="345"/>
                    <a:pt x="228" y="344"/>
                    <a:pt x="226" y="334"/>
                  </a:cubicBezTo>
                  <a:cubicBezTo>
                    <a:pt x="226" y="326"/>
                    <a:pt x="227" y="314"/>
                    <a:pt x="230" y="309"/>
                  </a:cubicBezTo>
                  <a:cubicBezTo>
                    <a:pt x="231" y="308"/>
                    <a:pt x="231" y="308"/>
                    <a:pt x="232" y="308"/>
                  </a:cubicBezTo>
                  <a:cubicBezTo>
                    <a:pt x="239" y="307"/>
                    <a:pt x="249" y="315"/>
                    <a:pt x="256" y="322"/>
                  </a:cubicBezTo>
                  <a:cubicBezTo>
                    <a:pt x="259" y="326"/>
                    <a:pt x="261" y="328"/>
                    <a:pt x="264" y="328"/>
                  </a:cubicBezTo>
                  <a:cubicBezTo>
                    <a:pt x="265" y="328"/>
                    <a:pt x="267" y="327"/>
                    <a:pt x="268" y="326"/>
                  </a:cubicBezTo>
                  <a:cubicBezTo>
                    <a:pt x="270" y="325"/>
                    <a:pt x="270" y="325"/>
                    <a:pt x="270" y="325"/>
                  </a:cubicBezTo>
                  <a:cubicBezTo>
                    <a:pt x="273" y="323"/>
                    <a:pt x="276" y="321"/>
                    <a:pt x="272" y="312"/>
                  </a:cubicBezTo>
                  <a:cubicBezTo>
                    <a:pt x="268" y="303"/>
                    <a:pt x="264" y="287"/>
                    <a:pt x="270" y="282"/>
                  </a:cubicBezTo>
                  <a:cubicBezTo>
                    <a:pt x="272" y="281"/>
                    <a:pt x="274" y="281"/>
                    <a:pt x="276" y="281"/>
                  </a:cubicBezTo>
                  <a:cubicBezTo>
                    <a:pt x="283" y="281"/>
                    <a:pt x="292" y="285"/>
                    <a:pt x="299" y="289"/>
                  </a:cubicBezTo>
                  <a:cubicBezTo>
                    <a:pt x="302" y="291"/>
                    <a:pt x="305" y="292"/>
                    <a:pt x="307" y="292"/>
                  </a:cubicBezTo>
                  <a:cubicBezTo>
                    <a:pt x="309" y="292"/>
                    <a:pt x="310" y="290"/>
                    <a:pt x="312" y="288"/>
                  </a:cubicBezTo>
                  <a:cubicBezTo>
                    <a:pt x="313" y="287"/>
                    <a:pt x="313" y="287"/>
                    <a:pt x="313" y="287"/>
                  </a:cubicBezTo>
                  <a:cubicBezTo>
                    <a:pt x="316" y="283"/>
                    <a:pt x="318" y="281"/>
                    <a:pt x="311" y="274"/>
                  </a:cubicBezTo>
                  <a:cubicBezTo>
                    <a:pt x="305" y="266"/>
                    <a:pt x="299" y="255"/>
                    <a:pt x="300" y="248"/>
                  </a:cubicBezTo>
                  <a:cubicBezTo>
                    <a:pt x="300" y="248"/>
                    <a:pt x="301" y="247"/>
                    <a:pt x="301" y="247"/>
                  </a:cubicBezTo>
                  <a:cubicBezTo>
                    <a:pt x="305" y="245"/>
                    <a:pt x="309" y="245"/>
                    <a:pt x="313" y="245"/>
                  </a:cubicBezTo>
                  <a:cubicBezTo>
                    <a:pt x="317" y="245"/>
                    <a:pt x="322" y="245"/>
                    <a:pt x="327" y="246"/>
                  </a:cubicBezTo>
                  <a:cubicBezTo>
                    <a:pt x="329" y="247"/>
                    <a:pt x="331" y="247"/>
                    <a:pt x="333" y="247"/>
                  </a:cubicBezTo>
                  <a:cubicBezTo>
                    <a:pt x="337" y="247"/>
                    <a:pt x="338" y="245"/>
                    <a:pt x="339" y="242"/>
                  </a:cubicBezTo>
                  <a:cubicBezTo>
                    <a:pt x="340" y="240"/>
                    <a:pt x="340" y="240"/>
                    <a:pt x="340" y="240"/>
                  </a:cubicBezTo>
                  <a:cubicBezTo>
                    <a:pt x="342" y="236"/>
                    <a:pt x="343" y="233"/>
                    <a:pt x="334" y="229"/>
                  </a:cubicBezTo>
                  <a:cubicBezTo>
                    <a:pt x="326" y="223"/>
                    <a:pt x="316" y="214"/>
                    <a:pt x="316" y="208"/>
                  </a:cubicBezTo>
                  <a:cubicBezTo>
                    <a:pt x="316" y="207"/>
                    <a:pt x="316" y="206"/>
                    <a:pt x="316" y="206"/>
                  </a:cubicBezTo>
                  <a:cubicBezTo>
                    <a:pt x="321" y="201"/>
                    <a:pt x="333" y="198"/>
                    <a:pt x="341" y="198"/>
                  </a:cubicBezTo>
                  <a:cubicBezTo>
                    <a:pt x="351" y="197"/>
                    <a:pt x="351" y="194"/>
                    <a:pt x="351" y="190"/>
                  </a:cubicBezTo>
                  <a:cubicBezTo>
                    <a:pt x="351" y="188"/>
                    <a:pt x="351" y="188"/>
                    <a:pt x="351" y="188"/>
                  </a:cubicBezTo>
                  <a:cubicBezTo>
                    <a:pt x="352" y="184"/>
                    <a:pt x="352" y="180"/>
                    <a:pt x="342" y="178"/>
                  </a:cubicBezTo>
                  <a:cubicBezTo>
                    <a:pt x="333" y="176"/>
                    <a:pt x="321" y="171"/>
                    <a:pt x="318" y="165"/>
                  </a:cubicBezTo>
                  <a:cubicBezTo>
                    <a:pt x="318" y="164"/>
                    <a:pt x="318" y="163"/>
                    <a:pt x="318" y="162"/>
                  </a:cubicBezTo>
                  <a:cubicBezTo>
                    <a:pt x="322" y="156"/>
                    <a:pt x="331" y="150"/>
                    <a:pt x="339" y="147"/>
                  </a:cubicBezTo>
                  <a:cubicBezTo>
                    <a:pt x="348" y="144"/>
                    <a:pt x="348" y="140"/>
                    <a:pt x="346" y="136"/>
                  </a:cubicBezTo>
                  <a:cubicBezTo>
                    <a:pt x="346" y="135"/>
                    <a:pt x="346" y="135"/>
                    <a:pt x="346" y="135"/>
                  </a:cubicBezTo>
                  <a:cubicBezTo>
                    <a:pt x="345" y="131"/>
                    <a:pt x="345" y="128"/>
                    <a:pt x="338" y="128"/>
                  </a:cubicBezTo>
                  <a:cubicBezTo>
                    <a:pt x="337" y="128"/>
                    <a:pt x="336" y="128"/>
                    <a:pt x="335" y="128"/>
                  </a:cubicBezTo>
                  <a:cubicBezTo>
                    <a:pt x="333" y="128"/>
                    <a:pt x="332" y="128"/>
                    <a:pt x="331" y="128"/>
                  </a:cubicBezTo>
                  <a:cubicBezTo>
                    <a:pt x="322" y="128"/>
                    <a:pt x="312" y="127"/>
                    <a:pt x="308" y="122"/>
                  </a:cubicBezTo>
                  <a:cubicBezTo>
                    <a:pt x="307" y="122"/>
                    <a:pt x="307" y="121"/>
                    <a:pt x="307" y="120"/>
                  </a:cubicBezTo>
                  <a:cubicBezTo>
                    <a:pt x="308" y="114"/>
                    <a:pt x="316" y="105"/>
                    <a:pt x="322" y="99"/>
                  </a:cubicBezTo>
                  <a:cubicBezTo>
                    <a:pt x="330" y="93"/>
                    <a:pt x="328" y="90"/>
                    <a:pt x="326" y="87"/>
                  </a:cubicBezTo>
                  <a:cubicBezTo>
                    <a:pt x="325" y="85"/>
                    <a:pt x="325" y="85"/>
                    <a:pt x="325" y="85"/>
                  </a:cubicBezTo>
                  <a:cubicBezTo>
                    <a:pt x="323" y="82"/>
                    <a:pt x="322" y="81"/>
                    <a:pt x="319" y="81"/>
                  </a:cubicBezTo>
                  <a:cubicBezTo>
                    <a:pt x="317" y="81"/>
                    <a:pt x="315" y="82"/>
                    <a:pt x="312" y="83"/>
                  </a:cubicBezTo>
                  <a:cubicBezTo>
                    <a:pt x="306" y="85"/>
                    <a:pt x="298" y="87"/>
                    <a:pt x="292" y="87"/>
                  </a:cubicBezTo>
                  <a:cubicBezTo>
                    <a:pt x="289" y="87"/>
                    <a:pt x="286" y="87"/>
                    <a:pt x="284" y="85"/>
                  </a:cubicBezTo>
                  <a:cubicBezTo>
                    <a:pt x="284" y="85"/>
                    <a:pt x="283" y="84"/>
                    <a:pt x="283" y="84"/>
                  </a:cubicBezTo>
                  <a:cubicBezTo>
                    <a:pt x="282" y="77"/>
                    <a:pt x="287" y="66"/>
                    <a:pt x="291" y="59"/>
                  </a:cubicBezTo>
                  <a:cubicBezTo>
                    <a:pt x="297" y="51"/>
                    <a:pt x="294" y="49"/>
                    <a:pt x="291" y="46"/>
                  </a:cubicBezTo>
                  <a:cubicBezTo>
                    <a:pt x="290" y="45"/>
                    <a:pt x="290" y="45"/>
                    <a:pt x="290" y="45"/>
                  </a:cubicBezTo>
                  <a:cubicBezTo>
                    <a:pt x="288" y="43"/>
                    <a:pt x="287" y="42"/>
                    <a:pt x="285" y="42"/>
                  </a:cubicBezTo>
                  <a:cubicBezTo>
                    <a:pt x="283" y="42"/>
                    <a:pt x="280" y="44"/>
                    <a:pt x="277" y="46"/>
                  </a:cubicBezTo>
                  <a:cubicBezTo>
                    <a:pt x="270" y="52"/>
                    <a:pt x="260" y="58"/>
                    <a:pt x="253" y="58"/>
                  </a:cubicBezTo>
                  <a:cubicBezTo>
                    <a:pt x="253" y="58"/>
                    <a:pt x="252" y="58"/>
                    <a:pt x="251" y="57"/>
                  </a:cubicBezTo>
                  <a:cubicBezTo>
                    <a:pt x="250" y="57"/>
                    <a:pt x="250" y="57"/>
                    <a:pt x="249" y="56"/>
                  </a:cubicBezTo>
                  <a:cubicBezTo>
                    <a:pt x="247" y="50"/>
                    <a:pt x="247" y="38"/>
                    <a:pt x="250" y="30"/>
                  </a:cubicBezTo>
                  <a:cubicBezTo>
                    <a:pt x="252" y="21"/>
                    <a:pt x="249" y="20"/>
                    <a:pt x="245" y="18"/>
                  </a:cubicBezTo>
                  <a:cubicBezTo>
                    <a:pt x="244" y="17"/>
                    <a:pt x="244" y="17"/>
                    <a:pt x="244" y="17"/>
                  </a:cubicBezTo>
                  <a:cubicBezTo>
                    <a:pt x="242" y="17"/>
                    <a:pt x="241" y="16"/>
                    <a:pt x="239" y="16"/>
                  </a:cubicBezTo>
                  <a:cubicBezTo>
                    <a:pt x="238" y="16"/>
                    <a:pt x="236" y="16"/>
                    <a:pt x="232" y="23"/>
                  </a:cubicBezTo>
                  <a:cubicBezTo>
                    <a:pt x="226" y="31"/>
                    <a:pt x="217" y="40"/>
                    <a:pt x="211" y="41"/>
                  </a:cubicBezTo>
                  <a:cubicBezTo>
                    <a:pt x="210" y="41"/>
                    <a:pt x="209" y="41"/>
                    <a:pt x="209" y="40"/>
                  </a:cubicBezTo>
                  <a:cubicBezTo>
                    <a:pt x="204" y="35"/>
                    <a:pt x="202" y="24"/>
                    <a:pt x="201" y="16"/>
                  </a:cubicBezTo>
                  <a:cubicBezTo>
                    <a:pt x="201" y="6"/>
                    <a:pt x="197" y="5"/>
                    <a:pt x="193" y="5"/>
                  </a:cubicBezTo>
                  <a:cubicBezTo>
                    <a:pt x="191" y="5"/>
                    <a:pt x="191" y="5"/>
                    <a:pt x="191" y="5"/>
                  </a:cubicBezTo>
                  <a:cubicBezTo>
                    <a:pt x="191" y="5"/>
                    <a:pt x="190" y="5"/>
                    <a:pt x="189" y="5"/>
                  </a:cubicBezTo>
                  <a:cubicBezTo>
                    <a:pt x="187" y="5"/>
                    <a:pt x="184" y="5"/>
                    <a:pt x="182" y="14"/>
                  </a:cubicBezTo>
                  <a:cubicBezTo>
                    <a:pt x="179" y="24"/>
                    <a:pt x="174" y="35"/>
                    <a:pt x="168" y="38"/>
                  </a:cubicBezTo>
                  <a:cubicBezTo>
                    <a:pt x="167" y="38"/>
                    <a:pt x="166" y="38"/>
                    <a:pt x="165" y="37"/>
                  </a:cubicBezTo>
                  <a:cubicBezTo>
                    <a:pt x="159" y="34"/>
                    <a:pt x="153" y="24"/>
                    <a:pt x="150" y="16"/>
                  </a:cubicBezTo>
                  <a:cubicBezTo>
                    <a:pt x="147" y="8"/>
                    <a:pt x="144" y="8"/>
                    <a:pt x="143" y="8"/>
                  </a:cubicBezTo>
                  <a:cubicBezTo>
                    <a:pt x="142" y="8"/>
                    <a:pt x="141" y="9"/>
                    <a:pt x="140" y="9"/>
                  </a:cubicBezTo>
                  <a:cubicBezTo>
                    <a:pt x="138" y="9"/>
                    <a:pt x="138" y="9"/>
                    <a:pt x="138" y="9"/>
                  </a:cubicBezTo>
                  <a:cubicBezTo>
                    <a:pt x="134" y="10"/>
                    <a:pt x="131" y="11"/>
                    <a:pt x="132" y="20"/>
                  </a:cubicBezTo>
                  <a:cubicBezTo>
                    <a:pt x="132" y="31"/>
                    <a:pt x="130" y="43"/>
                    <a:pt x="125" y="48"/>
                  </a:cubicBezTo>
                  <a:cubicBezTo>
                    <a:pt x="124" y="48"/>
                    <a:pt x="124" y="48"/>
                    <a:pt x="123" y="48"/>
                  </a:cubicBezTo>
                  <a:cubicBezTo>
                    <a:pt x="116" y="47"/>
                    <a:pt x="108" y="39"/>
                    <a:pt x="102" y="33"/>
                  </a:cubicBezTo>
                  <a:cubicBezTo>
                    <a:pt x="99" y="29"/>
                    <a:pt x="97" y="27"/>
                    <a:pt x="95" y="27"/>
                  </a:cubicBezTo>
                  <a:cubicBezTo>
                    <a:pt x="93" y="27"/>
                    <a:pt x="91" y="28"/>
                    <a:pt x="90" y="29"/>
                  </a:cubicBezTo>
                  <a:cubicBezTo>
                    <a:pt x="88" y="30"/>
                    <a:pt x="88" y="30"/>
                    <a:pt x="88" y="30"/>
                  </a:cubicBezTo>
                  <a:cubicBezTo>
                    <a:pt x="85" y="32"/>
                    <a:pt x="82" y="33"/>
                    <a:pt x="86" y="42"/>
                  </a:cubicBezTo>
                  <a:cubicBezTo>
                    <a:pt x="89" y="51"/>
                    <a:pt x="92" y="67"/>
                    <a:pt x="86" y="72"/>
                  </a:cubicBezTo>
                  <a:cubicBezTo>
                    <a:pt x="86" y="72"/>
                    <a:pt x="86" y="72"/>
                    <a:pt x="86" y="72"/>
                  </a:cubicBezTo>
                  <a:cubicBezTo>
                    <a:pt x="86" y="72"/>
                    <a:pt x="86" y="72"/>
                    <a:pt x="86" y="72"/>
                  </a:cubicBezTo>
                  <a:cubicBezTo>
                    <a:pt x="86" y="72"/>
                    <a:pt x="86" y="72"/>
                    <a:pt x="86" y="72"/>
                  </a:cubicBezTo>
                  <a:cubicBezTo>
                    <a:pt x="85" y="74"/>
                    <a:pt x="82" y="74"/>
                    <a:pt x="79" y="74"/>
                  </a:cubicBezTo>
                  <a:cubicBezTo>
                    <a:pt x="73" y="74"/>
                    <a:pt x="64" y="72"/>
                    <a:pt x="57" y="68"/>
                  </a:cubicBezTo>
                  <a:cubicBezTo>
                    <a:pt x="54" y="66"/>
                    <a:pt x="51" y="65"/>
                    <a:pt x="49" y="65"/>
                  </a:cubicBezTo>
                  <a:cubicBezTo>
                    <a:pt x="47" y="65"/>
                    <a:pt x="46" y="66"/>
                    <a:pt x="44" y="69"/>
                  </a:cubicBezTo>
                  <a:cubicBezTo>
                    <a:pt x="43" y="70"/>
                    <a:pt x="43" y="70"/>
                    <a:pt x="43" y="70"/>
                  </a:cubicBezTo>
                  <a:cubicBezTo>
                    <a:pt x="40" y="73"/>
                    <a:pt x="38" y="76"/>
                    <a:pt x="45" y="83"/>
                  </a:cubicBezTo>
                  <a:cubicBezTo>
                    <a:pt x="51" y="89"/>
                    <a:pt x="57" y="99"/>
                    <a:pt x="58" y="105"/>
                  </a:cubicBezTo>
                  <a:cubicBezTo>
                    <a:pt x="58" y="106"/>
                    <a:pt x="57" y="107"/>
                    <a:pt x="57" y="107"/>
                  </a:cubicBezTo>
                  <a:cubicBezTo>
                    <a:pt x="53" y="111"/>
                    <a:pt x="45" y="111"/>
                    <a:pt x="41" y="111"/>
                  </a:cubicBezTo>
                  <a:cubicBezTo>
                    <a:pt x="37" y="111"/>
                    <a:pt x="33" y="111"/>
                    <a:pt x="29" y="110"/>
                  </a:cubicBezTo>
                  <a:cubicBezTo>
                    <a:pt x="27" y="110"/>
                    <a:pt x="25" y="109"/>
                    <a:pt x="24" y="109"/>
                  </a:cubicBezTo>
                  <a:cubicBezTo>
                    <a:pt x="19" y="109"/>
                    <a:pt x="18" y="112"/>
                    <a:pt x="17" y="115"/>
                  </a:cubicBezTo>
                  <a:cubicBezTo>
                    <a:pt x="16" y="116"/>
                    <a:pt x="16" y="116"/>
                    <a:pt x="16" y="116"/>
                  </a:cubicBezTo>
                  <a:cubicBezTo>
                    <a:pt x="15" y="121"/>
                    <a:pt x="14" y="124"/>
                    <a:pt x="22" y="128"/>
                  </a:cubicBezTo>
                  <a:cubicBezTo>
                    <a:pt x="30" y="132"/>
                    <a:pt x="39" y="139"/>
                    <a:pt x="41" y="146"/>
                  </a:cubicBezTo>
                  <a:cubicBezTo>
                    <a:pt x="42" y="146"/>
                    <a:pt x="41" y="147"/>
                    <a:pt x="41" y="148"/>
                  </a:cubicBezTo>
                  <a:cubicBezTo>
                    <a:pt x="38" y="154"/>
                    <a:pt x="26" y="158"/>
                    <a:pt x="15" y="159"/>
                  </a:cubicBezTo>
                  <a:cubicBezTo>
                    <a:pt x="6" y="160"/>
                    <a:pt x="6" y="163"/>
                    <a:pt x="6" y="167"/>
                  </a:cubicBezTo>
                  <a:cubicBezTo>
                    <a:pt x="6" y="169"/>
                    <a:pt x="6" y="169"/>
                    <a:pt x="6" y="169"/>
                  </a:cubicBezTo>
                  <a:cubicBezTo>
                    <a:pt x="5" y="173"/>
                    <a:pt x="5" y="177"/>
                    <a:pt x="15" y="178"/>
                  </a:cubicBezTo>
                  <a:cubicBezTo>
                    <a:pt x="23" y="180"/>
                    <a:pt x="34" y="184"/>
                    <a:pt x="38" y="189"/>
                  </a:cubicBezTo>
                  <a:cubicBezTo>
                    <a:pt x="39" y="190"/>
                    <a:pt x="39" y="191"/>
                    <a:pt x="39" y="191"/>
                  </a:cubicBezTo>
                  <a:cubicBezTo>
                    <a:pt x="37" y="198"/>
                    <a:pt x="27" y="205"/>
                    <a:pt x="18" y="210"/>
                  </a:cubicBezTo>
                  <a:cubicBezTo>
                    <a:pt x="9" y="214"/>
                    <a:pt x="9" y="217"/>
                    <a:pt x="11" y="221"/>
                  </a:cubicBezTo>
                  <a:cubicBezTo>
                    <a:pt x="11" y="222"/>
                    <a:pt x="11" y="222"/>
                    <a:pt x="11" y="222"/>
                  </a:cubicBezTo>
                  <a:cubicBezTo>
                    <a:pt x="12" y="226"/>
                    <a:pt x="13" y="229"/>
                    <a:pt x="19" y="229"/>
                  </a:cubicBezTo>
                  <a:cubicBezTo>
                    <a:pt x="20" y="229"/>
                    <a:pt x="21" y="228"/>
                    <a:pt x="23" y="228"/>
                  </a:cubicBezTo>
                  <a:cubicBezTo>
                    <a:pt x="25" y="228"/>
                    <a:pt x="27" y="228"/>
                    <a:pt x="30" y="228"/>
                  </a:cubicBezTo>
                  <a:cubicBezTo>
                    <a:pt x="34" y="228"/>
                    <a:pt x="43" y="228"/>
                    <a:pt x="48" y="232"/>
                  </a:cubicBezTo>
                  <a:cubicBezTo>
                    <a:pt x="49" y="232"/>
                    <a:pt x="49" y="233"/>
                    <a:pt x="49" y="233"/>
                  </a:cubicBezTo>
                  <a:cubicBezTo>
                    <a:pt x="50" y="240"/>
                    <a:pt x="43" y="250"/>
                    <a:pt x="35" y="257"/>
                  </a:cubicBezTo>
                  <a:cubicBezTo>
                    <a:pt x="28" y="264"/>
                    <a:pt x="29" y="266"/>
                    <a:pt x="32" y="270"/>
                  </a:cubicBezTo>
                  <a:cubicBezTo>
                    <a:pt x="33" y="271"/>
                    <a:pt x="33" y="271"/>
                    <a:pt x="33" y="271"/>
                  </a:cubicBezTo>
                  <a:cubicBezTo>
                    <a:pt x="34" y="274"/>
                    <a:pt x="36" y="276"/>
                    <a:pt x="38" y="276"/>
                  </a:cubicBezTo>
                  <a:cubicBezTo>
                    <a:pt x="40" y="276"/>
                    <a:pt x="43" y="275"/>
                    <a:pt x="46" y="273"/>
                  </a:cubicBezTo>
                  <a:cubicBezTo>
                    <a:pt x="55" y="269"/>
                    <a:pt x="65" y="267"/>
                    <a:pt x="71" y="269"/>
                  </a:cubicBezTo>
                  <a:cubicBezTo>
                    <a:pt x="72" y="269"/>
                    <a:pt x="72" y="270"/>
                    <a:pt x="73" y="270"/>
                  </a:cubicBezTo>
                  <a:cubicBezTo>
                    <a:pt x="75" y="276"/>
                    <a:pt x="71" y="288"/>
                    <a:pt x="66" y="297"/>
                  </a:cubicBezTo>
                  <a:cubicBezTo>
                    <a:pt x="61" y="306"/>
                    <a:pt x="64" y="308"/>
                    <a:pt x="67" y="310"/>
                  </a:cubicBezTo>
                  <a:cubicBezTo>
                    <a:pt x="68" y="311"/>
                    <a:pt x="68" y="311"/>
                    <a:pt x="68" y="311"/>
                  </a:cubicBezTo>
                  <a:cubicBezTo>
                    <a:pt x="70" y="313"/>
                    <a:pt x="72" y="314"/>
                    <a:pt x="73" y="314"/>
                  </a:cubicBezTo>
                  <a:cubicBezTo>
                    <a:pt x="76" y="314"/>
                    <a:pt x="78" y="313"/>
                    <a:pt x="81" y="310"/>
                  </a:cubicBezTo>
                  <a:cubicBezTo>
                    <a:pt x="88" y="304"/>
                    <a:pt x="97" y="298"/>
                    <a:pt x="104" y="297"/>
                  </a:cubicBezTo>
                  <a:cubicBezTo>
                    <a:pt x="105" y="297"/>
                    <a:pt x="106" y="298"/>
                    <a:pt x="106" y="298"/>
                  </a:cubicBezTo>
                  <a:cubicBezTo>
                    <a:pt x="110" y="303"/>
                    <a:pt x="110" y="316"/>
                    <a:pt x="108" y="326"/>
                  </a:cubicBezTo>
                  <a:cubicBezTo>
                    <a:pt x="106" y="335"/>
                    <a:pt x="109" y="337"/>
                    <a:pt x="113" y="338"/>
                  </a:cubicBezTo>
                  <a:cubicBezTo>
                    <a:pt x="115" y="339"/>
                    <a:pt x="115" y="339"/>
                    <a:pt x="115" y="339"/>
                  </a:cubicBezTo>
                  <a:cubicBezTo>
                    <a:pt x="116" y="339"/>
                    <a:pt x="117" y="340"/>
                    <a:pt x="119" y="340"/>
                  </a:cubicBezTo>
                  <a:cubicBezTo>
                    <a:pt x="120" y="340"/>
                    <a:pt x="123" y="340"/>
                    <a:pt x="126" y="333"/>
                  </a:cubicBezTo>
                  <a:cubicBezTo>
                    <a:pt x="131" y="326"/>
                    <a:pt x="138" y="317"/>
                    <a:pt x="144" y="314"/>
                  </a:cubicBezTo>
                  <a:lnTo>
                    <a:pt x="145" y="314"/>
                  </a:lnTo>
                  <a:close/>
                  <a:moveTo>
                    <a:pt x="178" y="294"/>
                  </a:moveTo>
                  <a:cubicBezTo>
                    <a:pt x="152" y="294"/>
                    <a:pt x="126" y="285"/>
                    <a:pt x="105" y="268"/>
                  </a:cubicBezTo>
                  <a:cubicBezTo>
                    <a:pt x="55" y="228"/>
                    <a:pt x="47" y="154"/>
                    <a:pt x="88" y="104"/>
                  </a:cubicBezTo>
                  <a:cubicBezTo>
                    <a:pt x="110" y="77"/>
                    <a:pt x="143" y="61"/>
                    <a:pt x="179" y="61"/>
                  </a:cubicBezTo>
                  <a:cubicBezTo>
                    <a:pt x="205" y="61"/>
                    <a:pt x="231" y="70"/>
                    <a:pt x="252" y="87"/>
                  </a:cubicBezTo>
                  <a:cubicBezTo>
                    <a:pt x="276" y="107"/>
                    <a:pt x="291" y="135"/>
                    <a:pt x="295" y="166"/>
                  </a:cubicBezTo>
                  <a:cubicBezTo>
                    <a:pt x="298" y="197"/>
                    <a:pt x="289" y="227"/>
                    <a:pt x="269" y="251"/>
                  </a:cubicBezTo>
                  <a:cubicBezTo>
                    <a:pt x="247" y="279"/>
                    <a:pt x="214" y="294"/>
                    <a:pt x="178" y="294"/>
                  </a:cubicBezTo>
                  <a:close/>
                  <a:moveTo>
                    <a:pt x="179" y="66"/>
                  </a:moveTo>
                  <a:cubicBezTo>
                    <a:pt x="145" y="66"/>
                    <a:pt x="113" y="81"/>
                    <a:pt x="92" y="107"/>
                  </a:cubicBezTo>
                  <a:cubicBezTo>
                    <a:pt x="53" y="155"/>
                    <a:pt x="60" y="226"/>
                    <a:pt x="108" y="264"/>
                  </a:cubicBezTo>
                  <a:cubicBezTo>
                    <a:pt x="128" y="281"/>
                    <a:pt x="153" y="289"/>
                    <a:pt x="178" y="289"/>
                  </a:cubicBezTo>
                  <a:cubicBezTo>
                    <a:pt x="212" y="289"/>
                    <a:pt x="244" y="274"/>
                    <a:pt x="265" y="248"/>
                  </a:cubicBezTo>
                  <a:cubicBezTo>
                    <a:pt x="284" y="225"/>
                    <a:pt x="293" y="196"/>
                    <a:pt x="290" y="166"/>
                  </a:cubicBezTo>
                  <a:cubicBezTo>
                    <a:pt x="287" y="136"/>
                    <a:pt x="272" y="110"/>
                    <a:pt x="249" y="91"/>
                  </a:cubicBezTo>
                  <a:cubicBezTo>
                    <a:pt x="229" y="75"/>
                    <a:pt x="204" y="66"/>
                    <a:pt x="179" y="6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7" name="Freeform 1423">
              <a:extLst>
                <a:ext uri="{FF2B5EF4-FFF2-40B4-BE49-F238E27FC236}">
                  <a16:creationId xmlns:a16="http://schemas.microsoft.com/office/drawing/2014/main" id="{C18EF287-E5BA-4D93-A925-184E740D64CA}"/>
                </a:ext>
              </a:extLst>
            </p:cNvPr>
            <p:cNvSpPr>
              <a:spLocks noEditPoints="1"/>
            </p:cNvSpPr>
            <p:nvPr/>
          </p:nvSpPr>
          <p:spPr bwMode="auto">
            <a:xfrm rot="20647229" flipH="1">
              <a:off x="5873874" y="4296998"/>
              <a:ext cx="166688" cy="149225"/>
            </a:xfrm>
            <a:custGeom>
              <a:avLst/>
              <a:gdLst>
                <a:gd name="T0" fmla="*/ 70 w 141"/>
                <a:gd name="T1" fmla="*/ 125 h 125"/>
                <a:gd name="T2" fmla="*/ 70 w 141"/>
                <a:gd name="T3" fmla="*/ 125 h 125"/>
                <a:gd name="T4" fmla="*/ 31 w 141"/>
                <a:gd name="T5" fmla="*/ 111 h 125"/>
                <a:gd name="T6" fmla="*/ 22 w 141"/>
                <a:gd name="T7" fmla="*/ 23 h 125"/>
                <a:gd name="T8" fmla="*/ 70 w 141"/>
                <a:gd name="T9" fmla="*/ 0 h 125"/>
                <a:gd name="T10" fmla="*/ 110 w 141"/>
                <a:gd name="T11" fmla="*/ 14 h 125"/>
                <a:gd name="T12" fmla="*/ 119 w 141"/>
                <a:gd name="T13" fmla="*/ 102 h 125"/>
                <a:gd name="T14" fmla="*/ 70 w 141"/>
                <a:gd name="T15" fmla="*/ 125 h 125"/>
                <a:gd name="T16" fmla="*/ 70 w 141"/>
                <a:gd name="T17" fmla="*/ 5 h 125"/>
                <a:gd name="T18" fmla="*/ 26 w 141"/>
                <a:gd name="T19" fmla="*/ 26 h 125"/>
                <a:gd name="T20" fmla="*/ 34 w 141"/>
                <a:gd name="T21" fmla="*/ 107 h 125"/>
                <a:gd name="T22" fmla="*/ 70 w 141"/>
                <a:gd name="T23" fmla="*/ 120 h 125"/>
                <a:gd name="T24" fmla="*/ 70 w 141"/>
                <a:gd name="T25" fmla="*/ 120 h 125"/>
                <a:gd name="T26" fmla="*/ 115 w 141"/>
                <a:gd name="T27" fmla="*/ 99 h 125"/>
                <a:gd name="T28" fmla="*/ 107 w 141"/>
                <a:gd name="T29" fmla="*/ 18 h 125"/>
                <a:gd name="T30" fmla="*/ 70 w 141"/>
                <a:gd name="T31" fmla="*/ 5 h 125"/>
                <a:gd name="T32" fmla="*/ 70 w 141"/>
                <a:gd name="T33" fmla="*/ 103 h 125"/>
                <a:gd name="T34" fmla="*/ 45 w 141"/>
                <a:gd name="T35" fmla="*/ 94 h 125"/>
                <a:gd name="T36" fmla="*/ 39 w 141"/>
                <a:gd name="T37" fmla="*/ 38 h 125"/>
                <a:gd name="T38" fmla="*/ 70 w 141"/>
                <a:gd name="T39" fmla="*/ 23 h 125"/>
                <a:gd name="T40" fmla="*/ 96 w 141"/>
                <a:gd name="T41" fmla="*/ 32 h 125"/>
                <a:gd name="T42" fmla="*/ 101 w 141"/>
                <a:gd name="T43" fmla="*/ 88 h 125"/>
                <a:gd name="T44" fmla="*/ 70 w 141"/>
                <a:gd name="T45" fmla="*/ 103 h 125"/>
                <a:gd name="T46" fmla="*/ 70 w 141"/>
                <a:gd name="T47" fmla="*/ 28 h 125"/>
                <a:gd name="T48" fmla="*/ 43 w 141"/>
                <a:gd name="T49" fmla="*/ 41 h 125"/>
                <a:gd name="T50" fmla="*/ 48 w 141"/>
                <a:gd name="T51" fmla="*/ 90 h 125"/>
                <a:gd name="T52" fmla="*/ 70 w 141"/>
                <a:gd name="T53" fmla="*/ 98 h 125"/>
                <a:gd name="T54" fmla="*/ 98 w 141"/>
                <a:gd name="T55" fmla="*/ 85 h 125"/>
                <a:gd name="T56" fmla="*/ 92 w 141"/>
                <a:gd name="T57" fmla="*/ 36 h 125"/>
                <a:gd name="T58" fmla="*/ 70 w 141"/>
                <a:gd name="T59"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125"/>
                  </a:moveTo>
                  <a:cubicBezTo>
                    <a:pt x="70" y="125"/>
                    <a:pt x="70" y="125"/>
                    <a:pt x="70" y="125"/>
                  </a:cubicBezTo>
                  <a:cubicBezTo>
                    <a:pt x="56" y="125"/>
                    <a:pt x="42" y="120"/>
                    <a:pt x="31" y="111"/>
                  </a:cubicBezTo>
                  <a:cubicBezTo>
                    <a:pt x="4" y="90"/>
                    <a:pt x="0" y="50"/>
                    <a:pt x="22" y="23"/>
                  </a:cubicBezTo>
                  <a:cubicBezTo>
                    <a:pt x="34" y="8"/>
                    <a:pt x="51" y="0"/>
                    <a:pt x="70" y="0"/>
                  </a:cubicBezTo>
                  <a:cubicBezTo>
                    <a:pt x="85" y="0"/>
                    <a:pt x="99" y="5"/>
                    <a:pt x="110" y="14"/>
                  </a:cubicBezTo>
                  <a:cubicBezTo>
                    <a:pt x="137" y="36"/>
                    <a:pt x="141" y="75"/>
                    <a:pt x="119" y="102"/>
                  </a:cubicBezTo>
                  <a:cubicBezTo>
                    <a:pt x="107" y="117"/>
                    <a:pt x="89" y="125"/>
                    <a:pt x="70" y="125"/>
                  </a:cubicBezTo>
                  <a:close/>
                  <a:moveTo>
                    <a:pt x="70" y="5"/>
                  </a:moveTo>
                  <a:cubicBezTo>
                    <a:pt x="53" y="5"/>
                    <a:pt x="37" y="13"/>
                    <a:pt x="26" y="26"/>
                  </a:cubicBezTo>
                  <a:cubicBezTo>
                    <a:pt x="6" y="51"/>
                    <a:pt x="9" y="87"/>
                    <a:pt x="34" y="107"/>
                  </a:cubicBezTo>
                  <a:cubicBezTo>
                    <a:pt x="44" y="116"/>
                    <a:pt x="57" y="120"/>
                    <a:pt x="70" y="120"/>
                  </a:cubicBezTo>
                  <a:cubicBezTo>
                    <a:pt x="70" y="120"/>
                    <a:pt x="70" y="120"/>
                    <a:pt x="70" y="120"/>
                  </a:cubicBezTo>
                  <a:cubicBezTo>
                    <a:pt x="88" y="120"/>
                    <a:pt x="104" y="113"/>
                    <a:pt x="115" y="99"/>
                  </a:cubicBezTo>
                  <a:cubicBezTo>
                    <a:pt x="135" y="74"/>
                    <a:pt x="131" y="38"/>
                    <a:pt x="107" y="18"/>
                  </a:cubicBezTo>
                  <a:cubicBezTo>
                    <a:pt x="97" y="10"/>
                    <a:pt x="84" y="5"/>
                    <a:pt x="70" y="5"/>
                  </a:cubicBezTo>
                  <a:close/>
                  <a:moveTo>
                    <a:pt x="70" y="103"/>
                  </a:moveTo>
                  <a:cubicBezTo>
                    <a:pt x="61" y="103"/>
                    <a:pt x="52" y="99"/>
                    <a:pt x="45" y="94"/>
                  </a:cubicBezTo>
                  <a:cubicBezTo>
                    <a:pt x="28" y="80"/>
                    <a:pt x="26" y="55"/>
                    <a:pt x="39" y="38"/>
                  </a:cubicBezTo>
                  <a:cubicBezTo>
                    <a:pt x="47" y="28"/>
                    <a:pt x="58" y="23"/>
                    <a:pt x="70" y="23"/>
                  </a:cubicBezTo>
                  <a:cubicBezTo>
                    <a:pt x="80" y="23"/>
                    <a:pt x="88" y="26"/>
                    <a:pt x="96" y="32"/>
                  </a:cubicBezTo>
                  <a:cubicBezTo>
                    <a:pt x="113" y="46"/>
                    <a:pt x="115" y="71"/>
                    <a:pt x="101" y="88"/>
                  </a:cubicBezTo>
                  <a:cubicBezTo>
                    <a:pt x="94" y="97"/>
                    <a:pt x="83" y="103"/>
                    <a:pt x="70" y="103"/>
                  </a:cubicBezTo>
                  <a:close/>
                  <a:moveTo>
                    <a:pt x="70" y="28"/>
                  </a:moveTo>
                  <a:cubicBezTo>
                    <a:pt x="60" y="28"/>
                    <a:pt x="50" y="33"/>
                    <a:pt x="43" y="41"/>
                  </a:cubicBezTo>
                  <a:cubicBezTo>
                    <a:pt x="31" y="56"/>
                    <a:pt x="34" y="78"/>
                    <a:pt x="48" y="90"/>
                  </a:cubicBezTo>
                  <a:cubicBezTo>
                    <a:pt x="55" y="95"/>
                    <a:pt x="62" y="98"/>
                    <a:pt x="70" y="98"/>
                  </a:cubicBezTo>
                  <a:cubicBezTo>
                    <a:pt x="81" y="98"/>
                    <a:pt x="91" y="93"/>
                    <a:pt x="98" y="85"/>
                  </a:cubicBezTo>
                  <a:cubicBezTo>
                    <a:pt x="110" y="70"/>
                    <a:pt x="107" y="48"/>
                    <a:pt x="92" y="36"/>
                  </a:cubicBezTo>
                  <a:cubicBezTo>
                    <a:pt x="86" y="31"/>
                    <a:pt x="78" y="28"/>
                    <a:pt x="70" y="2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8" name="Freeform 1424">
              <a:extLst>
                <a:ext uri="{FF2B5EF4-FFF2-40B4-BE49-F238E27FC236}">
                  <a16:creationId xmlns:a16="http://schemas.microsoft.com/office/drawing/2014/main" id="{C1CA70EB-6BD0-4522-A339-97E6D316AD9B}"/>
                </a:ext>
              </a:extLst>
            </p:cNvPr>
            <p:cNvSpPr>
              <a:spLocks noEditPoints="1"/>
            </p:cNvSpPr>
            <p:nvPr/>
          </p:nvSpPr>
          <p:spPr bwMode="auto">
            <a:xfrm rot="20647229" flipH="1">
              <a:off x="6110685" y="5009575"/>
              <a:ext cx="741363" cy="738188"/>
            </a:xfrm>
            <a:custGeom>
              <a:avLst/>
              <a:gdLst>
                <a:gd name="T0" fmla="*/ 614 w 623"/>
                <a:gd name="T1" fmla="*/ 289 h 622"/>
                <a:gd name="T2" fmla="*/ 589 w 623"/>
                <a:gd name="T3" fmla="*/ 255 h 622"/>
                <a:gd name="T4" fmla="*/ 595 w 623"/>
                <a:gd name="T5" fmla="*/ 225 h 622"/>
                <a:gd name="T6" fmla="*/ 596 w 623"/>
                <a:gd name="T7" fmla="*/ 184 h 622"/>
                <a:gd name="T8" fmla="*/ 558 w 623"/>
                <a:gd name="T9" fmla="*/ 170 h 622"/>
                <a:gd name="T10" fmla="*/ 539 w 623"/>
                <a:gd name="T11" fmla="*/ 143 h 622"/>
                <a:gd name="T12" fmla="*/ 537 w 623"/>
                <a:gd name="T13" fmla="*/ 99 h 622"/>
                <a:gd name="T14" fmla="*/ 508 w 623"/>
                <a:gd name="T15" fmla="*/ 70 h 622"/>
                <a:gd name="T16" fmla="*/ 467 w 623"/>
                <a:gd name="T17" fmla="*/ 74 h 622"/>
                <a:gd name="T18" fmla="*/ 438 w 623"/>
                <a:gd name="T19" fmla="*/ 58 h 622"/>
                <a:gd name="T20" fmla="*/ 419 w 623"/>
                <a:gd name="T21" fmla="*/ 19 h 622"/>
                <a:gd name="T22" fmla="*/ 377 w 623"/>
                <a:gd name="T23" fmla="*/ 7 h 622"/>
                <a:gd name="T24" fmla="*/ 342 w 623"/>
                <a:gd name="T25" fmla="*/ 29 h 622"/>
                <a:gd name="T26" fmla="*/ 309 w 623"/>
                <a:gd name="T27" fmla="*/ 28 h 622"/>
                <a:gd name="T28" fmla="*/ 271 w 623"/>
                <a:gd name="T29" fmla="*/ 10 h 622"/>
                <a:gd name="T30" fmla="*/ 235 w 623"/>
                <a:gd name="T31" fmla="*/ 10 h 622"/>
                <a:gd name="T32" fmla="*/ 211 w 623"/>
                <a:gd name="T33" fmla="*/ 46 h 622"/>
                <a:gd name="T34" fmla="*/ 180 w 623"/>
                <a:gd name="T35" fmla="*/ 60 h 622"/>
                <a:gd name="T36" fmla="*/ 139 w 623"/>
                <a:gd name="T37" fmla="*/ 62 h 622"/>
                <a:gd name="T38" fmla="*/ 109 w 623"/>
                <a:gd name="T39" fmla="*/ 77 h 622"/>
                <a:gd name="T40" fmla="*/ 101 w 623"/>
                <a:gd name="T41" fmla="*/ 120 h 622"/>
                <a:gd name="T42" fmla="*/ 81 w 623"/>
                <a:gd name="T43" fmla="*/ 145 h 622"/>
                <a:gd name="T44" fmla="*/ 42 w 623"/>
                <a:gd name="T45" fmla="*/ 156 h 622"/>
                <a:gd name="T46" fmla="*/ 31 w 623"/>
                <a:gd name="T47" fmla="*/ 194 h 622"/>
                <a:gd name="T48" fmla="*/ 38 w 623"/>
                <a:gd name="T49" fmla="*/ 235 h 622"/>
                <a:gd name="T50" fmla="*/ 13 w 623"/>
                <a:gd name="T51" fmla="*/ 257 h 622"/>
                <a:gd name="T52" fmla="*/ 0 w 623"/>
                <a:gd name="T53" fmla="*/ 296 h 622"/>
                <a:gd name="T54" fmla="*/ 9 w 623"/>
                <a:gd name="T55" fmla="*/ 334 h 622"/>
                <a:gd name="T56" fmla="*/ 33 w 623"/>
                <a:gd name="T57" fmla="*/ 367 h 622"/>
                <a:gd name="T58" fmla="*/ 28 w 623"/>
                <a:gd name="T59" fmla="*/ 398 h 622"/>
                <a:gd name="T60" fmla="*/ 27 w 623"/>
                <a:gd name="T61" fmla="*/ 438 h 622"/>
                <a:gd name="T62" fmla="*/ 65 w 623"/>
                <a:gd name="T63" fmla="*/ 453 h 622"/>
                <a:gd name="T64" fmla="*/ 83 w 623"/>
                <a:gd name="T65" fmla="*/ 480 h 622"/>
                <a:gd name="T66" fmla="*/ 85 w 623"/>
                <a:gd name="T67" fmla="*/ 523 h 622"/>
                <a:gd name="T68" fmla="*/ 115 w 623"/>
                <a:gd name="T69" fmla="*/ 553 h 622"/>
                <a:gd name="T70" fmla="*/ 156 w 623"/>
                <a:gd name="T71" fmla="*/ 549 h 622"/>
                <a:gd name="T72" fmla="*/ 185 w 623"/>
                <a:gd name="T73" fmla="*/ 565 h 622"/>
                <a:gd name="T74" fmla="*/ 204 w 623"/>
                <a:gd name="T75" fmla="*/ 603 h 622"/>
                <a:gd name="T76" fmla="*/ 246 w 623"/>
                <a:gd name="T77" fmla="*/ 616 h 622"/>
                <a:gd name="T78" fmla="*/ 279 w 623"/>
                <a:gd name="T79" fmla="*/ 593 h 622"/>
                <a:gd name="T80" fmla="*/ 312 w 623"/>
                <a:gd name="T81" fmla="*/ 596 h 622"/>
                <a:gd name="T82" fmla="*/ 343 w 623"/>
                <a:gd name="T83" fmla="*/ 621 h 622"/>
                <a:gd name="T84" fmla="*/ 369 w 623"/>
                <a:gd name="T85" fmla="*/ 590 h 622"/>
                <a:gd name="T86" fmla="*/ 402 w 623"/>
                <a:gd name="T87" fmla="*/ 580 h 622"/>
                <a:gd name="T88" fmla="*/ 443 w 623"/>
                <a:gd name="T89" fmla="*/ 585 h 622"/>
                <a:gd name="T90" fmla="*/ 480 w 623"/>
                <a:gd name="T91" fmla="*/ 573 h 622"/>
                <a:gd name="T92" fmla="*/ 489 w 623"/>
                <a:gd name="T93" fmla="*/ 533 h 622"/>
                <a:gd name="T94" fmla="*/ 514 w 623"/>
                <a:gd name="T95" fmla="*/ 510 h 622"/>
                <a:gd name="T96" fmla="*/ 553 w 623"/>
                <a:gd name="T97" fmla="*/ 496 h 622"/>
                <a:gd name="T98" fmla="*/ 581 w 623"/>
                <a:gd name="T99" fmla="*/ 468 h 622"/>
                <a:gd name="T100" fmla="*/ 591 w 623"/>
                <a:gd name="T101" fmla="*/ 429 h 622"/>
                <a:gd name="T102" fmla="*/ 585 w 623"/>
                <a:gd name="T103" fmla="*/ 388 h 622"/>
                <a:gd name="T104" fmla="*/ 610 w 623"/>
                <a:gd name="T105" fmla="*/ 366 h 622"/>
                <a:gd name="T106" fmla="*/ 622 w 623"/>
                <a:gd name="T107" fmla="*/ 327 h 622"/>
                <a:gd name="T108" fmla="*/ 472 w 623"/>
                <a:gd name="T109" fmla="*/ 113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22">
                  <a:moveTo>
                    <a:pt x="615" y="319"/>
                  </a:moveTo>
                  <a:cubicBezTo>
                    <a:pt x="608" y="317"/>
                    <a:pt x="600" y="314"/>
                    <a:pt x="596" y="311"/>
                  </a:cubicBezTo>
                  <a:cubicBezTo>
                    <a:pt x="595" y="310"/>
                    <a:pt x="595" y="310"/>
                    <a:pt x="595" y="309"/>
                  </a:cubicBezTo>
                  <a:cubicBezTo>
                    <a:pt x="595" y="306"/>
                    <a:pt x="595" y="303"/>
                    <a:pt x="595" y="300"/>
                  </a:cubicBezTo>
                  <a:cubicBezTo>
                    <a:pt x="595" y="300"/>
                    <a:pt x="595" y="300"/>
                    <a:pt x="595" y="300"/>
                  </a:cubicBezTo>
                  <a:cubicBezTo>
                    <a:pt x="595" y="299"/>
                    <a:pt x="595" y="298"/>
                    <a:pt x="595" y="298"/>
                  </a:cubicBezTo>
                  <a:cubicBezTo>
                    <a:pt x="599" y="294"/>
                    <a:pt x="608" y="290"/>
                    <a:pt x="614" y="289"/>
                  </a:cubicBezTo>
                  <a:cubicBezTo>
                    <a:pt x="622" y="287"/>
                    <a:pt x="622" y="284"/>
                    <a:pt x="621" y="280"/>
                  </a:cubicBezTo>
                  <a:cubicBezTo>
                    <a:pt x="621" y="278"/>
                    <a:pt x="621" y="278"/>
                    <a:pt x="621" y="278"/>
                  </a:cubicBezTo>
                  <a:cubicBezTo>
                    <a:pt x="621" y="274"/>
                    <a:pt x="620" y="271"/>
                    <a:pt x="612" y="271"/>
                  </a:cubicBezTo>
                  <a:cubicBezTo>
                    <a:pt x="606" y="271"/>
                    <a:pt x="597" y="269"/>
                    <a:pt x="592" y="266"/>
                  </a:cubicBezTo>
                  <a:cubicBezTo>
                    <a:pt x="592" y="266"/>
                    <a:pt x="591" y="265"/>
                    <a:pt x="591" y="264"/>
                  </a:cubicBezTo>
                  <a:cubicBezTo>
                    <a:pt x="591" y="264"/>
                    <a:pt x="591" y="264"/>
                    <a:pt x="591" y="264"/>
                  </a:cubicBezTo>
                  <a:cubicBezTo>
                    <a:pt x="590" y="261"/>
                    <a:pt x="590" y="258"/>
                    <a:pt x="589" y="255"/>
                  </a:cubicBezTo>
                  <a:cubicBezTo>
                    <a:pt x="589" y="255"/>
                    <a:pt x="589" y="254"/>
                    <a:pt x="590" y="253"/>
                  </a:cubicBezTo>
                  <a:cubicBezTo>
                    <a:pt x="593" y="249"/>
                    <a:pt x="601" y="244"/>
                    <a:pt x="607" y="242"/>
                  </a:cubicBezTo>
                  <a:cubicBezTo>
                    <a:pt x="614" y="239"/>
                    <a:pt x="614" y="236"/>
                    <a:pt x="612" y="232"/>
                  </a:cubicBezTo>
                  <a:cubicBezTo>
                    <a:pt x="612" y="230"/>
                    <a:pt x="612" y="230"/>
                    <a:pt x="612" y="230"/>
                  </a:cubicBezTo>
                  <a:cubicBezTo>
                    <a:pt x="611" y="227"/>
                    <a:pt x="611" y="224"/>
                    <a:pt x="605" y="224"/>
                  </a:cubicBezTo>
                  <a:cubicBezTo>
                    <a:pt x="604" y="224"/>
                    <a:pt x="603" y="224"/>
                    <a:pt x="602" y="225"/>
                  </a:cubicBezTo>
                  <a:cubicBezTo>
                    <a:pt x="600" y="225"/>
                    <a:pt x="598" y="225"/>
                    <a:pt x="595" y="225"/>
                  </a:cubicBezTo>
                  <a:cubicBezTo>
                    <a:pt x="591" y="225"/>
                    <a:pt x="586" y="225"/>
                    <a:pt x="582" y="223"/>
                  </a:cubicBezTo>
                  <a:cubicBezTo>
                    <a:pt x="581" y="223"/>
                    <a:pt x="580" y="222"/>
                    <a:pt x="580" y="221"/>
                  </a:cubicBezTo>
                  <a:cubicBezTo>
                    <a:pt x="579" y="218"/>
                    <a:pt x="578" y="216"/>
                    <a:pt x="577" y="213"/>
                  </a:cubicBezTo>
                  <a:cubicBezTo>
                    <a:pt x="577" y="212"/>
                    <a:pt x="577" y="211"/>
                    <a:pt x="577" y="211"/>
                  </a:cubicBezTo>
                  <a:cubicBezTo>
                    <a:pt x="580" y="206"/>
                    <a:pt x="587" y="200"/>
                    <a:pt x="592" y="196"/>
                  </a:cubicBezTo>
                  <a:cubicBezTo>
                    <a:pt x="599" y="192"/>
                    <a:pt x="598" y="189"/>
                    <a:pt x="596" y="186"/>
                  </a:cubicBezTo>
                  <a:cubicBezTo>
                    <a:pt x="596" y="184"/>
                    <a:pt x="596" y="184"/>
                    <a:pt x="596" y="184"/>
                  </a:cubicBezTo>
                  <a:cubicBezTo>
                    <a:pt x="594" y="181"/>
                    <a:pt x="593" y="179"/>
                    <a:pt x="590" y="179"/>
                  </a:cubicBezTo>
                  <a:cubicBezTo>
                    <a:pt x="589" y="179"/>
                    <a:pt x="587" y="180"/>
                    <a:pt x="585" y="180"/>
                  </a:cubicBezTo>
                  <a:cubicBezTo>
                    <a:pt x="580" y="182"/>
                    <a:pt x="575" y="182"/>
                    <a:pt x="570" y="182"/>
                  </a:cubicBezTo>
                  <a:cubicBezTo>
                    <a:pt x="568" y="182"/>
                    <a:pt x="566" y="182"/>
                    <a:pt x="565" y="182"/>
                  </a:cubicBezTo>
                  <a:cubicBezTo>
                    <a:pt x="564" y="181"/>
                    <a:pt x="563" y="181"/>
                    <a:pt x="563" y="180"/>
                  </a:cubicBezTo>
                  <a:cubicBezTo>
                    <a:pt x="562" y="178"/>
                    <a:pt x="560" y="175"/>
                    <a:pt x="558" y="172"/>
                  </a:cubicBezTo>
                  <a:cubicBezTo>
                    <a:pt x="558" y="172"/>
                    <a:pt x="558" y="171"/>
                    <a:pt x="558" y="170"/>
                  </a:cubicBezTo>
                  <a:cubicBezTo>
                    <a:pt x="560" y="165"/>
                    <a:pt x="566" y="158"/>
                    <a:pt x="571" y="154"/>
                  </a:cubicBezTo>
                  <a:cubicBezTo>
                    <a:pt x="577" y="148"/>
                    <a:pt x="575" y="146"/>
                    <a:pt x="573" y="143"/>
                  </a:cubicBezTo>
                  <a:cubicBezTo>
                    <a:pt x="572" y="141"/>
                    <a:pt x="572" y="141"/>
                    <a:pt x="572" y="141"/>
                  </a:cubicBezTo>
                  <a:cubicBezTo>
                    <a:pt x="571" y="139"/>
                    <a:pt x="570" y="137"/>
                    <a:pt x="567" y="137"/>
                  </a:cubicBezTo>
                  <a:cubicBezTo>
                    <a:pt x="565" y="137"/>
                    <a:pt x="564" y="138"/>
                    <a:pt x="561" y="139"/>
                  </a:cubicBezTo>
                  <a:cubicBezTo>
                    <a:pt x="554" y="142"/>
                    <a:pt x="546" y="144"/>
                    <a:pt x="541" y="144"/>
                  </a:cubicBezTo>
                  <a:cubicBezTo>
                    <a:pt x="540" y="144"/>
                    <a:pt x="540" y="143"/>
                    <a:pt x="539" y="143"/>
                  </a:cubicBezTo>
                  <a:cubicBezTo>
                    <a:pt x="538" y="141"/>
                    <a:pt x="536" y="138"/>
                    <a:pt x="535" y="136"/>
                  </a:cubicBezTo>
                  <a:cubicBezTo>
                    <a:pt x="534" y="135"/>
                    <a:pt x="534" y="135"/>
                    <a:pt x="534" y="135"/>
                  </a:cubicBezTo>
                  <a:cubicBezTo>
                    <a:pt x="533" y="135"/>
                    <a:pt x="533" y="134"/>
                    <a:pt x="533" y="133"/>
                  </a:cubicBezTo>
                  <a:cubicBezTo>
                    <a:pt x="534" y="128"/>
                    <a:pt x="539" y="120"/>
                    <a:pt x="543" y="115"/>
                  </a:cubicBezTo>
                  <a:cubicBezTo>
                    <a:pt x="548" y="109"/>
                    <a:pt x="546" y="107"/>
                    <a:pt x="543" y="104"/>
                  </a:cubicBezTo>
                  <a:cubicBezTo>
                    <a:pt x="543" y="103"/>
                    <a:pt x="543" y="103"/>
                    <a:pt x="543" y="103"/>
                  </a:cubicBezTo>
                  <a:cubicBezTo>
                    <a:pt x="541" y="101"/>
                    <a:pt x="540" y="99"/>
                    <a:pt x="537" y="99"/>
                  </a:cubicBezTo>
                  <a:cubicBezTo>
                    <a:pt x="536" y="99"/>
                    <a:pt x="534" y="100"/>
                    <a:pt x="531" y="102"/>
                  </a:cubicBezTo>
                  <a:cubicBezTo>
                    <a:pt x="526" y="106"/>
                    <a:pt x="518" y="110"/>
                    <a:pt x="512" y="110"/>
                  </a:cubicBezTo>
                  <a:cubicBezTo>
                    <a:pt x="511" y="110"/>
                    <a:pt x="511" y="110"/>
                    <a:pt x="510" y="109"/>
                  </a:cubicBezTo>
                  <a:cubicBezTo>
                    <a:pt x="508" y="107"/>
                    <a:pt x="506" y="105"/>
                    <a:pt x="503" y="103"/>
                  </a:cubicBezTo>
                  <a:cubicBezTo>
                    <a:pt x="503" y="102"/>
                    <a:pt x="503" y="102"/>
                    <a:pt x="503" y="101"/>
                  </a:cubicBezTo>
                  <a:cubicBezTo>
                    <a:pt x="503" y="95"/>
                    <a:pt x="506" y="87"/>
                    <a:pt x="509" y="81"/>
                  </a:cubicBezTo>
                  <a:cubicBezTo>
                    <a:pt x="514" y="74"/>
                    <a:pt x="511" y="72"/>
                    <a:pt x="508" y="70"/>
                  </a:cubicBezTo>
                  <a:cubicBezTo>
                    <a:pt x="507" y="69"/>
                    <a:pt x="507" y="69"/>
                    <a:pt x="507" y="69"/>
                  </a:cubicBezTo>
                  <a:cubicBezTo>
                    <a:pt x="506" y="68"/>
                    <a:pt x="504" y="67"/>
                    <a:pt x="502" y="67"/>
                  </a:cubicBezTo>
                  <a:cubicBezTo>
                    <a:pt x="500" y="67"/>
                    <a:pt x="498" y="68"/>
                    <a:pt x="496" y="70"/>
                  </a:cubicBezTo>
                  <a:cubicBezTo>
                    <a:pt x="491" y="75"/>
                    <a:pt x="483" y="80"/>
                    <a:pt x="478" y="81"/>
                  </a:cubicBezTo>
                  <a:cubicBezTo>
                    <a:pt x="477" y="81"/>
                    <a:pt x="477" y="81"/>
                    <a:pt x="476" y="81"/>
                  </a:cubicBezTo>
                  <a:cubicBezTo>
                    <a:pt x="473" y="79"/>
                    <a:pt x="471" y="77"/>
                    <a:pt x="468" y="75"/>
                  </a:cubicBezTo>
                  <a:cubicBezTo>
                    <a:pt x="468" y="75"/>
                    <a:pt x="467" y="74"/>
                    <a:pt x="467" y="74"/>
                  </a:cubicBezTo>
                  <a:cubicBezTo>
                    <a:pt x="466" y="68"/>
                    <a:pt x="469" y="59"/>
                    <a:pt x="471" y="53"/>
                  </a:cubicBezTo>
                  <a:cubicBezTo>
                    <a:pt x="474" y="46"/>
                    <a:pt x="471" y="44"/>
                    <a:pt x="468" y="42"/>
                  </a:cubicBezTo>
                  <a:cubicBezTo>
                    <a:pt x="467" y="41"/>
                    <a:pt x="467" y="41"/>
                    <a:pt x="467" y="41"/>
                  </a:cubicBezTo>
                  <a:cubicBezTo>
                    <a:pt x="465" y="41"/>
                    <a:pt x="464" y="40"/>
                    <a:pt x="462" y="40"/>
                  </a:cubicBezTo>
                  <a:cubicBezTo>
                    <a:pt x="460" y="40"/>
                    <a:pt x="458" y="41"/>
                    <a:pt x="456" y="44"/>
                  </a:cubicBezTo>
                  <a:cubicBezTo>
                    <a:pt x="452" y="49"/>
                    <a:pt x="445" y="56"/>
                    <a:pt x="440" y="58"/>
                  </a:cubicBezTo>
                  <a:cubicBezTo>
                    <a:pt x="439" y="58"/>
                    <a:pt x="439" y="58"/>
                    <a:pt x="438" y="58"/>
                  </a:cubicBezTo>
                  <a:cubicBezTo>
                    <a:pt x="436" y="57"/>
                    <a:pt x="436" y="57"/>
                    <a:pt x="436" y="57"/>
                  </a:cubicBezTo>
                  <a:cubicBezTo>
                    <a:pt x="434" y="56"/>
                    <a:pt x="432" y="55"/>
                    <a:pt x="429" y="54"/>
                  </a:cubicBezTo>
                  <a:cubicBezTo>
                    <a:pt x="429" y="53"/>
                    <a:pt x="428" y="53"/>
                    <a:pt x="428" y="52"/>
                  </a:cubicBezTo>
                  <a:cubicBezTo>
                    <a:pt x="426" y="47"/>
                    <a:pt x="427" y="38"/>
                    <a:pt x="429" y="31"/>
                  </a:cubicBezTo>
                  <a:cubicBezTo>
                    <a:pt x="431" y="23"/>
                    <a:pt x="428" y="22"/>
                    <a:pt x="424" y="21"/>
                  </a:cubicBezTo>
                  <a:cubicBezTo>
                    <a:pt x="423" y="21"/>
                    <a:pt x="423" y="21"/>
                    <a:pt x="423" y="21"/>
                  </a:cubicBezTo>
                  <a:cubicBezTo>
                    <a:pt x="421" y="20"/>
                    <a:pt x="420" y="19"/>
                    <a:pt x="419" y="19"/>
                  </a:cubicBezTo>
                  <a:cubicBezTo>
                    <a:pt x="418" y="19"/>
                    <a:pt x="415" y="19"/>
                    <a:pt x="412" y="25"/>
                  </a:cubicBezTo>
                  <a:cubicBezTo>
                    <a:pt x="409" y="31"/>
                    <a:pt x="404" y="38"/>
                    <a:pt x="399" y="41"/>
                  </a:cubicBezTo>
                  <a:cubicBezTo>
                    <a:pt x="398" y="41"/>
                    <a:pt x="397" y="41"/>
                    <a:pt x="397" y="41"/>
                  </a:cubicBezTo>
                  <a:cubicBezTo>
                    <a:pt x="394" y="40"/>
                    <a:pt x="391" y="39"/>
                    <a:pt x="388" y="38"/>
                  </a:cubicBezTo>
                  <a:cubicBezTo>
                    <a:pt x="387" y="38"/>
                    <a:pt x="386" y="38"/>
                    <a:pt x="386" y="37"/>
                  </a:cubicBezTo>
                  <a:cubicBezTo>
                    <a:pt x="384" y="32"/>
                    <a:pt x="383" y="23"/>
                    <a:pt x="383" y="17"/>
                  </a:cubicBezTo>
                  <a:cubicBezTo>
                    <a:pt x="384" y="8"/>
                    <a:pt x="381" y="8"/>
                    <a:pt x="377" y="7"/>
                  </a:cubicBezTo>
                  <a:cubicBezTo>
                    <a:pt x="376" y="7"/>
                    <a:pt x="376" y="7"/>
                    <a:pt x="376" y="7"/>
                  </a:cubicBezTo>
                  <a:cubicBezTo>
                    <a:pt x="375" y="6"/>
                    <a:pt x="373" y="6"/>
                    <a:pt x="372" y="6"/>
                  </a:cubicBezTo>
                  <a:cubicBezTo>
                    <a:pt x="371" y="6"/>
                    <a:pt x="368" y="6"/>
                    <a:pt x="366" y="13"/>
                  </a:cubicBezTo>
                  <a:cubicBezTo>
                    <a:pt x="364" y="19"/>
                    <a:pt x="360" y="27"/>
                    <a:pt x="355" y="30"/>
                  </a:cubicBezTo>
                  <a:cubicBezTo>
                    <a:pt x="355" y="31"/>
                    <a:pt x="354" y="31"/>
                    <a:pt x="353" y="31"/>
                  </a:cubicBezTo>
                  <a:cubicBezTo>
                    <a:pt x="350" y="31"/>
                    <a:pt x="347" y="30"/>
                    <a:pt x="344" y="30"/>
                  </a:cubicBezTo>
                  <a:cubicBezTo>
                    <a:pt x="343" y="30"/>
                    <a:pt x="343" y="29"/>
                    <a:pt x="342" y="29"/>
                  </a:cubicBezTo>
                  <a:cubicBezTo>
                    <a:pt x="339" y="24"/>
                    <a:pt x="337" y="16"/>
                    <a:pt x="336" y="9"/>
                  </a:cubicBezTo>
                  <a:cubicBezTo>
                    <a:pt x="336" y="1"/>
                    <a:pt x="333" y="1"/>
                    <a:pt x="329" y="0"/>
                  </a:cubicBezTo>
                  <a:cubicBezTo>
                    <a:pt x="327" y="0"/>
                    <a:pt x="327" y="0"/>
                    <a:pt x="327" y="0"/>
                  </a:cubicBezTo>
                  <a:cubicBezTo>
                    <a:pt x="327" y="0"/>
                    <a:pt x="326" y="0"/>
                    <a:pt x="325" y="0"/>
                  </a:cubicBezTo>
                  <a:cubicBezTo>
                    <a:pt x="323" y="0"/>
                    <a:pt x="320" y="0"/>
                    <a:pt x="319" y="8"/>
                  </a:cubicBezTo>
                  <a:cubicBezTo>
                    <a:pt x="317" y="14"/>
                    <a:pt x="314" y="23"/>
                    <a:pt x="311" y="27"/>
                  </a:cubicBezTo>
                  <a:cubicBezTo>
                    <a:pt x="310" y="28"/>
                    <a:pt x="310" y="28"/>
                    <a:pt x="309" y="28"/>
                  </a:cubicBezTo>
                  <a:cubicBezTo>
                    <a:pt x="306" y="28"/>
                    <a:pt x="303" y="28"/>
                    <a:pt x="300" y="28"/>
                  </a:cubicBezTo>
                  <a:cubicBezTo>
                    <a:pt x="299" y="28"/>
                    <a:pt x="298" y="28"/>
                    <a:pt x="298" y="27"/>
                  </a:cubicBezTo>
                  <a:cubicBezTo>
                    <a:pt x="294" y="23"/>
                    <a:pt x="291" y="15"/>
                    <a:pt x="289" y="9"/>
                  </a:cubicBezTo>
                  <a:cubicBezTo>
                    <a:pt x="287" y="1"/>
                    <a:pt x="284" y="1"/>
                    <a:pt x="282" y="1"/>
                  </a:cubicBezTo>
                  <a:cubicBezTo>
                    <a:pt x="282" y="1"/>
                    <a:pt x="281" y="2"/>
                    <a:pt x="280" y="2"/>
                  </a:cubicBezTo>
                  <a:cubicBezTo>
                    <a:pt x="278" y="2"/>
                    <a:pt x="278" y="2"/>
                    <a:pt x="278" y="2"/>
                  </a:cubicBezTo>
                  <a:cubicBezTo>
                    <a:pt x="275" y="2"/>
                    <a:pt x="271" y="2"/>
                    <a:pt x="271" y="10"/>
                  </a:cubicBezTo>
                  <a:cubicBezTo>
                    <a:pt x="271" y="17"/>
                    <a:pt x="269" y="26"/>
                    <a:pt x="266" y="31"/>
                  </a:cubicBezTo>
                  <a:cubicBezTo>
                    <a:pt x="266" y="31"/>
                    <a:pt x="265" y="32"/>
                    <a:pt x="265" y="32"/>
                  </a:cubicBezTo>
                  <a:cubicBezTo>
                    <a:pt x="263" y="32"/>
                    <a:pt x="263" y="32"/>
                    <a:pt x="263" y="32"/>
                  </a:cubicBezTo>
                  <a:cubicBezTo>
                    <a:pt x="260" y="33"/>
                    <a:pt x="258" y="33"/>
                    <a:pt x="255" y="33"/>
                  </a:cubicBezTo>
                  <a:cubicBezTo>
                    <a:pt x="255" y="34"/>
                    <a:pt x="254" y="33"/>
                    <a:pt x="253" y="33"/>
                  </a:cubicBezTo>
                  <a:cubicBezTo>
                    <a:pt x="249" y="30"/>
                    <a:pt x="244" y="22"/>
                    <a:pt x="242" y="16"/>
                  </a:cubicBezTo>
                  <a:cubicBezTo>
                    <a:pt x="239" y="10"/>
                    <a:pt x="236" y="10"/>
                    <a:pt x="235" y="10"/>
                  </a:cubicBezTo>
                  <a:cubicBezTo>
                    <a:pt x="234" y="10"/>
                    <a:pt x="233" y="10"/>
                    <a:pt x="232" y="10"/>
                  </a:cubicBezTo>
                  <a:cubicBezTo>
                    <a:pt x="230" y="11"/>
                    <a:pt x="230" y="11"/>
                    <a:pt x="230" y="11"/>
                  </a:cubicBezTo>
                  <a:cubicBezTo>
                    <a:pt x="227" y="12"/>
                    <a:pt x="224" y="12"/>
                    <a:pt x="225" y="20"/>
                  </a:cubicBezTo>
                  <a:cubicBezTo>
                    <a:pt x="225" y="27"/>
                    <a:pt x="225" y="36"/>
                    <a:pt x="223" y="41"/>
                  </a:cubicBezTo>
                  <a:cubicBezTo>
                    <a:pt x="223" y="42"/>
                    <a:pt x="222" y="42"/>
                    <a:pt x="221" y="43"/>
                  </a:cubicBezTo>
                  <a:cubicBezTo>
                    <a:pt x="218" y="44"/>
                    <a:pt x="215" y="45"/>
                    <a:pt x="213" y="46"/>
                  </a:cubicBezTo>
                  <a:cubicBezTo>
                    <a:pt x="212" y="46"/>
                    <a:pt x="211" y="46"/>
                    <a:pt x="211" y="46"/>
                  </a:cubicBezTo>
                  <a:cubicBezTo>
                    <a:pt x="206" y="43"/>
                    <a:pt x="200" y="36"/>
                    <a:pt x="196" y="31"/>
                  </a:cubicBezTo>
                  <a:cubicBezTo>
                    <a:pt x="193" y="25"/>
                    <a:pt x="191" y="25"/>
                    <a:pt x="190" y="25"/>
                  </a:cubicBezTo>
                  <a:cubicBezTo>
                    <a:pt x="189" y="25"/>
                    <a:pt x="187" y="26"/>
                    <a:pt x="186" y="27"/>
                  </a:cubicBezTo>
                  <a:cubicBezTo>
                    <a:pt x="184" y="27"/>
                    <a:pt x="184" y="27"/>
                    <a:pt x="184" y="27"/>
                  </a:cubicBezTo>
                  <a:cubicBezTo>
                    <a:pt x="181" y="29"/>
                    <a:pt x="178" y="30"/>
                    <a:pt x="180" y="38"/>
                  </a:cubicBezTo>
                  <a:cubicBezTo>
                    <a:pt x="182" y="44"/>
                    <a:pt x="183" y="53"/>
                    <a:pt x="182" y="58"/>
                  </a:cubicBezTo>
                  <a:cubicBezTo>
                    <a:pt x="182" y="59"/>
                    <a:pt x="181" y="60"/>
                    <a:pt x="180" y="60"/>
                  </a:cubicBezTo>
                  <a:cubicBezTo>
                    <a:pt x="178" y="61"/>
                    <a:pt x="175" y="63"/>
                    <a:pt x="172" y="64"/>
                  </a:cubicBezTo>
                  <a:cubicBezTo>
                    <a:pt x="172" y="65"/>
                    <a:pt x="171" y="65"/>
                    <a:pt x="170" y="65"/>
                  </a:cubicBezTo>
                  <a:cubicBezTo>
                    <a:pt x="165" y="63"/>
                    <a:pt x="158" y="57"/>
                    <a:pt x="154" y="52"/>
                  </a:cubicBezTo>
                  <a:cubicBezTo>
                    <a:pt x="151" y="49"/>
                    <a:pt x="149" y="48"/>
                    <a:pt x="147" y="48"/>
                  </a:cubicBezTo>
                  <a:cubicBezTo>
                    <a:pt x="146" y="48"/>
                    <a:pt x="144" y="49"/>
                    <a:pt x="143" y="50"/>
                  </a:cubicBezTo>
                  <a:cubicBezTo>
                    <a:pt x="142" y="50"/>
                    <a:pt x="142" y="50"/>
                    <a:pt x="142" y="50"/>
                  </a:cubicBezTo>
                  <a:cubicBezTo>
                    <a:pt x="138" y="53"/>
                    <a:pt x="135" y="54"/>
                    <a:pt x="139" y="62"/>
                  </a:cubicBezTo>
                  <a:cubicBezTo>
                    <a:pt x="142" y="68"/>
                    <a:pt x="144" y="76"/>
                    <a:pt x="144" y="82"/>
                  </a:cubicBezTo>
                  <a:cubicBezTo>
                    <a:pt x="144" y="82"/>
                    <a:pt x="143" y="83"/>
                    <a:pt x="143" y="83"/>
                  </a:cubicBezTo>
                  <a:cubicBezTo>
                    <a:pt x="141" y="85"/>
                    <a:pt x="139" y="87"/>
                    <a:pt x="137" y="88"/>
                  </a:cubicBezTo>
                  <a:cubicBezTo>
                    <a:pt x="135" y="89"/>
                    <a:pt x="135" y="89"/>
                    <a:pt x="135" y="89"/>
                  </a:cubicBezTo>
                  <a:cubicBezTo>
                    <a:pt x="135" y="90"/>
                    <a:pt x="134" y="90"/>
                    <a:pt x="133" y="90"/>
                  </a:cubicBezTo>
                  <a:cubicBezTo>
                    <a:pt x="128" y="89"/>
                    <a:pt x="120" y="84"/>
                    <a:pt x="115" y="80"/>
                  </a:cubicBezTo>
                  <a:cubicBezTo>
                    <a:pt x="113" y="78"/>
                    <a:pt x="110" y="77"/>
                    <a:pt x="109" y="77"/>
                  </a:cubicBezTo>
                  <a:cubicBezTo>
                    <a:pt x="107" y="77"/>
                    <a:pt x="105" y="78"/>
                    <a:pt x="104" y="79"/>
                  </a:cubicBezTo>
                  <a:cubicBezTo>
                    <a:pt x="103" y="80"/>
                    <a:pt x="103" y="80"/>
                    <a:pt x="103" y="80"/>
                  </a:cubicBezTo>
                  <a:cubicBezTo>
                    <a:pt x="100" y="83"/>
                    <a:pt x="97" y="85"/>
                    <a:pt x="102" y="92"/>
                  </a:cubicBezTo>
                  <a:cubicBezTo>
                    <a:pt x="106" y="97"/>
                    <a:pt x="110" y="105"/>
                    <a:pt x="110" y="111"/>
                  </a:cubicBezTo>
                  <a:cubicBezTo>
                    <a:pt x="110" y="112"/>
                    <a:pt x="110" y="112"/>
                    <a:pt x="109" y="113"/>
                  </a:cubicBezTo>
                  <a:cubicBezTo>
                    <a:pt x="107" y="115"/>
                    <a:pt x="105" y="117"/>
                    <a:pt x="103" y="119"/>
                  </a:cubicBezTo>
                  <a:cubicBezTo>
                    <a:pt x="102" y="120"/>
                    <a:pt x="102" y="120"/>
                    <a:pt x="101" y="120"/>
                  </a:cubicBezTo>
                  <a:cubicBezTo>
                    <a:pt x="101" y="120"/>
                    <a:pt x="101" y="120"/>
                    <a:pt x="101" y="120"/>
                  </a:cubicBezTo>
                  <a:cubicBezTo>
                    <a:pt x="95" y="120"/>
                    <a:pt x="87" y="117"/>
                    <a:pt x="81" y="113"/>
                  </a:cubicBezTo>
                  <a:cubicBezTo>
                    <a:pt x="79" y="112"/>
                    <a:pt x="77" y="111"/>
                    <a:pt x="75" y="111"/>
                  </a:cubicBezTo>
                  <a:cubicBezTo>
                    <a:pt x="73" y="111"/>
                    <a:pt x="72" y="113"/>
                    <a:pt x="70" y="115"/>
                  </a:cubicBezTo>
                  <a:cubicBezTo>
                    <a:pt x="69" y="116"/>
                    <a:pt x="69" y="116"/>
                    <a:pt x="69" y="116"/>
                  </a:cubicBezTo>
                  <a:cubicBezTo>
                    <a:pt x="67" y="119"/>
                    <a:pt x="65" y="121"/>
                    <a:pt x="70" y="127"/>
                  </a:cubicBezTo>
                  <a:cubicBezTo>
                    <a:pt x="75" y="132"/>
                    <a:pt x="80" y="139"/>
                    <a:pt x="81" y="145"/>
                  </a:cubicBezTo>
                  <a:cubicBezTo>
                    <a:pt x="81" y="146"/>
                    <a:pt x="81" y="146"/>
                    <a:pt x="81" y="147"/>
                  </a:cubicBezTo>
                  <a:cubicBezTo>
                    <a:pt x="79" y="149"/>
                    <a:pt x="77" y="152"/>
                    <a:pt x="75" y="154"/>
                  </a:cubicBezTo>
                  <a:cubicBezTo>
                    <a:pt x="75" y="155"/>
                    <a:pt x="74" y="155"/>
                    <a:pt x="74" y="156"/>
                  </a:cubicBezTo>
                  <a:cubicBezTo>
                    <a:pt x="69" y="156"/>
                    <a:pt x="61" y="155"/>
                    <a:pt x="53" y="152"/>
                  </a:cubicBezTo>
                  <a:cubicBezTo>
                    <a:pt x="51" y="151"/>
                    <a:pt x="49" y="150"/>
                    <a:pt x="48" y="150"/>
                  </a:cubicBezTo>
                  <a:cubicBezTo>
                    <a:pt x="45" y="150"/>
                    <a:pt x="44" y="152"/>
                    <a:pt x="42" y="155"/>
                  </a:cubicBezTo>
                  <a:cubicBezTo>
                    <a:pt x="42" y="156"/>
                    <a:pt x="42" y="156"/>
                    <a:pt x="42" y="156"/>
                  </a:cubicBezTo>
                  <a:cubicBezTo>
                    <a:pt x="40" y="159"/>
                    <a:pt x="38" y="162"/>
                    <a:pt x="44" y="167"/>
                  </a:cubicBezTo>
                  <a:cubicBezTo>
                    <a:pt x="50" y="171"/>
                    <a:pt x="56" y="178"/>
                    <a:pt x="58" y="183"/>
                  </a:cubicBezTo>
                  <a:cubicBezTo>
                    <a:pt x="58" y="184"/>
                    <a:pt x="58" y="184"/>
                    <a:pt x="58" y="185"/>
                  </a:cubicBezTo>
                  <a:cubicBezTo>
                    <a:pt x="57" y="186"/>
                    <a:pt x="57" y="186"/>
                    <a:pt x="57" y="186"/>
                  </a:cubicBezTo>
                  <a:cubicBezTo>
                    <a:pt x="56" y="188"/>
                    <a:pt x="55" y="191"/>
                    <a:pt x="54" y="193"/>
                  </a:cubicBezTo>
                  <a:cubicBezTo>
                    <a:pt x="53" y="194"/>
                    <a:pt x="53" y="194"/>
                    <a:pt x="52" y="195"/>
                  </a:cubicBezTo>
                  <a:cubicBezTo>
                    <a:pt x="48" y="196"/>
                    <a:pt x="39" y="196"/>
                    <a:pt x="31" y="194"/>
                  </a:cubicBezTo>
                  <a:cubicBezTo>
                    <a:pt x="30" y="194"/>
                    <a:pt x="28" y="194"/>
                    <a:pt x="27" y="194"/>
                  </a:cubicBezTo>
                  <a:cubicBezTo>
                    <a:pt x="23" y="194"/>
                    <a:pt x="22" y="196"/>
                    <a:pt x="21" y="199"/>
                  </a:cubicBezTo>
                  <a:cubicBezTo>
                    <a:pt x="21" y="200"/>
                    <a:pt x="21" y="200"/>
                    <a:pt x="21" y="200"/>
                  </a:cubicBezTo>
                  <a:cubicBezTo>
                    <a:pt x="19" y="204"/>
                    <a:pt x="18" y="207"/>
                    <a:pt x="25" y="211"/>
                  </a:cubicBezTo>
                  <a:cubicBezTo>
                    <a:pt x="31" y="214"/>
                    <a:pt x="38" y="219"/>
                    <a:pt x="41" y="224"/>
                  </a:cubicBezTo>
                  <a:cubicBezTo>
                    <a:pt x="41" y="225"/>
                    <a:pt x="41" y="226"/>
                    <a:pt x="41" y="226"/>
                  </a:cubicBezTo>
                  <a:cubicBezTo>
                    <a:pt x="40" y="229"/>
                    <a:pt x="39" y="232"/>
                    <a:pt x="38" y="235"/>
                  </a:cubicBezTo>
                  <a:cubicBezTo>
                    <a:pt x="38" y="236"/>
                    <a:pt x="38" y="236"/>
                    <a:pt x="37" y="237"/>
                  </a:cubicBezTo>
                  <a:cubicBezTo>
                    <a:pt x="32" y="239"/>
                    <a:pt x="24" y="240"/>
                    <a:pt x="20" y="240"/>
                  </a:cubicBezTo>
                  <a:cubicBezTo>
                    <a:pt x="19" y="240"/>
                    <a:pt x="18" y="239"/>
                    <a:pt x="17" y="239"/>
                  </a:cubicBezTo>
                  <a:cubicBezTo>
                    <a:pt x="16" y="239"/>
                    <a:pt x="15" y="239"/>
                    <a:pt x="15" y="239"/>
                  </a:cubicBezTo>
                  <a:cubicBezTo>
                    <a:pt x="8" y="239"/>
                    <a:pt x="8" y="242"/>
                    <a:pt x="7" y="246"/>
                  </a:cubicBezTo>
                  <a:cubicBezTo>
                    <a:pt x="7" y="247"/>
                    <a:pt x="7" y="247"/>
                    <a:pt x="7" y="247"/>
                  </a:cubicBezTo>
                  <a:cubicBezTo>
                    <a:pt x="6" y="251"/>
                    <a:pt x="5" y="254"/>
                    <a:pt x="13" y="257"/>
                  </a:cubicBezTo>
                  <a:cubicBezTo>
                    <a:pt x="19" y="259"/>
                    <a:pt x="27" y="263"/>
                    <a:pt x="31" y="268"/>
                  </a:cubicBezTo>
                  <a:cubicBezTo>
                    <a:pt x="31" y="268"/>
                    <a:pt x="31" y="269"/>
                    <a:pt x="31" y="270"/>
                  </a:cubicBezTo>
                  <a:cubicBezTo>
                    <a:pt x="31" y="273"/>
                    <a:pt x="30" y="276"/>
                    <a:pt x="30" y="279"/>
                  </a:cubicBezTo>
                  <a:cubicBezTo>
                    <a:pt x="30" y="279"/>
                    <a:pt x="29" y="280"/>
                    <a:pt x="29" y="280"/>
                  </a:cubicBezTo>
                  <a:cubicBezTo>
                    <a:pt x="24" y="284"/>
                    <a:pt x="16" y="286"/>
                    <a:pt x="9" y="286"/>
                  </a:cubicBezTo>
                  <a:cubicBezTo>
                    <a:pt x="1" y="287"/>
                    <a:pt x="1" y="290"/>
                    <a:pt x="1" y="294"/>
                  </a:cubicBezTo>
                  <a:cubicBezTo>
                    <a:pt x="0" y="296"/>
                    <a:pt x="0" y="296"/>
                    <a:pt x="0" y="296"/>
                  </a:cubicBezTo>
                  <a:cubicBezTo>
                    <a:pt x="0" y="299"/>
                    <a:pt x="0" y="303"/>
                    <a:pt x="8" y="304"/>
                  </a:cubicBezTo>
                  <a:cubicBezTo>
                    <a:pt x="14" y="305"/>
                    <a:pt x="23" y="308"/>
                    <a:pt x="27" y="312"/>
                  </a:cubicBezTo>
                  <a:cubicBezTo>
                    <a:pt x="28" y="313"/>
                    <a:pt x="28" y="313"/>
                    <a:pt x="28" y="314"/>
                  </a:cubicBezTo>
                  <a:cubicBezTo>
                    <a:pt x="28" y="317"/>
                    <a:pt x="28" y="320"/>
                    <a:pt x="28" y="323"/>
                  </a:cubicBezTo>
                  <a:cubicBezTo>
                    <a:pt x="28" y="323"/>
                    <a:pt x="28" y="323"/>
                    <a:pt x="28" y="323"/>
                  </a:cubicBezTo>
                  <a:cubicBezTo>
                    <a:pt x="28" y="324"/>
                    <a:pt x="28" y="325"/>
                    <a:pt x="28" y="325"/>
                  </a:cubicBezTo>
                  <a:cubicBezTo>
                    <a:pt x="23" y="329"/>
                    <a:pt x="15" y="332"/>
                    <a:pt x="9" y="334"/>
                  </a:cubicBezTo>
                  <a:cubicBezTo>
                    <a:pt x="1" y="336"/>
                    <a:pt x="1" y="339"/>
                    <a:pt x="2" y="343"/>
                  </a:cubicBezTo>
                  <a:cubicBezTo>
                    <a:pt x="2" y="344"/>
                    <a:pt x="2" y="344"/>
                    <a:pt x="2" y="344"/>
                  </a:cubicBezTo>
                  <a:cubicBezTo>
                    <a:pt x="2" y="348"/>
                    <a:pt x="2" y="351"/>
                    <a:pt x="11" y="352"/>
                  </a:cubicBezTo>
                  <a:cubicBezTo>
                    <a:pt x="17" y="352"/>
                    <a:pt x="26" y="354"/>
                    <a:pt x="31" y="357"/>
                  </a:cubicBezTo>
                  <a:cubicBezTo>
                    <a:pt x="31" y="357"/>
                    <a:pt x="32" y="358"/>
                    <a:pt x="32" y="358"/>
                  </a:cubicBezTo>
                  <a:cubicBezTo>
                    <a:pt x="32" y="359"/>
                    <a:pt x="32" y="359"/>
                    <a:pt x="32" y="359"/>
                  </a:cubicBezTo>
                  <a:cubicBezTo>
                    <a:pt x="32" y="362"/>
                    <a:pt x="33" y="365"/>
                    <a:pt x="33" y="367"/>
                  </a:cubicBezTo>
                  <a:cubicBezTo>
                    <a:pt x="34" y="368"/>
                    <a:pt x="33" y="369"/>
                    <a:pt x="33" y="369"/>
                  </a:cubicBezTo>
                  <a:cubicBezTo>
                    <a:pt x="30" y="374"/>
                    <a:pt x="22" y="378"/>
                    <a:pt x="16" y="381"/>
                  </a:cubicBezTo>
                  <a:cubicBezTo>
                    <a:pt x="8" y="384"/>
                    <a:pt x="9" y="387"/>
                    <a:pt x="10" y="391"/>
                  </a:cubicBezTo>
                  <a:cubicBezTo>
                    <a:pt x="11" y="392"/>
                    <a:pt x="11" y="392"/>
                    <a:pt x="11" y="392"/>
                  </a:cubicBezTo>
                  <a:cubicBezTo>
                    <a:pt x="12" y="396"/>
                    <a:pt x="12" y="398"/>
                    <a:pt x="18" y="398"/>
                  </a:cubicBezTo>
                  <a:cubicBezTo>
                    <a:pt x="19" y="398"/>
                    <a:pt x="20" y="398"/>
                    <a:pt x="21" y="398"/>
                  </a:cubicBezTo>
                  <a:cubicBezTo>
                    <a:pt x="23" y="398"/>
                    <a:pt x="25" y="398"/>
                    <a:pt x="28" y="398"/>
                  </a:cubicBezTo>
                  <a:cubicBezTo>
                    <a:pt x="32" y="398"/>
                    <a:pt x="37" y="398"/>
                    <a:pt x="41" y="400"/>
                  </a:cubicBezTo>
                  <a:cubicBezTo>
                    <a:pt x="42" y="400"/>
                    <a:pt x="42" y="401"/>
                    <a:pt x="43" y="401"/>
                  </a:cubicBezTo>
                  <a:cubicBezTo>
                    <a:pt x="44" y="404"/>
                    <a:pt x="45" y="407"/>
                    <a:pt x="46" y="410"/>
                  </a:cubicBezTo>
                  <a:cubicBezTo>
                    <a:pt x="46" y="411"/>
                    <a:pt x="46" y="412"/>
                    <a:pt x="46" y="412"/>
                  </a:cubicBezTo>
                  <a:cubicBezTo>
                    <a:pt x="43" y="417"/>
                    <a:pt x="36" y="423"/>
                    <a:pt x="31" y="426"/>
                  </a:cubicBezTo>
                  <a:cubicBezTo>
                    <a:pt x="24" y="431"/>
                    <a:pt x="25" y="434"/>
                    <a:pt x="27" y="437"/>
                  </a:cubicBezTo>
                  <a:cubicBezTo>
                    <a:pt x="27" y="438"/>
                    <a:pt x="27" y="438"/>
                    <a:pt x="27" y="438"/>
                  </a:cubicBezTo>
                  <a:cubicBezTo>
                    <a:pt x="28" y="442"/>
                    <a:pt x="29" y="443"/>
                    <a:pt x="33" y="443"/>
                  </a:cubicBezTo>
                  <a:cubicBezTo>
                    <a:pt x="34" y="443"/>
                    <a:pt x="36" y="443"/>
                    <a:pt x="38" y="443"/>
                  </a:cubicBezTo>
                  <a:cubicBezTo>
                    <a:pt x="43" y="441"/>
                    <a:pt x="48" y="440"/>
                    <a:pt x="53" y="440"/>
                  </a:cubicBezTo>
                  <a:cubicBezTo>
                    <a:pt x="55" y="440"/>
                    <a:pt x="57" y="441"/>
                    <a:pt x="58" y="441"/>
                  </a:cubicBezTo>
                  <a:cubicBezTo>
                    <a:pt x="59" y="441"/>
                    <a:pt x="60" y="442"/>
                    <a:pt x="60" y="442"/>
                  </a:cubicBezTo>
                  <a:cubicBezTo>
                    <a:pt x="61" y="445"/>
                    <a:pt x="63" y="448"/>
                    <a:pt x="64" y="451"/>
                  </a:cubicBezTo>
                  <a:cubicBezTo>
                    <a:pt x="65" y="451"/>
                    <a:pt x="65" y="452"/>
                    <a:pt x="65" y="453"/>
                  </a:cubicBezTo>
                  <a:cubicBezTo>
                    <a:pt x="63" y="458"/>
                    <a:pt x="57" y="465"/>
                    <a:pt x="52" y="469"/>
                  </a:cubicBezTo>
                  <a:cubicBezTo>
                    <a:pt x="46" y="474"/>
                    <a:pt x="48" y="477"/>
                    <a:pt x="50" y="480"/>
                  </a:cubicBezTo>
                  <a:cubicBezTo>
                    <a:pt x="51" y="481"/>
                    <a:pt x="51" y="481"/>
                    <a:pt x="51" y="481"/>
                  </a:cubicBezTo>
                  <a:cubicBezTo>
                    <a:pt x="52" y="484"/>
                    <a:pt x="53" y="485"/>
                    <a:pt x="56" y="485"/>
                  </a:cubicBezTo>
                  <a:cubicBezTo>
                    <a:pt x="57" y="485"/>
                    <a:pt x="59" y="485"/>
                    <a:pt x="62" y="484"/>
                  </a:cubicBezTo>
                  <a:cubicBezTo>
                    <a:pt x="69" y="480"/>
                    <a:pt x="77" y="479"/>
                    <a:pt x="82" y="479"/>
                  </a:cubicBezTo>
                  <a:cubicBezTo>
                    <a:pt x="82" y="479"/>
                    <a:pt x="83" y="480"/>
                    <a:pt x="83" y="480"/>
                  </a:cubicBezTo>
                  <a:cubicBezTo>
                    <a:pt x="85" y="482"/>
                    <a:pt x="87" y="484"/>
                    <a:pt x="88" y="486"/>
                  </a:cubicBezTo>
                  <a:cubicBezTo>
                    <a:pt x="89" y="487"/>
                    <a:pt x="89" y="487"/>
                    <a:pt x="89" y="487"/>
                  </a:cubicBezTo>
                  <a:cubicBezTo>
                    <a:pt x="90" y="488"/>
                    <a:pt x="90" y="489"/>
                    <a:pt x="90" y="489"/>
                  </a:cubicBezTo>
                  <a:cubicBezTo>
                    <a:pt x="89" y="495"/>
                    <a:pt x="84" y="502"/>
                    <a:pt x="80" y="508"/>
                  </a:cubicBezTo>
                  <a:cubicBezTo>
                    <a:pt x="75" y="514"/>
                    <a:pt x="77" y="516"/>
                    <a:pt x="79" y="519"/>
                  </a:cubicBezTo>
                  <a:cubicBezTo>
                    <a:pt x="80" y="520"/>
                    <a:pt x="80" y="520"/>
                    <a:pt x="80" y="520"/>
                  </a:cubicBezTo>
                  <a:cubicBezTo>
                    <a:pt x="82" y="522"/>
                    <a:pt x="83" y="523"/>
                    <a:pt x="85" y="523"/>
                  </a:cubicBezTo>
                  <a:cubicBezTo>
                    <a:pt x="87" y="523"/>
                    <a:pt x="89" y="523"/>
                    <a:pt x="92" y="521"/>
                  </a:cubicBezTo>
                  <a:cubicBezTo>
                    <a:pt x="97" y="517"/>
                    <a:pt x="105" y="513"/>
                    <a:pt x="111" y="513"/>
                  </a:cubicBezTo>
                  <a:cubicBezTo>
                    <a:pt x="112" y="513"/>
                    <a:pt x="112" y="513"/>
                    <a:pt x="113" y="514"/>
                  </a:cubicBezTo>
                  <a:cubicBezTo>
                    <a:pt x="115" y="516"/>
                    <a:pt x="117" y="518"/>
                    <a:pt x="120" y="520"/>
                  </a:cubicBezTo>
                  <a:cubicBezTo>
                    <a:pt x="120" y="520"/>
                    <a:pt x="120" y="521"/>
                    <a:pt x="120" y="522"/>
                  </a:cubicBezTo>
                  <a:cubicBezTo>
                    <a:pt x="120" y="528"/>
                    <a:pt x="117" y="536"/>
                    <a:pt x="113" y="541"/>
                  </a:cubicBezTo>
                  <a:cubicBezTo>
                    <a:pt x="109" y="548"/>
                    <a:pt x="112" y="550"/>
                    <a:pt x="115" y="553"/>
                  </a:cubicBezTo>
                  <a:cubicBezTo>
                    <a:pt x="116" y="554"/>
                    <a:pt x="116" y="554"/>
                    <a:pt x="116" y="554"/>
                  </a:cubicBezTo>
                  <a:cubicBezTo>
                    <a:pt x="117" y="555"/>
                    <a:pt x="119" y="556"/>
                    <a:pt x="121" y="556"/>
                  </a:cubicBezTo>
                  <a:cubicBezTo>
                    <a:pt x="122" y="556"/>
                    <a:pt x="125" y="555"/>
                    <a:pt x="127" y="553"/>
                  </a:cubicBezTo>
                  <a:cubicBezTo>
                    <a:pt x="132" y="548"/>
                    <a:pt x="139" y="543"/>
                    <a:pt x="145" y="542"/>
                  </a:cubicBezTo>
                  <a:cubicBezTo>
                    <a:pt x="146" y="542"/>
                    <a:pt x="146" y="542"/>
                    <a:pt x="147" y="542"/>
                  </a:cubicBezTo>
                  <a:cubicBezTo>
                    <a:pt x="149" y="544"/>
                    <a:pt x="152" y="546"/>
                    <a:pt x="155" y="547"/>
                  </a:cubicBezTo>
                  <a:cubicBezTo>
                    <a:pt x="155" y="548"/>
                    <a:pt x="156" y="549"/>
                    <a:pt x="156" y="549"/>
                  </a:cubicBezTo>
                  <a:cubicBezTo>
                    <a:pt x="156" y="555"/>
                    <a:pt x="154" y="563"/>
                    <a:pt x="152" y="570"/>
                  </a:cubicBezTo>
                  <a:cubicBezTo>
                    <a:pt x="149" y="577"/>
                    <a:pt x="151" y="579"/>
                    <a:pt x="155" y="581"/>
                  </a:cubicBezTo>
                  <a:cubicBezTo>
                    <a:pt x="156" y="581"/>
                    <a:pt x="156" y="581"/>
                    <a:pt x="156" y="581"/>
                  </a:cubicBezTo>
                  <a:cubicBezTo>
                    <a:pt x="158" y="582"/>
                    <a:pt x="159" y="583"/>
                    <a:pt x="161" y="583"/>
                  </a:cubicBezTo>
                  <a:cubicBezTo>
                    <a:pt x="163" y="583"/>
                    <a:pt x="165" y="582"/>
                    <a:pt x="167" y="578"/>
                  </a:cubicBezTo>
                  <a:cubicBezTo>
                    <a:pt x="171" y="573"/>
                    <a:pt x="178" y="567"/>
                    <a:pt x="183" y="565"/>
                  </a:cubicBezTo>
                  <a:cubicBezTo>
                    <a:pt x="184" y="565"/>
                    <a:pt x="184" y="565"/>
                    <a:pt x="185" y="565"/>
                  </a:cubicBezTo>
                  <a:cubicBezTo>
                    <a:pt x="186" y="566"/>
                    <a:pt x="186" y="566"/>
                    <a:pt x="186" y="566"/>
                  </a:cubicBezTo>
                  <a:cubicBezTo>
                    <a:pt x="189" y="567"/>
                    <a:pt x="191" y="568"/>
                    <a:pt x="193" y="569"/>
                  </a:cubicBezTo>
                  <a:cubicBezTo>
                    <a:pt x="194" y="570"/>
                    <a:pt x="195" y="570"/>
                    <a:pt x="195" y="571"/>
                  </a:cubicBezTo>
                  <a:cubicBezTo>
                    <a:pt x="196" y="576"/>
                    <a:pt x="196" y="585"/>
                    <a:pt x="194" y="591"/>
                  </a:cubicBezTo>
                  <a:cubicBezTo>
                    <a:pt x="192" y="599"/>
                    <a:pt x="195" y="600"/>
                    <a:pt x="199" y="602"/>
                  </a:cubicBezTo>
                  <a:cubicBezTo>
                    <a:pt x="200" y="602"/>
                    <a:pt x="200" y="602"/>
                    <a:pt x="200" y="602"/>
                  </a:cubicBezTo>
                  <a:cubicBezTo>
                    <a:pt x="202" y="603"/>
                    <a:pt x="203" y="603"/>
                    <a:pt x="204" y="603"/>
                  </a:cubicBezTo>
                  <a:cubicBezTo>
                    <a:pt x="205" y="603"/>
                    <a:pt x="208" y="603"/>
                    <a:pt x="211" y="598"/>
                  </a:cubicBezTo>
                  <a:cubicBezTo>
                    <a:pt x="214" y="592"/>
                    <a:pt x="219" y="585"/>
                    <a:pt x="224" y="582"/>
                  </a:cubicBezTo>
                  <a:cubicBezTo>
                    <a:pt x="225" y="582"/>
                    <a:pt x="226" y="582"/>
                    <a:pt x="226" y="582"/>
                  </a:cubicBezTo>
                  <a:cubicBezTo>
                    <a:pt x="229" y="583"/>
                    <a:pt x="232" y="584"/>
                    <a:pt x="235" y="584"/>
                  </a:cubicBezTo>
                  <a:cubicBezTo>
                    <a:pt x="236" y="585"/>
                    <a:pt x="236" y="585"/>
                    <a:pt x="237" y="586"/>
                  </a:cubicBezTo>
                  <a:cubicBezTo>
                    <a:pt x="239" y="591"/>
                    <a:pt x="240" y="600"/>
                    <a:pt x="239" y="606"/>
                  </a:cubicBezTo>
                  <a:cubicBezTo>
                    <a:pt x="239" y="614"/>
                    <a:pt x="242" y="615"/>
                    <a:pt x="246" y="616"/>
                  </a:cubicBezTo>
                  <a:cubicBezTo>
                    <a:pt x="247" y="616"/>
                    <a:pt x="247" y="616"/>
                    <a:pt x="247" y="616"/>
                  </a:cubicBezTo>
                  <a:cubicBezTo>
                    <a:pt x="248" y="616"/>
                    <a:pt x="249" y="617"/>
                    <a:pt x="251" y="617"/>
                  </a:cubicBezTo>
                  <a:cubicBezTo>
                    <a:pt x="252" y="617"/>
                    <a:pt x="254" y="617"/>
                    <a:pt x="257" y="610"/>
                  </a:cubicBezTo>
                  <a:cubicBezTo>
                    <a:pt x="259" y="604"/>
                    <a:pt x="263" y="596"/>
                    <a:pt x="268" y="592"/>
                  </a:cubicBezTo>
                  <a:cubicBezTo>
                    <a:pt x="268" y="592"/>
                    <a:pt x="269" y="592"/>
                    <a:pt x="269" y="592"/>
                  </a:cubicBezTo>
                  <a:cubicBezTo>
                    <a:pt x="270" y="592"/>
                    <a:pt x="270" y="592"/>
                    <a:pt x="270" y="592"/>
                  </a:cubicBezTo>
                  <a:cubicBezTo>
                    <a:pt x="273" y="592"/>
                    <a:pt x="276" y="593"/>
                    <a:pt x="279" y="593"/>
                  </a:cubicBezTo>
                  <a:cubicBezTo>
                    <a:pt x="279" y="593"/>
                    <a:pt x="280" y="593"/>
                    <a:pt x="281" y="594"/>
                  </a:cubicBezTo>
                  <a:cubicBezTo>
                    <a:pt x="284" y="599"/>
                    <a:pt x="286" y="607"/>
                    <a:pt x="287" y="614"/>
                  </a:cubicBezTo>
                  <a:cubicBezTo>
                    <a:pt x="287" y="622"/>
                    <a:pt x="290" y="622"/>
                    <a:pt x="294" y="622"/>
                  </a:cubicBezTo>
                  <a:cubicBezTo>
                    <a:pt x="296" y="622"/>
                    <a:pt x="296" y="622"/>
                    <a:pt x="296" y="622"/>
                  </a:cubicBezTo>
                  <a:cubicBezTo>
                    <a:pt x="296" y="622"/>
                    <a:pt x="297" y="622"/>
                    <a:pt x="298" y="622"/>
                  </a:cubicBezTo>
                  <a:cubicBezTo>
                    <a:pt x="300" y="622"/>
                    <a:pt x="303" y="622"/>
                    <a:pt x="304" y="615"/>
                  </a:cubicBezTo>
                  <a:cubicBezTo>
                    <a:pt x="306" y="608"/>
                    <a:pt x="308" y="600"/>
                    <a:pt x="312" y="596"/>
                  </a:cubicBezTo>
                  <a:cubicBezTo>
                    <a:pt x="313" y="595"/>
                    <a:pt x="313" y="595"/>
                    <a:pt x="314" y="595"/>
                  </a:cubicBezTo>
                  <a:cubicBezTo>
                    <a:pt x="317" y="595"/>
                    <a:pt x="320" y="595"/>
                    <a:pt x="322" y="595"/>
                  </a:cubicBezTo>
                  <a:cubicBezTo>
                    <a:pt x="323" y="595"/>
                    <a:pt x="323" y="595"/>
                    <a:pt x="323" y="595"/>
                  </a:cubicBezTo>
                  <a:cubicBezTo>
                    <a:pt x="324" y="595"/>
                    <a:pt x="325" y="595"/>
                    <a:pt x="325" y="595"/>
                  </a:cubicBezTo>
                  <a:cubicBezTo>
                    <a:pt x="329" y="599"/>
                    <a:pt x="332" y="608"/>
                    <a:pt x="334" y="614"/>
                  </a:cubicBezTo>
                  <a:cubicBezTo>
                    <a:pt x="336" y="621"/>
                    <a:pt x="339" y="621"/>
                    <a:pt x="340" y="621"/>
                  </a:cubicBezTo>
                  <a:cubicBezTo>
                    <a:pt x="341" y="621"/>
                    <a:pt x="342" y="621"/>
                    <a:pt x="343" y="621"/>
                  </a:cubicBezTo>
                  <a:cubicBezTo>
                    <a:pt x="344" y="621"/>
                    <a:pt x="344" y="621"/>
                    <a:pt x="344" y="621"/>
                  </a:cubicBezTo>
                  <a:cubicBezTo>
                    <a:pt x="348" y="621"/>
                    <a:pt x="352" y="620"/>
                    <a:pt x="352" y="612"/>
                  </a:cubicBezTo>
                  <a:cubicBezTo>
                    <a:pt x="352" y="606"/>
                    <a:pt x="354" y="597"/>
                    <a:pt x="357" y="592"/>
                  </a:cubicBezTo>
                  <a:cubicBezTo>
                    <a:pt x="357" y="591"/>
                    <a:pt x="358" y="591"/>
                    <a:pt x="358" y="591"/>
                  </a:cubicBezTo>
                  <a:cubicBezTo>
                    <a:pt x="360" y="591"/>
                    <a:pt x="360" y="591"/>
                    <a:pt x="360" y="591"/>
                  </a:cubicBezTo>
                  <a:cubicBezTo>
                    <a:pt x="362" y="590"/>
                    <a:pt x="365" y="590"/>
                    <a:pt x="367" y="589"/>
                  </a:cubicBezTo>
                  <a:cubicBezTo>
                    <a:pt x="368" y="589"/>
                    <a:pt x="369" y="589"/>
                    <a:pt x="369" y="590"/>
                  </a:cubicBezTo>
                  <a:cubicBezTo>
                    <a:pt x="374" y="593"/>
                    <a:pt x="378" y="601"/>
                    <a:pt x="381" y="607"/>
                  </a:cubicBezTo>
                  <a:cubicBezTo>
                    <a:pt x="384" y="613"/>
                    <a:pt x="386" y="613"/>
                    <a:pt x="387" y="613"/>
                  </a:cubicBezTo>
                  <a:cubicBezTo>
                    <a:pt x="389" y="613"/>
                    <a:pt x="390" y="613"/>
                    <a:pt x="391" y="612"/>
                  </a:cubicBezTo>
                  <a:cubicBezTo>
                    <a:pt x="392" y="612"/>
                    <a:pt x="392" y="612"/>
                    <a:pt x="392" y="612"/>
                  </a:cubicBezTo>
                  <a:cubicBezTo>
                    <a:pt x="396" y="611"/>
                    <a:pt x="399" y="610"/>
                    <a:pt x="398" y="602"/>
                  </a:cubicBezTo>
                  <a:cubicBezTo>
                    <a:pt x="398" y="596"/>
                    <a:pt x="398" y="587"/>
                    <a:pt x="400" y="582"/>
                  </a:cubicBezTo>
                  <a:cubicBezTo>
                    <a:pt x="400" y="581"/>
                    <a:pt x="401" y="580"/>
                    <a:pt x="402" y="580"/>
                  </a:cubicBezTo>
                  <a:cubicBezTo>
                    <a:pt x="404" y="579"/>
                    <a:pt x="407" y="578"/>
                    <a:pt x="410" y="577"/>
                  </a:cubicBezTo>
                  <a:cubicBezTo>
                    <a:pt x="411" y="577"/>
                    <a:pt x="412" y="577"/>
                    <a:pt x="412" y="577"/>
                  </a:cubicBezTo>
                  <a:cubicBezTo>
                    <a:pt x="417" y="580"/>
                    <a:pt x="423" y="587"/>
                    <a:pt x="427" y="592"/>
                  </a:cubicBezTo>
                  <a:cubicBezTo>
                    <a:pt x="430" y="598"/>
                    <a:pt x="432" y="598"/>
                    <a:pt x="433" y="598"/>
                  </a:cubicBezTo>
                  <a:cubicBezTo>
                    <a:pt x="434" y="598"/>
                    <a:pt x="436" y="597"/>
                    <a:pt x="437" y="596"/>
                  </a:cubicBezTo>
                  <a:cubicBezTo>
                    <a:pt x="438" y="596"/>
                    <a:pt x="438" y="596"/>
                    <a:pt x="438" y="596"/>
                  </a:cubicBezTo>
                  <a:cubicBezTo>
                    <a:pt x="442" y="594"/>
                    <a:pt x="445" y="593"/>
                    <a:pt x="443" y="585"/>
                  </a:cubicBezTo>
                  <a:cubicBezTo>
                    <a:pt x="441" y="579"/>
                    <a:pt x="440" y="570"/>
                    <a:pt x="441" y="564"/>
                  </a:cubicBezTo>
                  <a:cubicBezTo>
                    <a:pt x="441" y="564"/>
                    <a:pt x="442" y="563"/>
                    <a:pt x="442" y="563"/>
                  </a:cubicBezTo>
                  <a:cubicBezTo>
                    <a:pt x="445" y="561"/>
                    <a:pt x="448" y="560"/>
                    <a:pt x="451" y="558"/>
                  </a:cubicBezTo>
                  <a:cubicBezTo>
                    <a:pt x="451" y="558"/>
                    <a:pt x="452" y="558"/>
                    <a:pt x="453" y="558"/>
                  </a:cubicBezTo>
                  <a:cubicBezTo>
                    <a:pt x="458" y="560"/>
                    <a:pt x="465" y="566"/>
                    <a:pt x="469" y="571"/>
                  </a:cubicBezTo>
                  <a:cubicBezTo>
                    <a:pt x="472" y="574"/>
                    <a:pt x="474" y="575"/>
                    <a:pt x="476" y="575"/>
                  </a:cubicBezTo>
                  <a:cubicBezTo>
                    <a:pt x="477" y="575"/>
                    <a:pt x="479" y="574"/>
                    <a:pt x="480" y="573"/>
                  </a:cubicBezTo>
                  <a:cubicBezTo>
                    <a:pt x="481" y="572"/>
                    <a:pt x="481" y="572"/>
                    <a:pt x="481" y="572"/>
                  </a:cubicBezTo>
                  <a:cubicBezTo>
                    <a:pt x="485" y="570"/>
                    <a:pt x="487" y="569"/>
                    <a:pt x="484" y="561"/>
                  </a:cubicBezTo>
                  <a:cubicBezTo>
                    <a:pt x="481" y="555"/>
                    <a:pt x="479" y="547"/>
                    <a:pt x="479" y="541"/>
                  </a:cubicBezTo>
                  <a:cubicBezTo>
                    <a:pt x="479" y="540"/>
                    <a:pt x="480" y="540"/>
                    <a:pt x="480" y="539"/>
                  </a:cubicBezTo>
                  <a:cubicBezTo>
                    <a:pt x="483" y="538"/>
                    <a:pt x="485" y="536"/>
                    <a:pt x="487" y="534"/>
                  </a:cubicBezTo>
                  <a:cubicBezTo>
                    <a:pt x="488" y="534"/>
                    <a:pt x="488" y="534"/>
                    <a:pt x="488" y="534"/>
                  </a:cubicBezTo>
                  <a:cubicBezTo>
                    <a:pt x="488" y="533"/>
                    <a:pt x="489" y="533"/>
                    <a:pt x="489" y="533"/>
                  </a:cubicBezTo>
                  <a:cubicBezTo>
                    <a:pt x="495" y="534"/>
                    <a:pt x="503" y="539"/>
                    <a:pt x="508" y="543"/>
                  </a:cubicBezTo>
                  <a:cubicBezTo>
                    <a:pt x="510" y="545"/>
                    <a:pt x="512" y="546"/>
                    <a:pt x="514" y="546"/>
                  </a:cubicBezTo>
                  <a:cubicBezTo>
                    <a:pt x="516" y="546"/>
                    <a:pt x="518" y="545"/>
                    <a:pt x="519" y="543"/>
                  </a:cubicBezTo>
                  <a:cubicBezTo>
                    <a:pt x="520" y="542"/>
                    <a:pt x="520" y="542"/>
                    <a:pt x="520" y="542"/>
                  </a:cubicBezTo>
                  <a:cubicBezTo>
                    <a:pt x="523" y="540"/>
                    <a:pt x="525" y="538"/>
                    <a:pt x="521" y="531"/>
                  </a:cubicBezTo>
                  <a:cubicBezTo>
                    <a:pt x="517" y="526"/>
                    <a:pt x="513" y="518"/>
                    <a:pt x="513" y="512"/>
                  </a:cubicBezTo>
                  <a:cubicBezTo>
                    <a:pt x="513" y="511"/>
                    <a:pt x="513" y="511"/>
                    <a:pt x="514" y="510"/>
                  </a:cubicBezTo>
                  <a:cubicBezTo>
                    <a:pt x="516" y="508"/>
                    <a:pt x="518" y="506"/>
                    <a:pt x="520" y="503"/>
                  </a:cubicBezTo>
                  <a:cubicBezTo>
                    <a:pt x="521" y="503"/>
                    <a:pt x="521" y="503"/>
                    <a:pt x="522" y="503"/>
                  </a:cubicBezTo>
                  <a:cubicBezTo>
                    <a:pt x="528" y="503"/>
                    <a:pt x="536" y="506"/>
                    <a:pt x="541" y="509"/>
                  </a:cubicBezTo>
                  <a:cubicBezTo>
                    <a:pt x="544" y="511"/>
                    <a:pt x="546" y="512"/>
                    <a:pt x="548" y="512"/>
                  </a:cubicBezTo>
                  <a:cubicBezTo>
                    <a:pt x="550" y="512"/>
                    <a:pt x="551" y="510"/>
                    <a:pt x="553" y="508"/>
                  </a:cubicBezTo>
                  <a:cubicBezTo>
                    <a:pt x="554" y="507"/>
                    <a:pt x="554" y="507"/>
                    <a:pt x="554" y="507"/>
                  </a:cubicBezTo>
                  <a:cubicBezTo>
                    <a:pt x="556" y="504"/>
                    <a:pt x="558" y="502"/>
                    <a:pt x="553" y="496"/>
                  </a:cubicBezTo>
                  <a:cubicBezTo>
                    <a:pt x="548" y="491"/>
                    <a:pt x="543" y="483"/>
                    <a:pt x="542" y="478"/>
                  </a:cubicBezTo>
                  <a:cubicBezTo>
                    <a:pt x="542" y="477"/>
                    <a:pt x="542" y="476"/>
                    <a:pt x="542" y="476"/>
                  </a:cubicBezTo>
                  <a:cubicBezTo>
                    <a:pt x="544" y="473"/>
                    <a:pt x="546" y="471"/>
                    <a:pt x="548" y="468"/>
                  </a:cubicBezTo>
                  <a:cubicBezTo>
                    <a:pt x="548" y="468"/>
                    <a:pt x="549" y="467"/>
                    <a:pt x="549" y="467"/>
                  </a:cubicBezTo>
                  <a:cubicBezTo>
                    <a:pt x="554" y="467"/>
                    <a:pt x="562" y="468"/>
                    <a:pt x="570" y="471"/>
                  </a:cubicBezTo>
                  <a:cubicBezTo>
                    <a:pt x="572" y="472"/>
                    <a:pt x="574" y="472"/>
                    <a:pt x="575" y="472"/>
                  </a:cubicBezTo>
                  <a:cubicBezTo>
                    <a:pt x="578" y="472"/>
                    <a:pt x="579" y="471"/>
                    <a:pt x="581" y="468"/>
                  </a:cubicBezTo>
                  <a:cubicBezTo>
                    <a:pt x="581" y="467"/>
                    <a:pt x="581" y="467"/>
                    <a:pt x="581" y="467"/>
                  </a:cubicBezTo>
                  <a:cubicBezTo>
                    <a:pt x="583" y="463"/>
                    <a:pt x="585" y="461"/>
                    <a:pt x="579" y="456"/>
                  </a:cubicBezTo>
                  <a:cubicBezTo>
                    <a:pt x="573" y="451"/>
                    <a:pt x="567" y="445"/>
                    <a:pt x="565" y="440"/>
                  </a:cubicBezTo>
                  <a:cubicBezTo>
                    <a:pt x="565" y="439"/>
                    <a:pt x="565" y="438"/>
                    <a:pt x="565" y="438"/>
                  </a:cubicBezTo>
                  <a:cubicBezTo>
                    <a:pt x="567" y="435"/>
                    <a:pt x="568" y="432"/>
                    <a:pt x="569" y="429"/>
                  </a:cubicBezTo>
                  <a:cubicBezTo>
                    <a:pt x="570" y="429"/>
                    <a:pt x="570" y="428"/>
                    <a:pt x="571" y="428"/>
                  </a:cubicBezTo>
                  <a:cubicBezTo>
                    <a:pt x="575" y="427"/>
                    <a:pt x="584" y="427"/>
                    <a:pt x="591" y="429"/>
                  </a:cubicBezTo>
                  <a:cubicBezTo>
                    <a:pt x="593" y="429"/>
                    <a:pt x="594" y="429"/>
                    <a:pt x="596" y="429"/>
                  </a:cubicBezTo>
                  <a:cubicBezTo>
                    <a:pt x="600" y="429"/>
                    <a:pt x="601" y="427"/>
                    <a:pt x="602" y="424"/>
                  </a:cubicBezTo>
                  <a:cubicBezTo>
                    <a:pt x="602" y="423"/>
                    <a:pt x="602" y="423"/>
                    <a:pt x="602" y="423"/>
                  </a:cubicBezTo>
                  <a:cubicBezTo>
                    <a:pt x="604" y="419"/>
                    <a:pt x="605" y="416"/>
                    <a:pt x="598" y="412"/>
                  </a:cubicBezTo>
                  <a:cubicBezTo>
                    <a:pt x="592" y="409"/>
                    <a:pt x="585" y="403"/>
                    <a:pt x="582" y="399"/>
                  </a:cubicBezTo>
                  <a:cubicBezTo>
                    <a:pt x="582" y="398"/>
                    <a:pt x="582" y="397"/>
                    <a:pt x="582" y="397"/>
                  </a:cubicBezTo>
                  <a:cubicBezTo>
                    <a:pt x="583" y="394"/>
                    <a:pt x="584" y="391"/>
                    <a:pt x="585" y="388"/>
                  </a:cubicBezTo>
                  <a:cubicBezTo>
                    <a:pt x="585" y="387"/>
                    <a:pt x="585" y="386"/>
                    <a:pt x="586" y="386"/>
                  </a:cubicBezTo>
                  <a:cubicBezTo>
                    <a:pt x="591" y="384"/>
                    <a:pt x="599" y="383"/>
                    <a:pt x="603" y="383"/>
                  </a:cubicBezTo>
                  <a:cubicBezTo>
                    <a:pt x="604" y="383"/>
                    <a:pt x="605" y="383"/>
                    <a:pt x="606" y="383"/>
                  </a:cubicBezTo>
                  <a:cubicBezTo>
                    <a:pt x="607" y="383"/>
                    <a:pt x="608" y="383"/>
                    <a:pt x="608" y="383"/>
                  </a:cubicBezTo>
                  <a:cubicBezTo>
                    <a:pt x="615" y="383"/>
                    <a:pt x="615" y="381"/>
                    <a:pt x="616" y="377"/>
                  </a:cubicBezTo>
                  <a:cubicBezTo>
                    <a:pt x="616" y="376"/>
                    <a:pt x="616" y="376"/>
                    <a:pt x="616" y="376"/>
                  </a:cubicBezTo>
                  <a:cubicBezTo>
                    <a:pt x="617" y="372"/>
                    <a:pt x="618" y="369"/>
                    <a:pt x="610" y="366"/>
                  </a:cubicBezTo>
                  <a:cubicBezTo>
                    <a:pt x="604" y="364"/>
                    <a:pt x="596" y="360"/>
                    <a:pt x="592" y="355"/>
                  </a:cubicBezTo>
                  <a:cubicBezTo>
                    <a:pt x="592" y="355"/>
                    <a:pt x="592" y="354"/>
                    <a:pt x="592" y="353"/>
                  </a:cubicBezTo>
                  <a:cubicBezTo>
                    <a:pt x="592" y="350"/>
                    <a:pt x="593" y="347"/>
                    <a:pt x="593" y="344"/>
                  </a:cubicBezTo>
                  <a:cubicBezTo>
                    <a:pt x="593" y="343"/>
                    <a:pt x="594" y="343"/>
                    <a:pt x="594" y="342"/>
                  </a:cubicBezTo>
                  <a:cubicBezTo>
                    <a:pt x="599" y="339"/>
                    <a:pt x="607" y="337"/>
                    <a:pt x="614" y="336"/>
                  </a:cubicBezTo>
                  <a:cubicBezTo>
                    <a:pt x="622" y="336"/>
                    <a:pt x="622" y="333"/>
                    <a:pt x="622" y="329"/>
                  </a:cubicBezTo>
                  <a:cubicBezTo>
                    <a:pt x="622" y="327"/>
                    <a:pt x="622" y="327"/>
                    <a:pt x="622" y="327"/>
                  </a:cubicBezTo>
                  <a:cubicBezTo>
                    <a:pt x="623" y="323"/>
                    <a:pt x="623" y="320"/>
                    <a:pt x="615" y="319"/>
                  </a:cubicBezTo>
                  <a:close/>
                  <a:moveTo>
                    <a:pt x="509" y="472"/>
                  </a:moveTo>
                  <a:cubicBezTo>
                    <a:pt x="461" y="532"/>
                    <a:pt x="389" y="566"/>
                    <a:pt x="311" y="566"/>
                  </a:cubicBezTo>
                  <a:cubicBezTo>
                    <a:pt x="253" y="566"/>
                    <a:pt x="196" y="546"/>
                    <a:pt x="151" y="509"/>
                  </a:cubicBezTo>
                  <a:cubicBezTo>
                    <a:pt x="42" y="421"/>
                    <a:pt x="25" y="260"/>
                    <a:pt x="113" y="151"/>
                  </a:cubicBezTo>
                  <a:cubicBezTo>
                    <a:pt x="162" y="91"/>
                    <a:pt x="234" y="56"/>
                    <a:pt x="312" y="56"/>
                  </a:cubicBezTo>
                  <a:cubicBezTo>
                    <a:pt x="370" y="56"/>
                    <a:pt x="427" y="77"/>
                    <a:pt x="472" y="113"/>
                  </a:cubicBezTo>
                  <a:cubicBezTo>
                    <a:pt x="525" y="156"/>
                    <a:pt x="558" y="217"/>
                    <a:pt x="565" y="285"/>
                  </a:cubicBezTo>
                  <a:cubicBezTo>
                    <a:pt x="572" y="353"/>
                    <a:pt x="552" y="419"/>
                    <a:pt x="509" y="47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2" name="Freeform 1458">
              <a:extLst>
                <a:ext uri="{FF2B5EF4-FFF2-40B4-BE49-F238E27FC236}">
                  <a16:creationId xmlns:a16="http://schemas.microsoft.com/office/drawing/2014/main" id="{E8D99B45-5144-49B5-97CC-191B65C5AEE7}"/>
                </a:ext>
              </a:extLst>
            </p:cNvPr>
            <p:cNvSpPr>
              <a:spLocks noEditPoints="1"/>
            </p:cNvSpPr>
            <p:nvPr/>
          </p:nvSpPr>
          <p:spPr bwMode="auto">
            <a:xfrm rot="20647229" flipH="1">
              <a:off x="5758885" y="4730864"/>
              <a:ext cx="155575" cy="157163"/>
            </a:xfrm>
            <a:custGeom>
              <a:avLst/>
              <a:gdLst>
                <a:gd name="T0" fmla="*/ 66 w 131"/>
                <a:gd name="T1" fmla="*/ 0 h 132"/>
                <a:gd name="T2" fmla="*/ 0 w 131"/>
                <a:gd name="T3" fmla="*/ 66 h 132"/>
                <a:gd name="T4" fmla="*/ 66 w 131"/>
                <a:gd name="T5" fmla="*/ 132 h 132"/>
                <a:gd name="T6" fmla="*/ 131 w 131"/>
                <a:gd name="T7" fmla="*/ 66 h 132"/>
                <a:gd name="T8" fmla="*/ 66 w 131"/>
                <a:gd name="T9" fmla="*/ 0 h 132"/>
                <a:gd name="T10" fmla="*/ 66 w 131"/>
                <a:gd name="T11" fmla="*/ 8 h 132"/>
                <a:gd name="T12" fmla="*/ 124 w 131"/>
                <a:gd name="T13" fmla="*/ 66 h 132"/>
                <a:gd name="T14" fmla="*/ 74 w 131"/>
                <a:gd name="T15" fmla="*/ 123 h 132"/>
                <a:gd name="T16" fmla="*/ 74 w 131"/>
                <a:gd name="T17" fmla="*/ 68 h 132"/>
                <a:gd name="T18" fmla="*/ 74 w 131"/>
                <a:gd name="T19" fmla="*/ 47 h 132"/>
                <a:gd name="T20" fmla="*/ 82 w 131"/>
                <a:gd name="T21" fmla="*/ 56 h 132"/>
                <a:gd name="T22" fmla="*/ 82 w 131"/>
                <a:gd name="T23" fmla="*/ 56 h 132"/>
                <a:gd name="T24" fmla="*/ 85 w 131"/>
                <a:gd name="T25" fmla="*/ 59 h 132"/>
                <a:gd name="T26" fmla="*/ 91 w 131"/>
                <a:gd name="T27" fmla="*/ 61 h 132"/>
                <a:gd name="T28" fmla="*/ 97 w 131"/>
                <a:gd name="T29" fmla="*/ 59 h 132"/>
                <a:gd name="T30" fmla="*/ 97 w 131"/>
                <a:gd name="T31" fmla="*/ 47 h 132"/>
                <a:gd name="T32" fmla="*/ 86 w 131"/>
                <a:gd name="T33" fmla="*/ 35 h 132"/>
                <a:gd name="T34" fmla="*/ 65 w 131"/>
                <a:gd name="T35" fmla="*/ 13 h 132"/>
                <a:gd name="T36" fmla="*/ 33 w 131"/>
                <a:gd name="T37" fmla="*/ 47 h 132"/>
                <a:gd name="T38" fmla="*/ 33 w 131"/>
                <a:gd name="T39" fmla="*/ 59 h 132"/>
                <a:gd name="T40" fmla="*/ 46 w 131"/>
                <a:gd name="T41" fmla="*/ 59 h 132"/>
                <a:gd name="T42" fmla="*/ 56 w 131"/>
                <a:gd name="T43" fmla="*/ 47 h 132"/>
                <a:gd name="T44" fmla="*/ 56 w 131"/>
                <a:gd name="T45" fmla="*/ 78 h 132"/>
                <a:gd name="T46" fmla="*/ 56 w 131"/>
                <a:gd name="T47" fmla="*/ 123 h 132"/>
                <a:gd name="T48" fmla="*/ 7 w 131"/>
                <a:gd name="T49" fmla="*/ 66 h 132"/>
                <a:gd name="T50" fmla="*/ 66 w 131"/>
                <a:gd name="T51"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32">
                  <a:moveTo>
                    <a:pt x="66" y="0"/>
                  </a:moveTo>
                  <a:cubicBezTo>
                    <a:pt x="29" y="0"/>
                    <a:pt x="0" y="30"/>
                    <a:pt x="0" y="66"/>
                  </a:cubicBezTo>
                  <a:cubicBezTo>
                    <a:pt x="0" y="102"/>
                    <a:pt x="29" y="132"/>
                    <a:pt x="66" y="132"/>
                  </a:cubicBezTo>
                  <a:cubicBezTo>
                    <a:pt x="102" y="132"/>
                    <a:pt x="131" y="102"/>
                    <a:pt x="131" y="66"/>
                  </a:cubicBezTo>
                  <a:cubicBezTo>
                    <a:pt x="131" y="30"/>
                    <a:pt x="102" y="0"/>
                    <a:pt x="66" y="0"/>
                  </a:cubicBezTo>
                  <a:close/>
                  <a:moveTo>
                    <a:pt x="66" y="8"/>
                  </a:moveTo>
                  <a:cubicBezTo>
                    <a:pt x="98" y="8"/>
                    <a:pt x="124" y="34"/>
                    <a:pt x="124" y="66"/>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5" y="59"/>
                    <a:pt x="85" y="59"/>
                    <a:pt x="85" y="59"/>
                  </a:cubicBezTo>
                  <a:cubicBezTo>
                    <a:pt x="86" y="60"/>
                    <a:pt x="89" y="61"/>
                    <a:pt x="91" y="61"/>
                  </a:cubicBezTo>
                  <a:cubicBezTo>
                    <a:pt x="93" y="61"/>
                    <a:pt x="95" y="61"/>
                    <a:pt x="97" y="59"/>
                  </a:cubicBezTo>
                  <a:cubicBezTo>
                    <a:pt x="100" y="56"/>
                    <a:pt x="100" y="50"/>
                    <a:pt x="97" y="47"/>
                  </a:cubicBezTo>
                  <a:cubicBezTo>
                    <a:pt x="86" y="35"/>
                    <a:pt x="86" y="35"/>
                    <a:pt x="86" y="35"/>
                  </a:cubicBezTo>
                  <a:cubicBezTo>
                    <a:pt x="65" y="13"/>
                    <a:pt x="65" y="13"/>
                    <a:pt x="65" y="13"/>
                  </a:cubicBezTo>
                  <a:cubicBezTo>
                    <a:pt x="33" y="47"/>
                    <a:pt x="33" y="47"/>
                    <a:pt x="33" y="47"/>
                  </a:cubicBezTo>
                  <a:cubicBezTo>
                    <a:pt x="30" y="50"/>
                    <a:pt x="30" y="56"/>
                    <a:pt x="33" y="59"/>
                  </a:cubicBezTo>
                  <a:cubicBezTo>
                    <a:pt x="37" y="62"/>
                    <a:pt x="42" y="62"/>
                    <a:pt x="46" y="59"/>
                  </a:cubicBezTo>
                  <a:cubicBezTo>
                    <a:pt x="56" y="47"/>
                    <a:pt x="56" y="47"/>
                    <a:pt x="56" y="47"/>
                  </a:cubicBezTo>
                  <a:cubicBezTo>
                    <a:pt x="56" y="78"/>
                    <a:pt x="56" y="78"/>
                    <a:pt x="56" y="78"/>
                  </a:cubicBezTo>
                  <a:cubicBezTo>
                    <a:pt x="56" y="123"/>
                    <a:pt x="56" y="123"/>
                    <a:pt x="56" y="123"/>
                  </a:cubicBezTo>
                  <a:cubicBezTo>
                    <a:pt x="29" y="119"/>
                    <a:pt x="7" y="95"/>
                    <a:pt x="7" y="66"/>
                  </a:cubicBezTo>
                  <a:cubicBezTo>
                    <a:pt x="7" y="34"/>
                    <a:pt x="33" y="8"/>
                    <a:pt x="66" y="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7" name="Freeform 1646">
              <a:extLst>
                <a:ext uri="{FF2B5EF4-FFF2-40B4-BE49-F238E27FC236}">
                  <a16:creationId xmlns:a16="http://schemas.microsoft.com/office/drawing/2014/main" id="{35035A38-16D1-4A01-891E-20B471451A83}"/>
                </a:ext>
              </a:extLst>
            </p:cNvPr>
            <p:cNvSpPr>
              <a:spLocks noEditPoints="1"/>
            </p:cNvSpPr>
            <p:nvPr userDrawn="1"/>
          </p:nvSpPr>
          <p:spPr bwMode="auto">
            <a:xfrm rot="18721825" flipH="1">
              <a:off x="6783666" y="5019984"/>
              <a:ext cx="80963" cy="82550"/>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8" name="Freeform 1668">
              <a:extLst>
                <a:ext uri="{FF2B5EF4-FFF2-40B4-BE49-F238E27FC236}">
                  <a16:creationId xmlns:a16="http://schemas.microsoft.com/office/drawing/2014/main" id="{2907A6AC-80BA-46A3-84A1-971CA53D3A3A}"/>
                </a:ext>
              </a:extLst>
            </p:cNvPr>
            <p:cNvSpPr>
              <a:spLocks noEditPoints="1"/>
            </p:cNvSpPr>
            <p:nvPr userDrawn="1"/>
          </p:nvSpPr>
          <p:spPr bwMode="auto">
            <a:xfrm rot="18721825" flipH="1">
              <a:off x="7033256" y="5035005"/>
              <a:ext cx="236538" cy="242888"/>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9" name="Freeform 1678">
              <a:extLst>
                <a:ext uri="{FF2B5EF4-FFF2-40B4-BE49-F238E27FC236}">
                  <a16:creationId xmlns:a16="http://schemas.microsoft.com/office/drawing/2014/main" id="{A7E01E8F-6713-4591-87EC-F34C80BA06DD}"/>
                </a:ext>
              </a:extLst>
            </p:cNvPr>
            <p:cNvSpPr>
              <a:spLocks noEditPoints="1"/>
            </p:cNvSpPr>
            <p:nvPr userDrawn="1"/>
          </p:nvSpPr>
          <p:spPr bwMode="auto">
            <a:xfrm rot="18721825" flipH="1">
              <a:off x="6530956" y="4831680"/>
              <a:ext cx="114300" cy="112713"/>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2" name="Freeform 21292">
              <a:extLst>
                <a:ext uri="{FF2B5EF4-FFF2-40B4-BE49-F238E27FC236}">
                  <a16:creationId xmlns:a16="http://schemas.microsoft.com/office/drawing/2014/main" id="{D5F9A33D-B34A-4875-AE52-A45C8300E0A2}"/>
                </a:ext>
              </a:extLst>
            </p:cNvPr>
            <p:cNvSpPr>
              <a:spLocks noEditPoints="1"/>
            </p:cNvSpPr>
            <p:nvPr userDrawn="1"/>
          </p:nvSpPr>
          <p:spPr bwMode="auto">
            <a:xfrm>
              <a:off x="6950009" y="4676514"/>
              <a:ext cx="229809" cy="228649"/>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3" name="Freeform 21312">
              <a:extLst>
                <a:ext uri="{FF2B5EF4-FFF2-40B4-BE49-F238E27FC236}">
                  <a16:creationId xmlns:a16="http://schemas.microsoft.com/office/drawing/2014/main" id="{09AE8145-15D0-4CAB-8FDA-30442824A877}"/>
                </a:ext>
              </a:extLst>
            </p:cNvPr>
            <p:cNvSpPr>
              <a:spLocks noEditPoints="1"/>
            </p:cNvSpPr>
            <p:nvPr userDrawn="1"/>
          </p:nvSpPr>
          <p:spPr bwMode="auto">
            <a:xfrm>
              <a:off x="6781259" y="4923683"/>
              <a:ext cx="242577" cy="242577"/>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3 h 164"/>
                <a:gd name="T12" fmla="*/ 111 w 164"/>
                <a:gd name="T13" fmla="*/ 10 h 164"/>
                <a:gd name="T14" fmla="*/ 116 w 164"/>
                <a:gd name="T15" fmla="*/ 32 h 164"/>
                <a:gd name="T16" fmla="*/ 136 w 164"/>
                <a:gd name="T17" fmla="*/ 27 h 164"/>
                <a:gd name="T18" fmla="*/ 140 w 164"/>
                <a:gd name="T19" fmla="*/ 50 h 164"/>
                <a:gd name="T20" fmla="*/ 153 w 164"/>
                <a:gd name="T21" fmla="*/ 52 h 164"/>
                <a:gd name="T22" fmla="*/ 155 w 164"/>
                <a:gd name="T23" fmla="*/ 77 h 164"/>
                <a:gd name="T24" fmla="*/ 155 w 164"/>
                <a:gd name="T25" fmla="*/ 86 h 164"/>
                <a:gd name="T26" fmla="*/ 153 w 164"/>
                <a:gd name="T27" fmla="*/ 111 h 164"/>
                <a:gd name="T28" fmla="*/ 139 w 164"/>
                <a:gd name="T29" fmla="*/ 112 h 164"/>
                <a:gd name="T30" fmla="*/ 137 w 164"/>
                <a:gd name="T31" fmla="*/ 136 h 164"/>
                <a:gd name="T32" fmla="*/ 118 w 164"/>
                <a:gd name="T33" fmla="*/ 131 h 164"/>
                <a:gd name="T34" fmla="*/ 115 w 164"/>
                <a:gd name="T35" fmla="*/ 152 h 164"/>
                <a:gd name="T36" fmla="*/ 96 w 164"/>
                <a:gd name="T37" fmla="*/ 140 h 164"/>
                <a:gd name="T38" fmla="*/ 84 w 164"/>
                <a:gd name="T39" fmla="*/ 159 h 164"/>
                <a:gd name="T40" fmla="*/ 71 w 164"/>
                <a:gd name="T41" fmla="*/ 140 h 164"/>
                <a:gd name="T42" fmla="*/ 55 w 164"/>
                <a:gd name="T43" fmla="*/ 154 h 164"/>
                <a:gd name="T44" fmla="*/ 48 w 164"/>
                <a:gd name="T45" fmla="*/ 131 h 164"/>
                <a:gd name="T46" fmla="*/ 29 w 164"/>
                <a:gd name="T47" fmla="*/ 137 h 164"/>
                <a:gd name="T48" fmla="*/ 26 w 164"/>
                <a:gd name="T49" fmla="*/ 114 h 164"/>
                <a:gd name="T50" fmla="*/ 11 w 164"/>
                <a:gd name="T51" fmla="*/ 112 h 164"/>
                <a:gd name="T52" fmla="*/ 9 w 164"/>
                <a:gd name="T53" fmla="*/ 87 h 164"/>
                <a:gd name="T54" fmla="*/ 24 w 164"/>
                <a:gd name="T55" fmla="*/ 71 h 164"/>
                <a:gd name="T56" fmla="*/ 11 w 164"/>
                <a:gd name="T57" fmla="*/ 53 h 164"/>
                <a:gd name="T58" fmla="*/ 33 w 164"/>
                <a:gd name="T59" fmla="*/ 49 h 164"/>
                <a:gd name="T60" fmla="*/ 28 w 164"/>
                <a:gd name="T61" fmla="*/ 28 h 164"/>
                <a:gd name="T62" fmla="*/ 49 w 164"/>
                <a:gd name="T63" fmla="*/ 31 h 164"/>
                <a:gd name="T64" fmla="*/ 53 w 164"/>
                <a:gd name="T65" fmla="*/ 11 h 164"/>
                <a:gd name="T66" fmla="*/ 69 w 164"/>
                <a:gd name="T67" fmla="*/ 24 h 164"/>
                <a:gd name="T68" fmla="*/ 81 w 164"/>
                <a:gd name="T69" fmla="*/ 0 h 164"/>
                <a:gd name="T70" fmla="*/ 67 w 164"/>
                <a:gd name="T71" fmla="*/ 19 h 164"/>
                <a:gd name="T72" fmla="*/ 48 w 164"/>
                <a:gd name="T73" fmla="*/ 7 h 164"/>
                <a:gd name="T74" fmla="*/ 30 w 164"/>
                <a:gd name="T75" fmla="*/ 21 h 164"/>
                <a:gd name="T76" fmla="*/ 28 w 164"/>
                <a:gd name="T77" fmla="*/ 46 h 164"/>
                <a:gd name="T78" fmla="*/ 6 w 164"/>
                <a:gd name="T79" fmla="*/ 51 h 164"/>
                <a:gd name="T80" fmla="*/ 8 w 164"/>
                <a:gd name="T81" fmla="*/ 74 h 164"/>
                <a:gd name="T82" fmla="*/ 19 w 164"/>
                <a:gd name="T83" fmla="*/ 95 h 164"/>
                <a:gd name="T84" fmla="*/ 14 w 164"/>
                <a:gd name="T85" fmla="*/ 120 h 164"/>
                <a:gd name="T86" fmla="*/ 25 w 164"/>
                <a:gd name="T87" fmla="*/ 129 h 164"/>
                <a:gd name="T88" fmla="*/ 38 w 164"/>
                <a:gd name="T89" fmla="*/ 141 h 164"/>
                <a:gd name="T90" fmla="*/ 53 w 164"/>
                <a:gd name="T91" fmla="*/ 159 h 164"/>
                <a:gd name="T92" fmla="*/ 75 w 164"/>
                <a:gd name="T93" fmla="*/ 156 h 164"/>
                <a:gd name="T94" fmla="*/ 94 w 164"/>
                <a:gd name="T95" fmla="*/ 155 h 164"/>
                <a:gd name="T96" fmla="*/ 116 w 164"/>
                <a:gd name="T97" fmla="*/ 156 h 164"/>
                <a:gd name="T98" fmla="*/ 127 w 164"/>
                <a:gd name="T99" fmla="*/ 140 h 164"/>
                <a:gd name="T100" fmla="*/ 140 w 164"/>
                <a:gd name="T101" fmla="*/ 128 h 164"/>
                <a:gd name="T102" fmla="*/ 151 w 164"/>
                <a:gd name="T103" fmla="*/ 119 h 164"/>
                <a:gd name="T104" fmla="*/ 146 w 164"/>
                <a:gd name="T105" fmla="*/ 94 h 164"/>
                <a:gd name="T106" fmla="*/ 164 w 164"/>
                <a:gd name="T107" fmla="*/ 81 h 164"/>
                <a:gd name="T108" fmla="*/ 158 w 164"/>
                <a:gd name="T109" fmla="*/ 50 h 164"/>
                <a:gd name="T110" fmla="*/ 140 w 164"/>
                <a:gd name="T111" fmla="*/ 45 h 164"/>
                <a:gd name="T112" fmla="*/ 139 w 164"/>
                <a:gd name="T113" fmla="*/ 23 h 164"/>
                <a:gd name="T114" fmla="*/ 117 w 164"/>
                <a:gd name="T115" fmla="*/ 17 h 164"/>
                <a:gd name="T116" fmla="*/ 100 w 164"/>
                <a:gd name="T117"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6"/>
                    <a:pt x="35" y="94"/>
                    <a:pt x="35" y="82"/>
                  </a:cubicBezTo>
                  <a:cubicBezTo>
                    <a:pt x="35" y="70"/>
                    <a:pt x="40" y="58"/>
                    <a:pt x="49" y="49"/>
                  </a:cubicBezTo>
                  <a:cubicBezTo>
                    <a:pt x="58" y="40"/>
                    <a:pt x="70" y="35"/>
                    <a:pt x="82" y="35"/>
                  </a:cubicBezTo>
                  <a:cubicBezTo>
                    <a:pt x="94" y="35"/>
                    <a:pt x="106" y="40"/>
                    <a:pt x="115" y="49"/>
                  </a:cubicBezTo>
                  <a:cubicBezTo>
                    <a:pt x="124" y="58"/>
                    <a:pt x="129" y="69"/>
                    <a:pt x="129" y="82"/>
                  </a:cubicBezTo>
                  <a:cubicBezTo>
                    <a:pt x="129" y="94"/>
                    <a:pt x="124" y="106"/>
                    <a:pt x="115" y="115"/>
                  </a:cubicBezTo>
                  <a:cubicBezTo>
                    <a:pt x="106" y="124"/>
                    <a:pt x="95" y="129"/>
                    <a:pt x="82" y="129"/>
                  </a:cubicBezTo>
                  <a:moveTo>
                    <a:pt x="82" y="30"/>
                  </a:moveTo>
                  <a:cubicBezTo>
                    <a:pt x="68" y="30"/>
                    <a:pt x="55" y="36"/>
                    <a:pt x="45" y="45"/>
                  </a:cubicBezTo>
                  <a:cubicBezTo>
                    <a:pt x="36" y="55"/>
                    <a:pt x="30" y="68"/>
                    <a:pt x="30" y="82"/>
                  </a:cubicBezTo>
                  <a:cubicBezTo>
                    <a:pt x="30" y="96"/>
                    <a:pt x="36" y="109"/>
                    <a:pt x="46" y="119"/>
                  </a:cubicBezTo>
                  <a:cubicBezTo>
                    <a:pt x="55" y="128"/>
                    <a:pt x="68" y="134"/>
                    <a:pt x="82" y="134"/>
                  </a:cubicBezTo>
                  <a:cubicBezTo>
                    <a:pt x="96" y="134"/>
                    <a:pt x="109" y="128"/>
                    <a:pt x="119" y="118"/>
                  </a:cubicBezTo>
                  <a:cubicBezTo>
                    <a:pt x="128" y="109"/>
                    <a:pt x="134" y="96"/>
                    <a:pt x="134" y="82"/>
                  </a:cubicBezTo>
                  <a:cubicBezTo>
                    <a:pt x="134" y="68"/>
                    <a:pt x="128" y="55"/>
                    <a:pt x="119" y="45"/>
                  </a:cubicBezTo>
                  <a:cubicBezTo>
                    <a:pt x="109" y="36"/>
                    <a:pt x="96" y="30"/>
                    <a:pt x="82" y="30"/>
                  </a:cubicBezTo>
                  <a:moveTo>
                    <a:pt x="80" y="5"/>
                  </a:moveTo>
                  <a:cubicBezTo>
                    <a:pt x="81" y="5"/>
                    <a:pt x="81" y="5"/>
                    <a:pt x="81" y="5"/>
                  </a:cubicBezTo>
                  <a:cubicBezTo>
                    <a:pt x="83" y="5"/>
                    <a:pt x="84" y="5"/>
                    <a:pt x="84" y="9"/>
                  </a:cubicBezTo>
                  <a:cubicBezTo>
                    <a:pt x="85" y="14"/>
                    <a:pt x="87" y="20"/>
                    <a:pt x="91" y="23"/>
                  </a:cubicBezTo>
                  <a:cubicBezTo>
                    <a:pt x="91" y="23"/>
                    <a:pt x="92" y="23"/>
                    <a:pt x="92" y="23"/>
                  </a:cubicBezTo>
                  <a:cubicBezTo>
                    <a:pt x="92" y="23"/>
                    <a:pt x="92" y="23"/>
                    <a:pt x="92" y="23"/>
                  </a:cubicBezTo>
                  <a:cubicBezTo>
                    <a:pt x="97" y="23"/>
                    <a:pt x="103" y="16"/>
                    <a:pt x="105" y="13"/>
                  </a:cubicBezTo>
                  <a:cubicBezTo>
                    <a:pt x="105" y="11"/>
                    <a:pt x="107" y="10"/>
                    <a:pt x="108" y="10"/>
                  </a:cubicBezTo>
                  <a:cubicBezTo>
                    <a:pt x="108" y="10"/>
                    <a:pt x="109" y="10"/>
                    <a:pt x="110" y="10"/>
                  </a:cubicBezTo>
                  <a:cubicBezTo>
                    <a:pt x="111" y="10"/>
                    <a:pt x="111" y="10"/>
                    <a:pt x="111" y="10"/>
                  </a:cubicBezTo>
                  <a:cubicBezTo>
                    <a:pt x="113" y="11"/>
                    <a:pt x="113" y="12"/>
                    <a:pt x="112" y="16"/>
                  </a:cubicBezTo>
                  <a:cubicBezTo>
                    <a:pt x="111" y="21"/>
                    <a:pt x="111" y="27"/>
                    <a:pt x="113" y="31"/>
                  </a:cubicBezTo>
                  <a:cubicBezTo>
                    <a:pt x="113" y="31"/>
                    <a:pt x="113" y="32"/>
                    <a:pt x="114" y="32"/>
                  </a:cubicBezTo>
                  <a:cubicBezTo>
                    <a:pt x="115" y="32"/>
                    <a:pt x="115" y="32"/>
                    <a:pt x="116" y="32"/>
                  </a:cubicBezTo>
                  <a:cubicBezTo>
                    <a:pt x="120" y="32"/>
                    <a:pt x="126" y="30"/>
                    <a:pt x="130" y="27"/>
                  </a:cubicBezTo>
                  <a:cubicBezTo>
                    <a:pt x="132" y="25"/>
                    <a:pt x="133" y="25"/>
                    <a:pt x="133" y="25"/>
                  </a:cubicBezTo>
                  <a:cubicBezTo>
                    <a:pt x="134" y="25"/>
                    <a:pt x="134" y="25"/>
                    <a:pt x="135" y="26"/>
                  </a:cubicBezTo>
                  <a:cubicBezTo>
                    <a:pt x="136" y="27"/>
                    <a:pt x="136" y="27"/>
                    <a:pt x="136" y="27"/>
                  </a:cubicBezTo>
                  <a:cubicBezTo>
                    <a:pt x="138" y="29"/>
                    <a:pt x="138" y="29"/>
                    <a:pt x="136" y="33"/>
                  </a:cubicBezTo>
                  <a:cubicBezTo>
                    <a:pt x="133" y="37"/>
                    <a:pt x="130" y="42"/>
                    <a:pt x="130" y="46"/>
                  </a:cubicBezTo>
                  <a:cubicBezTo>
                    <a:pt x="130" y="47"/>
                    <a:pt x="130" y="48"/>
                    <a:pt x="131" y="48"/>
                  </a:cubicBezTo>
                  <a:cubicBezTo>
                    <a:pt x="132" y="50"/>
                    <a:pt x="135" y="50"/>
                    <a:pt x="140" y="50"/>
                  </a:cubicBezTo>
                  <a:cubicBezTo>
                    <a:pt x="142" y="50"/>
                    <a:pt x="145" y="50"/>
                    <a:pt x="147" y="50"/>
                  </a:cubicBezTo>
                  <a:cubicBezTo>
                    <a:pt x="149" y="49"/>
                    <a:pt x="150" y="49"/>
                    <a:pt x="150" y="49"/>
                  </a:cubicBezTo>
                  <a:cubicBezTo>
                    <a:pt x="152" y="49"/>
                    <a:pt x="152" y="50"/>
                    <a:pt x="153" y="51"/>
                  </a:cubicBezTo>
                  <a:cubicBezTo>
                    <a:pt x="153" y="52"/>
                    <a:pt x="153" y="52"/>
                    <a:pt x="153" y="52"/>
                  </a:cubicBezTo>
                  <a:cubicBezTo>
                    <a:pt x="154" y="54"/>
                    <a:pt x="154" y="55"/>
                    <a:pt x="150" y="57"/>
                  </a:cubicBezTo>
                  <a:cubicBezTo>
                    <a:pt x="146" y="60"/>
                    <a:pt x="141" y="64"/>
                    <a:pt x="140" y="68"/>
                  </a:cubicBezTo>
                  <a:cubicBezTo>
                    <a:pt x="140" y="68"/>
                    <a:pt x="140" y="69"/>
                    <a:pt x="140" y="69"/>
                  </a:cubicBezTo>
                  <a:cubicBezTo>
                    <a:pt x="142" y="74"/>
                    <a:pt x="150" y="77"/>
                    <a:pt x="155" y="77"/>
                  </a:cubicBezTo>
                  <a:cubicBezTo>
                    <a:pt x="159" y="78"/>
                    <a:pt x="159" y="79"/>
                    <a:pt x="159" y="81"/>
                  </a:cubicBezTo>
                  <a:cubicBezTo>
                    <a:pt x="159" y="81"/>
                    <a:pt x="159" y="81"/>
                    <a:pt x="159" y="81"/>
                  </a:cubicBezTo>
                  <a:cubicBezTo>
                    <a:pt x="159" y="82"/>
                    <a:pt x="159" y="82"/>
                    <a:pt x="159" y="82"/>
                  </a:cubicBezTo>
                  <a:cubicBezTo>
                    <a:pt x="159" y="84"/>
                    <a:pt x="159" y="85"/>
                    <a:pt x="155" y="86"/>
                  </a:cubicBezTo>
                  <a:cubicBezTo>
                    <a:pt x="150" y="86"/>
                    <a:pt x="144" y="88"/>
                    <a:pt x="141" y="91"/>
                  </a:cubicBezTo>
                  <a:cubicBezTo>
                    <a:pt x="141" y="92"/>
                    <a:pt x="140" y="92"/>
                    <a:pt x="140" y="93"/>
                  </a:cubicBezTo>
                  <a:cubicBezTo>
                    <a:pt x="140" y="98"/>
                    <a:pt x="147" y="104"/>
                    <a:pt x="151" y="106"/>
                  </a:cubicBezTo>
                  <a:cubicBezTo>
                    <a:pt x="155" y="108"/>
                    <a:pt x="154" y="109"/>
                    <a:pt x="153" y="111"/>
                  </a:cubicBezTo>
                  <a:cubicBezTo>
                    <a:pt x="153" y="112"/>
                    <a:pt x="153" y="112"/>
                    <a:pt x="153" y="112"/>
                  </a:cubicBezTo>
                  <a:cubicBezTo>
                    <a:pt x="152" y="113"/>
                    <a:pt x="152" y="114"/>
                    <a:pt x="151" y="114"/>
                  </a:cubicBezTo>
                  <a:cubicBezTo>
                    <a:pt x="150" y="114"/>
                    <a:pt x="149" y="114"/>
                    <a:pt x="148" y="113"/>
                  </a:cubicBezTo>
                  <a:cubicBezTo>
                    <a:pt x="145" y="113"/>
                    <a:pt x="142" y="112"/>
                    <a:pt x="139" y="112"/>
                  </a:cubicBezTo>
                  <a:cubicBezTo>
                    <a:pt x="136" y="112"/>
                    <a:pt x="134" y="113"/>
                    <a:pt x="133" y="113"/>
                  </a:cubicBezTo>
                  <a:cubicBezTo>
                    <a:pt x="132" y="114"/>
                    <a:pt x="132" y="114"/>
                    <a:pt x="132" y="115"/>
                  </a:cubicBezTo>
                  <a:cubicBezTo>
                    <a:pt x="130" y="119"/>
                    <a:pt x="134" y="127"/>
                    <a:pt x="136" y="131"/>
                  </a:cubicBezTo>
                  <a:cubicBezTo>
                    <a:pt x="139" y="134"/>
                    <a:pt x="138" y="135"/>
                    <a:pt x="137" y="136"/>
                  </a:cubicBezTo>
                  <a:cubicBezTo>
                    <a:pt x="136" y="137"/>
                    <a:pt x="136" y="137"/>
                    <a:pt x="136" y="137"/>
                  </a:cubicBezTo>
                  <a:cubicBezTo>
                    <a:pt x="135" y="138"/>
                    <a:pt x="135" y="138"/>
                    <a:pt x="134" y="138"/>
                  </a:cubicBezTo>
                  <a:cubicBezTo>
                    <a:pt x="133" y="138"/>
                    <a:pt x="132" y="138"/>
                    <a:pt x="130" y="136"/>
                  </a:cubicBezTo>
                  <a:cubicBezTo>
                    <a:pt x="127" y="134"/>
                    <a:pt x="122" y="131"/>
                    <a:pt x="118" y="131"/>
                  </a:cubicBezTo>
                  <a:cubicBezTo>
                    <a:pt x="118" y="131"/>
                    <a:pt x="118" y="131"/>
                    <a:pt x="118" y="131"/>
                  </a:cubicBezTo>
                  <a:cubicBezTo>
                    <a:pt x="116" y="131"/>
                    <a:pt x="115" y="131"/>
                    <a:pt x="115" y="132"/>
                  </a:cubicBezTo>
                  <a:cubicBezTo>
                    <a:pt x="114" y="136"/>
                    <a:pt x="115" y="142"/>
                    <a:pt x="116" y="146"/>
                  </a:cubicBezTo>
                  <a:cubicBezTo>
                    <a:pt x="117" y="150"/>
                    <a:pt x="117" y="151"/>
                    <a:pt x="115" y="152"/>
                  </a:cubicBezTo>
                  <a:cubicBezTo>
                    <a:pt x="114" y="152"/>
                    <a:pt x="114" y="152"/>
                    <a:pt x="114" y="152"/>
                  </a:cubicBezTo>
                  <a:cubicBezTo>
                    <a:pt x="113" y="152"/>
                    <a:pt x="112" y="153"/>
                    <a:pt x="112" y="153"/>
                  </a:cubicBezTo>
                  <a:cubicBezTo>
                    <a:pt x="111" y="153"/>
                    <a:pt x="110" y="152"/>
                    <a:pt x="109" y="150"/>
                  </a:cubicBezTo>
                  <a:cubicBezTo>
                    <a:pt x="106" y="146"/>
                    <a:pt x="100" y="140"/>
                    <a:pt x="96" y="140"/>
                  </a:cubicBezTo>
                  <a:cubicBezTo>
                    <a:pt x="95" y="140"/>
                    <a:pt x="94" y="140"/>
                    <a:pt x="94" y="140"/>
                  </a:cubicBezTo>
                  <a:cubicBezTo>
                    <a:pt x="91" y="143"/>
                    <a:pt x="89" y="149"/>
                    <a:pt x="89" y="154"/>
                  </a:cubicBezTo>
                  <a:cubicBezTo>
                    <a:pt x="88" y="159"/>
                    <a:pt x="87" y="159"/>
                    <a:pt x="85" y="159"/>
                  </a:cubicBezTo>
                  <a:cubicBezTo>
                    <a:pt x="84" y="159"/>
                    <a:pt x="84" y="159"/>
                    <a:pt x="84" y="159"/>
                  </a:cubicBezTo>
                  <a:cubicBezTo>
                    <a:pt x="84" y="159"/>
                    <a:pt x="83" y="159"/>
                    <a:pt x="83" y="159"/>
                  </a:cubicBezTo>
                  <a:cubicBezTo>
                    <a:pt x="82" y="159"/>
                    <a:pt x="81" y="159"/>
                    <a:pt x="80" y="155"/>
                  </a:cubicBezTo>
                  <a:cubicBezTo>
                    <a:pt x="79" y="150"/>
                    <a:pt x="77" y="142"/>
                    <a:pt x="72" y="140"/>
                  </a:cubicBezTo>
                  <a:cubicBezTo>
                    <a:pt x="71" y="140"/>
                    <a:pt x="71" y="140"/>
                    <a:pt x="71" y="140"/>
                  </a:cubicBezTo>
                  <a:cubicBezTo>
                    <a:pt x="70" y="140"/>
                    <a:pt x="70" y="140"/>
                    <a:pt x="70" y="140"/>
                  </a:cubicBezTo>
                  <a:cubicBezTo>
                    <a:pt x="66" y="142"/>
                    <a:pt x="62" y="147"/>
                    <a:pt x="60" y="151"/>
                  </a:cubicBezTo>
                  <a:cubicBezTo>
                    <a:pt x="59" y="153"/>
                    <a:pt x="58" y="155"/>
                    <a:pt x="57" y="155"/>
                  </a:cubicBezTo>
                  <a:cubicBezTo>
                    <a:pt x="56" y="155"/>
                    <a:pt x="56" y="154"/>
                    <a:pt x="55" y="154"/>
                  </a:cubicBezTo>
                  <a:cubicBezTo>
                    <a:pt x="54" y="154"/>
                    <a:pt x="54" y="154"/>
                    <a:pt x="54" y="154"/>
                  </a:cubicBezTo>
                  <a:cubicBezTo>
                    <a:pt x="52" y="153"/>
                    <a:pt x="51" y="153"/>
                    <a:pt x="52" y="148"/>
                  </a:cubicBezTo>
                  <a:cubicBezTo>
                    <a:pt x="53" y="144"/>
                    <a:pt x="54" y="135"/>
                    <a:pt x="50" y="132"/>
                  </a:cubicBezTo>
                  <a:cubicBezTo>
                    <a:pt x="50" y="132"/>
                    <a:pt x="49" y="131"/>
                    <a:pt x="48" y="131"/>
                  </a:cubicBezTo>
                  <a:cubicBezTo>
                    <a:pt x="44" y="131"/>
                    <a:pt x="39" y="134"/>
                    <a:pt x="35" y="137"/>
                  </a:cubicBezTo>
                  <a:cubicBezTo>
                    <a:pt x="33" y="139"/>
                    <a:pt x="32" y="139"/>
                    <a:pt x="31" y="139"/>
                  </a:cubicBezTo>
                  <a:cubicBezTo>
                    <a:pt x="31" y="139"/>
                    <a:pt x="30" y="139"/>
                    <a:pt x="29" y="138"/>
                  </a:cubicBezTo>
                  <a:cubicBezTo>
                    <a:pt x="29" y="137"/>
                    <a:pt x="29" y="137"/>
                    <a:pt x="29" y="137"/>
                  </a:cubicBezTo>
                  <a:cubicBezTo>
                    <a:pt x="27" y="136"/>
                    <a:pt x="26" y="135"/>
                    <a:pt x="29" y="132"/>
                  </a:cubicBezTo>
                  <a:cubicBezTo>
                    <a:pt x="31" y="128"/>
                    <a:pt x="35" y="120"/>
                    <a:pt x="33" y="116"/>
                  </a:cubicBezTo>
                  <a:cubicBezTo>
                    <a:pt x="33" y="115"/>
                    <a:pt x="33" y="115"/>
                    <a:pt x="32" y="115"/>
                  </a:cubicBezTo>
                  <a:cubicBezTo>
                    <a:pt x="31" y="114"/>
                    <a:pt x="29" y="114"/>
                    <a:pt x="26" y="114"/>
                  </a:cubicBezTo>
                  <a:cubicBezTo>
                    <a:pt x="23" y="114"/>
                    <a:pt x="20" y="114"/>
                    <a:pt x="17" y="115"/>
                  </a:cubicBezTo>
                  <a:cubicBezTo>
                    <a:pt x="16" y="115"/>
                    <a:pt x="15" y="115"/>
                    <a:pt x="14" y="115"/>
                  </a:cubicBezTo>
                  <a:cubicBezTo>
                    <a:pt x="13" y="115"/>
                    <a:pt x="13" y="115"/>
                    <a:pt x="12" y="113"/>
                  </a:cubicBezTo>
                  <a:cubicBezTo>
                    <a:pt x="11" y="112"/>
                    <a:pt x="11" y="112"/>
                    <a:pt x="11" y="112"/>
                  </a:cubicBezTo>
                  <a:cubicBezTo>
                    <a:pt x="10" y="110"/>
                    <a:pt x="10" y="110"/>
                    <a:pt x="14" y="107"/>
                  </a:cubicBezTo>
                  <a:cubicBezTo>
                    <a:pt x="17" y="105"/>
                    <a:pt x="24" y="99"/>
                    <a:pt x="24" y="94"/>
                  </a:cubicBezTo>
                  <a:cubicBezTo>
                    <a:pt x="24" y="94"/>
                    <a:pt x="24" y="93"/>
                    <a:pt x="23" y="93"/>
                  </a:cubicBezTo>
                  <a:cubicBezTo>
                    <a:pt x="21" y="90"/>
                    <a:pt x="14" y="88"/>
                    <a:pt x="9" y="87"/>
                  </a:cubicBezTo>
                  <a:cubicBezTo>
                    <a:pt x="5" y="87"/>
                    <a:pt x="5" y="86"/>
                    <a:pt x="5" y="84"/>
                  </a:cubicBezTo>
                  <a:cubicBezTo>
                    <a:pt x="5" y="83"/>
                    <a:pt x="5" y="83"/>
                    <a:pt x="5" y="83"/>
                  </a:cubicBezTo>
                  <a:cubicBezTo>
                    <a:pt x="5" y="81"/>
                    <a:pt x="5" y="80"/>
                    <a:pt x="9" y="79"/>
                  </a:cubicBezTo>
                  <a:cubicBezTo>
                    <a:pt x="14" y="78"/>
                    <a:pt x="22" y="75"/>
                    <a:pt x="24" y="71"/>
                  </a:cubicBezTo>
                  <a:cubicBezTo>
                    <a:pt x="24" y="70"/>
                    <a:pt x="24" y="70"/>
                    <a:pt x="24" y="69"/>
                  </a:cubicBezTo>
                  <a:cubicBezTo>
                    <a:pt x="22" y="65"/>
                    <a:pt x="17" y="61"/>
                    <a:pt x="13" y="59"/>
                  </a:cubicBezTo>
                  <a:cubicBezTo>
                    <a:pt x="9" y="57"/>
                    <a:pt x="10" y="56"/>
                    <a:pt x="10" y="54"/>
                  </a:cubicBezTo>
                  <a:cubicBezTo>
                    <a:pt x="11" y="53"/>
                    <a:pt x="11" y="53"/>
                    <a:pt x="11" y="53"/>
                  </a:cubicBezTo>
                  <a:cubicBezTo>
                    <a:pt x="11" y="51"/>
                    <a:pt x="12" y="51"/>
                    <a:pt x="13" y="51"/>
                  </a:cubicBezTo>
                  <a:cubicBezTo>
                    <a:pt x="14" y="51"/>
                    <a:pt x="15" y="51"/>
                    <a:pt x="16" y="51"/>
                  </a:cubicBezTo>
                  <a:cubicBezTo>
                    <a:pt x="18" y="51"/>
                    <a:pt x="21" y="52"/>
                    <a:pt x="23" y="52"/>
                  </a:cubicBezTo>
                  <a:cubicBezTo>
                    <a:pt x="26" y="52"/>
                    <a:pt x="31" y="51"/>
                    <a:pt x="33" y="49"/>
                  </a:cubicBezTo>
                  <a:cubicBezTo>
                    <a:pt x="33" y="49"/>
                    <a:pt x="33" y="48"/>
                    <a:pt x="33" y="47"/>
                  </a:cubicBezTo>
                  <a:cubicBezTo>
                    <a:pt x="33" y="44"/>
                    <a:pt x="30" y="38"/>
                    <a:pt x="27" y="34"/>
                  </a:cubicBezTo>
                  <a:cubicBezTo>
                    <a:pt x="25" y="30"/>
                    <a:pt x="25" y="30"/>
                    <a:pt x="27" y="28"/>
                  </a:cubicBezTo>
                  <a:cubicBezTo>
                    <a:pt x="28" y="28"/>
                    <a:pt x="28" y="28"/>
                    <a:pt x="28" y="28"/>
                  </a:cubicBezTo>
                  <a:cubicBezTo>
                    <a:pt x="29" y="27"/>
                    <a:pt x="29" y="26"/>
                    <a:pt x="30" y="26"/>
                  </a:cubicBezTo>
                  <a:cubicBezTo>
                    <a:pt x="30" y="26"/>
                    <a:pt x="31" y="26"/>
                    <a:pt x="33" y="28"/>
                  </a:cubicBezTo>
                  <a:cubicBezTo>
                    <a:pt x="37" y="30"/>
                    <a:pt x="42" y="33"/>
                    <a:pt x="46" y="33"/>
                  </a:cubicBezTo>
                  <a:cubicBezTo>
                    <a:pt x="47" y="33"/>
                    <a:pt x="48" y="32"/>
                    <a:pt x="49" y="31"/>
                  </a:cubicBezTo>
                  <a:cubicBezTo>
                    <a:pt x="50" y="28"/>
                    <a:pt x="50" y="22"/>
                    <a:pt x="49" y="17"/>
                  </a:cubicBezTo>
                  <a:cubicBezTo>
                    <a:pt x="47" y="13"/>
                    <a:pt x="48" y="13"/>
                    <a:pt x="50" y="12"/>
                  </a:cubicBezTo>
                  <a:cubicBezTo>
                    <a:pt x="51" y="12"/>
                    <a:pt x="51" y="12"/>
                    <a:pt x="51" y="12"/>
                  </a:cubicBezTo>
                  <a:cubicBezTo>
                    <a:pt x="52" y="11"/>
                    <a:pt x="52" y="11"/>
                    <a:pt x="53" y="11"/>
                  </a:cubicBezTo>
                  <a:cubicBezTo>
                    <a:pt x="54" y="11"/>
                    <a:pt x="55" y="13"/>
                    <a:pt x="56" y="14"/>
                  </a:cubicBezTo>
                  <a:cubicBezTo>
                    <a:pt x="59" y="18"/>
                    <a:pt x="63" y="23"/>
                    <a:pt x="67" y="24"/>
                  </a:cubicBezTo>
                  <a:cubicBezTo>
                    <a:pt x="67" y="24"/>
                    <a:pt x="67" y="24"/>
                    <a:pt x="68" y="24"/>
                  </a:cubicBezTo>
                  <a:cubicBezTo>
                    <a:pt x="68" y="24"/>
                    <a:pt x="68" y="24"/>
                    <a:pt x="69" y="24"/>
                  </a:cubicBezTo>
                  <a:cubicBezTo>
                    <a:pt x="73" y="22"/>
                    <a:pt x="76" y="14"/>
                    <a:pt x="76" y="9"/>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3"/>
                    <a:pt x="69" y="17"/>
                    <a:pt x="67" y="19"/>
                  </a:cubicBezTo>
                  <a:cubicBezTo>
                    <a:pt x="65" y="18"/>
                    <a:pt x="62" y="15"/>
                    <a:pt x="60" y="11"/>
                  </a:cubicBezTo>
                  <a:cubicBezTo>
                    <a:pt x="58" y="8"/>
                    <a:pt x="56" y="6"/>
                    <a:pt x="53" y="6"/>
                  </a:cubicBezTo>
                  <a:cubicBezTo>
                    <a:pt x="51" y="6"/>
                    <a:pt x="50" y="6"/>
                    <a:pt x="49" y="7"/>
                  </a:cubicBezTo>
                  <a:cubicBezTo>
                    <a:pt x="48" y="7"/>
                    <a:pt x="48" y="7"/>
                    <a:pt x="48" y="7"/>
                  </a:cubicBezTo>
                  <a:cubicBezTo>
                    <a:pt x="46" y="8"/>
                    <a:pt x="41" y="10"/>
                    <a:pt x="44" y="18"/>
                  </a:cubicBezTo>
                  <a:cubicBezTo>
                    <a:pt x="45" y="22"/>
                    <a:pt x="45" y="25"/>
                    <a:pt x="44" y="28"/>
                  </a:cubicBezTo>
                  <a:cubicBezTo>
                    <a:pt x="42" y="27"/>
                    <a:pt x="39" y="26"/>
                    <a:pt x="36" y="24"/>
                  </a:cubicBezTo>
                  <a:cubicBezTo>
                    <a:pt x="34" y="22"/>
                    <a:pt x="31" y="21"/>
                    <a:pt x="30" y="21"/>
                  </a:cubicBezTo>
                  <a:cubicBezTo>
                    <a:pt x="27" y="21"/>
                    <a:pt x="25" y="23"/>
                    <a:pt x="24" y="24"/>
                  </a:cubicBezTo>
                  <a:cubicBezTo>
                    <a:pt x="23" y="25"/>
                    <a:pt x="23" y="25"/>
                    <a:pt x="23" y="25"/>
                  </a:cubicBezTo>
                  <a:cubicBezTo>
                    <a:pt x="22" y="27"/>
                    <a:pt x="18" y="30"/>
                    <a:pt x="23" y="37"/>
                  </a:cubicBezTo>
                  <a:cubicBezTo>
                    <a:pt x="26" y="40"/>
                    <a:pt x="28" y="44"/>
                    <a:pt x="28" y="46"/>
                  </a:cubicBezTo>
                  <a:cubicBezTo>
                    <a:pt x="27" y="46"/>
                    <a:pt x="26" y="47"/>
                    <a:pt x="23" y="47"/>
                  </a:cubicBezTo>
                  <a:cubicBezTo>
                    <a:pt x="21" y="47"/>
                    <a:pt x="19" y="47"/>
                    <a:pt x="17" y="46"/>
                  </a:cubicBezTo>
                  <a:cubicBezTo>
                    <a:pt x="16" y="46"/>
                    <a:pt x="14" y="46"/>
                    <a:pt x="13" y="46"/>
                  </a:cubicBezTo>
                  <a:cubicBezTo>
                    <a:pt x="8" y="46"/>
                    <a:pt x="7" y="49"/>
                    <a:pt x="6" y="51"/>
                  </a:cubicBezTo>
                  <a:cubicBezTo>
                    <a:pt x="6" y="52"/>
                    <a:pt x="6" y="52"/>
                    <a:pt x="6" y="52"/>
                  </a:cubicBezTo>
                  <a:cubicBezTo>
                    <a:pt x="5" y="54"/>
                    <a:pt x="3" y="59"/>
                    <a:pt x="11" y="63"/>
                  </a:cubicBezTo>
                  <a:cubicBezTo>
                    <a:pt x="14" y="65"/>
                    <a:pt x="17" y="68"/>
                    <a:pt x="18" y="70"/>
                  </a:cubicBezTo>
                  <a:cubicBezTo>
                    <a:pt x="17" y="71"/>
                    <a:pt x="13" y="73"/>
                    <a:pt x="8" y="74"/>
                  </a:cubicBezTo>
                  <a:cubicBezTo>
                    <a:pt x="0" y="75"/>
                    <a:pt x="0" y="80"/>
                    <a:pt x="0" y="83"/>
                  </a:cubicBezTo>
                  <a:cubicBezTo>
                    <a:pt x="0" y="84"/>
                    <a:pt x="0" y="84"/>
                    <a:pt x="0" y="84"/>
                  </a:cubicBezTo>
                  <a:cubicBezTo>
                    <a:pt x="0" y="86"/>
                    <a:pt x="0" y="91"/>
                    <a:pt x="9" y="92"/>
                  </a:cubicBezTo>
                  <a:cubicBezTo>
                    <a:pt x="13" y="93"/>
                    <a:pt x="17" y="94"/>
                    <a:pt x="19" y="95"/>
                  </a:cubicBezTo>
                  <a:cubicBezTo>
                    <a:pt x="18" y="97"/>
                    <a:pt x="15" y="101"/>
                    <a:pt x="11" y="103"/>
                  </a:cubicBezTo>
                  <a:cubicBezTo>
                    <a:pt x="4" y="108"/>
                    <a:pt x="6" y="112"/>
                    <a:pt x="7" y="115"/>
                  </a:cubicBezTo>
                  <a:cubicBezTo>
                    <a:pt x="7" y="115"/>
                    <a:pt x="7" y="115"/>
                    <a:pt x="7" y="115"/>
                  </a:cubicBezTo>
                  <a:cubicBezTo>
                    <a:pt x="8" y="117"/>
                    <a:pt x="9" y="120"/>
                    <a:pt x="14" y="120"/>
                  </a:cubicBezTo>
                  <a:cubicBezTo>
                    <a:pt x="15" y="120"/>
                    <a:pt x="17" y="120"/>
                    <a:pt x="18" y="120"/>
                  </a:cubicBezTo>
                  <a:cubicBezTo>
                    <a:pt x="21" y="119"/>
                    <a:pt x="24" y="119"/>
                    <a:pt x="26" y="119"/>
                  </a:cubicBezTo>
                  <a:cubicBezTo>
                    <a:pt x="27" y="119"/>
                    <a:pt x="28" y="119"/>
                    <a:pt x="29" y="119"/>
                  </a:cubicBezTo>
                  <a:cubicBezTo>
                    <a:pt x="29" y="121"/>
                    <a:pt x="27" y="125"/>
                    <a:pt x="25" y="129"/>
                  </a:cubicBezTo>
                  <a:cubicBezTo>
                    <a:pt x="20" y="135"/>
                    <a:pt x="22" y="138"/>
                    <a:pt x="25" y="141"/>
                  </a:cubicBezTo>
                  <a:cubicBezTo>
                    <a:pt x="26" y="142"/>
                    <a:pt x="26" y="142"/>
                    <a:pt x="26" y="142"/>
                  </a:cubicBezTo>
                  <a:cubicBezTo>
                    <a:pt x="27" y="143"/>
                    <a:pt x="29" y="144"/>
                    <a:pt x="31" y="144"/>
                  </a:cubicBezTo>
                  <a:cubicBezTo>
                    <a:pt x="33" y="144"/>
                    <a:pt x="36" y="143"/>
                    <a:pt x="38" y="141"/>
                  </a:cubicBezTo>
                  <a:cubicBezTo>
                    <a:pt x="41" y="139"/>
                    <a:pt x="45" y="137"/>
                    <a:pt x="47" y="136"/>
                  </a:cubicBezTo>
                  <a:cubicBezTo>
                    <a:pt x="48" y="138"/>
                    <a:pt x="48" y="143"/>
                    <a:pt x="47" y="147"/>
                  </a:cubicBezTo>
                  <a:cubicBezTo>
                    <a:pt x="45" y="156"/>
                    <a:pt x="50" y="158"/>
                    <a:pt x="53" y="158"/>
                  </a:cubicBezTo>
                  <a:cubicBezTo>
                    <a:pt x="53" y="159"/>
                    <a:pt x="53" y="159"/>
                    <a:pt x="53" y="159"/>
                  </a:cubicBezTo>
                  <a:cubicBezTo>
                    <a:pt x="54" y="159"/>
                    <a:pt x="56" y="160"/>
                    <a:pt x="57" y="160"/>
                  </a:cubicBezTo>
                  <a:cubicBezTo>
                    <a:pt x="60" y="160"/>
                    <a:pt x="62" y="158"/>
                    <a:pt x="64" y="154"/>
                  </a:cubicBezTo>
                  <a:cubicBezTo>
                    <a:pt x="66" y="150"/>
                    <a:pt x="69" y="147"/>
                    <a:pt x="71" y="146"/>
                  </a:cubicBezTo>
                  <a:cubicBezTo>
                    <a:pt x="72" y="147"/>
                    <a:pt x="74" y="151"/>
                    <a:pt x="75" y="156"/>
                  </a:cubicBezTo>
                  <a:cubicBezTo>
                    <a:pt x="76" y="161"/>
                    <a:pt x="79" y="164"/>
                    <a:pt x="83" y="164"/>
                  </a:cubicBezTo>
                  <a:cubicBezTo>
                    <a:pt x="84" y="164"/>
                    <a:pt x="84" y="164"/>
                    <a:pt x="84" y="164"/>
                  </a:cubicBezTo>
                  <a:cubicBezTo>
                    <a:pt x="85" y="164"/>
                    <a:pt x="85" y="164"/>
                    <a:pt x="85" y="164"/>
                  </a:cubicBezTo>
                  <a:cubicBezTo>
                    <a:pt x="88" y="164"/>
                    <a:pt x="93" y="164"/>
                    <a:pt x="94" y="155"/>
                  </a:cubicBezTo>
                  <a:cubicBezTo>
                    <a:pt x="94" y="151"/>
                    <a:pt x="95" y="147"/>
                    <a:pt x="97" y="145"/>
                  </a:cubicBezTo>
                  <a:cubicBezTo>
                    <a:pt x="98" y="146"/>
                    <a:pt x="102" y="149"/>
                    <a:pt x="104" y="153"/>
                  </a:cubicBezTo>
                  <a:cubicBezTo>
                    <a:pt x="107" y="156"/>
                    <a:pt x="109" y="158"/>
                    <a:pt x="112" y="158"/>
                  </a:cubicBezTo>
                  <a:cubicBezTo>
                    <a:pt x="114" y="158"/>
                    <a:pt x="115" y="157"/>
                    <a:pt x="116" y="156"/>
                  </a:cubicBezTo>
                  <a:cubicBezTo>
                    <a:pt x="117" y="156"/>
                    <a:pt x="117" y="156"/>
                    <a:pt x="117" y="156"/>
                  </a:cubicBezTo>
                  <a:cubicBezTo>
                    <a:pt x="119" y="155"/>
                    <a:pt x="124" y="153"/>
                    <a:pt x="121" y="145"/>
                  </a:cubicBezTo>
                  <a:cubicBezTo>
                    <a:pt x="120" y="142"/>
                    <a:pt x="120" y="139"/>
                    <a:pt x="120" y="136"/>
                  </a:cubicBezTo>
                  <a:cubicBezTo>
                    <a:pt x="122" y="137"/>
                    <a:pt x="125" y="138"/>
                    <a:pt x="127" y="140"/>
                  </a:cubicBezTo>
                  <a:cubicBezTo>
                    <a:pt x="130" y="142"/>
                    <a:pt x="132" y="143"/>
                    <a:pt x="134" y="143"/>
                  </a:cubicBezTo>
                  <a:cubicBezTo>
                    <a:pt x="137" y="143"/>
                    <a:pt x="138" y="141"/>
                    <a:pt x="140" y="140"/>
                  </a:cubicBezTo>
                  <a:cubicBezTo>
                    <a:pt x="140" y="140"/>
                    <a:pt x="140" y="140"/>
                    <a:pt x="140" y="140"/>
                  </a:cubicBezTo>
                  <a:cubicBezTo>
                    <a:pt x="143" y="137"/>
                    <a:pt x="145" y="134"/>
                    <a:pt x="140" y="128"/>
                  </a:cubicBezTo>
                  <a:cubicBezTo>
                    <a:pt x="138" y="124"/>
                    <a:pt x="136" y="120"/>
                    <a:pt x="136" y="118"/>
                  </a:cubicBezTo>
                  <a:cubicBezTo>
                    <a:pt x="137" y="117"/>
                    <a:pt x="138" y="117"/>
                    <a:pt x="139" y="117"/>
                  </a:cubicBezTo>
                  <a:cubicBezTo>
                    <a:pt x="141" y="117"/>
                    <a:pt x="144" y="118"/>
                    <a:pt x="146" y="118"/>
                  </a:cubicBezTo>
                  <a:cubicBezTo>
                    <a:pt x="148" y="119"/>
                    <a:pt x="149" y="119"/>
                    <a:pt x="151" y="119"/>
                  </a:cubicBezTo>
                  <a:cubicBezTo>
                    <a:pt x="155" y="119"/>
                    <a:pt x="157" y="115"/>
                    <a:pt x="158" y="114"/>
                  </a:cubicBezTo>
                  <a:cubicBezTo>
                    <a:pt x="158" y="113"/>
                    <a:pt x="158" y="113"/>
                    <a:pt x="158" y="113"/>
                  </a:cubicBezTo>
                  <a:cubicBezTo>
                    <a:pt x="159" y="110"/>
                    <a:pt x="161" y="106"/>
                    <a:pt x="154" y="102"/>
                  </a:cubicBezTo>
                  <a:cubicBezTo>
                    <a:pt x="149" y="99"/>
                    <a:pt x="147" y="96"/>
                    <a:pt x="146" y="94"/>
                  </a:cubicBezTo>
                  <a:cubicBezTo>
                    <a:pt x="148" y="93"/>
                    <a:pt x="152" y="91"/>
                    <a:pt x="155" y="91"/>
                  </a:cubicBezTo>
                  <a:cubicBezTo>
                    <a:pt x="164" y="89"/>
                    <a:pt x="164" y="85"/>
                    <a:pt x="164" y="82"/>
                  </a:cubicBezTo>
                  <a:cubicBezTo>
                    <a:pt x="164" y="82"/>
                    <a:pt x="164" y="82"/>
                    <a:pt x="164" y="82"/>
                  </a:cubicBezTo>
                  <a:cubicBezTo>
                    <a:pt x="164" y="81"/>
                    <a:pt x="164" y="81"/>
                    <a:pt x="164" y="81"/>
                  </a:cubicBezTo>
                  <a:cubicBezTo>
                    <a:pt x="164" y="78"/>
                    <a:pt x="164" y="74"/>
                    <a:pt x="156" y="72"/>
                  </a:cubicBezTo>
                  <a:cubicBezTo>
                    <a:pt x="151" y="72"/>
                    <a:pt x="147" y="70"/>
                    <a:pt x="145" y="68"/>
                  </a:cubicBezTo>
                  <a:cubicBezTo>
                    <a:pt x="147" y="66"/>
                    <a:pt x="150" y="63"/>
                    <a:pt x="153" y="62"/>
                  </a:cubicBezTo>
                  <a:cubicBezTo>
                    <a:pt x="161" y="57"/>
                    <a:pt x="159" y="53"/>
                    <a:pt x="158" y="50"/>
                  </a:cubicBezTo>
                  <a:cubicBezTo>
                    <a:pt x="157" y="50"/>
                    <a:pt x="157" y="50"/>
                    <a:pt x="157" y="50"/>
                  </a:cubicBezTo>
                  <a:cubicBezTo>
                    <a:pt x="157" y="48"/>
                    <a:pt x="155" y="44"/>
                    <a:pt x="150" y="44"/>
                  </a:cubicBezTo>
                  <a:cubicBezTo>
                    <a:pt x="149" y="44"/>
                    <a:pt x="148" y="44"/>
                    <a:pt x="146" y="45"/>
                  </a:cubicBezTo>
                  <a:cubicBezTo>
                    <a:pt x="144" y="45"/>
                    <a:pt x="142" y="45"/>
                    <a:pt x="140" y="45"/>
                  </a:cubicBezTo>
                  <a:cubicBezTo>
                    <a:pt x="137" y="45"/>
                    <a:pt x="136" y="45"/>
                    <a:pt x="135" y="45"/>
                  </a:cubicBezTo>
                  <a:cubicBezTo>
                    <a:pt x="136" y="43"/>
                    <a:pt x="137" y="39"/>
                    <a:pt x="140" y="36"/>
                  </a:cubicBezTo>
                  <a:cubicBezTo>
                    <a:pt x="145" y="29"/>
                    <a:pt x="141" y="25"/>
                    <a:pt x="139" y="23"/>
                  </a:cubicBezTo>
                  <a:cubicBezTo>
                    <a:pt x="139" y="23"/>
                    <a:pt x="139" y="23"/>
                    <a:pt x="139" y="23"/>
                  </a:cubicBezTo>
                  <a:cubicBezTo>
                    <a:pt x="138" y="22"/>
                    <a:pt x="136" y="20"/>
                    <a:pt x="133" y="20"/>
                  </a:cubicBezTo>
                  <a:cubicBezTo>
                    <a:pt x="131" y="20"/>
                    <a:pt x="129" y="21"/>
                    <a:pt x="127" y="23"/>
                  </a:cubicBezTo>
                  <a:cubicBezTo>
                    <a:pt x="123" y="25"/>
                    <a:pt x="119" y="27"/>
                    <a:pt x="117" y="27"/>
                  </a:cubicBezTo>
                  <a:cubicBezTo>
                    <a:pt x="116" y="25"/>
                    <a:pt x="116" y="21"/>
                    <a:pt x="117" y="17"/>
                  </a:cubicBezTo>
                  <a:cubicBezTo>
                    <a:pt x="119" y="9"/>
                    <a:pt x="115" y="7"/>
                    <a:pt x="112" y="6"/>
                  </a:cubicBezTo>
                  <a:cubicBezTo>
                    <a:pt x="112" y="6"/>
                    <a:pt x="112" y="6"/>
                    <a:pt x="112" y="6"/>
                  </a:cubicBezTo>
                  <a:cubicBezTo>
                    <a:pt x="111" y="5"/>
                    <a:pt x="109" y="5"/>
                    <a:pt x="108" y="5"/>
                  </a:cubicBezTo>
                  <a:cubicBezTo>
                    <a:pt x="105" y="5"/>
                    <a:pt x="103" y="6"/>
                    <a:pt x="100" y="10"/>
                  </a:cubicBezTo>
                  <a:cubicBezTo>
                    <a:pt x="98" y="14"/>
                    <a:pt x="95" y="17"/>
                    <a:pt x="93" y="18"/>
                  </a:cubicBezTo>
                  <a:cubicBezTo>
                    <a:pt x="92" y="16"/>
                    <a:pt x="90" y="13"/>
                    <a:pt x="89" y="8"/>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4" name="Freeform 21291">
              <a:extLst>
                <a:ext uri="{FF2B5EF4-FFF2-40B4-BE49-F238E27FC236}">
                  <a16:creationId xmlns:a16="http://schemas.microsoft.com/office/drawing/2014/main" id="{C5C5FD7F-D64A-43AD-A05B-987606BFCEA0}"/>
                </a:ext>
              </a:extLst>
            </p:cNvPr>
            <p:cNvSpPr>
              <a:spLocks/>
            </p:cNvSpPr>
            <p:nvPr userDrawn="1"/>
          </p:nvSpPr>
          <p:spPr bwMode="auto">
            <a:xfrm>
              <a:off x="6799993" y="4753927"/>
              <a:ext cx="184150" cy="180975"/>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94652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20 Capgemini. All rights reserved.</a:t>
            </a: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
        <p:nvSpPr>
          <p:cNvPr id="27" name="Rectangle 26">
            <a:extLst>
              <a:ext uri="{FF2B5EF4-FFF2-40B4-BE49-F238E27FC236}">
                <a16:creationId xmlns:a16="http://schemas.microsoft.com/office/drawing/2014/main" id="{762B5354-056A-41A8-AAD5-BA65DF5BD899}"/>
              </a:ext>
            </a:extLst>
          </p:cNvPr>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a:t>
            </a:r>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50 countries. With Altran, the Group reported 2019 combined revenues of €17billion.</a:t>
            </a:r>
          </a:p>
        </p:txBody>
      </p:sp>
      <p:sp>
        <p:nvSpPr>
          <p:cNvPr id="28" name="Rectangle 27">
            <a:extLst>
              <a:ext uri="{FF2B5EF4-FFF2-40B4-BE49-F238E27FC236}">
                <a16:creationId xmlns:a16="http://schemas.microsoft.com/office/drawing/2014/main" id="{59CBB21E-36C5-4F68-A53B-DDF681680F71}"/>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29" name="Rectangle 28">
            <a:extLst>
              <a:ext uri="{FF2B5EF4-FFF2-40B4-BE49-F238E27FC236}">
                <a16:creationId xmlns:a16="http://schemas.microsoft.com/office/drawing/2014/main" id="{48B8E576-2390-48C0-BE1C-E931146CE20E}"/>
              </a:ext>
            </a:extLst>
          </p:cNvPr>
          <p:cNvSpPr/>
          <p:nvPr userDrawn="1"/>
        </p:nvSpPr>
        <p:spPr>
          <a:xfrm>
            <a:off x="6536184" y="444229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Tree>
    <p:extLst>
      <p:ext uri="{BB962C8B-B14F-4D97-AF65-F5344CB8AC3E}">
        <p14:creationId xmlns:p14="http://schemas.microsoft.com/office/powerpoint/2010/main" val="3184585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3838DB-DD02-4394-9288-6241B74BBDD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6806"/>
          <a:stretch/>
        </p:blipFill>
        <p:spPr>
          <a:xfrm rot="16200000">
            <a:off x="2770730" y="-2563271"/>
            <a:ext cx="6650542" cy="12191998"/>
          </a:xfrm>
          <a:prstGeom prst="rect">
            <a:avLst/>
          </a:prstGeom>
        </p:spPr>
      </p:pic>
      <p:sp>
        <p:nvSpPr>
          <p:cNvPr id="22" name="Subtitle 2"/>
          <p:cNvSpPr>
            <a:spLocks noGrp="1"/>
          </p:cNvSpPr>
          <p:nvPr>
            <p:ph type="subTitle" idx="1" hasCustomPrompt="1"/>
          </p:nvPr>
        </p:nvSpPr>
        <p:spPr>
          <a:xfrm>
            <a:off x="958084" y="5435302"/>
            <a:ext cx="6234859" cy="1126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rmAutofit/>
          </a:bodyPr>
          <a:lstStyle>
            <a:lvl1pPr>
              <a:lnSpc>
                <a:spcPct val="100000"/>
              </a:lnSpc>
              <a:spcBef>
                <a:spcPts val="0"/>
              </a:spcBef>
              <a:defRPr lang="en-US" sz="2000" spc="0" baseline="0" dirty="0">
                <a:solidFill>
                  <a:schemeClr val="bg1"/>
                </a:solidFill>
              </a:defRPr>
            </a:lvl1pPr>
          </a:lstStyle>
          <a:p>
            <a:pPr marR="0" lvl="0" fontAlgn="auto">
              <a:spcAft>
                <a:spcPts val="0"/>
              </a:spcAft>
              <a:buClrTx/>
              <a:buSzTx/>
              <a:tabLst/>
            </a:pPr>
            <a:r>
              <a:rPr lang="en-US" dirty="0"/>
              <a:t>Click to insert presenter, location, and date</a:t>
            </a:r>
          </a:p>
        </p:txBody>
      </p:sp>
      <p:sp>
        <p:nvSpPr>
          <p:cNvPr id="7" name="Text Placeholder 4">
            <a:extLst>
              <a:ext uri="{FF2B5EF4-FFF2-40B4-BE49-F238E27FC236}">
                <a16:creationId xmlns:a16="http://schemas.microsoft.com/office/drawing/2014/main" id="{1F3E939C-08F0-4EF6-9BF9-099A86FAC769}"/>
              </a:ext>
            </a:extLst>
          </p:cNvPr>
          <p:cNvSpPr>
            <a:spLocks noGrp="1"/>
          </p:cNvSpPr>
          <p:nvPr>
            <p:ph type="body" sz="quarter" idx="11" hasCustomPrompt="1"/>
          </p:nvPr>
        </p:nvSpPr>
        <p:spPr>
          <a:xfrm>
            <a:off x="958084" y="3979863"/>
            <a:ext cx="6234859" cy="1295400"/>
          </a:xfrm>
          <a:prstGeom prst="rect">
            <a:avLst/>
          </a:prstGeom>
        </p:spPr>
        <p:txBody>
          <a:bodyPr lIns="0" rIns="0" anchor="b" anchorCtr="0"/>
          <a:lstStyle>
            <a:lvl1pPr>
              <a:lnSpc>
                <a:spcPct val="100000"/>
              </a:lnSpc>
              <a:spcBef>
                <a:spcPts val="0"/>
              </a:spcBef>
              <a:defRPr sz="3000" cap="all" spc="800" baseline="0">
                <a:solidFill>
                  <a:schemeClr val="bg1"/>
                </a:solidFill>
              </a:defRPr>
            </a:lvl1pPr>
          </a:lstStyle>
          <a:p>
            <a:pPr lvl="0"/>
            <a:r>
              <a:rPr lang="en-US" dirty="0"/>
              <a:t>CLICK TO INSERT TITLE</a:t>
            </a:r>
          </a:p>
        </p:txBody>
      </p:sp>
      <p:grpSp>
        <p:nvGrpSpPr>
          <p:cNvPr id="24" name="Graphic 4">
            <a:extLst>
              <a:ext uri="{FF2B5EF4-FFF2-40B4-BE49-F238E27FC236}">
                <a16:creationId xmlns:a16="http://schemas.microsoft.com/office/drawing/2014/main" id="{2866234A-554F-4BBB-A5CF-58DAAC7A7927}"/>
              </a:ext>
            </a:extLst>
          </p:cNvPr>
          <p:cNvGrpSpPr/>
          <p:nvPr userDrawn="1"/>
        </p:nvGrpSpPr>
        <p:grpSpPr>
          <a:xfrm>
            <a:off x="7220072" y="486661"/>
            <a:ext cx="4446326" cy="682687"/>
            <a:chOff x="3176111" y="1257136"/>
            <a:chExt cx="5719756" cy="878207"/>
          </a:xfrm>
        </p:grpSpPr>
        <p:sp>
          <p:nvSpPr>
            <p:cNvPr id="25" name="Freeform: Shape 24">
              <a:extLst>
                <a:ext uri="{FF2B5EF4-FFF2-40B4-BE49-F238E27FC236}">
                  <a16:creationId xmlns:a16="http://schemas.microsoft.com/office/drawing/2014/main" id="{48A48368-23F7-435B-9C36-2DB5837D88E6}"/>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26" name="Freeform: Shape 25">
              <a:extLst>
                <a:ext uri="{FF2B5EF4-FFF2-40B4-BE49-F238E27FC236}">
                  <a16:creationId xmlns:a16="http://schemas.microsoft.com/office/drawing/2014/main" id="{EF823941-B648-418E-B46F-23726D3EC4CE}"/>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27" name="Freeform: Shape 26">
              <a:extLst>
                <a:ext uri="{FF2B5EF4-FFF2-40B4-BE49-F238E27FC236}">
                  <a16:creationId xmlns:a16="http://schemas.microsoft.com/office/drawing/2014/main" id="{F0DDDCC1-860C-4945-8B70-CB8FE5BAA464}"/>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28" name="Freeform: Shape 27">
              <a:extLst>
                <a:ext uri="{FF2B5EF4-FFF2-40B4-BE49-F238E27FC236}">
                  <a16:creationId xmlns:a16="http://schemas.microsoft.com/office/drawing/2014/main" id="{C087AF91-C341-4CEE-9EEF-42CD356BCA8B}"/>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29" name="Freeform: Shape 28">
              <a:extLst>
                <a:ext uri="{FF2B5EF4-FFF2-40B4-BE49-F238E27FC236}">
                  <a16:creationId xmlns:a16="http://schemas.microsoft.com/office/drawing/2014/main" id="{0FFAD3AB-1B8D-4DCE-8040-514FBE18CCF8}"/>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30" name="Freeform: Shape 29">
              <a:extLst>
                <a:ext uri="{FF2B5EF4-FFF2-40B4-BE49-F238E27FC236}">
                  <a16:creationId xmlns:a16="http://schemas.microsoft.com/office/drawing/2014/main" id="{FB5A9034-EBBB-4FEA-9CF9-86A220F932DC}"/>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31" name="Freeform: Shape 30">
              <a:extLst>
                <a:ext uri="{FF2B5EF4-FFF2-40B4-BE49-F238E27FC236}">
                  <a16:creationId xmlns:a16="http://schemas.microsoft.com/office/drawing/2014/main" id="{5C7C0D9E-8588-453F-A5CF-C2800171BD3E}"/>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32" name="Freeform: Shape 31">
              <a:extLst>
                <a:ext uri="{FF2B5EF4-FFF2-40B4-BE49-F238E27FC236}">
                  <a16:creationId xmlns:a16="http://schemas.microsoft.com/office/drawing/2014/main" id="{38D15F60-3C20-437A-AC32-E3F31953F8D2}"/>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33" name="Freeform: Shape 32">
              <a:extLst>
                <a:ext uri="{FF2B5EF4-FFF2-40B4-BE49-F238E27FC236}">
                  <a16:creationId xmlns:a16="http://schemas.microsoft.com/office/drawing/2014/main" id="{09E32212-A802-47EC-A9CF-ADC9656D0885}"/>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34" name="Freeform: Shape 33">
              <a:extLst>
                <a:ext uri="{FF2B5EF4-FFF2-40B4-BE49-F238E27FC236}">
                  <a16:creationId xmlns:a16="http://schemas.microsoft.com/office/drawing/2014/main" id="{420F68B9-AD51-4ED7-8602-A5B10D62DCFB}"/>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35" name="Freeform: Shape 34">
              <a:extLst>
                <a:ext uri="{FF2B5EF4-FFF2-40B4-BE49-F238E27FC236}">
                  <a16:creationId xmlns:a16="http://schemas.microsoft.com/office/drawing/2014/main" id="{918D92F8-44A3-4D30-AA4B-735DA73F2CE6}"/>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36" name="Freeform: Shape 35">
              <a:extLst>
                <a:ext uri="{FF2B5EF4-FFF2-40B4-BE49-F238E27FC236}">
                  <a16:creationId xmlns:a16="http://schemas.microsoft.com/office/drawing/2014/main" id="{DC992723-DD27-4C2D-B33E-BA86F4AD2894}"/>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605359429"/>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re seul">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C19934-9ABB-4798-9018-28E3FFBEC07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17C19934-9ABB-4798-9018-28E3FFBEC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32B6BB-7B1D-4110-968D-DC63370CB739}"/>
              </a:ext>
            </a:extLst>
          </p:cNvPr>
          <p:cNvSpPr/>
          <p:nvPr userDrawn="1">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3" name="Rectangle 2">
            <a:extLst>
              <a:ext uri="{FF2B5EF4-FFF2-40B4-BE49-F238E27FC236}">
                <a16:creationId xmlns:a16="http://schemas.microsoft.com/office/drawing/2014/main" id="{2D5B34BB-1992-4B44-A595-77386543451E}"/>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e 1">
            <a:extLst>
              <a:ext uri="{FF2B5EF4-FFF2-40B4-BE49-F238E27FC236}">
                <a16:creationId xmlns:a16="http://schemas.microsoft.com/office/drawing/2014/main" id="{BD253023-E874-4939-9941-B04B48BBB28B}"/>
              </a:ext>
            </a:extLst>
          </p:cNvPr>
          <p:cNvGrpSpPr/>
          <p:nvPr userDrawn="1"/>
        </p:nvGrpSpPr>
        <p:grpSpPr>
          <a:xfrm>
            <a:off x="11501102" y="171573"/>
            <a:ext cx="419436" cy="388988"/>
            <a:chOff x="11501102" y="171573"/>
            <a:chExt cx="419436" cy="388988"/>
          </a:xfrm>
        </p:grpSpPr>
        <p:sp>
          <p:nvSpPr>
            <p:cNvPr id="9" name="Freeform 13">
              <a:extLst>
                <a:ext uri="{FF2B5EF4-FFF2-40B4-BE49-F238E27FC236}">
                  <a16:creationId xmlns:a16="http://schemas.microsoft.com/office/drawing/2014/main" id="{A056E45F-8FDB-45F9-A83B-C8AC833B1F74}"/>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4">
              <a:extLst>
                <a:ext uri="{FF2B5EF4-FFF2-40B4-BE49-F238E27FC236}">
                  <a16:creationId xmlns:a16="http://schemas.microsoft.com/office/drawing/2014/main" id="{AFE481B4-0A2D-4647-9456-87056E856D32}"/>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 name="Title 3">
            <a:extLst>
              <a:ext uri="{FF2B5EF4-FFF2-40B4-BE49-F238E27FC236}">
                <a16:creationId xmlns:a16="http://schemas.microsoft.com/office/drawing/2014/main" id="{240D4478-625C-45B3-9909-94DD7D96B26F}"/>
              </a:ext>
            </a:extLst>
          </p:cNvPr>
          <p:cNvSpPr>
            <a:spLocks noGrp="1"/>
          </p:cNvSpPr>
          <p:nvPr>
            <p:ph type="title"/>
          </p:nvPr>
        </p:nvSpPr>
        <p:spPr>
          <a:xfrm>
            <a:off x="550863" y="6907"/>
            <a:ext cx="5545137" cy="1127300"/>
          </a:xfrm>
        </p:spPr>
        <p:txBody>
          <a:bodyPr/>
          <a:lstStyle/>
          <a:p>
            <a:r>
              <a:rPr lang="en-US"/>
              <a:t>Click to edit Master title style</a:t>
            </a:r>
            <a:endParaRPr lang="de-DE"/>
          </a:p>
        </p:txBody>
      </p:sp>
      <p:sp>
        <p:nvSpPr>
          <p:cNvPr id="12" name="Footer Placeholder 9">
            <a:extLst>
              <a:ext uri="{FF2B5EF4-FFF2-40B4-BE49-F238E27FC236}">
                <a16:creationId xmlns:a16="http://schemas.microsoft.com/office/drawing/2014/main" id="{411E9763-16C5-4534-A5FE-7190B2E9CCC2}"/>
              </a:ext>
            </a:extLst>
          </p:cNvPr>
          <p:cNvSpPr>
            <a:spLocks noGrp="1"/>
          </p:cNvSpPr>
          <p:nvPr>
            <p:ph type="ftr" sz="quarter" idx="3"/>
          </p:nvPr>
        </p:nvSpPr>
        <p:spPr>
          <a:xfrm>
            <a:off x="299326"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dirty="0"/>
              <a:t>Customer engagement | Capgemini Invent</a:t>
            </a:r>
          </a:p>
        </p:txBody>
      </p:sp>
      <p:sp>
        <p:nvSpPr>
          <p:cNvPr id="16" name="Date Placeholder 34">
            <a:extLst>
              <a:ext uri="{FF2B5EF4-FFF2-40B4-BE49-F238E27FC236}">
                <a16:creationId xmlns:a16="http://schemas.microsoft.com/office/drawing/2014/main" id="{FFCB487E-85F0-41A1-A0CB-63EC9EAFD54F}"/>
              </a:ext>
            </a:extLst>
          </p:cNvPr>
          <p:cNvSpPr>
            <a:spLocks noGrp="1"/>
          </p:cNvSpPr>
          <p:nvPr>
            <p:ph type="dt" sz="half" idx="2"/>
          </p:nvPr>
        </p:nvSpPr>
        <p:spPr>
          <a:xfrm>
            <a:off x="8934673" y="6650661"/>
            <a:ext cx="2664297" cy="123111"/>
          </a:xfrm>
          <a:prstGeom prst="rect">
            <a:avLst/>
          </a:prstGeom>
        </p:spPr>
        <p:txBody>
          <a:bodyPr lIns="0" tIns="0" rIns="0" bIns="0" anchor="ctr" anchorCtr="0">
            <a:noAutofit/>
          </a:bodyPr>
          <a:lstStyle>
            <a:lvl1pPr>
              <a:defRPr lang="de-DE" sz="800" smtClean="0">
                <a:solidFill>
                  <a:schemeClr val="bg1">
                    <a:lumMod val="65000"/>
                  </a:schemeClr>
                </a:solidFill>
              </a:defRPr>
            </a:lvl1pPr>
          </a:lstStyle>
          <a:p>
            <a:pPr algn="r">
              <a:spcBef>
                <a:spcPts val="1000"/>
              </a:spcBef>
              <a:buFont typeface="Arial" panose="020B0604020202020204" pitchFamily="34" charset="0"/>
              <a:buNone/>
            </a:pPr>
            <a:r>
              <a:rPr lang="nl-BE"/>
              <a:t>© Capgemini Invent 2019. All rights reserved.</a:t>
            </a:r>
            <a:endParaRPr lang="en-US" dirty="0"/>
          </a:p>
        </p:txBody>
      </p:sp>
      <p:cxnSp>
        <p:nvCxnSpPr>
          <p:cNvPr id="17" name="Straight Connector 16">
            <a:extLst>
              <a:ext uri="{FF2B5EF4-FFF2-40B4-BE49-F238E27FC236}">
                <a16:creationId xmlns:a16="http://schemas.microsoft.com/office/drawing/2014/main" id="{D4A07BDF-9F14-49E8-9E45-EF34994CC51A}"/>
              </a:ext>
            </a:extLst>
          </p:cNvPr>
          <p:cNvCxnSpPr/>
          <p:nvPr userDrawn="1"/>
        </p:nvCxnSpPr>
        <p:spPr>
          <a:xfrm>
            <a:off x="11647152" y="6668075"/>
            <a:ext cx="0" cy="972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Slide Number Placeholder 37">
            <a:extLst>
              <a:ext uri="{FF2B5EF4-FFF2-40B4-BE49-F238E27FC236}">
                <a16:creationId xmlns:a16="http://schemas.microsoft.com/office/drawing/2014/main" id="{077FFCD7-E850-4A44-866B-03033490FD65}"/>
              </a:ext>
            </a:extLst>
          </p:cNvPr>
          <p:cNvSpPr>
            <a:spLocks noGrp="1"/>
          </p:cNvSpPr>
          <p:nvPr>
            <p:ph type="sldNum" sz="quarter" idx="4"/>
          </p:nvPr>
        </p:nvSpPr>
        <p:spPr>
          <a:xfrm>
            <a:off x="11695335"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cs typeface="Arial" panose="020B0604020202020204" pitchFamily="34" charset="0"/>
              </a:defRPr>
            </a:lvl1pPr>
          </a:lstStyle>
          <a:p>
            <a:pPr algn="r"/>
            <a:fld id="{5D9A5160-6218-4E5A-B9E6-B93E3DAE377C}" type="slidenum">
              <a:rPr lang="en-US" smtClean="0"/>
              <a:pPr algn="r"/>
              <a:t>‹#›</a:t>
            </a:fld>
            <a:endParaRPr lang="en-US" dirty="0"/>
          </a:p>
        </p:txBody>
      </p:sp>
    </p:spTree>
    <p:extLst>
      <p:ext uri="{BB962C8B-B14F-4D97-AF65-F5344CB8AC3E}">
        <p14:creationId xmlns:p14="http://schemas.microsoft.com/office/powerpoint/2010/main" val="39153084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oiler Plate 1">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FE82C-947F-4010-9F2B-F2101479F6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6549"/>
          <a:stretch/>
        </p:blipFill>
        <p:spPr>
          <a:xfrm rot="10800000">
            <a:off x="0" y="-2176"/>
            <a:ext cx="12192000" cy="6889672"/>
          </a:xfrm>
          <a:prstGeom prst="rect">
            <a:avLst/>
          </a:prstGeom>
        </p:spPr>
      </p:pic>
      <p:sp>
        <p:nvSpPr>
          <p:cNvPr id="16" name="Rectangle 15">
            <a:extLst>
              <a:ext uri="{FF2B5EF4-FFF2-40B4-BE49-F238E27FC236}">
                <a16:creationId xmlns:a16="http://schemas.microsoft.com/office/drawing/2014/main" id="{9D493959-D479-46CF-9B88-C99644F86C11}"/>
              </a:ext>
            </a:extLst>
          </p:cNvPr>
          <p:cNvSpPr/>
          <p:nvPr userDrawn="1"/>
        </p:nvSpPr>
        <p:spPr>
          <a:xfrm>
            <a:off x="6130635" y="3650823"/>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baseline="0" dirty="0">
                <a:solidFill>
                  <a:schemeClr val="bg1"/>
                </a:solidFill>
                <a:latin typeface="+mj-lt"/>
              </a:rPr>
              <a:t>ABOUT CAPGEMINI INVENT</a:t>
            </a:r>
          </a:p>
        </p:txBody>
      </p:sp>
      <p:pic>
        <p:nvPicPr>
          <p:cNvPr id="18" name="Picture 2" descr="D:\My Work\Template\Icons\Social Media\LinkedIN.png">
            <a:hlinkClick r:id="rId3"/>
            <a:extLst>
              <a:ext uri="{FF2B5EF4-FFF2-40B4-BE49-F238E27FC236}">
                <a16:creationId xmlns:a16="http://schemas.microsoft.com/office/drawing/2014/main" id="{0DD1957E-41EA-4B6A-AB35-8240577CD899}"/>
              </a:ext>
            </a:extLst>
          </p:cNvPr>
          <p:cNvPicPr>
            <a:picLocks noChangeAspect="1" noChangeArrowheads="1"/>
          </p:cNvPicPr>
          <p:nvPr userDrawn="1"/>
        </p:nvPicPr>
        <p:blipFill>
          <a:blip r:embed="rId4" cstate="print"/>
          <a:srcRect/>
          <a:stretch>
            <a:fillRect/>
          </a:stretch>
        </p:blipFill>
        <p:spPr bwMode="auto">
          <a:xfrm>
            <a:off x="810097" y="4976083"/>
            <a:ext cx="333195" cy="333195"/>
          </a:xfrm>
          <a:prstGeom prst="rect">
            <a:avLst/>
          </a:prstGeom>
          <a:noFill/>
        </p:spPr>
      </p:pic>
      <p:pic>
        <p:nvPicPr>
          <p:cNvPr id="19" name="Picture 4" descr="D:\My Work\Template\Icons\Social Media\SlideShare.png">
            <a:hlinkClick r:id="rId5"/>
            <a:extLst>
              <a:ext uri="{FF2B5EF4-FFF2-40B4-BE49-F238E27FC236}">
                <a16:creationId xmlns:a16="http://schemas.microsoft.com/office/drawing/2014/main" id="{DDC91DD4-D921-4F72-A154-DD386349C5CC}"/>
              </a:ext>
            </a:extLst>
          </p:cNvPr>
          <p:cNvPicPr>
            <a:picLocks noChangeAspect="1" noChangeArrowheads="1"/>
          </p:cNvPicPr>
          <p:nvPr userDrawn="1"/>
        </p:nvPicPr>
        <p:blipFill>
          <a:blip r:embed="rId6" cstate="print"/>
          <a:srcRect/>
          <a:stretch>
            <a:fillRect/>
          </a:stretch>
        </p:blipFill>
        <p:spPr bwMode="auto">
          <a:xfrm>
            <a:off x="1193474" y="4976083"/>
            <a:ext cx="333195" cy="333195"/>
          </a:xfrm>
          <a:prstGeom prst="rect">
            <a:avLst/>
          </a:prstGeom>
          <a:noFill/>
        </p:spPr>
      </p:pic>
      <p:pic>
        <p:nvPicPr>
          <p:cNvPr id="21" name="Picture 5" descr="D:\My Work\Template\Icons\Social Media\Twitter.png">
            <a:hlinkClick r:id="rId7"/>
            <a:extLst>
              <a:ext uri="{FF2B5EF4-FFF2-40B4-BE49-F238E27FC236}">
                <a16:creationId xmlns:a16="http://schemas.microsoft.com/office/drawing/2014/main" id="{50D41579-B18F-457F-A8A5-AF2C2B0526A1}"/>
              </a:ext>
            </a:extLst>
          </p:cNvPr>
          <p:cNvPicPr>
            <a:picLocks noChangeAspect="1" noChangeArrowheads="1"/>
          </p:cNvPicPr>
          <p:nvPr userDrawn="1"/>
        </p:nvPicPr>
        <p:blipFill>
          <a:blip r:embed="rId8" cstate="print"/>
          <a:srcRect/>
          <a:stretch>
            <a:fillRect/>
          </a:stretch>
        </p:blipFill>
        <p:spPr bwMode="auto">
          <a:xfrm>
            <a:off x="1576851" y="4976083"/>
            <a:ext cx="333195" cy="333195"/>
          </a:xfrm>
          <a:prstGeom prst="rect">
            <a:avLst/>
          </a:prstGeom>
          <a:noFill/>
        </p:spPr>
      </p:pic>
      <p:pic>
        <p:nvPicPr>
          <p:cNvPr id="22" name="Picture 6" descr="D:\My Work\Template\Icons\Social Media\YouTube.png">
            <a:hlinkClick r:id="rId9"/>
            <a:extLst>
              <a:ext uri="{FF2B5EF4-FFF2-40B4-BE49-F238E27FC236}">
                <a16:creationId xmlns:a16="http://schemas.microsoft.com/office/drawing/2014/main" id="{53D4D78A-A7BD-4D62-B3A3-27E461667E06}"/>
              </a:ext>
            </a:extLst>
          </p:cNvPr>
          <p:cNvPicPr>
            <a:picLocks noChangeAspect="1" noChangeArrowheads="1"/>
          </p:cNvPicPr>
          <p:nvPr userDrawn="1"/>
        </p:nvPicPr>
        <p:blipFill>
          <a:blip r:embed="rId10" cstate="print"/>
          <a:srcRect/>
          <a:stretch>
            <a:fillRect/>
          </a:stretch>
        </p:blipFill>
        <p:spPr bwMode="auto">
          <a:xfrm>
            <a:off x="1960227" y="4976083"/>
            <a:ext cx="333195" cy="333195"/>
          </a:xfrm>
          <a:prstGeom prst="rect">
            <a:avLst/>
          </a:prstGeom>
          <a:noFill/>
        </p:spPr>
      </p:pic>
      <p:pic>
        <p:nvPicPr>
          <p:cNvPr id="23" name="Picture 7" descr="D:\My Work\Template\Icons\Social Media\Facebook.png">
            <a:hlinkClick r:id="rId11"/>
            <a:extLst>
              <a:ext uri="{FF2B5EF4-FFF2-40B4-BE49-F238E27FC236}">
                <a16:creationId xmlns:a16="http://schemas.microsoft.com/office/drawing/2014/main" id="{17B8AAE7-3107-482A-9615-7D3E05FB31D2}"/>
              </a:ext>
            </a:extLst>
          </p:cNvPr>
          <p:cNvPicPr>
            <a:picLocks noChangeAspect="1" noChangeArrowheads="1"/>
          </p:cNvPicPr>
          <p:nvPr userDrawn="1"/>
        </p:nvPicPr>
        <p:blipFill>
          <a:blip r:embed="rId12" cstate="print"/>
          <a:srcRect/>
          <a:stretch>
            <a:fillRect/>
          </a:stretch>
        </p:blipFill>
        <p:spPr bwMode="auto">
          <a:xfrm>
            <a:off x="426720" y="4976083"/>
            <a:ext cx="333195" cy="333195"/>
          </a:xfrm>
          <a:prstGeom prst="rect">
            <a:avLst/>
          </a:prstGeom>
          <a:noFill/>
        </p:spPr>
      </p:pic>
      <p:sp>
        <p:nvSpPr>
          <p:cNvPr id="24" name="Rectangle 23">
            <a:extLst>
              <a:ext uri="{FF2B5EF4-FFF2-40B4-BE49-F238E27FC236}">
                <a16:creationId xmlns:a16="http://schemas.microsoft.com/office/drawing/2014/main" id="{EA726FF3-09C6-4BE1-9DED-F22520BC1884}"/>
              </a:ext>
            </a:extLst>
          </p:cNvPr>
          <p:cNvSpPr/>
          <p:nvPr userDrawn="1"/>
        </p:nvSpPr>
        <p:spPr>
          <a:xfrm>
            <a:off x="426720" y="5969227"/>
            <a:ext cx="3465612" cy="246221"/>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presentation contains information that may be privileged or confidential and is the property of the Capgemini Group.</a:t>
            </a:r>
          </a:p>
        </p:txBody>
      </p:sp>
      <p:sp>
        <p:nvSpPr>
          <p:cNvPr id="25" name="Rectangle 24">
            <a:hlinkClick r:id="rId13"/>
            <a:extLst>
              <a:ext uri="{FF2B5EF4-FFF2-40B4-BE49-F238E27FC236}">
                <a16:creationId xmlns:a16="http://schemas.microsoft.com/office/drawing/2014/main" id="{9F81E28A-4FC1-4C3D-8EEF-F0B729859246}"/>
              </a:ext>
            </a:extLst>
          </p:cNvPr>
          <p:cNvSpPr/>
          <p:nvPr userDrawn="1"/>
        </p:nvSpPr>
        <p:spPr>
          <a:xfrm>
            <a:off x="6333489" y="5821999"/>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latin typeface="+mj-lt"/>
            </a:endParaRPr>
          </a:p>
        </p:txBody>
      </p:sp>
      <p:grpSp>
        <p:nvGrpSpPr>
          <p:cNvPr id="26" name="Groupe 26">
            <a:extLst>
              <a:ext uri="{FF2B5EF4-FFF2-40B4-BE49-F238E27FC236}">
                <a16:creationId xmlns:a16="http://schemas.microsoft.com/office/drawing/2014/main" id="{9A7ABA97-C3D4-4777-B23E-FE59B08CBBA0}"/>
              </a:ext>
            </a:extLst>
          </p:cNvPr>
          <p:cNvGrpSpPr>
            <a:grpSpLocks noChangeAspect="1"/>
          </p:cNvGrpSpPr>
          <p:nvPr userDrawn="1"/>
        </p:nvGrpSpPr>
        <p:grpSpPr>
          <a:xfrm>
            <a:off x="444000" y="5468639"/>
            <a:ext cx="2340000" cy="181186"/>
            <a:chOff x="401412" y="4886021"/>
            <a:chExt cx="7483476" cy="579438"/>
          </a:xfrm>
          <a:solidFill>
            <a:schemeClr val="bg1"/>
          </a:solidFill>
        </p:grpSpPr>
        <p:sp>
          <p:nvSpPr>
            <p:cNvPr id="27" name="Freeform 5">
              <a:extLst>
                <a:ext uri="{FF2B5EF4-FFF2-40B4-BE49-F238E27FC236}">
                  <a16:creationId xmlns:a16="http://schemas.microsoft.com/office/drawing/2014/main" id="{5A208038-09A9-451C-88FE-F6CCA65DA5C4}"/>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8" name="Freeform 6">
              <a:extLst>
                <a:ext uri="{FF2B5EF4-FFF2-40B4-BE49-F238E27FC236}">
                  <a16:creationId xmlns:a16="http://schemas.microsoft.com/office/drawing/2014/main" id="{1FE5D02E-DF0E-4563-A14A-01167876039D}"/>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29" name="Freeform 7">
              <a:extLst>
                <a:ext uri="{FF2B5EF4-FFF2-40B4-BE49-F238E27FC236}">
                  <a16:creationId xmlns:a16="http://schemas.microsoft.com/office/drawing/2014/main" id="{E87745CD-1FEA-4787-853E-B3F92946D114}"/>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0" name="Freeform 8">
              <a:extLst>
                <a:ext uri="{FF2B5EF4-FFF2-40B4-BE49-F238E27FC236}">
                  <a16:creationId xmlns:a16="http://schemas.microsoft.com/office/drawing/2014/main" id="{736BE8F4-4385-41DC-891E-4C7A0CB2F177}"/>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1" name="Freeform 9">
              <a:extLst>
                <a:ext uri="{FF2B5EF4-FFF2-40B4-BE49-F238E27FC236}">
                  <a16:creationId xmlns:a16="http://schemas.microsoft.com/office/drawing/2014/main" id="{F61E42E2-4849-4296-AD4C-9F7E6208C913}"/>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2" name="Freeform 10">
              <a:extLst>
                <a:ext uri="{FF2B5EF4-FFF2-40B4-BE49-F238E27FC236}">
                  <a16:creationId xmlns:a16="http://schemas.microsoft.com/office/drawing/2014/main" id="{90999C1F-E9A1-4857-94A7-BE92F2D5B14A}"/>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3" name="Freeform 11">
              <a:extLst>
                <a:ext uri="{FF2B5EF4-FFF2-40B4-BE49-F238E27FC236}">
                  <a16:creationId xmlns:a16="http://schemas.microsoft.com/office/drawing/2014/main" id="{55510841-B679-4200-BD83-157497D64970}"/>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4" name="Freeform 12">
              <a:extLst>
                <a:ext uri="{FF2B5EF4-FFF2-40B4-BE49-F238E27FC236}">
                  <a16:creationId xmlns:a16="http://schemas.microsoft.com/office/drawing/2014/main" id="{333909EC-AA30-49D2-B39E-0474767BA1C3}"/>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5" name="Freeform 13">
              <a:extLst>
                <a:ext uri="{FF2B5EF4-FFF2-40B4-BE49-F238E27FC236}">
                  <a16:creationId xmlns:a16="http://schemas.microsoft.com/office/drawing/2014/main" id="{1113DFDA-E0B1-47E5-8DE6-79A15DDC5AF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6" name="Freeform 14">
              <a:extLst>
                <a:ext uri="{FF2B5EF4-FFF2-40B4-BE49-F238E27FC236}">
                  <a16:creationId xmlns:a16="http://schemas.microsoft.com/office/drawing/2014/main" id="{DFF7EBE7-46DF-420A-977A-B72CB279640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7" name="Freeform 15">
              <a:extLst>
                <a:ext uri="{FF2B5EF4-FFF2-40B4-BE49-F238E27FC236}">
                  <a16:creationId xmlns:a16="http://schemas.microsoft.com/office/drawing/2014/main" id="{F7108A62-9DDD-43B8-AA5B-E17F6010FA10}"/>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8" name="Freeform 16">
              <a:extLst>
                <a:ext uri="{FF2B5EF4-FFF2-40B4-BE49-F238E27FC236}">
                  <a16:creationId xmlns:a16="http://schemas.microsoft.com/office/drawing/2014/main" id="{345C6F0D-0CE1-48FC-8770-F292F203232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39" name="Freeform 17">
              <a:extLst>
                <a:ext uri="{FF2B5EF4-FFF2-40B4-BE49-F238E27FC236}">
                  <a16:creationId xmlns:a16="http://schemas.microsoft.com/office/drawing/2014/main" id="{A59DA117-A374-4644-BC04-888AFAC54E66}"/>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0" name="Freeform 18">
              <a:extLst>
                <a:ext uri="{FF2B5EF4-FFF2-40B4-BE49-F238E27FC236}">
                  <a16:creationId xmlns:a16="http://schemas.microsoft.com/office/drawing/2014/main" id="{EF74D334-9926-443B-8D36-5E68913EDC9A}"/>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1" name="Freeform 19">
              <a:extLst>
                <a:ext uri="{FF2B5EF4-FFF2-40B4-BE49-F238E27FC236}">
                  <a16:creationId xmlns:a16="http://schemas.microsoft.com/office/drawing/2014/main" id="{313A94D4-14DD-4111-B098-613DD350F6F0}"/>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2" name="Freeform 20">
              <a:extLst>
                <a:ext uri="{FF2B5EF4-FFF2-40B4-BE49-F238E27FC236}">
                  <a16:creationId xmlns:a16="http://schemas.microsoft.com/office/drawing/2014/main" id="{25E6B7CD-3505-4929-827A-066E4FC0A26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3" name="Freeform 21">
              <a:extLst>
                <a:ext uri="{FF2B5EF4-FFF2-40B4-BE49-F238E27FC236}">
                  <a16:creationId xmlns:a16="http://schemas.microsoft.com/office/drawing/2014/main" id="{BB0673E4-9C2A-495A-9B24-42ACDAA07D1E}"/>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4" name="Freeform 22">
              <a:extLst>
                <a:ext uri="{FF2B5EF4-FFF2-40B4-BE49-F238E27FC236}">
                  <a16:creationId xmlns:a16="http://schemas.microsoft.com/office/drawing/2014/main" id="{7BACE70A-F6C3-4350-A63E-239D9587D764}"/>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5" name="Freeform 23">
              <a:extLst>
                <a:ext uri="{FF2B5EF4-FFF2-40B4-BE49-F238E27FC236}">
                  <a16:creationId xmlns:a16="http://schemas.microsoft.com/office/drawing/2014/main" id="{BA945C11-EE8D-4A32-8347-B8FFB8F2F10E}"/>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6" name="Freeform 24">
              <a:extLst>
                <a:ext uri="{FF2B5EF4-FFF2-40B4-BE49-F238E27FC236}">
                  <a16:creationId xmlns:a16="http://schemas.microsoft.com/office/drawing/2014/main" id="{DB8701A0-F0F7-4D6B-B79A-2F60F01BEC92}"/>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7" name="Freeform 25">
              <a:extLst>
                <a:ext uri="{FF2B5EF4-FFF2-40B4-BE49-F238E27FC236}">
                  <a16:creationId xmlns:a16="http://schemas.microsoft.com/office/drawing/2014/main" id="{6A5E9F5E-8D3C-4355-B793-3B4BF49E24CC}"/>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8" name="Freeform 26">
              <a:extLst>
                <a:ext uri="{FF2B5EF4-FFF2-40B4-BE49-F238E27FC236}">
                  <a16:creationId xmlns:a16="http://schemas.microsoft.com/office/drawing/2014/main" id="{34B851D5-2E68-4505-9B8C-3D6521CB7186}"/>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49" name="Freeform 27">
              <a:extLst>
                <a:ext uri="{FF2B5EF4-FFF2-40B4-BE49-F238E27FC236}">
                  <a16:creationId xmlns:a16="http://schemas.microsoft.com/office/drawing/2014/main" id="{A5043529-B5D2-4082-80C6-2BBCBF3B2172}"/>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0" name="Freeform 28">
              <a:extLst>
                <a:ext uri="{FF2B5EF4-FFF2-40B4-BE49-F238E27FC236}">
                  <a16:creationId xmlns:a16="http://schemas.microsoft.com/office/drawing/2014/main" id="{5EE8F553-B800-40BB-AAD8-6B44CEB10929}"/>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1" name="Freeform 29">
              <a:extLst>
                <a:ext uri="{FF2B5EF4-FFF2-40B4-BE49-F238E27FC236}">
                  <a16:creationId xmlns:a16="http://schemas.microsoft.com/office/drawing/2014/main" id="{A504CBB8-2109-4DD4-BA71-EF173341A56A}"/>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sp>
          <p:nvSpPr>
            <p:cNvPr id="52" name="Freeform 30">
              <a:extLst>
                <a:ext uri="{FF2B5EF4-FFF2-40B4-BE49-F238E27FC236}">
                  <a16:creationId xmlns:a16="http://schemas.microsoft.com/office/drawing/2014/main" id="{8D20F235-BF4A-4E34-986F-0A130CB48908}"/>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j-lt"/>
              </a:endParaRPr>
            </a:p>
          </p:txBody>
        </p:sp>
      </p:grpSp>
      <p:sp>
        <p:nvSpPr>
          <p:cNvPr id="55" name="Rectangle 54">
            <a:extLst>
              <a:ext uri="{FF2B5EF4-FFF2-40B4-BE49-F238E27FC236}">
                <a16:creationId xmlns:a16="http://schemas.microsoft.com/office/drawing/2014/main" id="{ECB19421-3B10-499C-A823-B62CB9DADE28}"/>
              </a:ext>
            </a:extLst>
          </p:cNvPr>
          <p:cNvSpPr/>
          <p:nvPr userDrawn="1"/>
        </p:nvSpPr>
        <p:spPr>
          <a:xfrm>
            <a:off x="6124673" y="4009306"/>
            <a:ext cx="4899531" cy="27139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consulting and transformation brand of the Capgemini Group, Capgemini Invent helps </a:t>
            </a:r>
            <a:r>
              <a:rPr lang="en-US" sz="900" kern="1200" dirty="0" err="1">
                <a:solidFill>
                  <a:schemeClr val="lt1"/>
                </a:solidFill>
                <a:effectLst/>
                <a:latin typeface="+mn-lt"/>
                <a:ea typeface="+mn-ea"/>
                <a:cs typeface="+mn-cs"/>
              </a:rPr>
              <a:t>CxOs</a:t>
            </a:r>
            <a:r>
              <a:rPr lang="en-US" sz="900" kern="1200" dirty="0">
                <a:solidFill>
                  <a:schemeClr val="lt1"/>
                </a:solidFill>
                <a:effectLst/>
                <a:latin typeface="+mn-lt"/>
                <a:ea typeface="+mn-ea"/>
                <a:cs typeface="+mn-cs"/>
              </a:rPr>
              <a:t>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p>
          <a:p>
            <a:pPr algn="just"/>
            <a:r>
              <a:rPr lang="en-US" sz="900" kern="1200" dirty="0">
                <a:solidFill>
                  <a:schemeClr val="lt1"/>
                </a:solidFill>
                <a:effectLst/>
                <a:latin typeface="+mn-lt"/>
                <a:ea typeface="+mn-ea"/>
                <a:cs typeface="+mn-cs"/>
              </a:rPr>
              <a:t> </a:t>
            </a:r>
          </a:p>
          <a:p>
            <a:pPr algn="just"/>
            <a:r>
              <a:rPr lang="en-US" sz="900" kern="1200" dirty="0">
                <a:solidFill>
                  <a:schemeClr val="lt1"/>
                </a:solidFill>
                <a:effectLst/>
                <a:latin typeface="+mn-lt"/>
                <a:ea typeface="+mn-ea"/>
                <a:cs typeface="+mn-cs"/>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 </a:t>
            </a:r>
            <a:endParaRPr lang="en-US" sz="900" i="1" kern="1200" dirty="0">
              <a:solidFill>
                <a:schemeClr val="lt1"/>
              </a:solidFill>
              <a:effectLst/>
              <a:latin typeface="+mn-lt"/>
              <a:ea typeface="+mn-ea"/>
              <a:cs typeface="+mn-cs"/>
            </a:endParaRPr>
          </a:p>
          <a:p>
            <a:r>
              <a:rPr lang="en-GB" sz="900" kern="1200" dirty="0">
                <a:solidFill>
                  <a:schemeClr val="lt1"/>
                </a:solidFill>
                <a:effectLst/>
                <a:latin typeface="+mn-lt"/>
                <a:ea typeface="+mn-ea"/>
                <a:cs typeface="+mn-cs"/>
              </a:rPr>
              <a:t> </a:t>
            </a:r>
            <a:endParaRPr lang="fr-FR" sz="900" kern="1200" dirty="0">
              <a:solidFill>
                <a:schemeClr val="lt1"/>
              </a:solidFill>
              <a:effectLst/>
              <a:latin typeface="+mn-lt"/>
              <a:ea typeface="+mn-ea"/>
              <a:cs typeface="+mn-cs"/>
            </a:endParaRPr>
          </a:p>
          <a:p>
            <a:r>
              <a:rPr lang="en-US" sz="900" kern="1200" dirty="0">
                <a:solidFill>
                  <a:schemeClr val="lt1"/>
                </a:solidFill>
                <a:effectLst/>
                <a:latin typeface="+mn-lt"/>
                <a:ea typeface="+mn-ea"/>
                <a:cs typeface="+mn-cs"/>
              </a:rPr>
              <a:t>Visit us at </a:t>
            </a:r>
            <a:r>
              <a:rPr lang="en-US" sz="900" u="sng" kern="1200" dirty="0">
                <a:solidFill>
                  <a:schemeClr val="lt1"/>
                </a:solidFill>
                <a:effectLst/>
                <a:latin typeface="+mn-lt"/>
                <a:ea typeface="+mn-ea"/>
                <a:cs typeface="+mn-cs"/>
                <a:hlinkClick r:id="rId14"/>
              </a:rPr>
              <a:t>www.capgemini.com/invent</a:t>
            </a:r>
            <a:endParaRPr lang="en-US" sz="900" kern="1200" dirty="0">
              <a:solidFill>
                <a:schemeClr val="bg1"/>
              </a:solidFill>
              <a:effectLst/>
              <a:latin typeface="+mj-lt"/>
              <a:ea typeface="+mn-ea"/>
              <a:cs typeface="+mn-cs"/>
            </a:endParaRPr>
          </a:p>
        </p:txBody>
      </p:sp>
      <p:grpSp>
        <p:nvGrpSpPr>
          <p:cNvPr id="68" name="Graphic 4">
            <a:extLst>
              <a:ext uri="{FF2B5EF4-FFF2-40B4-BE49-F238E27FC236}">
                <a16:creationId xmlns:a16="http://schemas.microsoft.com/office/drawing/2014/main" id="{9C349E11-0553-4F07-9147-D67BC0882030}"/>
              </a:ext>
            </a:extLst>
          </p:cNvPr>
          <p:cNvGrpSpPr/>
          <p:nvPr userDrawn="1"/>
        </p:nvGrpSpPr>
        <p:grpSpPr>
          <a:xfrm>
            <a:off x="535833" y="486661"/>
            <a:ext cx="4446326" cy="682687"/>
            <a:chOff x="3176111" y="1257136"/>
            <a:chExt cx="5719756" cy="878207"/>
          </a:xfrm>
        </p:grpSpPr>
        <p:sp>
          <p:nvSpPr>
            <p:cNvPr id="69" name="Freeform: Shape 68">
              <a:extLst>
                <a:ext uri="{FF2B5EF4-FFF2-40B4-BE49-F238E27FC236}">
                  <a16:creationId xmlns:a16="http://schemas.microsoft.com/office/drawing/2014/main" id="{744C6E08-7763-4D03-91B7-76BDFDF7A36F}"/>
                </a:ext>
              </a:extLst>
            </p:cNvPr>
            <p:cNvSpPr/>
            <p:nvPr/>
          </p:nvSpPr>
          <p:spPr>
            <a:xfrm>
              <a:off x="8667268" y="1360960"/>
              <a:ext cx="228599" cy="485775"/>
            </a:xfrm>
            <a:custGeom>
              <a:avLst/>
              <a:gdLst>
                <a:gd name="connsiteX0" fmla="*/ 43339 w 228600"/>
                <a:gd name="connsiteY0" fmla="*/ 14764 h 485775"/>
                <a:gd name="connsiteX1" fmla="*/ 90011 w 228600"/>
                <a:gd name="connsiteY1" fmla="*/ 7144 h 485775"/>
                <a:gd name="connsiteX2" fmla="*/ 90011 w 228600"/>
                <a:gd name="connsiteY2" fmla="*/ 118586 h 485775"/>
                <a:gd name="connsiteX3" fmla="*/ 217646 w 228600"/>
                <a:gd name="connsiteY3" fmla="*/ 118586 h 485775"/>
                <a:gd name="connsiteX4" fmla="*/ 217646 w 228600"/>
                <a:gd name="connsiteY4" fmla="*/ 148114 h 485775"/>
                <a:gd name="connsiteX5" fmla="*/ 180499 w 228600"/>
                <a:gd name="connsiteY5" fmla="*/ 185261 h 485775"/>
                <a:gd name="connsiteX6" fmla="*/ 90011 w 228600"/>
                <a:gd name="connsiteY6" fmla="*/ 185261 h 485775"/>
                <a:gd name="connsiteX7" fmla="*/ 90011 w 228600"/>
                <a:gd name="connsiteY7" fmla="*/ 330994 h 485775"/>
                <a:gd name="connsiteX8" fmla="*/ 103346 w 228600"/>
                <a:gd name="connsiteY8" fmla="*/ 392906 h 485775"/>
                <a:gd name="connsiteX9" fmla="*/ 150019 w 228600"/>
                <a:gd name="connsiteY9" fmla="*/ 411004 h 485775"/>
                <a:gd name="connsiteX10" fmla="*/ 190024 w 228600"/>
                <a:gd name="connsiteY10" fmla="*/ 406241 h 485775"/>
                <a:gd name="connsiteX11" fmla="*/ 217646 w 228600"/>
                <a:gd name="connsiteY11" fmla="*/ 397669 h 485775"/>
                <a:gd name="connsiteX12" fmla="*/ 226219 w 228600"/>
                <a:gd name="connsiteY12" fmla="*/ 438626 h 485775"/>
                <a:gd name="connsiteX13" fmla="*/ 205264 w 228600"/>
                <a:gd name="connsiteY13" fmla="*/ 472916 h 485775"/>
                <a:gd name="connsiteX14" fmla="*/ 193834 w 228600"/>
                <a:gd name="connsiteY14" fmla="*/ 475774 h 485775"/>
                <a:gd name="connsiteX15" fmla="*/ 138589 w 228600"/>
                <a:gd name="connsiteY15" fmla="*/ 482441 h 485775"/>
                <a:gd name="connsiteX16" fmla="*/ 74771 w 228600"/>
                <a:gd name="connsiteY16" fmla="*/ 471964 h 485775"/>
                <a:gd name="connsiteX17" fmla="*/ 33814 w 228600"/>
                <a:gd name="connsiteY17" fmla="*/ 442436 h 485775"/>
                <a:gd name="connsiteX18" fmla="*/ 12859 w 228600"/>
                <a:gd name="connsiteY18" fmla="*/ 394811 h 485775"/>
                <a:gd name="connsiteX19" fmla="*/ 7144 w 228600"/>
                <a:gd name="connsiteY19" fmla="*/ 330994 h 485775"/>
                <a:gd name="connsiteX20" fmla="*/ 7144 w 228600"/>
                <a:gd name="connsiteY20" fmla="*/ 56674 h 485775"/>
                <a:gd name="connsiteX21" fmla="*/ 43339 w 228600"/>
                <a:gd name="connsiteY21" fmla="*/ 14764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600" h="485775">
                  <a:moveTo>
                    <a:pt x="43339" y="14764"/>
                  </a:moveTo>
                  <a:lnTo>
                    <a:pt x="90011" y="7144"/>
                  </a:lnTo>
                  <a:lnTo>
                    <a:pt x="90011" y="118586"/>
                  </a:lnTo>
                  <a:lnTo>
                    <a:pt x="217646" y="118586"/>
                  </a:lnTo>
                  <a:lnTo>
                    <a:pt x="217646" y="148114"/>
                  </a:lnTo>
                  <a:cubicBezTo>
                    <a:pt x="217646" y="168116"/>
                    <a:pt x="201453" y="185261"/>
                    <a:pt x="180499" y="185261"/>
                  </a:cubicBezTo>
                  <a:lnTo>
                    <a:pt x="90011" y="185261"/>
                  </a:lnTo>
                  <a:lnTo>
                    <a:pt x="90011" y="330994"/>
                  </a:lnTo>
                  <a:cubicBezTo>
                    <a:pt x="90011" y="359569"/>
                    <a:pt x="94774" y="380524"/>
                    <a:pt x="103346" y="392906"/>
                  </a:cubicBezTo>
                  <a:cubicBezTo>
                    <a:pt x="112871" y="405289"/>
                    <a:pt x="128111" y="411004"/>
                    <a:pt x="150019" y="411004"/>
                  </a:cubicBezTo>
                  <a:cubicBezTo>
                    <a:pt x="165259" y="411004"/>
                    <a:pt x="178594" y="409099"/>
                    <a:pt x="190024" y="406241"/>
                  </a:cubicBezTo>
                  <a:cubicBezTo>
                    <a:pt x="201453" y="403384"/>
                    <a:pt x="210978" y="400526"/>
                    <a:pt x="217646" y="397669"/>
                  </a:cubicBezTo>
                  <a:lnTo>
                    <a:pt x="226219" y="438626"/>
                  </a:lnTo>
                  <a:cubicBezTo>
                    <a:pt x="229076" y="453866"/>
                    <a:pt x="220503" y="469106"/>
                    <a:pt x="205264" y="472916"/>
                  </a:cubicBezTo>
                  <a:lnTo>
                    <a:pt x="193834" y="475774"/>
                  </a:lnTo>
                  <a:cubicBezTo>
                    <a:pt x="178594" y="480536"/>
                    <a:pt x="159544" y="482441"/>
                    <a:pt x="138589" y="482441"/>
                  </a:cubicBezTo>
                  <a:cubicBezTo>
                    <a:pt x="112871" y="482441"/>
                    <a:pt x="91916" y="478631"/>
                    <a:pt x="74771" y="471964"/>
                  </a:cubicBezTo>
                  <a:cubicBezTo>
                    <a:pt x="57626" y="465296"/>
                    <a:pt x="44291" y="454819"/>
                    <a:pt x="33814" y="442436"/>
                  </a:cubicBezTo>
                  <a:cubicBezTo>
                    <a:pt x="23336" y="429101"/>
                    <a:pt x="16669" y="413861"/>
                    <a:pt x="12859" y="394811"/>
                  </a:cubicBezTo>
                  <a:cubicBezTo>
                    <a:pt x="9049" y="376714"/>
                    <a:pt x="7144" y="354806"/>
                    <a:pt x="7144" y="330994"/>
                  </a:cubicBezTo>
                  <a:lnTo>
                    <a:pt x="7144" y="56674"/>
                  </a:lnTo>
                  <a:cubicBezTo>
                    <a:pt x="7144" y="36671"/>
                    <a:pt x="22384" y="18574"/>
                    <a:pt x="43339" y="14764"/>
                  </a:cubicBezTo>
                  <a:close/>
                </a:path>
              </a:pathLst>
            </a:custGeom>
            <a:solidFill>
              <a:srgbClr val="0072AF"/>
            </a:solidFill>
            <a:ln w="9525" cap="flat">
              <a:noFill/>
              <a:prstDash val="solid"/>
              <a:miter/>
            </a:ln>
          </p:spPr>
          <p:txBody>
            <a:bodyPr rtlCol="0" anchor="ctr"/>
            <a:lstStyle/>
            <a:p>
              <a:endParaRPr lang="de-DE"/>
            </a:p>
          </p:txBody>
        </p:sp>
        <p:sp>
          <p:nvSpPr>
            <p:cNvPr id="70" name="Freeform: Shape 69">
              <a:extLst>
                <a:ext uri="{FF2B5EF4-FFF2-40B4-BE49-F238E27FC236}">
                  <a16:creationId xmlns:a16="http://schemas.microsoft.com/office/drawing/2014/main" id="{1C172E70-0B70-4A1F-8C89-2ED10E799745}"/>
                </a:ext>
              </a:extLst>
            </p:cNvPr>
            <p:cNvSpPr/>
            <p:nvPr/>
          </p:nvSpPr>
          <p:spPr>
            <a:xfrm>
              <a:off x="7972896" y="1460972"/>
              <a:ext cx="333375" cy="381000"/>
            </a:xfrm>
            <a:custGeom>
              <a:avLst/>
              <a:gdLst>
                <a:gd name="connsiteX0" fmla="*/ 7144 w 333375"/>
                <a:gd name="connsiteY0" fmla="*/ 196691 h 381000"/>
                <a:gd name="connsiteX1" fmla="*/ 21431 w 333375"/>
                <a:gd name="connsiteY1" fmla="*/ 113824 h 381000"/>
                <a:gd name="connsiteX2" fmla="*/ 58579 w 333375"/>
                <a:gd name="connsiteY2" fmla="*/ 54769 h 381000"/>
                <a:gd name="connsiteX3" fmla="*/ 111919 w 333375"/>
                <a:gd name="connsiteY3" fmla="*/ 19526 h 381000"/>
                <a:gd name="connsiteX4" fmla="*/ 173831 w 333375"/>
                <a:gd name="connsiteY4" fmla="*/ 7144 h 381000"/>
                <a:gd name="connsiteX5" fmla="*/ 289084 w 333375"/>
                <a:gd name="connsiteY5" fmla="*/ 52864 h 381000"/>
                <a:gd name="connsiteX6" fmla="*/ 330041 w 333375"/>
                <a:gd name="connsiteY6" fmla="*/ 189071 h 381000"/>
                <a:gd name="connsiteX7" fmla="*/ 330041 w 333375"/>
                <a:gd name="connsiteY7" fmla="*/ 204311 h 381000"/>
                <a:gd name="connsiteX8" fmla="*/ 329089 w 333375"/>
                <a:gd name="connsiteY8" fmla="*/ 219551 h 381000"/>
                <a:gd name="connsiteX9" fmla="*/ 93822 w 333375"/>
                <a:gd name="connsiteY9" fmla="*/ 219551 h 381000"/>
                <a:gd name="connsiteX10" fmla="*/ 124301 w 333375"/>
                <a:gd name="connsiteY10" fmla="*/ 286226 h 381000"/>
                <a:gd name="connsiteX11" fmla="*/ 202406 w 333375"/>
                <a:gd name="connsiteY11" fmla="*/ 310039 h 381000"/>
                <a:gd name="connsiteX12" fmla="*/ 257651 w 333375"/>
                <a:gd name="connsiteY12" fmla="*/ 304324 h 381000"/>
                <a:gd name="connsiteX13" fmla="*/ 269081 w 333375"/>
                <a:gd name="connsiteY13" fmla="*/ 301466 h 381000"/>
                <a:gd name="connsiteX14" fmla="*/ 301466 w 333375"/>
                <a:gd name="connsiteY14" fmla="*/ 323374 h 381000"/>
                <a:gd name="connsiteX15" fmla="*/ 307181 w 333375"/>
                <a:gd name="connsiteY15" fmla="*/ 360521 h 381000"/>
                <a:gd name="connsiteX16" fmla="*/ 288131 w 333375"/>
                <a:gd name="connsiteY16" fmla="*/ 368141 h 381000"/>
                <a:gd name="connsiteX17" fmla="*/ 260509 w 333375"/>
                <a:gd name="connsiteY17" fmla="*/ 374809 h 381000"/>
                <a:gd name="connsiteX18" fmla="*/ 227172 w 333375"/>
                <a:gd name="connsiteY18" fmla="*/ 379571 h 381000"/>
                <a:gd name="connsiteX19" fmla="*/ 190976 w 333375"/>
                <a:gd name="connsiteY19" fmla="*/ 381476 h 381000"/>
                <a:gd name="connsiteX20" fmla="*/ 109061 w 333375"/>
                <a:gd name="connsiteY20" fmla="*/ 367189 h 381000"/>
                <a:gd name="connsiteX21" fmla="*/ 51911 w 333375"/>
                <a:gd name="connsiteY21" fmla="*/ 328136 h 381000"/>
                <a:gd name="connsiteX22" fmla="*/ 18574 w 333375"/>
                <a:gd name="connsiteY22" fmla="*/ 269081 h 381000"/>
                <a:gd name="connsiteX23" fmla="*/ 7144 w 333375"/>
                <a:gd name="connsiteY23" fmla="*/ 196691 h 381000"/>
                <a:gd name="connsiteX24" fmla="*/ 246222 w 333375"/>
                <a:gd name="connsiteY24" fmla="*/ 159544 h 381000"/>
                <a:gd name="connsiteX25" fmla="*/ 241459 w 333375"/>
                <a:gd name="connsiteY25" fmla="*/ 127159 h 381000"/>
                <a:gd name="connsiteX26" fmla="*/ 227172 w 333375"/>
                <a:gd name="connsiteY26" fmla="*/ 100489 h 381000"/>
                <a:gd name="connsiteX27" fmla="*/ 204311 w 333375"/>
                <a:gd name="connsiteY27" fmla="*/ 82391 h 381000"/>
                <a:gd name="connsiteX28" fmla="*/ 172879 w 333375"/>
                <a:gd name="connsiteY28" fmla="*/ 75724 h 381000"/>
                <a:gd name="connsiteX29" fmla="*/ 139541 w 333375"/>
                <a:gd name="connsiteY29" fmla="*/ 83344 h 381000"/>
                <a:gd name="connsiteX30" fmla="*/ 115729 w 333375"/>
                <a:gd name="connsiteY30" fmla="*/ 102394 h 381000"/>
                <a:gd name="connsiteX31" fmla="*/ 100489 w 333375"/>
                <a:gd name="connsiteY31" fmla="*/ 129064 h 381000"/>
                <a:gd name="connsiteX32" fmla="*/ 92869 w 333375"/>
                <a:gd name="connsiteY32" fmla="*/ 159544 h 381000"/>
                <a:gd name="connsiteX33" fmla="*/ 246222 w 333375"/>
                <a:gd name="connsiteY33" fmla="*/ 159544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3375" h="381000">
                  <a:moveTo>
                    <a:pt x="7144" y="196691"/>
                  </a:moveTo>
                  <a:cubicBezTo>
                    <a:pt x="7144" y="165259"/>
                    <a:pt x="11906" y="137636"/>
                    <a:pt x="21431" y="113824"/>
                  </a:cubicBezTo>
                  <a:cubicBezTo>
                    <a:pt x="30956" y="90011"/>
                    <a:pt x="43339" y="70009"/>
                    <a:pt x="58579" y="54769"/>
                  </a:cubicBezTo>
                  <a:cubicBezTo>
                    <a:pt x="73819" y="38576"/>
                    <a:pt x="91916" y="27146"/>
                    <a:pt x="111919" y="19526"/>
                  </a:cubicBezTo>
                  <a:cubicBezTo>
                    <a:pt x="131922" y="11906"/>
                    <a:pt x="152876" y="7144"/>
                    <a:pt x="173831" y="7144"/>
                  </a:cubicBezTo>
                  <a:cubicBezTo>
                    <a:pt x="223361" y="7144"/>
                    <a:pt x="261461" y="22384"/>
                    <a:pt x="289084" y="52864"/>
                  </a:cubicBezTo>
                  <a:cubicBezTo>
                    <a:pt x="316706" y="83344"/>
                    <a:pt x="330041" y="129064"/>
                    <a:pt x="330041" y="189071"/>
                  </a:cubicBezTo>
                  <a:cubicBezTo>
                    <a:pt x="330041" y="193834"/>
                    <a:pt x="330041" y="198596"/>
                    <a:pt x="330041" y="204311"/>
                  </a:cubicBezTo>
                  <a:cubicBezTo>
                    <a:pt x="330041" y="210026"/>
                    <a:pt x="329089" y="214789"/>
                    <a:pt x="329089" y="219551"/>
                  </a:cubicBezTo>
                  <a:lnTo>
                    <a:pt x="93822" y="219551"/>
                  </a:lnTo>
                  <a:cubicBezTo>
                    <a:pt x="95726" y="248126"/>
                    <a:pt x="106204" y="270034"/>
                    <a:pt x="124301" y="286226"/>
                  </a:cubicBezTo>
                  <a:cubicBezTo>
                    <a:pt x="142399" y="301466"/>
                    <a:pt x="168116" y="310039"/>
                    <a:pt x="202406" y="310039"/>
                  </a:cubicBezTo>
                  <a:cubicBezTo>
                    <a:pt x="222409" y="310039"/>
                    <a:pt x="240506" y="308134"/>
                    <a:pt x="257651" y="304324"/>
                  </a:cubicBezTo>
                  <a:cubicBezTo>
                    <a:pt x="261461" y="303371"/>
                    <a:pt x="266224" y="302419"/>
                    <a:pt x="269081" y="301466"/>
                  </a:cubicBezTo>
                  <a:cubicBezTo>
                    <a:pt x="284322" y="297656"/>
                    <a:pt x="298609" y="308134"/>
                    <a:pt x="301466" y="323374"/>
                  </a:cubicBezTo>
                  <a:lnTo>
                    <a:pt x="307181" y="360521"/>
                  </a:lnTo>
                  <a:cubicBezTo>
                    <a:pt x="302419" y="362426"/>
                    <a:pt x="296704" y="365284"/>
                    <a:pt x="288131" y="368141"/>
                  </a:cubicBezTo>
                  <a:cubicBezTo>
                    <a:pt x="280511" y="370999"/>
                    <a:pt x="270986" y="372904"/>
                    <a:pt x="260509" y="374809"/>
                  </a:cubicBezTo>
                  <a:cubicBezTo>
                    <a:pt x="250031" y="376714"/>
                    <a:pt x="239554" y="378619"/>
                    <a:pt x="227172" y="379571"/>
                  </a:cubicBezTo>
                  <a:cubicBezTo>
                    <a:pt x="214789" y="380524"/>
                    <a:pt x="203359" y="381476"/>
                    <a:pt x="190976" y="381476"/>
                  </a:cubicBezTo>
                  <a:cubicBezTo>
                    <a:pt x="159544" y="381476"/>
                    <a:pt x="131922" y="376714"/>
                    <a:pt x="109061" y="367189"/>
                  </a:cubicBezTo>
                  <a:cubicBezTo>
                    <a:pt x="86201" y="357664"/>
                    <a:pt x="67151" y="345281"/>
                    <a:pt x="51911" y="328136"/>
                  </a:cubicBezTo>
                  <a:cubicBezTo>
                    <a:pt x="36672" y="311944"/>
                    <a:pt x="26194" y="291941"/>
                    <a:pt x="18574" y="269081"/>
                  </a:cubicBezTo>
                  <a:cubicBezTo>
                    <a:pt x="10954" y="248126"/>
                    <a:pt x="7144" y="223361"/>
                    <a:pt x="7144" y="196691"/>
                  </a:cubicBezTo>
                  <a:close/>
                  <a:moveTo>
                    <a:pt x="246222" y="159544"/>
                  </a:moveTo>
                  <a:cubicBezTo>
                    <a:pt x="246222" y="148114"/>
                    <a:pt x="244316" y="137636"/>
                    <a:pt x="241459" y="127159"/>
                  </a:cubicBezTo>
                  <a:cubicBezTo>
                    <a:pt x="238601" y="116681"/>
                    <a:pt x="233839" y="108109"/>
                    <a:pt x="227172" y="100489"/>
                  </a:cubicBezTo>
                  <a:cubicBezTo>
                    <a:pt x="221456" y="92869"/>
                    <a:pt x="213836" y="87154"/>
                    <a:pt x="204311" y="82391"/>
                  </a:cubicBezTo>
                  <a:cubicBezTo>
                    <a:pt x="195739" y="77629"/>
                    <a:pt x="185261" y="75724"/>
                    <a:pt x="172879" y="75724"/>
                  </a:cubicBezTo>
                  <a:cubicBezTo>
                    <a:pt x="160497" y="75724"/>
                    <a:pt x="149066" y="78581"/>
                    <a:pt x="139541" y="83344"/>
                  </a:cubicBezTo>
                  <a:cubicBezTo>
                    <a:pt x="130016" y="88106"/>
                    <a:pt x="121444" y="94774"/>
                    <a:pt x="115729" y="102394"/>
                  </a:cubicBezTo>
                  <a:cubicBezTo>
                    <a:pt x="110014" y="110014"/>
                    <a:pt x="104299" y="118586"/>
                    <a:pt x="100489" y="129064"/>
                  </a:cubicBezTo>
                  <a:cubicBezTo>
                    <a:pt x="96679" y="139541"/>
                    <a:pt x="94774" y="149066"/>
                    <a:pt x="92869" y="159544"/>
                  </a:cubicBezTo>
                  <a:lnTo>
                    <a:pt x="246222" y="159544"/>
                  </a:lnTo>
                  <a:close/>
                </a:path>
              </a:pathLst>
            </a:custGeom>
            <a:solidFill>
              <a:srgbClr val="0072AF"/>
            </a:solidFill>
            <a:ln w="9525" cap="flat">
              <a:noFill/>
              <a:prstDash val="solid"/>
              <a:miter/>
            </a:ln>
          </p:spPr>
          <p:txBody>
            <a:bodyPr rtlCol="0" anchor="ctr"/>
            <a:lstStyle/>
            <a:p>
              <a:endParaRPr lang="de-DE"/>
            </a:p>
          </p:txBody>
        </p:sp>
        <p:sp>
          <p:nvSpPr>
            <p:cNvPr id="71" name="Freeform: Shape 70">
              <a:extLst>
                <a:ext uri="{FF2B5EF4-FFF2-40B4-BE49-F238E27FC236}">
                  <a16:creationId xmlns:a16="http://schemas.microsoft.com/office/drawing/2014/main" id="{01CF752C-B186-424A-B2D7-8B230569B3A8}"/>
                </a:ext>
              </a:extLst>
            </p:cNvPr>
            <p:cNvSpPr/>
            <p:nvPr/>
          </p:nvSpPr>
          <p:spPr>
            <a:xfrm>
              <a:off x="7182323" y="1317145"/>
              <a:ext cx="114301" cy="114301"/>
            </a:xfrm>
            <a:custGeom>
              <a:avLst/>
              <a:gdLst>
                <a:gd name="connsiteX0" fmla="*/ 109061 w 114300"/>
                <a:gd name="connsiteY0" fmla="*/ 58579 h 114300"/>
                <a:gd name="connsiteX1" fmla="*/ 93821 w 114300"/>
                <a:gd name="connsiteY1" fmla="*/ 95726 h 114300"/>
                <a:gd name="connsiteX2" fmla="*/ 58579 w 114300"/>
                <a:gd name="connsiteY2" fmla="*/ 109061 h 114300"/>
                <a:gd name="connsiteX3" fmla="*/ 22384 w 114300"/>
                <a:gd name="connsiteY3" fmla="*/ 95726 h 114300"/>
                <a:gd name="connsiteX4" fmla="*/ 7144 w 114300"/>
                <a:gd name="connsiteY4" fmla="*/ 58579 h 114300"/>
                <a:gd name="connsiteX5" fmla="*/ 22384 w 114300"/>
                <a:gd name="connsiteY5" fmla="*/ 20479 h 114300"/>
                <a:gd name="connsiteX6" fmla="*/ 58579 w 114300"/>
                <a:gd name="connsiteY6" fmla="*/ 7144 h 114300"/>
                <a:gd name="connsiteX7" fmla="*/ 93821 w 114300"/>
                <a:gd name="connsiteY7" fmla="*/ 20479 h 114300"/>
                <a:gd name="connsiteX8" fmla="*/ 109061 w 114300"/>
                <a:gd name="connsiteY8" fmla="*/ 58579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109061" y="58579"/>
                  </a:moveTo>
                  <a:cubicBezTo>
                    <a:pt x="109061" y="73819"/>
                    <a:pt x="104299" y="86201"/>
                    <a:pt x="93821" y="95726"/>
                  </a:cubicBezTo>
                  <a:cubicBezTo>
                    <a:pt x="83344" y="105251"/>
                    <a:pt x="71914" y="109061"/>
                    <a:pt x="58579" y="109061"/>
                  </a:cubicBezTo>
                  <a:cubicBezTo>
                    <a:pt x="44291" y="109061"/>
                    <a:pt x="31909" y="104299"/>
                    <a:pt x="22384" y="95726"/>
                  </a:cubicBezTo>
                  <a:cubicBezTo>
                    <a:pt x="11906" y="86201"/>
                    <a:pt x="7144" y="73819"/>
                    <a:pt x="7144" y="58579"/>
                  </a:cubicBezTo>
                  <a:cubicBezTo>
                    <a:pt x="7144" y="42386"/>
                    <a:pt x="11906" y="30004"/>
                    <a:pt x="22384" y="20479"/>
                  </a:cubicBezTo>
                  <a:cubicBezTo>
                    <a:pt x="32861" y="10954"/>
                    <a:pt x="44291" y="7144"/>
                    <a:pt x="58579" y="7144"/>
                  </a:cubicBezTo>
                  <a:cubicBezTo>
                    <a:pt x="71914" y="7144"/>
                    <a:pt x="84296" y="11906"/>
                    <a:pt x="93821" y="20479"/>
                  </a:cubicBezTo>
                  <a:cubicBezTo>
                    <a:pt x="104299" y="30004"/>
                    <a:pt x="109061" y="43339"/>
                    <a:pt x="109061" y="58579"/>
                  </a:cubicBezTo>
                  <a:close/>
                </a:path>
              </a:pathLst>
            </a:custGeom>
            <a:solidFill>
              <a:srgbClr val="0072AF"/>
            </a:solidFill>
            <a:ln w="9525" cap="flat">
              <a:noFill/>
              <a:prstDash val="solid"/>
              <a:miter/>
            </a:ln>
          </p:spPr>
          <p:txBody>
            <a:bodyPr rtlCol="0" anchor="ctr"/>
            <a:lstStyle/>
            <a:p>
              <a:endParaRPr lang="de-DE"/>
            </a:p>
          </p:txBody>
        </p:sp>
        <p:sp>
          <p:nvSpPr>
            <p:cNvPr id="72" name="Freeform: Shape 71">
              <a:extLst>
                <a:ext uri="{FF2B5EF4-FFF2-40B4-BE49-F238E27FC236}">
                  <a16:creationId xmlns:a16="http://schemas.microsoft.com/office/drawing/2014/main" id="{FDF811B1-E774-405D-BCC4-8986E192B8E5}"/>
                </a:ext>
              </a:extLst>
            </p:cNvPr>
            <p:cNvSpPr/>
            <p:nvPr/>
          </p:nvSpPr>
          <p:spPr>
            <a:xfrm>
              <a:off x="7192800" y="1473355"/>
              <a:ext cx="95250" cy="371475"/>
            </a:xfrm>
            <a:custGeom>
              <a:avLst/>
              <a:gdLst>
                <a:gd name="connsiteX0" fmla="*/ 90011 w 95250"/>
                <a:gd name="connsiteY0" fmla="*/ 366236 h 371475"/>
                <a:gd name="connsiteX1" fmla="*/ 67151 w 95250"/>
                <a:gd name="connsiteY1" fmla="*/ 366236 h 371475"/>
                <a:gd name="connsiteX2" fmla="*/ 7144 w 95250"/>
                <a:gd name="connsiteY2" fmla="*/ 306229 h 371475"/>
                <a:gd name="connsiteX3" fmla="*/ 7144 w 95250"/>
                <a:gd name="connsiteY3" fmla="*/ 7144 h 371475"/>
                <a:gd name="connsiteX4" fmla="*/ 35719 w 95250"/>
                <a:gd name="connsiteY4" fmla="*/ 7144 h 371475"/>
                <a:gd name="connsiteX5" fmla="*/ 90011 w 95250"/>
                <a:gd name="connsiteY5" fmla="*/ 62389 h 371475"/>
                <a:gd name="connsiteX6" fmla="*/ 90011 w 95250"/>
                <a:gd name="connsiteY6" fmla="*/ 36623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371475">
                  <a:moveTo>
                    <a:pt x="90011" y="366236"/>
                  </a:moveTo>
                  <a:lnTo>
                    <a:pt x="67151" y="366236"/>
                  </a:lnTo>
                  <a:cubicBezTo>
                    <a:pt x="33814" y="366236"/>
                    <a:pt x="7144" y="339566"/>
                    <a:pt x="7144" y="306229"/>
                  </a:cubicBezTo>
                  <a:lnTo>
                    <a:pt x="7144" y="7144"/>
                  </a:lnTo>
                  <a:lnTo>
                    <a:pt x="35719" y="7144"/>
                  </a:lnTo>
                  <a:cubicBezTo>
                    <a:pt x="66199" y="7144"/>
                    <a:pt x="90011" y="31909"/>
                    <a:pt x="90011" y="62389"/>
                  </a:cubicBezTo>
                  <a:lnTo>
                    <a:pt x="90011" y="366236"/>
                  </a:lnTo>
                  <a:close/>
                </a:path>
              </a:pathLst>
            </a:custGeom>
            <a:solidFill>
              <a:srgbClr val="0072AF"/>
            </a:solidFill>
            <a:ln w="9525" cap="flat">
              <a:noFill/>
              <a:prstDash val="solid"/>
              <a:miter/>
            </a:ln>
          </p:spPr>
          <p:txBody>
            <a:bodyPr rtlCol="0" anchor="ctr"/>
            <a:lstStyle/>
            <a:p>
              <a:endParaRPr lang="de-DE"/>
            </a:p>
          </p:txBody>
        </p:sp>
        <p:sp>
          <p:nvSpPr>
            <p:cNvPr id="73" name="Freeform: Shape 72">
              <a:extLst>
                <a:ext uri="{FF2B5EF4-FFF2-40B4-BE49-F238E27FC236}">
                  <a16:creationId xmlns:a16="http://schemas.microsoft.com/office/drawing/2014/main" id="{AC902DC9-11E7-469A-9B87-36E7876821AA}"/>
                </a:ext>
              </a:extLst>
            </p:cNvPr>
            <p:cNvSpPr/>
            <p:nvPr/>
          </p:nvSpPr>
          <p:spPr>
            <a:xfrm>
              <a:off x="7637617" y="1474308"/>
              <a:ext cx="352426" cy="371475"/>
            </a:xfrm>
            <a:custGeom>
              <a:avLst/>
              <a:gdLst>
                <a:gd name="connsiteX0" fmla="*/ 287179 w 352425"/>
                <a:gd name="connsiteY0" fmla="*/ 7144 h 371475"/>
                <a:gd name="connsiteX1" fmla="*/ 250031 w 352425"/>
                <a:gd name="connsiteY1" fmla="*/ 43339 h 371475"/>
                <a:gd name="connsiteX2" fmla="*/ 179547 w 352425"/>
                <a:gd name="connsiteY2" fmla="*/ 246221 h 371475"/>
                <a:gd name="connsiteX3" fmla="*/ 106204 w 352425"/>
                <a:gd name="connsiteY3" fmla="*/ 47149 h 371475"/>
                <a:gd name="connsiteX4" fmla="*/ 68104 w 352425"/>
                <a:gd name="connsiteY4" fmla="*/ 7144 h 371475"/>
                <a:gd name="connsiteX5" fmla="*/ 27147 w 352425"/>
                <a:gd name="connsiteY5" fmla="*/ 7144 h 371475"/>
                <a:gd name="connsiteX6" fmla="*/ 7144 w 352425"/>
                <a:gd name="connsiteY6" fmla="*/ 7144 h 371475"/>
                <a:gd name="connsiteX7" fmla="*/ 130969 w 352425"/>
                <a:gd name="connsiteY7" fmla="*/ 329089 h 371475"/>
                <a:gd name="connsiteX8" fmla="*/ 171927 w 352425"/>
                <a:gd name="connsiteY8" fmla="*/ 365284 h 371475"/>
                <a:gd name="connsiteX9" fmla="*/ 213836 w 352425"/>
                <a:gd name="connsiteY9" fmla="*/ 365284 h 371475"/>
                <a:gd name="connsiteX10" fmla="*/ 350044 w 352425"/>
                <a:gd name="connsiteY10" fmla="*/ 7144 h 371475"/>
                <a:gd name="connsiteX11" fmla="*/ 287179 w 352425"/>
                <a:gd name="connsiteY11"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371475">
                  <a:moveTo>
                    <a:pt x="287179" y="7144"/>
                  </a:moveTo>
                  <a:cubicBezTo>
                    <a:pt x="265272" y="7144"/>
                    <a:pt x="259556" y="18574"/>
                    <a:pt x="250031" y="43339"/>
                  </a:cubicBezTo>
                  <a:lnTo>
                    <a:pt x="179547" y="246221"/>
                  </a:lnTo>
                  <a:lnTo>
                    <a:pt x="106204" y="47149"/>
                  </a:lnTo>
                  <a:cubicBezTo>
                    <a:pt x="97631" y="21431"/>
                    <a:pt x="90011" y="7144"/>
                    <a:pt x="68104" y="7144"/>
                  </a:cubicBezTo>
                  <a:lnTo>
                    <a:pt x="27147" y="7144"/>
                  </a:lnTo>
                  <a:lnTo>
                    <a:pt x="7144" y="7144"/>
                  </a:lnTo>
                  <a:lnTo>
                    <a:pt x="130969" y="329089"/>
                  </a:lnTo>
                  <a:cubicBezTo>
                    <a:pt x="142399" y="352901"/>
                    <a:pt x="150019" y="365284"/>
                    <a:pt x="171927" y="365284"/>
                  </a:cubicBezTo>
                  <a:lnTo>
                    <a:pt x="213836" y="365284"/>
                  </a:lnTo>
                  <a:lnTo>
                    <a:pt x="350044" y="7144"/>
                  </a:lnTo>
                  <a:lnTo>
                    <a:pt x="287179" y="7144"/>
                  </a:lnTo>
                  <a:close/>
                </a:path>
              </a:pathLst>
            </a:custGeom>
            <a:solidFill>
              <a:srgbClr val="0072AF"/>
            </a:solidFill>
            <a:ln w="9525" cap="flat">
              <a:noFill/>
              <a:prstDash val="solid"/>
              <a:miter/>
            </a:ln>
          </p:spPr>
          <p:txBody>
            <a:bodyPr rtlCol="0" anchor="ctr"/>
            <a:lstStyle/>
            <a:p>
              <a:endParaRPr lang="de-DE"/>
            </a:p>
          </p:txBody>
        </p:sp>
        <p:sp>
          <p:nvSpPr>
            <p:cNvPr id="74" name="Freeform: Shape 73">
              <a:extLst>
                <a:ext uri="{FF2B5EF4-FFF2-40B4-BE49-F238E27FC236}">
                  <a16:creationId xmlns:a16="http://schemas.microsoft.com/office/drawing/2014/main" id="{E8B5DD36-8031-4F1B-9BC6-38CB634A2B29}"/>
                </a:ext>
              </a:extLst>
            </p:cNvPr>
            <p:cNvSpPr/>
            <p:nvPr/>
          </p:nvSpPr>
          <p:spPr>
            <a:xfrm>
              <a:off x="7326150"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2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2" y="80486"/>
                  </a:cubicBezTo>
                  <a:cubicBezTo>
                    <a:pt x="128111" y="79534"/>
                    <a:pt x="139541" y="78581"/>
                    <a:pt x="150019" y="78581"/>
                  </a:cubicBezTo>
                  <a:cubicBezTo>
                    <a:pt x="164307"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8134"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5" name="Freeform: Shape 74">
              <a:extLst>
                <a:ext uri="{FF2B5EF4-FFF2-40B4-BE49-F238E27FC236}">
                  <a16:creationId xmlns:a16="http://schemas.microsoft.com/office/drawing/2014/main" id="{CFDF0CA9-6242-4230-B938-850171C906D8}"/>
                </a:ext>
              </a:extLst>
            </p:cNvPr>
            <p:cNvSpPr/>
            <p:nvPr/>
          </p:nvSpPr>
          <p:spPr>
            <a:xfrm>
              <a:off x="8331989" y="1464782"/>
              <a:ext cx="314325" cy="381000"/>
            </a:xfrm>
            <a:custGeom>
              <a:avLst/>
              <a:gdLst>
                <a:gd name="connsiteX0" fmla="*/ 300514 w 314325"/>
                <a:gd name="connsiteY0" fmla="*/ 105251 h 381000"/>
                <a:gd name="connsiteX1" fmla="*/ 275749 w 314325"/>
                <a:gd name="connsiteY1" fmla="*/ 52864 h 381000"/>
                <a:gd name="connsiteX2" fmla="*/ 229076 w 314325"/>
                <a:gd name="connsiteY2" fmla="*/ 19526 h 381000"/>
                <a:gd name="connsiteX3" fmla="*/ 155734 w 314325"/>
                <a:gd name="connsiteY3" fmla="*/ 7144 h 381000"/>
                <a:gd name="connsiteX4" fmla="*/ 70009 w 314325"/>
                <a:gd name="connsiteY4" fmla="*/ 13811 h 381000"/>
                <a:gd name="connsiteX5" fmla="*/ 7144 w 314325"/>
                <a:gd name="connsiteY5" fmla="*/ 27146 h 381000"/>
                <a:gd name="connsiteX6" fmla="*/ 7144 w 314325"/>
                <a:gd name="connsiteY6" fmla="*/ 329089 h 381000"/>
                <a:gd name="connsiteX7" fmla="*/ 7144 w 314325"/>
                <a:gd name="connsiteY7" fmla="*/ 329089 h 381000"/>
                <a:gd name="connsiteX8" fmla="*/ 7144 w 314325"/>
                <a:gd name="connsiteY8" fmla="*/ 338614 h 381000"/>
                <a:gd name="connsiteX9" fmla="*/ 44291 w 314325"/>
                <a:gd name="connsiteY9" fmla="*/ 375761 h 381000"/>
                <a:gd name="connsiteX10" fmla="*/ 45244 w 314325"/>
                <a:gd name="connsiteY10" fmla="*/ 375761 h 381000"/>
                <a:gd name="connsiteX11" fmla="*/ 45244 w 314325"/>
                <a:gd name="connsiteY11" fmla="*/ 375761 h 381000"/>
                <a:gd name="connsiteX12" fmla="*/ 90964 w 314325"/>
                <a:gd name="connsiteY12" fmla="*/ 375761 h 381000"/>
                <a:gd name="connsiteX13" fmla="*/ 90964 w 314325"/>
                <a:gd name="connsiteY13" fmla="*/ 84296 h 381000"/>
                <a:gd name="connsiteX14" fmla="*/ 116681 w 314325"/>
                <a:gd name="connsiteY14" fmla="*/ 80486 h 381000"/>
                <a:gd name="connsiteX15" fmla="*/ 150019 w 314325"/>
                <a:gd name="connsiteY15" fmla="*/ 78581 h 381000"/>
                <a:gd name="connsiteX16" fmla="*/ 186214 w 314325"/>
                <a:gd name="connsiteY16" fmla="*/ 84296 h 381000"/>
                <a:gd name="connsiteX17" fmla="*/ 210026 w 314325"/>
                <a:gd name="connsiteY17" fmla="*/ 102394 h 381000"/>
                <a:gd name="connsiteX18" fmla="*/ 222409 w 314325"/>
                <a:gd name="connsiteY18" fmla="*/ 135731 h 381000"/>
                <a:gd name="connsiteX19" fmla="*/ 226219 w 314325"/>
                <a:gd name="connsiteY19" fmla="*/ 185261 h 381000"/>
                <a:gd name="connsiteX20" fmla="*/ 226219 w 314325"/>
                <a:gd name="connsiteY20" fmla="*/ 328136 h 381000"/>
                <a:gd name="connsiteX21" fmla="*/ 226219 w 314325"/>
                <a:gd name="connsiteY21" fmla="*/ 328136 h 381000"/>
                <a:gd name="connsiteX22" fmla="*/ 226219 w 314325"/>
                <a:gd name="connsiteY22" fmla="*/ 337661 h 381000"/>
                <a:gd name="connsiteX23" fmla="*/ 263366 w 314325"/>
                <a:gd name="connsiteY23" fmla="*/ 374809 h 381000"/>
                <a:gd name="connsiteX24" fmla="*/ 263366 w 314325"/>
                <a:gd name="connsiteY24" fmla="*/ 374809 h 381000"/>
                <a:gd name="connsiteX25" fmla="*/ 310039 w 314325"/>
                <a:gd name="connsiteY25" fmla="*/ 374809 h 381000"/>
                <a:gd name="connsiteX26" fmla="*/ 310039 w 314325"/>
                <a:gd name="connsiteY26" fmla="*/ 172879 h 381000"/>
                <a:gd name="connsiteX27" fmla="*/ 300514 w 314325"/>
                <a:gd name="connsiteY27" fmla="*/ 105251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4325" h="381000">
                  <a:moveTo>
                    <a:pt x="300514" y="105251"/>
                  </a:moveTo>
                  <a:cubicBezTo>
                    <a:pt x="295751" y="85249"/>
                    <a:pt x="287179" y="67151"/>
                    <a:pt x="275749" y="52864"/>
                  </a:cubicBezTo>
                  <a:cubicBezTo>
                    <a:pt x="264319" y="38576"/>
                    <a:pt x="248126" y="27146"/>
                    <a:pt x="229076" y="19526"/>
                  </a:cubicBezTo>
                  <a:cubicBezTo>
                    <a:pt x="209074" y="11906"/>
                    <a:pt x="185261" y="7144"/>
                    <a:pt x="155734" y="7144"/>
                  </a:cubicBezTo>
                  <a:cubicBezTo>
                    <a:pt x="124301" y="7144"/>
                    <a:pt x="95726" y="9049"/>
                    <a:pt x="70009" y="13811"/>
                  </a:cubicBezTo>
                  <a:cubicBezTo>
                    <a:pt x="44291" y="17621"/>
                    <a:pt x="23336" y="22384"/>
                    <a:pt x="7144" y="27146"/>
                  </a:cubicBezTo>
                  <a:lnTo>
                    <a:pt x="7144" y="329089"/>
                  </a:lnTo>
                  <a:lnTo>
                    <a:pt x="7144" y="329089"/>
                  </a:lnTo>
                  <a:lnTo>
                    <a:pt x="7144" y="338614"/>
                  </a:lnTo>
                  <a:cubicBezTo>
                    <a:pt x="7144" y="358616"/>
                    <a:pt x="23336" y="375761"/>
                    <a:pt x="44291" y="375761"/>
                  </a:cubicBezTo>
                  <a:lnTo>
                    <a:pt x="45244" y="375761"/>
                  </a:lnTo>
                  <a:lnTo>
                    <a:pt x="45244" y="375761"/>
                  </a:lnTo>
                  <a:lnTo>
                    <a:pt x="90964" y="375761"/>
                  </a:lnTo>
                  <a:lnTo>
                    <a:pt x="90964" y="84296"/>
                  </a:lnTo>
                  <a:cubicBezTo>
                    <a:pt x="96679" y="83344"/>
                    <a:pt x="105251" y="82391"/>
                    <a:pt x="116681" y="80486"/>
                  </a:cubicBezTo>
                  <a:cubicBezTo>
                    <a:pt x="128111" y="79534"/>
                    <a:pt x="139541" y="78581"/>
                    <a:pt x="150019" y="78581"/>
                  </a:cubicBezTo>
                  <a:cubicBezTo>
                    <a:pt x="164306" y="78581"/>
                    <a:pt x="176689" y="80486"/>
                    <a:pt x="186214" y="84296"/>
                  </a:cubicBezTo>
                  <a:cubicBezTo>
                    <a:pt x="195739" y="88106"/>
                    <a:pt x="204311" y="94774"/>
                    <a:pt x="210026" y="102394"/>
                  </a:cubicBezTo>
                  <a:cubicBezTo>
                    <a:pt x="215741" y="110966"/>
                    <a:pt x="219551" y="121444"/>
                    <a:pt x="222409" y="135731"/>
                  </a:cubicBezTo>
                  <a:cubicBezTo>
                    <a:pt x="225266" y="149066"/>
                    <a:pt x="226219" y="165259"/>
                    <a:pt x="226219" y="185261"/>
                  </a:cubicBezTo>
                  <a:lnTo>
                    <a:pt x="226219" y="328136"/>
                  </a:lnTo>
                  <a:lnTo>
                    <a:pt x="226219" y="328136"/>
                  </a:lnTo>
                  <a:lnTo>
                    <a:pt x="226219" y="337661"/>
                  </a:lnTo>
                  <a:cubicBezTo>
                    <a:pt x="226219" y="357664"/>
                    <a:pt x="242411" y="374809"/>
                    <a:pt x="263366" y="374809"/>
                  </a:cubicBezTo>
                  <a:lnTo>
                    <a:pt x="263366" y="374809"/>
                  </a:lnTo>
                  <a:lnTo>
                    <a:pt x="310039" y="374809"/>
                  </a:lnTo>
                  <a:lnTo>
                    <a:pt x="310039" y="172879"/>
                  </a:lnTo>
                  <a:cubicBezTo>
                    <a:pt x="307181" y="148114"/>
                    <a:pt x="305276" y="126206"/>
                    <a:pt x="300514" y="105251"/>
                  </a:cubicBezTo>
                  <a:close/>
                </a:path>
              </a:pathLst>
            </a:custGeom>
            <a:solidFill>
              <a:srgbClr val="0072AF"/>
            </a:solidFill>
            <a:ln w="9525" cap="flat">
              <a:noFill/>
              <a:prstDash val="solid"/>
              <a:miter/>
            </a:ln>
          </p:spPr>
          <p:txBody>
            <a:bodyPr rtlCol="0" anchor="ctr"/>
            <a:lstStyle/>
            <a:p>
              <a:endParaRPr lang="de-DE"/>
            </a:p>
          </p:txBody>
        </p:sp>
        <p:sp>
          <p:nvSpPr>
            <p:cNvPr id="76" name="Freeform: Shape 75">
              <a:extLst>
                <a:ext uri="{FF2B5EF4-FFF2-40B4-BE49-F238E27FC236}">
                  <a16:creationId xmlns:a16="http://schemas.microsoft.com/office/drawing/2014/main" id="{7CA8B73F-66B2-4AD1-9D4D-738FB4382ACE}"/>
                </a:ext>
              </a:extLst>
            </p:cNvPr>
            <p:cNvSpPr/>
            <p:nvPr/>
          </p:nvSpPr>
          <p:spPr>
            <a:xfrm>
              <a:off x="6619395" y="1521933"/>
              <a:ext cx="457199" cy="371475"/>
            </a:xfrm>
            <a:custGeom>
              <a:avLst/>
              <a:gdLst>
                <a:gd name="connsiteX0" fmla="*/ 304324 w 457200"/>
                <a:gd name="connsiteY0" fmla="*/ 261461 h 371475"/>
                <a:gd name="connsiteX1" fmla="*/ 456724 w 457200"/>
                <a:gd name="connsiteY1" fmla="*/ 110014 h 371475"/>
                <a:gd name="connsiteX2" fmla="*/ 344329 w 457200"/>
                <a:gd name="connsiteY2" fmla="*/ 7144 h 371475"/>
                <a:gd name="connsiteX3" fmla="*/ 125254 w 457200"/>
                <a:gd name="connsiteY3" fmla="*/ 241459 h 371475"/>
                <a:gd name="connsiteX4" fmla="*/ 7144 w 457200"/>
                <a:gd name="connsiteY4" fmla="*/ 348139 h 371475"/>
                <a:gd name="connsiteX5" fmla="*/ 96679 w 457200"/>
                <a:gd name="connsiteY5" fmla="*/ 372904 h 371475"/>
                <a:gd name="connsiteX6" fmla="*/ 306229 w 457200"/>
                <a:gd name="connsiteY6" fmla="*/ 304324 h 371475"/>
                <a:gd name="connsiteX7" fmla="*/ 200501 w 457200"/>
                <a:gd name="connsiteY7" fmla="*/ 210026 h 371475"/>
                <a:gd name="connsiteX8" fmla="*/ 304324 w 457200"/>
                <a:gd name="connsiteY8" fmla="*/ 261461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00" h="371475">
                  <a:moveTo>
                    <a:pt x="304324" y="261461"/>
                  </a:moveTo>
                  <a:cubicBezTo>
                    <a:pt x="390049" y="261461"/>
                    <a:pt x="455771" y="191929"/>
                    <a:pt x="456724" y="110014"/>
                  </a:cubicBezTo>
                  <a:cubicBezTo>
                    <a:pt x="451009" y="73819"/>
                    <a:pt x="438626" y="7144"/>
                    <a:pt x="344329" y="7144"/>
                  </a:cubicBezTo>
                  <a:cubicBezTo>
                    <a:pt x="242411" y="7144"/>
                    <a:pt x="208121" y="150019"/>
                    <a:pt x="125254" y="241459"/>
                  </a:cubicBezTo>
                  <a:cubicBezTo>
                    <a:pt x="118586" y="293846"/>
                    <a:pt x="69056" y="340519"/>
                    <a:pt x="7144" y="348139"/>
                  </a:cubicBezTo>
                  <a:cubicBezTo>
                    <a:pt x="22384" y="364331"/>
                    <a:pt x="55721" y="372904"/>
                    <a:pt x="96679" y="372904"/>
                  </a:cubicBezTo>
                  <a:cubicBezTo>
                    <a:pt x="170021" y="372904"/>
                    <a:pt x="259556" y="350996"/>
                    <a:pt x="306229" y="304324"/>
                  </a:cubicBezTo>
                  <a:cubicBezTo>
                    <a:pt x="244316" y="305276"/>
                    <a:pt x="204311" y="265271"/>
                    <a:pt x="200501" y="210026"/>
                  </a:cubicBezTo>
                  <a:cubicBezTo>
                    <a:pt x="230029" y="247174"/>
                    <a:pt x="264319" y="261461"/>
                    <a:pt x="304324" y="261461"/>
                  </a:cubicBezTo>
                  <a:close/>
                </a:path>
              </a:pathLst>
            </a:custGeom>
            <a:solidFill>
              <a:srgbClr val="17ABDB"/>
            </a:solidFill>
            <a:ln w="9525" cap="flat">
              <a:noFill/>
              <a:prstDash val="solid"/>
              <a:miter/>
            </a:ln>
          </p:spPr>
          <p:txBody>
            <a:bodyPr rtlCol="0" anchor="ctr"/>
            <a:lstStyle/>
            <a:p>
              <a:endParaRPr lang="de-DE"/>
            </a:p>
          </p:txBody>
        </p:sp>
        <p:sp>
          <p:nvSpPr>
            <p:cNvPr id="77" name="Freeform: Shape 76">
              <a:extLst>
                <a:ext uri="{FF2B5EF4-FFF2-40B4-BE49-F238E27FC236}">
                  <a16:creationId xmlns:a16="http://schemas.microsoft.com/office/drawing/2014/main" id="{2F133115-576C-4C8F-AA97-E91D46A691EF}"/>
                </a:ext>
              </a:extLst>
            </p:cNvPr>
            <p:cNvSpPr/>
            <p:nvPr/>
          </p:nvSpPr>
          <p:spPr>
            <a:xfrm>
              <a:off x="3176111" y="1268567"/>
              <a:ext cx="3171823" cy="866776"/>
            </a:xfrm>
            <a:custGeom>
              <a:avLst/>
              <a:gdLst>
                <a:gd name="connsiteX0" fmla="*/ 3092291 w 3171825"/>
                <a:gd name="connsiteY0" fmla="*/ 287179 h 866775"/>
                <a:gd name="connsiteX1" fmla="*/ 3059907 w 3171825"/>
                <a:gd name="connsiteY1" fmla="*/ 211931 h 866775"/>
                <a:gd name="connsiteX2" fmla="*/ 3027521 w 3171825"/>
                <a:gd name="connsiteY2" fmla="*/ 218599 h 866775"/>
                <a:gd name="connsiteX3" fmla="*/ 2960846 w 3171825"/>
                <a:gd name="connsiteY3" fmla="*/ 507206 h 866775"/>
                <a:gd name="connsiteX4" fmla="*/ 2816066 w 3171825"/>
                <a:gd name="connsiteY4" fmla="*/ 178594 h 866775"/>
                <a:gd name="connsiteX5" fmla="*/ 2679859 w 3171825"/>
                <a:gd name="connsiteY5" fmla="*/ 440531 h 866775"/>
                <a:gd name="connsiteX6" fmla="*/ 2670334 w 3171825"/>
                <a:gd name="connsiteY6" fmla="*/ 319564 h 866775"/>
                <a:gd name="connsiteX7" fmla="*/ 2677001 w 3171825"/>
                <a:gd name="connsiteY7" fmla="*/ 254794 h 866775"/>
                <a:gd name="connsiteX8" fmla="*/ 2611279 w 3171825"/>
                <a:gd name="connsiteY8" fmla="*/ 209074 h 866775"/>
                <a:gd name="connsiteX9" fmla="*/ 2533174 w 3171825"/>
                <a:gd name="connsiteY9" fmla="*/ 510064 h 866775"/>
                <a:gd name="connsiteX10" fmla="*/ 2470309 w 3171825"/>
                <a:gd name="connsiteY10" fmla="*/ 292894 h 866775"/>
                <a:gd name="connsiteX11" fmla="*/ 2405539 w 3171825"/>
                <a:gd name="connsiteY11" fmla="*/ 208121 h 866775"/>
                <a:gd name="connsiteX12" fmla="*/ 2325529 w 3171825"/>
                <a:gd name="connsiteY12" fmla="*/ 494824 h 866775"/>
                <a:gd name="connsiteX13" fmla="*/ 2206466 w 3171825"/>
                <a:gd name="connsiteY13" fmla="*/ 211931 h 866775"/>
                <a:gd name="connsiteX14" fmla="*/ 2087404 w 3171825"/>
                <a:gd name="connsiteY14" fmla="*/ 479584 h 866775"/>
                <a:gd name="connsiteX15" fmla="*/ 1983581 w 3171825"/>
                <a:gd name="connsiteY15" fmla="*/ 178594 h 866775"/>
                <a:gd name="connsiteX16" fmla="*/ 1877854 w 3171825"/>
                <a:gd name="connsiteY16" fmla="*/ 391954 h 866775"/>
                <a:gd name="connsiteX17" fmla="*/ 1867376 w 3171825"/>
                <a:gd name="connsiteY17" fmla="*/ 390049 h 866775"/>
                <a:gd name="connsiteX18" fmla="*/ 1866424 w 3171825"/>
                <a:gd name="connsiteY18" fmla="*/ 327184 h 866775"/>
                <a:gd name="connsiteX19" fmla="*/ 1807369 w 3171825"/>
                <a:gd name="connsiteY19" fmla="*/ 202406 h 866775"/>
                <a:gd name="connsiteX20" fmla="*/ 1654969 w 3171825"/>
                <a:gd name="connsiteY20" fmla="*/ 512921 h 866775"/>
                <a:gd name="connsiteX21" fmla="*/ 1592104 w 3171825"/>
                <a:gd name="connsiteY21" fmla="*/ 483394 h 866775"/>
                <a:gd name="connsiteX22" fmla="*/ 1719739 w 3171825"/>
                <a:gd name="connsiteY22" fmla="*/ 306229 h 866775"/>
                <a:gd name="connsiteX23" fmla="*/ 1619726 w 3171825"/>
                <a:gd name="connsiteY23" fmla="*/ 202406 h 866775"/>
                <a:gd name="connsiteX24" fmla="*/ 1483519 w 3171825"/>
                <a:gd name="connsiteY24" fmla="*/ 369094 h 866775"/>
                <a:gd name="connsiteX25" fmla="*/ 1503521 w 3171825"/>
                <a:gd name="connsiteY25" fmla="*/ 473869 h 866775"/>
                <a:gd name="connsiteX26" fmla="*/ 1418749 w 3171825"/>
                <a:gd name="connsiteY26" fmla="*/ 512921 h 866775"/>
                <a:gd name="connsiteX27" fmla="*/ 1400651 w 3171825"/>
                <a:gd name="connsiteY27" fmla="*/ 274796 h 866775"/>
                <a:gd name="connsiteX28" fmla="*/ 1336834 w 3171825"/>
                <a:gd name="connsiteY28" fmla="*/ 326231 h 866775"/>
                <a:gd name="connsiteX29" fmla="*/ 1262539 w 3171825"/>
                <a:gd name="connsiteY29" fmla="*/ 479584 h 866775"/>
                <a:gd name="connsiteX30" fmla="*/ 1223486 w 3171825"/>
                <a:gd name="connsiteY30" fmla="*/ 421481 h 866775"/>
                <a:gd name="connsiteX31" fmla="*/ 1402556 w 3171825"/>
                <a:gd name="connsiteY31" fmla="*/ 250031 h 866775"/>
                <a:gd name="connsiteX32" fmla="*/ 1343501 w 3171825"/>
                <a:gd name="connsiteY32" fmla="*/ 192881 h 866775"/>
                <a:gd name="connsiteX33" fmla="*/ 1181576 w 3171825"/>
                <a:gd name="connsiteY33" fmla="*/ 290989 h 866775"/>
                <a:gd name="connsiteX34" fmla="*/ 1086326 w 3171825"/>
                <a:gd name="connsiteY34" fmla="*/ 385286 h 866775"/>
                <a:gd name="connsiteX35" fmla="*/ 1088231 w 3171825"/>
                <a:gd name="connsiteY35" fmla="*/ 358616 h 866775"/>
                <a:gd name="connsiteX36" fmla="*/ 974884 w 3171825"/>
                <a:gd name="connsiteY36" fmla="*/ 204311 h 866775"/>
                <a:gd name="connsiteX37" fmla="*/ 883444 w 3171825"/>
                <a:gd name="connsiteY37" fmla="*/ 273844 h 866775"/>
                <a:gd name="connsiteX38" fmla="*/ 846296 w 3171825"/>
                <a:gd name="connsiteY38" fmla="*/ 213836 h 866775"/>
                <a:gd name="connsiteX39" fmla="*/ 805339 w 3171825"/>
                <a:gd name="connsiteY39" fmla="*/ 224314 h 866775"/>
                <a:gd name="connsiteX40" fmla="*/ 814864 w 3171825"/>
                <a:gd name="connsiteY40" fmla="*/ 334804 h 866775"/>
                <a:gd name="connsiteX41" fmla="*/ 742474 w 3171825"/>
                <a:gd name="connsiteY41" fmla="*/ 520541 h 866775"/>
                <a:gd name="connsiteX42" fmla="*/ 691991 w 3171825"/>
                <a:gd name="connsiteY42" fmla="*/ 309086 h 866775"/>
                <a:gd name="connsiteX43" fmla="*/ 671989 w 3171825"/>
                <a:gd name="connsiteY43" fmla="*/ 305276 h 866775"/>
                <a:gd name="connsiteX44" fmla="*/ 621506 w 3171825"/>
                <a:gd name="connsiteY44" fmla="*/ 399574 h 866775"/>
                <a:gd name="connsiteX45" fmla="*/ 539591 w 3171825"/>
                <a:gd name="connsiteY45" fmla="*/ 512921 h 866775"/>
                <a:gd name="connsiteX46" fmla="*/ 495776 w 3171825"/>
                <a:gd name="connsiteY46" fmla="*/ 443389 h 866775"/>
                <a:gd name="connsiteX47" fmla="*/ 685324 w 3171825"/>
                <a:gd name="connsiteY47" fmla="*/ 278606 h 866775"/>
                <a:gd name="connsiteX48" fmla="*/ 627221 w 3171825"/>
                <a:gd name="connsiteY48" fmla="*/ 214789 h 866775"/>
                <a:gd name="connsiteX49" fmla="*/ 437674 w 3171825"/>
                <a:gd name="connsiteY49" fmla="*/ 355759 h 866775"/>
                <a:gd name="connsiteX50" fmla="*/ 237649 w 3171825"/>
                <a:gd name="connsiteY50" fmla="*/ 529114 h 866775"/>
                <a:gd name="connsiteX51" fmla="*/ 97631 w 3171825"/>
                <a:gd name="connsiteY51" fmla="*/ 313849 h 866775"/>
                <a:gd name="connsiteX52" fmla="*/ 261461 w 3171825"/>
                <a:gd name="connsiteY52" fmla="*/ 69056 h 866775"/>
                <a:gd name="connsiteX53" fmla="*/ 329089 w 3171825"/>
                <a:gd name="connsiteY53" fmla="*/ 181451 h 866775"/>
                <a:gd name="connsiteX54" fmla="*/ 410051 w 3171825"/>
                <a:gd name="connsiteY54" fmla="*/ 121444 h 866775"/>
                <a:gd name="connsiteX55" fmla="*/ 265271 w 3171825"/>
                <a:gd name="connsiteY55" fmla="*/ 7144 h 866775"/>
                <a:gd name="connsiteX56" fmla="*/ 7144 w 3171825"/>
                <a:gd name="connsiteY56" fmla="*/ 324326 h 866775"/>
                <a:gd name="connsiteX57" fmla="*/ 220504 w 3171825"/>
                <a:gd name="connsiteY57" fmla="*/ 601504 h 866775"/>
                <a:gd name="connsiteX58" fmla="*/ 425291 w 3171825"/>
                <a:gd name="connsiteY58" fmla="*/ 472916 h 866775"/>
                <a:gd name="connsiteX59" fmla="*/ 525304 w 3171825"/>
                <a:gd name="connsiteY59" fmla="*/ 576739 h 866775"/>
                <a:gd name="connsiteX60" fmla="*/ 646271 w 3171825"/>
                <a:gd name="connsiteY60" fmla="*/ 485299 h 866775"/>
                <a:gd name="connsiteX61" fmla="*/ 734854 w 3171825"/>
                <a:gd name="connsiteY61" fmla="*/ 576739 h 866775"/>
                <a:gd name="connsiteX62" fmla="*/ 812959 w 3171825"/>
                <a:gd name="connsiteY62" fmla="*/ 532924 h 866775"/>
                <a:gd name="connsiteX63" fmla="*/ 904399 w 3171825"/>
                <a:gd name="connsiteY63" fmla="*/ 810101 h 866775"/>
                <a:gd name="connsiteX64" fmla="*/ 882491 w 3171825"/>
                <a:gd name="connsiteY64" fmla="*/ 577691 h 866775"/>
                <a:gd name="connsiteX65" fmla="*/ 969169 w 3171825"/>
                <a:gd name="connsiteY65" fmla="*/ 267176 h 866775"/>
                <a:gd name="connsiteX66" fmla="*/ 1015841 w 3171825"/>
                <a:gd name="connsiteY66" fmla="*/ 359569 h 866775"/>
                <a:gd name="connsiteX67" fmla="*/ 1007269 w 3171825"/>
                <a:gd name="connsiteY67" fmla="*/ 440531 h 866775"/>
                <a:gd name="connsiteX68" fmla="*/ 900589 w 3171825"/>
                <a:gd name="connsiteY68" fmla="*/ 545306 h 866775"/>
                <a:gd name="connsiteX69" fmla="*/ 941546 w 3171825"/>
                <a:gd name="connsiteY69" fmla="*/ 577691 h 866775"/>
                <a:gd name="connsiteX70" fmla="*/ 1072039 w 3171825"/>
                <a:gd name="connsiteY70" fmla="*/ 449104 h 866775"/>
                <a:gd name="connsiteX71" fmla="*/ 1150144 w 3171825"/>
                <a:gd name="connsiteY71" fmla="*/ 390049 h 866775"/>
                <a:gd name="connsiteX72" fmla="*/ 1149191 w 3171825"/>
                <a:gd name="connsiteY72" fmla="*/ 415766 h 866775"/>
                <a:gd name="connsiteX73" fmla="*/ 1244441 w 3171825"/>
                <a:gd name="connsiteY73" fmla="*/ 550069 h 866775"/>
                <a:gd name="connsiteX74" fmla="*/ 1349216 w 3171825"/>
                <a:gd name="connsiteY74" fmla="*/ 469106 h 866775"/>
                <a:gd name="connsiteX75" fmla="*/ 1352074 w 3171825"/>
                <a:gd name="connsiteY75" fmla="*/ 547211 h 866775"/>
                <a:gd name="connsiteX76" fmla="*/ 1155859 w 3171825"/>
                <a:gd name="connsiteY76" fmla="*/ 754856 h 866775"/>
                <a:gd name="connsiteX77" fmla="*/ 1259681 w 3171825"/>
                <a:gd name="connsiteY77" fmla="*/ 864394 h 866775"/>
                <a:gd name="connsiteX78" fmla="*/ 1419701 w 3171825"/>
                <a:gd name="connsiteY78" fmla="*/ 569119 h 866775"/>
                <a:gd name="connsiteX79" fmla="*/ 1529239 w 3171825"/>
                <a:gd name="connsiteY79" fmla="*/ 518636 h 866775"/>
                <a:gd name="connsiteX80" fmla="*/ 1640681 w 3171825"/>
                <a:gd name="connsiteY80" fmla="*/ 576739 h 866775"/>
                <a:gd name="connsiteX81" fmla="*/ 1813084 w 3171825"/>
                <a:gd name="connsiteY81" fmla="*/ 459581 h 866775"/>
                <a:gd name="connsiteX82" fmla="*/ 1868329 w 3171825"/>
                <a:gd name="connsiteY82" fmla="*/ 576739 h 866775"/>
                <a:gd name="connsiteX83" fmla="*/ 1980724 w 3171825"/>
                <a:gd name="connsiteY83" fmla="*/ 273844 h 866775"/>
                <a:gd name="connsiteX84" fmla="*/ 2074069 w 3171825"/>
                <a:gd name="connsiteY84" fmla="*/ 601504 h 866775"/>
                <a:gd name="connsiteX85" fmla="*/ 2198846 w 3171825"/>
                <a:gd name="connsiteY85" fmla="*/ 312896 h 866775"/>
                <a:gd name="connsiteX86" fmla="*/ 2307432 w 3171825"/>
                <a:gd name="connsiteY86" fmla="*/ 576739 h 866775"/>
                <a:gd name="connsiteX87" fmla="*/ 2412207 w 3171825"/>
                <a:gd name="connsiteY87" fmla="*/ 428149 h 866775"/>
                <a:gd name="connsiteX88" fmla="*/ 2521744 w 3171825"/>
                <a:gd name="connsiteY88" fmla="*/ 576739 h 866775"/>
                <a:gd name="connsiteX89" fmla="*/ 2618899 w 3171825"/>
                <a:gd name="connsiteY89" fmla="*/ 486251 h 866775"/>
                <a:gd name="connsiteX90" fmla="*/ 2670334 w 3171825"/>
                <a:gd name="connsiteY90" fmla="*/ 576739 h 866775"/>
                <a:gd name="connsiteX91" fmla="*/ 2803684 w 3171825"/>
                <a:gd name="connsiteY91" fmla="*/ 274796 h 866775"/>
                <a:gd name="connsiteX92" fmla="*/ 2947511 w 3171825"/>
                <a:gd name="connsiteY92" fmla="*/ 576739 h 866775"/>
                <a:gd name="connsiteX93" fmla="*/ 3040857 w 3171825"/>
                <a:gd name="connsiteY93" fmla="*/ 474821 h 866775"/>
                <a:gd name="connsiteX94" fmla="*/ 3121819 w 3171825"/>
                <a:gd name="connsiteY94" fmla="*/ 576739 h 866775"/>
                <a:gd name="connsiteX95" fmla="*/ 3169444 w 3171825"/>
                <a:gd name="connsiteY95" fmla="*/ 550069 h 866775"/>
                <a:gd name="connsiteX96" fmla="*/ 3092291 w 3171825"/>
                <a:gd name="connsiteY96" fmla="*/ 287179 h 866775"/>
                <a:gd name="connsiteX97" fmla="*/ 1267301 w 3171825"/>
                <a:gd name="connsiteY97" fmla="*/ 806291 h 866775"/>
                <a:gd name="connsiteX98" fmla="*/ 1226344 w 3171825"/>
                <a:gd name="connsiteY98" fmla="*/ 751999 h 866775"/>
                <a:gd name="connsiteX99" fmla="*/ 1353026 w 3171825"/>
                <a:gd name="connsiteY99" fmla="*/ 597694 h 866775"/>
                <a:gd name="connsiteX100" fmla="*/ 1267301 w 3171825"/>
                <a:gd name="connsiteY100" fmla="*/ 806291 h 866775"/>
                <a:gd name="connsiteX101" fmla="*/ 1614964 w 3171825"/>
                <a:gd name="connsiteY101" fmla="*/ 257651 h 866775"/>
                <a:gd name="connsiteX102" fmla="*/ 1653064 w 3171825"/>
                <a:gd name="connsiteY102" fmla="*/ 315754 h 866775"/>
                <a:gd name="connsiteX103" fmla="*/ 1569244 w 3171825"/>
                <a:gd name="connsiteY103" fmla="*/ 438626 h 866775"/>
                <a:gd name="connsiteX104" fmla="*/ 1614964 w 3171825"/>
                <a:gd name="connsiteY104" fmla="*/ 257651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1825" h="866775">
                  <a:moveTo>
                    <a:pt x="3092291" y="287179"/>
                  </a:moveTo>
                  <a:cubicBezTo>
                    <a:pt x="3092291" y="241459"/>
                    <a:pt x="3089434" y="211931"/>
                    <a:pt x="3059907" y="211931"/>
                  </a:cubicBezTo>
                  <a:cubicBezTo>
                    <a:pt x="3046571" y="211931"/>
                    <a:pt x="3039904" y="214789"/>
                    <a:pt x="3027521" y="218599"/>
                  </a:cubicBezTo>
                  <a:cubicBezTo>
                    <a:pt x="3037999" y="371951"/>
                    <a:pt x="3003709" y="507206"/>
                    <a:pt x="2960846" y="507206"/>
                  </a:cubicBezTo>
                  <a:cubicBezTo>
                    <a:pt x="2905601" y="507206"/>
                    <a:pt x="2933224" y="178594"/>
                    <a:pt x="2816066" y="178594"/>
                  </a:cubicBezTo>
                  <a:cubicBezTo>
                    <a:pt x="2707482" y="178594"/>
                    <a:pt x="2692241" y="440531"/>
                    <a:pt x="2679859" y="440531"/>
                  </a:cubicBezTo>
                  <a:cubicBezTo>
                    <a:pt x="2671286" y="440531"/>
                    <a:pt x="2670334" y="371951"/>
                    <a:pt x="2670334" y="319564"/>
                  </a:cubicBezTo>
                  <a:cubicBezTo>
                    <a:pt x="2675096" y="294799"/>
                    <a:pt x="2677001" y="271939"/>
                    <a:pt x="2677001" y="254794"/>
                  </a:cubicBezTo>
                  <a:cubicBezTo>
                    <a:pt x="2677001" y="230029"/>
                    <a:pt x="2667476" y="188119"/>
                    <a:pt x="2611279" y="209074"/>
                  </a:cubicBezTo>
                  <a:cubicBezTo>
                    <a:pt x="2613184" y="396716"/>
                    <a:pt x="2576036" y="510064"/>
                    <a:pt x="2533174" y="510064"/>
                  </a:cubicBezTo>
                  <a:cubicBezTo>
                    <a:pt x="2471261" y="510064"/>
                    <a:pt x="2470309" y="340519"/>
                    <a:pt x="2470309" y="292894"/>
                  </a:cubicBezTo>
                  <a:cubicBezTo>
                    <a:pt x="2470309" y="247174"/>
                    <a:pt x="2473166" y="186214"/>
                    <a:pt x="2405539" y="208121"/>
                  </a:cubicBezTo>
                  <a:cubicBezTo>
                    <a:pt x="2395061" y="371951"/>
                    <a:pt x="2352199" y="494824"/>
                    <a:pt x="2325529" y="494824"/>
                  </a:cubicBezTo>
                  <a:cubicBezTo>
                    <a:pt x="2285524" y="494824"/>
                    <a:pt x="2293144" y="211931"/>
                    <a:pt x="2206466" y="211931"/>
                  </a:cubicBezTo>
                  <a:cubicBezTo>
                    <a:pt x="2128361" y="211931"/>
                    <a:pt x="2103596" y="479584"/>
                    <a:pt x="2087404" y="479584"/>
                  </a:cubicBezTo>
                  <a:cubicBezTo>
                    <a:pt x="2057876" y="479584"/>
                    <a:pt x="2096929" y="178594"/>
                    <a:pt x="1983581" y="178594"/>
                  </a:cubicBezTo>
                  <a:cubicBezTo>
                    <a:pt x="1924526" y="178594"/>
                    <a:pt x="1900714" y="279559"/>
                    <a:pt x="1877854" y="391954"/>
                  </a:cubicBezTo>
                  <a:cubicBezTo>
                    <a:pt x="1873091" y="413861"/>
                    <a:pt x="1868329" y="414814"/>
                    <a:pt x="1867376" y="390049"/>
                  </a:cubicBezTo>
                  <a:cubicBezTo>
                    <a:pt x="1866424" y="370046"/>
                    <a:pt x="1866424" y="347186"/>
                    <a:pt x="1866424" y="327184"/>
                  </a:cubicBezTo>
                  <a:cubicBezTo>
                    <a:pt x="1894999" y="213836"/>
                    <a:pt x="1859756" y="171926"/>
                    <a:pt x="1807369" y="202406"/>
                  </a:cubicBezTo>
                  <a:cubicBezTo>
                    <a:pt x="1824514" y="411004"/>
                    <a:pt x="1728311" y="512921"/>
                    <a:pt x="1654969" y="512921"/>
                  </a:cubicBezTo>
                  <a:cubicBezTo>
                    <a:pt x="1628299" y="512921"/>
                    <a:pt x="1607344" y="501491"/>
                    <a:pt x="1592104" y="483394"/>
                  </a:cubicBezTo>
                  <a:cubicBezTo>
                    <a:pt x="1680686" y="429101"/>
                    <a:pt x="1719739" y="367189"/>
                    <a:pt x="1719739" y="306229"/>
                  </a:cubicBezTo>
                  <a:cubicBezTo>
                    <a:pt x="1719739" y="240506"/>
                    <a:pt x="1681639" y="202406"/>
                    <a:pt x="1619726" y="202406"/>
                  </a:cubicBezTo>
                  <a:cubicBezTo>
                    <a:pt x="1532096" y="202406"/>
                    <a:pt x="1483519" y="292894"/>
                    <a:pt x="1483519" y="369094"/>
                  </a:cubicBezTo>
                  <a:cubicBezTo>
                    <a:pt x="1483519" y="410051"/>
                    <a:pt x="1491139" y="445294"/>
                    <a:pt x="1503521" y="473869"/>
                  </a:cubicBezTo>
                  <a:cubicBezTo>
                    <a:pt x="1473041" y="488156"/>
                    <a:pt x="1445419" y="500539"/>
                    <a:pt x="1418749" y="512921"/>
                  </a:cubicBezTo>
                  <a:cubicBezTo>
                    <a:pt x="1416844" y="433864"/>
                    <a:pt x="1407319" y="350996"/>
                    <a:pt x="1400651" y="274796"/>
                  </a:cubicBezTo>
                  <a:cubicBezTo>
                    <a:pt x="1353979" y="262414"/>
                    <a:pt x="1340644" y="284321"/>
                    <a:pt x="1336834" y="326231"/>
                  </a:cubicBezTo>
                  <a:cubicBezTo>
                    <a:pt x="1328261" y="420529"/>
                    <a:pt x="1293971" y="479584"/>
                    <a:pt x="1262539" y="479584"/>
                  </a:cubicBezTo>
                  <a:cubicBezTo>
                    <a:pt x="1239679" y="479584"/>
                    <a:pt x="1225391" y="451009"/>
                    <a:pt x="1223486" y="421481"/>
                  </a:cubicBezTo>
                  <a:cubicBezTo>
                    <a:pt x="1214914" y="270034"/>
                    <a:pt x="1337786" y="228124"/>
                    <a:pt x="1402556" y="250031"/>
                  </a:cubicBezTo>
                  <a:cubicBezTo>
                    <a:pt x="1415891" y="216694"/>
                    <a:pt x="1401604" y="192881"/>
                    <a:pt x="1343501" y="192881"/>
                  </a:cubicBezTo>
                  <a:cubicBezTo>
                    <a:pt x="1273016" y="192881"/>
                    <a:pt x="1220629" y="235744"/>
                    <a:pt x="1181576" y="290989"/>
                  </a:cubicBezTo>
                  <a:cubicBezTo>
                    <a:pt x="1155859" y="327184"/>
                    <a:pt x="1126331" y="353854"/>
                    <a:pt x="1086326" y="385286"/>
                  </a:cubicBezTo>
                  <a:cubicBezTo>
                    <a:pt x="1087279" y="375761"/>
                    <a:pt x="1088231" y="367189"/>
                    <a:pt x="1088231" y="358616"/>
                  </a:cubicBezTo>
                  <a:cubicBezTo>
                    <a:pt x="1088231" y="251936"/>
                    <a:pt x="1030129" y="204311"/>
                    <a:pt x="974884" y="204311"/>
                  </a:cubicBezTo>
                  <a:cubicBezTo>
                    <a:pt x="929164" y="204311"/>
                    <a:pt x="900589" y="231934"/>
                    <a:pt x="883444" y="273844"/>
                  </a:cubicBezTo>
                  <a:cubicBezTo>
                    <a:pt x="879634" y="231934"/>
                    <a:pt x="871061" y="213836"/>
                    <a:pt x="846296" y="213836"/>
                  </a:cubicBezTo>
                  <a:cubicBezTo>
                    <a:pt x="835819" y="213836"/>
                    <a:pt x="821531" y="216694"/>
                    <a:pt x="805339" y="224314"/>
                  </a:cubicBezTo>
                  <a:cubicBezTo>
                    <a:pt x="812959" y="248126"/>
                    <a:pt x="814864" y="300514"/>
                    <a:pt x="814864" y="334804"/>
                  </a:cubicBezTo>
                  <a:cubicBezTo>
                    <a:pt x="814864" y="463391"/>
                    <a:pt x="777716" y="520541"/>
                    <a:pt x="742474" y="520541"/>
                  </a:cubicBezTo>
                  <a:cubicBezTo>
                    <a:pt x="701516" y="520541"/>
                    <a:pt x="695801" y="368141"/>
                    <a:pt x="691991" y="309086"/>
                  </a:cubicBezTo>
                  <a:cubicBezTo>
                    <a:pt x="687229" y="307181"/>
                    <a:pt x="681514" y="305276"/>
                    <a:pt x="671989" y="305276"/>
                  </a:cubicBezTo>
                  <a:cubicBezTo>
                    <a:pt x="635794" y="305276"/>
                    <a:pt x="631031" y="354806"/>
                    <a:pt x="621506" y="399574"/>
                  </a:cubicBezTo>
                  <a:cubicBezTo>
                    <a:pt x="611029" y="450056"/>
                    <a:pt x="582454" y="512921"/>
                    <a:pt x="539591" y="512921"/>
                  </a:cubicBezTo>
                  <a:cubicBezTo>
                    <a:pt x="513874" y="512921"/>
                    <a:pt x="497681" y="488156"/>
                    <a:pt x="495776" y="443389"/>
                  </a:cubicBezTo>
                  <a:cubicBezTo>
                    <a:pt x="491966" y="352901"/>
                    <a:pt x="567214" y="245269"/>
                    <a:pt x="685324" y="278606"/>
                  </a:cubicBezTo>
                  <a:cubicBezTo>
                    <a:pt x="700564" y="242411"/>
                    <a:pt x="676751" y="214789"/>
                    <a:pt x="627221" y="214789"/>
                  </a:cubicBezTo>
                  <a:cubicBezTo>
                    <a:pt x="540544" y="214789"/>
                    <a:pt x="469106" y="279559"/>
                    <a:pt x="437674" y="355759"/>
                  </a:cubicBezTo>
                  <a:cubicBezTo>
                    <a:pt x="406241" y="426244"/>
                    <a:pt x="350996" y="529114"/>
                    <a:pt x="237649" y="529114"/>
                  </a:cubicBezTo>
                  <a:cubicBezTo>
                    <a:pt x="157639" y="529114"/>
                    <a:pt x="97631" y="459581"/>
                    <a:pt x="97631" y="313849"/>
                  </a:cubicBezTo>
                  <a:cubicBezTo>
                    <a:pt x="97631" y="188119"/>
                    <a:pt x="176689" y="69056"/>
                    <a:pt x="261461" y="69056"/>
                  </a:cubicBezTo>
                  <a:cubicBezTo>
                    <a:pt x="320516" y="69056"/>
                    <a:pt x="333851" y="127159"/>
                    <a:pt x="329089" y="181451"/>
                  </a:cubicBezTo>
                  <a:cubicBezTo>
                    <a:pt x="359569" y="206216"/>
                    <a:pt x="410051" y="183356"/>
                    <a:pt x="410051" y="121444"/>
                  </a:cubicBezTo>
                  <a:cubicBezTo>
                    <a:pt x="410051" y="79534"/>
                    <a:pt x="375761" y="7144"/>
                    <a:pt x="265271" y="7144"/>
                  </a:cubicBezTo>
                  <a:cubicBezTo>
                    <a:pt x="128111" y="7144"/>
                    <a:pt x="7144" y="144304"/>
                    <a:pt x="7144" y="324326"/>
                  </a:cubicBezTo>
                  <a:cubicBezTo>
                    <a:pt x="7144" y="498634"/>
                    <a:pt x="95726" y="601504"/>
                    <a:pt x="220504" y="601504"/>
                  </a:cubicBezTo>
                  <a:cubicBezTo>
                    <a:pt x="299561" y="601504"/>
                    <a:pt x="373856" y="556736"/>
                    <a:pt x="425291" y="472916"/>
                  </a:cubicBezTo>
                  <a:cubicBezTo>
                    <a:pt x="438626" y="545306"/>
                    <a:pt x="488156" y="576739"/>
                    <a:pt x="525304" y="576739"/>
                  </a:cubicBezTo>
                  <a:cubicBezTo>
                    <a:pt x="585311" y="576739"/>
                    <a:pt x="624364" y="537686"/>
                    <a:pt x="646271" y="485299"/>
                  </a:cubicBezTo>
                  <a:cubicBezTo>
                    <a:pt x="659606" y="537686"/>
                    <a:pt x="688181" y="576739"/>
                    <a:pt x="734854" y="576739"/>
                  </a:cubicBezTo>
                  <a:cubicBezTo>
                    <a:pt x="768191" y="576739"/>
                    <a:pt x="793909" y="559594"/>
                    <a:pt x="812959" y="532924"/>
                  </a:cubicBezTo>
                  <a:cubicBezTo>
                    <a:pt x="805339" y="716756"/>
                    <a:pt x="795814" y="832961"/>
                    <a:pt x="904399" y="810101"/>
                  </a:cubicBezTo>
                  <a:cubicBezTo>
                    <a:pt x="887254" y="757714"/>
                    <a:pt x="882491" y="663416"/>
                    <a:pt x="882491" y="577691"/>
                  </a:cubicBezTo>
                  <a:cubicBezTo>
                    <a:pt x="882491" y="344329"/>
                    <a:pt x="920591" y="267176"/>
                    <a:pt x="969169" y="267176"/>
                  </a:cubicBezTo>
                  <a:cubicBezTo>
                    <a:pt x="1004411" y="267176"/>
                    <a:pt x="1015841" y="311944"/>
                    <a:pt x="1015841" y="359569"/>
                  </a:cubicBezTo>
                  <a:cubicBezTo>
                    <a:pt x="1015841" y="385286"/>
                    <a:pt x="1012984" y="413861"/>
                    <a:pt x="1007269" y="440531"/>
                  </a:cubicBezTo>
                  <a:cubicBezTo>
                    <a:pt x="948214" y="477679"/>
                    <a:pt x="900589" y="507206"/>
                    <a:pt x="900589" y="545306"/>
                  </a:cubicBezTo>
                  <a:cubicBezTo>
                    <a:pt x="900589" y="574834"/>
                    <a:pt x="922496" y="577691"/>
                    <a:pt x="941546" y="577691"/>
                  </a:cubicBezTo>
                  <a:cubicBezTo>
                    <a:pt x="987266" y="577691"/>
                    <a:pt x="1041559" y="532924"/>
                    <a:pt x="1072039" y="449104"/>
                  </a:cubicBezTo>
                  <a:cubicBezTo>
                    <a:pt x="1098709" y="432911"/>
                    <a:pt x="1125379" y="414814"/>
                    <a:pt x="1150144" y="390049"/>
                  </a:cubicBezTo>
                  <a:cubicBezTo>
                    <a:pt x="1149191" y="398621"/>
                    <a:pt x="1149191" y="407194"/>
                    <a:pt x="1149191" y="415766"/>
                  </a:cubicBezTo>
                  <a:cubicBezTo>
                    <a:pt x="1149191" y="499586"/>
                    <a:pt x="1185386" y="550069"/>
                    <a:pt x="1244441" y="550069"/>
                  </a:cubicBezTo>
                  <a:cubicBezTo>
                    <a:pt x="1290161" y="550069"/>
                    <a:pt x="1324451" y="517684"/>
                    <a:pt x="1349216" y="469106"/>
                  </a:cubicBezTo>
                  <a:cubicBezTo>
                    <a:pt x="1351121" y="496729"/>
                    <a:pt x="1352074" y="523399"/>
                    <a:pt x="1352074" y="547211"/>
                  </a:cubicBezTo>
                  <a:cubicBezTo>
                    <a:pt x="1258729" y="590074"/>
                    <a:pt x="1155859" y="633889"/>
                    <a:pt x="1155859" y="754856"/>
                  </a:cubicBezTo>
                  <a:cubicBezTo>
                    <a:pt x="1155859" y="817721"/>
                    <a:pt x="1201579" y="864394"/>
                    <a:pt x="1259681" y="864394"/>
                  </a:cubicBezTo>
                  <a:cubicBezTo>
                    <a:pt x="1389221" y="864394"/>
                    <a:pt x="1418749" y="728186"/>
                    <a:pt x="1419701" y="569119"/>
                  </a:cubicBezTo>
                  <a:cubicBezTo>
                    <a:pt x="1461611" y="551021"/>
                    <a:pt x="1493044" y="536734"/>
                    <a:pt x="1529239" y="518636"/>
                  </a:cubicBezTo>
                  <a:cubicBezTo>
                    <a:pt x="1560671" y="557689"/>
                    <a:pt x="1602581" y="576739"/>
                    <a:pt x="1640681" y="576739"/>
                  </a:cubicBezTo>
                  <a:cubicBezTo>
                    <a:pt x="1714024" y="576739"/>
                    <a:pt x="1768316" y="537686"/>
                    <a:pt x="1813084" y="459581"/>
                  </a:cubicBezTo>
                  <a:cubicBezTo>
                    <a:pt x="1820704" y="519589"/>
                    <a:pt x="1835944" y="576739"/>
                    <a:pt x="1868329" y="576739"/>
                  </a:cubicBezTo>
                  <a:cubicBezTo>
                    <a:pt x="1926431" y="576739"/>
                    <a:pt x="1937861" y="273844"/>
                    <a:pt x="1980724" y="273844"/>
                  </a:cubicBezTo>
                  <a:cubicBezTo>
                    <a:pt x="2014061" y="273844"/>
                    <a:pt x="1986439" y="601504"/>
                    <a:pt x="2074069" y="601504"/>
                  </a:cubicBezTo>
                  <a:cubicBezTo>
                    <a:pt x="2148364" y="601504"/>
                    <a:pt x="2162651" y="312896"/>
                    <a:pt x="2198846" y="312896"/>
                  </a:cubicBezTo>
                  <a:cubicBezTo>
                    <a:pt x="2224564" y="312896"/>
                    <a:pt x="2226469" y="576739"/>
                    <a:pt x="2307432" y="576739"/>
                  </a:cubicBezTo>
                  <a:cubicBezTo>
                    <a:pt x="2347436" y="576739"/>
                    <a:pt x="2390299" y="529114"/>
                    <a:pt x="2412207" y="428149"/>
                  </a:cubicBezTo>
                  <a:cubicBezTo>
                    <a:pt x="2422684" y="494824"/>
                    <a:pt x="2456021" y="576739"/>
                    <a:pt x="2521744" y="576739"/>
                  </a:cubicBezTo>
                  <a:cubicBezTo>
                    <a:pt x="2559844" y="576739"/>
                    <a:pt x="2593182" y="537686"/>
                    <a:pt x="2618899" y="486251"/>
                  </a:cubicBezTo>
                  <a:cubicBezTo>
                    <a:pt x="2625566" y="539591"/>
                    <a:pt x="2640807" y="576739"/>
                    <a:pt x="2670334" y="576739"/>
                  </a:cubicBezTo>
                  <a:cubicBezTo>
                    <a:pt x="2746534" y="576739"/>
                    <a:pt x="2743676" y="274796"/>
                    <a:pt x="2803684" y="274796"/>
                  </a:cubicBezTo>
                  <a:cubicBezTo>
                    <a:pt x="2850357" y="274796"/>
                    <a:pt x="2836069" y="576739"/>
                    <a:pt x="2947511" y="576739"/>
                  </a:cubicBezTo>
                  <a:cubicBezTo>
                    <a:pt x="3000851" y="576739"/>
                    <a:pt x="3025616" y="531971"/>
                    <a:pt x="3040857" y="474821"/>
                  </a:cubicBezTo>
                  <a:cubicBezTo>
                    <a:pt x="3061811" y="558641"/>
                    <a:pt x="3094196" y="576739"/>
                    <a:pt x="3121819" y="576739"/>
                  </a:cubicBezTo>
                  <a:cubicBezTo>
                    <a:pt x="3138964" y="576739"/>
                    <a:pt x="3152299" y="571024"/>
                    <a:pt x="3169444" y="550069"/>
                  </a:cubicBezTo>
                  <a:cubicBezTo>
                    <a:pt x="3085624" y="511969"/>
                    <a:pt x="3092291" y="375761"/>
                    <a:pt x="3092291" y="287179"/>
                  </a:cubicBezTo>
                  <a:close/>
                  <a:moveTo>
                    <a:pt x="1267301" y="806291"/>
                  </a:moveTo>
                  <a:cubicBezTo>
                    <a:pt x="1240631" y="806291"/>
                    <a:pt x="1226344" y="780574"/>
                    <a:pt x="1226344" y="751999"/>
                  </a:cubicBezTo>
                  <a:cubicBezTo>
                    <a:pt x="1226344" y="674846"/>
                    <a:pt x="1283494" y="632936"/>
                    <a:pt x="1353026" y="597694"/>
                  </a:cubicBezTo>
                  <a:cubicBezTo>
                    <a:pt x="1349216" y="768191"/>
                    <a:pt x="1310164" y="806291"/>
                    <a:pt x="1267301" y="806291"/>
                  </a:cubicBezTo>
                  <a:close/>
                  <a:moveTo>
                    <a:pt x="1614964" y="257651"/>
                  </a:moveTo>
                  <a:cubicBezTo>
                    <a:pt x="1640681" y="257651"/>
                    <a:pt x="1655921" y="281464"/>
                    <a:pt x="1653064" y="315754"/>
                  </a:cubicBezTo>
                  <a:cubicBezTo>
                    <a:pt x="1650206" y="355759"/>
                    <a:pt x="1620679" y="402431"/>
                    <a:pt x="1569244" y="438626"/>
                  </a:cubicBezTo>
                  <a:cubicBezTo>
                    <a:pt x="1543526" y="362426"/>
                    <a:pt x="1563529" y="257651"/>
                    <a:pt x="1614964" y="257651"/>
                  </a:cubicBezTo>
                  <a:close/>
                </a:path>
              </a:pathLst>
            </a:custGeom>
            <a:solidFill>
              <a:srgbClr val="0072AF"/>
            </a:solidFill>
            <a:ln w="9525" cap="flat">
              <a:noFill/>
              <a:prstDash val="solid"/>
              <a:miter/>
            </a:ln>
          </p:spPr>
          <p:txBody>
            <a:bodyPr rtlCol="0" anchor="ctr"/>
            <a:lstStyle/>
            <a:p>
              <a:endParaRPr lang="de-DE"/>
            </a:p>
          </p:txBody>
        </p:sp>
        <p:sp>
          <p:nvSpPr>
            <p:cNvPr id="78" name="Freeform: Shape 77">
              <a:extLst>
                <a:ext uri="{FF2B5EF4-FFF2-40B4-BE49-F238E27FC236}">
                  <a16:creationId xmlns:a16="http://schemas.microsoft.com/office/drawing/2014/main" id="{60E8FCDE-4839-4BAA-8B98-7D2B38EFF226}"/>
                </a:ext>
              </a:extLst>
            </p:cNvPr>
            <p:cNvSpPr/>
            <p:nvPr/>
          </p:nvSpPr>
          <p:spPr>
            <a:xfrm>
              <a:off x="5565899" y="1311398"/>
              <a:ext cx="95250" cy="104775"/>
            </a:xfrm>
            <a:custGeom>
              <a:avLst/>
              <a:gdLst>
                <a:gd name="connsiteX0" fmla="*/ 51942 w 95250"/>
                <a:gd name="connsiteY0" fmla="*/ 99569 h 104775"/>
                <a:gd name="connsiteX1" fmla="*/ 93853 w 95250"/>
                <a:gd name="connsiteY1" fmla="*/ 51944 h 104775"/>
                <a:gd name="connsiteX2" fmla="*/ 51942 w 95250"/>
                <a:gd name="connsiteY2" fmla="*/ 7176 h 104775"/>
                <a:gd name="connsiteX3" fmla="*/ 7175 w 95250"/>
                <a:gd name="connsiteY3" fmla="*/ 54801 h 104775"/>
                <a:gd name="connsiteX4" fmla="*/ 51942 w 95250"/>
                <a:gd name="connsiteY4" fmla="*/ 99569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04775">
                  <a:moveTo>
                    <a:pt x="51942" y="99569"/>
                  </a:moveTo>
                  <a:cubicBezTo>
                    <a:pt x="76707" y="98616"/>
                    <a:pt x="93853" y="77661"/>
                    <a:pt x="93853" y="51944"/>
                  </a:cubicBezTo>
                  <a:cubicBezTo>
                    <a:pt x="93853" y="26226"/>
                    <a:pt x="76707" y="6224"/>
                    <a:pt x="51942" y="7176"/>
                  </a:cubicBezTo>
                  <a:cubicBezTo>
                    <a:pt x="27178" y="8129"/>
                    <a:pt x="7175" y="29084"/>
                    <a:pt x="7175" y="54801"/>
                  </a:cubicBezTo>
                  <a:cubicBezTo>
                    <a:pt x="6222" y="80519"/>
                    <a:pt x="27178" y="100521"/>
                    <a:pt x="51942" y="99569"/>
                  </a:cubicBezTo>
                  <a:close/>
                </a:path>
              </a:pathLst>
            </a:custGeom>
            <a:solidFill>
              <a:srgbClr val="0072AF"/>
            </a:solidFill>
            <a:ln w="9525" cap="flat">
              <a:noFill/>
              <a:prstDash val="solid"/>
              <a:miter/>
            </a:ln>
          </p:spPr>
          <p:txBody>
            <a:bodyPr rtlCol="0" anchor="ctr"/>
            <a:lstStyle/>
            <a:p>
              <a:endParaRPr lang="de-DE"/>
            </a:p>
          </p:txBody>
        </p:sp>
        <p:sp>
          <p:nvSpPr>
            <p:cNvPr id="79" name="Freeform: Shape 78">
              <a:extLst>
                <a:ext uri="{FF2B5EF4-FFF2-40B4-BE49-F238E27FC236}">
                  <a16:creationId xmlns:a16="http://schemas.microsoft.com/office/drawing/2014/main" id="{8DF87862-D2D4-4B13-96DD-4389162ED9F2}"/>
                </a:ext>
              </a:extLst>
            </p:cNvPr>
            <p:cNvSpPr/>
            <p:nvPr/>
          </p:nvSpPr>
          <p:spPr>
            <a:xfrm>
              <a:off x="6186959" y="1329492"/>
              <a:ext cx="95250" cy="95250"/>
            </a:xfrm>
            <a:custGeom>
              <a:avLst/>
              <a:gdLst>
                <a:gd name="connsiteX0" fmla="*/ 48101 w 95250"/>
                <a:gd name="connsiteY0" fmla="*/ 94808 h 95250"/>
                <a:gd name="connsiteX1" fmla="*/ 89059 w 95250"/>
                <a:gd name="connsiteY1" fmla="*/ 49088 h 95250"/>
                <a:gd name="connsiteX2" fmla="*/ 48101 w 95250"/>
                <a:gd name="connsiteY2" fmla="*/ 7178 h 95250"/>
                <a:gd name="connsiteX3" fmla="*/ 7144 w 95250"/>
                <a:gd name="connsiteY3" fmla="*/ 52898 h 95250"/>
                <a:gd name="connsiteX4" fmla="*/ 48101 w 95250"/>
                <a:gd name="connsiteY4" fmla="*/ 94808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48101" y="94808"/>
                  </a:moveTo>
                  <a:cubicBezTo>
                    <a:pt x="70961" y="93856"/>
                    <a:pt x="89059" y="73853"/>
                    <a:pt x="89059" y="49088"/>
                  </a:cubicBezTo>
                  <a:cubicBezTo>
                    <a:pt x="89059" y="25275"/>
                    <a:pt x="70961" y="6225"/>
                    <a:pt x="48101" y="7178"/>
                  </a:cubicBezTo>
                  <a:cubicBezTo>
                    <a:pt x="25241" y="8131"/>
                    <a:pt x="7144" y="28133"/>
                    <a:pt x="7144" y="52898"/>
                  </a:cubicBezTo>
                  <a:cubicBezTo>
                    <a:pt x="8096" y="76711"/>
                    <a:pt x="26194" y="95761"/>
                    <a:pt x="48101" y="94808"/>
                  </a:cubicBezTo>
                  <a:close/>
                </a:path>
              </a:pathLst>
            </a:custGeom>
            <a:solidFill>
              <a:srgbClr val="0072AF"/>
            </a:solidFill>
            <a:ln w="9525" cap="flat">
              <a:noFill/>
              <a:prstDash val="solid"/>
              <a:miter/>
            </a:ln>
          </p:spPr>
          <p:txBody>
            <a:bodyPr rtlCol="0" anchor="ctr"/>
            <a:lstStyle/>
            <a:p>
              <a:endParaRPr lang="de-DE"/>
            </a:p>
          </p:txBody>
        </p:sp>
        <p:sp>
          <p:nvSpPr>
            <p:cNvPr id="80" name="Freeform: Shape 79">
              <a:extLst>
                <a:ext uri="{FF2B5EF4-FFF2-40B4-BE49-F238E27FC236}">
                  <a16:creationId xmlns:a16="http://schemas.microsoft.com/office/drawing/2014/main" id="{DBDABA8A-18FC-47B5-9311-E976C0C3BBDC}"/>
                </a:ext>
              </a:extLst>
            </p:cNvPr>
            <p:cNvSpPr/>
            <p:nvPr/>
          </p:nvSpPr>
          <p:spPr>
            <a:xfrm>
              <a:off x="6386989" y="1257136"/>
              <a:ext cx="695324" cy="581025"/>
            </a:xfrm>
            <a:custGeom>
              <a:avLst/>
              <a:gdLst>
                <a:gd name="connsiteX0" fmla="*/ 689134 w 695325"/>
                <a:gd name="connsiteY0" fmla="*/ 368141 h 581025"/>
                <a:gd name="connsiteX1" fmla="*/ 571024 w 695325"/>
                <a:gd name="connsiteY1" fmla="*/ 127159 h 581025"/>
                <a:gd name="connsiteX2" fmla="*/ 388144 w 695325"/>
                <a:gd name="connsiteY2" fmla="*/ 13811 h 581025"/>
                <a:gd name="connsiteX3" fmla="*/ 371951 w 695325"/>
                <a:gd name="connsiteY3" fmla="*/ 7144 h 581025"/>
                <a:gd name="connsiteX4" fmla="*/ 371951 w 695325"/>
                <a:gd name="connsiteY4" fmla="*/ 7144 h 581025"/>
                <a:gd name="connsiteX5" fmla="*/ 371951 w 695325"/>
                <a:gd name="connsiteY5" fmla="*/ 7144 h 581025"/>
                <a:gd name="connsiteX6" fmla="*/ 7144 w 695325"/>
                <a:gd name="connsiteY6" fmla="*/ 383381 h 581025"/>
                <a:gd name="connsiteX7" fmla="*/ 132874 w 695325"/>
                <a:gd name="connsiteY7" fmla="*/ 569119 h 581025"/>
                <a:gd name="connsiteX8" fmla="*/ 262414 w 695325"/>
                <a:gd name="connsiteY8" fmla="*/ 571976 h 581025"/>
                <a:gd name="connsiteX9" fmla="*/ 358616 w 695325"/>
                <a:gd name="connsiteY9" fmla="*/ 506254 h 581025"/>
                <a:gd name="connsiteX10" fmla="*/ 577692 w 695325"/>
                <a:gd name="connsiteY10" fmla="*/ 271939 h 581025"/>
                <a:gd name="connsiteX11" fmla="*/ 690086 w 695325"/>
                <a:gd name="connsiteY11" fmla="*/ 374809 h 581025"/>
                <a:gd name="connsiteX12" fmla="*/ 689134 w 695325"/>
                <a:gd name="connsiteY12" fmla="*/ 368141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325" h="581025">
                  <a:moveTo>
                    <a:pt x="689134" y="368141"/>
                  </a:moveTo>
                  <a:cubicBezTo>
                    <a:pt x="687229" y="271939"/>
                    <a:pt x="641509" y="191929"/>
                    <a:pt x="571024" y="127159"/>
                  </a:cubicBezTo>
                  <a:cubicBezTo>
                    <a:pt x="517684" y="78581"/>
                    <a:pt x="453866" y="41434"/>
                    <a:pt x="388144" y="13811"/>
                  </a:cubicBezTo>
                  <a:cubicBezTo>
                    <a:pt x="382429" y="11906"/>
                    <a:pt x="377666" y="9049"/>
                    <a:pt x="371951" y="7144"/>
                  </a:cubicBezTo>
                  <a:lnTo>
                    <a:pt x="371951" y="7144"/>
                  </a:lnTo>
                  <a:cubicBezTo>
                    <a:pt x="371951" y="7144"/>
                    <a:pt x="371951" y="7144"/>
                    <a:pt x="371951" y="7144"/>
                  </a:cubicBezTo>
                  <a:cubicBezTo>
                    <a:pt x="290036" y="105251"/>
                    <a:pt x="7144" y="178594"/>
                    <a:pt x="7144" y="383381"/>
                  </a:cubicBezTo>
                  <a:cubicBezTo>
                    <a:pt x="7144" y="463391"/>
                    <a:pt x="57626" y="538639"/>
                    <a:pt x="132874" y="569119"/>
                  </a:cubicBezTo>
                  <a:cubicBezTo>
                    <a:pt x="175736" y="585311"/>
                    <a:pt x="219551" y="586264"/>
                    <a:pt x="262414" y="571976"/>
                  </a:cubicBezTo>
                  <a:cubicBezTo>
                    <a:pt x="300514" y="559594"/>
                    <a:pt x="332899" y="535781"/>
                    <a:pt x="358616" y="506254"/>
                  </a:cubicBezTo>
                  <a:cubicBezTo>
                    <a:pt x="441484" y="413861"/>
                    <a:pt x="475774" y="271939"/>
                    <a:pt x="577692" y="271939"/>
                  </a:cubicBezTo>
                  <a:cubicBezTo>
                    <a:pt x="671036" y="271939"/>
                    <a:pt x="683419" y="338614"/>
                    <a:pt x="690086" y="374809"/>
                  </a:cubicBezTo>
                  <a:cubicBezTo>
                    <a:pt x="689134" y="373856"/>
                    <a:pt x="689134" y="371951"/>
                    <a:pt x="689134" y="368141"/>
                  </a:cubicBezTo>
                  <a:close/>
                </a:path>
              </a:pathLst>
            </a:custGeom>
            <a:solidFill>
              <a:srgbClr val="0072AF"/>
            </a:solidFill>
            <a:ln w="9525" cap="flat">
              <a:noFill/>
              <a:prstDash val="solid"/>
              <a:miter/>
            </a:ln>
          </p:spPr>
          <p:txBody>
            <a:bodyPr rtlCol="0" anchor="ctr"/>
            <a:lstStyle/>
            <a:p>
              <a:endParaRPr lang="de-DE"/>
            </a:p>
          </p:txBody>
        </p:sp>
      </p:grpSp>
      <p:sp>
        <p:nvSpPr>
          <p:cNvPr id="2" name="Date Placeholder 1">
            <a:extLst>
              <a:ext uri="{FF2B5EF4-FFF2-40B4-BE49-F238E27FC236}">
                <a16:creationId xmlns:a16="http://schemas.microsoft.com/office/drawing/2014/main" id="{7F88FDA9-79AD-42B6-AD3B-E0B1FAC7EA43}"/>
              </a:ext>
            </a:extLst>
          </p:cNvPr>
          <p:cNvSpPr>
            <a:spLocks noGrp="1"/>
          </p:cNvSpPr>
          <p:nvPr>
            <p:ph type="dt" sz="half" idx="10"/>
          </p:nvPr>
        </p:nvSpPr>
        <p:spPr>
          <a:xfrm>
            <a:off x="426720" y="6337697"/>
            <a:ext cx="2664297" cy="123111"/>
          </a:xfrm>
        </p:spPr>
        <p:txBody>
          <a:bodyPr/>
          <a:lstStyle>
            <a:lvl1pPr algn="l">
              <a:defRPr>
                <a:solidFill>
                  <a:schemeClr val="bg1"/>
                </a:solidFill>
              </a:defRPr>
            </a:lvl1pPr>
          </a:lstStyle>
          <a:p>
            <a:pPr>
              <a:spcBef>
                <a:spcPts val="1000"/>
              </a:spcBef>
              <a:buFont typeface="Arial" panose="020B0604020202020204" pitchFamily="34" charset="0"/>
              <a:buNone/>
            </a:pPr>
            <a:r>
              <a:rPr lang="nl-BE"/>
              <a:t>© Capgemini Invent 2019. All rights reserved.</a:t>
            </a:r>
            <a:endParaRPr lang="en-US" dirty="0"/>
          </a:p>
        </p:txBody>
      </p:sp>
    </p:spTree>
    <p:extLst>
      <p:ext uri="{BB962C8B-B14F-4D97-AF65-F5344CB8AC3E}">
        <p14:creationId xmlns:p14="http://schemas.microsoft.com/office/powerpoint/2010/main" val="3859756234"/>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dirty="0"/>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
        <p:nvSpPr>
          <p:cNvPr id="4" name="Footer Placeholder 9">
            <a:extLst>
              <a:ext uri="{FF2B5EF4-FFF2-40B4-BE49-F238E27FC236}">
                <a16:creationId xmlns:a16="http://schemas.microsoft.com/office/drawing/2014/main" id="{E9059DE2-2E82-4A38-8CBC-96513B513C5F}"/>
              </a:ext>
            </a:extLst>
          </p:cNvPr>
          <p:cNvSpPr>
            <a:spLocks noGrp="1"/>
          </p:cNvSpPr>
          <p:nvPr>
            <p:ph type="ftr" sz="quarter" idx="3"/>
          </p:nvPr>
        </p:nvSpPr>
        <p:spPr>
          <a:xfrm>
            <a:off x="299326"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dirty="0"/>
              <a:t>Customer engagement | Capgemini Invent</a:t>
            </a:r>
          </a:p>
        </p:txBody>
      </p:sp>
      <p:sp>
        <p:nvSpPr>
          <p:cNvPr id="6" name="Date Placeholder 34">
            <a:extLst>
              <a:ext uri="{FF2B5EF4-FFF2-40B4-BE49-F238E27FC236}">
                <a16:creationId xmlns:a16="http://schemas.microsoft.com/office/drawing/2014/main" id="{528443A4-A182-42EE-89D6-D22AED4A9567}"/>
              </a:ext>
            </a:extLst>
          </p:cNvPr>
          <p:cNvSpPr>
            <a:spLocks noGrp="1"/>
          </p:cNvSpPr>
          <p:nvPr>
            <p:ph type="dt" sz="half" idx="2"/>
          </p:nvPr>
        </p:nvSpPr>
        <p:spPr>
          <a:xfrm>
            <a:off x="8934673" y="6650661"/>
            <a:ext cx="2664297" cy="123111"/>
          </a:xfrm>
          <a:prstGeom prst="rect">
            <a:avLst/>
          </a:prstGeom>
        </p:spPr>
        <p:txBody>
          <a:bodyPr lIns="0" tIns="0" rIns="0" bIns="0" anchor="ctr" anchorCtr="0">
            <a:noAutofit/>
          </a:bodyPr>
          <a:lstStyle>
            <a:lvl1pPr>
              <a:defRPr lang="de-DE" sz="800" smtClean="0">
                <a:solidFill>
                  <a:schemeClr val="bg1">
                    <a:lumMod val="65000"/>
                  </a:schemeClr>
                </a:solidFill>
              </a:defRPr>
            </a:lvl1pPr>
          </a:lstStyle>
          <a:p>
            <a:pPr algn="r">
              <a:spcBef>
                <a:spcPts val="1000"/>
              </a:spcBef>
              <a:buFont typeface="Arial" panose="020B0604020202020204" pitchFamily="34" charset="0"/>
              <a:buNone/>
            </a:pPr>
            <a:r>
              <a:rPr lang="nl-BE"/>
              <a:t>© Capgemini Invent 2019. All rights reserved.</a:t>
            </a:r>
            <a:endParaRPr lang="en-US" dirty="0"/>
          </a:p>
        </p:txBody>
      </p:sp>
      <p:cxnSp>
        <p:nvCxnSpPr>
          <p:cNvPr id="7" name="Straight Connector 6">
            <a:extLst>
              <a:ext uri="{FF2B5EF4-FFF2-40B4-BE49-F238E27FC236}">
                <a16:creationId xmlns:a16="http://schemas.microsoft.com/office/drawing/2014/main" id="{0011196B-0381-4CFE-A120-A51D7806996D}"/>
              </a:ext>
            </a:extLst>
          </p:cNvPr>
          <p:cNvCxnSpPr/>
          <p:nvPr userDrawn="1"/>
        </p:nvCxnSpPr>
        <p:spPr>
          <a:xfrm>
            <a:off x="11647152" y="6668075"/>
            <a:ext cx="0" cy="972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Slide Number Placeholder 37">
            <a:extLst>
              <a:ext uri="{FF2B5EF4-FFF2-40B4-BE49-F238E27FC236}">
                <a16:creationId xmlns:a16="http://schemas.microsoft.com/office/drawing/2014/main" id="{44827B3C-B909-4F4C-9513-292A5D2D70DF}"/>
              </a:ext>
            </a:extLst>
          </p:cNvPr>
          <p:cNvSpPr>
            <a:spLocks noGrp="1"/>
          </p:cNvSpPr>
          <p:nvPr>
            <p:ph type="sldNum" sz="quarter" idx="4"/>
          </p:nvPr>
        </p:nvSpPr>
        <p:spPr>
          <a:xfrm>
            <a:off x="11695335"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cs typeface="Arial" panose="020B0604020202020204" pitchFamily="34" charset="0"/>
              </a:defRPr>
            </a:lvl1pPr>
          </a:lstStyle>
          <a:p>
            <a:pPr algn="r"/>
            <a:fld id="{5D9A5160-6218-4E5A-B9E6-B93E3DAE377C}" type="slidenum">
              <a:rPr lang="en-US" smtClean="0"/>
              <a:pPr algn="r"/>
              <a:t>‹#›</a:t>
            </a:fld>
            <a:endParaRPr lang="en-US" dirty="0"/>
          </a:p>
        </p:txBody>
      </p:sp>
    </p:spTree>
    <p:extLst>
      <p:ext uri="{BB962C8B-B14F-4D97-AF65-F5344CB8AC3E}">
        <p14:creationId xmlns:p14="http://schemas.microsoft.com/office/powerpoint/2010/main" val="12189692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845"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US" dirty="0"/>
              <a:t>Click to edit Master title style</a:t>
            </a:r>
            <a:endParaRPr lang="en-GB" dirty="0"/>
          </a:p>
        </p:txBody>
      </p:sp>
    </p:spTree>
    <p:extLst>
      <p:ext uri="{BB962C8B-B14F-4D97-AF65-F5344CB8AC3E}">
        <p14:creationId xmlns:p14="http://schemas.microsoft.com/office/powerpoint/2010/main" val="841995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898733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1402" name="Freeform 6">
            <a:extLst>
              <a:ext uri="{FF2B5EF4-FFF2-40B4-BE49-F238E27FC236}">
                <a16:creationId xmlns:a16="http://schemas.microsoft.com/office/drawing/2014/main" id="{495B6D58-C4DF-4F90-99EF-39ADF44EDC29}"/>
              </a:ext>
            </a:extLst>
          </p:cNvPr>
          <p:cNvSpPr>
            <a:spLocks/>
          </p:cNvSpPr>
          <p:nvPr userDrawn="1"/>
        </p:nvSpPr>
        <p:spPr bwMode="auto">
          <a:xfrm>
            <a:off x="3771900" y="1479550"/>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1">
              <a:alpha val="87000"/>
            </a:schemeClr>
          </a:solidFill>
          <a:ln w="8055" cap="flat">
            <a:no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845" name="Freeform 1427">
            <a:extLst>
              <a:ext uri="{FF2B5EF4-FFF2-40B4-BE49-F238E27FC236}">
                <a16:creationId xmlns:a16="http://schemas.microsoft.com/office/drawing/2014/main" id="{358E9ADE-CEB6-4572-8DAD-3FD18FD6260F}"/>
              </a:ext>
            </a:extLst>
          </p:cNvPr>
          <p:cNvSpPr>
            <a:spLocks noEditPoints="1"/>
          </p:cNvSpPr>
          <p:nvPr/>
        </p:nvSpPr>
        <p:spPr bwMode="auto">
          <a:xfrm>
            <a:off x="5081682" y="5148796"/>
            <a:ext cx="727794" cy="723382"/>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6" name="Freeform 1428">
            <a:extLst>
              <a:ext uri="{FF2B5EF4-FFF2-40B4-BE49-F238E27FC236}">
                <a16:creationId xmlns:a16="http://schemas.microsoft.com/office/drawing/2014/main" id="{AD49E851-DC18-439C-B45B-4A8FE9AFDBDF}"/>
              </a:ext>
            </a:extLst>
          </p:cNvPr>
          <p:cNvSpPr>
            <a:spLocks noEditPoints="1"/>
          </p:cNvSpPr>
          <p:nvPr/>
        </p:nvSpPr>
        <p:spPr bwMode="auto">
          <a:xfrm>
            <a:off x="4142169" y="3335929"/>
            <a:ext cx="930694" cy="921873"/>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7" name="Freeform 1429">
            <a:extLst>
              <a:ext uri="{FF2B5EF4-FFF2-40B4-BE49-F238E27FC236}">
                <a16:creationId xmlns:a16="http://schemas.microsoft.com/office/drawing/2014/main" id="{4F920B27-3F04-4D26-8BEC-019076793765}"/>
              </a:ext>
            </a:extLst>
          </p:cNvPr>
          <p:cNvSpPr>
            <a:spLocks noEditPoints="1"/>
          </p:cNvSpPr>
          <p:nvPr/>
        </p:nvSpPr>
        <p:spPr bwMode="auto">
          <a:xfrm>
            <a:off x="5584521" y="4094598"/>
            <a:ext cx="1451177" cy="1433533"/>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8" name="Freeform 1430">
            <a:extLst>
              <a:ext uri="{FF2B5EF4-FFF2-40B4-BE49-F238E27FC236}">
                <a16:creationId xmlns:a16="http://schemas.microsoft.com/office/drawing/2014/main" id="{745DE343-7D69-4799-BC28-DB45680A6E9D}"/>
              </a:ext>
            </a:extLst>
          </p:cNvPr>
          <p:cNvSpPr>
            <a:spLocks noEditPoints="1"/>
          </p:cNvSpPr>
          <p:nvPr/>
        </p:nvSpPr>
        <p:spPr bwMode="auto">
          <a:xfrm>
            <a:off x="5708025" y="4218102"/>
            <a:ext cx="1195346" cy="1186525"/>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9" name="Freeform 1431">
            <a:extLst>
              <a:ext uri="{FF2B5EF4-FFF2-40B4-BE49-F238E27FC236}">
                <a16:creationId xmlns:a16="http://schemas.microsoft.com/office/drawing/2014/main" id="{95632921-F14C-4313-9F9F-D447C9E5353A}"/>
              </a:ext>
            </a:extLst>
          </p:cNvPr>
          <p:cNvSpPr>
            <a:spLocks noEditPoints="1"/>
          </p:cNvSpPr>
          <p:nvPr/>
        </p:nvSpPr>
        <p:spPr bwMode="auto">
          <a:xfrm>
            <a:off x="4525913" y="4143119"/>
            <a:ext cx="1107129" cy="1111538"/>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0" name="Freeform 1432">
            <a:extLst>
              <a:ext uri="{FF2B5EF4-FFF2-40B4-BE49-F238E27FC236}">
                <a16:creationId xmlns:a16="http://schemas.microsoft.com/office/drawing/2014/main" id="{78B5AFDE-CD49-431E-A68D-4E8769178E03}"/>
              </a:ext>
            </a:extLst>
          </p:cNvPr>
          <p:cNvSpPr>
            <a:spLocks noEditPoints="1"/>
          </p:cNvSpPr>
          <p:nvPr/>
        </p:nvSpPr>
        <p:spPr bwMode="auto">
          <a:xfrm>
            <a:off x="9355814" y="3816715"/>
            <a:ext cx="70574" cy="127917"/>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1" name="Freeform 1433">
            <a:extLst>
              <a:ext uri="{FF2B5EF4-FFF2-40B4-BE49-F238E27FC236}">
                <a16:creationId xmlns:a16="http://schemas.microsoft.com/office/drawing/2014/main" id="{B3D77CE8-2EA8-423E-837A-7C19A3308528}"/>
              </a:ext>
            </a:extLst>
          </p:cNvPr>
          <p:cNvSpPr>
            <a:spLocks noEditPoints="1"/>
          </p:cNvSpPr>
          <p:nvPr/>
        </p:nvSpPr>
        <p:spPr bwMode="auto">
          <a:xfrm>
            <a:off x="9289649" y="3816715"/>
            <a:ext cx="70574" cy="127917"/>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2" name="Freeform 1434">
            <a:extLst>
              <a:ext uri="{FF2B5EF4-FFF2-40B4-BE49-F238E27FC236}">
                <a16:creationId xmlns:a16="http://schemas.microsoft.com/office/drawing/2014/main" id="{2A647C88-D50C-4F90-B0F8-1BE2F18D4FA3}"/>
              </a:ext>
            </a:extLst>
          </p:cNvPr>
          <p:cNvSpPr>
            <a:spLocks noEditPoints="1"/>
          </p:cNvSpPr>
          <p:nvPr/>
        </p:nvSpPr>
        <p:spPr bwMode="auto">
          <a:xfrm>
            <a:off x="8738292" y="3772606"/>
            <a:ext cx="247009" cy="251421"/>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3" name="Freeform 1435">
            <a:extLst>
              <a:ext uri="{FF2B5EF4-FFF2-40B4-BE49-F238E27FC236}">
                <a16:creationId xmlns:a16="http://schemas.microsoft.com/office/drawing/2014/main" id="{FC924A94-9D15-48A0-9134-B58B86D07016}"/>
              </a:ext>
            </a:extLst>
          </p:cNvPr>
          <p:cNvSpPr>
            <a:spLocks noEditPoints="1"/>
          </p:cNvSpPr>
          <p:nvPr/>
        </p:nvSpPr>
        <p:spPr bwMode="auto">
          <a:xfrm>
            <a:off x="9029410" y="3874054"/>
            <a:ext cx="119095" cy="123504"/>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4" name="Freeform 1436">
            <a:extLst>
              <a:ext uri="{FF2B5EF4-FFF2-40B4-BE49-F238E27FC236}">
                <a16:creationId xmlns:a16="http://schemas.microsoft.com/office/drawing/2014/main" id="{CAA04CBA-8980-4A26-BB69-378A5102C062}"/>
              </a:ext>
            </a:extLst>
          </p:cNvPr>
          <p:cNvSpPr>
            <a:spLocks noEditPoints="1"/>
          </p:cNvSpPr>
          <p:nvPr/>
        </p:nvSpPr>
        <p:spPr bwMode="auto">
          <a:xfrm>
            <a:off x="9563123" y="3282998"/>
            <a:ext cx="1296795" cy="1292385"/>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solidFill>
            <a:srgbClr val="D1D3D4">
              <a:alpha val="5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5" name="Freeform 1437">
            <a:extLst>
              <a:ext uri="{FF2B5EF4-FFF2-40B4-BE49-F238E27FC236}">
                <a16:creationId xmlns:a16="http://schemas.microsoft.com/office/drawing/2014/main" id="{AD8DDB01-17BB-474C-9D93-885225996EF9}"/>
              </a:ext>
            </a:extLst>
          </p:cNvPr>
          <p:cNvSpPr>
            <a:spLocks noEditPoints="1"/>
          </p:cNvSpPr>
          <p:nvPr/>
        </p:nvSpPr>
        <p:spPr bwMode="auto">
          <a:xfrm>
            <a:off x="8526571" y="4015202"/>
            <a:ext cx="1182112" cy="1177703"/>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6" name="Freeform 1438">
            <a:extLst>
              <a:ext uri="{FF2B5EF4-FFF2-40B4-BE49-F238E27FC236}">
                <a16:creationId xmlns:a16="http://schemas.microsoft.com/office/drawing/2014/main" id="{7594E960-9584-4B08-9AC6-30C02120EF2B}"/>
              </a:ext>
            </a:extLst>
          </p:cNvPr>
          <p:cNvSpPr>
            <a:spLocks noEditPoints="1"/>
          </p:cNvSpPr>
          <p:nvPr/>
        </p:nvSpPr>
        <p:spPr bwMode="auto">
          <a:xfrm>
            <a:off x="9951280" y="3675567"/>
            <a:ext cx="520482" cy="520482"/>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7" name="Freeform 1439">
            <a:extLst>
              <a:ext uri="{FF2B5EF4-FFF2-40B4-BE49-F238E27FC236}">
                <a16:creationId xmlns:a16="http://schemas.microsoft.com/office/drawing/2014/main" id="{84969954-0E33-457D-8B85-0858EC48A57E}"/>
              </a:ext>
            </a:extLst>
          </p:cNvPr>
          <p:cNvSpPr>
            <a:spLocks noEditPoints="1"/>
          </p:cNvSpPr>
          <p:nvPr/>
        </p:nvSpPr>
        <p:spPr bwMode="auto">
          <a:xfrm>
            <a:off x="8725058" y="2859555"/>
            <a:ext cx="886586" cy="855708"/>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8" name="Freeform 1440">
            <a:extLst>
              <a:ext uri="{FF2B5EF4-FFF2-40B4-BE49-F238E27FC236}">
                <a16:creationId xmlns:a16="http://schemas.microsoft.com/office/drawing/2014/main" id="{B46F731E-5600-45F4-ACD6-0BA9B87FEEB3}"/>
              </a:ext>
            </a:extLst>
          </p:cNvPr>
          <p:cNvSpPr>
            <a:spLocks noEditPoints="1"/>
          </p:cNvSpPr>
          <p:nvPr/>
        </p:nvSpPr>
        <p:spPr bwMode="auto">
          <a:xfrm>
            <a:off x="8601554" y="2740463"/>
            <a:ext cx="1098307" cy="1093895"/>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9" name="Freeform 1441">
            <a:extLst>
              <a:ext uri="{FF2B5EF4-FFF2-40B4-BE49-F238E27FC236}">
                <a16:creationId xmlns:a16="http://schemas.microsoft.com/office/drawing/2014/main" id="{6241CE7E-7AB2-4541-9B27-155F56E3A6A0}"/>
              </a:ext>
            </a:extLst>
          </p:cNvPr>
          <p:cNvSpPr>
            <a:spLocks noEditPoints="1"/>
          </p:cNvSpPr>
          <p:nvPr/>
        </p:nvSpPr>
        <p:spPr bwMode="auto">
          <a:xfrm>
            <a:off x="8936780" y="3084511"/>
            <a:ext cx="432265" cy="405800"/>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0" name="Freeform 1442">
            <a:extLst>
              <a:ext uri="{FF2B5EF4-FFF2-40B4-BE49-F238E27FC236}">
                <a16:creationId xmlns:a16="http://schemas.microsoft.com/office/drawing/2014/main" id="{18328C36-A39D-4E90-B2CC-C0BF8ED5A7AF}"/>
              </a:ext>
            </a:extLst>
          </p:cNvPr>
          <p:cNvSpPr>
            <a:spLocks noEditPoints="1"/>
          </p:cNvSpPr>
          <p:nvPr/>
        </p:nvSpPr>
        <p:spPr bwMode="auto">
          <a:xfrm>
            <a:off x="6762224" y="2841912"/>
            <a:ext cx="1949603" cy="1945194"/>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9"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3"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3"/>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1" name="Freeform 1443">
            <a:extLst>
              <a:ext uri="{FF2B5EF4-FFF2-40B4-BE49-F238E27FC236}">
                <a16:creationId xmlns:a16="http://schemas.microsoft.com/office/drawing/2014/main" id="{39C39976-0A3C-4006-87FD-14E997AEBF62}"/>
              </a:ext>
            </a:extLst>
          </p:cNvPr>
          <p:cNvSpPr>
            <a:spLocks noEditPoints="1"/>
          </p:cNvSpPr>
          <p:nvPr/>
        </p:nvSpPr>
        <p:spPr bwMode="auto">
          <a:xfrm>
            <a:off x="9713093" y="3141851"/>
            <a:ext cx="167613" cy="167613"/>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2" name="Freeform 1444">
            <a:extLst>
              <a:ext uri="{FF2B5EF4-FFF2-40B4-BE49-F238E27FC236}">
                <a16:creationId xmlns:a16="http://schemas.microsoft.com/office/drawing/2014/main" id="{73FA1C52-FED2-4A0A-8EF1-4694DE0F862B}"/>
              </a:ext>
            </a:extLst>
          </p:cNvPr>
          <p:cNvSpPr>
            <a:spLocks noEditPoints="1"/>
          </p:cNvSpPr>
          <p:nvPr/>
        </p:nvSpPr>
        <p:spPr bwMode="auto">
          <a:xfrm>
            <a:off x="11799434" y="4293088"/>
            <a:ext cx="44109" cy="79396"/>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3" name="Freeform 1445">
            <a:extLst>
              <a:ext uri="{FF2B5EF4-FFF2-40B4-BE49-F238E27FC236}">
                <a16:creationId xmlns:a16="http://schemas.microsoft.com/office/drawing/2014/main" id="{732CEE14-0764-4EE4-887D-ACB177DB8791}"/>
              </a:ext>
            </a:extLst>
          </p:cNvPr>
          <p:cNvSpPr>
            <a:spLocks noEditPoints="1"/>
          </p:cNvSpPr>
          <p:nvPr/>
        </p:nvSpPr>
        <p:spPr bwMode="auto">
          <a:xfrm>
            <a:off x="11755326" y="4293088"/>
            <a:ext cx="44109" cy="79396"/>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4" name="Freeform 1446">
            <a:extLst>
              <a:ext uri="{FF2B5EF4-FFF2-40B4-BE49-F238E27FC236}">
                <a16:creationId xmlns:a16="http://schemas.microsoft.com/office/drawing/2014/main" id="{2CE7108A-FE1A-4765-B341-17E027FA6877}"/>
              </a:ext>
            </a:extLst>
          </p:cNvPr>
          <p:cNvSpPr>
            <a:spLocks noEditPoints="1"/>
          </p:cNvSpPr>
          <p:nvPr/>
        </p:nvSpPr>
        <p:spPr bwMode="auto">
          <a:xfrm>
            <a:off x="11406866" y="3702032"/>
            <a:ext cx="551360" cy="533716"/>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5" name="Freeform 1447">
            <a:extLst>
              <a:ext uri="{FF2B5EF4-FFF2-40B4-BE49-F238E27FC236}">
                <a16:creationId xmlns:a16="http://schemas.microsoft.com/office/drawing/2014/main" id="{FB336AAA-2E40-4610-9B03-C9ED5630AC27}"/>
              </a:ext>
            </a:extLst>
          </p:cNvPr>
          <p:cNvSpPr>
            <a:spLocks noEditPoints="1"/>
          </p:cNvSpPr>
          <p:nvPr/>
        </p:nvSpPr>
        <p:spPr bwMode="auto">
          <a:xfrm>
            <a:off x="11331882" y="3627046"/>
            <a:ext cx="679274" cy="679274"/>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6" name="Freeform 1448">
            <a:extLst>
              <a:ext uri="{FF2B5EF4-FFF2-40B4-BE49-F238E27FC236}">
                <a16:creationId xmlns:a16="http://schemas.microsoft.com/office/drawing/2014/main" id="{9747CDCB-9D73-4D58-B8EC-80C9B46212F4}"/>
              </a:ext>
            </a:extLst>
          </p:cNvPr>
          <p:cNvSpPr>
            <a:spLocks noEditPoints="1"/>
          </p:cNvSpPr>
          <p:nvPr/>
        </p:nvSpPr>
        <p:spPr bwMode="auto">
          <a:xfrm>
            <a:off x="11534782" y="3843180"/>
            <a:ext cx="273474" cy="251421"/>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7" name="Freeform 1449">
            <a:extLst>
              <a:ext uri="{FF2B5EF4-FFF2-40B4-BE49-F238E27FC236}">
                <a16:creationId xmlns:a16="http://schemas.microsoft.com/office/drawing/2014/main" id="{89310CB5-CD19-424B-B578-54815E4197D4}"/>
              </a:ext>
            </a:extLst>
          </p:cNvPr>
          <p:cNvSpPr>
            <a:spLocks noEditPoints="1"/>
          </p:cNvSpPr>
          <p:nvPr/>
        </p:nvSpPr>
        <p:spPr bwMode="auto">
          <a:xfrm>
            <a:off x="12019978" y="3874054"/>
            <a:ext cx="105861" cy="105861"/>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8" name="Freeform 1450">
            <a:extLst>
              <a:ext uri="{FF2B5EF4-FFF2-40B4-BE49-F238E27FC236}">
                <a16:creationId xmlns:a16="http://schemas.microsoft.com/office/drawing/2014/main" id="{5866942D-7830-4535-B6F6-FCC28FAF2440}"/>
              </a:ext>
            </a:extLst>
          </p:cNvPr>
          <p:cNvSpPr>
            <a:spLocks noEditPoints="1"/>
          </p:cNvSpPr>
          <p:nvPr/>
        </p:nvSpPr>
        <p:spPr bwMode="auto">
          <a:xfrm>
            <a:off x="8698593" y="4041667"/>
            <a:ext cx="79396" cy="74986"/>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9" name="Freeform 1451">
            <a:extLst>
              <a:ext uri="{FF2B5EF4-FFF2-40B4-BE49-F238E27FC236}">
                <a16:creationId xmlns:a16="http://schemas.microsoft.com/office/drawing/2014/main" id="{8D4BC6ED-6CFD-451E-8111-FA9027AEB30B}"/>
              </a:ext>
            </a:extLst>
          </p:cNvPr>
          <p:cNvSpPr>
            <a:spLocks noEditPoints="1"/>
          </p:cNvSpPr>
          <p:nvPr/>
        </p:nvSpPr>
        <p:spPr bwMode="auto">
          <a:xfrm>
            <a:off x="9157323" y="3860823"/>
            <a:ext cx="344048" cy="220543"/>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0" name="Freeform 1452">
            <a:extLst>
              <a:ext uri="{FF2B5EF4-FFF2-40B4-BE49-F238E27FC236}">
                <a16:creationId xmlns:a16="http://schemas.microsoft.com/office/drawing/2014/main" id="{B85A4E2F-4188-4721-9A09-0AAF3497544F}"/>
              </a:ext>
            </a:extLst>
          </p:cNvPr>
          <p:cNvSpPr>
            <a:spLocks noEditPoints="1"/>
          </p:cNvSpPr>
          <p:nvPr/>
        </p:nvSpPr>
        <p:spPr bwMode="auto">
          <a:xfrm>
            <a:off x="11221609" y="3728497"/>
            <a:ext cx="114683" cy="114683"/>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1" name="Freeform 1453">
            <a:extLst>
              <a:ext uri="{FF2B5EF4-FFF2-40B4-BE49-F238E27FC236}">
                <a16:creationId xmlns:a16="http://schemas.microsoft.com/office/drawing/2014/main" id="{EB3FEF99-C593-42A5-928C-706CA460E71B}"/>
              </a:ext>
            </a:extLst>
          </p:cNvPr>
          <p:cNvSpPr>
            <a:spLocks noEditPoints="1"/>
          </p:cNvSpPr>
          <p:nvPr/>
        </p:nvSpPr>
        <p:spPr bwMode="auto">
          <a:xfrm>
            <a:off x="10899617" y="3803481"/>
            <a:ext cx="414622" cy="414622"/>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2" name="Freeform 1454">
            <a:extLst>
              <a:ext uri="{FF2B5EF4-FFF2-40B4-BE49-F238E27FC236}">
                <a16:creationId xmlns:a16="http://schemas.microsoft.com/office/drawing/2014/main" id="{05B4AEFE-CB27-4A7F-A5B5-ADE69921E14B}"/>
              </a:ext>
            </a:extLst>
          </p:cNvPr>
          <p:cNvSpPr>
            <a:spLocks noEditPoints="1"/>
          </p:cNvSpPr>
          <p:nvPr/>
        </p:nvSpPr>
        <p:spPr bwMode="auto">
          <a:xfrm>
            <a:off x="11817078" y="4368072"/>
            <a:ext cx="335226" cy="326404"/>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3" name="Freeform 1455">
            <a:extLst>
              <a:ext uri="{FF2B5EF4-FFF2-40B4-BE49-F238E27FC236}">
                <a16:creationId xmlns:a16="http://schemas.microsoft.com/office/drawing/2014/main" id="{76B337E7-45AC-4A88-879A-99BB46B6F045}"/>
              </a:ext>
            </a:extLst>
          </p:cNvPr>
          <p:cNvSpPr>
            <a:spLocks noEditPoints="1"/>
          </p:cNvSpPr>
          <p:nvPr/>
        </p:nvSpPr>
        <p:spPr bwMode="auto">
          <a:xfrm>
            <a:off x="11777378" y="4328375"/>
            <a:ext cx="414622" cy="405800"/>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4" name="Freeform 1456">
            <a:extLst>
              <a:ext uri="{FF2B5EF4-FFF2-40B4-BE49-F238E27FC236}">
                <a16:creationId xmlns:a16="http://schemas.microsoft.com/office/drawing/2014/main" id="{DC82760E-5B20-4C27-8BFA-76D5AFA68529}"/>
              </a:ext>
            </a:extLst>
          </p:cNvPr>
          <p:cNvSpPr>
            <a:spLocks noEditPoints="1"/>
          </p:cNvSpPr>
          <p:nvPr/>
        </p:nvSpPr>
        <p:spPr bwMode="auto">
          <a:xfrm>
            <a:off x="11900883" y="4447467"/>
            <a:ext cx="172025" cy="163203"/>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5" name="Oval 1532">
            <a:extLst>
              <a:ext uri="{FF2B5EF4-FFF2-40B4-BE49-F238E27FC236}">
                <a16:creationId xmlns:a16="http://schemas.microsoft.com/office/drawing/2014/main" id="{797A129D-273D-4719-B48F-66DD23E590DC}"/>
              </a:ext>
            </a:extLst>
          </p:cNvPr>
          <p:cNvSpPr>
            <a:spLocks noChangeArrowheads="1"/>
          </p:cNvSpPr>
          <p:nvPr/>
        </p:nvSpPr>
        <p:spPr bwMode="auto">
          <a:xfrm>
            <a:off x="7556180" y="3635868"/>
            <a:ext cx="361691" cy="361691"/>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6" name="Oval 1533">
            <a:extLst>
              <a:ext uri="{FF2B5EF4-FFF2-40B4-BE49-F238E27FC236}">
                <a16:creationId xmlns:a16="http://schemas.microsoft.com/office/drawing/2014/main" id="{9512C717-98EE-4981-8B1B-501D0A5500A1}"/>
              </a:ext>
            </a:extLst>
          </p:cNvPr>
          <p:cNvSpPr>
            <a:spLocks noChangeArrowheads="1"/>
          </p:cNvSpPr>
          <p:nvPr/>
        </p:nvSpPr>
        <p:spPr bwMode="auto">
          <a:xfrm>
            <a:off x="7273885" y="3353572"/>
            <a:ext cx="921873" cy="92187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7" name="Freeform 1534">
            <a:extLst>
              <a:ext uri="{FF2B5EF4-FFF2-40B4-BE49-F238E27FC236}">
                <a16:creationId xmlns:a16="http://schemas.microsoft.com/office/drawing/2014/main" id="{938BFFE6-CC1F-4094-BC79-C7506AA64E3D}"/>
              </a:ext>
            </a:extLst>
          </p:cNvPr>
          <p:cNvSpPr>
            <a:spLocks noEditPoints="1"/>
          </p:cNvSpPr>
          <p:nvPr/>
        </p:nvSpPr>
        <p:spPr bwMode="auto">
          <a:xfrm>
            <a:off x="7172433" y="3252124"/>
            <a:ext cx="1129182" cy="1124772"/>
          </a:xfrm>
          <a:custGeom>
            <a:avLst/>
            <a:gdLst>
              <a:gd name="T0" fmla="*/ 260 w 341"/>
              <a:gd name="T1" fmla="*/ 32 h 341"/>
              <a:gd name="T2" fmla="*/ 237 w 341"/>
              <a:gd name="T3" fmla="*/ 31 h 341"/>
              <a:gd name="T4" fmla="*/ 219 w 341"/>
              <a:gd name="T5" fmla="*/ 24 h 341"/>
              <a:gd name="T6" fmla="*/ 201 w 341"/>
              <a:gd name="T7" fmla="*/ 9 h 341"/>
              <a:gd name="T8" fmla="*/ 181 w 341"/>
              <a:gd name="T9" fmla="*/ 1 h 341"/>
              <a:gd name="T10" fmla="*/ 161 w 341"/>
              <a:gd name="T11" fmla="*/ 6 h 341"/>
              <a:gd name="T12" fmla="*/ 142 w 341"/>
              <a:gd name="T13" fmla="*/ 19 h 341"/>
              <a:gd name="T14" fmla="*/ 123 w 341"/>
              <a:gd name="T15" fmla="*/ 23 h 341"/>
              <a:gd name="T16" fmla="*/ 100 w 341"/>
              <a:gd name="T17" fmla="*/ 22 h 341"/>
              <a:gd name="T18" fmla="*/ 80 w 341"/>
              <a:gd name="T19" fmla="*/ 27 h 341"/>
              <a:gd name="T20" fmla="*/ 66 w 341"/>
              <a:gd name="T21" fmla="*/ 43 h 341"/>
              <a:gd name="T22" fmla="*/ 58 w 341"/>
              <a:gd name="T23" fmla="*/ 65 h 341"/>
              <a:gd name="T24" fmla="*/ 45 w 341"/>
              <a:gd name="T25" fmla="*/ 80 h 341"/>
              <a:gd name="T26" fmla="*/ 26 w 341"/>
              <a:gd name="T27" fmla="*/ 92 h 341"/>
              <a:gd name="T28" fmla="*/ 13 w 341"/>
              <a:gd name="T29" fmla="*/ 108 h 341"/>
              <a:gd name="T30" fmla="*/ 11 w 341"/>
              <a:gd name="T31" fmla="*/ 129 h 341"/>
              <a:gd name="T32" fmla="*/ 17 w 341"/>
              <a:gd name="T33" fmla="*/ 151 h 341"/>
              <a:gd name="T34" fmla="*/ 16 w 341"/>
              <a:gd name="T35" fmla="*/ 171 h 341"/>
              <a:gd name="T36" fmla="*/ 7 w 341"/>
              <a:gd name="T37" fmla="*/ 192 h 341"/>
              <a:gd name="T38" fmla="*/ 6 w 341"/>
              <a:gd name="T39" fmla="*/ 213 h 341"/>
              <a:gd name="T40" fmla="*/ 17 w 341"/>
              <a:gd name="T41" fmla="*/ 230 h 341"/>
              <a:gd name="T42" fmla="*/ 35 w 341"/>
              <a:gd name="T43" fmla="*/ 245 h 341"/>
              <a:gd name="T44" fmla="*/ 45 w 341"/>
              <a:gd name="T45" fmla="*/ 262 h 341"/>
              <a:gd name="T46" fmla="*/ 51 w 341"/>
              <a:gd name="T47" fmla="*/ 284 h 341"/>
              <a:gd name="T48" fmla="*/ 62 w 341"/>
              <a:gd name="T49" fmla="*/ 302 h 341"/>
              <a:gd name="T50" fmla="*/ 81 w 341"/>
              <a:gd name="T51" fmla="*/ 309 h 341"/>
              <a:gd name="T52" fmla="*/ 104 w 341"/>
              <a:gd name="T53" fmla="*/ 311 h 341"/>
              <a:gd name="T54" fmla="*/ 122 w 341"/>
              <a:gd name="T55" fmla="*/ 318 h 341"/>
              <a:gd name="T56" fmla="*/ 140 w 341"/>
              <a:gd name="T57" fmla="*/ 333 h 341"/>
              <a:gd name="T58" fmla="*/ 160 w 341"/>
              <a:gd name="T59" fmla="*/ 341 h 341"/>
              <a:gd name="T60" fmla="*/ 180 w 341"/>
              <a:gd name="T61" fmla="*/ 335 h 341"/>
              <a:gd name="T62" fmla="*/ 199 w 341"/>
              <a:gd name="T63" fmla="*/ 323 h 341"/>
              <a:gd name="T64" fmla="*/ 218 w 341"/>
              <a:gd name="T65" fmla="*/ 318 h 341"/>
              <a:gd name="T66" fmla="*/ 241 w 341"/>
              <a:gd name="T67" fmla="*/ 320 h 341"/>
              <a:gd name="T68" fmla="*/ 261 w 341"/>
              <a:gd name="T69" fmla="*/ 315 h 341"/>
              <a:gd name="T70" fmla="*/ 275 w 341"/>
              <a:gd name="T71" fmla="*/ 299 h 341"/>
              <a:gd name="T72" fmla="*/ 283 w 341"/>
              <a:gd name="T73" fmla="*/ 277 h 341"/>
              <a:gd name="T74" fmla="*/ 296 w 341"/>
              <a:gd name="T75" fmla="*/ 262 h 341"/>
              <a:gd name="T76" fmla="*/ 315 w 341"/>
              <a:gd name="T77" fmla="*/ 250 h 341"/>
              <a:gd name="T78" fmla="*/ 329 w 341"/>
              <a:gd name="T79" fmla="*/ 234 h 341"/>
              <a:gd name="T80" fmla="*/ 330 w 341"/>
              <a:gd name="T81" fmla="*/ 213 h 341"/>
              <a:gd name="T82" fmla="*/ 324 w 341"/>
              <a:gd name="T83" fmla="*/ 190 h 341"/>
              <a:gd name="T84" fmla="*/ 325 w 341"/>
              <a:gd name="T85" fmla="*/ 171 h 341"/>
              <a:gd name="T86" fmla="*/ 334 w 341"/>
              <a:gd name="T87" fmla="*/ 150 h 341"/>
              <a:gd name="T88" fmla="*/ 335 w 341"/>
              <a:gd name="T89" fmla="*/ 129 h 341"/>
              <a:gd name="T90" fmla="*/ 324 w 341"/>
              <a:gd name="T91" fmla="*/ 111 h 341"/>
              <a:gd name="T92" fmla="*/ 306 w 341"/>
              <a:gd name="T93" fmla="*/ 96 h 341"/>
              <a:gd name="T94" fmla="*/ 296 w 341"/>
              <a:gd name="T95" fmla="*/ 80 h 341"/>
              <a:gd name="T96" fmla="*/ 290 w 341"/>
              <a:gd name="T97" fmla="*/ 58 h 341"/>
              <a:gd name="T98" fmla="*/ 279 w 341"/>
              <a:gd name="T99" fmla="*/ 40 h 341"/>
              <a:gd name="T100" fmla="*/ 63 w 341"/>
              <a:gd name="T101" fmla="*/ 8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1" h="341">
                <a:moveTo>
                  <a:pt x="271" y="40"/>
                </a:moveTo>
                <a:cubicBezTo>
                  <a:pt x="268" y="43"/>
                  <a:pt x="264" y="45"/>
                  <a:pt x="262" y="46"/>
                </a:cubicBezTo>
                <a:cubicBezTo>
                  <a:pt x="260" y="45"/>
                  <a:pt x="259" y="44"/>
                  <a:pt x="258" y="43"/>
                </a:cubicBezTo>
                <a:cubicBezTo>
                  <a:pt x="257" y="40"/>
                  <a:pt x="258" y="36"/>
                  <a:pt x="260" y="32"/>
                </a:cubicBezTo>
                <a:cubicBezTo>
                  <a:pt x="262" y="27"/>
                  <a:pt x="259" y="26"/>
                  <a:pt x="257" y="25"/>
                </a:cubicBezTo>
                <a:cubicBezTo>
                  <a:pt x="255" y="23"/>
                  <a:pt x="253" y="22"/>
                  <a:pt x="249" y="26"/>
                </a:cubicBezTo>
                <a:cubicBezTo>
                  <a:pt x="247" y="29"/>
                  <a:pt x="244" y="32"/>
                  <a:pt x="241" y="33"/>
                </a:cubicBezTo>
                <a:cubicBezTo>
                  <a:pt x="240" y="32"/>
                  <a:pt x="238" y="31"/>
                  <a:pt x="237" y="31"/>
                </a:cubicBezTo>
                <a:cubicBezTo>
                  <a:pt x="236" y="28"/>
                  <a:pt x="236" y="24"/>
                  <a:pt x="237" y="20"/>
                </a:cubicBezTo>
                <a:cubicBezTo>
                  <a:pt x="238" y="15"/>
                  <a:pt x="235" y="14"/>
                  <a:pt x="233" y="13"/>
                </a:cubicBezTo>
                <a:cubicBezTo>
                  <a:pt x="231" y="12"/>
                  <a:pt x="228" y="11"/>
                  <a:pt x="226" y="16"/>
                </a:cubicBezTo>
                <a:cubicBezTo>
                  <a:pt x="224" y="19"/>
                  <a:pt x="221" y="22"/>
                  <a:pt x="219" y="24"/>
                </a:cubicBezTo>
                <a:cubicBezTo>
                  <a:pt x="217" y="23"/>
                  <a:pt x="215" y="23"/>
                  <a:pt x="214" y="22"/>
                </a:cubicBezTo>
                <a:cubicBezTo>
                  <a:pt x="213" y="20"/>
                  <a:pt x="212" y="15"/>
                  <a:pt x="213" y="12"/>
                </a:cubicBezTo>
                <a:cubicBezTo>
                  <a:pt x="213" y="6"/>
                  <a:pt x="210" y="5"/>
                  <a:pt x="208" y="5"/>
                </a:cubicBezTo>
                <a:cubicBezTo>
                  <a:pt x="206" y="4"/>
                  <a:pt x="203" y="3"/>
                  <a:pt x="201" y="9"/>
                </a:cubicBezTo>
                <a:cubicBezTo>
                  <a:pt x="199" y="13"/>
                  <a:pt x="197" y="16"/>
                  <a:pt x="195" y="18"/>
                </a:cubicBezTo>
                <a:cubicBezTo>
                  <a:pt x="193" y="18"/>
                  <a:pt x="192" y="17"/>
                  <a:pt x="190" y="17"/>
                </a:cubicBezTo>
                <a:cubicBezTo>
                  <a:pt x="189" y="15"/>
                  <a:pt x="188" y="11"/>
                  <a:pt x="187" y="7"/>
                </a:cubicBezTo>
                <a:cubicBezTo>
                  <a:pt x="187" y="1"/>
                  <a:pt x="184" y="1"/>
                  <a:pt x="181" y="1"/>
                </a:cubicBezTo>
                <a:cubicBezTo>
                  <a:pt x="179" y="1"/>
                  <a:pt x="176" y="0"/>
                  <a:pt x="175" y="6"/>
                </a:cubicBezTo>
                <a:cubicBezTo>
                  <a:pt x="174" y="10"/>
                  <a:pt x="173" y="14"/>
                  <a:pt x="171" y="16"/>
                </a:cubicBezTo>
                <a:cubicBezTo>
                  <a:pt x="169" y="16"/>
                  <a:pt x="167" y="16"/>
                  <a:pt x="166" y="16"/>
                </a:cubicBezTo>
                <a:cubicBezTo>
                  <a:pt x="164" y="14"/>
                  <a:pt x="162" y="10"/>
                  <a:pt x="161" y="6"/>
                </a:cubicBezTo>
                <a:cubicBezTo>
                  <a:pt x="160" y="1"/>
                  <a:pt x="157" y="1"/>
                  <a:pt x="155" y="2"/>
                </a:cubicBezTo>
                <a:cubicBezTo>
                  <a:pt x="153" y="2"/>
                  <a:pt x="149" y="2"/>
                  <a:pt x="149" y="8"/>
                </a:cubicBezTo>
                <a:cubicBezTo>
                  <a:pt x="149" y="11"/>
                  <a:pt x="148" y="16"/>
                  <a:pt x="147" y="18"/>
                </a:cubicBezTo>
                <a:cubicBezTo>
                  <a:pt x="145" y="18"/>
                  <a:pt x="143" y="18"/>
                  <a:pt x="142" y="19"/>
                </a:cubicBezTo>
                <a:cubicBezTo>
                  <a:pt x="140" y="17"/>
                  <a:pt x="137" y="13"/>
                  <a:pt x="136" y="10"/>
                </a:cubicBezTo>
                <a:cubicBezTo>
                  <a:pt x="134" y="4"/>
                  <a:pt x="131" y="6"/>
                  <a:pt x="128" y="6"/>
                </a:cubicBezTo>
                <a:cubicBezTo>
                  <a:pt x="126" y="7"/>
                  <a:pt x="123" y="7"/>
                  <a:pt x="124" y="13"/>
                </a:cubicBezTo>
                <a:cubicBezTo>
                  <a:pt x="124" y="17"/>
                  <a:pt x="124" y="21"/>
                  <a:pt x="123" y="23"/>
                </a:cubicBezTo>
                <a:cubicBezTo>
                  <a:pt x="121" y="24"/>
                  <a:pt x="120" y="25"/>
                  <a:pt x="118" y="25"/>
                </a:cubicBezTo>
                <a:cubicBezTo>
                  <a:pt x="116" y="24"/>
                  <a:pt x="113" y="21"/>
                  <a:pt x="111" y="17"/>
                </a:cubicBezTo>
                <a:cubicBezTo>
                  <a:pt x="108" y="12"/>
                  <a:pt x="105" y="14"/>
                  <a:pt x="103" y="15"/>
                </a:cubicBezTo>
                <a:cubicBezTo>
                  <a:pt x="101" y="16"/>
                  <a:pt x="98" y="17"/>
                  <a:pt x="100" y="22"/>
                </a:cubicBezTo>
                <a:cubicBezTo>
                  <a:pt x="101" y="26"/>
                  <a:pt x="101" y="30"/>
                  <a:pt x="100" y="33"/>
                </a:cubicBezTo>
                <a:cubicBezTo>
                  <a:pt x="99" y="33"/>
                  <a:pt x="97" y="34"/>
                  <a:pt x="96" y="35"/>
                </a:cubicBezTo>
                <a:cubicBezTo>
                  <a:pt x="94" y="34"/>
                  <a:pt x="90" y="31"/>
                  <a:pt x="88" y="29"/>
                </a:cubicBezTo>
                <a:cubicBezTo>
                  <a:pt x="84" y="24"/>
                  <a:pt x="81" y="26"/>
                  <a:pt x="80" y="27"/>
                </a:cubicBezTo>
                <a:cubicBezTo>
                  <a:pt x="78" y="28"/>
                  <a:pt x="75" y="30"/>
                  <a:pt x="77" y="35"/>
                </a:cubicBezTo>
                <a:cubicBezTo>
                  <a:pt x="79" y="39"/>
                  <a:pt x="80" y="43"/>
                  <a:pt x="80" y="45"/>
                </a:cubicBezTo>
                <a:cubicBezTo>
                  <a:pt x="78" y="46"/>
                  <a:pt x="77" y="47"/>
                  <a:pt x="76" y="48"/>
                </a:cubicBezTo>
                <a:cubicBezTo>
                  <a:pt x="73" y="48"/>
                  <a:pt x="69" y="46"/>
                  <a:pt x="66" y="43"/>
                </a:cubicBezTo>
                <a:cubicBezTo>
                  <a:pt x="62" y="39"/>
                  <a:pt x="60" y="42"/>
                  <a:pt x="58" y="43"/>
                </a:cubicBezTo>
                <a:cubicBezTo>
                  <a:pt x="57" y="45"/>
                  <a:pt x="54" y="46"/>
                  <a:pt x="57" y="51"/>
                </a:cubicBezTo>
                <a:cubicBezTo>
                  <a:pt x="59" y="55"/>
                  <a:pt x="61" y="59"/>
                  <a:pt x="61" y="61"/>
                </a:cubicBezTo>
                <a:cubicBezTo>
                  <a:pt x="60" y="62"/>
                  <a:pt x="59" y="64"/>
                  <a:pt x="58" y="65"/>
                </a:cubicBezTo>
                <a:cubicBezTo>
                  <a:pt x="55" y="65"/>
                  <a:pt x="51" y="63"/>
                  <a:pt x="48" y="61"/>
                </a:cubicBezTo>
                <a:cubicBezTo>
                  <a:pt x="43" y="58"/>
                  <a:pt x="41" y="61"/>
                  <a:pt x="40" y="62"/>
                </a:cubicBezTo>
                <a:cubicBezTo>
                  <a:pt x="38" y="64"/>
                  <a:pt x="36" y="66"/>
                  <a:pt x="40" y="71"/>
                </a:cubicBezTo>
                <a:cubicBezTo>
                  <a:pt x="42" y="73"/>
                  <a:pt x="45" y="77"/>
                  <a:pt x="45" y="80"/>
                </a:cubicBezTo>
                <a:cubicBezTo>
                  <a:pt x="44" y="81"/>
                  <a:pt x="43" y="82"/>
                  <a:pt x="42" y="84"/>
                </a:cubicBezTo>
                <a:cubicBezTo>
                  <a:pt x="40" y="84"/>
                  <a:pt x="36" y="83"/>
                  <a:pt x="32" y="82"/>
                </a:cubicBezTo>
                <a:cubicBezTo>
                  <a:pt x="27" y="79"/>
                  <a:pt x="25" y="82"/>
                  <a:pt x="24" y="84"/>
                </a:cubicBezTo>
                <a:cubicBezTo>
                  <a:pt x="23" y="86"/>
                  <a:pt x="21" y="89"/>
                  <a:pt x="26" y="92"/>
                </a:cubicBezTo>
                <a:cubicBezTo>
                  <a:pt x="29" y="95"/>
                  <a:pt x="32" y="98"/>
                  <a:pt x="33" y="100"/>
                </a:cubicBezTo>
                <a:cubicBezTo>
                  <a:pt x="32" y="102"/>
                  <a:pt x="31" y="103"/>
                  <a:pt x="30" y="105"/>
                </a:cubicBezTo>
                <a:cubicBezTo>
                  <a:pt x="28" y="106"/>
                  <a:pt x="24" y="105"/>
                  <a:pt x="20" y="104"/>
                </a:cubicBezTo>
                <a:cubicBezTo>
                  <a:pt x="14" y="103"/>
                  <a:pt x="13" y="106"/>
                  <a:pt x="13" y="108"/>
                </a:cubicBezTo>
                <a:cubicBezTo>
                  <a:pt x="12" y="110"/>
                  <a:pt x="10" y="113"/>
                  <a:pt x="15" y="116"/>
                </a:cubicBezTo>
                <a:cubicBezTo>
                  <a:pt x="19" y="118"/>
                  <a:pt x="22" y="120"/>
                  <a:pt x="23" y="123"/>
                </a:cubicBezTo>
                <a:cubicBezTo>
                  <a:pt x="23" y="124"/>
                  <a:pt x="22" y="126"/>
                  <a:pt x="22" y="128"/>
                </a:cubicBezTo>
                <a:cubicBezTo>
                  <a:pt x="19" y="129"/>
                  <a:pt x="15" y="129"/>
                  <a:pt x="11" y="129"/>
                </a:cubicBezTo>
                <a:cubicBezTo>
                  <a:pt x="5" y="128"/>
                  <a:pt x="5" y="131"/>
                  <a:pt x="5" y="134"/>
                </a:cubicBezTo>
                <a:cubicBezTo>
                  <a:pt x="4" y="136"/>
                  <a:pt x="3" y="139"/>
                  <a:pt x="9" y="141"/>
                </a:cubicBezTo>
                <a:cubicBezTo>
                  <a:pt x="12" y="142"/>
                  <a:pt x="16" y="144"/>
                  <a:pt x="18" y="146"/>
                </a:cubicBezTo>
                <a:cubicBezTo>
                  <a:pt x="17" y="148"/>
                  <a:pt x="17" y="150"/>
                  <a:pt x="17" y="151"/>
                </a:cubicBezTo>
                <a:cubicBezTo>
                  <a:pt x="15" y="153"/>
                  <a:pt x="10" y="154"/>
                  <a:pt x="7" y="154"/>
                </a:cubicBezTo>
                <a:cubicBezTo>
                  <a:pt x="1" y="155"/>
                  <a:pt x="1" y="158"/>
                  <a:pt x="1" y="160"/>
                </a:cubicBezTo>
                <a:cubicBezTo>
                  <a:pt x="1" y="162"/>
                  <a:pt x="0" y="165"/>
                  <a:pt x="6" y="166"/>
                </a:cubicBezTo>
                <a:cubicBezTo>
                  <a:pt x="10" y="167"/>
                  <a:pt x="14" y="169"/>
                  <a:pt x="16" y="171"/>
                </a:cubicBezTo>
                <a:cubicBezTo>
                  <a:pt x="16" y="172"/>
                  <a:pt x="16" y="174"/>
                  <a:pt x="16" y="176"/>
                </a:cubicBezTo>
                <a:cubicBezTo>
                  <a:pt x="14" y="177"/>
                  <a:pt x="10" y="179"/>
                  <a:pt x="6" y="180"/>
                </a:cubicBezTo>
                <a:cubicBezTo>
                  <a:pt x="0" y="181"/>
                  <a:pt x="1" y="184"/>
                  <a:pt x="1" y="187"/>
                </a:cubicBezTo>
                <a:cubicBezTo>
                  <a:pt x="1" y="189"/>
                  <a:pt x="1" y="192"/>
                  <a:pt x="7" y="192"/>
                </a:cubicBezTo>
                <a:cubicBezTo>
                  <a:pt x="11" y="193"/>
                  <a:pt x="15" y="193"/>
                  <a:pt x="17" y="195"/>
                </a:cubicBezTo>
                <a:cubicBezTo>
                  <a:pt x="18" y="197"/>
                  <a:pt x="18" y="198"/>
                  <a:pt x="18" y="200"/>
                </a:cubicBezTo>
                <a:cubicBezTo>
                  <a:pt x="17" y="202"/>
                  <a:pt x="13" y="204"/>
                  <a:pt x="10" y="206"/>
                </a:cubicBezTo>
                <a:cubicBezTo>
                  <a:pt x="4" y="208"/>
                  <a:pt x="5" y="211"/>
                  <a:pt x="6" y="213"/>
                </a:cubicBezTo>
                <a:cubicBezTo>
                  <a:pt x="6" y="215"/>
                  <a:pt x="7" y="218"/>
                  <a:pt x="13" y="218"/>
                </a:cubicBezTo>
                <a:cubicBezTo>
                  <a:pt x="16" y="217"/>
                  <a:pt x="21" y="217"/>
                  <a:pt x="23" y="219"/>
                </a:cubicBezTo>
                <a:cubicBezTo>
                  <a:pt x="24" y="220"/>
                  <a:pt x="24" y="222"/>
                  <a:pt x="25" y="223"/>
                </a:cubicBezTo>
                <a:cubicBezTo>
                  <a:pt x="23" y="226"/>
                  <a:pt x="20" y="228"/>
                  <a:pt x="17" y="230"/>
                </a:cubicBezTo>
                <a:cubicBezTo>
                  <a:pt x="12" y="233"/>
                  <a:pt x="13" y="236"/>
                  <a:pt x="14" y="238"/>
                </a:cubicBezTo>
                <a:cubicBezTo>
                  <a:pt x="15" y="240"/>
                  <a:pt x="16" y="243"/>
                  <a:pt x="22" y="242"/>
                </a:cubicBezTo>
                <a:cubicBezTo>
                  <a:pt x="25" y="241"/>
                  <a:pt x="30" y="240"/>
                  <a:pt x="32" y="241"/>
                </a:cubicBezTo>
                <a:cubicBezTo>
                  <a:pt x="33" y="242"/>
                  <a:pt x="34" y="244"/>
                  <a:pt x="35" y="245"/>
                </a:cubicBezTo>
                <a:cubicBezTo>
                  <a:pt x="34" y="248"/>
                  <a:pt x="31" y="251"/>
                  <a:pt x="28" y="254"/>
                </a:cubicBezTo>
                <a:cubicBezTo>
                  <a:pt x="24" y="257"/>
                  <a:pt x="26" y="260"/>
                  <a:pt x="27" y="262"/>
                </a:cubicBezTo>
                <a:cubicBezTo>
                  <a:pt x="28" y="264"/>
                  <a:pt x="29" y="267"/>
                  <a:pt x="35" y="264"/>
                </a:cubicBezTo>
                <a:cubicBezTo>
                  <a:pt x="38" y="263"/>
                  <a:pt x="42" y="261"/>
                  <a:pt x="45" y="262"/>
                </a:cubicBezTo>
                <a:cubicBezTo>
                  <a:pt x="46" y="263"/>
                  <a:pt x="47" y="264"/>
                  <a:pt x="48" y="266"/>
                </a:cubicBezTo>
                <a:cubicBezTo>
                  <a:pt x="48" y="268"/>
                  <a:pt x="45" y="272"/>
                  <a:pt x="43" y="275"/>
                </a:cubicBezTo>
                <a:cubicBezTo>
                  <a:pt x="39" y="279"/>
                  <a:pt x="41" y="282"/>
                  <a:pt x="43" y="283"/>
                </a:cubicBezTo>
                <a:cubicBezTo>
                  <a:pt x="44" y="285"/>
                  <a:pt x="46" y="287"/>
                  <a:pt x="51" y="284"/>
                </a:cubicBezTo>
                <a:cubicBezTo>
                  <a:pt x="54" y="282"/>
                  <a:pt x="58" y="280"/>
                  <a:pt x="61" y="280"/>
                </a:cubicBezTo>
                <a:cubicBezTo>
                  <a:pt x="62" y="281"/>
                  <a:pt x="63" y="283"/>
                  <a:pt x="64" y="284"/>
                </a:cubicBezTo>
                <a:cubicBezTo>
                  <a:pt x="64" y="286"/>
                  <a:pt x="63" y="290"/>
                  <a:pt x="61" y="294"/>
                </a:cubicBezTo>
                <a:cubicBezTo>
                  <a:pt x="58" y="299"/>
                  <a:pt x="60" y="300"/>
                  <a:pt x="62" y="302"/>
                </a:cubicBezTo>
                <a:cubicBezTo>
                  <a:pt x="64" y="303"/>
                  <a:pt x="66" y="306"/>
                  <a:pt x="70" y="301"/>
                </a:cubicBezTo>
                <a:cubicBezTo>
                  <a:pt x="73" y="299"/>
                  <a:pt x="77" y="297"/>
                  <a:pt x="79" y="296"/>
                </a:cubicBezTo>
                <a:cubicBezTo>
                  <a:pt x="81" y="297"/>
                  <a:pt x="82" y="298"/>
                  <a:pt x="83" y="299"/>
                </a:cubicBezTo>
                <a:cubicBezTo>
                  <a:pt x="84" y="302"/>
                  <a:pt x="83" y="306"/>
                  <a:pt x="81" y="309"/>
                </a:cubicBezTo>
                <a:cubicBezTo>
                  <a:pt x="79" y="315"/>
                  <a:pt x="82" y="316"/>
                  <a:pt x="84" y="317"/>
                </a:cubicBezTo>
                <a:cubicBezTo>
                  <a:pt x="86" y="318"/>
                  <a:pt x="88" y="320"/>
                  <a:pt x="92" y="316"/>
                </a:cubicBezTo>
                <a:cubicBezTo>
                  <a:pt x="94" y="313"/>
                  <a:pt x="98" y="310"/>
                  <a:pt x="100" y="309"/>
                </a:cubicBezTo>
                <a:cubicBezTo>
                  <a:pt x="101" y="310"/>
                  <a:pt x="103" y="310"/>
                  <a:pt x="104" y="311"/>
                </a:cubicBezTo>
                <a:cubicBezTo>
                  <a:pt x="105" y="314"/>
                  <a:pt x="105" y="318"/>
                  <a:pt x="104" y="322"/>
                </a:cubicBezTo>
                <a:cubicBezTo>
                  <a:pt x="103" y="327"/>
                  <a:pt x="106" y="328"/>
                  <a:pt x="108" y="329"/>
                </a:cubicBezTo>
                <a:cubicBezTo>
                  <a:pt x="110" y="330"/>
                  <a:pt x="113" y="331"/>
                  <a:pt x="115" y="326"/>
                </a:cubicBezTo>
                <a:cubicBezTo>
                  <a:pt x="117" y="323"/>
                  <a:pt x="120" y="319"/>
                  <a:pt x="122" y="318"/>
                </a:cubicBezTo>
                <a:cubicBezTo>
                  <a:pt x="124" y="319"/>
                  <a:pt x="126" y="319"/>
                  <a:pt x="127" y="320"/>
                </a:cubicBezTo>
                <a:cubicBezTo>
                  <a:pt x="128" y="322"/>
                  <a:pt x="129" y="326"/>
                  <a:pt x="128" y="330"/>
                </a:cubicBezTo>
                <a:cubicBezTo>
                  <a:pt x="128" y="336"/>
                  <a:pt x="131" y="336"/>
                  <a:pt x="133" y="337"/>
                </a:cubicBezTo>
                <a:cubicBezTo>
                  <a:pt x="135" y="337"/>
                  <a:pt x="138" y="338"/>
                  <a:pt x="140" y="333"/>
                </a:cubicBezTo>
                <a:cubicBezTo>
                  <a:pt x="142" y="329"/>
                  <a:pt x="144" y="326"/>
                  <a:pt x="146" y="324"/>
                </a:cubicBezTo>
                <a:cubicBezTo>
                  <a:pt x="148" y="324"/>
                  <a:pt x="149" y="324"/>
                  <a:pt x="151" y="325"/>
                </a:cubicBezTo>
                <a:cubicBezTo>
                  <a:pt x="152" y="327"/>
                  <a:pt x="153" y="331"/>
                  <a:pt x="154" y="335"/>
                </a:cubicBezTo>
                <a:cubicBezTo>
                  <a:pt x="154" y="341"/>
                  <a:pt x="157" y="340"/>
                  <a:pt x="160" y="341"/>
                </a:cubicBezTo>
                <a:cubicBezTo>
                  <a:pt x="162" y="341"/>
                  <a:pt x="165" y="341"/>
                  <a:pt x="166" y="336"/>
                </a:cubicBezTo>
                <a:cubicBezTo>
                  <a:pt x="167" y="332"/>
                  <a:pt x="168" y="328"/>
                  <a:pt x="170" y="326"/>
                </a:cubicBezTo>
                <a:cubicBezTo>
                  <a:pt x="172" y="326"/>
                  <a:pt x="174" y="326"/>
                  <a:pt x="175" y="326"/>
                </a:cubicBezTo>
                <a:cubicBezTo>
                  <a:pt x="177" y="328"/>
                  <a:pt x="179" y="332"/>
                  <a:pt x="180" y="335"/>
                </a:cubicBezTo>
                <a:cubicBezTo>
                  <a:pt x="181" y="341"/>
                  <a:pt x="184" y="340"/>
                  <a:pt x="186" y="340"/>
                </a:cubicBezTo>
                <a:cubicBezTo>
                  <a:pt x="189" y="340"/>
                  <a:pt x="192" y="340"/>
                  <a:pt x="192" y="334"/>
                </a:cubicBezTo>
                <a:cubicBezTo>
                  <a:pt x="192" y="330"/>
                  <a:pt x="193" y="326"/>
                  <a:pt x="195" y="324"/>
                </a:cubicBezTo>
                <a:cubicBezTo>
                  <a:pt x="196" y="324"/>
                  <a:pt x="198" y="323"/>
                  <a:pt x="199" y="323"/>
                </a:cubicBezTo>
                <a:cubicBezTo>
                  <a:pt x="202" y="325"/>
                  <a:pt x="204" y="328"/>
                  <a:pt x="205" y="332"/>
                </a:cubicBezTo>
                <a:cubicBezTo>
                  <a:pt x="207" y="337"/>
                  <a:pt x="210" y="336"/>
                  <a:pt x="213" y="336"/>
                </a:cubicBezTo>
                <a:cubicBezTo>
                  <a:pt x="215" y="335"/>
                  <a:pt x="218" y="335"/>
                  <a:pt x="217" y="329"/>
                </a:cubicBezTo>
                <a:cubicBezTo>
                  <a:pt x="217" y="325"/>
                  <a:pt x="217" y="321"/>
                  <a:pt x="218" y="318"/>
                </a:cubicBezTo>
                <a:cubicBezTo>
                  <a:pt x="220" y="318"/>
                  <a:pt x="221" y="317"/>
                  <a:pt x="223" y="317"/>
                </a:cubicBezTo>
                <a:cubicBezTo>
                  <a:pt x="225" y="318"/>
                  <a:pt x="228" y="321"/>
                  <a:pt x="230" y="324"/>
                </a:cubicBezTo>
                <a:cubicBezTo>
                  <a:pt x="233" y="330"/>
                  <a:pt x="236" y="328"/>
                  <a:pt x="238" y="327"/>
                </a:cubicBezTo>
                <a:cubicBezTo>
                  <a:pt x="240" y="326"/>
                  <a:pt x="243" y="325"/>
                  <a:pt x="241" y="320"/>
                </a:cubicBezTo>
                <a:cubicBezTo>
                  <a:pt x="240" y="316"/>
                  <a:pt x="240" y="312"/>
                  <a:pt x="241" y="309"/>
                </a:cubicBezTo>
                <a:cubicBezTo>
                  <a:pt x="242" y="308"/>
                  <a:pt x="244" y="308"/>
                  <a:pt x="245" y="307"/>
                </a:cubicBezTo>
                <a:cubicBezTo>
                  <a:pt x="248" y="308"/>
                  <a:pt x="251" y="310"/>
                  <a:pt x="253" y="313"/>
                </a:cubicBezTo>
                <a:cubicBezTo>
                  <a:pt x="257" y="318"/>
                  <a:pt x="260" y="316"/>
                  <a:pt x="261" y="315"/>
                </a:cubicBezTo>
                <a:cubicBezTo>
                  <a:pt x="263" y="313"/>
                  <a:pt x="266" y="312"/>
                  <a:pt x="264" y="307"/>
                </a:cubicBezTo>
                <a:cubicBezTo>
                  <a:pt x="262" y="303"/>
                  <a:pt x="261" y="299"/>
                  <a:pt x="261" y="296"/>
                </a:cubicBezTo>
                <a:cubicBezTo>
                  <a:pt x="263" y="295"/>
                  <a:pt x="264" y="294"/>
                  <a:pt x="265" y="293"/>
                </a:cubicBezTo>
                <a:cubicBezTo>
                  <a:pt x="268" y="294"/>
                  <a:pt x="272" y="296"/>
                  <a:pt x="275" y="299"/>
                </a:cubicBezTo>
                <a:cubicBezTo>
                  <a:pt x="279" y="302"/>
                  <a:pt x="281" y="300"/>
                  <a:pt x="283" y="299"/>
                </a:cubicBezTo>
                <a:cubicBezTo>
                  <a:pt x="284" y="297"/>
                  <a:pt x="287" y="295"/>
                  <a:pt x="284" y="290"/>
                </a:cubicBezTo>
                <a:cubicBezTo>
                  <a:pt x="282" y="287"/>
                  <a:pt x="280" y="283"/>
                  <a:pt x="280" y="281"/>
                </a:cubicBezTo>
                <a:cubicBezTo>
                  <a:pt x="281" y="279"/>
                  <a:pt x="282" y="278"/>
                  <a:pt x="283" y="277"/>
                </a:cubicBezTo>
                <a:cubicBezTo>
                  <a:pt x="286" y="277"/>
                  <a:pt x="290" y="279"/>
                  <a:pt x="293" y="281"/>
                </a:cubicBezTo>
                <a:cubicBezTo>
                  <a:pt x="298" y="284"/>
                  <a:pt x="300" y="281"/>
                  <a:pt x="301" y="279"/>
                </a:cubicBezTo>
                <a:cubicBezTo>
                  <a:pt x="303" y="278"/>
                  <a:pt x="305" y="276"/>
                  <a:pt x="301" y="271"/>
                </a:cubicBezTo>
                <a:cubicBezTo>
                  <a:pt x="299" y="268"/>
                  <a:pt x="296" y="265"/>
                  <a:pt x="296" y="262"/>
                </a:cubicBezTo>
                <a:cubicBezTo>
                  <a:pt x="297" y="261"/>
                  <a:pt x="298" y="259"/>
                  <a:pt x="299" y="258"/>
                </a:cubicBezTo>
                <a:cubicBezTo>
                  <a:pt x="301" y="258"/>
                  <a:pt x="322" y="247"/>
                  <a:pt x="309" y="260"/>
                </a:cubicBezTo>
                <a:cubicBezTo>
                  <a:pt x="305" y="264"/>
                  <a:pt x="316" y="260"/>
                  <a:pt x="317" y="258"/>
                </a:cubicBezTo>
                <a:cubicBezTo>
                  <a:pt x="318" y="256"/>
                  <a:pt x="320" y="253"/>
                  <a:pt x="315" y="250"/>
                </a:cubicBezTo>
                <a:cubicBezTo>
                  <a:pt x="312" y="247"/>
                  <a:pt x="309" y="244"/>
                  <a:pt x="308" y="242"/>
                </a:cubicBezTo>
                <a:cubicBezTo>
                  <a:pt x="309" y="240"/>
                  <a:pt x="310" y="238"/>
                  <a:pt x="311" y="237"/>
                </a:cubicBezTo>
                <a:cubicBezTo>
                  <a:pt x="313" y="236"/>
                  <a:pt x="318" y="237"/>
                  <a:pt x="321" y="237"/>
                </a:cubicBezTo>
                <a:cubicBezTo>
                  <a:pt x="327" y="239"/>
                  <a:pt x="328" y="236"/>
                  <a:pt x="329" y="234"/>
                </a:cubicBezTo>
                <a:cubicBezTo>
                  <a:pt x="329" y="232"/>
                  <a:pt x="331" y="229"/>
                  <a:pt x="326" y="226"/>
                </a:cubicBezTo>
                <a:cubicBezTo>
                  <a:pt x="322" y="224"/>
                  <a:pt x="319" y="221"/>
                  <a:pt x="318" y="219"/>
                </a:cubicBezTo>
                <a:cubicBezTo>
                  <a:pt x="318" y="217"/>
                  <a:pt x="319" y="216"/>
                  <a:pt x="319" y="214"/>
                </a:cubicBezTo>
                <a:cubicBezTo>
                  <a:pt x="322" y="213"/>
                  <a:pt x="326" y="213"/>
                  <a:pt x="330" y="213"/>
                </a:cubicBezTo>
                <a:cubicBezTo>
                  <a:pt x="336" y="214"/>
                  <a:pt x="336" y="210"/>
                  <a:pt x="336" y="208"/>
                </a:cubicBezTo>
                <a:cubicBezTo>
                  <a:pt x="337" y="206"/>
                  <a:pt x="338" y="203"/>
                  <a:pt x="332" y="201"/>
                </a:cubicBezTo>
                <a:cubicBezTo>
                  <a:pt x="329" y="200"/>
                  <a:pt x="325" y="197"/>
                  <a:pt x="324" y="195"/>
                </a:cubicBezTo>
                <a:cubicBezTo>
                  <a:pt x="324" y="194"/>
                  <a:pt x="324" y="192"/>
                  <a:pt x="324" y="190"/>
                </a:cubicBezTo>
                <a:cubicBezTo>
                  <a:pt x="326" y="189"/>
                  <a:pt x="331" y="188"/>
                  <a:pt x="334" y="188"/>
                </a:cubicBezTo>
                <a:cubicBezTo>
                  <a:pt x="340" y="187"/>
                  <a:pt x="340" y="184"/>
                  <a:pt x="340" y="182"/>
                </a:cubicBezTo>
                <a:cubicBezTo>
                  <a:pt x="340" y="180"/>
                  <a:pt x="341" y="176"/>
                  <a:pt x="335" y="175"/>
                </a:cubicBezTo>
                <a:cubicBezTo>
                  <a:pt x="331" y="174"/>
                  <a:pt x="327" y="173"/>
                  <a:pt x="325" y="171"/>
                </a:cubicBezTo>
                <a:cubicBezTo>
                  <a:pt x="325" y="170"/>
                  <a:pt x="325" y="168"/>
                  <a:pt x="325" y="166"/>
                </a:cubicBezTo>
                <a:cubicBezTo>
                  <a:pt x="327" y="164"/>
                  <a:pt x="331" y="163"/>
                  <a:pt x="335" y="162"/>
                </a:cubicBezTo>
                <a:cubicBezTo>
                  <a:pt x="341" y="160"/>
                  <a:pt x="340" y="157"/>
                  <a:pt x="340" y="155"/>
                </a:cubicBezTo>
                <a:cubicBezTo>
                  <a:pt x="340" y="153"/>
                  <a:pt x="340" y="150"/>
                  <a:pt x="334" y="150"/>
                </a:cubicBezTo>
                <a:cubicBezTo>
                  <a:pt x="330" y="149"/>
                  <a:pt x="326" y="148"/>
                  <a:pt x="324" y="147"/>
                </a:cubicBezTo>
                <a:cubicBezTo>
                  <a:pt x="323" y="145"/>
                  <a:pt x="323" y="144"/>
                  <a:pt x="323" y="142"/>
                </a:cubicBezTo>
                <a:cubicBezTo>
                  <a:pt x="324" y="140"/>
                  <a:pt x="328" y="138"/>
                  <a:pt x="331" y="136"/>
                </a:cubicBezTo>
                <a:cubicBezTo>
                  <a:pt x="337" y="134"/>
                  <a:pt x="336" y="131"/>
                  <a:pt x="335" y="129"/>
                </a:cubicBezTo>
                <a:cubicBezTo>
                  <a:pt x="335" y="127"/>
                  <a:pt x="334" y="124"/>
                  <a:pt x="328" y="124"/>
                </a:cubicBezTo>
                <a:cubicBezTo>
                  <a:pt x="325" y="125"/>
                  <a:pt x="320" y="124"/>
                  <a:pt x="318" y="123"/>
                </a:cubicBezTo>
                <a:cubicBezTo>
                  <a:pt x="317" y="122"/>
                  <a:pt x="317" y="120"/>
                  <a:pt x="316" y="119"/>
                </a:cubicBezTo>
                <a:cubicBezTo>
                  <a:pt x="318" y="116"/>
                  <a:pt x="321" y="113"/>
                  <a:pt x="324" y="111"/>
                </a:cubicBezTo>
                <a:cubicBezTo>
                  <a:pt x="329" y="108"/>
                  <a:pt x="328" y="106"/>
                  <a:pt x="327" y="104"/>
                </a:cubicBezTo>
                <a:cubicBezTo>
                  <a:pt x="326" y="102"/>
                  <a:pt x="325" y="98"/>
                  <a:pt x="319" y="100"/>
                </a:cubicBezTo>
                <a:cubicBezTo>
                  <a:pt x="316" y="101"/>
                  <a:pt x="311" y="101"/>
                  <a:pt x="309" y="101"/>
                </a:cubicBezTo>
                <a:cubicBezTo>
                  <a:pt x="308" y="99"/>
                  <a:pt x="307" y="98"/>
                  <a:pt x="306" y="96"/>
                </a:cubicBezTo>
                <a:cubicBezTo>
                  <a:pt x="307" y="94"/>
                  <a:pt x="310" y="91"/>
                  <a:pt x="313" y="88"/>
                </a:cubicBezTo>
                <a:cubicBezTo>
                  <a:pt x="317" y="84"/>
                  <a:pt x="315" y="82"/>
                  <a:pt x="314" y="80"/>
                </a:cubicBezTo>
                <a:cubicBezTo>
                  <a:pt x="313" y="78"/>
                  <a:pt x="312" y="75"/>
                  <a:pt x="306" y="78"/>
                </a:cubicBezTo>
                <a:cubicBezTo>
                  <a:pt x="303" y="79"/>
                  <a:pt x="299" y="80"/>
                  <a:pt x="296" y="80"/>
                </a:cubicBezTo>
                <a:cubicBezTo>
                  <a:pt x="295" y="79"/>
                  <a:pt x="294" y="77"/>
                  <a:pt x="293" y="76"/>
                </a:cubicBezTo>
                <a:cubicBezTo>
                  <a:pt x="293" y="73"/>
                  <a:pt x="296" y="70"/>
                  <a:pt x="298" y="67"/>
                </a:cubicBezTo>
                <a:cubicBezTo>
                  <a:pt x="302" y="62"/>
                  <a:pt x="300" y="60"/>
                  <a:pt x="298" y="59"/>
                </a:cubicBezTo>
                <a:cubicBezTo>
                  <a:pt x="297" y="57"/>
                  <a:pt x="295" y="54"/>
                  <a:pt x="290" y="58"/>
                </a:cubicBezTo>
                <a:cubicBezTo>
                  <a:pt x="287" y="60"/>
                  <a:pt x="283" y="61"/>
                  <a:pt x="280" y="62"/>
                </a:cubicBezTo>
                <a:cubicBezTo>
                  <a:pt x="279" y="60"/>
                  <a:pt x="278" y="59"/>
                  <a:pt x="277" y="58"/>
                </a:cubicBezTo>
                <a:cubicBezTo>
                  <a:pt x="277" y="55"/>
                  <a:pt x="278" y="51"/>
                  <a:pt x="280" y="48"/>
                </a:cubicBezTo>
                <a:cubicBezTo>
                  <a:pt x="283" y="43"/>
                  <a:pt x="281" y="41"/>
                  <a:pt x="279" y="40"/>
                </a:cubicBezTo>
                <a:cubicBezTo>
                  <a:pt x="277" y="39"/>
                  <a:pt x="275" y="36"/>
                  <a:pt x="271" y="40"/>
                </a:cubicBezTo>
                <a:close/>
                <a:moveTo>
                  <a:pt x="278" y="260"/>
                </a:moveTo>
                <a:cubicBezTo>
                  <a:pt x="229" y="319"/>
                  <a:pt x="141" y="327"/>
                  <a:pt x="81" y="278"/>
                </a:cubicBezTo>
                <a:cubicBezTo>
                  <a:pt x="22" y="229"/>
                  <a:pt x="14" y="141"/>
                  <a:pt x="63" y="82"/>
                </a:cubicBezTo>
                <a:cubicBezTo>
                  <a:pt x="112" y="23"/>
                  <a:pt x="200" y="14"/>
                  <a:pt x="260" y="64"/>
                </a:cubicBezTo>
                <a:cubicBezTo>
                  <a:pt x="319" y="113"/>
                  <a:pt x="327" y="201"/>
                  <a:pt x="278" y="26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Freeform 1535">
            <a:extLst>
              <a:ext uri="{FF2B5EF4-FFF2-40B4-BE49-F238E27FC236}">
                <a16:creationId xmlns:a16="http://schemas.microsoft.com/office/drawing/2014/main" id="{09E3A46A-AAB6-4A65-8DFC-F739F30810F7}"/>
              </a:ext>
            </a:extLst>
          </p:cNvPr>
          <p:cNvSpPr>
            <a:spLocks/>
          </p:cNvSpPr>
          <p:nvPr/>
        </p:nvSpPr>
        <p:spPr bwMode="auto">
          <a:xfrm>
            <a:off x="7423854" y="3556472"/>
            <a:ext cx="621934" cy="304351"/>
          </a:xfrm>
          <a:custGeom>
            <a:avLst/>
            <a:gdLst>
              <a:gd name="T0" fmla="*/ 127 w 188"/>
              <a:gd name="T1" fmla="*/ 0 h 92"/>
              <a:gd name="T2" fmla="*/ 127 w 188"/>
              <a:gd name="T3" fmla="*/ 0 h 92"/>
              <a:gd name="T4" fmla="*/ 188 w 188"/>
              <a:gd name="T5" fmla="*/ 7 h 92"/>
              <a:gd name="T6" fmla="*/ 188 w 188"/>
              <a:gd name="T7" fmla="*/ 8 h 92"/>
              <a:gd name="T8" fmla="*/ 166 w 188"/>
              <a:gd name="T9" fmla="*/ 64 h 92"/>
              <a:gd name="T10" fmla="*/ 153 w 188"/>
              <a:gd name="T11" fmla="*/ 43 h 92"/>
              <a:gd name="T12" fmla="*/ 92 w 188"/>
              <a:gd name="T13" fmla="*/ 80 h 92"/>
              <a:gd name="T14" fmla="*/ 82 w 188"/>
              <a:gd name="T15" fmla="*/ 71 h 92"/>
              <a:gd name="T16" fmla="*/ 73 w 188"/>
              <a:gd name="T17" fmla="*/ 61 h 92"/>
              <a:gd name="T18" fmla="*/ 14 w 188"/>
              <a:gd name="T19" fmla="*/ 92 h 92"/>
              <a:gd name="T20" fmla="*/ 2 w 188"/>
              <a:gd name="T21" fmla="*/ 70 h 92"/>
              <a:gd name="T22" fmla="*/ 2 w 188"/>
              <a:gd name="T23" fmla="*/ 70 h 92"/>
              <a:gd name="T24" fmla="*/ 77 w 188"/>
              <a:gd name="T25" fmla="*/ 30 h 92"/>
              <a:gd name="T26" fmla="*/ 88 w 188"/>
              <a:gd name="T27" fmla="*/ 38 h 92"/>
              <a:gd name="T28" fmla="*/ 96 w 188"/>
              <a:gd name="T29" fmla="*/ 47 h 92"/>
              <a:gd name="T30" fmla="*/ 140 w 188"/>
              <a:gd name="T31" fmla="*/ 21 h 92"/>
              <a:gd name="T32" fmla="*/ 127 w 188"/>
              <a:gd name="T3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8" h="92">
                <a:moveTo>
                  <a:pt x="127" y="0"/>
                </a:moveTo>
                <a:cubicBezTo>
                  <a:pt x="127" y="0"/>
                  <a:pt x="127" y="0"/>
                  <a:pt x="127" y="0"/>
                </a:cubicBezTo>
                <a:cubicBezTo>
                  <a:pt x="147" y="3"/>
                  <a:pt x="168" y="5"/>
                  <a:pt x="188" y="7"/>
                </a:cubicBezTo>
                <a:cubicBezTo>
                  <a:pt x="188" y="8"/>
                  <a:pt x="188" y="8"/>
                  <a:pt x="188" y="8"/>
                </a:cubicBezTo>
                <a:cubicBezTo>
                  <a:pt x="184" y="26"/>
                  <a:pt x="178" y="45"/>
                  <a:pt x="166" y="64"/>
                </a:cubicBezTo>
                <a:cubicBezTo>
                  <a:pt x="162" y="58"/>
                  <a:pt x="156" y="53"/>
                  <a:pt x="153" y="43"/>
                </a:cubicBezTo>
                <a:cubicBezTo>
                  <a:pt x="132" y="55"/>
                  <a:pt x="112" y="68"/>
                  <a:pt x="92" y="80"/>
                </a:cubicBezTo>
                <a:cubicBezTo>
                  <a:pt x="88" y="77"/>
                  <a:pt x="85" y="74"/>
                  <a:pt x="82" y="71"/>
                </a:cubicBezTo>
                <a:cubicBezTo>
                  <a:pt x="79" y="68"/>
                  <a:pt x="76" y="64"/>
                  <a:pt x="73" y="61"/>
                </a:cubicBezTo>
                <a:cubicBezTo>
                  <a:pt x="53" y="72"/>
                  <a:pt x="33" y="82"/>
                  <a:pt x="14" y="92"/>
                </a:cubicBezTo>
                <a:cubicBezTo>
                  <a:pt x="12" y="84"/>
                  <a:pt x="0" y="79"/>
                  <a:pt x="2" y="70"/>
                </a:cubicBezTo>
                <a:cubicBezTo>
                  <a:pt x="2" y="70"/>
                  <a:pt x="2" y="70"/>
                  <a:pt x="2" y="70"/>
                </a:cubicBezTo>
                <a:cubicBezTo>
                  <a:pt x="27" y="56"/>
                  <a:pt x="52" y="44"/>
                  <a:pt x="77" y="30"/>
                </a:cubicBezTo>
                <a:cubicBezTo>
                  <a:pt x="81" y="30"/>
                  <a:pt x="83" y="33"/>
                  <a:pt x="88" y="38"/>
                </a:cubicBezTo>
                <a:cubicBezTo>
                  <a:pt x="90" y="41"/>
                  <a:pt x="92" y="45"/>
                  <a:pt x="96" y="47"/>
                </a:cubicBezTo>
                <a:cubicBezTo>
                  <a:pt x="111" y="39"/>
                  <a:pt x="125" y="30"/>
                  <a:pt x="140" y="21"/>
                </a:cubicBezTo>
                <a:cubicBezTo>
                  <a:pt x="133" y="15"/>
                  <a:pt x="131" y="7"/>
                  <a:pt x="12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9" name="Freeform 1536">
            <a:extLst>
              <a:ext uri="{FF2B5EF4-FFF2-40B4-BE49-F238E27FC236}">
                <a16:creationId xmlns:a16="http://schemas.microsoft.com/office/drawing/2014/main" id="{CF286EEB-9043-4C66-97A0-2ED079EF44EA}"/>
              </a:ext>
            </a:extLst>
          </p:cNvPr>
          <p:cNvSpPr>
            <a:spLocks/>
          </p:cNvSpPr>
          <p:nvPr/>
        </p:nvSpPr>
        <p:spPr bwMode="auto">
          <a:xfrm>
            <a:off x="7838476" y="3746141"/>
            <a:ext cx="83808" cy="326404"/>
          </a:xfrm>
          <a:custGeom>
            <a:avLst/>
            <a:gdLst>
              <a:gd name="T0" fmla="*/ 21 w 25"/>
              <a:gd name="T1" fmla="*/ 99 h 99"/>
              <a:gd name="T2" fmla="*/ 4 w 25"/>
              <a:gd name="T3" fmla="*/ 99 h 99"/>
              <a:gd name="T4" fmla="*/ 0 w 25"/>
              <a:gd name="T5" fmla="*/ 94 h 99"/>
              <a:gd name="T6" fmla="*/ 0 w 25"/>
              <a:gd name="T7" fmla="*/ 16 h 99"/>
              <a:gd name="T8" fmla="*/ 2 w 25"/>
              <a:gd name="T9" fmla="*/ 12 h 99"/>
              <a:gd name="T10" fmla="*/ 19 w 25"/>
              <a:gd name="T11" fmla="*/ 2 h 99"/>
              <a:gd name="T12" fmla="*/ 25 w 25"/>
              <a:gd name="T13" fmla="*/ 6 h 99"/>
              <a:gd name="T14" fmla="*/ 25 w 25"/>
              <a:gd name="T15" fmla="*/ 94 h 99"/>
              <a:gd name="T16" fmla="*/ 21 w 25"/>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9">
                <a:moveTo>
                  <a:pt x="21" y="99"/>
                </a:moveTo>
                <a:cubicBezTo>
                  <a:pt x="4" y="99"/>
                  <a:pt x="4" y="99"/>
                  <a:pt x="4" y="99"/>
                </a:cubicBezTo>
                <a:cubicBezTo>
                  <a:pt x="2" y="99"/>
                  <a:pt x="0" y="97"/>
                  <a:pt x="0" y="94"/>
                </a:cubicBezTo>
                <a:cubicBezTo>
                  <a:pt x="0" y="16"/>
                  <a:pt x="0" y="16"/>
                  <a:pt x="0" y="16"/>
                </a:cubicBezTo>
                <a:cubicBezTo>
                  <a:pt x="0" y="14"/>
                  <a:pt x="0" y="13"/>
                  <a:pt x="2" y="12"/>
                </a:cubicBezTo>
                <a:cubicBezTo>
                  <a:pt x="7" y="9"/>
                  <a:pt x="13" y="5"/>
                  <a:pt x="19" y="2"/>
                </a:cubicBezTo>
                <a:cubicBezTo>
                  <a:pt x="22" y="0"/>
                  <a:pt x="25" y="3"/>
                  <a:pt x="25" y="6"/>
                </a:cubicBezTo>
                <a:cubicBezTo>
                  <a:pt x="25" y="94"/>
                  <a:pt x="25" y="94"/>
                  <a:pt x="25" y="94"/>
                </a:cubicBezTo>
                <a:cubicBezTo>
                  <a:pt x="25" y="97"/>
                  <a:pt x="23" y="99"/>
                  <a:pt x="21" y="99"/>
                </a:cubicBez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Freeform 1537">
            <a:extLst>
              <a:ext uri="{FF2B5EF4-FFF2-40B4-BE49-F238E27FC236}">
                <a16:creationId xmlns:a16="http://schemas.microsoft.com/office/drawing/2014/main" id="{DB50F49C-5B01-4C70-872D-A4172A4771F2}"/>
              </a:ext>
            </a:extLst>
          </p:cNvPr>
          <p:cNvSpPr>
            <a:spLocks/>
          </p:cNvSpPr>
          <p:nvPr/>
        </p:nvSpPr>
        <p:spPr bwMode="auto">
          <a:xfrm>
            <a:off x="7604698" y="3799071"/>
            <a:ext cx="88217" cy="273474"/>
          </a:xfrm>
          <a:custGeom>
            <a:avLst/>
            <a:gdLst>
              <a:gd name="T0" fmla="*/ 21 w 26"/>
              <a:gd name="T1" fmla="*/ 83 h 83"/>
              <a:gd name="T2" fmla="*/ 4 w 26"/>
              <a:gd name="T3" fmla="*/ 83 h 83"/>
              <a:gd name="T4" fmla="*/ 0 w 26"/>
              <a:gd name="T5" fmla="*/ 78 h 83"/>
              <a:gd name="T6" fmla="*/ 0 w 26"/>
              <a:gd name="T7" fmla="*/ 11 h 83"/>
              <a:gd name="T8" fmla="*/ 2 w 26"/>
              <a:gd name="T9" fmla="*/ 7 h 83"/>
              <a:gd name="T10" fmla="*/ 13 w 26"/>
              <a:gd name="T11" fmla="*/ 1 h 83"/>
              <a:gd name="T12" fmla="*/ 18 w 26"/>
              <a:gd name="T13" fmla="*/ 2 h 83"/>
              <a:gd name="T14" fmla="*/ 26 w 26"/>
              <a:gd name="T15" fmla="*/ 10 h 83"/>
              <a:gd name="T16" fmla="*/ 26 w 26"/>
              <a:gd name="T17" fmla="*/ 19 h 83"/>
              <a:gd name="T18" fmla="*/ 26 w 26"/>
              <a:gd name="T19" fmla="*/ 78 h 83"/>
              <a:gd name="T20" fmla="*/ 21 w 26"/>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83">
                <a:moveTo>
                  <a:pt x="21" y="83"/>
                </a:moveTo>
                <a:cubicBezTo>
                  <a:pt x="4" y="83"/>
                  <a:pt x="4" y="83"/>
                  <a:pt x="4" y="83"/>
                </a:cubicBezTo>
                <a:cubicBezTo>
                  <a:pt x="2" y="83"/>
                  <a:pt x="0" y="81"/>
                  <a:pt x="0" y="78"/>
                </a:cubicBezTo>
                <a:cubicBezTo>
                  <a:pt x="0" y="11"/>
                  <a:pt x="0" y="11"/>
                  <a:pt x="0" y="11"/>
                </a:cubicBezTo>
                <a:cubicBezTo>
                  <a:pt x="0" y="9"/>
                  <a:pt x="1" y="7"/>
                  <a:pt x="2" y="7"/>
                </a:cubicBezTo>
                <a:cubicBezTo>
                  <a:pt x="6" y="5"/>
                  <a:pt x="9" y="3"/>
                  <a:pt x="13" y="1"/>
                </a:cubicBezTo>
                <a:cubicBezTo>
                  <a:pt x="15" y="0"/>
                  <a:pt x="17" y="1"/>
                  <a:pt x="18" y="2"/>
                </a:cubicBezTo>
                <a:cubicBezTo>
                  <a:pt x="21" y="4"/>
                  <a:pt x="25" y="7"/>
                  <a:pt x="26" y="10"/>
                </a:cubicBezTo>
                <a:cubicBezTo>
                  <a:pt x="26" y="12"/>
                  <a:pt x="26" y="16"/>
                  <a:pt x="26" y="19"/>
                </a:cubicBezTo>
                <a:cubicBezTo>
                  <a:pt x="26" y="78"/>
                  <a:pt x="26" y="78"/>
                  <a:pt x="26" y="78"/>
                </a:cubicBezTo>
                <a:cubicBezTo>
                  <a:pt x="26" y="81"/>
                  <a:pt x="24" y="83"/>
                  <a:pt x="21" y="83"/>
                </a:cubicBez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1" name="Freeform 1538">
            <a:extLst>
              <a:ext uri="{FF2B5EF4-FFF2-40B4-BE49-F238E27FC236}">
                <a16:creationId xmlns:a16="http://schemas.microsoft.com/office/drawing/2014/main" id="{704FA84C-93C2-4532-AF58-D5A335123775}"/>
              </a:ext>
            </a:extLst>
          </p:cNvPr>
          <p:cNvSpPr>
            <a:spLocks/>
          </p:cNvSpPr>
          <p:nvPr/>
        </p:nvSpPr>
        <p:spPr bwMode="auto">
          <a:xfrm>
            <a:off x="7723793" y="3816715"/>
            <a:ext cx="83808" cy="255830"/>
          </a:xfrm>
          <a:custGeom>
            <a:avLst/>
            <a:gdLst>
              <a:gd name="T0" fmla="*/ 21 w 26"/>
              <a:gd name="T1" fmla="*/ 78 h 78"/>
              <a:gd name="T2" fmla="*/ 5 w 26"/>
              <a:gd name="T3" fmla="*/ 78 h 78"/>
              <a:gd name="T4" fmla="*/ 0 w 26"/>
              <a:gd name="T5" fmla="*/ 73 h 78"/>
              <a:gd name="T6" fmla="*/ 0 w 26"/>
              <a:gd name="T7" fmla="*/ 16 h 78"/>
              <a:gd name="T8" fmla="*/ 2 w 26"/>
              <a:gd name="T9" fmla="*/ 12 h 78"/>
              <a:gd name="T10" fmla="*/ 19 w 26"/>
              <a:gd name="T11" fmla="*/ 2 h 78"/>
              <a:gd name="T12" fmla="*/ 26 w 26"/>
              <a:gd name="T13" fmla="*/ 6 h 78"/>
              <a:gd name="T14" fmla="*/ 26 w 26"/>
              <a:gd name="T15" fmla="*/ 73 h 78"/>
              <a:gd name="T16" fmla="*/ 21 w 2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21" y="78"/>
                </a:moveTo>
                <a:cubicBezTo>
                  <a:pt x="5" y="78"/>
                  <a:pt x="5" y="78"/>
                  <a:pt x="5" y="78"/>
                </a:cubicBezTo>
                <a:cubicBezTo>
                  <a:pt x="2" y="78"/>
                  <a:pt x="0" y="76"/>
                  <a:pt x="0" y="73"/>
                </a:cubicBezTo>
                <a:cubicBezTo>
                  <a:pt x="0" y="16"/>
                  <a:pt x="0" y="16"/>
                  <a:pt x="0" y="16"/>
                </a:cubicBezTo>
                <a:cubicBezTo>
                  <a:pt x="0" y="14"/>
                  <a:pt x="1" y="13"/>
                  <a:pt x="2" y="12"/>
                </a:cubicBezTo>
                <a:cubicBezTo>
                  <a:pt x="8" y="9"/>
                  <a:pt x="14" y="5"/>
                  <a:pt x="19" y="2"/>
                </a:cubicBezTo>
                <a:cubicBezTo>
                  <a:pt x="22" y="0"/>
                  <a:pt x="26" y="3"/>
                  <a:pt x="26" y="6"/>
                </a:cubicBezTo>
                <a:cubicBezTo>
                  <a:pt x="26" y="73"/>
                  <a:pt x="26" y="73"/>
                  <a:pt x="26" y="73"/>
                </a:cubicBezTo>
                <a:cubicBezTo>
                  <a:pt x="26" y="76"/>
                  <a:pt x="24" y="78"/>
                  <a:pt x="21" y="78"/>
                </a:cubicBezTo>
                <a:close/>
              </a:path>
            </a:pathLst>
          </a:custGeom>
          <a:solidFill>
            <a:srgbClr val="13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2" name="Freeform 1539">
            <a:extLst>
              <a:ext uri="{FF2B5EF4-FFF2-40B4-BE49-F238E27FC236}">
                <a16:creationId xmlns:a16="http://schemas.microsoft.com/office/drawing/2014/main" id="{AA0ECB2A-10D0-4777-AA5A-899AFDBB1839}"/>
              </a:ext>
            </a:extLst>
          </p:cNvPr>
          <p:cNvSpPr>
            <a:spLocks/>
          </p:cNvSpPr>
          <p:nvPr/>
        </p:nvSpPr>
        <p:spPr bwMode="auto">
          <a:xfrm>
            <a:off x="7472372" y="3847589"/>
            <a:ext cx="88217" cy="224956"/>
          </a:xfrm>
          <a:custGeom>
            <a:avLst/>
            <a:gdLst>
              <a:gd name="T0" fmla="*/ 21 w 26"/>
              <a:gd name="T1" fmla="*/ 68 h 68"/>
              <a:gd name="T2" fmla="*/ 5 w 26"/>
              <a:gd name="T3" fmla="*/ 68 h 68"/>
              <a:gd name="T4" fmla="*/ 0 w 26"/>
              <a:gd name="T5" fmla="*/ 63 h 68"/>
              <a:gd name="T6" fmla="*/ 0 w 26"/>
              <a:gd name="T7" fmla="*/ 15 h 68"/>
              <a:gd name="T8" fmla="*/ 3 w 26"/>
              <a:gd name="T9" fmla="*/ 10 h 68"/>
              <a:gd name="T10" fmla="*/ 19 w 26"/>
              <a:gd name="T11" fmla="*/ 2 h 68"/>
              <a:gd name="T12" fmla="*/ 26 w 26"/>
              <a:gd name="T13" fmla="*/ 6 h 68"/>
              <a:gd name="T14" fmla="*/ 26 w 26"/>
              <a:gd name="T15" fmla="*/ 63 h 68"/>
              <a:gd name="T16" fmla="*/ 21 w 2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8">
                <a:moveTo>
                  <a:pt x="21" y="68"/>
                </a:moveTo>
                <a:cubicBezTo>
                  <a:pt x="5" y="68"/>
                  <a:pt x="5" y="68"/>
                  <a:pt x="5" y="68"/>
                </a:cubicBezTo>
                <a:cubicBezTo>
                  <a:pt x="2" y="68"/>
                  <a:pt x="0" y="66"/>
                  <a:pt x="0" y="63"/>
                </a:cubicBezTo>
                <a:cubicBezTo>
                  <a:pt x="0" y="15"/>
                  <a:pt x="0" y="15"/>
                  <a:pt x="0" y="15"/>
                </a:cubicBezTo>
                <a:cubicBezTo>
                  <a:pt x="0" y="13"/>
                  <a:pt x="1" y="11"/>
                  <a:pt x="3" y="10"/>
                </a:cubicBezTo>
                <a:cubicBezTo>
                  <a:pt x="8" y="8"/>
                  <a:pt x="14" y="4"/>
                  <a:pt x="19" y="2"/>
                </a:cubicBezTo>
                <a:cubicBezTo>
                  <a:pt x="22" y="0"/>
                  <a:pt x="26" y="2"/>
                  <a:pt x="26" y="6"/>
                </a:cubicBezTo>
                <a:cubicBezTo>
                  <a:pt x="26" y="63"/>
                  <a:pt x="26" y="63"/>
                  <a:pt x="26" y="63"/>
                </a:cubicBezTo>
                <a:cubicBezTo>
                  <a:pt x="26" y="66"/>
                  <a:pt x="24" y="68"/>
                  <a:pt x="21" y="68"/>
                </a:cubicBezTo>
                <a:close/>
              </a:path>
            </a:pathLst>
          </a:custGeom>
          <a:solidFill>
            <a:srgbClr val="13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Freeform 1542">
            <a:extLst>
              <a:ext uri="{FF2B5EF4-FFF2-40B4-BE49-F238E27FC236}">
                <a16:creationId xmlns:a16="http://schemas.microsoft.com/office/drawing/2014/main" id="{D87C9611-DF7B-4C3F-8EFA-080ED447390A}"/>
              </a:ext>
            </a:extLst>
          </p:cNvPr>
          <p:cNvSpPr>
            <a:spLocks/>
          </p:cNvSpPr>
          <p:nvPr/>
        </p:nvSpPr>
        <p:spPr bwMode="auto">
          <a:xfrm>
            <a:off x="8526571" y="4495988"/>
            <a:ext cx="1014499" cy="851299"/>
          </a:xfrm>
          <a:custGeom>
            <a:avLst/>
            <a:gdLst>
              <a:gd name="T0" fmla="*/ 306 w 307"/>
              <a:gd name="T1" fmla="*/ 96 h 259"/>
              <a:gd name="T2" fmla="*/ 271 w 307"/>
              <a:gd name="T3" fmla="*/ 23 h 259"/>
              <a:gd name="T4" fmla="*/ 223 w 307"/>
              <a:gd name="T5" fmla="*/ 10 h 259"/>
              <a:gd name="T6" fmla="*/ 0 w 307"/>
              <a:gd name="T7" fmla="*/ 140 h 259"/>
              <a:gd name="T8" fmla="*/ 54 w 307"/>
              <a:gd name="T9" fmla="*/ 158 h 259"/>
              <a:gd name="T10" fmla="*/ 62 w 307"/>
              <a:gd name="T11" fmla="*/ 168 h 259"/>
              <a:gd name="T12" fmla="*/ 62 w 307"/>
              <a:gd name="T13" fmla="*/ 168 h 259"/>
              <a:gd name="T14" fmla="*/ 82 w 307"/>
              <a:gd name="T15" fmla="*/ 216 h 259"/>
              <a:gd name="T16" fmla="*/ 69 w 307"/>
              <a:gd name="T17" fmla="*/ 259 h 259"/>
              <a:gd name="T18" fmla="*/ 292 w 307"/>
              <a:gd name="T19" fmla="*/ 129 h 259"/>
              <a:gd name="T20" fmla="*/ 306 w 307"/>
              <a:gd name="T21" fmla="*/ 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259">
                <a:moveTo>
                  <a:pt x="306" y="96"/>
                </a:moveTo>
                <a:cubicBezTo>
                  <a:pt x="306" y="69"/>
                  <a:pt x="291" y="41"/>
                  <a:pt x="271" y="23"/>
                </a:cubicBezTo>
                <a:cubicBezTo>
                  <a:pt x="259" y="12"/>
                  <a:pt x="239" y="0"/>
                  <a:pt x="223" y="10"/>
                </a:cubicBezTo>
                <a:cubicBezTo>
                  <a:pt x="0" y="140"/>
                  <a:pt x="0" y="140"/>
                  <a:pt x="0" y="140"/>
                </a:cubicBezTo>
                <a:cubicBezTo>
                  <a:pt x="18" y="129"/>
                  <a:pt x="42" y="145"/>
                  <a:pt x="54" y="158"/>
                </a:cubicBezTo>
                <a:cubicBezTo>
                  <a:pt x="57" y="162"/>
                  <a:pt x="59" y="165"/>
                  <a:pt x="62" y="168"/>
                </a:cubicBezTo>
                <a:cubicBezTo>
                  <a:pt x="62" y="168"/>
                  <a:pt x="62" y="168"/>
                  <a:pt x="62" y="168"/>
                </a:cubicBezTo>
                <a:cubicBezTo>
                  <a:pt x="72" y="182"/>
                  <a:pt x="80" y="199"/>
                  <a:pt x="82" y="216"/>
                </a:cubicBezTo>
                <a:cubicBezTo>
                  <a:pt x="85" y="230"/>
                  <a:pt x="84" y="250"/>
                  <a:pt x="69" y="259"/>
                </a:cubicBezTo>
                <a:cubicBezTo>
                  <a:pt x="292" y="129"/>
                  <a:pt x="292" y="129"/>
                  <a:pt x="292" y="129"/>
                </a:cubicBezTo>
                <a:cubicBezTo>
                  <a:pt x="304" y="122"/>
                  <a:pt x="307" y="108"/>
                  <a:pt x="306" y="96"/>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4" name="Freeform 1543">
            <a:extLst>
              <a:ext uri="{FF2B5EF4-FFF2-40B4-BE49-F238E27FC236}">
                <a16:creationId xmlns:a16="http://schemas.microsoft.com/office/drawing/2014/main" id="{8C017095-3A51-4801-880B-1ED476377DFF}"/>
              </a:ext>
            </a:extLst>
          </p:cNvPr>
          <p:cNvSpPr>
            <a:spLocks/>
          </p:cNvSpPr>
          <p:nvPr/>
        </p:nvSpPr>
        <p:spPr bwMode="auto">
          <a:xfrm>
            <a:off x="8478050" y="4915019"/>
            <a:ext cx="326404" cy="458730"/>
          </a:xfrm>
          <a:custGeom>
            <a:avLst/>
            <a:gdLst>
              <a:gd name="T0" fmla="*/ 50 w 99"/>
              <a:gd name="T1" fmla="*/ 16 h 139"/>
              <a:gd name="T2" fmla="*/ 98 w 99"/>
              <a:gd name="T3" fmla="*/ 93 h 139"/>
              <a:gd name="T4" fmla="*/ 86 w 99"/>
              <a:gd name="T5" fmla="*/ 130 h 139"/>
              <a:gd name="T6" fmla="*/ 49 w 99"/>
              <a:gd name="T7" fmla="*/ 129 h 139"/>
              <a:gd name="T8" fmla="*/ 1 w 99"/>
              <a:gd name="T9" fmla="*/ 51 h 139"/>
              <a:gd name="T10" fmla="*/ 13 w 99"/>
              <a:gd name="T11" fmla="*/ 14 h 139"/>
              <a:gd name="T12" fmla="*/ 50 w 99"/>
              <a:gd name="T13" fmla="*/ 16 h 139"/>
              <a:gd name="T14" fmla="*/ 50 w 99"/>
              <a:gd name="T15" fmla="*/ 16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39">
                <a:moveTo>
                  <a:pt x="50" y="16"/>
                </a:moveTo>
                <a:cubicBezTo>
                  <a:pt x="76" y="31"/>
                  <a:pt x="95" y="63"/>
                  <a:pt x="98" y="93"/>
                </a:cubicBezTo>
                <a:cubicBezTo>
                  <a:pt x="99" y="106"/>
                  <a:pt x="98" y="122"/>
                  <a:pt x="86" y="130"/>
                </a:cubicBezTo>
                <a:cubicBezTo>
                  <a:pt x="75" y="139"/>
                  <a:pt x="60" y="135"/>
                  <a:pt x="49" y="129"/>
                </a:cubicBezTo>
                <a:cubicBezTo>
                  <a:pt x="23" y="113"/>
                  <a:pt x="4" y="81"/>
                  <a:pt x="1" y="51"/>
                </a:cubicBezTo>
                <a:cubicBezTo>
                  <a:pt x="0" y="38"/>
                  <a:pt x="1" y="22"/>
                  <a:pt x="13" y="14"/>
                </a:cubicBezTo>
                <a:cubicBezTo>
                  <a:pt x="24" y="6"/>
                  <a:pt x="39" y="10"/>
                  <a:pt x="50" y="16"/>
                </a:cubicBezTo>
                <a:cubicBezTo>
                  <a:pt x="77" y="32"/>
                  <a:pt x="23" y="0"/>
                  <a:pt x="50" y="16"/>
                </a:cubicBezTo>
                <a:close/>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5" name="Freeform 1544">
            <a:extLst>
              <a:ext uri="{FF2B5EF4-FFF2-40B4-BE49-F238E27FC236}">
                <a16:creationId xmlns:a16="http://schemas.microsoft.com/office/drawing/2014/main" id="{29D35CD0-A7E8-4D85-B338-33AD7E92A26B}"/>
              </a:ext>
            </a:extLst>
          </p:cNvPr>
          <p:cNvSpPr>
            <a:spLocks/>
          </p:cNvSpPr>
          <p:nvPr/>
        </p:nvSpPr>
        <p:spPr bwMode="auto">
          <a:xfrm>
            <a:off x="8306028" y="5047345"/>
            <a:ext cx="414622" cy="392569"/>
          </a:xfrm>
          <a:custGeom>
            <a:avLst/>
            <a:gdLst>
              <a:gd name="T0" fmla="*/ 125 w 125"/>
              <a:gd name="T1" fmla="*/ 52 h 119"/>
              <a:gd name="T2" fmla="*/ 124 w 125"/>
              <a:gd name="T3" fmla="*/ 48 h 119"/>
              <a:gd name="T4" fmla="*/ 123 w 125"/>
              <a:gd name="T5" fmla="*/ 43 h 119"/>
              <a:gd name="T6" fmla="*/ 123 w 125"/>
              <a:gd name="T7" fmla="*/ 41 h 119"/>
              <a:gd name="T8" fmla="*/ 121 w 125"/>
              <a:gd name="T9" fmla="*/ 37 h 119"/>
              <a:gd name="T10" fmla="*/ 120 w 125"/>
              <a:gd name="T11" fmla="*/ 34 h 119"/>
              <a:gd name="T12" fmla="*/ 118 w 125"/>
              <a:gd name="T13" fmla="*/ 31 h 119"/>
              <a:gd name="T14" fmla="*/ 116 w 125"/>
              <a:gd name="T15" fmla="*/ 27 h 119"/>
              <a:gd name="T16" fmla="*/ 112 w 125"/>
              <a:gd name="T17" fmla="*/ 20 h 119"/>
              <a:gd name="T18" fmla="*/ 108 w 125"/>
              <a:gd name="T19" fmla="*/ 16 h 119"/>
              <a:gd name="T20" fmla="*/ 107 w 125"/>
              <a:gd name="T21" fmla="*/ 14 h 119"/>
              <a:gd name="T22" fmla="*/ 103 w 125"/>
              <a:gd name="T23" fmla="*/ 10 h 119"/>
              <a:gd name="T24" fmla="*/ 101 w 125"/>
              <a:gd name="T25" fmla="*/ 9 h 119"/>
              <a:gd name="T26" fmla="*/ 98 w 125"/>
              <a:gd name="T27" fmla="*/ 6 h 119"/>
              <a:gd name="T28" fmla="*/ 95 w 125"/>
              <a:gd name="T29" fmla="*/ 5 h 119"/>
              <a:gd name="T30" fmla="*/ 92 w 125"/>
              <a:gd name="T31" fmla="*/ 3 h 119"/>
              <a:gd name="T32" fmla="*/ 91 w 125"/>
              <a:gd name="T33" fmla="*/ 2 h 119"/>
              <a:gd name="T34" fmla="*/ 89 w 125"/>
              <a:gd name="T35" fmla="*/ 2 h 119"/>
              <a:gd name="T36" fmla="*/ 86 w 125"/>
              <a:gd name="T37" fmla="*/ 1 h 119"/>
              <a:gd name="T38" fmla="*/ 84 w 125"/>
              <a:gd name="T39" fmla="*/ 1 h 119"/>
              <a:gd name="T40" fmla="*/ 83 w 125"/>
              <a:gd name="T41" fmla="*/ 0 h 119"/>
              <a:gd name="T42" fmla="*/ 81 w 125"/>
              <a:gd name="T43" fmla="*/ 0 h 119"/>
              <a:gd name="T44" fmla="*/ 78 w 125"/>
              <a:gd name="T45" fmla="*/ 1 h 119"/>
              <a:gd name="T46" fmla="*/ 76 w 125"/>
              <a:gd name="T47" fmla="*/ 1 h 119"/>
              <a:gd name="T48" fmla="*/ 2 w 125"/>
              <a:gd name="T49" fmla="*/ 44 h 119"/>
              <a:gd name="T50" fmla="*/ 6 w 125"/>
              <a:gd name="T51" fmla="*/ 44 h 119"/>
              <a:gd name="T52" fmla="*/ 9 w 125"/>
              <a:gd name="T53" fmla="*/ 44 h 119"/>
              <a:gd name="T54" fmla="*/ 15 w 125"/>
              <a:gd name="T55" fmla="*/ 45 h 119"/>
              <a:gd name="T56" fmla="*/ 18 w 125"/>
              <a:gd name="T57" fmla="*/ 46 h 119"/>
              <a:gd name="T58" fmla="*/ 27 w 125"/>
              <a:gd name="T59" fmla="*/ 52 h 119"/>
              <a:gd name="T60" fmla="*/ 38 w 125"/>
              <a:gd name="T61" fmla="*/ 63 h 119"/>
              <a:gd name="T62" fmla="*/ 42 w 125"/>
              <a:gd name="T63" fmla="*/ 70 h 119"/>
              <a:gd name="T64" fmla="*/ 49 w 125"/>
              <a:gd name="T65" fmla="*/ 85 h 119"/>
              <a:gd name="T66" fmla="*/ 50 w 125"/>
              <a:gd name="T67" fmla="*/ 92 h 119"/>
              <a:gd name="T68" fmla="*/ 50 w 125"/>
              <a:gd name="T69" fmla="*/ 106 h 119"/>
              <a:gd name="T70" fmla="*/ 46 w 125"/>
              <a:gd name="T71" fmla="*/ 115 h 119"/>
              <a:gd name="T72" fmla="*/ 116 w 125"/>
              <a:gd name="T73" fmla="*/ 76 h 119"/>
              <a:gd name="T74" fmla="*/ 122 w 125"/>
              <a:gd name="T75" fmla="*/ 71 h 119"/>
              <a:gd name="T76" fmla="*/ 123 w 125"/>
              <a:gd name="T77" fmla="*/ 68 h 119"/>
              <a:gd name="T78" fmla="*/ 124 w 125"/>
              <a:gd name="T79" fmla="*/ 64 h 119"/>
              <a:gd name="T80" fmla="*/ 125 w 125"/>
              <a:gd name="T81" fmla="*/ 62 h 119"/>
              <a:gd name="T82" fmla="*/ 125 w 125"/>
              <a:gd name="T83" fmla="*/ 58 h 119"/>
              <a:gd name="T84" fmla="*/ 125 w 125"/>
              <a:gd name="T85" fmla="*/ 5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5" h="119">
                <a:moveTo>
                  <a:pt x="125" y="55"/>
                </a:moveTo>
                <a:cubicBezTo>
                  <a:pt x="125" y="55"/>
                  <a:pt x="125" y="54"/>
                  <a:pt x="125" y="54"/>
                </a:cubicBezTo>
                <a:cubicBezTo>
                  <a:pt x="125" y="53"/>
                  <a:pt x="125" y="53"/>
                  <a:pt x="125" y="52"/>
                </a:cubicBezTo>
                <a:cubicBezTo>
                  <a:pt x="125" y="52"/>
                  <a:pt x="125" y="51"/>
                  <a:pt x="125" y="51"/>
                </a:cubicBezTo>
                <a:cubicBezTo>
                  <a:pt x="125" y="50"/>
                  <a:pt x="125" y="50"/>
                  <a:pt x="124" y="49"/>
                </a:cubicBezTo>
                <a:cubicBezTo>
                  <a:pt x="124" y="49"/>
                  <a:pt x="124" y="48"/>
                  <a:pt x="124" y="48"/>
                </a:cubicBezTo>
                <a:cubicBezTo>
                  <a:pt x="124" y="47"/>
                  <a:pt x="124" y="47"/>
                  <a:pt x="124" y="46"/>
                </a:cubicBezTo>
                <a:cubicBezTo>
                  <a:pt x="124" y="46"/>
                  <a:pt x="124" y="45"/>
                  <a:pt x="124" y="44"/>
                </a:cubicBezTo>
                <a:cubicBezTo>
                  <a:pt x="123" y="44"/>
                  <a:pt x="123" y="43"/>
                  <a:pt x="123" y="43"/>
                </a:cubicBezTo>
                <a:cubicBezTo>
                  <a:pt x="123" y="42"/>
                  <a:pt x="123" y="42"/>
                  <a:pt x="123" y="42"/>
                </a:cubicBezTo>
                <a:cubicBezTo>
                  <a:pt x="123" y="42"/>
                  <a:pt x="123" y="42"/>
                  <a:pt x="123" y="42"/>
                </a:cubicBezTo>
                <a:cubicBezTo>
                  <a:pt x="123" y="41"/>
                  <a:pt x="123" y="41"/>
                  <a:pt x="123" y="41"/>
                </a:cubicBezTo>
                <a:cubicBezTo>
                  <a:pt x="122" y="41"/>
                  <a:pt x="122" y="40"/>
                  <a:pt x="122" y="40"/>
                </a:cubicBezTo>
                <a:cubicBezTo>
                  <a:pt x="122" y="39"/>
                  <a:pt x="122" y="39"/>
                  <a:pt x="122" y="38"/>
                </a:cubicBezTo>
                <a:cubicBezTo>
                  <a:pt x="121" y="38"/>
                  <a:pt x="121" y="37"/>
                  <a:pt x="121" y="37"/>
                </a:cubicBezTo>
                <a:cubicBezTo>
                  <a:pt x="121" y="36"/>
                  <a:pt x="121" y="36"/>
                  <a:pt x="120" y="35"/>
                </a:cubicBezTo>
                <a:cubicBezTo>
                  <a:pt x="120" y="35"/>
                  <a:pt x="120" y="35"/>
                  <a:pt x="120" y="34"/>
                </a:cubicBezTo>
                <a:cubicBezTo>
                  <a:pt x="120" y="34"/>
                  <a:pt x="120" y="34"/>
                  <a:pt x="120" y="34"/>
                </a:cubicBezTo>
                <a:cubicBezTo>
                  <a:pt x="120" y="34"/>
                  <a:pt x="120" y="34"/>
                  <a:pt x="120" y="34"/>
                </a:cubicBezTo>
                <a:cubicBezTo>
                  <a:pt x="120" y="33"/>
                  <a:pt x="119" y="33"/>
                  <a:pt x="119" y="32"/>
                </a:cubicBezTo>
                <a:cubicBezTo>
                  <a:pt x="119" y="32"/>
                  <a:pt x="119" y="31"/>
                  <a:pt x="118" y="31"/>
                </a:cubicBezTo>
                <a:cubicBezTo>
                  <a:pt x="118" y="30"/>
                  <a:pt x="118" y="30"/>
                  <a:pt x="118" y="29"/>
                </a:cubicBezTo>
                <a:cubicBezTo>
                  <a:pt x="117" y="28"/>
                  <a:pt x="117" y="28"/>
                  <a:pt x="116" y="27"/>
                </a:cubicBezTo>
                <a:cubicBezTo>
                  <a:pt x="116" y="27"/>
                  <a:pt x="116" y="27"/>
                  <a:pt x="116" y="27"/>
                </a:cubicBezTo>
                <a:cubicBezTo>
                  <a:pt x="116" y="26"/>
                  <a:pt x="116" y="26"/>
                  <a:pt x="116" y="26"/>
                </a:cubicBezTo>
                <a:cubicBezTo>
                  <a:pt x="115" y="25"/>
                  <a:pt x="115" y="24"/>
                  <a:pt x="114" y="23"/>
                </a:cubicBezTo>
                <a:cubicBezTo>
                  <a:pt x="113" y="22"/>
                  <a:pt x="113" y="21"/>
                  <a:pt x="112" y="20"/>
                </a:cubicBezTo>
                <a:cubicBezTo>
                  <a:pt x="111" y="19"/>
                  <a:pt x="111" y="19"/>
                  <a:pt x="111" y="18"/>
                </a:cubicBezTo>
                <a:cubicBezTo>
                  <a:pt x="110" y="18"/>
                  <a:pt x="110" y="17"/>
                  <a:pt x="109" y="17"/>
                </a:cubicBezTo>
                <a:cubicBezTo>
                  <a:pt x="109" y="16"/>
                  <a:pt x="109" y="16"/>
                  <a:pt x="108" y="16"/>
                </a:cubicBezTo>
                <a:cubicBezTo>
                  <a:pt x="108" y="15"/>
                  <a:pt x="107" y="15"/>
                  <a:pt x="107" y="14"/>
                </a:cubicBezTo>
                <a:cubicBezTo>
                  <a:pt x="107" y="14"/>
                  <a:pt x="107" y="14"/>
                  <a:pt x="107" y="14"/>
                </a:cubicBezTo>
                <a:cubicBezTo>
                  <a:pt x="107" y="14"/>
                  <a:pt x="107" y="14"/>
                  <a:pt x="107" y="14"/>
                </a:cubicBezTo>
                <a:cubicBezTo>
                  <a:pt x="106" y="13"/>
                  <a:pt x="106" y="13"/>
                  <a:pt x="106" y="13"/>
                </a:cubicBezTo>
                <a:cubicBezTo>
                  <a:pt x="105" y="13"/>
                  <a:pt x="105" y="12"/>
                  <a:pt x="105" y="12"/>
                </a:cubicBezTo>
                <a:cubicBezTo>
                  <a:pt x="104" y="11"/>
                  <a:pt x="104" y="11"/>
                  <a:pt x="103" y="10"/>
                </a:cubicBezTo>
                <a:cubicBezTo>
                  <a:pt x="103" y="10"/>
                  <a:pt x="102" y="10"/>
                  <a:pt x="102" y="9"/>
                </a:cubicBezTo>
                <a:cubicBezTo>
                  <a:pt x="101" y="9"/>
                  <a:pt x="101" y="9"/>
                  <a:pt x="101" y="9"/>
                </a:cubicBezTo>
                <a:cubicBezTo>
                  <a:pt x="101" y="9"/>
                  <a:pt x="101" y="9"/>
                  <a:pt x="101" y="9"/>
                </a:cubicBezTo>
                <a:cubicBezTo>
                  <a:pt x="101" y="8"/>
                  <a:pt x="101" y="8"/>
                  <a:pt x="101" y="8"/>
                </a:cubicBezTo>
                <a:cubicBezTo>
                  <a:pt x="100" y="8"/>
                  <a:pt x="100" y="8"/>
                  <a:pt x="99" y="7"/>
                </a:cubicBezTo>
                <a:cubicBezTo>
                  <a:pt x="99" y="7"/>
                  <a:pt x="98" y="7"/>
                  <a:pt x="98" y="6"/>
                </a:cubicBezTo>
                <a:cubicBezTo>
                  <a:pt x="98" y="6"/>
                  <a:pt x="97" y="6"/>
                  <a:pt x="97" y="5"/>
                </a:cubicBezTo>
                <a:cubicBezTo>
                  <a:pt x="96" y="5"/>
                  <a:pt x="96" y="5"/>
                  <a:pt x="95" y="5"/>
                </a:cubicBezTo>
                <a:cubicBezTo>
                  <a:pt x="95" y="5"/>
                  <a:pt x="95" y="5"/>
                  <a:pt x="95" y="5"/>
                </a:cubicBezTo>
                <a:cubicBezTo>
                  <a:pt x="94" y="4"/>
                  <a:pt x="94" y="4"/>
                  <a:pt x="94" y="4"/>
                </a:cubicBezTo>
                <a:cubicBezTo>
                  <a:pt x="94" y="4"/>
                  <a:pt x="93" y="4"/>
                  <a:pt x="93" y="3"/>
                </a:cubicBezTo>
                <a:cubicBezTo>
                  <a:pt x="92" y="3"/>
                  <a:pt x="92" y="3"/>
                  <a:pt x="92" y="3"/>
                </a:cubicBezTo>
                <a:cubicBezTo>
                  <a:pt x="92" y="3"/>
                  <a:pt x="92" y="3"/>
                  <a:pt x="92" y="3"/>
                </a:cubicBezTo>
                <a:cubicBezTo>
                  <a:pt x="92" y="3"/>
                  <a:pt x="92" y="3"/>
                  <a:pt x="92" y="3"/>
                </a:cubicBezTo>
                <a:cubicBezTo>
                  <a:pt x="91" y="3"/>
                  <a:pt x="91" y="2"/>
                  <a:pt x="91" y="2"/>
                </a:cubicBezTo>
                <a:cubicBezTo>
                  <a:pt x="90" y="2"/>
                  <a:pt x="90" y="2"/>
                  <a:pt x="89" y="2"/>
                </a:cubicBezTo>
                <a:cubicBezTo>
                  <a:pt x="89" y="2"/>
                  <a:pt x="89" y="2"/>
                  <a:pt x="89" y="2"/>
                </a:cubicBezTo>
                <a:cubicBezTo>
                  <a:pt x="89" y="2"/>
                  <a:pt x="89" y="2"/>
                  <a:pt x="89" y="2"/>
                </a:cubicBezTo>
                <a:cubicBezTo>
                  <a:pt x="88" y="1"/>
                  <a:pt x="88" y="1"/>
                  <a:pt x="88" y="1"/>
                </a:cubicBezTo>
                <a:cubicBezTo>
                  <a:pt x="88" y="1"/>
                  <a:pt x="87" y="1"/>
                  <a:pt x="87" y="1"/>
                </a:cubicBezTo>
                <a:cubicBezTo>
                  <a:pt x="86" y="1"/>
                  <a:pt x="86" y="1"/>
                  <a:pt x="86" y="1"/>
                </a:cubicBezTo>
                <a:cubicBezTo>
                  <a:pt x="86" y="1"/>
                  <a:pt x="86" y="1"/>
                  <a:pt x="86" y="1"/>
                </a:cubicBezTo>
                <a:cubicBezTo>
                  <a:pt x="86" y="1"/>
                  <a:pt x="86" y="1"/>
                  <a:pt x="86" y="1"/>
                </a:cubicBezTo>
                <a:cubicBezTo>
                  <a:pt x="85" y="1"/>
                  <a:pt x="85" y="1"/>
                  <a:pt x="84" y="1"/>
                </a:cubicBezTo>
                <a:cubicBezTo>
                  <a:pt x="84" y="0"/>
                  <a:pt x="84" y="0"/>
                  <a:pt x="84" y="0"/>
                </a:cubicBezTo>
                <a:cubicBezTo>
                  <a:pt x="83" y="0"/>
                  <a:pt x="83" y="0"/>
                  <a:pt x="83" y="0"/>
                </a:cubicBezTo>
                <a:cubicBezTo>
                  <a:pt x="83" y="0"/>
                  <a:pt x="83" y="0"/>
                  <a:pt x="83" y="0"/>
                </a:cubicBezTo>
                <a:cubicBezTo>
                  <a:pt x="83" y="0"/>
                  <a:pt x="82" y="0"/>
                  <a:pt x="82" y="0"/>
                </a:cubicBezTo>
                <a:cubicBezTo>
                  <a:pt x="81" y="0"/>
                  <a:pt x="81" y="0"/>
                  <a:pt x="81" y="0"/>
                </a:cubicBezTo>
                <a:cubicBezTo>
                  <a:pt x="81" y="0"/>
                  <a:pt x="81" y="0"/>
                  <a:pt x="81" y="0"/>
                </a:cubicBezTo>
                <a:cubicBezTo>
                  <a:pt x="80" y="0"/>
                  <a:pt x="80" y="0"/>
                  <a:pt x="80" y="0"/>
                </a:cubicBezTo>
                <a:cubicBezTo>
                  <a:pt x="79" y="1"/>
                  <a:pt x="79" y="1"/>
                  <a:pt x="78" y="1"/>
                </a:cubicBezTo>
                <a:cubicBezTo>
                  <a:pt x="78" y="1"/>
                  <a:pt x="78" y="1"/>
                  <a:pt x="78" y="1"/>
                </a:cubicBezTo>
                <a:cubicBezTo>
                  <a:pt x="78" y="1"/>
                  <a:pt x="78" y="1"/>
                  <a:pt x="78" y="1"/>
                </a:cubicBezTo>
                <a:cubicBezTo>
                  <a:pt x="77" y="1"/>
                  <a:pt x="77" y="1"/>
                  <a:pt x="76" y="1"/>
                </a:cubicBezTo>
                <a:cubicBezTo>
                  <a:pt x="76" y="1"/>
                  <a:pt x="76" y="1"/>
                  <a:pt x="76" y="1"/>
                </a:cubicBezTo>
                <a:cubicBezTo>
                  <a:pt x="75" y="2"/>
                  <a:pt x="74" y="2"/>
                  <a:pt x="74" y="2"/>
                </a:cubicBezTo>
                <a:cubicBezTo>
                  <a:pt x="0" y="46"/>
                  <a:pt x="0" y="46"/>
                  <a:pt x="0" y="46"/>
                </a:cubicBezTo>
                <a:cubicBezTo>
                  <a:pt x="0" y="45"/>
                  <a:pt x="1" y="45"/>
                  <a:pt x="2" y="44"/>
                </a:cubicBezTo>
                <a:cubicBezTo>
                  <a:pt x="3" y="44"/>
                  <a:pt x="3" y="44"/>
                  <a:pt x="4" y="44"/>
                </a:cubicBezTo>
                <a:cubicBezTo>
                  <a:pt x="4" y="44"/>
                  <a:pt x="4" y="44"/>
                  <a:pt x="4" y="44"/>
                </a:cubicBezTo>
                <a:cubicBezTo>
                  <a:pt x="5" y="44"/>
                  <a:pt x="6" y="44"/>
                  <a:pt x="6" y="44"/>
                </a:cubicBezTo>
                <a:cubicBezTo>
                  <a:pt x="7" y="44"/>
                  <a:pt x="7" y="44"/>
                  <a:pt x="7" y="44"/>
                </a:cubicBezTo>
                <a:cubicBezTo>
                  <a:pt x="8" y="43"/>
                  <a:pt x="8" y="44"/>
                  <a:pt x="9" y="44"/>
                </a:cubicBezTo>
                <a:cubicBezTo>
                  <a:pt x="9" y="44"/>
                  <a:pt x="9" y="44"/>
                  <a:pt x="9" y="44"/>
                </a:cubicBezTo>
                <a:cubicBezTo>
                  <a:pt x="10" y="44"/>
                  <a:pt x="11" y="44"/>
                  <a:pt x="12" y="44"/>
                </a:cubicBezTo>
                <a:cubicBezTo>
                  <a:pt x="12" y="44"/>
                  <a:pt x="12" y="44"/>
                  <a:pt x="12" y="44"/>
                </a:cubicBezTo>
                <a:cubicBezTo>
                  <a:pt x="13" y="44"/>
                  <a:pt x="14" y="44"/>
                  <a:pt x="15" y="45"/>
                </a:cubicBezTo>
                <a:cubicBezTo>
                  <a:pt x="15" y="45"/>
                  <a:pt x="15" y="45"/>
                  <a:pt x="15" y="45"/>
                </a:cubicBezTo>
                <a:cubicBezTo>
                  <a:pt x="16" y="45"/>
                  <a:pt x="17" y="46"/>
                  <a:pt x="18" y="46"/>
                </a:cubicBezTo>
                <a:cubicBezTo>
                  <a:pt x="18" y="46"/>
                  <a:pt x="18" y="46"/>
                  <a:pt x="18" y="46"/>
                </a:cubicBezTo>
                <a:cubicBezTo>
                  <a:pt x="19" y="47"/>
                  <a:pt x="20" y="47"/>
                  <a:pt x="21" y="48"/>
                </a:cubicBezTo>
                <a:cubicBezTo>
                  <a:pt x="23" y="49"/>
                  <a:pt x="25" y="50"/>
                  <a:pt x="27" y="52"/>
                </a:cubicBezTo>
                <a:cubicBezTo>
                  <a:pt x="27" y="52"/>
                  <a:pt x="27" y="52"/>
                  <a:pt x="27" y="52"/>
                </a:cubicBezTo>
                <a:cubicBezTo>
                  <a:pt x="29" y="53"/>
                  <a:pt x="31" y="55"/>
                  <a:pt x="33" y="57"/>
                </a:cubicBezTo>
                <a:cubicBezTo>
                  <a:pt x="33" y="57"/>
                  <a:pt x="33" y="57"/>
                  <a:pt x="33" y="57"/>
                </a:cubicBezTo>
                <a:cubicBezTo>
                  <a:pt x="34" y="59"/>
                  <a:pt x="36" y="61"/>
                  <a:pt x="38" y="63"/>
                </a:cubicBezTo>
                <a:cubicBezTo>
                  <a:pt x="38" y="63"/>
                  <a:pt x="38" y="63"/>
                  <a:pt x="38" y="63"/>
                </a:cubicBezTo>
                <a:cubicBezTo>
                  <a:pt x="39" y="65"/>
                  <a:pt x="41" y="68"/>
                  <a:pt x="42" y="70"/>
                </a:cubicBezTo>
                <a:cubicBezTo>
                  <a:pt x="42" y="70"/>
                  <a:pt x="42" y="70"/>
                  <a:pt x="42" y="70"/>
                </a:cubicBezTo>
                <a:cubicBezTo>
                  <a:pt x="44" y="72"/>
                  <a:pt x="45" y="75"/>
                  <a:pt x="46" y="77"/>
                </a:cubicBezTo>
                <a:cubicBezTo>
                  <a:pt x="46" y="77"/>
                  <a:pt x="46" y="77"/>
                  <a:pt x="46" y="77"/>
                </a:cubicBezTo>
                <a:cubicBezTo>
                  <a:pt x="47" y="80"/>
                  <a:pt x="48" y="82"/>
                  <a:pt x="49" y="85"/>
                </a:cubicBezTo>
                <a:cubicBezTo>
                  <a:pt x="49" y="85"/>
                  <a:pt x="49" y="85"/>
                  <a:pt x="49" y="85"/>
                </a:cubicBezTo>
                <a:cubicBezTo>
                  <a:pt x="49" y="87"/>
                  <a:pt x="50" y="90"/>
                  <a:pt x="50" y="92"/>
                </a:cubicBezTo>
                <a:cubicBezTo>
                  <a:pt x="50" y="92"/>
                  <a:pt x="50" y="92"/>
                  <a:pt x="50" y="92"/>
                </a:cubicBezTo>
                <a:cubicBezTo>
                  <a:pt x="51" y="95"/>
                  <a:pt x="51" y="97"/>
                  <a:pt x="51" y="99"/>
                </a:cubicBezTo>
                <a:cubicBezTo>
                  <a:pt x="51" y="102"/>
                  <a:pt x="51" y="104"/>
                  <a:pt x="50" y="106"/>
                </a:cubicBezTo>
                <a:cubicBezTo>
                  <a:pt x="50" y="106"/>
                  <a:pt x="50" y="106"/>
                  <a:pt x="50" y="106"/>
                </a:cubicBezTo>
                <a:cubicBezTo>
                  <a:pt x="50" y="108"/>
                  <a:pt x="49" y="110"/>
                  <a:pt x="49" y="111"/>
                </a:cubicBezTo>
                <a:cubicBezTo>
                  <a:pt x="49" y="111"/>
                  <a:pt x="49" y="111"/>
                  <a:pt x="49" y="111"/>
                </a:cubicBezTo>
                <a:cubicBezTo>
                  <a:pt x="48" y="113"/>
                  <a:pt x="47" y="114"/>
                  <a:pt x="46" y="115"/>
                </a:cubicBezTo>
                <a:cubicBezTo>
                  <a:pt x="45" y="116"/>
                  <a:pt x="45" y="116"/>
                  <a:pt x="45" y="116"/>
                </a:cubicBezTo>
                <a:cubicBezTo>
                  <a:pt x="44" y="117"/>
                  <a:pt x="43" y="118"/>
                  <a:pt x="42" y="119"/>
                </a:cubicBezTo>
                <a:cubicBezTo>
                  <a:pt x="116" y="76"/>
                  <a:pt x="116" y="76"/>
                  <a:pt x="116" y="76"/>
                </a:cubicBezTo>
                <a:cubicBezTo>
                  <a:pt x="118" y="75"/>
                  <a:pt x="119" y="74"/>
                  <a:pt x="120" y="73"/>
                </a:cubicBezTo>
                <a:cubicBezTo>
                  <a:pt x="120" y="72"/>
                  <a:pt x="120" y="72"/>
                  <a:pt x="120" y="72"/>
                </a:cubicBezTo>
                <a:cubicBezTo>
                  <a:pt x="121" y="71"/>
                  <a:pt x="121" y="71"/>
                  <a:pt x="122" y="71"/>
                </a:cubicBezTo>
                <a:cubicBezTo>
                  <a:pt x="122" y="70"/>
                  <a:pt x="122" y="69"/>
                  <a:pt x="123" y="68"/>
                </a:cubicBezTo>
                <a:cubicBezTo>
                  <a:pt x="123" y="68"/>
                  <a:pt x="123" y="68"/>
                  <a:pt x="123" y="68"/>
                </a:cubicBezTo>
                <a:cubicBezTo>
                  <a:pt x="123" y="68"/>
                  <a:pt x="123" y="68"/>
                  <a:pt x="123" y="68"/>
                </a:cubicBezTo>
                <a:cubicBezTo>
                  <a:pt x="123" y="68"/>
                  <a:pt x="123" y="67"/>
                  <a:pt x="123" y="67"/>
                </a:cubicBezTo>
                <a:cubicBezTo>
                  <a:pt x="124" y="66"/>
                  <a:pt x="124" y="66"/>
                  <a:pt x="124" y="65"/>
                </a:cubicBezTo>
                <a:cubicBezTo>
                  <a:pt x="124" y="65"/>
                  <a:pt x="124" y="64"/>
                  <a:pt x="124" y="64"/>
                </a:cubicBezTo>
                <a:cubicBezTo>
                  <a:pt x="124" y="63"/>
                  <a:pt x="124" y="63"/>
                  <a:pt x="124" y="63"/>
                </a:cubicBezTo>
                <a:cubicBezTo>
                  <a:pt x="124" y="63"/>
                  <a:pt x="124" y="63"/>
                  <a:pt x="124" y="63"/>
                </a:cubicBezTo>
                <a:cubicBezTo>
                  <a:pt x="125" y="62"/>
                  <a:pt x="125" y="62"/>
                  <a:pt x="125" y="62"/>
                </a:cubicBezTo>
                <a:cubicBezTo>
                  <a:pt x="125" y="62"/>
                  <a:pt x="125" y="61"/>
                  <a:pt x="125" y="61"/>
                </a:cubicBezTo>
                <a:cubicBezTo>
                  <a:pt x="125" y="60"/>
                  <a:pt x="125" y="60"/>
                  <a:pt x="125" y="59"/>
                </a:cubicBezTo>
                <a:cubicBezTo>
                  <a:pt x="125" y="59"/>
                  <a:pt x="125" y="58"/>
                  <a:pt x="125" y="58"/>
                </a:cubicBezTo>
                <a:cubicBezTo>
                  <a:pt x="125" y="57"/>
                  <a:pt x="125" y="57"/>
                  <a:pt x="125" y="56"/>
                </a:cubicBezTo>
                <a:cubicBezTo>
                  <a:pt x="125" y="56"/>
                  <a:pt x="125" y="56"/>
                  <a:pt x="125" y="56"/>
                </a:cubicBezTo>
                <a:cubicBezTo>
                  <a:pt x="125" y="56"/>
                  <a:pt x="125" y="55"/>
                  <a:pt x="125" y="55"/>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Freeform 1545">
            <a:extLst>
              <a:ext uri="{FF2B5EF4-FFF2-40B4-BE49-F238E27FC236}">
                <a16:creationId xmlns:a16="http://schemas.microsoft.com/office/drawing/2014/main" id="{A693B93A-04FE-4A88-8D95-30B554D08FB9}"/>
              </a:ext>
            </a:extLst>
          </p:cNvPr>
          <p:cNvSpPr>
            <a:spLocks/>
          </p:cNvSpPr>
          <p:nvPr/>
        </p:nvSpPr>
        <p:spPr bwMode="auto">
          <a:xfrm>
            <a:off x="8275150" y="5175262"/>
            <a:ext cx="198490" cy="291117"/>
          </a:xfrm>
          <a:custGeom>
            <a:avLst/>
            <a:gdLst>
              <a:gd name="T0" fmla="*/ 30 w 60"/>
              <a:gd name="T1" fmla="*/ 10 h 88"/>
              <a:gd name="T2" fmla="*/ 60 w 60"/>
              <a:gd name="T3" fmla="*/ 61 h 88"/>
              <a:gd name="T4" fmla="*/ 30 w 60"/>
              <a:gd name="T5" fmla="*/ 79 h 88"/>
              <a:gd name="T6" fmla="*/ 0 w 60"/>
              <a:gd name="T7" fmla="*/ 27 h 88"/>
              <a:gd name="T8" fmla="*/ 30 w 60"/>
              <a:gd name="T9" fmla="*/ 10 h 88"/>
            </a:gdLst>
            <a:ahLst/>
            <a:cxnLst>
              <a:cxn ang="0">
                <a:pos x="T0" y="T1"/>
              </a:cxn>
              <a:cxn ang="0">
                <a:pos x="T2" y="T3"/>
              </a:cxn>
              <a:cxn ang="0">
                <a:pos x="T4" y="T5"/>
              </a:cxn>
              <a:cxn ang="0">
                <a:pos x="T6" y="T7"/>
              </a:cxn>
              <a:cxn ang="0">
                <a:pos x="T8" y="T9"/>
              </a:cxn>
            </a:cxnLst>
            <a:rect l="0" t="0" r="r" b="b"/>
            <a:pathLst>
              <a:path w="60" h="88">
                <a:moveTo>
                  <a:pt x="30" y="10"/>
                </a:moveTo>
                <a:cubicBezTo>
                  <a:pt x="47" y="19"/>
                  <a:pt x="60" y="42"/>
                  <a:pt x="60" y="61"/>
                </a:cubicBezTo>
                <a:cubicBezTo>
                  <a:pt x="60" y="81"/>
                  <a:pt x="46" y="88"/>
                  <a:pt x="30" y="79"/>
                </a:cubicBezTo>
                <a:cubicBezTo>
                  <a:pt x="13" y="69"/>
                  <a:pt x="0" y="46"/>
                  <a:pt x="0" y="27"/>
                </a:cubicBezTo>
                <a:cubicBezTo>
                  <a:pt x="0" y="8"/>
                  <a:pt x="13" y="0"/>
                  <a:pt x="30" y="10"/>
                </a:cubicBezTo>
                <a:close/>
              </a:path>
            </a:pathLst>
          </a:custGeom>
          <a:solidFill>
            <a:srgbClr val="84B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Freeform 1546">
            <a:extLst>
              <a:ext uri="{FF2B5EF4-FFF2-40B4-BE49-F238E27FC236}">
                <a16:creationId xmlns:a16="http://schemas.microsoft.com/office/drawing/2014/main" id="{C68450AD-3968-4511-B4AD-1BB8D7F949FB}"/>
              </a:ext>
            </a:extLst>
          </p:cNvPr>
          <p:cNvSpPr>
            <a:spLocks noEditPoints="1"/>
          </p:cNvSpPr>
          <p:nvPr/>
        </p:nvSpPr>
        <p:spPr bwMode="auto">
          <a:xfrm>
            <a:off x="6616664" y="5334053"/>
            <a:ext cx="2051055" cy="1155647"/>
          </a:xfrm>
          <a:custGeom>
            <a:avLst/>
            <a:gdLst>
              <a:gd name="T0" fmla="*/ 8 w 620"/>
              <a:gd name="T1" fmla="*/ 159 h 351"/>
              <a:gd name="T2" fmla="*/ 95 w 620"/>
              <a:gd name="T3" fmla="*/ 299 h 351"/>
              <a:gd name="T4" fmla="*/ 310 w 620"/>
              <a:gd name="T5" fmla="*/ 351 h 351"/>
              <a:gd name="T6" fmla="*/ 525 w 620"/>
              <a:gd name="T7" fmla="*/ 299 h 351"/>
              <a:gd name="T8" fmla="*/ 613 w 620"/>
              <a:gd name="T9" fmla="*/ 160 h 351"/>
              <a:gd name="T10" fmla="*/ 539 w 620"/>
              <a:gd name="T11" fmla="*/ 259 h 351"/>
              <a:gd name="T12" fmla="*/ 396 w 620"/>
              <a:gd name="T13" fmla="*/ 313 h 351"/>
              <a:gd name="T14" fmla="*/ 394 w 620"/>
              <a:gd name="T15" fmla="*/ 313 h 351"/>
              <a:gd name="T16" fmla="*/ 310 w 620"/>
              <a:gd name="T17" fmla="*/ 321 h 351"/>
              <a:gd name="T18" fmla="*/ 230 w 620"/>
              <a:gd name="T19" fmla="*/ 314 h 351"/>
              <a:gd name="T20" fmla="*/ 155 w 620"/>
              <a:gd name="T21" fmla="*/ 295 h 351"/>
              <a:gd name="T22" fmla="*/ 8 w 620"/>
              <a:gd name="T23" fmla="*/ 159 h 351"/>
              <a:gd name="T24" fmla="*/ 603 w 620"/>
              <a:gd name="T25" fmla="*/ 127 h 351"/>
              <a:gd name="T26" fmla="*/ 591 w 620"/>
              <a:gd name="T27" fmla="*/ 147 h 351"/>
              <a:gd name="T28" fmla="*/ 603 w 620"/>
              <a:gd name="T29" fmla="*/ 127 h 351"/>
              <a:gd name="T30" fmla="*/ 603 w 620"/>
              <a:gd name="T31" fmla="*/ 127 h 351"/>
              <a:gd name="T32" fmla="*/ 472 w 620"/>
              <a:gd name="T33" fmla="*/ 3 h 351"/>
              <a:gd name="T34" fmla="*/ 472 w 620"/>
              <a:gd name="T35" fmla="*/ 37 h 351"/>
              <a:gd name="T36" fmla="*/ 472 w 620"/>
              <a:gd name="T37" fmla="*/ 37 h 351"/>
              <a:gd name="T38" fmla="*/ 472 w 620"/>
              <a:gd name="T39" fmla="*/ 37 h 351"/>
              <a:gd name="T40" fmla="*/ 448 w 620"/>
              <a:gd name="T41" fmla="*/ 51 h 351"/>
              <a:gd name="T42" fmla="*/ 490 w 620"/>
              <a:gd name="T43" fmla="*/ 71 h 351"/>
              <a:gd name="T44" fmla="*/ 550 w 620"/>
              <a:gd name="T45" fmla="*/ 127 h 351"/>
              <a:gd name="T46" fmla="*/ 564 w 620"/>
              <a:gd name="T47" fmla="*/ 77 h 351"/>
              <a:gd name="T48" fmla="*/ 563 w 620"/>
              <a:gd name="T49" fmla="*/ 77 h 351"/>
              <a:gd name="T50" fmla="*/ 562 w 620"/>
              <a:gd name="T51" fmla="*/ 97 h 351"/>
              <a:gd name="T52" fmla="*/ 549 w 620"/>
              <a:gd name="T53" fmla="*/ 65 h 351"/>
              <a:gd name="T54" fmla="*/ 547 w 620"/>
              <a:gd name="T55" fmla="*/ 64 h 351"/>
              <a:gd name="T56" fmla="*/ 490 w 620"/>
              <a:gd name="T57" fmla="*/ 13 h 351"/>
              <a:gd name="T58" fmla="*/ 472 w 620"/>
              <a:gd name="T59" fmla="*/ 3 h 351"/>
              <a:gd name="T60" fmla="*/ 157 w 620"/>
              <a:gd name="T61" fmla="*/ 0 h 351"/>
              <a:gd name="T62" fmla="*/ 132 w 620"/>
              <a:gd name="T63" fmla="*/ 13 h 351"/>
              <a:gd name="T64" fmla="*/ 74 w 620"/>
              <a:gd name="T65" fmla="*/ 65 h 351"/>
              <a:gd name="T66" fmla="*/ 72 w 620"/>
              <a:gd name="T67" fmla="*/ 66 h 351"/>
              <a:gd name="T68" fmla="*/ 59 w 620"/>
              <a:gd name="T69" fmla="*/ 98 h 351"/>
              <a:gd name="T70" fmla="*/ 58 w 620"/>
              <a:gd name="T71" fmla="*/ 78 h 351"/>
              <a:gd name="T72" fmla="*/ 58 w 620"/>
              <a:gd name="T73" fmla="*/ 78 h 351"/>
              <a:gd name="T74" fmla="*/ 71 w 620"/>
              <a:gd name="T75" fmla="*/ 128 h 351"/>
              <a:gd name="T76" fmla="*/ 132 w 620"/>
              <a:gd name="T77" fmla="*/ 71 h 351"/>
              <a:gd name="T78" fmla="*/ 157 w 620"/>
              <a:gd name="T79" fmla="*/ 59 h 351"/>
              <a:gd name="T80" fmla="*/ 157 w 620"/>
              <a:gd name="T81"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0" h="351">
                <a:moveTo>
                  <a:pt x="8" y="159"/>
                </a:moveTo>
                <a:cubicBezTo>
                  <a:pt x="0" y="209"/>
                  <a:pt x="29" y="261"/>
                  <a:pt x="95" y="299"/>
                </a:cubicBezTo>
                <a:cubicBezTo>
                  <a:pt x="154" y="333"/>
                  <a:pt x="232" y="351"/>
                  <a:pt x="310" y="351"/>
                </a:cubicBezTo>
                <a:cubicBezTo>
                  <a:pt x="387" y="351"/>
                  <a:pt x="465" y="333"/>
                  <a:pt x="525" y="299"/>
                </a:cubicBezTo>
                <a:cubicBezTo>
                  <a:pt x="591" y="261"/>
                  <a:pt x="620" y="209"/>
                  <a:pt x="613" y="160"/>
                </a:cubicBezTo>
                <a:cubicBezTo>
                  <a:pt x="606" y="202"/>
                  <a:pt x="574" y="236"/>
                  <a:pt x="539" y="259"/>
                </a:cubicBezTo>
                <a:cubicBezTo>
                  <a:pt x="497" y="288"/>
                  <a:pt x="447" y="304"/>
                  <a:pt x="396" y="313"/>
                </a:cubicBezTo>
                <a:cubicBezTo>
                  <a:pt x="396" y="313"/>
                  <a:pt x="395" y="313"/>
                  <a:pt x="394" y="313"/>
                </a:cubicBezTo>
                <a:cubicBezTo>
                  <a:pt x="367" y="318"/>
                  <a:pt x="338" y="321"/>
                  <a:pt x="310" y="321"/>
                </a:cubicBezTo>
                <a:cubicBezTo>
                  <a:pt x="283" y="321"/>
                  <a:pt x="256" y="319"/>
                  <a:pt x="230" y="314"/>
                </a:cubicBezTo>
                <a:cubicBezTo>
                  <a:pt x="205" y="310"/>
                  <a:pt x="180" y="304"/>
                  <a:pt x="155" y="295"/>
                </a:cubicBezTo>
                <a:cubicBezTo>
                  <a:pt x="94" y="274"/>
                  <a:pt x="18" y="230"/>
                  <a:pt x="8" y="159"/>
                </a:cubicBezTo>
                <a:moveTo>
                  <a:pt x="603" y="127"/>
                </a:moveTo>
                <a:cubicBezTo>
                  <a:pt x="600" y="133"/>
                  <a:pt x="596" y="140"/>
                  <a:pt x="591" y="147"/>
                </a:cubicBezTo>
                <a:cubicBezTo>
                  <a:pt x="596" y="140"/>
                  <a:pt x="600" y="134"/>
                  <a:pt x="603" y="127"/>
                </a:cubicBezTo>
                <a:cubicBezTo>
                  <a:pt x="603" y="127"/>
                  <a:pt x="603" y="127"/>
                  <a:pt x="603" y="127"/>
                </a:cubicBezTo>
                <a:moveTo>
                  <a:pt x="472" y="3"/>
                </a:moveTo>
                <a:cubicBezTo>
                  <a:pt x="472" y="37"/>
                  <a:pt x="472" y="37"/>
                  <a:pt x="472" y="37"/>
                </a:cubicBezTo>
                <a:cubicBezTo>
                  <a:pt x="472" y="37"/>
                  <a:pt x="472" y="37"/>
                  <a:pt x="472" y="37"/>
                </a:cubicBezTo>
                <a:cubicBezTo>
                  <a:pt x="472" y="37"/>
                  <a:pt x="472" y="37"/>
                  <a:pt x="472" y="37"/>
                </a:cubicBezTo>
                <a:cubicBezTo>
                  <a:pt x="448" y="51"/>
                  <a:pt x="448" y="51"/>
                  <a:pt x="448" y="51"/>
                </a:cubicBezTo>
                <a:cubicBezTo>
                  <a:pt x="463" y="57"/>
                  <a:pt x="477" y="63"/>
                  <a:pt x="490" y="71"/>
                </a:cubicBezTo>
                <a:cubicBezTo>
                  <a:pt x="518" y="87"/>
                  <a:pt x="538" y="106"/>
                  <a:pt x="550" y="127"/>
                </a:cubicBezTo>
                <a:cubicBezTo>
                  <a:pt x="559" y="111"/>
                  <a:pt x="564" y="94"/>
                  <a:pt x="564" y="77"/>
                </a:cubicBezTo>
                <a:cubicBezTo>
                  <a:pt x="564" y="77"/>
                  <a:pt x="563" y="77"/>
                  <a:pt x="563" y="77"/>
                </a:cubicBezTo>
                <a:cubicBezTo>
                  <a:pt x="564" y="84"/>
                  <a:pt x="563" y="90"/>
                  <a:pt x="562" y="97"/>
                </a:cubicBezTo>
                <a:cubicBezTo>
                  <a:pt x="559" y="86"/>
                  <a:pt x="555" y="75"/>
                  <a:pt x="549" y="65"/>
                </a:cubicBezTo>
                <a:cubicBezTo>
                  <a:pt x="548" y="65"/>
                  <a:pt x="548" y="64"/>
                  <a:pt x="547" y="64"/>
                </a:cubicBezTo>
                <a:cubicBezTo>
                  <a:pt x="535" y="45"/>
                  <a:pt x="516" y="28"/>
                  <a:pt x="490" y="13"/>
                </a:cubicBezTo>
                <a:cubicBezTo>
                  <a:pt x="484" y="9"/>
                  <a:pt x="478" y="6"/>
                  <a:pt x="472" y="3"/>
                </a:cubicBezTo>
                <a:moveTo>
                  <a:pt x="157" y="0"/>
                </a:moveTo>
                <a:cubicBezTo>
                  <a:pt x="148" y="4"/>
                  <a:pt x="140" y="8"/>
                  <a:pt x="132" y="13"/>
                </a:cubicBezTo>
                <a:cubicBezTo>
                  <a:pt x="106" y="28"/>
                  <a:pt x="86" y="46"/>
                  <a:pt x="74" y="65"/>
                </a:cubicBezTo>
                <a:cubicBezTo>
                  <a:pt x="73" y="65"/>
                  <a:pt x="73" y="66"/>
                  <a:pt x="72" y="66"/>
                </a:cubicBezTo>
                <a:cubicBezTo>
                  <a:pt x="66" y="76"/>
                  <a:pt x="62" y="87"/>
                  <a:pt x="59" y="98"/>
                </a:cubicBezTo>
                <a:cubicBezTo>
                  <a:pt x="58" y="91"/>
                  <a:pt x="57" y="84"/>
                  <a:pt x="58" y="78"/>
                </a:cubicBezTo>
                <a:cubicBezTo>
                  <a:pt x="58" y="78"/>
                  <a:pt x="58" y="78"/>
                  <a:pt x="58" y="78"/>
                </a:cubicBezTo>
                <a:cubicBezTo>
                  <a:pt x="57" y="95"/>
                  <a:pt x="62" y="112"/>
                  <a:pt x="71" y="128"/>
                </a:cubicBezTo>
                <a:cubicBezTo>
                  <a:pt x="83" y="107"/>
                  <a:pt x="104" y="88"/>
                  <a:pt x="132" y="71"/>
                </a:cubicBezTo>
                <a:cubicBezTo>
                  <a:pt x="140" y="67"/>
                  <a:pt x="148" y="62"/>
                  <a:pt x="157" y="59"/>
                </a:cubicBezTo>
                <a:cubicBezTo>
                  <a:pt x="157" y="0"/>
                  <a:pt x="157" y="0"/>
                  <a:pt x="157" y="0"/>
                </a:cubicBezTo>
              </a:path>
            </a:pathLst>
          </a:custGeom>
          <a:solidFill>
            <a:srgbClr val="DCF1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8" name="Freeform 1547">
            <a:extLst>
              <a:ext uri="{FF2B5EF4-FFF2-40B4-BE49-F238E27FC236}">
                <a16:creationId xmlns:a16="http://schemas.microsoft.com/office/drawing/2014/main" id="{9C5099D8-30E5-47C2-925D-A0829889EC38}"/>
              </a:ext>
            </a:extLst>
          </p:cNvPr>
          <p:cNvSpPr>
            <a:spLocks/>
          </p:cNvSpPr>
          <p:nvPr/>
        </p:nvSpPr>
        <p:spPr bwMode="auto">
          <a:xfrm>
            <a:off x="6638720" y="5594293"/>
            <a:ext cx="2015768" cy="811600"/>
          </a:xfrm>
          <a:custGeom>
            <a:avLst/>
            <a:gdLst>
              <a:gd name="T0" fmla="*/ 607 w 609"/>
              <a:gd name="T1" fmla="*/ 74 h 247"/>
              <a:gd name="T2" fmla="*/ 607 w 609"/>
              <a:gd name="T3" fmla="*/ 22 h 247"/>
              <a:gd name="T4" fmla="*/ 607 w 609"/>
              <a:gd name="T5" fmla="*/ 0 h 247"/>
              <a:gd name="T6" fmla="*/ 444 w 609"/>
              <a:gd name="T7" fmla="*/ 155 h 247"/>
              <a:gd name="T8" fmla="*/ 195 w 609"/>
              <a:gd name="T9" fmla="*/ 165 h 247"/>
              <a:gd name="T10" fmla="*/ 56 w 609"/>
              <a:gd name="T11" fmla="*/ 103 h 247"/>
              <a:gd name="T12" fmla="*/ 0 w 609"/>
              <a:gd name="T13" fmla="*/ 2 h 247"/>
              <a:gd name="T14" fmla="*/ 0 w 609"/>
              <a:gd name="T15" fmla="*/ 66 h 247"/>
              <a:gd name="T16" fmla="*/ 148 w 609"/>
              <a:gd name="T17" fmla="*/ 216 h 247"/>
              <a:gd name="T18" fmla="*/ 389 w 609"/>
              <a:gd name="T19" fmla="*/ 234 h 247"/>
              <a:gd name="T20" fmla="*/ 532 w 609"/>
              <a:gd name="T21" fmla="*/ 180 h 247"/>
              <a:gd name="T22" fmla="*/ 607 w 609"/>
              <a:gd name="T23" fmla="*/ 74 h 247"/>
              <a:gd name="T24" fmla="*/ 607 w 609"/>
              <a:gd name="T25" fmla="*/ 74 h 247"/>
              <a:gd name="T26" fmla="*/ 607 w 609"/>
              <a:gd name="T27"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9" h="247">
                <a:moveTo>
                  <a:pt x="607" y="74"/>
                </a:moveTo>
                <a:cubicBezTo>
                  <a:pt x="609" y="57"/>
                  <a:pt x="607" y="39"/>
                  <a:pt x="607" y="22"/>
                </a:cubicBezTo>
                <a:cubicBezTo>
                  <a:pt x="607" y="3"/>
                  <a:pt x="607" y="19"/>
                  <a:pt x="607" y="0"/>
                </a:cubicBezTo>
                <a:cubicBezTo>
                  <a:pt x="607" y="84"/>
                  <a:pt x="513" y="134"/>
                  <a:pt x="444" y="155"/>
                </a:cubicBezTo>
                <a:cubicBezTo>
                  <a:pt x="363" y="180"/>
                  <a:pt x="277" y="183"/>
                  <a:pt x="195" y="165"/>
                </a:cubicBezTo>
                <a:cubicBezTo>
                  <a:pt x="145" y="154"/>
                  <a:pt x="96" y="135"/>
                  <a:pt x="56" y="103"/>
                </a:cubicBezTo>
                <a:cubicBezTo>
                  <a:pt x="25" y="78"/>
                  <a:pt x="0" y="43"/>
                  <a:pt x="0" y="2"/>
                </a:cubicBezTo>
                <a:cubicBezTo>
                  <a:pt x="0" y="66"/>
                  <a:pt x="0" y="66"/>
                  <a:pt x="0" y="66"/>
                </a:cubicBezTo>
                <a:cubicBezTo>
                  <a:pt x="0" y="145"/>
                  <a:pt x="83" y="194"/>
                  <a:pt x="148" y="216"/>
                </a:cubicBezTo>
                <a:cubicBezTo>
                  <a:pt x="225" y="243"/>
                  <a:pt x="310" y="247"/>
                  <a:pt x="389" y="234"/>
                </a:cubicBezTo>
                <a:cubicBezTo>
                  <a:pt x="440" y="225"/>
                  <a:pt x="490" y="209"/>
                  <a:pt x="532" y="180"/>
                </a:cubicBezTo>
                <a:cubicBezTo>
                  <a:pt x="569" y="156"/>
                  <a:pt x="603" y="119"/>
                  <a:pt x="607" y="74"/>
                </a:cubicBezTo>
                <a:cubicBezTo>
                  <a:pt x="607" y="73"/>
                  <a:pt x="607" y="73"/>
                  <a:pt x="607" y="74"/>
                </a:cubicBezTo>
                <a:cubicBezTo>
                  <a:pt x="607" y="74"/>
                  <a:pt x="607" y="74"/>
                  <a:pt x="607" y="74"/>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9" name="Freeform 1548">
            <a:extLst>
              <a:ext uri="{FF2B5EF4-FFF2-40B4-BE49-F238E27FC236}">
                <a16:creationId xmlns:a16="http://schemas.microsoft.com/office/drawing/2014/main" id="{7F859552-26BA-4D4D-8D73-1294FD013C28}"/>
              </a:ext>
            </a:extLst>
          </p:cNvPr>
          <p:cNvSpPr>
            <a:spLocks noEditPoints="1"/>
          </p:cNvSpPr>
          <p:nvPr/>
        </p:nvSpPr>
        <p:spPr bwMode="auto">
          <a:xfrm>
            <a:off x="6541681" y="4959128"/>
            <a:ext cx="2205434" cy="1274742"/>
          </a:xfrm>
          <a:custGeom>
            <a:avLst/>
            <a:gdLst>
              <a:gd name="T0" fmla="*/ 549 w 667"/>
              <a:gd name="T1" fmla="*/ 68 h 386"/>
              <a:gd name="T2" fmla="*/ 119 w 667"/>
              <a:gd name="T3" fmla="*/ 68 h 386"/>
              <a:gd name="T4" fmla="*/ 118 w 667"/>
              <a:gd name="T5" fmla="*/ 317 h 386"/>
              <a:gd name="T6" fmla="*/ 548 w 667"/>
              <a:gd name="T7" fmla="*/ 317 h 386"/>
              <a:gd name="T8" fmla="*/ 549 w 667"/>
              <a:gd name="T9" fmla="*/ 68 h 386"/>
              <a:gd name="T10" fmla="*/ 512 w 667"/>
              <a:gd name="T11" fmla="*/ 296 h 386"/>
              <a:gd name="T12" fmla="*/ 154 w 667"/>
              <a:gd name="T13" fmla="*/ 296 h 386"/>
              <a:gd name="T14" fmla="*/ 155 w 667"/>
              <a:gd name="T15" fmla="*/ 89 h 386"/>
              <a:gd name="T16" fmla="*/ 513 w 667"/>
              <a:gd name="T17" fmla="*/ 89 h 386"/>
              <a:gd name="T18" fmla="*/ 512 w 667"/>
              <a:gd name="T19" fmla="*/ 29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 h="386">
                <a:moveTo>
                  <a:pt x="549" y="68"/>
                </a:moveTo>
                <a:cubicBezTo>
                  <a:pt x="431" y="0"/>
                  <a:pt x="238" y="0"/>
                  <a:pt x="119" y="68"/>
                </a:cubicBezTo>
                <a:cubicBezTo>
                  <a:pt x="1" y="137"/>
                  <a:pt x="0" y="248"/>
                  <a:pt x="118" y="317"/>
                </a:cubicBezTo>
                <a:cubicBezTo>
                  <a:pt x="236" y="386"/>
                  <a:pt x="429" y="386"/>
                  <a:pt x="548" y="317"/>
                </a:cubicBezTo>
                <a:cubicBezTo>
                  <a:pt x="667" y="248"/>
                  <a:pt x="667" y="137"/>
                  <a:pt x="549" y="68"/>
                </a:cubicBezTo>
                <a:moveTo>
                  <a:pt x="512" y="296"/>
                </a:moveTo>
                <a:cubicBezTo>
                  <a:pt x="413" y="354"/>
                  <a:pt x="253" y="354"/>
                  <a:pt x="154" y="296"/>
                </a:cubicBezTo>
                <a:cubicBezTo>
                  <a:pt x="56" y="239"/>
                  <a:pt x="56" y="146"/>
                  <a:pt x="155" y="89"/>
                </a:cubicBezTo>
                <a:cubicBezTo>
                  <a:pt x="254" y="32"/>
                  <a:pt x="415" y="32"/>
                  <a:pt x="513" y="89"/>
                </a:cubicBezTo>
                <a:cubicBezTo>
                  <a:pt x="612" y="146"/>
                  <a:pt x="611" y="239"/>
                  <a:pt x="512" y="296"/>
                </a:cubicBezTo>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0" name="Freeform 1549">
            <a:extLst>
              <a:ext uri="{FF2B5EF4-FFF2-40B4-BE49-F238E27FC236}">
                <a16:creationId xmlns:a16="http://schemas.microsoft.com/office/drawing/2014/main" id="{5FEB389F-B1AA-4A9E-8809-2138CF5134E5}"/>
              </a:ext>
            </a:extLst>
          </p:cNvPr>
          <p:cNvSpPr>
            <a:spLocks/>
          </p:cNvSpPr>
          <p:nvPr/>
        </p:nvSpPr>
        <p:spPr bwMode="auto">
          <a:xfrm>
            <a:off x="6784277" y="5064989"/>
            <a:ext cx="1720238" cy="591056"/>
          </a:xfrm>
          <a:custGeom>
            <a:avLst/>
            <a:gdLst>
              <a:gd name="T0" fmla="*/ 82 w 521"/>
              <a:gd name="T1" fmla="*/ 92 h 179"/>
              <a:gd name="T2" fmla="*/ 440 w 521"/>
              <a:gd name="T3" fmla="*/ 92 h 179"/>
              <a:gd name="T4" fmla="*/ 512 w 521"/>
              <a:gd name="T5" fmla="*/ 178 h 179"/>
              <a:gd name="T6" fmla="*/ 440 w 521"/>
              <a:gd name="T7" fmla="*/ 57 h 179"/>
              <a:gd name="T8" fmla="*/ 82 w 521"/>
              <a:gd name="T9" fmla="*/ 57 h 179"/>
              <a:gd name="T10" fmla="*/ 9 w 521"/>
              <a:gd name="T11" fmla="*/ 179 h 179"/>
              <a:gd name="T12" fmla="*/ 82 w 521"/>
              <a:gd name="T13" fmla="*/ 92 h 179"/>
            </a:gdLst>
            <a:ahLst/>
            <a:cxnLst>
              <a:cxn ang="0">
                <a:pos x="T0" y="T1"/>
              </a:cxn>
              <a:cxn ang="0">
                <a:pos x="T2" y="T3"/>
              </a:cxn>
              <a:cxn ang="0">
                <a:pos x="T4" y="T5"/>
              </a:cxn>
              <a:cxn ang="0">
                <a:pos x="T6" y="T7"/>
              </a:cxn>
              <a:cxn ang="0">
                <a:pos x="T8" y="T9"/>
              </a:cxn>
              <a:cxn ang="0">
                <a:pos x="T10" y="T11"/>
              </a:cxn>
              <a:cxn ang="0">
                <a:pos x="T12" y="T13"/>
              </a:cxn>
            </a:cxnLst>
            <a:rect l="0" t="0" r="r" b="b"/>
            <a:pathLst>
              <a:path w="521" h="179">
                <a:moveTo>
                  <a:pt x="82" y="92"/>
                </a:moveTo>
                <a:cubicBezTo>
                  <a:pt x="181" y="35"/>
                  <a:pt x="342" y="35"/>
                  <a:pt x="440" y="92"/>
                </a:cubicBezTo>
                <a:cubicBezTo>
                  <a:pt x="481" y="116"/>
                  <a:pt x="505" y="147"/>
                  <a:pt x="512" y="178"/>
                </a:cubicBezTo>
                <a:cubicBezTo>
                  <a:pt x="521" y="135"/>
                  <a:pt x="497" y="90"/>
                  <a:pt x="440" y="57"/>
                </a:cubicBezTo>
                <a:cubicBezTo>
                  <a:pt x="342" y="0"/>
                  <a:pt x="181" y="0"/>
                  <a:pt x="82" y="57"/>
                </a:cubicBezTo>
                <a:cubicBezTo>
                  <a:pt x="25" y="90"/>
                  <a:pt x="0" y="136"/>
                  <a:pt x="9" y="179"/>
                </a:cubicBezTo>
                <a:cubicBezTo>
                  <a:pt x="16" y="147"/>
                  <a:pt x="40" y="117"/>
                  <a:pt x="82" y="92"/>
                </a:cubicBezTo>
              </a:path>
            </a:pathLst>
          </a:custGeom>
          <a:solidFill>
            <a:srgbClr val="7E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Freeform 1550">
            <a:extLst>
              <a:ext uri="{FF2B5EF4-FFF2-40B4-BE49-F238E27FC236}">
                <a16:creationId xmlns:a16="http://schemas.microsoft.com/office/drawing/2014/main" id="{CCFE04B1-EE72-4D5A-A1DA-9A922DFED7D3}"/>
              </a:ext>
            </a:extLst>
          </p:cNvPr>
          <p:cNvSpPr>
            <a:spLocks/>
          </p:cNvSpPr>
          <p:nvPr/>
        </p:nvSpPr>
        <p:spPr bwMode="auto">
          <a:xfrm>
            <a:off x="7745846" y="4495988"/>
            <a:ext cx="207312" cy="1085073"/>
          </a:xfrm>
          <a:custGeom>
            <a:avLst/>
            <a:gdLst>
              <a:gd name="T0" fmla="*/ 47 w 47"/>
              <a:gd name="T1" fmla="*/ 246 h 246"/>
              <a:gd name="T2" fmla="*/ 0 w 47"/>
              <a:gd name="T3" fmla="*/ 220 h 246"/>
              <a:gd name="T4" fmla="*/ 0 w 47"/>
              <a:gd name="T5" fmla="*/ 0 h 246"/>
              <a:gd name="T6" fmla="*/ 46 w 47"/>
              <a:gd name="T7" fmla="*/ 27 h 246"/>
              <a:gd name="T8" fmla="*/ 47 w 47"/>
              <a:gd name="T9" fmla="*/ 246 h 246"/>
            </a:gdLst>
            <a:ahLst/>
            <a:cxnLst>
              <a:cxn ang="0">
                <a:pos x="T0" y="T1"/>
              </a:cxn>
              <a:cxn ang="0">
                <a:pos x="T2" y="T3"/>
              </a:cxn>
              <a:cxn ang="0">
                <a:pos x="T4" y="T5"/>
              </a:cxn>
              <a:cxn ang="0">
                <a:pos x="T6" y="T7"/>
              </a:cxn>
              <a:cxn ang="0">
                <a:pos x="T8" y="T9"/>
              </a:cxn>
            </a:cxnLst>
            <a:rect l="0" t="0" r="r" b="b"/>
            <a:pathLst>
              <a:path w="47" h="246">
                <a:moveTo>
                  <a:pt x="47" y="246"/>
                </a:moveTo>
                <a:lnTo>
                  <a:pt x="0" y="220"/>
                </a:lnTo>
                <a:lnTo>
                  <a:pt x="0" y="0"/>
                </a:lnTo>
                <a:lnTo>
                  <a:pt x="46" y="27"/>
                </a:lnTo>
                <a:lnTo>
                  <a:pt x="47" y="246"/>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Freeform 1551">
            <a:extLst>
              <a:ext uri="{FF2B5EF4-FFF2-40B4-BE49-F238E27FC236}">
                <a16:creationId xmlns:a16="http://schemas.microsoft.com/office/drawing/2014/main" id="{2CBF2FE9-CEF1-4981-B8CC-AA8BA533ED29}"/>
              </a:ext>
            </a:extLst>
          </p:cNvPr>
          <p:cNvSpPr>
            <a:spLocks/>
          </p:cNvSpPr>
          <p:nvPr/>
        </p:nvSpPr>
        <p:spPr bwMode="auto">
          <a:xfrm>
            <a:off x="7745846" y="4495988"/>
            <a:ext cx="207312" cy="1085073"/>
          </a:xfrm>
          <a:custGeom>
            <a:avLst/>
            <a:gdLst>
              <a:gd name="T0" fmla="*/ 47 w 47"/>
              <a:gd name="T1" fmla="*/ 246 h 246"/>
              <a:gd name="T2" fmla="*/ 0 w 47"/>
              <a:gd name="T3" fmla="*/ 220 h 246"/>
              <a:gd name="T4" fmla="*/ 0 w 47"/>
              <a:gd name="T5" fmla="*/ 0 h 246"/>
              <a:gd name="T6" fmla="*/ 46 w 47"/>
              <a:gd name="T7" fmla="*/ 27 h 246"/>
              <a:gd name="T8" fmla="*/ 47 w 47"/>
              <a:gd name="T9" fmla="*/ 246 h 246"/>
            </a:gdLst>
            <a:ahLst/>
            <a:cxnLst>
              <a:cxn ang="0">
                <a:pos x="T0" y="T1"/>
              </a:cxn>
              <a:cxn ang="0">
                <a:pos x="T2" y="T3"/>
              </a:cxn>
              <a:cxn ang="0">
                <a:pos x="T4" y="T5"/>
              </a:cxn>
              <a:cxn ang="0">
                <a:pos x="T6" y="T7"/>
              </a:cxn>
              <a:cxn ang="0">
                <a:pos x="T8" y="T9"/>
              </a:cxn>
            </a:cxnLst>
            <a:rect l="0" t="0" r="r" b="b"/>
            <a:pathLst>
              <a:path w="47" h="246">
                <a:moveTo>
                  <a:pt x="47" y="246"/>
                </a:moveTo>
                <a:lnTo>
                  <a:pt x="0" y="220"/>
                </a:lnTo>
                <a:lnTo>
                  <a:pt x="0" y="0"/>
                </a:lnTo>
                <a:lnTo>
                  <a:pt x="46" y="27"/>
                </a:lnTo>
                <a:lnTo>
                  <a:pt x="47"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3" name="Freeform 1552">
            <a:extLst>
              <a:ext uri="{FF2B5EF4-FFF2-40B4-BE49-F238E27FC236}">
                <a16:creationId xmlns:a16="http://schemas.microsoft.com/office/drawing/2014/main" id="{8AA02159-77AA-4C7F-BB7C-0A2251DA89EA}"/>
              </a:ext>
            </a:extLst>
          </p:cNvPr>
          <p:cNvSpPr>
            <a:spLocks/>
          </p:cNvSpPr>
          <p:nvPr/>
        </p:nvSpPr>
        <p:spPr bwMode="auto">
          <a:xfrm>
            <a:off x="7948746" y="4487166"/>
            <a:ext cx="229365" cy="1093895"/>
          </a:xfrm>
          <a:custGeom>
            <a:avLst/>
            <a:gdLst>
              <a:gd name="T0" fmla="*/ 51 w 52"/>
              <a:gd name="T1" fmla="*/ 0 h 248"/>
              <a:gd name="T2" fmla="*/ 52 w 52"/>
              <a:gd name="T3" fmla="*/ 219 h 248"/>
              <a:gd name="T4" fmla="*/ 1 w 52"/>
              <a:gd name="T5" fmla="*/ 248 h 248"/>
              <a:gd name="T6" fmla="*/ 0 w 52"/>
              <a:gd name="T7" fmla="*/ 29 h 248"/>
              <a:gd name="T8" fmla="*/ 51 w 52"/>
              <a:gd name="T9" fmla="*/ 0 h 248"/>
            </a:gdLst>
            <a:ahLst/>
            <a:cxnLst>
              <a:cxn ang="0">
                <a:pos x="T0" y="T1"/>
              </a:cxn>
              <a:cxn ang="0">
                <a:pos x="T2" y="T3"/>
              </a:cxn>
              <a:cxn ang="0">
                <a:pos x="T4" y="T5"/>
              </a:cxn>
              <a:cxn ang="0">
                <a:pos x="T6" y="T7"/>
              </a:cxn>
              <a:cxn ang="0">
                <a:pos x="T8" y="T9"/>
              </a:cxn>
            </a:cxnLst>
            <a:rect l="0" t="0" r="r" b="b"/>
            <a:pathLst>
              <a:path w="52" h="248">
                <a:moveTo>
                  <a:pt x="51" y="0"/>
                </a:moveTo>
                <a:lnTo>
                  <a:pt x="52" y="219"/>
                </a:lnTo>
                <a:lnTo>
                  <a:pt x="1" y="248"/>
                </a:lnTo>
                <a:lnTo>
                  <a:pt x="0" y="29"/>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4" name="Freeform 1553">
            <a:extLst>
              <a:ext uri="{FF2B5EF4-FFF2-40B4-BE49-F238E27FC236}">
                <a16:creationId xmlns:a16="http://schemas.microsoft.com/office/drawing/2014/main" id="{EA6E6700-6156-41A8-9953-EAF2DCF88479}"/>
              </a:ext>
            </a:extLst>
          </p:cNvPr>
          <p:cNvSpPr>
            <a:spLocks/>
          </p:cNvSpPr>
          <p:nvPr/>
        </p:nvSpPr>
        <p:spPr bwMode="auto">
          <a:xfrm>
            <a:off x="7948746" y="4487166"/>
            <a:ext cx="229365" cy="1093895"/>
          </a:xfrm>
          <a:custGeom>
            <a:avLst/>
            <a:gdLst>
              <a:gd name="T0" fmla="*/ 51 w 52"/>
              <a:gd name="T1" fmla="*/ 0 h 248"/>
              <a:gd name="T2" fmla="*/ 52 w 52"/>
              <a:gd name="T3" fmla="*/ 219 h 248"/>
              <a:gd name="T4" fmla="*/ 1 w 52"/>
              <a:gd name="T5" fmla="*/ 248 h 248"/>
              <a:gd name="T6" fmla="*/ 0 w 52"/>
              <a:gd name="T7" fmla="*/ 29 h 248"/>
              <a:gd name="T8" fmla="*/ 51 w 52"/>
              <a:gd name="T9" fmla="*/ 0 h 248"/>
            </a:gdLst>
            <a:ahLst/>
            <a:cxnLst>
              <a:cxn ang="0">
                <a:pos x="T0" y="T1"/>
              </a:cxn>
              <a:cxn ang="0">
                <a:pos x="T2" y="T3"/>
              </a:cxn>
              <a:cxn ang="0">
                <a:pos x="T4" y="T5"/>
              </a:cxn>
              <a:cxn ang="0">
                <a:pos x="T6" y="T7"/>
              </a:cxn>
              <a:cxn ang="0">
                <a:pos x="T8" y="T9"/>
              </a:cxn>
            </a:cxnLst>
            <a:rect l="0" t="0" r="r" b="b"/>
            <a:pathLst>
              <a:path w="52" h="248">
                <a:moveTo>
                  <a:pt x="51" y="0"/>
                </a:moveTo>
                <a:lnTo>
                  <a:pt x="52" y="219"/>
                </a:lnTo>
                <a:lnTo>
                  <a:pt x="1" y="248"/>
                </a:lnTo>
                <a:lnTo>
                  <a:pt x="0" y="29"/>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5" name="Freeform 1554">
            <a:extLst>
              <a:ext uri="{FF2B5EF4-FFF2-40B4-BE49-F238E27FC236}">
                <a16:creationId xmlns:a16="http://schemas.microsoft.com/office/drawing/2014/main" id="{C0F55ABF-0007-4BC6-8050-19E0857E8C61}"/>
              </a:ext>
            </a:extLst>
          </p:cNvPr>
          <p:cNvSpPr>
            <a:spLocks/>
          </p:cNvSpPr>
          <p:nvPr/>
        </p:nvSpPr>
        <p:spPr bwMode="auto">
          <a:xfrm>
            <a:off x="7441498" y="4848857"/>
            <a:ext cx="207312" cy="908639"/>
          </a:xfrm>
          <a:custGeom>
            <a:avLst/>
            <a:gdLst>
              <a:gd name="T0" fmla="*/ 47 w 47"/>
              <a:gd name="T1" fmla="*/ 206 h 206"/>
              <a:gd name="T2" fmla="*/ 0 w 47"/>
              <a:gd name="T3" fmla="*/ 179 h 206"/>
              <a:gd name="T4" fmla="*/ 0 w 47"/>
              <a:gd name="T5" fmla="*/ 0 h 206"/>
              <a:gd name="T6" fmla="*/ 46 w 47"/>
              <a:gd name="T7" fmla="*/ 27 h 206"/>
              <a:gd name="T8" fmla="*/ 47 w 47"/>
              <a:gd name="T9" fmla="*/ 206 h 206"/>
            </a:gdLst>
            <a:ahLst/>
            <a:cxnLst>
              <a:cxn ang="0">
                <a:pos x="T0" y="T1"/>
              </a:cxn>
              <a:cxn ang="0">
                <a:pos x="T2" y="T3"/>
              </a:cxn>
              <a:cxn ang="0">
                <a:pos x="T4" y="T5"/>
              </a:cxn>
              <a:cxn ang="0">
                <a:pos x="T6" y="T7"/>
              </a:cxn>
              <a:cxn ang="0">
                <a:pos x="T8" y="T9"/>
              </a:cxn>
            </a:cxnLst>
            <a:rect l="0" t="0" r="r" b="b"/>
            <a:pathLst>
              <a:path w="47" h="206">
                <a:moveTo>
                  <a:pt x="47" y="206"/>
                </a:moveTo>
                <a:lnTo>
                  <a:pt x="0" y="179"/>
                </a:lnTo>
                <a:lnTo>
                  <a:pt x="0" y="0"/>
                </a:lnTo>
                <a:lnTo>
                  <a:pt x="46" y="27"/>
                </a:lnTo>
                <a:lnTo>
                  <a:pt x="47" y="206"/>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6" name="Freeform 1555">
            <a:extLst>
              <a:ext uri="{FF2B5EF4-FFF2-40B4-BE49-F238E27FC236}">
                <a16:creationId xmlns:a16="http://schemas.microsoft.com/office/drawing/2014/main" id="{0C2C126E-C76E-4423-9754-D76235EEAB74}"/>
              </a:ext>
            </a:extLst>
          </p:cNvPr>
          <p:cNvSpPr>
            <a:spLocks/>
          </p:cNvSpPr>
          <p:nvPr/>
        </p:nvSpPr>
        <p:spPr bwMode="auto">
          <a:xfrm>
            <a:off x="7441498" y="4848857"/>
            <a:ext cx="207312" cy="908639"/>
          </a:xfrm>
          <a:custGeom>
            <a:avLst/>
            <a:gdLst>
              <a:gd name="T0" fmla="*/ 47 w 47"/>
              <a:gd name="T1" fmla="*/ 206 h 206"/>
              <a:gd name="T2" fmla="*/ 0 w 47"/>
              <a:gd name="T3" fmla="*/ 179 h 206"/>
              <a:gd name="T4" fmla="*/ 0 w 47"/>
              <a:gd name="T5" fmla="*/ 0 h 206"/>
              <a:gd name="T6" fmla="*/ 46 w 47"/>
              <a:gd name="T7" fmla="*/ 27 h 206"/>
              <a:gd name="T8" fmla="*/ 47 w 47"/>
              <a:gd name="T9" fmla="*/ 206 h 206"/>
            </a:gdLst>
            <a:ahLst/>
            <a:cxnLst>
              <a:cxn ang="0">
                <a:pos x="T0" y="T1"/>
              </a:cxn>
              <a:cxn ang="0">
                <a:pos x="T2" y="T3"/>
              </a:cxn>
              <a:cxn ang="0">
                <a:pos x="T4" y="T5"/>
              </a:cxn>
              <a:cxn ang="0">
                <a:pos x="T6" y="T7"/>
              </a:cxn>
              <a:cxn ang="0">
                <a:pos x="T8" y="T9"/>
              </a:cxn>
            </a:cxnLst>
            <a:rect l="0" t="0" r="r" b="b"/>
            <a:pathLst>
              <a:path w="47" h="206">
                <a:moveTo>
                  <a:pt x="47" y="206"/>
                </a:moveTo>
                <a:lnTo>
                  <a:pt x="0" y="179"/>
                </a:lnTo>
                <a:lnTo>
                  <a:pt x="0" y="0"/>
                </a:lnTo>
                <a:lnTo>
                  <a:pt x="46" y="27"/>
                </a:lnTo>
                <a:lnTo>
                  <a:pt x="47"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Freeform 1556">
            <a:extLst>
              <a:ext uri="{FF2B5EF4-FFF2-40B4-BE49-F238E27FC236}">
                <a16:creationId xmlns:a16="http://schemas.microsoft.com/office/drawing/2014/main" id="{42F6C471-1237-4B43-A790-3A98F9720963}"/>
              </a:ext>
            </a:extLst>
          </p:cNvPr>
          <p:cNvSpPr>
            <a:spLocks/>
          </p:cNvSpPr>
          <p:nvPr/>
        </p:nvSpPr>
        <p:spPr bwMode="auto">
          <a:xfrm>
            <a:off x="7441498" y="4720941"/>
            <a:ext cx="427855" cy="247009"/>
          </a:xfrm>
          <a:custGeom>
            <a:avLst/>
            <a:gdLst>
              <a:gd name="T0" fmla="*/ 46 w 97"/>
              <a:gd name="T1" fmla="*/ 56 h 56"/>
              <a:gd name="T2" fmla="*/ 0 w 97"/>
              <a:gd name="T3" fmla="*/ 29 h 56"/>
              <a:gd name="T4" fmla="*/ 51 w 97"/>
              <a:gd name="T5" fmla="*/ 0 h 56"/>
              <a:gd name="T6" fmla="*/ 97 w 97"/>
              <a:gd name="T7" fmla="*/ 26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6"/>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Freeform 1557">
            <a:extLst>
              <a:ext uri="{FF2B5EF4-FFF2-40B4-BE49-F238E27FC236}">
                <a16:creationId xmlns:a16="http://schemas.microsoft.com/office/drawing/2014/main" id="{09E9BCD9-6CEA-4D65-9C4A-A9C07434202C}"/>
              </a:ext>
            </a:extLst>
          </p:cNvPr>
          <p:cNvSpPr>
            <a:spLocks/>
          </p:cNvSpPr>
          <p:nvPr/>
        </p:nvSpPr>
        <p:spPr bwMode="auto">
          <a:xfrm>
            <a:off x="7441498" y="4720941"/>
            <a:ext cx="427855" cy="247009"/>
          </a:xfrm>
          <a:custGeom>
            <a:avLst/>
            <a:gdLst>
              <a:gd name="T0" fmla="*/ 46 w 97"/>
              <a:gd name="T1" fmla="*/ 56 h 56"/>
              <a:gd name="T2" fmla="*/ 0 w 97"/>
              <a:gd name="T3" fmla="*/ 29 h 56"/>
              <a:gd name="T4" fmla="*/ 51 w 97"/>
              <a:gd name="T5" fmla="*/ 0 h 56"/>
              <a:gd name="T6" fmla="*/ 97 w 97"/>
              <a:gd name="T7" fmla="*/ 26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6"/>
                </a:lnTo>
                <a:lnTo>
                  <a:pt x="46"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9" name="Freeform 1558">
            <a:extLst>
              <a:ext uri="{FF2B5EF4-FFF2-40B4-BE49-F238E27FC236}">
                <a16:creationId xmlns:a16="http://schemas.microsoft.com/office/drawing/2014/main" id="{3819EFD5-2A18-4457-AFCF-ECC896BB6F26}"/>
              </a:ext>
            </a:extLst>
          </p:cNvPr>
          <p:cNvSpPr>
            <a:spLocks/>
          </p:cNvSpPr>
          <p:nvPr/>
        </p:nvSpPr>
        <p:spPr bwMode="auto">
          <a:xfrm>
            <a:off x="7644397" y="4835623"/>
            <a:ext cx="229365" cy="921873"/>
          </a:xfrm>
          <a:custGeom>
            <a:avLst/>
            <a:gdLst>
              <a:gd name="T0" fmla="*/ 51 w 52"/>
              <a:gd name="T1" fmla="*/ 0 h 209"/>
              <a:gd name="T2" fmla="*/ 52 w 52"/>
              <a:gd name="T3" fmla="*/ 180 h 209"/>
              <a:gd name="T4" fmla="*/ 1 w 52"/>
              <a:gd name="T5" fmla="*/ 209 h 209"/>
              <a:gd name="T6" fmla="*/ 0 w 52"/>
              <a:gd name="T7" fmla="*/ 30 h 209"/>
              <a:gd name="T8" fmla="*/ 51 w 52"/>
              <a:gd name="T9" fmla="*/ 0 h 209"/>
            </a:gdLst>
            <a:ahLst/>
            <a:cxnLst>
              <a:cxn ang="0">
                <a:pos x="T0" y="T1"/>
              </a:cxn>
              <a:cxn ang="0">
                <a:pos x="T2" y="T3"/>
              </a:cxn>
              <a:cxn ang="0">
                <a:pos x="T4" y="T5"/>
              </a:cxn>
              <a:cxn ang="0">
                <a:pos x="T6" y="T7"/>
              </a:cxn>
              <a:cxn ang="0">
                <a:pos x="T8" y="T9"/>
              </a:cxn>
            </a:cxnLst>
            <a:rect l="0" t="0" r="r" b="b"/>
            <a:pathLst>
              <a:path w="52" h="209">
                <a:moveTo>
                  <a:pt x="51" y="0"/>
                </a:moveTo>
                <a:lnTo>
                  <a:pt x="52" y="180"/>
                </a:lnTo>
                <a:lnTo>
                  <a:pt x="1" y="209"/>
                </a:lnTo>
                <a:lnTo>
                  <a:pt x="0" y="30"/>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0" name="Freeform 1559">
            <a:extLst>
              <a:ext uri="{FF2B5EF4-FFF2-40B4-BE49-F238E27FC236}">
                <a16:creationId xmlns:a16="http://schemas.microsoft.com/office/drawing/2014/main" id="{9516BC3B-D268-48AD-B7D1-0AA1E2DDDB56}"/>
              </a:ext>
            </a:extLst>
          </p:cNvPr>
          <p:cNvSpPr>
            <a:spLocks/>
          </p:cNvSpPr>
          <p:nvPr/>
        </p:nvSpPr>
        <p:spPr bwMode="auto">
          <a:xfrm>
            <a:off x="7644397" y="4835623"/>
            <a:ext cx="229365" cy="921873"/>
          </a:xfrm>
          <a:custGeom>
            <a:avLst/>
            <a:gdLst>
              <a:gd name="T0" fmla="*/ 51 w 52"/>
              <a:gd name="T1" fmla="*/ 0 h 209"/>
              <a:gd name="T2" fmla="*/ 52 w 52"/>
              <a:gd name="T3" fmla="*/ 180 h 209"/>
              <a:gd name="T4" fmla="*/ 1 w 52"/>
              <a:gd name="T5" fmla="*/ 209 h 209"/>
              <a:gd name="T6" fmla="*/ 0 w 52"/>
              <a:gd name="T7" fmla="*/ 30 h 209"/>
              <a:gd name="T8" fmla="*/ 51 w 52"/>
              <a:gd name="T9" fmla="*/ 0 h 209"/>
            </a:gdLst>
            <a:ahLst/>
            <a:cxnLst>
              <a:cxn ang="0">
                <a:pos x="T0" y="T1"/>
              </a:cxn>
              <a:cxn ang="0">
                <a:pos x="T2" y="T3"/>
              </a:cxn>
              <a:cxn ang="0">
                <a:pos x="T4" y="T5"/>
              </a:cxn>
              <a:cxn ang="0">
                <a:pos x="T6" y="T7"/>
              </a:cxn>
              <a:cxn ang="0">
                <a:pos x="T8" y="T9"/>
              </a:cxn>
            </a:cxnLst>
            <a:rect l="0" t="0" r="r" b="b"/>
            <a:pathLst>
              <a:path w="52" h="209">
                <a:moveTo>
                  <a:pt x="51" y="0"/>
                </a:moveTo>
                <a:lnTo>
                  <a:pt x="52" y="180"/>
                </a:lnTo>
                <a:lnTo>
                  <a:pt x="1" y="209"/>
                </a:lnTo>
                <a:lnTo>
                  <a:pt x="0" y="30"/>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1" name="Freeform 1560">
            <a:extLst>
              <a:ext uri="{FF2B5EF4-FFF2-40B4-BE49-F238E27FC236}">
                <a16:creationId xmlns:a16="http://schemas.microsoft.com/office/drawing/2014/main" id="{B3FD57F3-D9DA-49E4-B24F-F0D4139D8C44}"/>
              </a:ext>
            </a:extLst>
          </p:cNvPr>
          <p:cNvSpPr>
            <a:spLocks/>
          </p:cNvSpPr>
          <p:nvPr/>
        </p:nvSpPr>
        <p:spPr bwMode="auto">
          <a:xfrm>
            <a:off x="7137146" y="5219370"/>
            <a:ext cx="207312" cy="714560"/>
          </a:xfrm>
          <a:custGeom>
            <a:avLst/>
            <a:gdLst>
              <a:gd name="T0" fmla="*/ 47 w 47"/>
              <a:gd name="T1" fmla="*/ 162 h 162"/>
              <a:gd name="T2" fmla="*/ 0 w 47"/>
              <a:gd name="T3" fmla="*/ 135 h 162"/>
              <a:gd name="T4" fmla="*/ 0 w 47"/>
              <a:gd name="T5" fmla="*/ 0 h 162"/>
              <a:gd name="T6" fmla="*/ 46 w 47"/>
              <a:gd name="T7" fmla="*/ 27 h 162"/>
              <a:gd name="T8" fmla="*/ 47 w 47"/>
              <a:gd name="T9" fmla="*/ 162 h 162"/>
            </a:gdLst>
            <a:ahLst/>
            <a:cxnLst>
              <a:cxn ang="0">
                <a:pos x="T0" y="T1"/>
              </a:cxn>
              <a:cxn ang="0">
                <a:pos x="T2" y="T3"/>
              </a:cxn>
              <a:cxn ang="0">
                <a:pos x="T4" y="T5"/>
              </a:cxn>
              <a:cxn ang="0">
                <a:pos x="T6" y="T7"/>
              </a:cxn>
              <a:cxn ang="0">
                <a:pos x="T8" y="T9"/>
              </a:cxn>
            </a:cxnLst>
            <a:rect l="0" t="0" r="r" b="b"/>
            <a:pathLst>
              <a:path w="47" h="162">
                <a:moveTo>
                  <a:pt x="47" y="162"/>
                </a:moveTo>
                <a:lnTo>
                  <a:pt x="0" y="135"/>
                </a:lnTo>
                <a:lnTo>
                  <a:pt x="0" y="0"/>
                </a:lnTo>
                <a:lnTo>
                  <a:pt x="46" y="27"/>
                </a:lnTo>
                <a:lnTo>
                  <a:pt x="47" y="162"/>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2" name="Freeform 1561">
            <a:extLst>
              <a:ext uri="{FF2B5EF4-FFF2-40B4-BE49-F238E27FC236}">
                <a16:creationId xmlns:a16="http://schemas.microsoft.com/office/drawing/2014/main" id="{90D8420D-1898-474E-BED0-5077038532B8}"/>
              </a:ext>
            </a:extLst>
          </p:cNvPr>
          <p:cNvSpPr>
            <a:spLocks/>
          </p:cNvSpPr>
          <p:nvPr/>
        </p:nvSpPr>
        <p:spPr bwMode="auto">
          <a:xfrm>
            <a:off x="7137146" y="5219370"/>
            <a:ext cx="207312" cy="714560"/>
          </a:xfrm>
          <a:custGeom>
            <a:avLst/>
            <a:gdLst>
              <a:gd name="T0" fmla="*/ 47 w 47"/>
              <a:gd name="T1" fmla="*/ 162 h 162"/>
              <a:gd name="T2" fmla="*/ 0 w 47"/>
              <a:gd name="T3" fmla="*/ 135 h 162"/>
              <a:gd name="T4" fmla="*/ 0 w 47"/>
              <a:gd name="T5" fmla="*/ 0 h 162"/>
              <a:gd name="T6" fmla="*/ 46 w 47"/>
              <a:gd name="T7" fmla="*/ 27 h 162"/>
              <a:gd name="T8" fmla="*/ 47 w 47"/>
              <a:gd name="T9" fmla="*/ 162 h 162"/>
            </a:gdLst>
            <a:ahLst/>
            <a:cxnLst>
              <a:cxn ang="0">
                <a:pos x="T0" y="T1"/>
              </a:cxn>
              <a:cxn ang="0">
                <a:pos x="T2" y="T3"/>
              </a:cxn>
              <a:cxn ang="0">
                <a:pos x="T4" y="T5"/>
              </a:cxn>
              <a:cxn ang="0">
                <a:pos x="T6" y="T7"/>
              </a:cxn>
              <a:cxn ang="0">
                <a:pos x="T8" y="T9"/>
              </a:cxn>
            </a:cxnLst>
            <a:rect l="0" t="0" r="r" b="b"/>
            <a:pathLst>
              <a:path w="47" h="162">
                <a:moveTo>
                  <a:pt x="47" y="162"/>
                </a:moveTo>
                <a:lnTo>
                  <a:pt x="0" y="135"/>
                </a:lnTo>
                <a:lnTo>
                  <a:pt x="0" y="0"/>
                </a:lnTo>
                <a:lnTo>
                  <a:pt x="46" y="27"/>
                </a:lnTo>
                <a:lnTo>
                  <a:pt x="47" y="1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3" name="Freeform 1562">
            <a:extLst>
              <a:ext uri="{FF2B5EF4-FFF2-40B4-BE49-F238E27FC236}">
                <a16:creationId xmlns:a16="http://schemas.microsoft.com/office/drawing/2014/main" id="{645137E8-B28C-439F-AB85-31A2148F2F23}"/>
              </a:ext>
            </a:extLst>
          </p:cNvPr>
          <p:cNvSpPr>
            <a:spLocks/>
          </p:cNvSpPr>
          <p:nvPr/>
        </p:nvSpPr>
        <p:spPr bwMode="auto">
          <a:xfrm>
            <a:off x="7137146" y="5091454"/>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4" name="Freeform 1563">
            <a:extLst>
              <a:ext uri="{FF2B5EF4-FFF2-40B4-BE49-F238E27FC236}">
                <a16:creationId xmlns:a16="http://schemas.microsoft.com/office/drawing/2014/main" id="{086B3E43-0DEE-4EDA-8820-246A43B5BFA0}"/>
              </a:ext>
            </a:extLst>
          </p:cNvPr>
          <p:cNvSpPr>
            <a:spLocks/>
          </p:cNvSpPr>
          <p:nvPr/>
        </p:nvSpPr>
        <p:spPr bwMode="auto">
          <a:xfrm>
            <a:off x="7137146" y="5091454"/>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5" name="Freeform 1564">
            <a:extLst>
              <a:ext uri="{FF2B5EF4-FFF2-40B4-BE49-F238E27FC236}">
                <a16:creationId xmlns:a16="http://schemas.microsoft.com/office/drawing/2014/main" id="{FDE798F4-2DC4-416F-B422-84BE7C4396C8}"/>
              </a:ext>
            </a:extLst>
          </p:cNvPr>
          <p:cNvSpPr>
            <a:spLocks/>
          </p:cNvSpPr>
          <p:nvPr/>
        </p:nvSpPr>
        <p:spPr bwMode="auto">
          <a:xfrm>
            <a:off x="7340046" y="5210549"/>
            <a:ext cx="229365" cy="723382"/>
          </a:xfrm>
          <a:custGeom>
            <a:avLst/>
            <a:gdLst>
              <a:gd name="T0" fmla="*/ 51 w 52"/>
              <a:gd name="T1" fmla="*/ 0 h 164"/>
              <a:gd name="T2" fmla="*/ 52 w 52"/>
              <a:gd name="T3" fmla="*/ 135 h 164"/>
              <a:gd name="T4" fmla="*/ 1 w 52"/>
              <a:gd name="T5" fmla="*/ 164 h 164"/>
              <a:gd name="T6" fmla="*/ 0 w 52"/>
              <a:gd name="T7" fmla="*/ 29 h 164"/>
              <a:gd name="T8" fmla="*/ 51 w 52"/>
              <a:gd name="T9" fmla="*/ 0 h 164"/>
            </a:gdLst>
            <a:ahLst/>
            <a:cxnLst>
              <a:cxn ang="0">
                <a:pos x="T0" y="T1"/>
              </a:cxn>
              <a:cxn ang="0">
                <a:pos x="T2" y="T3"/>
              </a:cxn>
              <a:cxn ang="0">
                <a:pos x="T4" y="T5"/>
              </a:cxn>
              <a:cxn ang="0">
                <a:pos x="T6" y="T7"/>
              </a:cxn>
              <a:cxn ang="0">
                <a:pos x="T8" y="T9"/>
              </a:cxn>
            </a:cxnLst>
            <a:rect l="0" t="0" r="r" b="b"/>
            <a:pathLst>
              <a:path w="52" h="164">
                <a:moveTo>
                  <a:pt x="51" y="0"/>
                </a:moveTo>
                <a:lnTo>
                  <a:pt x="52" y="135"/>
                </a:lnTo>
                <a:lnTo>
                  <a:pt x="1" y="164"/>
                </a:lnTo>
                <a:lnTo>
                  <a:pt x="0" y="29"/>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6" name="Freeform 1565">
            <a:extLst>
              <a:ext uri="{FF2B5EF4-FFF2-40B4-BE49-F238E27FC236}">
                <a16:creationId xmlns:a16="http://schemas.microsoft.com/office/drawing/2014/main" id="{7D4A205A-B4BA-41FE-8C7E-CABB9FBE5BCC}"/>
              </a:ext>
            </a:extLst>
          </p:cNvPr>
          <p:cNvSpPr>
            <a:spLocks/>
          </p:cNvSpPr>
          <p:nvPr/>
        </p:nvSpPr>
        <p:spPr bwMode="auto">
          <a:xfrm>
            <a:off x="7340046" y="5210549"/>
            <a:ext cx="229365" cy="723382"/>
          </a:xfrm>
          <a:custGeom>
            <a:avLst/>
            <a:gdLst>
              <a:gd name="T0" fmla="*/ 51 w 52"/>
              <a:gd name="T1" fmla="*/ 0 h 164"/>
              <a:gd name="T2" fmla="*/ 52 w 52"/>
              <a:gd name="T3" fmla="*/ 135 h 164"/>
              <a:gd name="T4" fmla="*/ 1 w 52"/>
              <a:gd name="T5" fmla="*/ 164 h 164"/>
              <a:gd name="T6" fmla="*/ 0 w 52"/>
              <a:gd name="T7" fmla="*/ 29 h 164"/>
              <a:gd name="T8" fmla="*/ 51 w 52"/>
              <a:gd name="T9" fmla="*/ 0 h 164"/>
            </a:gdLst>
            <a:ahLst/>
            <a:cxnLst>
              <a:cxn ang="0">
                <a:pos x="T0" y="T1"/>
              </a:cxn>
              <a:cxn ang="0">
                <a:pos x="T2" y="T3"/>
              </a:cxn>
              <a:cxn ang="0">
                <a:pos x="T4" y="T5"/>
              </a:cxn>
              <a:cxn ang="0">
                <a:pos x="T6" y="T7"/>
              </a:cxn>
              <a:cxn ang="0">
                <a:pos x="T8" y="T9"/>
              </a:cxn>
            </a:cxnLst>
            <a:rect l="0" t="0" r="r" b="b"/>
            <a:pathLst>
              <a:path w="52" h="164">
                <a:moveTo>
                  <a:pt x="51" y="0"/>
                </a:moveTo>
                <a:lnTo>
                  <a:pt x="52" y="135"/>
                </a:lnTo>
                <a:lnTo>
                  <a:pt x="1" y="164"/>
                </a:lnTo>
                <a:lnTo>
                  <a:pt x="0" y="29"/>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7" name="Freeform 1566">
            <a:extLst>
              <a:ext uri="{FF2B5EF4-FFF2-40B4-BE49-F238E27FC236}">
                <a16:creationId xmlns:a16="http://schemas.microsoft.com/office/drawing/2014/main" id="{78130D65-7114-44A2-BFBE-B76BBB6C8FC2}"/>
              </a:ext>
            </a:extLst>
          </p:cNvPr>
          <p:cNvSpPr>
            <a:spLocks/>
          </p:cNvSpPr>
          <p:nvPr/>
        </p:nvSpPr>
        <p:spPr bwMode="auto">
          <a:xfrm>
            <a:off x="7644397" y="4835623"/>
            <a:ext cx="229365" cy="921873"/>
          </a:xfrm>
          <a:custGeom>
            <a:avLst/>
            <a:gdLst>
              <a:gd name="T0" fmla="*/ 52 w 52"/>
              <a:gd name="T1" fmla="*/ 180 h 209"/>
              <a:gd name="T2" fmla="*/ 1 w 52"/>
              <a:gd name="T3" fmla="*/ 209 h 209"/>
              <a:gd name="T4" fmla="*/ 1 w 52"/>
              <a:gd name="T5" fmla="*/ 116 h 209"/>
              <a:gd name="T6" fmla="*/ 0 w 52"/>
              <a:gd name="T7" fmla="*/ 30 h 209"/>
              <a:gd name="T8" fmla="*/ 51 w 52"/>
              <a:gd name="T9" fmla="*/ 0 h 209"/>
              <a:gd name="T10" fmla="*/ 52 w 52"/>
              <a:gd name="T11" fmla="*/ 63 h 209"/>
              <a:gd name="T12" fmla="*/ 52 w 52"/>
              <a:gd name="T13" fmla="*/ 180 h 209"/>
            </a:gdLst>
            <a:ahLst/>
            <a:cxnLst>
              <a:cxn ang="0">
                <a:pos x="T0" y="T1"/>
              </a:cxn>
              <a:cxn ang="0">
                <a:pos x="T2" y="T3"/>
              </a:cxn>
              <a:cxn ang="0">
                <a:pos x="T4" y="T5"/>
              </a:cxn>
              <a:cxn ang="0">
                <a:pos x="T6" y="T7"/>
              </a:cxn>
              <a:cxn ang="0">
                <a:pos x="T8" y="T9"/>
              </a:cxn>
              <a:cxn ang="0">
                <a:pos x="T10" y="T11"/>
              </a:cxn>
              <a:cxn ang="0">
                <a:pos x="T12" y="T13"/>
              </a:cxn>
            </a:cxnLst>
            <a:rect l="0" t="0" r="r" b="b"/>
            <a:pathLst>
              <a:path w="52" h="209">
                <a:moveTo>
                  <a:pt x="52" y="180"/>
                </a:moveTo>
                <a:lnTo>
                  <a:pt x="1" y="209"/>
                </a:lnTo>
                <a:lnTo>
                  <a:pt x="1" y="116"/>
                </a:lnTo>
                <a:lnTo>
                  <a:pt x="0" y="30"/>
                </a:lnTo>
                <a:lnTo>
                  <a:pt x="51" y="0"/>
                </a:lnTo>
                <a:lnTo>
                  <a:pt x="52" y="63"/>
                </a:lnTo>
                <a:lnTo>
                  <a:pt x="52" y="180"/>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8" name="Freeform 1567">
            <a:extLst>
              <a:ext uri="{FF2B5EF4-FFF2-40B4-BE49-F238E27FC236}">
                <a16:creationId xmlns:a16="http://schemas.microsoft.com/office/drawing/2014/main" id="{F98C7DF7-EC10-4AE9-A750-3B7A8A8792E2}"/>
              </a:ext>
            </a:extLst>
          </p:cNvPr>
          <p:cNvSpPr>
            <a:spLocks/>
          </p:cNvSpPr>
          <p:nvPr/>
        </p:nvSpPr>
        <p:spPr bwMode="auto">
          <a:xfrm>
            <a:off x="7644397" y="4835623"/>
            <a:ext cx="229365" cy="921873"/>
          </a:xfrm>
          <a:custGeom>
            <a:avLst/>
            <a:gdLst>
              <a:gd name="T0" fmla="*/ 52 w 52"/>
              <a:gd name="T1" fmla="*/ 180 h 209"/>
              <a:gd name="T2" fmla="*/ 1 w 52"/>
              <a:gd name="T3" fmla="*/ 209 h 209"/>
              <a:gd name="T4" fmla="*/ 1 w 52"/>
              <a:gd name="T5" fmla="*/ 116 h 209"/>
              <a:gd name="T6" fmla="*/ 0 w 52"/>
              <a:gd name="T7" fmla="*/ 30 h 209"/>
              <a:gd name="T8" fmla="*/ 51 w 52"/>
              <a:gd name="T9" fmla="*/ 0 h 209"/>
              <a:gd name="T10" fmla="*/ 52 w 52"/>
              <a:gd name="T11" fmla="*/ 63 h 209"/>
              <a:gd name="T12" fmla="*/ 52 w 52"/>
              <a:gd name="T13" fmla="*/ 180 h 209"/>
            </a:gdLst>
            <a:ahLst/>
            <a:cxnLst>
              <a:cxn ang="0">
                <a:pos x="T0" y="T1"/>
              </a:cxn>
              <a:cxn ang="0">
                <a:pos x="T2" y="T3"/>
              </a:cxn>
              <a:cxn ang="0">
                <a:pos x="T4" y="T5"/>
              </a:cxn>
              <a:cxn ang="0">
                <a:pos x="T6" y="T7"/>
              </a:cxn>
              <a:cxn ang="0">
                <a:pos x="T8" y="T9"/>
              </a:cxn>
              <a:cxn ang="0">
                <a:pos x="T10" y="T11"/>
              </a:cxn>
              <a:cxn ang="0">
                <a:pos x="T12" y="T13"/>
              </a:cxn>
            </a:cxnLst>
            <a:rect l="0" t="0" r="r" b="b"/>
            <a:pathLst>
              <a:path w="52" h="209">
                <a:moveTo>
                  <a:pt x="52" y="180"/>
                </a:moveTo>
                <a:lnTo>
                  <a:pt x="1" y="209"/>
                </a:lnTo>
                <a:lnTo>
                  <a:pt x="1" y="116"/>
                </a:lnTo>
                <a:lnTo>
                  <a:pt x="0" y="30"/>
                </a:lnTo>
                <a:lnTo>
                  <a:pt x="51" y="0"/>
                </a:lnTo>
                <a:lnTo>
                  <a:pt x="52" y="63"/>
                </a:lnTo>
                <a:lnTo>
                  <a:pt x="52"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9" name="Freeform 1568">
            <a:extLst>
              <a:ext uri="{FF2B5EF4-FFF2-40B4-BE49-F238E27FC236}">
                <a16:creationId xmlns:a16="http://schemas.microsoft.com/office/drawing/2014/main" id="{32688E6F-BE13-4E79-958B-9FABC4626A48}"/>
              </a:ext>
            </a:extLst>
          </p:cNvPr>
          <p:cNvSpPr>
            <a:spLocks/>
          </p:cNvSpPr>
          <p:nvPr/>
        </p:nvSpPr>
        <p:spPr bwMode="auto">
          <a:xfrm>
            <a:off x="7340046" y="5210549"/>
            <a:ext cx="229365" cy="723382"/>
          </a:xfrm>
          <a:custGeom>
            <a:avLst/>
            <a:gdLst>
              <a:gd name="T0" fmla="*/ 52 w 52"/>
              <a:gd name="T1" fmla="*/ 135 h 164"/>
              <a:gd name="T2" fmla="*/ 1 w 52"/>
              <a:gd name="T3" fmla="*/ 164 h 164"/>
              <a:gd name="T4" fmla="*/ 1 w 52"/>
              <a:gd name="T5" fmla="*/ 112 h 164"/>
              <a:gd name="T6" fmla="*/ 0 w 52"/>
              <a:gd name="T7" fmla="*/ 29 h 164"/>
              <a:gd name="T8" fmla="*/ 51 w 52"/>
              <a:gd name="T9" fmla="*/ 0 h 164"/>
              <a:gd name="T10" fmla="*/ 51 w 52"/>
              <a:gd name="T11" fmla="*/ 52 h 164"/>
              <a:gd name="T12" fmla="*/ 52 w 52"/>
              <a:gd name="T13" fmla="*/ 135 h 164"/>
            </a:gdLst>
            <a:ahLst/>
            <a:cxnLst>
              <a:cxn ang="0">
                <a:pos x="T0" y="T1"/>
              </a:cxn>
              <a:cxn ang="0">
                <a:pos x="T2" y="T3"/>
              </a:cxn>
              <a:cxn ang="0">
                <a:pos x="T4" y="T5"/>
              </a:cxn>
              <a:cxn ang="0">
                <a:pos x="T6" y="T7"/>
              </a:cxn>
              <a:cxn ang="0">
                <a:pos x="T8" y="T9"/>
              </a:cxn>
              <a:cxn ang="0">
                <a:pos x="T10" y="T11"/>
              </a:cxn>
              <a:cxn ang="0">
                <a:pos x="T12" y="T13"/>
              </a:cxn>
            </a:cxnLst>
            <a:rect l="0" t="0" r="r" b="b"/>
            <a:pathLst>
              <a:path w="52" h="164">
                <a:moveTo>
                  <a:pt x="52" y="135"/>
                </a:moveTo>
                <a:lnTo>
                  <a:pt x="1" y="164"/>
                </a:lnTo>
                <a:lnTo>
                  <a:pt x="1" y="112"/>
                </a:lnTo>
                <a:lnTo>
                  <a:pt x="0" y="29"/>
                </a:lnTo>
                <a:lnTo>
                  <a:pt x="51" y="0"/>
                </a:lnTo>
                <a:lnTo>
                  <a:pt x="51" y="52"/>
                </a:lnTo>
                <a:lnTo>
                  <a:pt x="52" y="135"/>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1569">
            <a:extLst>
              <a:ext uri="{FF2B5EF4-FFF2-40B4-BE49-F238E27FC236}">
                <a16:creationId xmlns:a16="http://schemas.microsoft.com/office/drawing/2014/main" id="{07B0302F-FE7C-496B-ACD0-F48E8241611A}"/>
              </a:ext>
            </a:extLst>
          </p:cNvPr>
          <p:cNvSpPr>
            <a:spLocks/>
          </p:cNvSpPr>
          <p:nvPr/>
        </p:nvSpPr>
        <p:spPr bwMode="auto">
          <a:xfrm>
            <a:off x="7340046" y="5210549"/>
            <a:ext cx="229365" cy="723382"/>
          </a:xfrm>
          <a:custGeom>
            <a:avLst/>
            <a:gdLst>
              <a:gd name="T0" fmla="*/ 52 w 52"/>
              <a:gd name="T1" fmla="*/ 135 h 164"/>
              <a:gd name="T2" fmla="*/ 1 w 52"/>
              <a:gd name="T3" fmla="*/ 164 h 164"/>
              <a:gd name="T4" fmla="*/ 1 w 52"/>
              <a:gd name="T5" fmla="*/ 112 h 164"/>
              <a:gd name="T6" fmla="*/ 0 w 52"/>
              <a:gd name="T7" fmla="*/ 29 h 164"/>
              <a:gd name="T8" fmla="*/ 51 w 52"/>
              <a:gd name="T9" fmla="*/ 0 h 164"/>
              <a:gd name="T10" fmla="*/ 51 w 52"/>
              <a:gd name="T11" fmla="*/ 52 h 164"/>
              <a:gd name="T12" fmla="*/ 52 w 52"/>
              <a:gd name="T13" fmla="*/ 135 h 164"/>
            </a:gdLst>
            <a:ahLst/>
            <a:cxnLst>
              <a:cxn ang="0">
                <a:pos x="T0" y="T1"/>
              </a:cxn>
              <a:cxn ang="0">
                <a:pos x="T2" y="T3"/>
              </a:cxn>
              <a:cxn ang="0">
                <a:pos x="T4" y="T5"/>
              </a:cxn>
              <a:cxn ang="0">
                <a:pos x="T6" y="T7"/>
              </a:cxn>
              <a:cxn ang="0">
                <a:pos x="T8" y="T9"/>
              </a:cxn>
              <a:cxn ang="0">
                <a:pos x="T10" y="T11"/>
              </a:cxn>
              <a:cxn ang="0">
                <a:pos x="T12" y="T13"/>
              </a:cxn>
            </a:cxnLst>
            <a:rect l="0" t="0" r="r" b="b"/>
            <a:pathLst>
              <a:path w="52" h="164">
                <a:moveTo>
                  <a:pt x="52" y="135"/>
                </a:moveTo>
                <a:lnTo>
                  <a:pt x="1" y="164"/>
                </a:lnTo>
                <a:lnTo>
                  <a:pt x="1" y="112"/>
                </a:lnTo>
                <a:lnTo>
                  <a:pt x="0" y="29"/>
                </a:lnTo>
                <a:lnTo>
                  <a:pt x="51" y="0"/>
                </a:lnTo>
                <a:lnTo>
                  <a:pt x="51" y="52"/>
                </a:lnTo>
                <a:lnTo>
                  <a:pt x="52"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11" name="Picture 1570">
            <a:extLst>
              <a:ext uri="{FF2B5EF4-FFF2-40B4-BE49-F238E27FC236}">
                <a16:creationId xmlns:a16="http://schemas.microsoft.com/office/drawing/2014/main" id="{4EE0C770-0444-4BF2-B4CC-6E63D307B2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31224" y="5192905"/>
            <a:ext cx="247009" cy="52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2" name="Picture 1571">
            <a:extLst>
              <a:ext uri="{FF2B5EF4-FFF2-40B4-BE49-F238E27FC236}">
                <a16:creationId xmlns:a16="http://schemas.microsoft.com/office/drawing/2014/main" id="{60FC3A41-5F02-4EB6-B4F5-2559E2A1A6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5576" y="4826802"/>
            <a:ext cx="247009" cy="533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3" name="Freeform 1572">
            <a:extLst>
              <a:ext uri="{FF2B5EF4-FFF2-40B4-BE49-F238E27FC236}">
                <a16:creationId xmlns:a16="http://schemas.microsoft.com/office/drawing/2014/main" id="{85A2206C-6AF4-4642-883A-5F0D0D6B5300}"/>
              </a:ext>
            </a:extLst>
          </p:cNvPr>
          <p:cNvSpPr>
            <a:spLocks/>
          </p:cNvSpPr>
          <p:nvPr/>
        </p:nvSpPr>
        <p:spPr bwMode="auto">
          <a:xfrm>
            <a:off x="8808866" y="4765050"/>
            <a:ext cx="251421" cy="414622"/>
          </a:xfrm>
          <a:custGeom>
            <a:avLst/>
            <a:gdLst>
              <a:gd name="T0" fmla="*/ 6 w 76"/>
              <a:gd name="T1" fmla="*/ 11 h 126"/>
              <a:gd name="T2" fmla="*/ 42 w 76"/>
              <a:gd name="T3" fmla="*/ 69 h 126"/>
              <a:gd name="T4" fmla="*/ 62 w 76"/>
              <a:gd name="T5" fmla="*/ 126 h 126"/>
              <a:gd name="T6" fmla="*/ 76 w 76"/>
              <a:gd name="T7" fmla="*/ 120 h 126"/>
              <a:gd name="T8" fmla="*/ 63 w 76"/>
              <a:gd name="T9" fmla="*/ 55 h 126"/>
              <a:gd name="T10" fmla="*/ 46 w 76"/>
              <a:gd name="T11" fmla="*/ 0 h 126"/>
              <a:gd name="T12" fmla="*/ 6 w 76"/>
              <a:gd name="T13" fmla="*/ 11 h 126"/>
            </a:gdLst>
            <a:ahLst/>
            <a:cxnLst>
              <a:cxn ang="0">
                <a:pos x="T0" y="T1"/>
              </a:cxn>
              <a:cxn ang="0">
                <a:pos x="T2" y="T3"/>
              </a:cxn>
              <a:cxn ang="0">
                <a:pos x="T4" y="T5"/>
              </a:cxn>
              <a:cxn ang="0">
                <a:pos x="T6" y="T7"/>
              </a:cxn>
              <a:cxn ang="0">
                <a:pos x="T8" y="T9"/>
              </a:cxn>
              <a:cxn ang="0">
                <a:pos x="T10" y="T11"/>
              </a:cxn>
              <a:cxn ang="0">
                <a:pos x="T12" y="T13"/>
              </a:cxn>
            </a:cxnLst>
            <a:rect l="0" t="0" r="r" b="b"/>
            <a:pathLst>
              <a:path w="76" h="126">
                <a:moveTo>
                  <a:pt x="6" y="11"/>
                </a:moveTo>
                <a:cubicBezTo>
                  <a:pt x="0" y="22"/>
                  <a:pt x="8" y="51"/>
                  <a:pt x="42" y="69"/>
                </a:cubicBezTo>
                <a:cubicBezTo>
                  <a:pt x="42" y="77"/>
                  <a:pt x="62" y="126"/>
                  <a:pt x="62" y="126"/>
                </a:cubicBezTo>
                <a:cubicBezTo>
                  <a:pt x="76" y="120"/>
                  <a:pt x="76" y="120"/>
                  <a:pt x="76" y="120"/>
                </a:cubicBezTo>
                <a:cubicBezTo>
                  <a:pt x="76" y="120"/>
                  <a:pt x="64" y="61"/>
                  <a:pt x="63" y="55"/>
                </a:cubicBezTo>
                <a:cubicBezTo>
                  <a:pt x="62" y="48"/>
                  <a:pt x="46" y="0"/>
                  <a:pt x="46" y="0"/>
                </a:cubicBezTo>
                <a:lnTo>
                  <a:pt x="6" y="11"/>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1573">
            <a:extLst>
              <a:ext uri="{FF2B5EF4-FFF2-40B4-BE49-F238E27FC236}">
                <a16:creationId xmlns:a16="http://schemas.microsoft.com/office/drawing/2014/main" id="{937BDA88-D62B-40D1-8A31-6C8514523C5B}"/>
              </a:ext>
            </a:extLst>
          </p:cNvPr>
          <p:cNvSpPr>
            <a:spLocks/>
          </p:cNvSpPr>
          <p:nvPr/>
        </p:nvSpPr>
        <p:spPr bwMode="auto">
          <a:xfrm>
            <a:off x="8892671" y="4765050"/>
            <a:ext cx="308761" cy="352869"/>
          </a:xfrm>
          <a:custGeom>
            <a:avLst/>
            <a:gdLst>
              <a:gd name="T0" fmla="*/ 16 w 94"/>
              <a:gd name="T1" fmla="*/ 24 h 107"/>
              <a:gd name="T2" fmla="*/ 69 w 94"/>
              <a:gd name="T3" fmla="*/ 41 h 107"/>
              <a:gd name="T4" fmla="*/ 79 w 94"/>
              <a:gd name="T5" fmla="*/ 107 h 107"/>
              <a:gd name="T6" fmla="*/ 94 w 94"/>
              <a:gd name="T7" fmla="*/ 103 h 107"/>
              <a:gd name="T8" fmla="*/ 88 w 94"/>
              <a:gd name="T9" fmla="*/ 26 h 107"/>
              <a:gd name="T10" fmla="*/ 25 w 94"/>
              <a:gd name="T11" fmla="*/ 0 h 107"/>
              <a:gd name="T12" fmla="*/ 0 w 94"/>
              <a:gd name="T13" fmla="*/ 10 h 107"/>
              <a:gd name="T14" fmla="*/ 16 w 94"/>
              <a:gd name="T15" fmla="*/ 2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07">
                <a:moveTo>
                  <a:pt x="16" y="24"/>
                </a:moveTo>
                <a:cubicBezTo>
                  <a:pt x="16" y="24"/>
                  <a:pt x="54" y="39"/>
                  <a:pt x="69" y="41"/>
                </a:cubicBezTo>
                <a:cubicBezTo>
                  <a:pt x="69" y="41"/>
                  <a:pt x="66" y="56"/>
                  <a:pt x="79" y="107"/>
                </a:cubicBezTo>
                <a:cubicBezTo>
                  <a:pt x="94" y="103"/>
                  <a:pt x="94" y="103"/>
                  <a:pt x="94" y="103"/>
                </a:cubicBezTo>
                <a:cubicBezTo>
                  <a:pt x="94" y="103"/>
                  <a:pt x="93" y="40"/>
                  <a:pt x="88" y="26"/>
                </a:cubicBezTo>
                <a:cubicBezTo>
                  <a:pt x="84" y="11"/>
                  <a:pt x="25" y="0"/>
                  <a:pt x="25" y="0"/>
                </a:cubicBezTo>
                <a:cubicBezTo>
                  <a:pt x="0" y="10"/>
                  <a:pt x="0" y="10"/>
                  <a:pt x="0" y="10"/>
                </a:cubicBezTo>
                <a:lnTo>
                  <a:pt x="16" y="24"/>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1574">
            <a:extLst>
              <a:ext uri="{FF2B5EF4-FFF2-40B4-BE49-F238E27FC236}">
                <a16:creationId xmlns:a16="http://schemas.microsoft.com/office/drawing/2014/main" id="{D80A6F04-23C8-4F95-BAFF-8C9B2E15ECAA}"/>
              </a:ext>
            </a:extLst>
          </p:cNvPr>
          <p:cNvSpPr>
            <a:spLocks/>
          </p:cNvSpPr>
          <p:nvPr/>
        </p:nvSpPr>
        <p:spPr bwMode="auto">
          <a:xfrm>
            <a:off x="8773579" y="4513632"/>
            <a:ext cx="247009" cy="321995"/>
          </a:xfrm>
          <a:custGeom>
            <a:avLst/>
            <a:gdLst>
              <a:gd name="T0" fmla="*/ 71 w 75"/>
              <a:gd name="T1" fmla="*/ 3 h 97"/>
              <a:gd name="T2" fmla="*/ 16 w 75"/>
              <a:gd name="T3" fmla="*/ 17 h 97"/>
              <a:gd name="T4" fmla="*/ 7 w 75"/>
              <a:gd name="T5" fmla="*/ 45 h 97"/>
              <a:gd name="T6" fmla="*/ 17 w 75"/>
              <a:gd name="T7" fmla="*/ 69 h 97"/>
              <a:gd name="T8" fmla="*/ 16 w 75"/>
              <a:gd name="T9" fmla="*/ 90 h 97"/>
              <a:gd name="T10" fmla="*/ 61 w 75"/>
              <a:gd name="T11" fmla="*/ 77 h 97"/>
              <a:gd name="T12" fmla="*/ 63 w 75"/>
              <a:gd name="T13" fmla="*/ 48 h 97"/>
              <a:gd name="T14" fmla="*/ 71 w 75"/>
              <a:gd name="T15" fmla="*/ 3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7">
                <a:moveTo>
                  <a:pt x="71" y="3"/>
                </a:moveTo>
                <a:cubicBezTo>
                  <a:pt x="71" y="0"/>
                  <a:pt x="32" y="1"/>
                  <a:pt x="16" y="17"/>
                </a:cubicBezTo>
                <a:cubicBezTo>
                  <a:pt x="0" y="33"/>
                  <a:pt x="7" y="45"/>
                  <a:pt x="7" y="45"/>
                </a:cubicBezTo>
                <a:cubicBezTo>
                  <a:pt x="17" y="69"/>
                  <a:pt x="17" y="69"/>
                  <a:pt x="17" y="69"/>
                </a:cubicBezTo>
                <a:cubicBezTo>
                  <a:pt x="16" y="90"/>
                  <a:pt x="16" y="90"/>
                  <a:pt x="16" y="90"/>
                </a:cubicBezTo>
                <a:cubicBezTo>
                  <a:pt x="16" y="90"/>
                  <a:pt x="44" y="97"/>
                  <a:pt x="61" y="77"/>
                </a:cubicBezTo>
                <a:cubicBezTo>
                  <a:pt x="61" y="77"/>
                  <a:pt x="62" y="55"/>
                  <a:pt x="63" y="48"/>
                </a:cubicBezTo>
                <a:cubicBezTo>
                  <a:pt x="63" y="42"/>
                  <a:pt x="75" y="34"/>
                  <a:pt x="71" y="3"/>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1575">
            <a:extLst>
              <a:ext uri="{FF2B5EF4-FFF2-40B4-BE49-F238E27FC236}">
                <a16:creationId xmlns:a16="http://schemas.microsoft.com/office/drawing/2014/main" id="{14DF26C2-FB28-4CEE-A3D3-25C1921C7B22}"/>
              </a:ext>
            </a:extLst>
          </p:cNvPr>
          <p:cNvSpPr>
            <a:spLocks/>
          </p:cNvSpPr>
          <p:nvPr/>
        </p:nvSpPr>
        <p:spPr bwMode="auto">
          <a:xfrm>
            <a:off x="8782401" y="4575384"/>
            <a:ext cx="207312" cy="282295"/>
          </a:xfrm>
          <a:custGeom>
            <a:avLst/>
            <a:gdLst>
              <a:gd name="T0" fmla="*/ 6 w 63"/>
              <a:gd name="T1" fmla="*/ 6 h 86"/>
              <a:gd name="T2" fmla="*/ 3 w 63"/>
              <a:gd name="T3" fmla="*/ 27 h 86"/>
              <a:gd name="T4" fmla="*/ 8 w 63"/>
              <a:gd name="T5" fmla="*/ 68 h 86"/>
              <a:gd name="T6" fmla="*/ 56 w 63"/>
              <a:gd name="T7" fmla="*/ 86 h 86"/>
              <a:gd name="T8" fmla="*/ 63 w 63"/>
              <a:gd name="T9" fmla="*/ 79 h 86"/>
              <a:gd name="T10" fmla="*/ 26 w 63"/>
              <a:gd name="T11" fmla="*/ 56 h 86"/>
              <a:gd name="T12" fmla="*/ 25 w 63"/>
              <a:gd name="T13" fmla="*/ 10 h 86"/>
              <a:gd name="T14" fmla="*/ 6 w 63"/>
              <a:gd name="T15" fmla="*/ 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6">
                <a:moveTo>
                  <a:pt x="6" y="6"/>
                </a:moveTo>
                <a:cubicBezTo>
                  <a:pt x="6" y="6"/>
                  <a:pt x="0" y="12"/>
                  <a:pt x="3" y="27"/>
                </a:cubicBezTo>
                <a:cubicBezTo>
                  <a:pt x="5" y="42"/>
                  <a:pt x="7" y="65"/>
                  <a:pt x="8" y="68"/>
                </a:cubicBezTo>
                <a:cubicBezTo>
                  <a:pt x="10" y="71"/>
                  <a:pt x="56" y="86"/>
                  <a:pt x="56" y="86"/>
                </a:cubicBezTo>
                <a:cubicBezTo>
                  <a:pt x="63" y="79"/>
                  <a:pt x="63" y="79"/>
                  <a:pt x="63" y="79"/>
                </a:cubicBezTo>
                <a:cubicBezTo>
                  <a:pt x="63" y="79"/>
                  <a:pt x="27" y="58"/>
                  <a:pt x="26" y="56"/>
                </a:cubicBezTo>
                <a:cubicBezTo>
                  <a:pt x="26" y="55"/>
                  <a:pt x="27" y="21"/>
                  <a:pt x="25" y="10"/>
                </a:cubicBezTo>
                <a:cubicBezTo>
                  <a:pt x="23" y="0"/>
                  <a:pt x="6" y="6"/>
                  <a:pt x="6" y="6"/>
                </a:cubicBezTo>
                <a:close/>
              </a:path>
            </a:pathLst>
          </a:custGeom>
          <a:solidFill>
            <a:srgbClr val="ED51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1576">
            <a:extLst>
              <a:ext uri="{FF2B5EF4-FFF2-40B4-BE49-F238E27FC236}">
                <a16:creationId xmlns:a16="http://schemas.microsoft.com/office/drawing/2014/main" id="{0C84D771-DBEA-4C78-92ED-73981843723A}"/>
              </a:ext>
            </a:extLst>
          </p:cNvPr>
          <p:cNvSpPr>
            <a:spLocks/>
          </p:cNvSpPr>
          <p:nvPr/>
        </p:nvSpPr>
        <p:spPr bwMode="auto">
          <a:xfrm>
            <a:off x="8941192" y="4522453"/>
            <a:ext cx="247009" cy="269064"/>
          </a:xfrm>
          <a:custGeom>
            <a:avLst/>
            <a:gdLst>
              <a:gd name="T0" fmla="*/ 19 w 74"/>
              <a:gd name="T1" fmla="*/ 0 h 82"/>
              <a:gd name="T2" fmla="*/ 37 w 74"/>
              <a:gd name="T3" fmla="*/ 48 h 82"/>
              <a:gd name="T4" fmla="*/ 74 w 74"/>
              <a:gd name="T5" fmla="*/ 77 h 82"/>
              <a:gd name="T6" fmla="*/ 66 w 74"/>
              <a:gd name="T7" fmla="*/ 82 h 82"/>
              <a:gd name="T8" fmla="*/ 18 w 74"/>
              <a:gd name="T9" fmla="*/ 52 h 82"/>
              <a:gd name="T10" fmla="*/ 0 w 74"/>
              <a:gd name="T11" fmla="*/ 18 h 82"/>
              <a:gd name="T12" fmla="*/ 19 w 7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74" h="82">
                <a:moveTo>
                  <a:pt x="19" y="0"/>
                </a:moveTo>
                <a:cubicBezTo>
                  <a:pt x="26" y="2"/>
                  <a:pt x="33" y="26"/>
                  <a:pt x="37" y="48"/>
                </a:cubicBezTo>
                <a:cubicBezTo>
                  <a:pt x="40" y="52"/>
                  <a:pt x="74" y="77"/>
                  <a:pt x="74" y="77"/>
                </a:cubicBezTo>
                <a:cubicBezTo>
                  <a:pt x="66" y="82"/>
                  <a:pt x="66" y="82"/>
                  <a:pt x="66" y="82"/>
                </a:cubicBezTo>
                <a:cubicBezTo>
                  <a:pt x="66" y="82"/>
                  <a:pt x="27" y="67"/>
                  <a:pt x="18" y="52"/>
                </a:cubicBezTo>
                <a:cubicBezTo>
                  <a:pt x="15" y="47"/>
                  <a:pt x="0" y="18"/>
                  <a:pt x="0" y="18"/>
                </a:cubicBezTo>
                <a:cubicBezTo>
                  <a:pt x="1" y="9"/>
                  <a:pt x="19" y="0"/>
                  <a:pt x="19" y="0"/>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1577">
            <a:extLst>
              <a:ext uri="{FF2B5EF4-FFF2-40B4-BE49-F238E27FC236}">
                <a16:creationId xmlns:a16="http://schemas.microsoft.com/office/drawing/2014/main" id="{ED9F7B68-58EF-43ED-83FC-B801A6A7467E}"/>
              </a:ext>
            </a:extLst>
          </p:cNvPr>
          <p:cNvSpPr>
            <a:spLocks/>
          </p:cNvSpPr>
          <p:nvPr/>
        </p:nvSpPr>
        <p:spPr bwMode="auto">
          <a:xfrm>
            <a:off x="8883850" y="4482754"/>
            <a:ext cx="66164" cy="97039"/>
          </a:xfrm>
          <a:custGeom>
            <a:avLst/>
            <a:gdLst>
              <a:gd name="T0" fmla="*/ 21 w 21"/>
              <a:gd name="T1" fmla="*/ 19 h 29"/>
              <a:gd name="T2" fmla="*/ 20 w 21"/>
              <a:gd name="T3" fmla="*/ 8 h 29"/>
              <a:gd name="T4" fmla="*/ 5 w 21"/>
              <a:gd name="T5" fmla="*/ 0 h 29"/>
              <a:gd name="T6" fmla="*/ 0 w 21"/>
              <a:gd name="T7" fmla="*/ 20 h 29"/>
              <a:gd name="T8" fmla="*/ 21 w 21"/>
              <a:gd name="T9" fmla="*/ 19 h 29"/>
            </a:gdLst>
            <a:ahLst/>
            <a:cxnLst>
              <a:cxn ang="0">
                <a:pos x="T0" y="T1"/>
              </a:cxn>
              <a:cxn ang="0">
                <a:pos x="T2" y="T3"/>
              </a:cxn>
              <a:cxn ang="0">
                <a:pos x="T4" y="T5"/>
              </a:cxn>
              <a:cxn ang="0">
                <a:pos x="T6" y="T7"/>
              </a:cxn>
              <a:cxn ang="0">
                <a:pos x="T8" y="T9"/>
              </a:cxn>
            </a:cxnLst>
            <a:rect l="0" t="0" r="r" b="b"/>
            <a:pathLst>
              <a:path w="21" h="29">
                <a:moveTo>
                  <a:pt x="21" y="19"/>
                </a:moveTo>
                <a:cubicBezTo>
                  <a:pt x="20" y="8"/>
                  <a:pt x="20" y="8"/>
                  <a:pt x="20" y="8"/>
                </a:cubicBezTo>
                <a:cubicBezTo>
                  <a:pt x="5" y="0"/>
                  <a:pt x="5" y="0"/>
                  <a:pt x="5" y="0"/>
                </a:cubicBezTo>
                <a:cubicBezTo>
                  <a:pt x="0" y="20"/>
                  <a:pt x="0" y="20"/>
                  <a:pt x="0" y="20"/>
                </a:cubicBezTo>
                <a:cubicBezTo>
                  <a:pt x="0" y="20"/>
                  <a:pt x="12" y="29"/>
                  <a:pt x="21" y="19"/>
                </a:cubicBezTo>
                <a:close/>
              </a:path>
            </a:pathLst>
          </a:custGeom>
          <a:solidFill>
            <a:srgbClr val="F279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1578">
            <a:extLst>
              <a:ext uri="{FF2B5EF4-FFF2-40B4-BE49-F238E27FC236}">
                <a16:creationId xmlns:a16="http://schemas.microsoft.com/office/drawing/2014/main" id="{DEF3F365-07C3-4390-9838-9DB51994BB85}"/>
              </a:ext>
            </a:extLst>
          </p:cNvPr>
          <p:cNvSpPr>
            <a:spLocks/>
          </p:cNvSpPr>
          <p:nvPr/>
        </p:nvSpPr>
        <p:spPr bwMode="auto">
          <a:xfrm>
            <a:off x="8870618" y="4421002"/>
            <a:ext cx="92630" cy="110273"/>
          </a:xfrm>
          <a:custGeom>
            <a:avLst/>
            <a:gdLst>
              <a:gd name="T0" fmla="*/ 25 w 27"/>
              <a:gd name="T1" fmla="*/ 9 h 33"/>
              <a:gd name="T2" fmla="*/ 25 w 27"/>
              <a:gd name="T3" fmla="*/ 29 h 33"/>
              <a:gd name="T4" fmla="*/ 22 w 27"/>
              <a:gd name="T5" fmla="*/ 32 h 33"/>
              <a:gd name="T6" fmla="*/ 7 w 27"/>
              <a:gd name="T7" fmla="*/ 28 h 33"/>
              <a:gd name="T8" fmla="*/ 3 w 27"/>
              <a:gd name="T9" fmla="*/ 20 h 33"/>
              <a:gd name="T10" fmla="*/ 4 w 27"/>
              <a:gd name="T11" fmla="*/ 5 h 33"/>
              <a:gd name="T12" fmla="*/ 25 w 27"/>
              <a:gd name="T13" fmla="*/ 9 h 33"/>
            </a:gdLst>
            <a:ahLst/>
            <a:cxnLst>
              <a:cxn ang="0">
                <a:pos x="T0" y="T1"/>
              </a:cxn>
              <a:cxn ang="0">
                <a:pos x="T2" y="T3"/>
              </a:cxn>
              <a:cxn ang="0">
                <a:pos x="T4" y="T5"/>
              </a:cxn>
              <a:cxn ang="0">
                <a:pos x="T6" y="T7"/>
              </a:cxn>
              <a:cxn ang="0">
                <a:pos x="T8" y="T9"/>
              </a:cxn>
              <a:cxn ang="0">
                <a:pos x="T10" y="T11"/>
              </a:cxn>
              <a:cxn ang="0">
                <a:pos x="T12" y="T13"/>
              </a:cxn>
            </a:cxnLst>
            <a:rect l="0" t="0" r="r" b="b"/>
            <a:pathLst>
              <a:path w="27" h="33">
                <a:moveTo>
                  <a:pt x="25" y="9"/>
                </a:moveTo>
                <a:cubicBezTo>
                  <a:pt x="25" y="9"/>
                  <a:pt x="27" y="22"/>
                  <a:pt x="25" y="29"/>
                </a:cubicBezTo>
                <a:cubicBezTo>
                  <a:pt x="24" y="31"/>
                  <a:pt x="22" y="32"/>
                  <a:pt x="22" y="32"/>
                </a:cubicBezTo>
                <a:cubicBezTo>
                  <a:pt x="22" y="32"/>
                  <a:pt x="10" y="33"/>
                  <a:pt x="7" y="28"/>
                </a:cubicBezTo>
                <a:cubicBezTo>
                  <a:pt x="3" y="23"/>
                  <a:pt x="3" y="20"/>
                  <a:pt x="3" y="20"/>
                </a:cubicBezTo>
                <a:cubicBezTo>
                  <a:pt x="3" y="20"/>
                  <a:pt x="0" y="9"/>
                  <a:pt x="4" y="5"/>
                </a:cubicBezTo>
                <a:cubicBezTo>
                  <a:pt x="7" y="0"/>
                  <a:pt x="24" y="1"/>
                  <a:pt x="25" y="9"/>
                </a:cubicBez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1579">
            <a:extLst>
              <a:ext uri="{FF2B5EF4-FFF2-40B4-BE49-F238E27FC236}">
                <a16:creationId xmlns:a16="http://schemas.microsoft.com/office/drawing/2014/main" id="{93C47F7E-E799-4769-B88C-49E437CD70C5}"/>
              </a:ext>
            </a:extLst>
          </p:cNvPr>
          <p:cNvSpPr>
            <a:spLocks/>
          </p:cNvSpPr>
          <p:nvPr/>
        </p:nvSpPr>
        <p:spPr bwMode="auto">
          <a:xfrm>
            <a:off x="8852975" y="4460701"/>
            <a:ext cx="30877" cy="35287"/>
          </a:xfrm>
          <a:custGeom>
            <a:avLst/>
            <a:gdLst>
              <a:gd name="T0" fmla="*/ 9 w 10"/>
              <a:gd name="T1" fmla="*/ 5 h 12"/>
              <a:gd name="T2" fmla="*/ 4 w 10"/>
              <a:gd name="T3" fmla="*/ 3 h 12"/>
              <a:gd name="T4" fmla="*/ 4 w 10"/>
              <a:gd name="T5" fmla="*/ 10 h 12"/>
              <a:gd name="T6" fmla="*/ 10 w 10"/>
              <a:gd name="T7" fmla="*/ 12 h 12"/>
              <a:gd name="T8" fmla="*/ 9 w 10"/>
              <a:gd name="T9" fmla="*/ 5 h 12"/>
            </a:gdLst>
            <a:ahLst/>
            <a:cxnLst>
              <a:cxn ang="0">
                <a:pos x="T0" y="T1"/>
              </a:cxn>
              <a:cxn ang="0">
                <a:pos x="T2" y="T3"/>
              </a:cxn>
              <a:cxn ang="0">
                <a:pos x="T4" y="T5"/>
              </a:cxn>
              <a:cxn ang="0">
                <a:pos x="T6" y="T7"/>
              </a:cxn>
              <a:cxn ang="0">
                <a:pos x="T8" y="T9"/>
              </a:cxn>
            </a:cxnLst>
            <a:rect l="0" t="0" r="r" b="b"/>
            <a:pathLst>
              <a:path w="10" h="12">
                <a:moveTo>
                  <a:pt x="9" y="5"/>
                </a:moveTo>
                <a:cubicBezTo>
                  <a:pt x="9" y="5"/>
                  <a:pt x="7" y="0"/>
                  <a:pt x="4" y="3"/>
                </a:cubicBezTo>
                <a:cubicBezTo>
                  <a:pt x="0" y="6"/>
                  <a:pt x="3" y="9"/>
                  <a:pt x="4" y="10"/>
                </a:cubicBezTo>
                <a:cubicBezTo>
                  <a:pt x="5" y="11"/>
                  <a:pt x="10" y="12"/>
                  <a:pt x="10" y="12"/>
                </a:cubicBezTo>
                <a:lnTo>
                  <a:pt x="9" y="5"/>
                </a:ln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1580">
            <a:extLst>
              <a:ext uri="{FF2B5EF4-FFF2-40B4-BE49-F238E27FC236}">
                <a16:creationId xmlns:a16="http://schemas.microsoft.com/office/drawing/2014/main" id="{62928A1C-66AD-4A95-BAEE-77A16B2AC690}"/>
              </a:ext>
            </a:extLst>
          </p:cNvPr>
          <p:cNvSpPr>
            <a:spLocks/>
          </p:cNvSpPr>
          <p:nvPr/>
        </p:nvSpPr>
        <p:spPr bwMode="auto">
          <a:xfrm>
            <a:off x="8866206" y="4407771"/>
            <a:ext cx="97039" cy="74986"/>
          </a:xfrm>
          <a:custGeom>
            <a:avLst/>
            <a:gdLst>
              <a:gd name="T0" fmla="*/ 29 w 29"/>
              <a:gd name="T1" fmla="*/ 14 h 24"/>
              <a:gd name="T2" fmla="*/ 11 w 29"/>
              <a:gd name="T3" fmla="*/ 16 h 24"/>
              <a:gd name="T4" fmla="*/ 8 w 29"/>
              <a:gd name="T5" fmla="*/ 21 h 24"/>
              <a:gd name="T6" fmla="*/ 9 w 29"/>
              <a:gd name="T7" fmla="*/ 23 h 24"/>
              <a:gd name="T8" fmla="*/ 7 w 29"/>
              <a:gd name="T9" fmla="*/ 24 h 24"/>
              <a:gd name="T10" fmla="*/ 4 w 29"/>
              <a:gd name="T11" fmla="*/ 19 h 24"/>
              <a:gd name="T12" fmla="*/ 1 w 29"/>
              <a:gd name="T13" fmla="*/ 19 h 24"/>
              <a:gd name="T14" fmla="*/ 0 w 29"/>
              <a:gd name="T15" fmla="*/ 12 h 24"/>
              <a:gd name="T16" fmla="*/ 6 w 29"/>
              <a:gd name="T17" fmla="*/ 2 h 24"/>
              <a:gd name="T18" fmla="*/ 22 w 29"/>
              <a:gd name="T19" fmla="*/ 2 h 24"/>
              <a:gd name="T20" fmla="*/ 29 w 29"/>
              <a:gd name="T2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4">
                <a:moveTo>
                  <a:pt x="29" y="14"/>
                </a:moveTo>
                <a:cubicBezTo>
                  <a:pt x="29" y="14"/>
                  <a:pt x="24" y="19"/>
                  <a:pt x="11" y="16"/>
                </a:cubicBezTo>
                <a:cubicBezTo>
                  <a:pt x="9" y="16"/>
                  <a:pt x="8" y="18"/>
                  <a:pt x="8" y="21"/>
                </a:cubicBezTo>
                <a:cubicBezTo>
                  <a:pt x="9" y="23"/>
                  <a:pt x="9" y="23"/>
                  <a:pt x="9" y="23"/>
                </a:cubicBezTo>
                <a:cubicBezTo>
                  <a:pt x="7" y="24"/>
                  <a:pt x="7" y="24"/>
                  <a:pt x="7" y="24"/>
                </a:cubicBezTo>
                <a:cubicBezTo>
                  <a:pt x="4" y="19"/>
                  <a:pt x="4" y="19"/>
                  <a:pt x="4" y="19"/>
                </a:cubicBezTo>
                <a:cubicBezTo>
                  <a:pt x="1" y="19"/>
                  <a:pt x="1" y="19"/>
                  <a:pt x="1" y="19"/>
                </a:cubicBezTo>
                <a:cubicBezTo>
                  <a:pt x="1" y="19"/>
                  <a:pt x="0" y="17"/>
                  <a:pt x="0" y="12"/>
                </a:cubicBezTo>
                <a:cubicBezTo>
                  <a:pt x="0" y="7"/>
                  <a:pt x="1" y="4"/>
                  <a:pt x="6" y="2"/>
                </a:cubicBezTo>
                <a:cubicBezTo>
                  <a:pt x="12" y="0"/>
                  <a:pt x="21" y="1"/>
                  <a:pt x="22" y="2"/>
                </a:cubicBezTo>
                <a:cubicBezTo>
                  <a:pt x="24" y="2"/>
                  <a:pt x="29" y="7"/>
                  <a:pt x="29" y="14"/>
                </a:cubicBez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1581">
            <a:extLst>
              <a:ext uri="{FF2B5EF4-FFF2-40B4-BE49-F238E27FC236}">
                <a16:creationId xmlns:a16="http://schemas.microsoft.com/office/drawing/2014/main" id="{9A65442E-3802-4243-9EAB-043AD5C5C574}"/>
              </a:ext>
            </a:extLst>
          </p:cNvPr>
          <p:cNvSpPr>
            <a:spLocks/>
          </p:cNvSpPr>
          <p:nvPr/>
        </p:nvSpPr>
        <p:spPr bwMode="auto">
          <a:xfrm>
            <a:off x="9007354" y="4747406"/>
            <a:ext cx="269064" cy="149969"/>
          </a:xfrm>
          <a:custGeom>
            <a:avLst/>
            <a:gdLst>
              <a:gd name="T0" fmla="*/ 0 w 61"/>
              <a:gd name="T1" fmla="*/ 23 h 34"/>
              <a:gd name="T2" fmla="*/ 32 w 61"/>
              <a:gd name="T3" fmla="*/ 34 h 34"/>
              <a:gd name="T4" fmla="*/ 61 w 61"/>
              <a:gd name="T5" fmla="*/ 9 h 34"/>
              <a:gd name="T6" fmla="*/ 29 w 61"/>
              <a:gd name="T7" fmla="*/ 0 h 34"/>
              <a:gd name="T8" fmla="*/ 0 w 61"/>
              <a:gd name="T9" fmla="*/ 23 h 34"/>
            </a:gdLst>
            <a:ahLst/>
            <a:cxnLst>
              <a:cxn ang="0">
                <a:pos x="T0" y="T1"/>
              </a:cxn>
              <a:cxn ang="0">
                <a:pos x="T2" y="T3"/>
              </a:cxn>
              <a:cxn ang="0">
                <a:pos x="T4" y="T5"/>
              </a:cxn>
              <a:cxn ang="0">
                <a:pos x="T6" y="T7"/>
              </a:cxn>
              <a:cxn ang="0">
                <a:pos x="T8" y="T9"/>
              </a:cxn>
            </a:cxnLst>
            <a:rect l="0" t="0" r="r" b="b"/>
            <a:pathLst>
              <a:path w="61" h="34">
                <a:moveTo>
                  <a:pt x="0" y="23"/>
                </a:moveTo>
                <a:lnTo>
                  <a:pt x="32" y="34"/>
                </a:lnTo>
                <a:lnTo>
                  <a:pt x="61" y="9"/>
                </a:lnTo>
                <a:lnTo>
                  <a:pt x="29" y="0"/>
                </a:lnTo>
                <a:lnTo>
                  <a:pt x="0" y="23"/>
                </a:lnTo>
                <a:close/>
              </a:path>
            </a:pathLst>
          </a:custGeom>
          <a:solidFill>
            <a:srgbClr val="4348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1582">
            <a:extLst>
              <a:ext uri="{FF2B5EF4-FFF2-40B4-BE49-F238E27FC236}">
                <a16:creationId xmlns:a16="http://schemas.microsoft.com/office/drawing/2014/main" id="{47348CE6-696E-4006-8464-66C1635D81A9}"/>
              </a:ext>
            </a:extLst>
          </p:cNvPr>
          <p:cNvSpPr>
            <a:spLocks/>
          </p:cNvSpPr>
          <p:nvPr/>
        </p:nvSpPr>
        <p:spPr bwMode="auto">
          <a:xfrm>
            <a:off x="9038231" y="4765050"/>
            <a:ext cx="211722" cy="114683"/>
          </a:xfrm>
          <a:custGeom>
            <a:avLst/>
            <a:gdLst>
              <a:gd name="T0" fmla="*/ 48 w 48"/>
              <a:gd name="T1" fmla="*/ 7 h 26"/>
              <a:gd name="T2" fmla="*/ 23 w 48"/>
              <a:gd name="T3" fmla="*/ 0 h 26"/>
              <a:gd name="T4" fmla="*/ 0 w 48"/>
              <a:gd name="T5" fmla="*/ 17 h 26"/>
              <a:gd name="T6" fmla="*/ 24 w 48"/>
              <a:gd name="T7" fmla="*/ 26 h 26"/>
              <a:gd name="T8" fmla="*/ 48 w 48"/>
              <a:gd name="T9" fmla="*/ 7 h 26"/>
            </a:gdLst>
            <a:ahLst/>
            <a:cxnLst>
              <a:cxn ang="0">
                <a:pos x="T0" y="T1"/>
              </a:cxn>
              <a:cxn ang="0">
                <a:pos x="T2" y="T3"/>
              </a:cxn>
              <a:cxn ang="0">
                <a:pos x="T4" y="T5"/>
              </a:cxn>
              <a:cxn ang="0">
                <a:pos x="T6" y="T7"/>
              </a:cxn>
              <a:cxn ang="0">
                <a:pos x="T8" y="T9"/>
              </a:cxn>
            </a:cxnLst>
            <a:rect l="0" t="0" r="r" b="b"/>
            <a:pathLst>
              <a:path w="48" h="26">
                <a:moveTo>
                  <a:pt x="48" y="7"/>
                </a:moveTo>
                <a:lnTo>
                  <a:pt x="23" y="0"/>
                </a:lnTo>
                <a:lnTo>
                  <a:pt x="0" y="17"/>
                </a:lnTo>
                <a:lnTo>
                  <a:pt x="24" y="26"/>
                </a:lnTo>
                <a:lnTo>
                  <a:pt x="48" y="7"/>
                </a:lnTo>
                <a:close/>
              </a:path>
            </a:pathLst>
          </a:custGeom>
          <a:solidFill>
            <a:srgbClr val="EAEE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1583">
            <a:extLst>
              <a:ext uri="{FF2B5EF4-FFF2-40B4-BE49-F238E27FC236}">
                <a16:creationId xmlns:a16="http://schemas.microsoft.com/office/drawing/2014/main" id="{20E7C758-459E-443F-B8B1-0AF73B50532D}"/>
              </a:ext>
            </a:extLst>
          </p:cNvPr>
          <p:cNvSpPr>
            <a:spLocks/>
          </p:cNvSpPr>
          <p:nvPr/>
        </p:nvSpPr>
        <p:spPr bwMode="auto">
          <a:xfrm>
            <a:off x="8967658" y="4822392"/>
            <a:ext cx="88217" cy="66164"/>
          </a:xfrm>
          <a:custGeom>
            <a:avLst/>
            <a:gdLst>
              <a:gd name="T0" fmla="*/ 6 w 26"/>
              <a:gd name="T1" fmla="*/ 3 h 19"/>
              <a:gd name="T2" fmla="*/ 17 w 26"/>
              <a:gd name="T3" fmla="*/ 0 h 19"/>
              <a:gd name="T4" fmla="*/ 16 w 26"/>
              <a:gd name="T5" fmla="*/ 4 h 19"/>
              <a:gd name="T6" fmla="*/ 13 w 26"/>
              <a:gd name="T7" fmla="*/ 5 h 19"/>
              <a:gd name="T8" fmla="*/ 17 w 26"/>
              <a:gd name="T9" fmla="*/ 8 h 19"/>
              <a:gd name="T10" fmla="*/ 26 w 26"/>
              <a:gd name="T11" fmla="*/ 15 h 19"/>
              <a:gd name="T12" fmla="*/ 18 w 26"/>
              <a:gd name="T13" fmla="*/ 12 h 19"/>
              <a:gd name="T14" fmla="*/ 17 w 26"/>
              <a:gd name="T15" fmla="*/ 14 h 19"/>
              <a:gd name="T16" fmla="*/ 16 w 26"/>
              <a:gd name="T17" fmla="*/ 16 h 19"/>
              <a:gd name="T18" fmla="*/ 12 w 26"/>
              <a:gd name="T19" fmla="*/ 18 h 19"/>
              <a:gd name="T20" fmla="*/ 0 w 26"/>
              <a:gd name="T21" fmla="*/ 10 h 19"/>
              <a:gd name="T22" fmla="*/ 6 w 26"/>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9">
                <a:moveTo>
                  <a:pt x="6" y="3"/>
                </a:moveTo>
                <a:cubicBezTo>
                  <a:pt x="6" y="3"/>
                  <a:pt x="15" y="0"/>
                  <a:pt x="17" y="0"/>
                </a:cubicBezTo>
                <a:cubicBezTo>
                  <a:pt x="17" y="0"/>
                  <a:pt x="19" y="2"/>
                  <a:pt x="16" y="4"/>
                </a:cubicBezTo>
                <a:cubicBezTo>
                  <a:pt x="13" y="5"/>
                  <a:pt x="13" y="5"/>
                  <a:pt x="13" y="5"/>
                </a:cubicBezTo>
                <a:cubicBezTo>
                  <a:pt x="13" y="5"/>
                  <a:pt x="16" y="6"/>
                  <a:pt x="17" y="8"/>
                </a:cubicBezTo>
                <a:cubicBezTo>
                  <a:pt x="19" y="9"/>
                  <a:pt x="26" y="14"/>
                  <a:pt x="26" y="15"/>
                </a:cubicBezTo>
                <a:cubicBezTo>
                  <a:pt x="26" y="16"/>
                  <a:pt x="23" y="16"/>
                  <a:pt x="18" y="12"/>
                </a:cubicBezTo>
                <a:cubicBezTo>
                  <a:pt x="18" y="12"/>
                  <a:pt x="19" y="14"/>
                  <a:pt x="17" y="14"/>
                </a:cubicBezTo>
                <a:cubicBezTo>
                  <a:pt x="17" y="14"/>
                  <a:pt x="17" y="15"/>
                  <a:pt x="16" y="16"/>
                </a:cubicBezTo>
                <a:cubicBezTo>
                  <a:pt x="16" y="16"/>
                  <a:pt x="14" y="19"/>
                  <a:pt x="12" y="18"/>
                </a:cubicBezTo>
                <a:cubicBezTo>
                  <a:pt x="10" y="18"/>
                  <a:pt x="0" y="10"/>
                  <a:pt x="0" y="10"/>
                </a:cubicBezTo>
                <a:lnTo>
                  <a:pt x="6" y="3"/>
                </a:ln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1584">
            <a:extLst>
              <a:ext uri="{FF2B5EF4-FFF2-40B4-BE49-F238E27FC236}">
                <a16:creationId xmlns:a16="http://schemas.microsoft.com/office/drawing/2014/main" id="{7ABF844E-ECD7-4896-9891-9CC6828E47EA}"/>
              </a:ext>
            </a:extLst>
          </p:cNvPr>
          <p:cNvSpPr>
            <a:spLocks/>
          </p:cNvSpPr>
          <p:nvPr/>
        </p:nvSpPr>
        <p:spPr bwMode="auto">
          <a:xfrm>
            <a:off x="9016176" y="5162028"/>
            <a:ext cx="88217" cy="119095"/>
          </a:xfrm>
          <a:custGeom>
            <a:avLst/>
            <a:gdLst>
              <a:gd name="T0" fmla="*/ 3 w 27"/>
              <a:gd name="T1" fmla="*/ 2 h 37"/>
              <a:gd name="T2" fmla="*/ 0 w 27"/>
              <a:gd name="T3" fmla="*/ 9 h 37"/>
              <a:gd name="T4" fmla="*/ 0 w 27"/>
              <a:gd name="T5" fmla="*/ 14 h 37"/>
              <a:gd name="T6" fmla="*/ 3 w 27"/>
              <a:gd name="T7" fmla="*/ 19 h 37"/>
              <a:gd name="T8" fmla="*/ 8 w 27"/>
              <a:gd name="T9" fmla="*/ 31 h 37"/>
              <a:gd name="T10" fmla="*/ 25 w 27"/>
              <a:gd name="T11" fmla="*/ 33 h 37"/>
              <a:gd name="T12" fmla="*/ 18 w 27"/>
              <a:gd name="T13" fmla="*/ 15 h 37"/>
              <a:gd name="T14" fmla="*/ 14 w 27"/>
              <a:gd name="T15" fmla="*/ 0 h 37"/>
              <a:gd name="T16" fmla="*/ 3 w 27"/>
              <a:gd name="T17"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7">
                <a:moveTo>
                  <a:pt x="3" y="2"/>
                </a:moveTo>
                <a:cubicBezTo>
                  <a:pt x="0" y="9"/>
                  <a:pt x="0" y="9"/>
                  <a:pt x="0" y="9"/>
                </a:cubicBezTo>
                <a:cubicBezTo>
                  <a:pt x="0" y="9"/>
                  <a:pt x="0" y="12"/>
                  <a:pt x="0" y="14"/>
                </a:cubicBezTo>
                <a:cubicBezTo>
                  <a:pt x="3" y="19"/>
                  <a:pt x="3" y="19"/>
                  <a:pt x="3" y="19"/>
                </a:cubicBezTo>
                <a:cubicBezTo>
                  <a:pt x="3" y="19"/>
                  <a:pt x="3" y="25"/>
                  <a:pt x="8" y="31"/>
                </a:cubicBezTo>
                <a:cubicBezTo>
                  <a:pt x="13" y="37"/>
                  <a:pt x="22" y="37"/>
                  <a:pt x="25" y="33"/>
                </a:cubicBezTo>
                <a:cubicBezTo>
                  <a:pt x="27" y="29"/>
                  <a:pt x="19" y="17"/>
                  <a:pt x="18" y="15"/>
                </a:cubicBezTo>
                <a:cubicBezTo>
                  <a:pt x="18" y="13"/>
                  <a:pt x="14" y="0"/>
                  <a:pt x="14" y="0"/>
                </a:cubicBezTo>
                <a:lnTo>
                  <a:pt x="3" y="2"/>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1585">
            <a:extLst>
              <a:ext uri="{FF2B5EF4-FFF2-40B4-BE49-F238E27FC236}">
                <a16:creationId xmlns:a16="http://schemas.microsoft.com/office/drawing/2014/main" id="{E3892C02-08C0-46C9-BC28-01F7F0355596}"/>
              </a:ext>
            </a:extLst>
          </p:cNvPr>
          <p:cNvSpPr>
            <a:spLocks/>
          </p:cNvSpPr>
          <p:nvPr/>
        </p:nvSpPr>
        <p:spPr bwMode="auto">
          <a:xfrm>
            <a:off x="9152914" y="5095866"/>
            <a:ext cx="127917" cy="79396"/>
          </a:xfrm>
          <a:custGeom>
            <a:avLst/>
            <a:gdLst>
              <a:gd name="T0" fmla="*/ 13 w 39"/>
              <a:gd name="T1" fmla="*/ 0 h 25"/>
              <a:gd name="T2" fmla="*/ 16 w 39"/>
              <a:gd name="T3" fmla="*/ 3 h 25"/>
              <a:gd name="T4" fmla="*/ 34 w 39"/>
              <a:gd name="T5" fmla="*/ 12 h 25"/>
              <a:gd name="T6" fmla="*/ 27 w 39"/>
              <a:gd name="T7" fmla="*/ 23 h 25"/>
              <a:gd name="T8" fmla="*/ 11 w 39"/>
              <a:gd name="T9" fmla="*/ 17 h 25"/>
              <a:gd name="T10" fmla="*/ 5 w 39"/>
              <a:gd name="T11" fmla="*/ 18 h 25"/>
              <a:gd name="T12" fmla="*/ 0 w 39"/>
              <a:gd name="T13" fmla="*/ 15 h 25"/>
              <a:gd name="T14" fmla="*/ 0 w 39"/>
              <a:gd name="T15" fmla="*/ 4 h 25"/>
              <a:gd name="T16" fmla="*/ 13 w 39"/>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13" y="0"/>
                </a:moveTo>
                <a:cubicBezTo>
                  <a:pt x="14" y="1"/>
                  <a:pt x="16" y="3"/>
                  <a:pt x="16" y="3"/>
                </a:cubicBezTo>
                <a:cubicBezTo>
                  <a:pt x="16" y="3"/>
                  <a:pt x="30" y="9"/>
                  <a:pt x="34" y="12"/>
                </a:cubicBezTo>
                <a:cubicBezTo>
                  <a:pt x="39" y="16"/>
                  <a:pt x="39" y="25"/>
                  <a:pt x="27" y="23"/>
                </a:cubicBezTo>
                <a:cubicBezTo>
                  <a:pt x="16" y="21"/>
                  <a:pt x="13" y="17"/>
                  <a:pt x="11" y="17"/>
                </a:cubicBezTo>
                <a:cubicBezTo>
                  <a:pt x="5" y="18"/>
                  <a:pt x="5" y="18"/>
                  <a:pt x="5" y="18"/>
                </a:cubicBezTo>
                <a:cubicBezTo>
                  <a:pt x="0" y="15"/>
                  <a:pt x="0" y="15"/>
                  <a:pt x="0" y="15"/>
                </a:cubicBezTo>
                <a:cubicBezTo>
                  <a:pt x="0" y="4"/>
                  <a:pt x="0" y="4"/>
                  <a:pt x="0" y="4"/>
                </a:cubicBezTo>
                <a:lnTo>
                  <a:pt x="13"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1586">
            <a:extLst>
              <a:ext uri="{FF2B5EF4-FFF2-40B4-BE49-F238E27FC236}">
                <a16:creationId xmlns:a16="http://schemas.microsoft.com/office/drawing/2014/main" id="{81718B57-801C-478B-B6EA-CC057846A793}"/>
              </a:ext>
            </a:extLst>
          </p:cNvPr>
          <p:cNvSpPr>
            <a:spLocks/>
          </p:cNvSpPr>
          <p:nvPr/>
        </p:nvSpPr>
        <p:spPr bwMode="auto">
          <a:xfrm>
            <a:off x="9099984" y="4791515"/>
            <a:ext cx="92630" cy="52930"/>
          </a:xfrm>
          <a:custGeom>
            <a:avLst/>
            <a:gdLst>
              <a:gd name="T0" fmla="*/ 14 w 28"/>
              <a:gd name="T1" fmla="*/ 8 h 16"/>
              <a:gd name="T2" fmla="*/ 2 w 28"/>
              <a:gd name="T3" fmla="*/ 10 h 16"/>
              <a:gd name="T4" fmla="*/ 5 w 28"/>
              <a:gd name="T5" fmla="*/ 3 h 16"/>
              <a:gd name="T6" fmla="*/ 23 w 28"/>
              <a:gd name="T7" fmla="*/ 3 h 16"/>
              <a:gd name="T8" fmla="*/ 23 w 28"/>
              <a:gd name="T9" fmla="*/ 13 h 16"/>
              <a:gd name="T10" fmla="*/ 9 w 28"/>
              <a:gd name="T11" fmla="*/ 15 h 16"/>
              <a:gd name="T12" fmla="*/ 14 w 2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4" y="8"/>
                </a:moveTo>
                <a:cubicBezTo>
                  <a:pt x="2" y="10"/>
                  <a:pt x="2" y="10"/>
                  <a:pt x="2" y="10"/>
                </a:cubicBezTo>
                <a:cubicBezTo>
                  <a:pt x="0" y="8"/>
                  <a:pt x="1" y="5"/>
                  <a:pt x="5" y="3"/>
                </a:cubicBezTo>
                <a:cubicBezTo>
                  <a:pt x="10" y="0"/>
                  <a:pt x="18" y="0"/>
                  <a:pt x="23" y="3"/>
                </a:cubicBezTo>
                <a:cubicBezTo>
                  <a:pt x="28" y="6"/>
                  <a:pt x="28" y="10"/>
                  <a:pt x="23" y="13"/>
                </a:cubicBezTo>
                <a:cubicBezTo>
                  <a:pt x="19" y="15"/>
                  <a:pt x="14" y="16"/>
                  <a:pt x="9" y="15"/>
                </a:cubicBezTo>
                <a:lnTo>
                  <a:pt x="14" y="8"/>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8" name="Freeform 1587">
            <a:extLst>
              <a:ext uri="{FF2B5EF4-FFF2-40B4-BE49-F238E27FC236}">
                <a16:creationId xmlns:a16="http://schemas.microsoft.com/office/drawing/2014/main" id="{E1A8B09D-98F2-4400-B050-C4F1C5A70208}"/>
              </a:ext>
            </a:extLst>
          </p:cNvPr>
          <p:cNvSpPr>
            <a:spLocks/>
          </p:cNvSpPr>
          <p:nvPr/>
        </p:nvSpPr>
        <p:spPr bwMode="auto">
          <a:xfrm>
            <a:off x="9104393" y="4817980"/>
            <a:ext cx="39699" cy="22056"/>
          </a:xfrm>
          <a:custGeom>
            <a:avLst/>
            <a:gdLst>
              <a:gd name="T0" fmla="*/ 7 w 12"/>
              <a:gd name="T1" fmla="*/ 7 h 7"/>
              <a:gd name="T2" fmla="*/ 3 w 12"/>
              <a:gd name="T3" fmla="*/ 6 h 7"/>
              <a:gd name="T4" fmla="*/ 0 w 12"/>
              <a:gd name="T5" fmla="*/ 3 h 7"/>
              <a:gd name="T6" fmla="*/ 12 w 12"/>
              <a:gd name="T7" fmla="*/ 0 h 7"/>
              <a:gd name="T8" fmla="*/ 7 w 12"/>
              <a:gd name="T9" fmla="*/ 7 h 7"/>
            </a:gdLst>
            <a:ahLst/>
            <a:cxnLst>
              <a:cxn ang="0">
                <a:pos x="T0" y="T1"/>
              </a:cxn>
              <a:cxn ang="0">
                <a:pos x="T2" y="T3"/>
              </a:cxn>
              <a:cxn ang="0">
                <a:pos x="T4" y="T5"/>
              </a:cxn>
              <a:cxn ang="0">
                <a:pos x="T6" y="T7"/>
              </a:cxn>
              <a:cxn ang="0">
                <a:pos x="T8" y="T9"/>
              </a:cxn>
            </a:cxnLst>
            <a:rect l="0" t="0" r="r" b="b"/>
            <a:pathLst>
              <a:path w="12" h="7">
                <a:moveTo>
                  <a:pt x="7" y="7"/>
                </a:moveTo>
                <a:cubicBezTo>
                  <a:pt x="6" y="7"/>
                  <a:pt x="4" y="6"/>
                  <a:pt x="3" y="6"/>
                </a:cubicBezTo>
                <a:cubicBezTo>
                  <a:pt x="1" y="5"/>
                  <a:pt x="0" y="4"/>
                  <a:pt x="0" y="3"/>
                </a:cubicBezTo>
                <a:cubicBezTo>
                  <a:pt x="12" y="0"/>
                  <a:pt x="12" y="0"/>
                  <a:pt x="12" y="0"/>
                </a:cubicBezTo>
                <a:lnTo>
                  <a:pt x="7" y="7"/>
                </a:ln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9" name="Freeform 1588">
            <a:extLst>
              <a:ext uri="{FF2B5EF4-FFF2-40B4-BE49-F238E27FC236}">
                <a16:creationId xmlns:a16="http://schemas.microsoft.com/office/drawing/2014/main" id="{C04C30DC-BDCB-45C3-B5FB-D662B70AF20B}"/>
              </a:ext>
            </a:extLst>
          </p:cNvPr>
          <p:cNvSpPr>
            <a:spLocks/>
          </p:cNvSpPr>
          <p:nvPr/>
        </p:nvSpPr>
        <p:spPr bwMode="auto">
          <a:xfrm>
            <a:off x="6312316" y="4654779"/>
            <a:ext cx="57343" cy="119095"/>
          </a:xfrm>
          <a:custGeom>
            <a:avLst/>
            <a:gdLst>
              <a:gd name="T0" fmla="*/ 13 w 13"/>
              <a:gd name="T1" fmla="*/ 1 h 27"/>
              <a:gd name="T2" fmla="*/ 9 w 13"/>
              <a:gd name="T3" fmla="*/ 27 h 27"/>
              <a:gd name="T4" fmla="*/ 0 w 13"/>
              <a:gd name="T5" fmla="*/ 24 h 27"/>
              <a:gd name="T6" fmla="*/ 3 w 13"/>
              <a:gd name="T7" fmla="*/ 0 h 27"/>
              <a:gd name="T8" fmla="*/ 13 w 13"/>
              <a:gd name="T9" fmla="*/ 1 h 27"/>
            </a:gdLst>
            <a:ahLst/>
            <a:cxnLst>
              <a:cxn ang="0">
                <a:pos x="T0" y="T1"/>
              </a:cxn>
              <a:cxn ang="0">
                <a:pos x="T2" y="T3"/>
              </a:cxn>
              <a:cxn ang="0">
                <a:pos x="T4" y="T5"/>
              </a:cxn>
              <a:cxn ang="0">
                <a:pos x="T6" y="T7"/>
              </a:cxn>
              <a:cxn ang="0">
                <a:pos x="T8" y="T9"/>
              </a:cxn>
            </a:cxnLst>
            <a:rect l="0" t="0" r="r" b="b"/>
            <a:pathLst>
              <a:path w="13" h="27">
                <a:moveTo>
                  <a:pt x="13" y="1"/>
                </a:moveTo>
                <a:lnTo>
                  <a:pt x="9" y="27"/>
                </a:lnTo>
                <a:lnTo>
                  <a:pt x="0" y="24"/>
                </a:lnTo>
                <a:lnTo>
                  <a:pt x="3" y="0"/>
                </a:lnTo>
                <a:lnTo>
                  <a:pt x="13" y="1"/>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0" name="Freeform 1589">
            <a:extLst>
              <a:ext uri="{FF2B5EF4-FFF2-40B4-BE49-F238E27FC236}">
                <a16:creationId xmlns:a16="http://schemas.microsoft.com/office/drawing/2014/main" id="{6A9BECD2-47A6-4508-A872-B4E795127A5D}"/>
              </a:ext>
            </a:extLst>
          </p:cNvPr>
          <p:cNvSpPr>
            <a:spLocks/>
          </p:cNvSpPr>
          <p:nvPr/>
        </p:nvSpPr>
        <p:spPr bwMode="auto">
          <a:xfrm>
            <a:off x="6541681" y="4998827"/>
            <a:ext cx="70574" cy="70574"/>
          </a:xfrm>
          <a:custGeom>
            <a:avLst/>
            <a:gdLst>
              <a:gd name="T0" fmla="*/ 6 w 21"/>
              <a:gd name="T1" fmla="*/ 0 h 21"/>
              <a:gd name="T2" fmla="*/ 8 w 21"/>
              <a:gd name="T3" fmla="*/ 1 h 21"/>
              <a:gd name="T4" fmla="*/ 18 w 21"/>
              <a:gd name="T5" fmla="*/ 4 h 21"/>
              <a:gd name="T6" fmla="*/ 17 w 21"/>
              <a:gd name="T7" fmla="*/ 6 h 21"/>
              <a:gd name="T8" fmla="*/ 12 w 21"/>
              <a:gd name="T9" fmla="*/ 5 h 21"/>
              <a:gd name="T10" fmla="*/ 19 w 21"/>
              <a:gd name="T11" fmla="*/ 14 h 21"/>
              <a:gd name="T12" fmla="*/ 14 w 21"/>
              <a:gd name="T13" fmla="*/ 12 h 21"/>
              <a:gd name="T14" fmla="*/ 17 w 21"/>
              <a:gd name="T15" fmla="*/ 19 h 21"/>
              <a:gd name="T16" fmla="*/ 12 w 21"/>
              <a:gd name="T17" fmla="*/ 13 h 21"/>
              <a:gd name="T18" fmla="*/ 14 w 21"/>
              <a:gd name="T19" fmla="*/ 20 h 21"/>
              <a:gd name="T20" fmla="*/ 9 w 21"/>
              <a:gd name="T21" fmla="*/ 14 h 21"/>
              <a:gd name="T22" fmla="*/ 11 w 21"/>
              <a:gd name="T23" fmla="*/ 20 h 21"/>
              <a:gd name="T24" fmla="*/ 5 w 21"/>
              <a:gd name="T25" fmla="*/ 12 h 21"/>
              <a:gd name="T26" fmla="*/ 3 w 21"/>
              <a:gd name="T27" fmla="*/ 7 h 21"/>
              <a:gd name="T28" fmla="*/ 0 w 21"/>
              <a:gd name="T29" fmla="*/ 5 h 21"/>
              <a:gd name="T30" fmla="*/ 6 w 21"/>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1">
                <a:moveTo>
                  <a:pt x="6" y="0"/>
                </a:moveTo>
                <a:cubicBezTo>
                  <a:pt x="8" y="1"/>
                  <a:pt x="8" y="1"/>
                  <a:pt x="8" y="1"/>
                </a:cubicBezTo>
                <a:cubicBezTo>
                  <a:pt x="8" y="1"/>
                  <a:pt x="16" y="3"/>
                  <a:pt x="18" y="4"/>
                </a:cubicBezTo>
                <a:cubicBezTo>
                  <a:pt x="19" y="5"/>
                  <a:pt x="20" y="6"/>
                  <a:pt x="17" y="6"/>
                </a:cubicBezTo>
                <a:cubicBezTo>
                  <a:pt x="15" y="6"/>
                  <a:pt x="12" y="5"/>
                  <a:pt x="12" y="5"/>
                </a:cubicBezTo>
                <a:cubicBezTo>
                  <a:pt x="12" y="5"/>
                  <a:pt x="18" y="12"/>
                  <a:pt x="19" y="14"/>
                </a:cubicBezTo>
                <a:cubicBezTo>
                  <a:pt x="20" y="16"/>
                  <a:pt x="21" y="20"/>
                  <a:pt x="14" y="12"/>
                </a:cubicBezTo>
                <a:cubicBezTo>
                  <a:pt x="14" y="12"/>
                  <a:pt x="18" y="18"/>
                  <a:pt x="17" y="19"/>
                </a:cubicBezTo>
                <a:cubicBezTo>
                  <a:pt x="15" y="20"/>
                  <a:pt x="12" y="13"/>
                  <a:pt x="12" y="13"/>
                </a:cubicBezTo>
                <a:cubicBezTo>
                  <a:pt x="12" y="13"/>
                  <a:pt x="15" y="19"/>
                  <a:pt x="14" y="20"/>
                </a:cubicBezTo>
                <a:cubicBezTo>
                  <a:pt x="13" y="21"/>
                  <a:pt x="9" y="14"/>
                  <a:pt x="9" y="14"/>
                </a:cubicBezTo>
                <a:cubicBezTo>
                  <a:pt x="9" y="14"/>
                  <a:pt x="12" y="21"/>
                  <a:pt x="11" y="20"/>
                </a:cubicBezTo>
                <a:cubicBezTo>
                  <a:pt x="9" y="20"/>
                  <a:pt x="6" y="15"/>
                  <a:pt x="5" y="12"/>
                </a:cubicBezTo>
                <a:cubicBezTo>
                  <a:pt x="4" y="9"/>
                  <a:pt x="3" y="7"/>
                  <a:pt x="3" y="7"/>
                </a:cubicBezTo>
                <a:cubicBezTo>
                  <a:pt x="0" y="5"/>
                  <a:pt x="0" y="5"/>
                  <a:pt x="0" y="5"/>
                </a:cubicBezTo>
                <a:lnTo>
                  <a:pt x="6"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1" name="Freeform 1590">
            <a:extLst>
              <a:ext uri="{FF2B5EF4-FFF2-40B4-BE49-F238E27FC236}">
                <a16:creationId xmlns:a16="http://schemas.microsoft.com/office/drawing/2014/main" id="{74E5E201-D88B-4FFB-B83F-07408A9F4E94}"/>
              </a:ext>
            </a:extLst>
          </p:cNvPr>
          <p:cNvSpPr>
            <a:spLocks/>
          </p:cNvSpPr>
          <p:nvPr/>
        </p:nvSpPr>
        <p:spPr bwMode="auto">
          <a:xfrm>
            <a:off x="6360834" y="4615080"/>
            <a:ext cx="8822" cy="66164"/>
          </a:xfrm>
          <a:custGeom>
            <a:avLst/>
            <a:gdLst>
              <a:gd name="T0" fmla="*/ 2 w 2"/>
              <a:gd name="T1" fmla="*/ 0 h 15"/>
              <a:gd name="T2" fmla="*/ 2 w 2"/>
              <a:gd name="T3" fmla="*/ 10 h 15"/>
              <a:gd name="T4" fmla="*/ 0 w 2"/>
              <a:gd name="T5" fmla="*/ 15 h 15"/>
              <a:gd name="T6" fmla="*/ 0 w 2"/>
              <a:gd name="T7" fmla="*/ 4 h 15"/>
              <a:gd name="T8" fmla="*/ 2 w 2"/>
              <a:gd name="T9" fmla="*/ 0 h 15"/>
            </a:gdLst>
            <a:ahLst/>
            <a:cxnLst>
              <a:cxn ang="0">
                <a:pos x="T0" y="T1"/>
              </a:cxn>
              <a:cxn ang="0">
                <a:pos x="T2" y="T3"/>
              </a:cxn>
              <a:cxn ang="0">
                <a:pos x="T4" y="T5"/>
              </a:cxn>
              <a:cxn ang="0">
                <a:pos x="T6" y="T7"/>
              </a:cxn>
              <a:cxn ang="0">
                <a:pos x="T8" y="T9"/>
              </a:cxn>
            </a:cxnLst>
            <a:rect l="0" t="0" r="r" b="b"/>
            <a:pathLst>
              <a:path w="2" h="15">
                <a:moveTo>
                  <a:pt x="2" y="0"/>
                </a:moveTo>
                <a:lnTo>
                  <a:pt x="2" y="10"/>
                </a:lnTo>
                <a:lnTo>
                  <a:pt x="0" y="15"/>
                </a:lnTo>
                <a:lnTo>
                  <a:pt x="0" y="4"/>
                </a:lnTo>
                <a:lnTo>
                  <a:pt x="2" y="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2" name="Freeform 1591">
            <a:extLst>
              <a:ext uri="{FF2B5EF4-FFF2-40B4-BE49-F238E27FC236}">
                <a16:creationId xmlns:a16="http://schemas.microsoft.com/office/drawing/2014/main" id="{33B11595-F3F7-4C31-AAC1-4961441F426D}"/>
              </a:ext>
            </a:extLst>
          </p:cNvPr>
          <p:cNvSpPr>
            <a:spLocks/>
          </p:cNvSpPr>
          <p:nvPr/>
        </p:nvSpPr>
        <p:spPr bwMode="auto">
          <a:xfrm>
            <a:off x="6127059" y="5034114"/>
            <a:ext cx="211722" cy="560182"/>
          </a:xfrm>
          <a:custGeom>
            <a:avLst/>
            <a:gdLst>
              <a:gd name="T0" fmla="*/ 13 w 64"/>
              <a:gd name="T1" fmla="*/ 0 h 170"/>
              <a:gd name="T2" fmla="*/ 10 w 64"/>
              <a:gd name="T3" fmla="*/ 38 h 170"/>
              <a:gd name="T4" fmla="*/ 10 w 64"/>
              <a:gd name="T5" fmla="*/ 81 h 170"/>
              <a:gd name="T6" fmla="*/ 0 w 64"/>
              <a:gd name="T7" fmla="*/ 164 h 170"/>
              <a:gd name="T8" fmla="*/ 8 w 64"/>
              <a:gd name="T9" fmla="*/ 170 h 170"/>
              <a:gd name="T10" fmla="*/ 36 w 64"/>
              <a:gd name="T11" fmla="*/ 91 h 170"/>
              <a:gd name="T12" fmla="*/ 64 w 64"/>
              <a:gd name="T13" fmla="*/ 6 h 170"/>
              <a:gd name="T14" fmla="*/ 13 w 64"/>
              <a:gd name="T15" fmla="*/ 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70">
                <a:moveTo>
                  <a:pt x="13" y="0"/>
                </a:moveTo>
                <a:cubicBezTo>
                  <a:pt x="7" y="8"/>
                  <a:pt x="8" y="26"/>
                  <a:pt x="10" y="38"/>
                </a:cubicBezTo>
                <a:cubicBezTo>
                  <a:pt x="13" y="51"/>
                  <a:pt x="10" y="81"/>
                  <a:pt x="10" y="81"/>
                </a:cubicBezTo>
                <a:cubicBezTo>
                  <a:pt x="10" y="81"/>
                  <a:pt x="9" y="103"/>
                  <a:pt x="0" y="164"/>
                </a:cubicBezTo>
                <a:cubicBezTo>
                  <a:pt x="8" y="170"/>
                  <a:pt x="8" y="170"/>
                  <a:pt x="8" y="170"/>
                </a:cubicBezTo>
                <a:cubicBezTo>
                  <a:pt x="8" y="170"/>
                  <a:pt x="30" y="104"/>
                  <a:pt x="36" y="91"/>
                </a:cubicBezTo>
                <a:cubicBezTo>
                  <a:pt x="42" y="78"/>
                  <a:pt x="64" y="6"/>
                  <a:pt x="64" y="6"/>
                </a:cubicBezTo>
                <a:lnTo>
                  <a:pt x="13"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3" name="Freeform 1592">
            <a:extLst>
              <a:ext uri="{FF2B5EF4-FFF2-40B4-BE49-F238E27FC236}">
                <a16:creationId xmlns:a16="http://schemas.microsoft.com/office/drawing/2014/main" id="{BDBBAB55-4A17-4F5B-86FA-666E9E510910}"/>
              </a:ext>
            </a:extLst>
          </p:cNvPr>
          <p:cNvSpPr>
            <a:spLocks/>
          </p:cNvSpPr>
          <p:nvPr/>
        </p:nvSpPr>
        <p:spPr bwMode="auto">
          <a:xfrm>
            <a:off x="6082951" y="5042936"/>
            <a:ext cx="304351" cy="344048"/>
          </a:xfrm>
          <a:custGeom>
            <a:avLst/>
            <a:gdLst>
              <a:gd name="T0" fmla="*/ 89 w 93"/>
              <a:gd name="T1" fmla="*/ 0 h 105"/>
              <a:gd name="T2" fmla="*/ 91 w 93"/>
              <a:gd name="T3" fmla="*/ 67 h 105"/>
              <a:gd name="T4" fmla="*/ 2 w 93"/>
              <a:gd name="T5" fmla="*/ 105 h 105"/>
              <a:gd name="T6" fmla="*/ 0 w 93"/>
              <a:gd name="T7" fmla="*/ 95 h 105"/>
              <a:gd name="T8" fmla="*/ 56 w 93"/>
              <a:gd name="T9" fmla="*/ 69 h 105"/>
              <a:gd name="T10" fmla="*/ 59 w 93"/>
              <a:gd name="T11" fmla="*/ 6 h 105"/>
              <a:gd name="T12" fmla="*/ 89 w 93"/>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3" h="105">
                <a:moveTo>
                  <a:pt x="89" y="0"/>
                </a:moveTo>
                <a:cubicBezTo>
                  <a:pt x="89" y="0"/>
                  <a:pt x="93" y="51"/>
                  <a:pt x="91" y="67"/>
                </a:cubicBezTo>
                <a:cubicBezTo>
                  <a:pt x="89" y="82"/>
                  <a:pt x="2" y="105"/>
                  <a:pt x="2" y="105"/>
                </a:cubicBezTo>
                <a:cubicBezTo>
                  <a:pt x="0" y="95"/>
                  <a:pt x="0" y="95"/>
                  <a:pt x="0" y="95"/>
                </a:cubicBezTo>
                <a:cubicBezTo>
                  <a:pt x="0" y="95"/>
                  <a:pt x="36" y="69"/>
                  <a:pt x="56" y="69"/>
                </a:cubicBezTo>
                <a:cubicBezTo>
                  <a:pt x="60" y="66"/>
                  <a:pt x="59" y="6"/>
                  <a:pt x="59" y="6"/>
                </a:cubicBezTo>
                <a:lnTo>
                  <a:pt x="89"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4" name="Freeform 1593">
            <a:extLst>
              <a:ext uri="{FF2B5EF4-FFF2-40B4-BE49-F238E27FC236}">
                <a16:creationId xmlns:a16="http://schemas.microsoft.com/office/drawing/2014/main" id="{BB9E9704-DE81-4B27-88E7-D57D2C332A27}"/>
              </a:ext>
            </a:extLst>
          </p:cNvPr>
          <p:cNvSpPr>
            <a:spLocks/>
          </p:cNvSpPr>
          <p:nvPr/>
        </p:nvSpPr>
        <p:spPr bwMode="auto">
          <a:xfrm>
            <a:off x="6166756" y="4720941"/>
            <a:ext cx="247009" cy="361691"/>
          </a:xfrm>
          <a:custGeom>
            <a:avLst/>
            <a:gdLst>
              <a:gd name="T0" fmla="*/ 0 w 75"/>
              <a:gd name="T1" fmla="*/ 95 h 109"/>
              <a:gd name="T2" fmla="*/ 22 w 75"/>
              <a:gd name="T3" fmla="*/ 107 h 109"/>
              <a:gd name="T4" fmla="*/ 66 w 75"/>
              <a:gd name="T5" fmla="*/ 95 h 109"/>
              <a:gd name="T6" fmla="*/ 53 w 75"/>
              <a:gd name="T7" fmla="*/ 79 h 109"/>
              <a:gd name="T8" fmla="*/ 68 w 75"/>
              <a:gd name="T9" fmla="*/ 51 h 109"/>
              <a:gd name="T10" fmla="*/ 67 w 75"/>
              <a:gd name="T11" fmla="*/ 23 h 109"/>
              <a:gd name="T12" fmla="*/ 60 w 75"/>
              <a:gd name="T13" fmla="*/ 6 h 109"/>
              <a:gd name="T14" fmla="*/ 60 w 75"/>
              <a:gd name="T15" fmla="*/ 6 h 109"/>
              <a:gd name="T16" fmla="*/ 33 w 75"/>
              <a:gd name="T17" fmla="*/ 3 h 109"/>
              <a:gd name="T18" fmla="*/ 18 w 75"/>
              <a:gd name="T19" fmla="*/ 7 h 109"/>
              <a:gd name="T20" fmla="*/ 12 w 75"/>
              <a:gd name="T21" fmla="*/ 12 h 109"/>
              <a:gd name="T22" fmla="*/ 20 w 75"/>
              <a:gd name="T23" fmla="*/ 71 h 109"/>
              <a:gd name="T24" fmla="*/ 0 w 75"/>
              <a:gd name="T25"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09">
                <a:moveTo>
                  <a:pt x="0" y="95"/>
                </a:moveTo>
                <a:cubicBezTo>
                  <a:pt x="0" y="95"/>
                  <a:pt x="6" y="105"/>
                  <a:pt x="22" y="107"/>
                </a:cubicBezTo>
                <a:cubicBezTo>
                  <a:pt x="38" y="109"/>
                  <a:pt x="66" y="95"/>
                  <a:pt x="66" y="95"/>
                </a:cubicBezTo>
                <a:cubicBezTo>
                  <a:pt x="53" y="79"/>
                  <a:pt x="53" y="79"/>
                  <a:pt x="53" y="79"/>
                </a:cubicBezTo>
                <a:cubicBezTo>
                  <a:pt x="53" y="79"/>
                  <a:pt x="61" y="64"/>
                  <a:pt x="68" y="51"/>
                </a:cubicBezTo>
                <a:cubicBezTo>
                  <a:pt x="75" y="39"/>
                  <a:pt x="67" y="27"/>
                  <a:pt x="67" y="23"/>
                </a:cubicBezTo>
                <a:cubicBezTo>
                  <a:pt x="66" y="22"/>
                  <a:pt x="60" y="7"/>
                  <a:pt x="60" y="6"/>
                </a:cubicBezTo>
                <a:cubicBezTo>
                  <a:pt x="60" y="6"/>
                  <a:pt x="60" y="6"/>
                  <a:pt x="60" y="6"/>
                </a:cubicBezTo>
                <a:cubicBezTo>
                  <a:pt x="53" y="0"/>
                  <a:pt x="33" y="3"/>
                  <a:pt x="33" y="3"/>
                </a:cubicBezTo>
                <a:cubicBezTo>
                  <a:pt x="18" y="7"/>
                  <a:pt x="18" y="7"/>
                  <a:pt x="18" y="7"/>
                </a:cubicBezTo>
                <a:cubicBezTo>
                  <a:pt x="12" y="12"/>
                  <a:pt x="12" y="12"/>
                  <a:pt x="12" y="12"/>
                </a:cubicBezTo>
                <a:cubicBezTo>
                  <a:pt x="20" y="71"/>
                  <a:pt x="20" y="71"/>
                  <a:pt x="20" y="71"/>
                </a:cubicBezTo>
                <a:lnTo>
                  <a:pt x="0" y="95"/>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5" name="Freeform 1594">
            <a:extLst>
              <a:ext uri="{FF2B5EF4-FFF2-40B4-BE49-F238E27FC236}">
                <a16:creationId xmlns:a16="http://schemas.microsoft.com/office/drawing/2014/main" id="{E46A7EEA-8220-4017-8959-64D5960681C2}"/>
              </a:ext>
            </a:extLst>
          </p:cNvPr>
          <p:cNvSpPr>
            <a:spLocks/>
          </p:cNvSpPr>
          <p:nvPr/>
        </p:nvSpPr>
        <p:spPr bwMode="auto">
          <a:xfrm>
            <a:off x="6356424" y="4742997"/>
            <a:ext cx="207312" cy="277886"/>
          </a:xfrm>
          <a:custGeom>
            <a:avLst/>
            <a:gdLst>
              <a:gd name="T0" fmla="*/ 3 w 63"/>
              <a:gd name="T1" fmla="*/ 0 h 84"/>
              <a:gd name="T2" fmla="*/ 28 w 63"/>
              <a:gd name="T3" fmla="*/ 38 h 84"/>
              <a:gd name="T4" fmla="*/ 63 w 63"/>
              <a:gd name="T5" fmla="*/ 78 h 84"/>
              <a:gd name="T6" fmla="*/ 55 w 63"/>
              <a:gd name="T7" fmla="*/ 84 h 84"/>
              <a:gd name="T8" fmla="*/ 0 w 63"/>
              <a:gd name="T9" fmla="*/ 39 h 84"/>
              <a:gd name="T10" fmla="*/ 3 w 63"/>
              <a:gd name="T11" fmla="*/ 0 h 84"/>
            </a:gdLst>
            <a:ahLst/>
            <a:cxnLst>
              <a:cxn ang="0">
                <a:pos x="T0" y="T1"/>
              </a:cxn>
              <a:cxn ang="0">
                <a:pos x="T2" y="T3"/>
              </a:cxn>
              <a:cxn ang="0">
                <a:pos x="T4" y="T5"/>
              </a:cxn>
              <a:cxn ang="0">
                <a:pos x="T6" y="T7"/>
              </a:cxn>
              <a:cxn ang="0">
                <a:pos x="T8" y="T9"/>
              </a:cxn>
              <a:cxn ang="0">
                <a:pos x="T10" y="T11"/>
              </a:cxn>
            </a:cxnLst>
            <a:rect l="0" t="0" r="r" b="b"/>
            <a:pathLst>
              <a:path w="63" h="84">
                <a:moveTo>
                  <a:pt x="3" y="0"/>
                </a:moveTo>
                <a:cubicBezTo>
                  <a:pt x="28" y="38"/>
                  <a:pt x="28" y="38"/>
                  <a:pt x="28" y="38"/>
                </a:cubicBezTo>
                <a:cubicBezTo>
                  <a:pt x="63" y="78"/>
                  <a:pt x="63" y="78"/>
                  <a:pt x="63" y="78"/>
                </a:cubicBezTo>
                <a:cubicBezTo>
                  <a:pt x="55" y="84"/>
                  <a:pt x="55" y="84"/>
                  <a:pt x="55" y="84"/>
                </a:cubicBezTo>
                <a:cubicBezTo>
                  <a:pt x="55" y="84"/>
                  <a:pt x="9" y="54"/>
                  <a:pt x="0" y="39"/>
                </a:cubicBezTo>
                <a:cubicBezTo>
                  <a:pt x="3" y="0"/>
                  <a:pt x="3" y="0"/>
                  <a:pt x="3" y="0"/>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6" name="Freeform 1595">
            <a:extLst>
              <a:ext uri="{FF2B5EF4-FFF2-40B4-BE49-F238E27FC236}">
                <a16:creationId xmlns:a16="http://schemas.microsoft.com/office/drawing/2014/main" id="{8F88A086-45BD-46A2-BBE3-B0E59744DD19}"/>
              </a:ext>
            </a:extLst>
          </p:cNvPr>
          <p:cNvSpPr>
            <a:spLocks/>
          </p:cNvSpPr>
          <p:nvPr/>
        </p:nvSpPr>
        <p:spPr bwMode="auto">
          <a:xfrm>
            <a:off x="6277029" y="4694476"/>
            <a:ext cx="57343" cy="83808"/>
          </a:xfrm>
          <a:custGeom>
            <a:avLst/>
            <a:gdLst>
              <a:gd name="T0" fmla="*/ 17 w 17"/>
              <a:gd name="T1" fmla="*/ 5 h 26"/>
              <a:gd name="T2" fmla="*/ 17 w 17"/>
              <a:gd name="T3" fmla="*/ 20 h 26"/>
              <a:gd name="T4" fmla="*/ 8 w 17"/>
              <a:gd name="T5" fmla="*/ 25 h 26"/>
              <a:gd name="T6" fmla="*/ 1 w 17"/>
              <a:gd name="T7" fmla="*/ 15 h 26"/>
              <a:gd name="T8" fmla="*/ 1 w 17"/>
              <a:gd name="T9" fmla="*/ 0 h 26"/>
              <a:gd name="T10" fmla="*/ 17 w 17"/>
              <a:gd name="T11" fmla="*/ 5 h 26"/>
            </a:gdLst>
            <a:ahLst/>
            <a:cxnLst>
              <a:cxn ang="0">
                <a:pos x="T0" y="T1"/>
              </a:cxn>
              <a:cxn ang="0">
                <a:pos x="T2" y="T3"/>
              </a:cxn>
              <a:cxn ang="0">
                <a:pos x="T4" y="T5"/>
              </a:cxn>
              <a:cxn ang="0">
                <a:pos x="T6" y="T7"/>
              </a:cxn>
              <a:cxn ang="0">
                <a:pos x="T8" y="T9"/>
              </a:cxn>
              <a:cxn ang="0">
                <a:pos x="T10" y="T11"/>
              </a:cxn>
            </a:cxnLst>
            <a:rect l="0" t="0" r="r" b="b"/>
            <a:pathLst>
              <a:path w="17" h="26">
                <a:moveTo>
                  <a:pt x="17" y="5"/>
                </a:moveTo>
                <a:cubicBezTo>
                  <a:pt x="17" y="5"/>
                  <a:pt x="17" y="17"/>
                  <a:pt x="17" y="20"/>
                </a:cubicBezTo>
                <a:cubicBezTo>
                  <a:pt x="17" y="24"/>
                  <a:pt x="13" y="26"/>
                  <a:pt x="8" y="25"/>
                </a:cubicBezTo>
                <a:cubicBezTo>
                  <a:pt x="4" y="25"/>
                  <a:pt x="1" y="19"/>
                  <a:pt x="1" y="15"/>
                </a:cubicBezTo>
                <a:cubicBezTo>
                  <a:pt x="0" y="11"/>
                  <a:pt x="1" y="0"/>
                  <a:pt x="1" y="0"/>
                </a:cubicBezTo>
                <a:lnTo>
                  <a:pt x="17" y="5"/>
                </a:lnTo>
                <a:close/>
              </a:path>
            </a:pathLst>
          </a:custGeom>
          <a:solidFill>
            <a:srgbClr val="F17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7" name="Freeform 1596">
            <a:extLst>
              <a:ext uri="{FF2B5EF4-FFF2-40B4-BE49-F238E27FC236}">
                <a16:creationId xmlns:a16="http://schemas.microsoft.com/office/drawing/2014/main" id="{A666040E-E29B-4127-AFCE-B348963F4D48}"/>
              </a:ext>
            </a:extLst>
          </p:cNvPr>
          <p:cNvSpPr>
            <a:spLocks/>
          </p:cNvSpPr>
          <p:nvPr/>
        </p:nvSpPr>
        <p:spPr bwMode="auto">
          <a:xfrm>
            <a:off x="6285850" y="4628314"/>
            <a:ext cx="79396" cy="110273"/>
          </a:xfrm>
          <a:custGeom>
            <a:avLst/>
            <a:gdLst>
              <a:gd name="T0" fmla="*/ 25 w 25"/>
              <a:gd name="T1" fmla="*/ 8 h 34"/>
              <a:gd name="T2" fmla="*/ 24 w 25"/>
              <a:gd name="T3" fmla="*/ 15 h 34"/>
              <a:gd name="T4" fmla="*/ 20 w 25"/>
              <a:gd name="T5" fmla="*/ 27 h 34"/>
              <a:gd name="T6" fmla="*/ 16 w 25"/>
              <a:gd name="T7" fmla="*/ 34 h 34"/>
              <a:gd name="T8" fmla="*/ 14 w 25"/>
              <a:gd name="T9" fmla="*/ 34 h 34"/>
              <a:gd name="T10" fmla="*/ 3 w 25"/>
              <a:gd name="T11" fmla="*/ 26 h 34"/>
              <a:gd name="T12" fmla="*/ 0 w 25"/>
              <a:gd name="T13" fmla="*/ 20 h 34"/>
              <a:gd name="T14" fmla="*/ 1 w 25"/>
              <a:gd name="T15" fmla="*/ 0 h 34"/>
              <a:gd name="T16" fmla="*/ 25 w 25"/>
              <a:gd name="T17" fmla="*/ 0 h 34"/>
              <a:gd name="T18" fmla="*/ 25 w 25"/>
              <a:gd name="T1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4">
                <a:moveTo>
                  <a:pt x="25" y="8"/>
                </a:moveTo>
                <a:cubicBezTo>
                  <a:pt x="25" y="9"/>
                  <a:pt x="24" y="15"/>
                  <a:pt x="24" y="15"/>
                </a:cubicBezTo>
                <a:cubicBezTo>
                  <a:pt x="24" y="15"/>
                  <a:pt x="22" y="23"/>
                  <a:pt x="20" y="27"/>
                </a:cubicBezTo>
                <a:cubicBezTo>
                  <a:pt x="20" y="27"/>
                  <a:pt x="18" y="33"/>
                  <a:pt x="16" y="34"/>
                </a:cubicBezTo>
                <a:cubicBezTo>
                  <a:pt x="14" y="34"/>
                  <a:pt x="14" y="34"/>
                  <a:pt x="14" y="34"/>
                </a:cubicBezTo>
                <a:cubicBezTo>
                  <a:pt x="3" y="26"/>
                  <a:pt x="3" y="26"/>
                  <a:pt x="3" y="26"/>
                </a:cubicBezTo>
                <a:cubicBezTo>
                  <a:pt x="0" y="20"/>
                  <a:pt x="0" y="20"/>
                  <a:pt x="0" y="20"/>
                </a:cubicBezTo>
                <a:cubicBezTo>
                  <a:pt x="1" y="0"/>
                  <a:pt x="1" y="0"/>
                  <a:pt x="1" y="0"/>
                </a:cubicBezTo>
                <a:cubicBezTo>
                  <a:pt x="25" y="0"/>
                  <a:pt x="25" y="0"/>
                  <a:pt x="25" y="0"/>
                </a:cubicBezTo>
                <a:lnTo>
                  <a:pt x="25" y="8"/>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8" name="Freeform 1597">
            <a:extLst>
              <a:ext uri="{FF2B5EF4-FFF2-40B4-BE49-F238E27FC236}">
                <a16:creationId xmlns:a16="http://schemas.microsoft.com/office/drawing/2014/main" id="{F605B170-B510-4369-AE90-31F92343CFDF}"/>
              </a:ext>
            </a:extLst>
          </p:cNvPr>
          <p:cNvSpPr>
            <a:spLocks/>
          </p:cNvSpPr>
          <p:nvPr/>
        </p:nvSpPr>
        <p:spPr bwMode="auto">
          <a:xfrm>
            <a:off x="6175577" y="4738584"/>
            <a:ext cx="180847" cy="326404"/>
          </a:xfrm>
          <a:custGeom>
            <a:avLst/>
            <a:gdLst>
              <a:gd name="T0" fmla="*/ 20 w 55"/>
              <a:gd name="T1" fmla="*/ 0 h 99"/>
              <a:gd name="T2" fmla="*/ 20 w 55"/>
              <a:gd name="T3" fmla="*/ 28 h 99"/>
              <a:gd name="T4" fmla="*/ 22 w 55"/>
              <a:gd name="T5" fmla="*/ 67 h 99"/>
              <a:gd name="T6" fmla="*/ 55 w 55"/>
              <a:gd name="T7" fmla="*/ 92 h 99"/>
              <a:gd name="T8" fmla="*/ 49 w 55"/>
              <a:gd name="T9" fmla="*/ 99 h 99"/>
              <a:gd name="T10" fmla="*/ 6 w 55"/>
              <a:gd name="T11" fmla="*/ 75 h 99"/>
              <a:gd name="T12" fmla="*/ 9 w 55"/>
              <a:gd name="T13" fmla="*/ 6 h 99"/>
              <a:gd name="T14" fmla="*/ 20 w 55"/>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99">
                <a:moveTo>
                  <a:pt x="20" y="0"/>
                </a:moveTo>
                <a:cubicBezTo>
                  <a:pt x="20" y="0"/>
                  <a:pt x="22" y="16"/>
                  <a:pt x="20" y="28"/>
                </a:cubicBezTo>
                <a:cubicBezTo>
                  <a:pt x="19" y="39"/>
                  <a:pt x="22" y="67"/>
                  <a:pt x="22" y="67"/>
                </a:cubicBezTo>
                <a:cubicBezTo>
                  <a:pt x="55" y="92"/>
                  <a:pt x="55" y="92"/>
                  <a:pt x="55" y="92"/>
                </a:cubicBezTo>
                <a:cubicBezTo>
                  <a:pt x="49" y="99"/>
                  <a:pt x="49" y="99"/>
                  <a:pt x="49" y="99"/>
                </a:cubicBezTo>
                <a:cubicBezTo>
                  <a:pt x="49" y="99"/>
                  <a:pt x="12" y="82"/>
                  <a:pt x="6" y="75"/>
                </a:cubicBezTo>
                <a:cubicBezTo>
                  <a:pt x="0" y="67"/>
                  <a:pt x="1" y="20"/>
                  <a:pt x="9" y="6"/>
                </a:cubicBezTo>
                <a:cubicBezTo>
                  <a:pt x="10" y="4"/>
                  <a:pt x="20" y="0"/>
                  <a:pt x="20" y="0"/>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9" name="Freeform 1598">
            <a:extLst>
              <a:ext uri="{FF2B5EF4-FFF2-40B4-BE49-F238E27FC236}">
                <a16:creationId xmlns:a16="http://schemas.microsoft.com/office/drawing/2014/main" id="{9A47C137-97F7-47FD-9146-01DCB46F3D1C}"/>
              </a:ext>
            </a:extLst>
          </p:cNvPr>
          <p:cNvSpPr>
            <a:spLocks/>
          </p:cNvSpPr>
          <p:nvPr/>
        </p:nvSpPr>
        <p:spPr bwMode="auto">
          <a:xfrm>
            <a:off x="6259385" y="4579793"/>
            <a:ext cx="110273" cy="127917"/>
          </a:xfrm>
          <a:custGeom>
            <a:avLst/>
            <a:gdLst>
              <a:gd name="T0" fmla="*/ 32 w 33"/>
              <a:gd name="T1" fmla="*/ 20 h 39"/>
              <a:gd name="T2" fmla="*/ 33 w 33"/>
              <a:gd name="T3" fmla="*/ 10 h 39"/>
              <a:gd name="T4" fmla="*/ 4 w 33"/>
              <a:gd name="T5" fmla="*/ 10 h 39"/>
              <a:gd name="T6" fmla="*/ 0 w 33"/>
              <a:gd name="T7" fmla="*/ 30 h 39"/>
              <a:gd name="T8" fmla="*/ 5 w 33"/>
              <a:gd name="T9" fmla="*/ 39 h 39"/>
              <a:gd name="T10" fmla="*/ 7 w 33"/>
              <a:gd name="T11" fmla="*/ 39 h 39"/>
              <a:gd name="T12" fmla="*/ 7 w 33"/>
              <a:gd name="T13" fmla="*/ 30 h 39"/>
              <a:gd name="T14" fmla="*/ 9 w 33"/>
              <a:gd name="T15" fmla="*/ 30 h 39"/>
              <a:gd name="T16" fmla="*/ 8 w 33"/>
              <a:gd name="T17" fmla="*/ 22 h 39"/>
              <a:gd name="T18" fmla="*/ 10 w 33"/>
              <a:gd name="T19" fmla="*/ 19 h 39"/>
              <a:gd name="T20" fmla="*/ 32 w 33"/>
              <a:gd name="T2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32" y="20"/>
                </a:moveTo>
                <a:cubicBezTo>
                  <a:pt x="32" y="19"/>
                  <a:pt x="33" y="10"/>
                  <a:pt x="33" y="10"/>
                </a:cubicBezTo>
                <a:cubicBezTo>
                  <a:pt x="33" y="10"/>
                  <a:pt x="14" y="0"/>
                  <a:pt x="4" y="10"/>
                </a:cubicBezTo>
                <a:cubicBezTo>
                  <a:pt x="1" y="13"/>
                  <a:pt x="0" y="30"/>
                  <a:pt x="0" y="30"/>
                </a:cubicBezTo>
                <a:cubicBezTo>
                  <a:pt x="5" y="39"/>
                  <a:pt x="5" y="39"/>
                  <a:pt x="5" y="39"/>
                </a:cubicBezTo>
                <a:cubicBezTo>
                  <a:pt x="7" y="39"/>
                  <a:pt x="7" y="39"/>
                  <a:pt x="7" y="39"/>
                </a:cubicBezTo>
                <a:cubicBezTo>
                  <a:pt x="7" y="30"/>
                  <a:pt x="7" y="30"/>
                  <a:pt x="7" y="30"/>
                </a:cubicBezTo>
                <a:cubicBezTo>
                  <a:pt x="9" y="30"/>
                  <a:pt x="9" y="30"/>
                  <a:pt x="9" y="30"/>
                </a:cubicBezTo>
                <a:cubicBezTo>
                  <a:pt x="8" y="22"/>
                  <a:pt x="8" y="22"/>
                  <a:pt x="8" y="22"/>
                </a:cubicBezTo>
                <a:cubicBezTo>
                  <a:pt x="10" y="19"/>
                  <a:pt x="10" y="19"/>
                  <a:pt x="10" y="19"/>
                </a:cubicBezTo>
                <a:lnTo>
                  <a:pt x="32" y="2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0" name="Freeform 1599">
            <a:extLst>
              <a:ext uri="{FF2B5EF4-FFF2-40B4-BE49-F238E27FC236}">
                <a16:creationId xmlns:a16="http://schemas.microsoft.com/office/drawing/2014/main" id="{0369A7C3-508D-4FC9-BE87-743D2D6DB50B}"/>
              </a:ext>
            </a:extLst>
          </p:cNvPr>
          <p:cNvSpPr>
            <a:spLocks/>
          </p:cNvSpPr>
          <p:nvPr/>
        </p:nvSpPr>
        <p:spPr bwMode="auto">
          <a:xfrm>
            <a:off x="6272616" y="4668011"/>
            <a:ext cx="13234" cy="35287"/>
          </a:xfrm>
          <a:custGeom>
            <a:avLst/>
            <a:gdLst>
              <a:gd name="T0" fmla="*/ 5 w 5"/>
              <a:gd name="T1" fmla="*/ 3 h 10"/>
              <a:gd name="T2" fmla="*/ 1 w 5"/>
              <a:gd name="T3" fmla="*/ 2 h 10"/>
              <a:gd name="T4" fmla="*/ 2 w 5"/>
              <a:gd name="T5" fmla="*/ 9 h 10"/>
              <a:gd name="T6" fmla="*/ 5 w 5"/>
              <a:gd name="T7" fmla="*/ 10 h 10"/>
              <a:gd name="T8" fmla="*/ 5 w 5"/>
              <a:gd name="T9" fmla="*/ 3 h 10"/>
            </a:gdLst>
            <a:ahLst/>
            <a:cxnLst>
              <a:cxn ang="0">
                <a:pos x="T0" y="T1"/>
              </a:cxn>
              <a:cxn ang="0">
                <a:pos x="T2" y="T3"/>
              </a:cxn>
              <a:cxn ang="0">
                <a:pos x="T4" y="T5"/>
              </a:cxn>
              <a:cxn ang="0">
                <a:pos x="T6" y="T7"/>
              </a:cxn>
              <a:cxn ang="0">
                <a:pos x="T8" y="T9"/>
              </a:cxn>
            </a:cxnLst>
            <a:rect l="0" t="0" r="r" b="b"/>
            <a:pathLst>
              <a:path w="5" h="10">
                <a:moveTo>
                  <a:pt x="5" y="3"/>
                </a:moveTo>
                <a:cubicBezTo>
                  <a:pt x="5" y="3"/>
                  <a:pt x="1" y="0"/>
                  <a:pt x="1" y="2"/>
                </a:cubicBezTo>
                <a:cubicBezTo>
                  <a:pt x="0" y="5"/>
                  <a:pt x="2" y="9"/>
                  <a:pt x="2" y="9"/>
                </a:cubicBezTo>
                <a:cubicBezTo>
                  <a:pt x="5" y="10"/>
                  <a:pt x="5" y="10"/>
                  <a:pt x="5" y="10"/>
                </a:cubicBezTo>
                <a:lnTo>
                  <a:pt x="5" y="3"/>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1" name="Freeform 1600">
            <a:extLst>
              <a:ext uri="{FF2B5EF4-FFF2-40B4-BE49-F238E27FC236}">
                <a16:creationId xmlns:a16="http://schemas.microsoft.com/office/drawing/2014/main" id="{879E3465-BE96-48C5-8B2E-532FAA5C5D6A}"/>
              </a:ext>
            </a:extLst>
          </p:cNvPr>
          <p:cNvSpPr>
            <a:spLocks/>
          </p:cNvSpPr>
          <p:nvPr/>
        </p:nvSpPr>
        <p:spPr bwMode="auto">
          <a:xfrm>
            <a:off x="6290260" y="5087044"/>
            <a:ext cx="35287" cy="154382"/>
          </a:xfrm>
          <a:custGeom>
            <a:avLst/>
            <a:gdLst>
              <a:gd name="T0" fmla="*/ 1 w 8"/>
              <a:gd name="T1" fmla="*/ 21 h 35"/>
              <a:gd name="T2" fmla="*/ 8 w 8"/>
              <a:gd name="T3" fmla="*/ 0 h 35"/>
              <a:gd name="T4" fmla="*/ 0 w 8"/>
              <a:gd name="T5" fmla="*/ 35 h 35"/>
              <a:gd name="T6" fmla="*/ 1 w 8"/>
              <a:gd name="T7" fmla="*/ 21 h 35"/>
            </a:gdLst>
            <a:ahLst/>
            <a:cxnLst>
              <a:cxn ang="0">
                <a:pos x="T0" y="T1"/>
              </a:cxn>
              <a:cxn ang="0">
                <a:pos x="T2" y="T3"/>
              </a:cxn>
              <a:cxn ang="0">
                <a:pos x="T4" y="T5"/>
              </a:cxn>
              <a:cxn ang="0">
                <a:pos x="T6" y="T7"/>
              </a:cxn>
            </a:cxnLst>
            <a:rect l="0" t="0" r="r" b="b"/>
            <a:pathLst>
              <a:path w="8" h="35">
                <a:moveTo>
                  <a:pt x="1" y="21"/>
                </a:moveTo>
                <a:lnTo>
                  <a:pt x="8" y="0"/>
                </a:lnTo>
                <a:lnTo>
                  <a:pt x="0" y="35"/>
                </a:lnTo>
                <a:lnTo>
                  <a:pt x="1" y="21"/>
                </a:lnTo>
                <a:close/>
              </a:path>
            </a:pathLst>
          </a:custGeom>
          <a:solidFill>
            <a:srgbClr val="111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2" name="Freeform 1601">
            <a:extLst>
              <a:ext uri="{FF2B5EF4-FFF2-40B4-BE49-F238E27FC236}">
                <a16:creationId xmlns:a16="http://schemas.microsoft.com/office/drawing/2014/main" id="{1F80F9A6-12B8-4168-AAEC-44FC6E74AFE8}"/>
              </a:ext>
            </a:extLst>
          </p:cNvPr>
          <p:cNvSpPr>
            <a:spLocks/>
          </p:cNvSpPr>
          <p:nvPr/>
        </p:nvSpPr>
        <p:spPr bwMode="auto">
          <a:xfrm>
            <a:off x="6338781" y="5042936"/>
            <a:ext cx="74986" cy="66164"/>
          </a:xfrm>
          <a:custGeom>
            <a:avLst/>
            <a:gdLst>
              <a:gd name="T0" fmla="*/ 5 w 22"/>
              <a:gd name="T1" fmla="*/ 0 h 20"/>
              <a:gd name="T2" fmla="*/ 8 w 22"/>
              <a:gd name="T3" fmla="*/ 1 h 20"/>
              <a:gd name="T4" fmla="*/ 17 w 22"/>
              <a:gd name="T5" fmla="*/ 2 h 20"/>
              <a:gd name="T6" fmla="*/ 17 w 22"/>
              <a:gd name="T7" fmla="*/ 4 h 20"/>
              <a:gd name="T8" fmla="*/ 12 w 22"/>
              <a:gd name="T9" fmla="*/ 4 h 20"/>
              <a:gd name="T10" fmla="*/ 20 w 22"/>
              <a:gd name="T11" fmla="*/ 12 h 20"/>
              <a:gd name="T12" fmla="*/ 15 w 22"/>
              <a:gd name="T13" fmla="*/ 11 h 20"/>
              <a:gd name="T14" fmla="*/ 18 w 22"/>
              <a:gd name="T15" fmla="*/ 17 h 20"/>
              <a:gd name="T16" fmla="*/ 13 w 22"/>
              <a:gd name="T17" fmla="*/ 12 h 20"/>
              <a:gd name="T18" fmla="*/ 16 w 22"/>
              <a:gd name="T19" fmla="*/ 19 h 20"/>
              <a:gd name="T20" fmla="*/ 10 w 22"/>
              <a:gd name="T21" fmla="*/ 14 h 20"/>
              <a:gd name="T22" fmla="*/ 13 w 22"/>
              <a:gd name="T23" fmla="*/ 19 h 20"/>
              <a:gd name="T24" fmla="*/ 6 w 22"/>
              <a:gd name="T25" fmla="*/ 12 h 20"/>
              <a:gd name="T26" fmla="*/ 3 w 22"/>
              <a:gd name="T27" fmla="*/ 8 h 20"/>
              <a:gd name="T28" fmla="*/ 0 w 22"/>
              <a:gd name="T29" fmla="*/ 5 h 20"/>
              <a:gd name="T30" fmla="*/ 5 w 22"/>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0">
                <a:moveTo>
                  <a:pt x="5" y="0"/>
                </a:moveTo>
                <a:cubicBezTo>
                  <a:pt x="8" y="1"/>
                  <a:pt x="8" y="1"/>
                  <a:pt x="8" y="1"/>
                </a:cubicBezTo>
                <a:cubicBezTo>
                  <a:pt x="8" y="1"/>
                  <a:pt x="16" y="2"/>
                  <a:pt x="17" y="2"/>
                </a:cubicBezTo>
                <a:cubicBezTo>
                  <a:pt x="19" y="3"/>
                  <a:pt x="19" y="4"/>
                  <a:pt x="17" y="4"/>
                </a:cubicBezTo>
                <a:cubicBezTo>
                  <a:pt x="15" y="5"/>
                  <a:pt x="12" y="4"/>
                  <a:pt x="12" y="4"/>
                </a:cubicBezTo>
                <a:cubicBezTo>
                  <a:pt x="12" y="4"/>
                  <a:pt x="18" y="10"/>
                  <a:pt x="20" y="12"/>
                </a:cubicBezTo>
                <a:cubicBezTo>
                  <a:pt x="21" y="13"/>
                  <a:pt x="22" y="18"/>
                  <a:pt x="15" y="11"/>
                </a:cubicBezTo>
                <a:cubicBezTo>
                  <a:pt x="15" y="11"/>
                  <a:pt x="20" y="16"/>
                  <a:pt x="18" y="17"/>
                </a:cubicBezTo>
                <a:cubicBezTo>
                  <a:pt x="17" y="18"/>
                  <a:pt x="13" y="12"/>
                  <a:pt x="13" y="12"/>
                </a:cubicBezTo>
                <a:cubicBezTo>
                  <a:pt x="13" y="12"/>
                  <a:pt x="17" y="17"/>
                  <a:pt x="16" y="19"/>
                </a:cubicBezTo>
                <a:cubicBezTo>
                  <a:pt x="15" y="19"/>
                  <a:pt x="10" y="14"/>
                  <a:pt x="10" y="14"/>
                </a:cubicBezTo>
                <a:cubicBezTo>
                  <a:pt x="10" y="14"/>
                  <a:pt x="14" y="20"/>
                  <a:pt x="13" y="19"/>
                </a:cubicBezTo>
                <a:cubicBezTo>
                  <a:pt x="11" y="19"/>
                  <a:pt x="7" y="15"/>
                  <a:pt x="6" y="12"/>
                </a:cubicBezTo>
                <a:cubicBezTo>
                  <a:pt x="4" y="10"/>
                  <a:pt x="3" y="8"/>
                  <a:pt x="3" y="8"/>
                </a:cubicBezTo>
                <a:cubicBezTo>
                  <a:pt x="0" y="5"/>
                  <a:pt x="0" y="5"/>
                  <a:pt x="0" y="5"/>
                </a:cubicBezTo>
                <a:lnTo>
                  <a:pt x="5"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3" name="Freeform 1602">
            <a:extLst>
              <a:ext uri="{FF2B5EF4-FFF2-40B4-BE49-F238E27FC236}">
                <a16:creationId xmlns:a16="http://schemas.microsoft.com/office/drawing/2014/main" id="{EFE10CA1-0907-4005-981C-D830A7D24E97}"/>
              </a:ext>
            </a:extLst>
          </p:cNvPr>
          <p:cNvSpPr>
            <a:spLocks/>
          </p:cNvSpPr>
          <p:nvPr/>
        </p:nvSpPr>
        <p:spPr bwMode="auto">
          <a:xfrm>
            <a:off x="6241742" y="4835623"/>
            <a:ext cx="110273" cy="198490"/>
          </a:xfrm>
          <a:custGeom>
            <a:avLst/>
            <a:gdLst>
              <a:gd name="T0" fmla="*/ 33 w 33"/>
              <a:gd name="T1" fmla="*/ 61 h 61"/>
              <a:gd name="T2" fmla="*/ 2 w 33"/>
              <a:gd name="T3" fmla="*/ 38 h 61"/>
              <a:gd name="T4" fmla="*/ 0 w 33"/>
              <a:gd name="T5" fmla="*/ 0 h 61"/>
              <a:gd name="T6" fmla="*/ 12 w 33"/>
              <a:gd name="T7" fmla="*/ 28 h 61"/>
              <a:gd name="T8" fmla="*/ 32 w 33"/>
              <a:gd name="T9" fmla="*/ 29 h 61"/>
              <a:gd name="T10" fmla="*/ 9 w 33"/>
              <a:gd name="T11" fmla="*/ 38 h 61"/>
              <a:gd name="T12" fmla="*/ 33 w 33"/>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3" h="61">
                <a:moveTo>
                  <a:pt x="33" y="61"/>
                </a:moveTo>
                <a:cubicBezTo>
                  <a:pt x="2" y="38"/>
                  <a:pt x="2" y="38"/>
                  <a:pt x="2" y="38"/>
                </a:cubicBezTo>
                <a:cubicBezTo>
                  <a:pt x="0" y="0"/>
                  <a:pt x="0" y="0"/>
                  <a:pt x="0" y="0"/>
                </a:cubicBezTo>
                <a:cubicBezTo>
                  <a:pt x="0" y="0"/>
                  <a:pt x="3" y="26"/>
                  <a:pt x="12" y="28"/>
                </a:cubicBezTo>
                <a:cubicBezTo>
                  <a:pt x="20" y="30"/>
                  <a:pt x="32" y="29"/>
                  <a:pt x="32" y="29"/>
                </a:cubicBezTo>
                <a:cubicBezTo>
                  <a:pt x="9" y="38"/>
                  <a:pt x="9" y="38"/>
                  <a:pt x="9" y="38"/>
                </a:cubicBezTo>
                <a:lnTo>
                  <a:pt x="33" y="61"/>
                </a:ln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4" name="Freeform 1603">
            <a:extLst>
              <a:ext uri="{FF2B5EF4-FFF2-40B4-BE49-F238E27FC236}">
                <a16:creationId xmlns:a16="http://schemas.microsoft.com/office/drawing/2014/main" id="{88AD4A65-E097-4974-9A9B-BC5DF6D522DF}"/>
              </a:ext>
            </a:extLst>
          </p:cNvPr>
          <p:cNvSpPr>
            <a:spLocks/>
          </p:cNvSpPr>
          <p:nvPr/>
        </p:nvSpPr>
        <p:spPr bwMode="auto">
          <a:xfrm>
            <a:off x="6153524" y="4765050"/>
            <a:ext cx="154382" cy="282295"/>
          </a:xfrm>
          <a:custGeom>
            <a:avLst/>
            <a:gdLst>
              <a:gd name="T0" fmla="*/ 46 w 46"/>
              <a:gd name="T1" fmla="*/ 86 h 86"/>
              <a:gd name="T2" fmla="*/ 12 w 46"/>
              <a:gd name="T3" fmla="*/ 67 h 86"/>
              <a:gd name="T4" fmla="*/ 14 w 46"/>
              <a:gd name="T5" fmla="*/ 0 h 86"/>
              <a:gd name="T6" fmla="*/ 46 w 46"/>
              <a:gd name="T7" fmla="*/ 86 h 86"/>
            </a:gdLst>
            <a:ahLst/>
            <a:cxnLst>
              <a:cxn ang="0">
                <a:pos x="T0" y="T1"/>
              </a:cxn>
              <a:cxn ang="0">
                <a:pos x="T2" y="T3"/>
              </a:cxn>
              <a:cxn ang="0">
                <a:pos x="T4" y="T5"/>
              </a:cxn>
              <a:cxn ang="0">
                <a:pos x="T6" y="T7"/>
              </a:cxn>
            </a:cxnLst>
            <a:rect l="0" t="0" r="r" b="b"/>
            <a:pathLst>
              <a:path w="46" h="86">
                <a:moveTo>
                  <a:pt x="46" y="86"/>
                </a:moveTo>
                <a:cubicBezTo>
                  <a:pt x="34" y="81"/>
                  <a:pt x="16" y="72"/>
                  <a:pt x="12" y="67"/>
                </a:cubicBezTo>
                <a:cubicBezTo>
                  <a:pt x="6" y="60"/>
                  <a:pt x="8" y="15"/>
                  <a:pt x="14" y="0"/>
                </a:cubicBezTo>
                <a:cubicBezTo>
                  <a:pt x="0" y="74"/>
                  <a:pt x="33" y="76"/>
                  <a:pt x="46" y="86"/>
                </a:cubicBez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5" name="Freeform 1604">
            <a:extLst>
              <a:ext uri="{FF2B5EF4-FFF2-40B4-BE49-F238E27FC236}">
                <a16:creationId xmlns:a16="http://schemas.microsoft.com/office/drawing/2014/main" id="{6EB8908B-5F4F-43D9-A012-1DFC6CA4DE4B}"/>
              </a:ext>
            </a:extLst>
          </p:cNvPr>
          <p:cNvSpPr>
            <a:spLocks/>
          </p:cNvSpPr>
          <p:nvPr/>
        </p:nvSpPr>
        <p:spPr bwMode="auto">
          <a:xfrm>
            <a:off x="6365246" y="4742997"/>
            <a:ext cx="44109" cy="176435"/>
          </a:xfrm>
          <a:custGeom>
            <a:avLst/>
            <a:gdLst>
              <a:gd name="T0" fmla="*/ 3 w 13"/>
              <a:gd name="T1" fmla="*/ 19 h 54"/>
              <a:gd name="T2" fmla="*/ 10 w 13"/>
              <a:gd name="T3" fmla="*/ 35 h 54"/>
              <a:gd name="T4" fmla="*/ 1 w 13"/>
              <a:gd name="T5" fmla="*/ 48 h 54"/>
              <a:gd name="T6" fmla="*/ 13 w 13"/>
              <a:gd name="T7" fmla="*/ 54 h 54"/>
              <a:gd name="T8" fmla="*/ 12 w 13"/>
              <a:gd name="T9" fmla="*/ 18 h 54"/>
              <a:gd name="T10" fmla="*/ 0 w 13"/>
              <a:gd name="T11" fmla="*/ 0 h 54"/>
              <a:gd name="T12" fmla="*/ 3 w 13"/>
              <a:gd name="T13" fmla="*/ 19 h 54"/>
            </a:gdLst>
            <a:ahLst/>
            <a:cxnLst>
              <a:cxn ang="0">
                <a:pos x="T0" y="T1"/>
              </a:cxn>
              <a:cxn ang="0">
                <a:pos x="T2" y="T3"/>
              </a:cxn>
              <a:cxn ang="0">
                <a:pos x="T4" y="T5"/>
              </a:cxn>
              <a:cxn ang="0">
                <a:pos x="T6" y="T7"/>
              </a:cxn>
              <a:cxn ang="0">
                <a:pos x="T8" y="T9"/>
              </a:cxn>
              <a:cxn ang="0">
                <a:pos x="T10" y="T11"/>
              </a:cxn>
              <a:cxn ang="0">
                <a:pos x="T12" y="T13"/>
              </a:cxn>
            </a:cxnLst>
            <a:rect l="0" t="0" r="r" b="b"/>
            <a:pathLst>
              <a:path w="13" h="54">
                <a:moveTo>
                  <a:pt x="3" y="19"/>
                </a:moveTo>
                <a:cubicBezTo>
                  <a:pt x="3" y="19"/>
                  <a:pt x="11" y="27"/>
                  <a:pt x="10" y="35"/>
                </a:cubicBezTo>
                <a:cubicBezTo>
                  <a:pt x="10" y="42"/>
                  <a:pt x="1" y="48"/>
                  <a:pt x="1" y="48"/>
                </a:cubicBezTo>
                <a:cubicBezTo>
                  <a:pt x="13" y="54"/>
                  <a:pt x="13" y="54"/>
                  <a:pt x="13" y="54"/>
                </a:cubicBezTo>
                <a:cubicBezTo>
                  <a:pt x="12" y="18"/>
                  <a:pt x="12" y="18"/>
                  <a:pt x="12" y="18"/>
                </a:cubicBezTo>
                <a:cubicBezTo>
                  <a:pt x="0" y="0"/>
                  <a:pt x="0" y="0"/>
                  <a:pt x="0" y="0"/>
                </a:cubicBezTo>
                <a:lnTo>
                  <a:pt x="3" y="19"/>
                </a:ln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6" name="Freeform 1605">
            <a:extLst>
              <a:ext uri="{FF2B5EF4-FFF2-40B4-BE49-F238E27FC236}">
                <a16:creationId xmlns:a16="http://schemas.microsoft.com/office/drawing/2014/main" id="{A634EA0F-91CB-4656-AA7C-4A91B4747F2E}"/>
              </a:ext>
            </a:extLst>
          </p:cNvPr>
          <p:cNvSpPr>
            <a:spLocks/>
          </p:cNvSpPr>
          <p:nvPr/>
        </p:nvSpPr>
        <p:spPr bwMode="auto">
          <a:xfrm>
            <a:off x="6356424" y="5020880"/>
            <a:ext cx="339638" cy="194078"/>
          </a:xfrm>
          <a:custGeom>
            <a:avLst/>
            <a:gdLst>
              <a:gd name="T0" fmla="*/ 46 w 77"/>
              <a:gd name="T1" fmla="*/ 0 h 44"/>
              <a:gd name="T2" fmla="*/ 0 w 77"/>
              <a:gd name="T3" fmla="*/ 27 h 44"/>
              <a:gd name="T4" fmla="*/ 31 w 77"/>
              <a:gd name="T5" fmla="*/ 44 h 44"/>
              <a:gd name="T6" fmla="*/ 77 w 77"/>
              <a:gd name="T7" fmla="*/ 18 h 44"/>
              <a:gd name="T8" fmla="*/ 46 w 77"/>
              <a:gd name="T9" fmla="*/ 0 h 44"/>
            </a:gdLst>
            <a:ahLst/>
            <a:cxnLst>
              <a:cxn ang="0">
                <a:pos x="T0" y="T1"/>
              </a:cxn>
              <a:cxn ang="0">
                <a:pos x="T2" y="T3"/>
              </a:cxn>
              <a:cxn ang="0">
                <a:pos x="T4" y="T5"/>
              </a:cxn>
              <a:cxn ang="0">
                <a:pos x="T6" y="T7"/>
              </a:cxn>
              <a:cxn ang="0">
                <a:pos x="T8" y="T9"/>
              </a:cxn>
            </a:cxnLst>
            <a:rect l="0" t="0" r="r" b="b"/>
            <a:pathLst>
              <a:path w="77" h="44">
                <a:moveTo>
                  <a:pt x="46" y="0"/>
                </a:moveTo>
                <a:lnTo>
                  <a:pt x="0" y="27"/>
                </a:lnTo>
                <a:lnTo>
                  <a:pt x="31" y="44"/>
                </a:lnTo>
                <a:lnTo>
                  <a:pt x="77" y="18"/>
                </a:lnTo>
                <a:lnTo>
                  <a:pt x="46" y="0"/>
                </a:lnTo>
                <a:close/>
              </a:path>
            </a:pathLst>
          </a:custGeom>
          <a:solidFill>
            <a:srgbClr val="90D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7" name="Freeform 1606">
            <a:extLst>
              <a:ext uri="{FF2B5EF4-FFF2-40B4-BE49-F238E27FC236}">
                <a16:creationId xmlns:a16="http://schemas.microsoft.com/office/drawing/2014/main" id="{A0BDC969-8C9E-43BE-A37D-BD0C34F8BA1A}"/>
              </a:ext>
            </a:extLst>
          </p:cNvPr>
          <p:cNvSpPr>
            <a:spLocks/>
          </p:cNvSpPr>
          <p:nvPr/>
        </p:nvSpPr>
        <p:spPr bwMode="auto">
          <a:xfrm>
            <a:off x="6356424" y="5020880"/>
            <a:ext cx="339638" cy="194078"/>
          </a:xfrm>
          <a:custGeom>
            <a:avLst/>
            <a:gdLst>
              <a:gd name="T0" fmla="*/ 46 w 77"/>
              <a:gd name="T1" fmla="*/ 0 h 44"/>
              <a:gd name="T2" fmla="*/ 0 w 77"/>
              <a:gd name="T3" fmla="*/ 27 h 44"/>
              <a:gd name="T4" fmla="*/ 31 w 77"/>
              <a:gd name="T5" fmla="*/ 44 h 44"/>
              <a:gd name="T6" fmla="*/ 77 w 77"/>
              <a:gd name="T7" fmla="*/ 18 h 44"/>
              <a:gd name="T8" fmla="*/ 46 w 77"/>
              <a:gd name="T9" fmla="*/ 0 h 44"/>
            </a:gdLst>
            <a:ahLst/>
            <a:cxnLst>
              <a:cxn ang="0">
                <a:pos x="T0" y="T1"/>
              </a:cxn>
              <a:cxn ang="0">
                <a:pos x="T2" y="T3"/>
              </a:cxn>
              <a:cxn ang="0">
                <a:pos x="T4" y="T5"/>
              </a:cxn>
              <a:cxn ang="0">
                <a:pos x="T6" y="T7"/>
              </a:cxn>
              <a:cxn ang="0">
                <a:pos x="T8" y="T9"/>
              </a:cxn>
            </a:cxnLst>
            <a:rect l="0" t="0" r="r" b="b"/>
            <a:pathLst>
              <a:path w="77" h="44">
                <a:moveTo>
                  <a:pt x="46" y="0"/>
                </a:moveTo>
                <a:lnTo>
                  <a:pt x="0" y="27"/>
                </a:lnTo>
                <a:lnTo>
                  <a:pt x="31" y="44"/>
                </a:lnTo>
                <a:lnTo>
                  <a:pt x="77"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8" name="Freeform 1607">
            <a:extLst>
              <a:ext uri="{FF2B5EF4-FFF2-40B4-BE49-F238E27FC236}">
                <a16:creationId xmlns:a16="http://schemas.microsoft.com/office/drawing/2014/main" id="{CBEDEE08-61EB-46F6-AB87-862591EA8E59}"/>
              </a:ext>
            </a:extLst>
          </p:cNvPr>
          <p:cNvSpPr>
            <a:spLocks/>
          </p:cNvSpPr>
          <p:nvPr/>
        </p:nvSpPr>
        <p:spPr bwMode="auto">
          <a:xfrm>
            <a:off x="6426998" y="5047345"/>
            <a:ext cx="269064" cy="154382"/>
          </a:xfrm>
          <a:custGeom>
            <a:avLst/>
            <a:gdLst>
              <a:gd name="T0" fmla="*/ 61 w 61"/>
              <a:gd name="T1" fmla="*/ 12 h 35"/>
              <a:gd name="T2" fmla="*/ 20 w 61"/>
              <a:gd name="T3" fmla="*/ 35 h 35"/>
              <a:gd name="T4" fmla="*/ 0 w 61"/>
              <a:gd name="T5" fmla="*/ 24 h 35"/>
              <a:gd name="T6" fmla="*/ 41 w 61"/>
              <a:gd name="T7" fmla="*/ 0 h 35"/>
              <a:gd name="T8" fmla="*/ 61 w 61"/>
              <a:gd name="T9" fmla="*/ 12 h 35"/>
            </a:gdLst>
            <a:ahLst/>
            <a:cxnLst>
              <a:cxn ang="0">
                <a:pos x="T0" y="T1"/>
              </a:cxn>
              <a:cxn ang="0">
                <a:pos x="T2" y="T3"/>
              </a:cxn>
              <a:cxn ang="0">
                <a:pos x="T4" y="T5"/>
              </a:cxn>
              <a:cxn ang="0">
                <a:pos x="T6" y="T7"/>
              </a:cxn>
              <a:cxn ang="0">
                <a:pos x="T8" y="T9"/>
              </a:cxn>
            </a:cxnLst>
            <a:rect l="0" t="0" r="r" b="b"/>
            <a:pathLst>
              <a:path w="61" h="35">
                <a:moveTo>
                  <a:pt x="61" y="12"/>
                </a:moveTo>
                <a:lnTo>
                  <a:pt x="20" y="35"/>
                </a:lnTo>
                <a:lnTo>
                  <a:pt x="0" y="24"/>
                </a:lnTo>
                <a:lnTo>
                  <a:pt x="41" y="0"/>
                </a:lnTo>
                <a:lnTo>
                  <a:pt x="61" y="12"/>
                </a:lnTo>
                <a:close/>
              </a:path>
            </a:pathLst>
          </a:custGeom>
          <a:solidFill>
            <a:srgbClr val="4E5D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9" name="Freeform 1608">
            <a:extLst>
              <a:ext uri="{FF2B5EF4-FFF2-40B4-BE49-F238E27FC236}">
                <a16:creationId xmlns:a16="http://schemas.microsoft.com/office/drawing/2014/main" id="{7814F7B9-13D8-4B84-BA47-71AF35711944}"/>
              </a:ext>
            </a:extLst>
          </p:cNvPr>
          <p:cNvSpPr>
            <a:spLocks/>
          </p:cNvSpPr>
          <p:nvPr/>
        </p:nvSpPr>
        <p:spPr bwMode="auto">
          <a:xfrm>
            <a:off x="6426998" y="5047345"/>
            <a:ext cx="269064" cy="154382"/>
          </a:xfrm>
          <a:custGeom>
            <a:avLst/>
            <a:gdLst>
              <a:gd name="T0" fmla="*/ 61 w 61"/>
              <a:gd name="T1" fmla="*/ 12 h 35"/>
              <a:gd name="T2" fmla="*/ 20 w 61"/>
              <a:gd name="T3" fmla="*/ 35 h 35"/>
              <a:gd name="T4" fmla="*/ 0 w 61"/>
              <a:gd name="T5" fmla="*/ 24 h 35"/>
              <a:gd name="T6" fmla="*/ 41 w 61"/>
              <a:gd name="T7" fmla="*/ 0 h 35"/>
              <a:gd name="T8" fmla="*/ 61 w 61"/>
              <a:gd name="T9" fmla="*/ 12 h 35"/>
            </a:gdLst>
            <a:ahLst/>
            <a:cxnLst>
              <a:cxn ang="0">
                <a:pos x="T0" y="T1"/>
              </a:cxn>
              <a:cxn ang="0">
                <a:pos x="T2" y="T3"/>
              </a:cxn>
              <a:cxn ang="0">
                <a:pos x="T4" y="T5"/>
              </a:cxn>
              <a:cxn ang="0">
                <a:pos x="T6" y="T7"/>
              </a:cxn>
              <a:cxn ang="0">
                <a:pos x="T8" y="T9"/>
              </a:cxn>
            </a:cxnLst>
            <a:rect l="0" t="0" r="r" b="b"/>
            <a:pathLst>
              <a:path w="61" h="35">
                <a:moveTo>
                  <a:pt x="61" y="12"/>
                </a:moveTo>
                <a:lnTo>
                  <a:pt x="20" y="35"/>
                </a:lnTo>
                <a:lnTo>
                  <a:pt x="0" y="24"/>
                </a:lnTo>
                <a:lnTo>
                  <a:pt x="41" y="0"/>
                </a:lnTo>
                <a:lnTo>
                  <a:pt x="6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0" name="Freeform 1609">
            <a:extLst>
              <a:ext uri="{FF2B5EF4-FFF2-40B4-BE49-F238E27FC236}">
                <a16:creationId xmlns:a16="http://schemas.microsoft.com/office/drawing/2014/main" id="{51FFFEA0-39F5-45A9-93BC-88F4274DED71}"/>
              </a:ext>
            </a:extLst>
          </p:cNvPr>
          <p:cNvSpPr>
            <a:spLocks/>
          </p:cNvSpPr>
          <p:nvPr/>
        </p:nvSpPr>
        <p:spPr bwMode="auto">
          <a:xfrm>
            <a:off x="6440229" y="5073810"/>
            <a:ext cx="83808" cy="44109"/>
          </a:xfrm>
          <a:custGeom>
            <a:avLst/>
            <a:gdLst>
              <a:gd name="T0" fmla="*/ 12 w 19"/>
              <a:gd name="T1" fmla="*/ 0 h 10"/>
              <a:gd name="T2" fmla="*/ 0 w 19"/>
              <a:gd name="T3" fmla="*/ 6 h 10"/>
              <a:gd name="T4" fmla="*/ 7 w 19"/>
              <a:gd name="T5" fmla="*/ 10 h 10"/>
              <a:gd name="T6" fmla="*/ 19 w 19"/>
              <a:gd name="T7" fmla="*/ 3 h 10"/>
              <a:gd name="T8" fmla="*/ 12 w 19"/>
              <a:gd name="T9" fmla="*/ 0 h 10"/>
            </a:gdLst>
            <a:ahLst/>
            <a:cxnLst>
              <a:cxn ang="0">
                <a:pos x="T0" y="T1"/>
              </a:cxn>
              <a:cxn ang="0">
                <a:pos x="T2" y="T3"/>
              </a:cxn>
              <a:cxn ang="0">
                <a:pos x="T4" y="T5"/>
              </a:cxn>
              <a:cxn ang="0">
                <a:pos x="T6" y="T7"/>
              </a:cxn>
              <a:cxn ang="0">
                <a:pos x="T8" y="T9"/>
              </a:cxn>
            </a:cxnLst>
            <a:rect l="0" t="0" r="r" b="b"/>
            <a:pathLst>
              <a:path w="19" h="10">
                <a:moveTo>
                  <a:pt x="12" y="0"/>
                </a:moveTo>
                <a:lnTo>
                  <a:pt x="0" y="6"/>
                </a:lnTo>
                <a:lnTo>
                  <a:pt x="7" y="10"/>
                </a:lnTo>
                <a:lnTo>
                  <a:pt x="19" y="3"/>
                </a:lnTo>
                <a:lnTo>
                  <a:pt x="12" y="0"/>
                </a:lnTo>
                <a:close/>
              </a:path>
            </a:pathLst>
          </a:custGeom>
          <a:solidFill>
            <a:srgbClr val="79A9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1" name="Freeform 1610">
            <a:extLst>
              <a:ext uri="{FF2B5EF4-FFF2-40B4-BE49-F238E27FC236}">
                <a16:creationId xmlns:a16="http://schemas.microsoft.com/office/drawing/2014/main" id="{5C980B39-4804-449D-BF57-74485E77FD01}"/>
              </a:ext>
            </a:extLst>
          </p:cNvPr>
          <p:cNvSpPr>
            <a:spLocks/>
          </p:cNvSpPr>
          <p:nvPr/>
        </p:nvSpPr>
        <p:spPr bwMode="auto">
          <a:xfrm>
            <a:off x="6440229" y="5073810"/>
            <a:ext cx="83808" cy="44109"/>
          </a:xfrm>
          <a:custGeom>
            <a:avLst/>
            <a:gdLst>
              <a:gd name="T0" fmla="*/ 12 w 19"/>
              <a:gd name="T1" fmla="*/ 0 h 10"/>
              <a:gd name="T2" fmla="*/ 0 w 19"/>
              <a:gd name="T3" fmla="*/ 6 h 10"/>
              <a:gd name="T4" fmla="*/ 7 w 19"/>
              <a:gd name="T5" fmla="*/ 10 h 10"/>
              <a:gd name="T6" fmla="*/ 19 w 19"/>
              <a:gd name="T7" fmla="*/ 3 h 10"/>
              <a:gd name="T8" fmla="*/ 12 w 19"/>
              <a:gd name="T9" fmla="*/ 0 h 10"/>
            </a:gdLst>
            <a:ahLst/>
            <a:cxnLst>
              <a:cxn ang="0">
                <a:pos x="T0" y="T1"/>
              </a:cxn>
              <a:cxn ang="0">
                <a:pos x="T2" y="T3"/>
              </a:cxn>
              <a:cxn ang="0">
                <a:pos x="T4" y="T5"/>
              </a:cxn>
              <a:cxn ang="0">
                <a:pos x="T6" y="T7"/>
              </a:cxn>
              <a:cxn ang="0">
                <a:pos x="T8" y="T9"/>
              </a:cxn>
            </a:cxnLst>
            <a:rect l="0" t="0" r="r" b="b"/>
            <a:pathLst>
              <a:path w="19" h="10">
                <a:moveTo>
                  <a:pt x="12" y="0"/>
                </a:moveTo>
                <a:lnTo>
                  <a:pt x="0" y="6"/>
                </a:lnTo>
                <a:lnTo>
                  <a:pt x="7" y="10"/>
                </a:lnTo>
                <a:lnTo>
                  <a:pt x="19"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2" name="Freeform 1611">
            <a:extLst>
              <a:ext uri="{FF2B5EF4-FFF2-40B4-BE49-F238E27FC236}">
                <a16:creationId xmlns:a16="http://schemas.microsoft.com/office/drawing/2014/main" id="{90B0509D-80AB-45C2-B10D-BC2DD3CCBC29}"/>
              </a:ext>
            </a:extLst>
          </p:cNvPr>
          <p:cNvSpPr>
            <a:spLocks/>
          </p:cNvSpPr>
          <p:nvPr/>
        </p:nvSpPr>
        <p:spPr bwMode="auto">
          <a:xfrm>
            <a:off x="6493160" y="4941484"/>
            <a:ext cx="202900" cy="273474"/>
          </a:xfrm>
          <a:custGeom>
            <a:avLst/>
            <a:gdLst>
              <a:gd name="T0" fmla="*/ 46 w 46"/>
              <a:gd name="T1" fmla="*/ 0 h 62"/>
              <a:gd name="T2" fmla="*/ 0 w 46"/>
              <a:gd name="T3" fmla="*/ 27 h 62"/>
              <a:gd name="T4" fmla="*/ 0 w 46"/>
              <a:gd name="T5" fmla="*/ 62 h 62"/>
              <a:gd name="T6" fmla="*/ 46 w 46"/>
              <a:gd name="T7" fmla="*/ 36 h 62"/>
              <a:gd name="T8" fmla="*/ 46 w 46"/>
              <a:gd name="T9" fmla="*/ 0 h 62"/>
            </a:gdLst>
            <a:ahLst/>
            <a:cxnLst>
              <a:cxn ang="0">
                <a:pos x="T0" y="T1"/>
              </a:cxn>
              <a:cxn ang="0">
                <a:pos x="T2" y="T3"/>
              </a:cxn>
              <a:cxn ang="0">
                <a:pos x="T4" y="T5"/>
              </a:cxn>
              <a:cxn ang="0">
                <a:pos x="T6" y="T7"/>
              </a:cxn>
              <a:cxn ang="0">
                <a:pos x="T8" y="T9"/>
              </a:cxn>
            </a:cxnLst>
            <a:rect l="0" t="0" r="r" b="b"/>
            <a:pathLst>
              <a:path w="46" h="62">
                <a:moveTo>
                  <a:pt x="46" y="0"/>
                </a:moveTo>
                <a:lnTo>
                  <a:pt x="0" y="27"/>
                </a:lnTo>
                <a:lnTo>
                  <a:pt x="0" y="62"/>
                </a:lnTo>
                <a:lnTo>
                  <a:pt x="46" y="36"/>
                </a:lnTo>
                <a:lnTo>
                  <a:pt x="46" y="0"/>
                </a:lnTo>
                <a:close/>
              </a:path>
            </a:pathLst>
          </a:custGeom>
          <a:solidFill>
            <a:srgbClr val="7E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3" name="Freeform 1612">
            <a:extLst>
              <a:ext uri="{FF2B5EF4-FFF2-40B4-BE49-F238E27FC236}">
                <a16:creationId xmlns:a16="http://schemas.microsoft.com/office/drawing/2014/main" id="{1FD7FBCE-3A5C-46DE-B199-C775239E1935}"/>
              </a:ext>
            </a:extLst>
          </p:cNvPr>
          <p:cNvSpPr>
            <a:spLocks noEditPoints="1"/>
          </p:cNvSpPr>
          <p:nvPr/>
        </p:nvSpPr>
        <p:spPr bwMode="auto">
          <a:xfrm>
            <a:off x="6426998" y="4694476"/>
            <a:ext cx="251421" cy="339638"/>
          </a:xfrm>
          <a:custGeom>
            <a:avLst/>
            <a:gdLst>
              <a:gd name="T0" fmla="*/ 0 w 77"/>
              <a:gd name="T1" fmla="*/ 74 h 104"/>
              <a:gd name="T2" fmla="*/ 0 w 77"/>
              <a:gd name="T3" fmla="*/ 104 h 104"/>
              <a:gd name="T4" fmla="*/ 23 w 77"/>
              <a:gd name="T5" fmla="*/ 91 h 104"/>
              <a:gd name="T6" fmla="*/ 0 w 77"/>
              <a:gd name="T7" fmla="*/ 74 h 104"/>
              <a:gd name="T8" fmla="*/ 77 w 77"/>
              <a:gd name="T9" fmla="*/ 0 h 104"/>
              <a:gd name="T10" fmla="*/ 1 w 77"/>
              <a:gd name="T11" fmla="*/ 44 h 104"/>
              <a:gd name="T12" fmla="*/ 7 w 77"/>
              <a:gd name="T13" fmla="*/ 53 h 104"/>
              <a:gd name="T14" fmla="*/ 35 w 77"/>
              <a:gd name="T15" fmla="*/ 84 h 104"/>
              <a:gd name="T16" fmla="*/ 77 w 77"/>
              <a:gd name="T17" fmla="*/ 60 h 104"/>
              <a:gd name="T18" fmla="*/ 77 w 77"/>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4">
                <a:moveTo>
                  <a:pt x="0" y="74"/>
                </a:moveTo>
                <a:cubicBezTo>
                  <a:pt x="0" y="104"/>
                  <a:pt x="0" y="104"/>
                  <a:pt x="0" y="104"/>
                </a:cubicBezTo>
                <a:cubicBezTo>
                  <a:pt x="23" y="91"/>
                  <a:pt x="23" y="91"/>
                  <a:pt x="23" y="91"/>
                </a:cubicBezTo>
                <a:cubicBezTo>
                  <a:pt x="16" y="87"/>
                  <a:pt x="8" y="81"/>
                  <a:pt x="0" y="74"/>
                </a:cubicBezTo>
                <a:moveTo>
                  <a:pt x="77" y="0"/>
                </a:moveTo>
                <a:cubicBezTo>
                  <a:pt x="1" y="44"/>
                  <a:pt x="1" y="44"/>
                  <a:pt x="1" y="44"/>
                </a:cubicBezTo>
                <a:cubicBezTo>
                  <a:pt x="7" y="53"/>
                  <a:pt x="7" y="53"/>
                  <a:pt x="7" y="53"/>
                </a:cubicBezTo>
                <a:cubicBezTo>
                  <a:pt x="35" y="84"/>
                  <a:pt x="35" y="84"/>
                  <a:pt x="35" y="84"/>
                </a:cubicBezTo>
                <a:cubicBezTo>
                  <a:pt x="77" y="60"/>
                  <a:pt x="77" y="60"/>
                  <a:pt x="77" y="60"/>
                </a:cubicBezTo>
                <a:cubicBezTo>
                  <a:pt x="77" y="0"/>
                  <a:pt x="77" y="0"/>
                  <a:pt x="77" y="0"/>
                </a:cubicBezTo>
              </a:path>
            </a:pathLst>
          </a:custGeom>
          <a:solidFill>
            <a:srgbClr val="C7E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4" name="Freeform 1613">
            <a:extLst>
              <a:ext uri="{FF2B5EF4-FFF2-40B4-BE49-F238E27FC236}">
                <a16:creationId xmlns:a16="http://schemas.microsoft.com/office/drawing/2014/main" id="{7FD1ECB8-042F-477B-A26A-EDD5D270CA6E}"/>
              </a:ext>
            </a:extLst>
          </p:cNvPr>
          <p:cNvSpPr>
            <a:spLocks/>
          </p:cNvSpPr>
          <p:nvPr/>
        </p:nvSpPr>
        <p:spPr bwMode="auto">
          <a:xfrm>
            <a:off x="6426998" y="4835623"/>
            <a:ext cx="114683" cy="158791"/>
          </a:xfrm>
          <a:custGeom>
            <a:avLst/>
            <a:gdLst>
              <a:gd name="T0" fmla="*/ 1 w 35"/>
              <a:gd name="T1" fmla="*/ 0 h 47"/>
              <a:gd name="T2" fmla="*/ 0 w 35"/>
              <a:gd name="T3" fmla="*/ 1 h 47"/>
              <a:gd name="T4" fmla="*/ 0 w 35"/>
              <a:gd name="T5" fmla="*/ 30 h 47"/>
              <a:gd name="T6" fmla="*/ 23 w 35"/>
              <a:gd name="T7" fmla="*/ 47 h 47"/>
              <a:gd name="T8" fmla="*/ 35 w 35"/>
              <a:gd name="T9" fmla="*/ 40 h 47"/>
              <a:gd name="T10" fmla="*/ 7 w 35"/>
              <a:gd name="T11" fmla="*/ 9 h 47"/>
              <a:gd name="T12" fmla="*/ 1 w 3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5" h="47">
                <a:moveTo>
                  <a:pt x="1" y="0"/>
                </a:moveTo>
                <a:cubicBezTo>
                  <a:pt x="0" y="1"/>
                  <a:pt x="0" y="1"/>
                  <a:pt x="0" y="1"/>
                </a:cubicBezTo>
                <a:cubicBezTo>
                  <a:pt x="0" y="30"/>
                  <a:pt x="0" y="30"/>
                  <a:pt x="0" y="30"/>
                </a:cubicBezTo>
                <a:cubicBezTo>
                  <a:pt x="8" y="37"/>
                  <a:pt x="16" y="43"/>
                  <a:pt x="23" y="47"/>
                </a:cubicBezTo>
                <a:cubicBezTo>
                  <a:pt x="35" y="40"/>
                  <a:pt x="35" y="40"/>
                  <a:pt x="35" y="40"/>
                </a:cubicBezTo>
                <a:cubicBezTo>
                  <a:pt x="7" y="9"/>
                  <a:pt x="7" y="9"/>
                  <a:pt x="7" y="9"/>
                </a:cubicBezTo>
                <a:cubicBezTo>
                  <a:pt x="1" y="0"/>
                  <a:pt x="1" y="0"/>
                  <a:pt x="1" y="0"/>
                </a:cubicBezTo>
              </a:path>
            </a:pathLst>
          </a:custGeom>
          <a:solidFill>
            <a:srgbClr val="CB9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5" name="Freeform 1614">
            <a:extLst>
              <a:ext uri="{FF2B5EF4-FFF2-40B4-BE49-F238E27FC236}">
                <a16:creationId xmlns:a16="http://schemas.microsoft.com/office/drawing/2014/main" id="{C5D2D27B-5662-461D-B31B-6365BF50224B}"/>
              </a:ext>
            </a:extLst>
          </p:cNvPr>
          <p:cNvSpPr>
            <a:spLocks/>
          </p:cNvSpPr>
          <p:nvPr/>
        </p:nvSpPr>
        <p:spPr bwMode="auto">
          <a:xfrm>
            <a:off x="6224098" y="4606258"/>
            <a:ext cx="97039" cy="224956"/>
          </a:xfrm>
          <a:custGeom>
            <a:avLst/>
            <a:gdLst>
              <a:gd name="T0" fmla="*/ 17 w 29"/>
              <a:gd name="T1" fmla="*/ 0 h 68"/>
              <a:gd name="T2" fmla="*/ 10 w 29"/>
              <a:gd name="T3" fmla="*/ 68 h 68"/>
              <a:gd name="T4" fmla="*/ 27 w 29"/>
              <a:gd name="T5" fmla="*/ 66 h 68"/>
              <a:gd name="T6" fmla="*/ 22 w 29"/>
              <a:gd name="T7" fmla="*/ 21 h 68"/>
              <a:gd name="T8" fmla="*/ 29 w 29"/>
              <a:gd name="T9" fmla="*/ 11 h 68"/>
              <a:gd name="T10" fmla="*/ 17 w 29"/>
              <a:gd name="T11" fmla="*/ 0 h 68"/>
            </a:gdLst>
            <a:ahLst/>
            <a:cxnLst>
              <a:cxn ang="0">
                <a:pos x="T0" y="T1"/>
              </a:cxn>
              <a:cxn ang="0">
                <a:pos x="T2" y="T3"/>
              </a:cxn>
              <a:cxn ang="0">
                <a:pos x="T4" y="T5"/>
              </a:cxn>
              <a:cxn ang="0">
                <a:pos x="T6" y="T7"/>
              </a:cxn>
              <a:cxn ang="0">
                <a:pos x="T8" y="T9"/>
              </a:cxn>
              <a:cxn ang="0">
                <a:pos x="T10" y="T11"/>
              </a:cxn>
            </a:cxnLst>
            <a:rect l="0" t="0" r="r" b="b"/>
            <a:pathLst>
              <a:path w="29" h="68">
                <a:moveTo>
                  <a:pt x="17" y="0"/>
                </a:moveTo>
                <a:cubicBezTo>
                  <a:pt x="17" y="0"/>
                  <a:pt x="0" y="29"/>
                  <a:pt x="10" y="68"/>
                </a:cubicBezTo>
                <a:cubicBezTo>
                  <a:pt x="27" y="66"/>
                  <a:pt x="27" y="66"/>
                  <a:pt x="27" y="66"/>
                </a:cubicBezTo>
                <a:cubicBezTo>
                  <a:pt x="27" y="66"/>
                  <a:pt x="21" y="33"/>
                  <a:pt x="22" y="21"/>
                </a:cubicBezTo>
                <a:cubicBezTo>
                  <a:pt x="23" y="9"/>
                  <a:pt x="29" y="11"/>
                  <a:pt x="29" y="11"/>
                </a:cubicBezTo>
                <a:lnTo>
                  <a:pt x="17" y="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6" name="Freeform 1615">
            <a:extLst>
              <a:ext uri="{FF2B5EF4-FFF2-40B4-BE49-F238E27FC236}">
                <a16:creationId xmlns:a16="http://schemas.microsoft.com/office/drawing/2014/main" id="{BE17A647-AD69-46D7-B230-F6AB6273C245}"/>
              </a:ext>
            </a:extLst>
          </p:cNvPr>
          <p:cNvSpPr>
            <a:spLocks/>
          </p:cNvSpPr>
          <p:nvPr/>
        </p:nvSpPr>
        <p:spPr bwMode="auto">
          <a:xfrm>
            <a:off x="6113825" y="5576649"/>
            <a:ext cx="70574" cy="70574"/>
          </a:xfrm>
          <a:custGeom>
            <a:avLst/>
            <a:gdLst>
              <a:gd name="T0" fmla="*/ 4 w 22"/>
              <a:gd name="T1" fmla="*/ 0 h 21"/>
              <a:gd name="T2" fmla="*/ 2 w 22"/>
              <a:gd name="T3" fmla="*/ 8 h 21"/>
              <a:gd name="T4" fmla="*/ 17 w 22"/>
              <a:gd name="T5" fmla="*/ 18 h 21"/>
              <a:gd name="T6" fmla="*/ 21 w 22"/>
              <a:gd name="T7" fmla="*/ 16 h 21"/>
              <a:gd name="T8" fmla="*/ 12 w 22"/>
              <a:gd name="T9" fmla="*/ 5 h 21"/>
              <a:gd name="T10" fmla="*/ 4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4" y="0"/>
                </a:moveTo>
                <a:cubicBezTo>
                  <a:pt x="3" y="2"/>
                  <a:pt x="0" y="4"/>
                  <a:pt x="2" y="8"/>
                </a:cubicBezTo>
                <a:cubicBezTo>
                  <a:pt x="5" y="11"/>
                  <a:pt x="14" y="16"/>
                  <a:pt x="17" y="18"/>
                </a:cubicBezTo>
                <a:cubicBezTo>
                  <a:pt x="20" y="21"/>
                  <a:pt x="22" y="20"/>
                  <a:pt x="21" y="16"/>
                </a:cubicBezTo>
                <a:cubicBezTo>
                  <a:pt x="20" y="13"/>
                  <a:pt x="12" y="5"/>
                  <a:pt x="12" y="5"/>
                </a:cubicBezTo>
                <a:lnTo>
                  <a:pt x="4"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7" name="Freeform 1616">
            <a:extLst>
              <a:ext uri="{FF2B5EF4-FFF2-40B4-BE49-F238E27FC236}">
                <a16:creationId xmlns:a16="http://schemas.microsoft.com/office/drawing/2014/main" id="{142E3210-1ED7-4D54-8F39-D0DC142BC028}"/>
              </a:ext>
            </a:extLst>
          </p:cNvPr>
          <p:cNvSpPr>
            <a:spLocks/>
          </p:cNvSpPr>
          <p:nvPr/>
        </p:nvSpPr>
        <p:spPr bwMode="auto">
          <a:xfrm>
            <a:off x="6140290" y="5585471"/>
            <a:ext cx="35287" cy="35287"/>
          </a:xfrm>
          <a:custGeom>
            <a:avLst/>
            <a:gdLst>
              <a:gd name="T0" fmla="*/ 0 w 10"/>
              <a:gd name="T1" fmla="*/ 0 h 10"/>
              <a:gd name="T2" fmla="*/ 10 w 10"/>
              <a:gd name="T3" fmla="*/ 10 h 10"/>
              <a:gd name="T4" fmla="*/ 3 w 10"/>
              <a:gd name="T5" fmla="*/ 2 h 10"/>
              <a:gd name="T6" fmla="*/ 1 w 10"/>
              <a:gd name="T7" fmla="*/ 1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cubicBezTo>
                  <a:pt x="0" y="0"/>
                  <a:pt x="4" y="9"/>
                  <a:pt x="10" y="10"/>
                </a:cubicBezTo>
                <a:cubicBezTo>
                  <a:pt x="8" y="7"/>
                  <a:pt x="4" y="3"/>
                  <a:pt x="3" y="2"/>
                </a:cubicBezTo>
                <a:cubicBezTo>
                  <a:pt x="2" y="2"/>
                  <a:pt x="2" y="1"/>
                  <a:pt x="1" y="1"/>
                </a:cubicBezTo>
                <a:lnTo>
                  <a:pt x="0"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8" name="Freeform 1617">
            <a:extLst>
              <a:ext uri="{FF2B5EF4-FFF2-40B4-BE49-F238E27FC236}">
                <a16:creationId xmlns:a16="http://schemas.microsoft.com/office/drawing/2014/main" id="{49BB4A88-48EC-48D1-9538-18370FE31D8D}"/>
              </a:ext>
            </a:extLst>
          </p:cNvPr>
          <p:cNvSpPr>
            <a:spLocks/>
          </p:cNvSpPr>
          <p:nvPr/>
        </p:nvSpPr>
        <p:spPr bwMode="auto">
          <a:xfrm>
            <a:off x="6140290" y="5581061"/>
            <a:ext cx="17643" cy="13234"/>
          </a:xfrm>
          <a:custGeom>
            <a:avLst/>
            <a:gdLst>
              <a:gd name="T0" fmla="*/ 0 w 4"/>
              <a:gd name="T1" fmla="*/ 1 h 3"/>
              <a:gd name="T2" fmla="*/ 3 w 4"/>
              <a:gd name="T3" fmla="*/ 3 h 3"/>
              <a:gd name="T4" fmla="*/ 4 w 4"/>
              <a:gd name="T5" fmla="*/ 0 h 3"/>
              <a:gd name="T6" fmla="*/ 0 w 4"/>
              <a:gd name="T7" fmla="*/ 1 h 3"/>
            </a:gdLst>
            <a:ahLst/>
            <a:cxnLst>
              <a:cxn ang="0">
                <a:pos x="T0" y="T1"/>
              </a:cxn>
              <a:cxn ang="0">
                <a:pos x="T2" y="T3"/>
              </a:cxn>
              <a:cxn ang="0">
                <a:pos x="T4" y="T5"/>
              </a:cxn>
              <a:cxn ang="0">
                <a:pos x="T6" y="T7"/>
              </a:cxn>
            </a:cxnLst>
            <a:rect l="0" t="0" r="r" b="b"/>
            <a:pathLst>
              <a:path w="4" h="3">
                <a:moveTo>
                  <a:pt x="0" y="1"/>
                </a:moveTo>
                <a:lnTo>
                  <a:pt x="3" y="3"/>
                </a:lnTo>
                <a:lnTo>
                  <a:pt x="4" y="0"/>
                </a:lnTo>
                <a:lnTo>
                  <a:pt x="0" y="1"/>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9" name="Freeform 1618">
            <a:extLst>
              <a:ext uri="{FF2B5EF4-FFF2-40B4-BE49-F238E27FC236}">
                <a16:creationId xmlns:a16="http://schemas.microsoft.com/office/drawing/2014/main" id="{DA97EE89-B87D-4A86-9B30-5D43C94722F6}"/>
              </a:ext>
            </a:extLst>
          </p:cNvPr>
          <p:cNvSpPr>
            <a:spLocks/>
          </p:cNvSpPr>
          <p:nvPr/>
        </p:nvSpPr>
        <p:spPr bwMode="auto">
          <a:xfrm>
            <a:off x="6060895" y="5356106"/>
            <a:ext cx="26465" cy="83808"/>
          </a:xfrm>
          <a:custGeom>
            <a:avLst/>
            <a:gdLst>
              <a:gd name="T0" fmla="*/ 6 w 8"/>
              <a:gd name="T1" fmla="*/ 0 h 26"/>
              <a:gd name="T2" fmla="*/ 1 w 8"/>
              <a:gd name="T3" fmla="*/ 5 h 26"/>
              <a:gd name="T4" fmla="*/ 2 w 8"/>
              <a:gd name="T5" fmla="*/ 22 h 26"/>
              <a:gd name="T6" fmla="*/ 6 w 8"/>
              <a:gd name="T7" fmla="*/ 23 h 26"/>
              <a:gd name="T8" fmla="*/ 8 w 8"/>
              <a:gd name="T9" fmla="*/ 10 h 26"/>
              <a:gd name="T10" fmla="*/ 6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6" y="0"/>
                </a:moveTo>
                <a:cubicBezTo>
                  <a:pt x="4" y="1"/>
                  <a:pt x="1" y="1"/>
                  <a:pt x="1" y="5"/>
                </a:cubicBezTo>
                <a:cubicBezTo>
                  <a:pt x="0" y="9"/>
                  <a:pt x="1" y="18"/>
                  <a:pt x="2" y="22"/>
                </a:cubicBezTo>
                <a:cubicBezTo>
                  <a:pt x="2" y="26"/>
                  <a:pt x="4" y="26"/>
                  <a:pt x="6" y="23"/>
                </a:cubicBezTo>
                <a:cubicBezTo>
                  <a:pt x="7" y="20"/>
                  <a:pt x="8" y="10"/>
                  <a:pt x="8" y="10"/>
                </a:cubicBezTo>
                <a:lnTo>
                  <a:pt x="6"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0" name="Freeform 1619">
            <a:extLst>
              <a:ext uri="{FF2B5EF4-FFF2-40B4-BE49-F238E27FC236}">
                <a16:creationId xmlns:a16="http://schemas.microsoft.com/office/drawing/2014/main" id="{DF951709-A6E4-4564-9D40-77D16FA924BC}"/>
              </a:ext>
            </a:extLst>
          </p:cNvPr>
          <p:cNvSpPr>
            <a:spLocks/>
          </p:cNvSpPr>
          <p:nvPr/>
        </p:nvSpPr>
        <p:spPr bwMode="auto">
          <a:xfrm>
            <a:off x="6074129" y="5373749"/>
            <a:ext cx="13234" cy="48521"/>
          </a:xfrm>
          <a:custGeom>
            <a:avLst/>
            <a:gdLst>
              <a:gd name="T0" fmla="*/ 3 w 4"/>
              <a:gd name="T1" fmla="*/ 0 h 14"/>
              <a:gd name="T2" fmla="*/ 3 w 4"/>
              <a:gd name="T3" fmla="*/ 14 h 14"/>
              <a:gd name="T4" fmla="*/ 4 w 4"/>
              <a:gd name="T5" fmla="*/ 4 h 14"/>
              <a:gd name="T6" fmla="*/ 4 w 4"/>
              <a:gd name="T7" fmla="*/ 1 h 14"/>
              <a:gd name="T8" fmla="*/ 3 w 4"/>
              <a:gd name="T9" fmla="*/ 0 h 14"/>
            </a:gdLst>
            <a:ahLst/>
            <a:cxnLst>
              <a:cxn ang="0">
                <a:pos x="T0" y="T1"/>
              </a:cxn>
              <a:cxn ang="0">
                <a:pos x="T2" y="T3"/>
              </a:cxn>
              <a:cxn ang="0">
                <a:pos x="T4" y="T5"/>
              </a:cxn>
              <a:cxn ang="0">
                <a:pos x="T6" y="T7"/>
              </a:cxn>
              <a:cxn ang="0">
                <a:pos x="T8" y="T9"/>
              </a:cxn>
            </a:cxnLst>
            <a:rect l="0" t="0" r="r" b="b"/>
            <a:pathLst>
              <a:path w="4" h="14">
                <a:moveTo>
                  <a:pt x="3" y="0"/>
                </a:moveTo>
                <a:cubicBezTo>
                  <a:pt x="3" y="0"/>
                  <a:pt x="0" y="8"/>
                  <a:pt x="3" y="14"/>
                </a:cubicBezTo>
                <a:cubicBezTo>
                  <a:pt x="4" y="10"/>
                  <a:pt x="4" y="5"/>
                  <a:pt x="4" y="4"/>
                </a:cubicBezTo>
                <a:cubicBezTo>
                  <a:pt x="4" y="3"/>
                  <a:pt x="4" y="2"/>
                  <a:pt x="4" y="1"/>
                </a:cubicBezTo>
                <a:lnTo>
                  <a:pt x="3"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1" name="Freeform 1620">
            <a:extLst>
              <a:ext uri="{FF2B5EF4-FFF2-40B4-BE49-F238E27FC236}">
                <a16:creationId xmlns:a16="http://schemas.microsoft.com/office/drawing/2014/main" id="{0BEDF2BE-3215-437B-88EE-66A3387291DD}"/>
              </a:ext>
            </a:extLst>
          </p:cNvPr>
          <p:cNvSpPr>
            <a:spLocks/>
          </p:cNvSpPr>
          <p:nvPr/>
        </p:nvSpPr>
        <p:spPr bwMode="auto">
          <a:xfrm>
            <a:off x="6087360" y="5373749"/>
            <a:ext cx="13234" cy="13234"/>
          </a:xfrm>
          <a:custGeom>
            <a:avLst/>
            <a:gdLst>
              <a:gd name="T0" fmla="*/ 0 w 3"/>
              <a:gd name="T1" fmla="*/ 0 h 3"/>
              <a:gd name="T2" fmla="*/ 0 w 3"/>
              <a:gd name="T3" fmla="*/ 3 h 3"/>
              <a:gd name="T4" fmla="*/ 3 w 3"/>
              <a:gd name="T5" fmla="*/ 2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2"/>
                </a:lnTo>
                <a:lnTo>
                  <a:pt x="0"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2" name="Freeform 1621">
            <a:extLst>
              <a:ext uri="{FF2B5EF4-FFF2-40B4-BE49-F238E27FC236}">
                <a16:creationId xmlns:a16="http://schemas.microsoft.com/office/drawing/2014/main" id="{020F0A8B-9441-4D9D-BA8F-B1B32CBBDA9C}"/>
              </a:ext>
            </a:extLst>
          </p:cNvPr>
          <p:cNvSpPr>
            <a:spLocks/>
          </p:cNvSpPr>
          <p:nvPr/>
        </p:nvSpPr>
        <p:spPr bwMode="auto">
          <a:xfrm>
            <a:off x="7948746" y="4487166"/>
            <a:ext cx="229365" cy="1093895"/>
          </a:xfrm>
          <a:custGeom>
            <a:avLst/>
            <a:gdLst>
              <a:gd name="T0" fmla="*/ 52 w 52"/>
              <a:gd name="T1" fmla="*/ 219 h 248"/>
              <a:gd name="T2" fmla="*/ 1 w 52"/>
              <a:gd name="T3" fmla="*/ 248 h 248"/>
              <a:gd name="T4" fmla="*/ 1 w 52"/>
              <a:gd name="T5" fmla="*/ 125 h 248"/>
              <a:gd name="T6" fmla="*/ 0 w 52"/>
              <a:gd name="T7" fmla="*/ 29 h 248"/>
              <a:gd name="T8" fmla="*/ 51 w 52"/>
              <a:gd name="T9" fmla="*/ 0 h 248"/>
              <a:gd name="T10" fmla="*/ 52 w 52"/>
              <a:gd name="T11" fmla="*/ 83 h 248"/>
              <a:gd name="T12" fmla="*/ 52 w 52"/>
              <a:gd name="T13" fmla="*/ 219 h 248"/>
            </a:gdLst>
            <a:ahLst/>
            <a:cxnLst>
              <a:cxn ang="0">
                <a:pos x="T0" y="T1"/>
              </a:cxn>
              <a:cxn ang="0">
                <a:pos x="T2" y="T3"/>
              </a:cxn>
              <a:cxn ang="0">
                <a:pos x="T4" y="T5"/>
              </a:cxn>
              <a:cxn ang="0">
                <a:pos x="T6" y="T7"/>
              </a:cxn>
              <a:cxn ang="0">
                <a:pos x="T8" y="T9"/>
              </a:cxn>
              <a:cxn ang="0">
                <a:pos x="T10" y="T11"/>
              </a:cxn>
              <a:cxn ang="0">
                <a:pos x="T12" y="T13"/>
              </a:cxn>
            </a:cxnLst>
            <a:rect l="0" t="0" r="r" b="b"/>
            <a:pathLst>
              <a:path w="52" h="248">
                <a:moveTo>
                  <a:pt x="52" y="219"/>
                </a:moveTo>
                <a:lnTo>
                  <a:pt x="1" y="248"/>
                </a:lnTo>
                <a:lnTo>
                  <a:pt x="1" y="125"/>
                </a:lnTo>
                <a:lnTo>
                  <a:pt x="0" y="29"/>
                </a:lnTo>
                <a:lnTo>
                  <a:pt x="51" y="0"/>
                </a:lnTo>
                <a:lnTo>
                  <a:pt x="52" y="83"/>
                </a:lnTo>
                <a:lnTo>
                  <a:pt x="52" y="219"/>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3" name="Freeform 1623">
            <a:extLst>
              <a:ext uri="{FF2B5EF4-FFF2-40B4-BE49-F238E27FC236}">
                <a16:creationId xmlns:a16="http://schemas.microsoft.com/office/drawing/2014/main" id="{25AE28AB-487F-4CAF-A96A-014878C3D9FF}"/>
              </a:ext>
            </a:extLst>
          </p:cNvPr>
          <p:cNvSpPr>
            <a:spLocks/>
          </p:cNvSpPr>
          <p:nvPr/>
        </p:nvSpPr>
        <p:spPr bwMode="auto">
          <a:xfrm>
            <a:off x="7948749" y="4487164"/>
            <a:ext cx="229365" cy="1093895"/>
          </a:xfrm>
          <a:custGeom>
            <a:avLst/>
            <a:gdLst>
              <a:gd name="T0" fmla="*/ 52 w 52"/>
              <a:gd name="T1" fmla="*/ 219 h 248"/>
              <a:gd name="T2" fmla="*/ 1 w 52"/>
              <a:gd name="T3" fmla="*/ 248 h 248"/>
              <a:gd name="T4" fmla="*/ 1 w 52"/>
              <a:gd name="T5" fmla="*/ 125 h 248"/>
              <a:gd name="T6" fmla="*/ 0 w 52"/>
              <a:gd name="T7" fmla="*/ 29 h 248"/>
              <a:gd name="T8" fmla="*/ 51 w 52"/>
              <a:gd name="T9" fmla="*/ 0 h 248"/>
              <a:gd name="T10" fmla="*/ 52 w 52"/>
              <a:gd name="T11" fmla="*/ 83 h 248"/>
              <a:gd name="T12" fmla="*/ 52 w 52"/>
              <a:gd name="T13" fmla="*/ 219 h 248"/>
            </a:gdLst>
            <a:ahLst/>
            <a:cxnLst>
              <a:cxn ang="0">
                <a:pos x="T0" y="T1"/>
              </a:cxn>
              <a:cxn ang="0">
                <a:pos x="T2" y="T3"/>
              </a:cxn>
              <a:cxn ang="0">
                <a:pos x="T4" y="T5"/>
              </a:cxn>
              <a:cxn ang="0">
                <a:pos x="T6" y="T7"/>
              </a:cxn>
              <a:cxn ang="0">
                <a:pos x="T8" y="T9"/>
              </a:cxn>
              <a:cxn ang="0">
                <a:pos x="T10" y="T11"/>
              </a:cxn>
              <a:cxn ang="0">
                <a:pos x="T12" y="T13"/>
              </a:cxn>
            </a:cxnLst>
            <a:rect l="0" t="0" r="r" b="b"/>
            <a:pathLst>
              <a:path w="52" h="248">
                <a:moveTo>
                  <a:pt x="52" y="219"/>
                </a:moveTo>
                <a:lnTo>
                  <a:pt x="1" y="248"/>
                </a:lnTo>
                <a:lnTo>
                  <a:pt x="1" y="125"/>
                </a:lnTo>
                <a:lnTo>
                  <a:pt x="0" y="29"/>
                </a:lnTo>
                <a:lnTo>
                  <a:pt x="51" y="0"/>
                </a:lnTo>
                <a:lnTo>
                  <a:pt x="52" y="83"/>
                </a:lnTo>
                <a:lnTo>
                  <a:pt x="52" y="2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64" name="Picture 1624">
            <a:extLst>
              <a:ext uri="{FF2B5EF4-FFF2-40B4-BE49-F238E27FC236}">
                <a16:creationId xmlns:a16="http://schemas.microsoft.com/office/drawing/2014/main" id="{EE742CA6-32E1-4D79-973E-7C32BC282A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39927" y="4478342"/>
            <a:ext cx="247009" cy="57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 name="Freeform 1625">
            <a:extLst>
              <a:ext uri="{FF2B5EF4-FFF2-40B4-BE49-F238E27FC236}">
                <a16:creationId xmlns:a16="http://schemas.microsoft.com/office/drawing/2014/main" id="{B76894BC-1A9F-4944-9D5F-D33C5A7E09EE}"/>
              </a:ext>
            </a:extLst>
          </p:cNvPr>
          <p:cNvSpPr>
            <a:spLocks/>
          </p:cNvSpPr>
          <p:nvPr/>
        </p:nvSpPr>
        <p:spPr bwMode="auto">
          <a:xfrm>
            <a:off x="7745849" y="4368072"/>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5572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1">
    <p:bg>
      <p:bgRef idx="1001">
        <a:schemeClr val="bg1"/>
      </p:bgRef>
    </p:bg>
    <p:spTree>
      <p:nvGrpSpPr>
        <p:cNvPr id="1" name=""/>
        <p:cNvGrpSpPr/>
        <p:nvPr/>
      </p:nvGrpSpPr>
      <p:grpSpPr>
        <a:xfrm>
          <a:off x="0" y="0"/>
          <a:ext cx="0" cy="0"/>
          <a:chOff x="0" y="0"/>
          <a:chExt cx="0" cy="0"/>
        </a:xfrm>
      </p:grpSpPr>
      <p:sp>
        <p:nvSpPr>
          <p:cNvPr id="2883" name="Freeform: Shape 2882">
            <a:extLst>
              <a:ext uri="{FF2B5EF4-FFF2-40B4-BE49-F238E27FC236}">
                <a16:creationId xmlns:a16="http://schemas.microsoft.com/office/drawing/2014/main" id="{17165C33-3201-4CEF-A5CC-CBD35FDCA176}"/>
              </a:ext>
            </a:extLst>
          </p:cNvPr>
          <p:cNvSpPr>
            <a:spLocks/>
          </p:cNvSpPr>
          <p:nvPr userDrawn="1"/>
        </p:nvSpPr>
        <p:spPr bwMode="auto">
          <a:xfrm rot="16200000">
            <a:off x="4007749" y="-1702165"/>
            <a:ext cx="4176503" cy="12192000"/>
          </a:xfrm>
          <a:custGeom>
            <a:avLst/>
            <a:gdLst>
              <a:gd name="connsiteX0" fmla="*/ 4176484 w 4176503"/>
              <a:gd name="connsiteY0" fmla="*/ 3332040 h 12192000"/>
              <a:gd name="connsiteX1" fmla="*/ 3990636 w 4176503"/>
              <a:gd name="connsiteY1" fmla="*/ 4861448 h 12192000"/>
              <a:gd name="connsiteX2" fmla="*/ 2326276 w 4176503"/>
              <a:gd name="connsiteY2" fmla="*/ 9524600 h 12192000"/>
              <a:gd name="connsiteX3" fmla="*/ 2326276 w 4176503"/>
              <a:gd name="connsiteY3" fmla="*/ 12192000 h 12192000"/>
              <a:gd name="connsiteX4" fmla="*/ 0 w 4176503"/>
              <a:gd name="connsiteY4" fmla="*/ 12191999 h 12192000"/>
              <a:gd name="connsiteX5" fmla="*/ 1 w 4176503"/>
              <a:gd name="connsiteY5" fmla="*/ 0 h 12192000"/>
              <a:gd name="connsiteX6" fmla="*/ 111494 w 4176503"/>
              <a:gd name="connsiteY6" fmla="*/ 0 h 12192000"/>
              <a:gd name="connsiteX7" fmla="*/ 3196864 w 4176503"/>
              <a:gd name="connsiteY7" fmla="*/ 0 h 12192000"/>
              <a:gd name="connsiteX8" fmla="*/ 4176484 w 4176503"/>
              <a:gd name="connsiteY8" fmla="*/ 333204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6503" h="12192000">
                <a:moveTo>
                  <a:pt x="4176484" y="3332040"/>
                </a:moveTo>
                <a:cubicBezTo>
                  <a:pt x="4175326" y="3803753"/>
                  <a:pt x="4121465" y="4315734"/>
                  <a:pt x="3990636" y="4861448"/>
                </a:cubicBezTo>
                <a:cubicBezTo>
                  <a:pt x="1238040" y="6339072"/>
                  <a:pt x="-144659" y="8565103"/>
                  <a:pt x="2326276" y="9524600"/>
                </a:cubicBezTo>
                <a:cubicBezTo>
                  <a:pt x="4797211" y="10484096"/>
                  <a:pt x="2326276" y="12192000"/>
                  <a:pt x="2326276" y="12192000"/>
                </a:cubicBezTo>
                <a:lnTo>
                  <a:pt x="0" y="12191999"/>
                </a:lnTo>
                <a:lnTo>
                  <a:pt x="1" y="0"/>
                </a:lnTo>
                <a:lnTo>
                  <a:pt x="111494" y="0"/>
                </a:lnTo>
                <a:cubicBezTo>
                  <a:pt x="786593" y="0"/>
                  <a:pt x="1768555" y="0"/>
                  <a:pt x="3196864" y="0"/>
                </a:cubicBezTo>
                <a:cubicBezTo>
                  <a:pt x="3196864" y="0"/>
                  <a:pt x="4181503" y="1287949"/>
                  <a:pt x="4176484" y="333204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745" name="Freeform 1167">
            <a:extLst>
              <a:ext uri="{FF2B5EF4-FFF2-40B4-BE49-F238E27FC236}">
                <a16:creationId xmlns:a16="http://schemas.microsoft.com/office/drawing/2014/main" id="{8879B4D8-3988-43A9-9146-55796A0FCD12}"/>
              </a:ext>
            </a:extLst>
          </p:cNvPr>
          <p:cNvSpPr>
            <a:spLocks noEditPoints="1"/>
          </p:cNvSpPr>
          <p:nvPr/>
        </p:nvSpPr>
        <p:spPr bwMode="auto">
          <a:xfrm rot="1233185">
            <a:off x="3005608" y="5351137"/>
            <a:ext cx="510727" cy="486172"/>
          </a:xfrm>
          <a:custGeom>
            <a:avLst/>
            <a:gdLst>
              <a:gd name="T0" fmla="*/ 64 w 135"/>
              <a:gd name="T1" fmla="*/ 128 h 128"/>
              <a:gd name="T2" fmla="*/ 64 w 135"/>
              <a:gd name="T3" fmla="*/ 128 h 128"/>
              <a:gd name="T4" fmla="*/ 19 w 135"/>
              <a:gd name="T5" fmla="*/ 109 h 128"/>
              <a:gd name="T6" fmla="*/ 0 w 135"/>
              <a:gd name="T7" fmla="*/ 64 h 128"/>
              <a:gd name="T8" fmla="*/ 19 w 135"/>
              <a:gd name="T9" fmla="*/ 18 h 128"/>
              <a:gd name="T10" fmla="*/ 64 w 135"/>
              <a:gd name="T11" fmla="*/ 0 h 128"/>
              <a:gd name="T12" fmla="*/ 110 w 135"/>
              <a:gd name="T13" fmla="*/ 18 h 128"/>
              <a:gd name="T14" fmla="*/ 110 w 135"/>
              <a:gd name="T15" fmla="*/ 109 h 128"/>
              <a:gd name="T16" fmla="*/ 64 w 135"/>
              <a:gd name="T17" fmla="*/ 128 h 128"/>
              <a:gd name="T18" fmla="*/ 64 w 135"/>
              <a:gd name="T19" fmla="*/ 5 h 128"/>
              <a:gd name="T20" fmla="*/ 23 w 135"/>
              <a:gd name="T21" fmla="*/ 22 h 128"/>
              <a:gd name="T22" fmla="*/ 5 w 135"/>
              <a:gd name="T23" fmla="*/ 64 h 128"/>
              <a:gd name="T24" fmla="*/ 23 w 135"/>
              <a:gd name="T25" fmla="*/ 106 h 128"/>
              <a:gd name="T26" fmla="*/ 64 w 135"/>
              <a:gd name="T27" fmla="*/ 123 h 128"/>
              <a:gd name="T28" fmla="*/ 106 w 135"/>
              <a:gd name="T29" fmla="*/ 106 h 128"/>
              <a:gd name="T30" fmla="*/ 106 w 135"/>
              <a:gd name="T31" fmla="*/ 22 h 128"/>
              <a:gd name="T32" fmla="*/ 64 w 135"/>
              <a:gd name="T33" fmla="*/ 5 h 128"/>
              <a:gd name="T34" fmla="*/ 64 w 135"/>
              <a:gd name="T35" fmla="*/ 105 h 128"/>
              <a:gd name="T36" fmla="*/ 36 w 135"/>
              <a:gd name="T37" fmla="*/ 93 h 128"/>
              <a:gd name="T38" fmla="*/ 36 w 135"/>
              <a:gd name="T39" fmla="*/ 35 h 128"/>
              <a:gd name="T40" fmla="*/ 64 w 135"/>
              <a:gd name="T41" fmla="*/ 23 h 128"/>
              <a:gd name="T42" fmla="*/ 93 w 135"/>
              <a:gd name="T43" fmla="*/ 35 h 128"/>
              <a:gd name="T44" fmla="*/ 93 w 135"/>
              <a:gd name="T45" fmla="*/ 93 h 128"/>
              <a:gd name="T46" fmla="*/ 64 w 135"/>
              <a:gd name="T47" fmla="*/ 105 h 128"/>
              <a:gd name="T48" fmla="*/ 64 w 135"/>
              <a:gd name="T49" fmla="*/ 28 h 128"/>
              <a:gd name="T50" fmla="*/ 39 w 135"/>
              <a:gd name="T51" fmla="*/ 38 h 128"/>
              <a:gd name="T52" fmla="*/ 39 w 135"/>
              <a:gd name="T53" fmla="*/ 89 h 128"/>
              <a:gd name="T54" fmla="*/ 64 w 135"/>
              <a:gd name="T55" fmla="*/ 100 h 128"/>
              <a:gd name="T56" fmla="*/ 90 w 135"/>
              <a:gd name="T57" fmla="*/ 89 h 128"/>
              <a:gd name="T58" fmla="*/ 90 w 135"/>
              <a:gd name="T59" fmla="*/ 38 h 128"/>
              <a:gd name="T60" fmla="*/ 64 w 135"/>
              <a:gd name="T61"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28">
                <a:moveTo>
                  <a:pt x="64" y="128"/>
                </a:moveTo>
                <a:cubicBezTo>
                  <a:pt x="64" y="128"/>
                  <a:pt x="64" y="128"/>
                  <a:pt x="64" y="128"/>
                </a:cubicBezTo>
                <a:cubicBezTo>
                  <a:pt x="47" y="128"/>
                  <a:pt x="31" y="121"/>
                  <a:pt x="19" y="109"/>
                </a:cubicBezTo>
                <a:cubicBezTo>
                  <a:pt x="7" y="97"/>
                  <a:pt x="0" y="81"/>
                  <a:pt x="0" y="64"/>
                </a:cubicBezTo>
                <a:cubicBezTo>
                  <a:pt x="0" y="47"/>
                  <a:pt x="7" y="30"/>
                  <a:pt x="19" y="18"/>
                </a:cubicBezTo>
                <a:cubicBezTo>
                  <a:pt x="31" y="6"/>
                  <a:pt x="47" y="0"/>
                  <a:pt x="64" y="0"/>
                </a:cubicBezTo>
                <a:cubicBezTo>
                  <a:pt x="82" y="0"/>
                  <a:pt x="98" y="6"/>
                  <a:pt x="110" y="18"/>
                </a:cubicBezTo>
                <a:cubicBezTo>
                  <a:pt x="135" y="43"/>
                  <a:pt x="135" y="84"/>
                  <a:pt x="110" y="109"/>
                </a:cubicBezTo>
                <a:cubicBezTo>
                  <a:pt x="98" y="121"/>
                  <a:pt x="82" y="128"/>
                  <a:pt x="64" y="128"/>
                </a:cubicBezTo>
                <a:close/>
                <a:moveTo>
                  <a:pt x="64" y="5"/>
                </a:moveTo>
                <a:cubicBezTo>
                  <a:pt x="49" y="5"/>
                  <a:pt x="34" y="11"/>
                  <a:pt x="23" y="22"/>
                </a:cubicBezTo>
                <a:cubicBezTo>
                  <a:pt x="11" y="33"/>
                  <a:pt x="5" y="48"/>
                  <a:pt x="5" y="64"/>
                </a:cubicBezTo>
                <a:cubicBezTo>
                  <a:pt x="5" y="80"/>
                  <a:pt x="11" y="94"/>
                  <a:pt x="23" y="106"/>
                </a:cubicBezTo>
                <a:cubicBezTo>
                  <a:pt x="34" y="117"/>
                  <a:pt x="49" y="123"/>
                  <a:pt x="64" y="123"/>
                </a:cubicBezTo>
                <a:cubicBezTo>
                  <a:pt x="80" y="123"/>
                  <a:pt x="95" y="117"/>
                  <a:pt x="106" y="106"/>
                </a:cubicBezTo>
                <a:cubicBezTo>
                  <a:pt x="129" y="83"/>
                  <a:pt x="129" y="45"/>
                  <a:pt x="106" y="22"/>
                </a:cubicBezTo>
                <a:cubicBezTo>
                  <a:pt x="95" y="11"/>
                  <a:pt x="80" y="5"/>
                  <a:pt x="64" y="5"/>
                </a:cubicBezTo>
                <a:close/>
                <a:moveTo>
                  <a:pt x="64" y="105"/>
                </a:moveTo>
                <a:cubicBezTo>
                  <a:pt x="54" y="105"/>
                  <a:pt x="43" y="100"/>
                  <a:pt x="36" y="93"/>
                </a:cubicBezTo>
                <a:cubicBezTo>
                  <a:pt x="20" y="77"/>
                  <a:pt x="20" y="51"/>
                  <a:pt x="36" y="35"/>
                </a:cubicBezTo>
                <a:cubicBezTo>
                  <a:pt x="43" y="27"/>
                  <a:pt x="54" y="23"/>
                  <a:pt x="64" y="23"/>
                </a:cubicBezTo>
                <a:cubicBezTo>
                  <a:pt x="75" y="23"/>
                  <a:pt x="86" y="27"/>
                  <a:pt x="93" y="35"/>
                </a:cubicBezTo>
                <a:cubicBezTo>
                  <a:pt x="109" y="51"/>
                  <a:pt x="109" y="77"/>
                  <a:pt x="93" y="93"/>
                </a:cubicBezTo>
                <a:cubicBezTo>
                  <a:pt x="86" y="100"/>
                  <a:pt x="75" y="105"/>
                  <a:pt x="64" y="105"/>
                </a:cubicBezTo>
                <a:close/>
                <a:moveTo>
                  <a:pt x="64" y="28"/>
                </a:moveTo>
                <a:cubicBezTo>
                  <a:pt x="55" y="28"/>
                  <a:pt x="46" y="32"/>
                  <a:pt x="39" y="38"/>
                </a:cubicBezTo>
                <a:cubicBezTo>
                  <a:pt x="25" y="52"/>
                  <a:pt x="25" y="75"/>
                  <a:pt x="39" y="89"/>
                </a:cubicBezTo>
                <a:cubicBezTo>
                  <a:pt x="46" y="96"/>
                  <a:pt x="55" y="100"/>
                  <a:pt x="64" y="100"/>
                </a:cubicBezTo>
                <a:cubicBezTo>
                  <a:pt x="74" y="100"/>
                  <a:pt x="83" y="96"/>
                  <a:pt x="90" y="89"/>
                </a:cubicBezTo>
                <a:cubicBezTo>
                  <a:pt x="104" y="75"/>
                  <a:pt x="104" y="52"/>
                  <a:pt x="90" y="38"/>
                </a:cubicBezTo>
                <a:cubicBezTo>
                  <a:pt x="83" y="32"/>
                  <a:pt x="74" y="28"/>
                  <a:pt x="64" y="2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7" name="Freeform 1174">
            <a:extLst>
              <a:ext uri="{FF2B5EF4-FFF2-40B4-BE49-F238E27FC236}">
                <a16:creationId xmlns:a16="http://schemas.microsoft.com/office/drawing/2014/main" id="{9EA56C4F-AE96-4D01-ADB2-B240FCC85145}"/>
              </a:ext>
            </a:extLst>
          </p:cNvPr>
          <p:cNvSpPr>
            <a:spLocks noEditPoints="1"/>
          </p:cNvSpPr>
          <p:nvPr/>
        </p:nvSpPr>
        <p:spPr bwMode="auto">
          <a:xfrm rot="1233185">
            <a:off x="1418929" y="4836988"/>
            <a:ext cx="1586203" cy="1586200"/>
          </a:xfrm>
          <a:custGeom>
            <a:avLst/>
            <a:gdLst>
              <a:gd name="T0" fmla="*/ 103 w 419"/>
              <a:gd name="T1" fmla="*/ 376 h 419"/>
              <a:gd name="T2" fmla="*/ 127 w 419"/>
              <a:gd name="T3" fmla="*/ 389 h 419"/>
              <a:gd name="T4" fmla="*/ 150 w 419"/>
              <a:gd name="T5" fmla="*/ 398 h 419"/>
              <a:gd name="T6" fmla="*/ 176 w 419"/>
              <a:gd name="T7" fmla="*/ 404 h 419"/>
              <a:gd name="T8" fmla="*/ 200 w 419"/>
              <a:gd name="T9" fmla="*/ 407 h 419"/>
              <a:gd name="T10" fmla="*/ 228 w 419"/>
              <a:gd name="T11" fmla="*/ 406 h 419"/>
              <a:gd name="T12" fmla="*/ 251 w 419"/>
              <a:gd name="T13" fmla="*/ 402 h 419"/>
              <a:gd name="T14" fmla="*/ 278 w 419"/>
              <a:gd name="T15" fmla="*/ 395 h 419"/>
              <a:gd name="T16" fmla="*/ 300 w 419"/>
              <a:gd name="T17" fmla="*/ 385 h 419"/>
              <a:gd name="T18" fmla="*/ 323 w 419"/>
              <a:gd name="T19" fmla="*/ 371 h 419"/>
              <a:gd name="T20" fmla="*/ 342 w 419"/>
              <a:gd name="T21" fmla="*/ 355 h 419"/>
              <a:gd name="T22" fmla="*/ 360 w 419"/>
              <a:gd name="T23" fmla="*/ 337 h 419"/>
              <a:gd name="T24" fmla="*/ 375 w 419"/>
              <a:gd name="T25" fmla="*/ 317 h 419"/>
              <a:gd name="T26" fmla="*/ 388 w 419"/>
              <a:gd name="T27" fmla="*/ 293 h 419"/>
              <a:gd name="T28" fmla="*/ 397 w 419"/>
              <a:gd name="T29" fmla="*/ 271 h 419"/>
              <a:gd name="T30" fmla="*/ 403 w 419"/>
              <a:gd name="T31" fmla="*/ 244 h 419"/>
              <a:gd name="T32" fmla="*/ 407 w 419"/>
              <a:gd name="T33" fmla="*/ 220 h 419"/>
              <a:gd name="T34" fmla="*/ 406 w 419"/>
              <a:gd name="T35" fmla="*/ 193 h 419"/>
              <a:gd name="T36" fmla="*/ 403 w 419"/>
              <a:gd name="T37" fmla="*/ 169 h 419"/>
              <a:gd name="T38" fmla="*/ 395 w 419"/>
              <a:gd name="T39" fmla="*/ 143 h 419"/>
              <a:gd name="T40" fmla="*/ 385 w 419"/>
              <a:gd name="T41" fmla="*/ 120 h 419"/>
              <a:gd name="T42" fmla="*/ 371 w 419"/>
              <a:gd name="T43" fmla="*/ 97 h 419"/>
              <a:gd name="T44" fmla="*/ 356 w 419"/>
              <a:gd name="T45" fmla="*/ 78 h 419"/>
              <a:gd name="T46" fmla="*/ 336 w 419"/>
              <a:gd name="T47" fmla="*/ 59 h 419"/>
              <a:gd name="T48" fmla="*/ 317 w 419"/>
              <a:gd name="T49" fmla="*/ 44 h 419"/>
              <a:gd name="T50" fmla="*/ 293 w 419"/>
              <a:gd name="T51" fmla="*/ 31 h 419"/>
              <a:gd name="T52" fmla="*/ 271 w 419"/>
              <a:gd name="T53" fmla="*/ 22 h 419"/>
              <a:gd name="T54" fmla="*/ 244 w 419"/>
              <a:gd name="T55" fmla="*/ 16 h 419"/>
              <a:gd name="T56" fmla="*/ 220 w 419"/>
              <a:gd name="T57" fmla="*/ 13 h 419"/>
              <a:gd name="T58" fmla="*/ 193 w 419"/>
              <a:gd name="T59" fmla="*/ 14 h 419"/>
              <a:gd name="T60" fmla="*/ 169 w 419"/>
              <a:gd name="T61" fmla="*/ 17 h 419"/>
              <a:gd name="T62" fmla="*/ 142 w 419"/>
              <a:gd name="T63" fmla="*/ 25 h 419"/>
              <a:gd name="T64" fmla="*/ 120 w 419"/>
              <a:gd name="T65" fmla="*/ 34 h 419"/>
              <a:gd name="T66" fmla="*/ 97 w 419"/>
              <a:gd name="T67" fmla="*/ 48 h 419"/>
              <a:gd name="T68" fmla="*/ 77 w 419"/>
              <a:gd name="T69" fmla="*/ 63 h 419"/>
              <a:gd name="T70" fmla="*/ 58 w 419"/>
              <a:gd name="T71" fmla="*/ 84 h 419"/>
              <a:gd name="T72" fmla="*/ 44 w 419"/>
              <a:gd name="T73" fmla="*/ 103 h 419"/>
              <a:gd name="T74" fmla="*/ 30 w 419"/>
              <a:gd name="T75" fmla="*/ 127 h 419"/>
              <a:gd name="T76" fmla="*/ 22 w 419"/>
              <a:gd name="T77" fmla="*/ 150 h 419"/>
              <a:gd name="T78" fmla="*/ 15 w 419"/>
              <a:gd name="T79" fmla="*/ 177 h 419"/>
              <a:gd name="T80" fmla="*/ 13 w 419"/>
              <a:gd name="T81" fmla="*/ 201 h 419"/>
              <a:gd name="T82" fmla="*/ 13 w 419"/>
              <a:gd name="T83" fmla="*/ 228 h 419"/>
              <a:gd name="T84" fmla="*/ 17 w 419"/>
              <a:gd name="T85" fmla="*/ 252 h 419"/>
              <a:gd name="T86" fmla="*/ 24 w 419"/>
              <a:gd name="T87" fmla="*/ 278 h 419"/>
              <a:gd name="T88" fmla="*/ 34 w 419"/>
              <a:gd name="T89" fmla="*/ 300 h 419"/>
              <a:gd name="T90" fmla="*/ 48 w 419"/>
              <a:gd name="T91" fmla="*/ 324 h 419"/>
              <a:gd name="T92" fmla="*/ 64 w 419"/>
              <a:gd name="T93" fmla="*/ 342 h 419"/>
              <a:gd name="T94" fmla="*/ 83 w 419"/>
              <a:gd name="T95" fmla="*/ 362 h 419"/>
              <a:gd name="T96" fmla="*/ 124 w 419"/>
              <a:gd name="T97" fmla="*/ 325 h 419"/>
              <a:gd name="T98" fmla="*/ 295 w 419"/>
              <a:gd name="T99" fmla="*/ 94 h 419"/>
              <a:gd name="T100" fmla="*/ 124 w 419"/>
              <a:gd name="T101" fmla="*/ 32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9" h="419">
                <a:moveTo>
                  <a:pt x="86" y="378"/>
                </a:moveTo>
                <a:cubicBezTo>
                  <a:pt x="90" y="381"/>
                  <a:pt x="95" y="385"/>
                  <a:pt x="103" y="376"/>
                </a:cubicBezTo>
                <a:cubicBezTo>
                  <a:pt x="109" y="369"/>
                  <a:pt x="118" y="363"/>
                  <a:pt x="124" y="363"/>
                </a:cubicBezTo>
                <a:cubicBezTo>
                  <a:pt x="128" y="366"/>
                  <a:pt x="129" y="379"/>
                  <a:pt x="127" y="389"/>
                </a:cubicBezTo>
                <a:cubicBezTo>
                  <a:pt x="124" y="401"/>
                  <a:pt x="130" y="403"/>
                  <a:pt x="134" y="404"/>
                </a:cubicBezTo>
                <a:cubicBezTo>
                  <a:pt x="139" y="406"/>
                  <a:pt x="144" y="409"/>
                  <a:pt x="150" y="398"/>
                </a:cubicBezTo>
                <a:cubicBezTo>
                  <a:pt x="154" y="390"/>
                  <a:pt x="161" y="381"/>
                  <a:pt x="166" y="380"/>
                </a:cubicBezTo>
                <a:cubicBezTo>
                  <a:pt x="171" y="381"/>
                  <a:pt x="175" y="394"/>
                  <a:pt x="176" y="404"/>
                </a:cubicBezTo>
                <a:cubicBezTo>
                  <a:pt x="177" y="417"/>
                  <a:pt x="182" y="417"/>
                  <a:pt x="187" y="417"/>
                </a:cubicBezTo>
                <a:cubicBezTo>
                  <a:pt x="192" y="418"/>
                  <a:pt x="197" y="419"/>
                  <a:pt x="200" y="407"/>
                </a:cubicBezTo>
                <a:cubicBezTo>
                  <a:pt x="202" y="398"/>
                  <a:pt x="207" y="388"/>
                  <a:pt x="212" y="385"/>
                </a:cubicBezTo>
                <a:cubicBezTo>
                  <a:pt x="217" y="385"/>
                  <a:pt x="224" y="396"/>
                  <a:pt x="228" y="406"/>
                </a:cubicBezTo>
                <a:cubicBezTo>
                  <a:pt x="231" y="418"/>
                  <a:pt x="237" y="417"/>
                  <a:pt x="241" y="416"/>
                </a:cubicBezTo>
                <a:cubicBezTo>
                  <a:pt x="246" y="415"/>
                  <a:pt x="252" y="415"/>
                  <a:pt x="251" y="402"/>
                </a:cubicBezTo>
                <a:cubicBezTo>
                  <a:pt x="251" y="393"/>
                  <a:pt x="254" y="382"/>
                  <a:pt x="257" y="378"/>
                </a:cubicBezTo>
                <a:cubicBezTo>
                  <a:pt x="263" y="378"/>
                  <a:pt x="272" y="386"/>
                  <a:pt x="278" y="395"/>
                </a:cubicBezTo>
                <a:cubicBezTo>
                  <a:pt x="285" y="406"/>
                  <a:pt x="289" y="403"/>
                  <a:pt x="294" y="401"/>
                </a:cubicBezTo>
                <a:cubicBezTo>
                  <a:pt x="298" y="399"/>
                  <a:pt x="304" y="397"/>
                  <a:pt x="300" y="385"/>
                </a:cubicBezTo>
                <a:cubicBezTo>
                  <a:pt x="297" y="376"/>
                  <a:pt x="297" y="365"/>
                  <a:pt x="299" y="360"/>
                </a:cubicBezTo>
                <a:cubicBezTo>
                  <a:pt x="304" y="358"/>
                  <a:pt x="316" y="364"/>
                  <a:pt x="323" y="371"/>
                </a:cubicBezTo>
                <a:cubicBezTo>
                  <a:pt x="333" y="380"/>
                  <a:pt x="337" y="375"/>
                  <a:pt x="340" y="372"/>
                </a:cubicBezTo>
                <a:cubicBezTo>
                  <a:pt x="344" y="369"/>
                  <a:pt x="349" y="366"/>
                  <a:pt x="342" y="355"/>
                </a:cubicBezTo>
                <a:cubicBezTo>
                  <a:pt x="337" y="347"/>
                  <a:pt x="333" y="336"/>
                  <a:pt x="335" y="331"/>
                </a:cubicBezTo>
                <a:cubicBezTo>
                  <a:pt x="340" y="329"/>
                  <a:pt x="352" y="332"/>
                  <a:pt x="360" y="337"/>
                </a:cubicBezTo>
                <a:cubicBezTo>
                  <a:pt x="371" y="343"/>
                  <a:pt x="374" y="338"/>
                  <a:pt x="377" y="334"/>
                </a:cubicBezTo>
                <a:cubicBezTo>
                  <a:pt x="380" y="330"/>
                  <a:pt x="384" y="326"/>
                  <a:pt x="375" y="317"/>
                </a:cubicBezTo>
                <a:cubicBezTo>
                  <a:pt x="368" y="310"/>
                  <a:pt x="361" y="298"/>
                  <a:pt x="363" y="294"/>
                </a:cubicBezTo>
                <a:cubicBezTo>
                  <a:pt x="368" y="291"/>
                  <a:pt x="379" y="291"/>
                  <a:pt x="388" y="293"/>
                </a:cubicBezTo>
                <a:cubicBezTo>
                  <a:pt x="400" y="297"/>
                  <a:pt x="402" y="291"/>
                  <a:pt x="403" y="287"/>
                </a:cubicBezTo>
                <a:cubicBezTo>
                  <a:pt x="405" y="282"/>
                  <a:pt x="408" y="277"/>
                  <a:pt x="397" y="271"/>
                </a:cubicBezTo>
                <a:cubicBezTo>
                  <a:pt x="388" y="265"/>
                  <a:pt x="379" y="256"/>
                  <a:pt x="380" y="251"/>
                </a:cubicBezTo>
                <a:cubicBezTo>
                  <a:pt x="384" y="247"/>
                  <a:pt x="394" y="245"/>
                  <a:pt x="403" y="244"/>
                </a:cubicBezTo>
                <a:cubicBezTo>
                  <a:pt x="416" y="244"/>
                  <a:pt x="416" y="238"/>
                  <a:pt x="417" y="234"/>
                </a:cubicBezTo>
                <a:cubicBezTo>
                  <a:pt x="417" y="229"/>
                  <a:pt x="419" y="224"/>
                  <a:pt x="407" y="220"/>
                </a:cubicBezTo>
                <a:cubicBezTo>
                  <a:pt x="397" y="217"/>
                  <a:pt x="385" y="211"/>
                  <a:pt x="385" y="206"/>
                </a:cubicBezTo>
                <a:cubicBezTo>
                  <a:pt x="387" y="201"/>
                  <a:pt x="397" y="196"/>
                  <a:pt x="406" y="193"/>
                </a:cubicBezTo>
                <a:cubicBezTo>
                  <a:pt x="418" y="190"/>
                  <a:pt x="416" y="184"/>
                  <a:pt x="416" y="179"/>
                </a:cubicBezTo>
                <a:cubicBezTo>
                  <a:pt x="415" y="175"/>
                  <a:pt x="415" y="169"/>
                  <a:pt x="403" y="169"/>
                </a:cubicBezTo>
                <a:cubicBezTo>
                  <a:pt x="392" y="169"/>
                  <a:pt x="379" y="165"/>
                  <a:pt x="378" y="160"/>
                </a:cubicBezTo>
                <a:cubicBezTo>
                  <a:pt x="379" y="155"/>
                  <a:pt x="387" y="147"/>
                  <a:pt x="395" y="143"/>
                </a:cubicBezTo>
                <a:cubicBezTo>
                  <a:pt x="406" y="136"/>
                  <a:pt x="403" y="131"/>
                  <a:pt x="401" y="127"/>
                </a:cubicBezTo>
                <a:cubicBezTo>
                  <a:pt x="399" y="123"/>
                  <a:pt x="398" y="117"/>
                  <a:pt x="385" y="120"/>
                </a:cubicBezTo>
                <a:cubicBezTo>
                  <a:pt x="375" y="123"/>
                  <a:pt x="362" y="123"/>
                  <a:pt x="359" y="118"/>
                </a:cubicBezTo>
                <a:cubicBezTo>
                  <a:pt x="359" y="113"/>
                  <a:pt x="365" y="104"/>
                  <a:pt x="371" y="97"/>
                </a:cubicBezTo>
                <a:cubicBezTo>
                  <a:pt x="380" y="88"/>
                  <a:pt x="376" y="84"/>
                  <a:pt x="373" y="80"/>
                </a:cubicBezTo>
                <a:cubicBezTo>
                  <a:pt x="370" y="77"/>
                  <a:pt x="367" y="72"/>
                  <a:pt x="356" y="78"/>
                </a:cubicBezTo>
                <a:cubicBezTo>
                  <a:pt x="347" y="83"/>
                  <a:pt x="334" y="86"/>
                  <a:pt x="330" y="83"/>
                </a:cubicBezTo>
                <a:cubicBezTo>
                  <a:pt x="329" y="77"/>
                  <a:pt x="332" y="67"/>
                  <a:pt x="336" y="59"/>
                </a:cubicBezTo>
                <a:cubicBezTo>
                  <a:pt x="343" y="48"/>
                  <a:pt x="338" y="45"/>
                  <a:pt x="334" y="42"/>
                </a:cubicBezTo>
                <a:cubicBezTo>
                  <a:pt x="330" y="39"/>
                  <a:pt x="326" y="35"/>
                  <a:pt x="317" y="44"/>
                </a:cubicBezTo>
                <a:cubicBezTo>
                  <a:pt x="309" y="52"/>
                  <a:pt x="298" y="58"/>
                  <a:pt x="293" y="56"/>
                </a:cubicBezTo>
                <a:cubicBezTo>
                  <a:pt x="291" y="51"/>
                  <a:pt x="291" y="40"/>
                  <a:pt x="293" y="31"/>
                </a:cubicBezTo>
                <a:cubicBezTo>
                  <a:pt x="296" y="19"/>
                  <a:pt x="291" y="18"/>
                  <a:pt x="286" y="16"/>
                </a:cubicBezTo>
                <a:cubicBezTo>
                  <a:pt x="282" y="14"/>
                  <a:pt x="277" y="11"/>
                  <a:pt x="271" y="22"/>
                </a:cubicBezTo>
                <a:cubicBezTo>
                  <a:pt x="265" y="31"/>
                  <a:pt x="256" y="40"/>
                  <a:pt x="251" y="40"/>
                </a:cubicBezTo>
                <a:cubicBezTo>
                  <a:pt x="247" y="35"/>
                  <a:pt x="244" y="25"/>
                  <a:pt x="244" y="16"/>
                </a:cubicBezTo>
                <a:cubicBezTo>
                  <a:pt x="244" y="3"/>
                  <a:pt x="238" y="3"/>
                  <a:pt x="233" y="3"/>
                </a:cubicBezTo>
                <a:cubicBezTo>
                  <a:pt x="229" y="2"/>
                  <a:pt x="223" y="0"/>
                  <a:pt x="220" y="13"/>
                </a:cubicBezTo>
                <a:cubicBezTo>
                  <a:pt x="217" y="23"/>
                  <a:pt x="210" y="34"/>
                  <a:pt x="205" y="35"/>
                </a:cubicBezTo>
                <a:cubicBezTo>
                  <a:pt x="200" y="32"/>
                  <a:pt x="195" y="22"/>
                  <a:pt x="193" y="14"/>
                </a:cubicBezTo>
                <a:cubicBezTo>
                  <a:pt x="189" y="1"/>
                  <a:pt x="184" y="3"/>
                  <a:pt x="179" y="4"/>
                </a:cubicBezTo>
                <a:cubicBezTo>
                  <a:pt x="174" y="4"/>
                  <a:pt x="169" y="4"/>
                  <a:pt x="169" y="17"/>
                </a:cubicBezTo>
                <a:cubicBezTo>
                  <a:pt x="168" y="27"/>
                  <a:pt x="165" y="40"/>
                  <a:pt x="160" y="42"/>
                </a:cubicBezTo>
                <a:cubicBezTo>
                  <a:pt x="154" y="40"/>
                  <a:pt x="147" y="32"/>
                  <a:pt x="142" y="25"/>
                </a:cubicBezTo>
                <a:cubicBezTo>
                  <a:pt x="136" y="14"/>
                  <a:pt x="131" y="17"/>
                  <a:pt x="127" y="18"/>
                </a:cubicBezTo>
                <a:cubicBezTo>
                  <a:pt x="122" y="20"/>
                  <a:pt x="117" y="22"/>
                  <a:pt x="120" y="34"/>
                </a:cubicBezTo>
                <a:cubicBezTo>
                  <a:pt x="122" y="44"/>
                  <a:pt x="122" y="57"/>
                  <a:pt x="118" y="60"/>
                </a:cubicBezTo>
                <a:cubicBezTo>
                  <a:pt x="113" y="60"/>
                  <a:pt x="103" y="54"/>
                  <a:pt x="97" y="48"/>
                </a:cubicBezTo>
                <a:cubicBezTo>
                  <a:pt x="88" y="39"/>
                  <a:pt x="84" y="43"/>
                  <a:pt x="80" y="46"/>
                </a:cubicBezTo>
                <a:cubicBezTo>
                  <a:pt x="76" y="49"/>
                  <a:pt x="71" y="52"/>
                  <a:pt x="77" y="63"/>
                </a:cubicBezTo>
                <a:cubicBezTo>
                  <a:pt x="82" y="72"/>
                  <a:pt x="85" y="83"/>
                  <a:pt x="83" y="88"/>
                </a:cubicBezTo>
                <a:cubicBezTo>
                  <a:pt x="78" y="91"/>
                  <a:pt x="66" y="88"/>
                  <a:pt x="58" y="84"/>
                </a:cubicBezTo>
                <a:cubicBezTo>
                  <a:pt x="46" y="78"/>
                  <a:pt x="44" y="83"/>
                  <a:pt x="41" y="87"/>
                </a:cubicBezTo>
                <a:cubicBezTo>
                  <a:pt x="38" y="91"/>
                  <a:pt x="34" y="95"/>
                  <a:pt x="44" y="103"/>
                </a:cubicBezTo>
                <a:cubicBezTo>
                  <a:pt x="50" y="110"/>
                  <a:pt x="56" y="119"/>
                  <a:pt x="56" y="124"/>
                </a:cubicBezTo>
                <a:cubicBezTo>
                  <a:pt x="54" y="129"/>
                  <a:pt x="40" y="129"/>
                  <a:pt x="30" y="127"/>
                </a:cubicBezTo>
                <a:cubicBezTo>
                  <a:pt x="18" y="124"/>
                  <a:pt x="17" y="130"/>
                  <a:pt x="15" y="135"/>
                </a:cubicBezTo>
                <a:cubicBezTo>
                  <a:pt x="13" y="139"/>
                  <a:pt x="11" y="144"/>
                  <a:pt x="22" y="150"/>
                </a:cubicBezTo>
                <a:cubicBezTo>
                  <a:pt x="30" y="154"/>
                  <a:pt x="38" y="162"/>
                  <a:pt x="40" y="167"/>
                </a:cubicBezTo>
                <a:cubicBezTo>
                  <a:pt x="38" y="172"/>
                  <a:pt x="25" y="176"/>
                  <a:pt x="15" y="177"/>
                </a:cubicBezTo>
                <a:cubicBezTo>
                  <a:pt x="2" y="177"/>
                  <a:pt x="3" y="183"/>
                  <a:pt x="2" y="187"/>
                </a:cubicBezTo>
                <a:cubicBezTo>
                  <a:pt x="2" y="192"/>
                  <a:pt x="0" y="198"/>
                  <a:pt x="13" y="201"/>
                </a:cubicBezTo>
                <a:cubicBezTo>
                  <a:pt x="21" y="203"/>
                  <a:pt x="31" y="208"/>
                  <a:pt x="34" y="212"/>
                </a:cubicBezTo>
                <a:cubicBezTo>
                  <a:pt x="34" y="217"/>
                  <a:pt x="23" y="225"/>
                  <a:pt x="13" y="228"/>
                </a:cubicBezTo>
                <a:cubicBezTo>
                  <a:pt x="1" y="232"/>
                  <a:pt x="3" y="237"/>
                  <a:pt x="3" y="242"/>
                </a:cubicBezTo>
                <a:cubicBezTo>
                  <a:pt x="4" y="247"/>
                  <a:pt x="4" y="252"/>
                  <a:pt x="17" y="252"/>
                </a:cubicBezTo>
                <a:cubicBezTo>
                  <a:pt x="26" y="252"/>
                  <a:pt x="37" y="254"/>
                  <a:pt x="41" y="258"/>
                </a:cubicBezTo>
                <a:cubicBezTo>
                  <a:pt x="42" y="263"/>
                  <a:pt x="33" y="272"/>
                  <a:pt x="24" y="278"/>
                </a:cubicBezTo>
                <a:cubicBezTo>
                  <a:pt x="14" y="285"/>
                  <a:pt x="17" y="290"/>
                  <a:pt x="19" y="294"/>
                </a:cubicBezTo>
                <a:cubicBezTo>
                  <a:pt x="21" y="298"/>
                  <a:pt x="22" y="304"/>
                  <a:pt x="34" y="300"/>
                </a:cubicBezTo>
                <a:cubicBezTo>
                  <a:pt x="43" y="298"/>
                  <a:pt x="54" y="297"/>
                  <a:pt x="59" y="300"/>
                </a:cubicBezTo>
                <a:cubicBezTo>
                  <a:pt x="61" y="304"/>
                  <a:pt x="55" y="316"/>
                  <a:pt x="48" y="324"/>
                </a:cubicBezTo>
                <a:cubicBezTo>
                  <a:pt x="40" y="333"/>
                  <a:pt x="44" y="337"/>
                  <a:pt x="47" y="341"/>
                </a:cubicBezTo>
                <a:cubicBezTo>
                  <a:pt x="50" y="344"/>
                  <a:pt x="53" y="349"/>
                  <a:pt x="64" y="342"/>
                </a:cubicBezTo>
                <a:cubicBezTo>
                  <a:pt x="72" y="338"/>
                  <a:pt x="82" y="334"/>
                  <a:pt x="87" y="335"/>
                </a:cubicBezTo>
                <a:cubicBezTo>
                  <a:pt x="91" y="339"/>
                  <a:pt x="88" y="352"/>
                  <a:pt x="83" y="362"/>
                </a:cubicBezTo>
                <a:cubicBezTo>
                  <a:pt x="77" y="373"/>
                  <a:pt x="82" y="375"/>
                  <a:pt x="86" y="378"/>
                </a:cubicBezTo>
                <a:close/>
                <a:moveTo>
                  <a:pt x="124" y="325"/>
                </a:moveTo>
                <a:cubicBezTo>
                  <a:pt x="60" y="278"/>
                  <a:pt x="47" y="189"/>
                  <a:pt x="94" y="125"/>
                </a:cubicBezTo>
                <a:cubicBezTo>
                  <a:pt x="141" y="61"/>
                  <a:pt x="231" y="47"/>
                  <a:pt x="295" y="94"/>
                </a:cubicBezTo>
                <a:cubicBezTo>
                  <a:pt x="358" y="141"/>
                  <a:pt x="372" y="231"/>
                  <a:pt x="325" y="295"/>
                </a:cubicBezTo>
                <a:cubicBezTo>
                  <a:pt x="278" y="359"/>
                  <a:pt x="188" y="372"/>
                  <a:pt x="124" y="32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1" name="Freeform 1183">
            <a:extLst>
              <a:ext uri="{FF2B5EF4-FFF2-40B4-BE49-F238E27FC236}">
                <a16:creationId xmlns:a16="http://schemas.microsoft.com/office/drawing/2014/main" id="{B61426CD-D3F3-44AA-AEAB-C00766808F2E}"/>
              </a:ext>
            </a:extLst>
          </p:cNvPr>
          <p:cNvSpPr>
            <a:spLocks noEditPoints="1"/>
          </p:cNvSpPr>
          <p:nvPr/>
        </p:nvSpPr>
        <p:spPr bwMode="auto">
          <a:xfrm rot="1233185">
            <a:off x="137890" y="3508870"/>
            <a:ext cx="1782636" cy="1767902"/>
          </a:xfrm>
          <a:custGeom>
            <a:avLst/>
            <a:gdLst>
              <a:gd name="T0" fmla="*/ 306 w 470"/>
              <a:gd name="T1" fmla="*/ 458 h 468"/>
              <a:gd name="T2" fmla="*/ 329 w 470"/>
              <a:gd name="T3" fmla="*/ 406 h 468"/>
              <a:gd name="T4" fmla="*/ 385 w 470"/>
              <a:gd name="T5" fmla="*/ 415 h 468"/>
              <a:gd name="T6" fmla="*/ 387 w 470"/>
              <a:gd name="T7" fmla="*/ 358 h 468"/>
              <a:gd name="T8" fmla="*/ 444 w 470"/>
              <a:gd name="T9" fmla="*/ 342 h 468"/>
              <a:gd name="T10" fmla="*/ 424 w 470"/>
              <a:gd name="T11" fmla="*/ 289 h 468"/>
              <a:gd name="T12" fmla="*/ 469 w 470"/>
              <a:gd name="T13" fmla="*/ 255 h 468"/>
              <a:gd name="T14" fmla="*/ 431 w 470"/>
              <a:gd name="T15" fmla="*/ 214 h 468"/>
              <a:gd name="T16" fmla="*/ 460 w 470"/>
              <a:gd name="T17" fmla="*/ 163 h 468"/>
              <a:gd name="T18" fmla="*/ 408 w 470"/>
              <a:gd name="T19" fmla="*/ 140 h 468"/>
              <a:gd name="T20" fmla="*/ 417 w 470"/>
              <a:gd name="T21" fmla="*/ 84 h 468"/>
              <a:gd name="T22" fmla="*/ 360 w 470"/>
              <a:gd name="T23" fmla="*/ 82 h 468"/>
              <a:gd name="T24" fmla="*/ 344 w 470"/>
              <a:gd name="T25" fmla="*/ 26 h 468"/>
              <a:gd name="T26" fmla="*/ 291 w 470"/>
              <a:gd name="T27" fmla="*/ 46 h 468"/>
              <a:gd name="T28" fmla="*/ 257 w 470"/>
              <a:gd name="T29" fmla="*/ 1 h 468"/>
              <a:gd name="T30" fmla="*/ 216 w 470"/>
              <a:gd name="T31" fmla="*/ 39 h 468"/>
              <a:gd name="T32" fmla="*/ 164 w 470"/>
              <a:gd name="T33" fmla="*/ 11 h 468"/>
              <a:gd name="T34" fmla="*/ 141 w 470"/>
              <a:gd name="T35" fmla="*/ 62 h 468"/>
              <a:gd name="T36" fmla="*/ 85 w 470"/>
              <a:gd name="T37" fmla="*/ 53 h 468"/>
              <a:gd name="T38" fmla="*/ 83 w 470"/>
              <a:gd name="T39" fmla="*/ 110 h 468"/>
              <a:gd name="T40" fmla="*/ 26 w 470"/>
              <a:gd name="T41" fmla="*/ 126 h 468"/>
              <a:gd name="T42" fmla="*/ 46 w 470"/>
              <a:gd name="T43" fmla="*/ 179 h 468"/>
              <a:gd name="T44" fmla="*/ 0 w 470"/>
              <a:gd name="T45" fmla="*/ 213 h 468"/>
              <a:gd name="T46" fmla="*/ 39 w 470"/>
              <a:gd name="T47" fmla="*/ 254 h 468"/>
              <a:gd name="T48" fmla="*/ 10 w 470"/>
              <a:gd name="T49" fmla="*/ 305 h 468"/>
              <a:gd name="T50" fmla="*/ 62 w 470"/>
              <a:gd name="T51" fmla="*/ 328 h 468"/>
              <a:gd name="T52" fmla="*/ 53 w 470"/>
              <a:gd name="T53" fmla="*/ 384 h 468"/>
              <a:gd name="T54" fmla="*/ 110 w 470"/>
              <a:gd name="T55" fmla="*/ 386 h 468"/>
              <a:gd name="T56" fmla="*/ 126 w 470"/>
              <a:gd name="T57" fmla="*/ 442 h 468"/>
              <a:gd name="T58" fmla="*/ 179 w 470"/>
              <a:gd name="T59" fmla="*/ 422 h 468"/>
              <a:gd name="T60" fmla="*/ 213 w 470"/>
              <a:gd name="T61" fmla="*/ 468 h 468"/>
              <a:gd name="T62" fmla="*/ 254 w 470"/>
              <a:gd name="T63" fmla="*/ 429 h 468"/>
              <a:gd name="T64" fmla="*/ 61 w 470"/>
              <a:gd name="T65" fmla="*/ 288 h 468"/>
              <a:gd name="T66" fmla="*/ 409 w 470"/>
              <a:gd name="T67" fmla="*/ 180 h 468"/>
              <a:gd name="T68" fmla="*/ 61 w 470"/>
              <a:gd name="T69" fmla="*/ 28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0" h="468">
                <a:moveTo>
                  <a:pt x="282" y="424"/>
                </a:moveTo>
                <a:cubicBezTo>
                  <a:pt x="306" y="458"/>
                  <a:pt x="306" y="458"/>
                  <a:pt x="306" y="458"/>
                </a:cubicBezTo>
                <a:cubicBezTo>
                  <a:pt x="334" y="447"/>
                  <a:pt x="334" y="447"/>
                  <a:pt x="334" y="447"/>
                </a:cubicBezTo>
                <a:cubicBezTo>
                  <a:pt x="329" y="406"/>
                  <a:pt x="329" y="406"/>
                  <a:pt x="329" y="406"/>
                </a:cubicBezTo>
                <a:cubicBezTo>
                  <a:pt x="336" y="402"/>
                  <a:pt x="343" y="398"/>
                  <a:pt x="350" y="393"/>
                </a:cubicBezTo>
                <a:cubicBezTo>
                  <a:pt x="385" y="415"/>
                  <a:pt x="385" y="415"/>
                  <a:pt x="385" y="415"/>
                </a:cubicBezTo>
                <a:cubicBezTo>
                  <a:pt x="407" y="394"/>
                  <a:pt x="407" y="394"/>
                  <a:pt x="407" y="394"/>
                </a:cubicBezTo>
                <a:cubicBezTo>
                  <a:pt x="387" y="358"/>
                  <a:pt x="387" y="358"/>
                  <a:pt x="387" y="358"/>
                </a:cubicBezTo>
                <a:cubicBezTo>
                  <a:pt x="393" y="351"/>
                  <a:pt x="398" y="343"/>
                  <a:pt x="403" y="335"/>
                </a:cubicBezTo>
                <a:cubicBezTo>
                  <a:pt x="444" y="342"/>
                  <a:pt x="444" y="342"/>
                  <a:pt x="444" y="342"/>
                </a:cubicBezTo>
                <a:cubicBezTo>
                  <a:pt x="456" y="315"/>
                  <a:pt x="456" y="315"/>
                  <a:pt x="456" y="315"/>
                </a:cubicBezTo>
                <a:cubicBezTo>
                  <a:pt x="424" y="289"/>
                  <a:pt x="424" y="289"/>
                  <a:pt x="424" y="289"/>
                </a:cubicBezTo>
                <a:cubicBezTo>
                  <a:pt x="426" y="281"/>
                  <a:pt x="428" y="273"/>
                  <a:pt x="429" y="265"/>
                </a:cubicBezTo>
                <a:cubicBezTo>
                  <a:pt x="469" y="255"/>
                  <a:pt x="469" y="255"/>
                  <a:pt x="469" y="255"/>
                </a:cubicBezTo>
                <a:cubicBezTo>
                  <a:pt x="470" y="226"/>
                  <a:pt x="470" y="226"/>
                  <a:pt x="470" y="226"/>
                </a:cubicBezTo>
                <a:cubicBezTo>
                  <a:pt x="431" y="214"/>
                  <a:pt x="431" y="214"/>
                  <a:pt x="431" y="214"/>
                </a:cubicBezTo>
                <a:cubicBezTo>
                  <a:pt x="430" y="205"/>
                  <a:pt x="428" y="196"/>
                  <a:pt x="426" y="187"/>
                </a:cubicBezTo>
                <a:cubicBezTo>
                  <a:pt x="460" y="163"/>
                  <a:pt x="460" y="163"/>
                  <a:pt x="460" y="163"/>
                </a:cubicBezTo>
                <a:cubicBezTo>
                  <a:pt x="449" y="135"/>
                  <a:pt x="449" y="135"/>
                  <a:pt x="449" y="135"/>
                </a:cubicBezTo>
                <a:cubicBezTo>
                  <a:pt x="408" y="140"/>
                  <a:pt x="408" y="140"/>
                  <a:pt x="408" y="140"/>
                </a:cubicBezTo>
                <a:cubicBezTo>
                  <a:pt x="404" y="133"/>
                  <a:pt x="400" y="126"/>
                  <a:pt x="395" y="119"/>
                </a:cubicBezTo>
                <a:cubicBezTo>
                  <a:pt x="417" y="84"/>
                  <a:pt x="417" y="84"/>
                  <a:pt x="417" y="84"/>
                </a:cubicBezTo>
                <a:cubicBezTo>
                  <a:pt x="396" y="62"/>
                  <a:pt x="396" y="62"/>
                  <a:pt x="396" y="62"/>
                </a:cubicBezTo>
                <a:cubicBezTo>
                  <a:pt x="360" y="82"/>
                  <a:pt x="360" y="82"/>
                  <a:pt x="360" y="82"/>
                </a:cubicBezTo>
                <a:cubicBezTo>
                  <a:pt x="353" y="76"/>
                  <a:pt x="345" y="71"/>
                  <a:pt x="337" y="66"/>
                </a:cubicBezTo>
                <a:cubicBezTo>
                  <a:pt x="344" y="26"/>
                  <a:pt x="344" y="26"/>
                  <a:pt x="344" y="26"/>
                </a:cubicBezTo>
                <a:cubicBezTo>
                  <a:pt x="317" y="14"/>
                  <a:pt x="317" y="14"/>
                  <a:pt x="317" y="14"/>
                </a:cubicBezTo>
                <a:cubicBezTo>
                  <a:pt x="291" y="46"/>
                  <a:pt x="291" y="46"/>
                  <a:pt x="291" y="46"/>
                </a:cubicBezTo>
                <a:cubicBezTo>
                  <a:pt x="283" y="44"/>
                  <a:pt x="275" y="42"/>
                  <a:pt x="266" y="41"/>
                </a:cubicBezTo>
                <a:cubicBezTo>
                  <a:pt x="257" y="1"/>
                  <a:pt x="257" y="1"/>
                  <a:pt x="257" y="1"/>
                </a:cubicBezTo>
                <a:cubicBezTo>
                  <a:pt x="227" y="0"/>
                  <a:pt x="227" y="0"/>
                  <a:pt x="227" y="0"/>
                </a:cubicBezTo>
                <a:cubicBezTo>
                  <a:pt x="216" y="39"/>
                  <a:pt x="216" y="39"/>
                  <a:pt x="216" y="39"/>
                </a:cubicBezTo>
                <a:cubicBezTo>
                  <a:pt x="206" y="40"/>
                  <a:pt x="197" y="42"/>
                  <a:pt x="188" y="44"/>
                </a:cubicBezTo>
                <a:cubicBezTo>
                  <a:pt x="164" y="11"/>
                  <a:pt x="164" y="11"/>
                  <a:pt x="164" y="11"/>
                </a:cubicBezTo>
                <a:cubicBezTo>
                  <a:pt x="136" y="21"/>
                  <a:pt x="136" y="21"/>
                  <a:pt x="136" y="21"/>
                </a:cubicBezTo>
                <a:cubicBezTo>
                  <a:pt x="141" y="62"/>
                  <a:pt x="141" y="62"/>
                  <a:pt x="141" y="62"/>
                </a:cubicBezTo>
                <a:cubicBezTo>
                  <a:pt x="134" y="66"/>
                  <a:pt x="127" y="71"/>
                  <a:pt x="120" y="76"/>
                </a:cubicBezTo>
                <a:cubicBezTo>
                  <a:pt x="85" y="53"/>
                  <a:pt x="85" y="53"/>
                  <a:pt x="85" y="53"/>
                </a:cubicBezTo>
                <a:cubicBezTo>
                  <a:pt x="63" y="74"/>
                  <a:pt x="63" y="74"/>
                  <a:pt x="63" y="74"/>
                </a:cubicBezTo>
                <a:cubicBezTo>
                  <a:pt x="83" y="110"/>
                  <a:pt x="83" y="110"/>
                  <a:pt x="83" y="110"/>
                </a:cubicBezTo>
                <a:cubicBezTo>
                  <a:pt x="77" y="117"/>
                  <a:pt x="71" y="125"/>
                  <a:pt x="67" y="133"/>
                </a:cubicBezTo>
                <a:cubicBezTo>
                  <a:pt x="26" y="126"/>
                  <a:pt x="26" y="126"/>
                  <a:pt x="26" y="126"/>
                </a:cubicBezTo>
                <a:cubicBezTo>
                  <a:pt x="14" y="154"/>
                  <a:pt x="14" y="154"/>
                  <a:pt x="14" y="154"/>
                </a:cubicBezTo>
                <a:cubicBezTo>
                  <a:pt x="46" y="179"/>
                  <a:pt x="46" y="179"/>
                  <a:pt x="46" y="179"/>
                </a:cubicBezTo>
                <a:cubicBezTo>
                  <a:pt x="44" y="187"/>
                  <a:pt x="42" y="195"/>
                  <a:pt x="41" y="203"/>
                </a:cubicBezTo>
                <a:cubicBezTo>
                  <a:pt x="0" y="213"/>
                  <a:pt x="0" y="213"/>
                  <a:pt x="0" y="213"/>
                </a:cubicBezTo>
                <a:cubicBezTo>
                  <a:pt x="0" y="242"/>
                  <a:pt x="0" y="242"/>
                  <a:pt x="0" y="242"/>
                </a:cubicBezTo>
                <a:cubicBezTo>
                  <a:pt x="39" y="254"/>
                  <a:pt x="39" y="254"/>
                  <a:pt x="39" y="254"/>
                </a:cubicBezTo>
                <a:cubicBezTo>
                  <a:pt x="40" y="263"/>
                  <a:pt x="41" y="272"/>
                  <a:pt x="44" y="281"/>
                </a:cubicBezTo>
                <a:cubicBezTo>
                  <a:pt x="10" y="305"/>
                  <a:pt x="10" y="305"/>
                  <a:pt x="10" y="305"/>
                </a:cubicBezTo>
                <a:cubicBezTo>
                  <a:pt x="21" y="333"/>
                  <a:pt x="21" y="333"/>
                  <a:pt x="21" y="333"/>
                </a:cubicBezTo>
                <a:cubicBezTo>
                  <a:pt x="62" y="328"/>
                  <a:pt x="62" y="328"/>
                  <a:pt x="62" y="328"/>
                </a:cubicBezTo>
                <a:cubicBezTo>
                  <a:pt x="66" y="335"/>
                  <a:pt x="70" y="342"/>
                  <a:pt x="75" y="349"/>
                </a:cubicBezTo>
                <a:cubicBezTo>
                  <a:pt x="53" y="384"/>
                  <a:pt x="53" y="384"/>
                  <a:pt x="53" y="384"/>
                </a:cubicBezTo>
                <a:cubicBezTo>
                  <a:pt x="74" y="406"/>
                  <a:pt x="74" y="406"/>
                  <a:pt x="74" y="406"/>
                </a:cubicBezTo>
                <a:cubicBezTo>
                  <a:pt x="110" y="386"/>
                  <a:pt x="110" y="386"/>
                  <a:pt x="110" y="386"/>
                </a:cubicBezTo>
                <a:cubicBezTo>
                  <a:pt x="117" y="392"/>
                  <a:pt x="125" y="397"/>
                  <a:pt x="133" y="402"/>
                </a:cubicBezTo>
                <a:cubicBezTo>
                  <a:pt x="126" y="442"/>
                  <a:pt x="126" y="442"/>
                  <a:pt x="126" y="442"/>
                </a:cubicBezTo>
                <a:cubicBezTo>
                  <a:pt x="153" y="454"/>
                  <a:pt x="153" y="454"/>
                  <a:pt x="153" y="454"/>
                </a:cubicBezTo>
                <a:cubicBezTo>
                  <a:pt x="179" y="422"/>
                  <a:pt x="179" y="422"/>
                  <a:pt x="179" y="422"/>
                </a:cubicBezTo>
                <a:cubicBezTo>
                  <a:pt x="187" y="424"/>
                  <a:pt x="195" y="426"/>
                  <a:pt x="204" y="428"/>
                </a:cubicBezTo>
                <a:cubicBezTo>
                  <a:pt x="213" y="468"/>
                  <a:pt x="213" y="468"/>
                  <a:pt x="213" y="468"/>
                </a:cubicBezTo>
                <a:cubicBezTo>
                  <a:pt x="243" y="468"/>
                  <a:pt x="243" y="468"/>
                  <a:pt x="243" y="468"/>
                </a:cubicBezTo>
                <a:cubicBezTo>
                  <a:pt x="254" y="429"/>
                  <a:pt x="254" y="429"/>
                  <a:pt x="254" y="429"/>
                </a:cubicBezTo>
                <a:cubicBezTo>
                  <a:pt x="263" y="428"/>
                  <a:pt x="273" y="427"/>
                  <a:pt x="282" y="424"/>
                </a:cubicBezTo>
                <a:moveTo>
                  <a:pt x="61" y="288"/>
                </a:moveTo>
                <a:cubicBezTo>
                  <a:pt x="31" y="192"/>
                  <a:pt x="85" y="91"/>
                  <a:pt x="181" y="61"/>
                </a:cubicBezTo>
                <a:cubicBezTo>
                  <a:pt x="278" y="31"/>
                  <a:pt x="379" y="85"/>
                  <a:pt x="409" y="180"/>
                </a:cubicBezTo>
                <a:cubicBezTo>
                  <a:pt x="439" y="276"/>
                  <a:pt x="385" y="377"/>
                  <a:pt x="289" y="407"/>
                </a:cubicBezTo>
                <a:cubicBezTo>
                  <a:pt x="192" y="437"/>
                  <a:pt x="90" y="384"/>
                  <a:pt x="61" y="28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2" name="Freeform 1184">
            <a:extLst>
              <a:ext uri="{FF2B5EF4-FFF2-40B4-BE49-F238E27FC236}">
                <a16:creationId xmlns:a16="http://schemas.microsoft.com/office/drawing/2014/main" id="{F46F2DB2-03F9-4D97-9945-6CBCF8378D24}"/>
              </a:ext>
            </a:extLst>
          </p:cNvPr>
          <p:cNvSpPr>
            <a:spLocks noEditPoints="1"/>
          </p:cNvSpPr>
          <p:nvPr/>
        </p:nvSpPr>
        <p:spPr bwMode="auto">
          <a:xfrm rot="1233185">
            <a:off x="289422" y="3660090"/>
            <a:ext cx="1473252" cy="1468340"/>
          </a:xfrm>
          <a:custGeom>
            <a:avLst/>
            <a:gdLst>
              <a:gd name="T0" fmla="*/ 29 w 389"/>
              <a:gd name="T1" fmla="*/ 246 h 388"/>
              <a:gd name="T2" fmla="*/ 144 w 389"/>
              <a:gd name="T3" fmla="*/ 29 h 388"/>
              <a:gd name="T4" fmla="*/ 361 w 389"/>
              <a:gd name="T5" fmla="*/ 143 h 388"/>
              <a:gd name="T6" fmla="*/ 246 w 389"/>
              <a:gd name="T7" fmla="*/ 359 h 388"/>
              <a:gd name="T8" fmla="*/ 29 w 389"/>
              <a:gd name="T9" fmla="*/ 246 h 388"/>
              <a:gd name="T10" fmla="*/ 342 w 389"/>
              <a:gd name="T11" fmla="*/ 149 h 388"/>
              <a:gd name="T12" fmla="*/ 150 w 389"/>
              <a:gd name="T13" fmla="*/ 48 h 388"/>
              <a:gd name="T14" fmla="*/ 48 w 389"/>
              <a:gd name="T15" fmla="*/ 240 h 388"/>
              <a:gd name="T16" fmla="*/ 240 w 389"/>
              <a:gd name="T17" fmla="*/ 340 h 388"/>
              <a:gd name="T18" fmla="*/ 342 w 389"/>
              <a:gd name="T19" fmla="*/ 14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 h="388">
                <a:moveTo>
                  <a:pt x="29" y="246"/>
                </a:moveTo>
                <a:cubicBezTo>
                  <a:pt x="0" y="154"/>
                  <a:pt x="52" y="57"/>
                  <a:pt x="144" y="29"/>
                </a:cubicBezTo>
                <a:cubicBezTo>
                  <a:pt x="235" y="0"/>
                  <a:pt x="333" y="51"/>
                  <a:pt x="361" y="143"/>
                </a:cubicBezTo>
                <a:cubicBezTo>
                  <a:pt x="389" y="234"/>
                  <a:pt x="338" y="331"/>
                  <a:pt x="246" y="359"/>
                </a:cubicBezTo>
                <a:cubicBezTo>
                  <a:pt x="154" y="388"/>
                  <a:pt x="57" y="337"/>
                  <a:pt x="29" y="246"/>
                </a:cubicBezTo>
                <a:close/>
                <a:moveTo>
                  <a:pt x="342" y="149"/>
                </a:moveTo>
                <a:cubicBezTo>
                  <a:pt x="317" y="68"/>
                  <a:pt x="231" y="23"/>
                  <a:pt x="150" y="48"/>
                </a:cubicBezTo>
                <a:cubicBezTo>
                  <a:pt x="69" y="73"/>
                  <a:pt x="23" y="159"/>
                  <a:pt x="48" y="240"/>
                </a:cubicBezTo>
                <a:cubicBezTo>
                  <a:pt x="73" y="320"/>
                  <a:pt x="159" y="365"/>
                  <a:pt x="240" y="340"/>
                </a:cubicBezTo>
                <a:cubicBezTo>
                  <a:pt x="321" y="315"/>
                  <a:pt x="367" y="229"/>
                  <a:pt x="342" y="14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4" name="Freeform 1186">
            <a:extLst>
              <a:ext uri="{FF2B5EF4-FFF2-40B4-BE49-F238E27FC236}">
                <a16:creationId xmlns:a16="http://schemas.microsoft.com/office/drawing/2014/main" id="{ABDB6BA7-4857-473B-8386-CF9F1D3DABAE}"/>
              </a:ext>
            </a:extLst>
          </p:cNvPr>
          <p:cNvSpPr>
            <a:spLocks noEditPoints="1"/>
          </p:cNvSpPr>
          <p:nvPr/>
        </p:nvSpPr>
        <p:spPr bwMode="auto">
          <a:xfrm rot="1233185">
            <a:off x="4989040" y="4761462"/>
            <a:ext cx="88395" cy="157147"/>
          </a:xfrm>
          <a:custGeom>
            <a:avLst/>
            <a:gdLst>
              <a:gd name="T0" fmla="*/ 4 w 23"/>
              <a:gd name="T1" fmla="*/ 41 h 41"/>
              <a:gd name="T2" fmla="*/ 4 w 23"/>
              <a:gd name="T3" fmla="*/ 41 h 41"/>
              <a:gd name="T4" fmla="*/ 3 w 23"/>
              <a:gd name="T5" fmla="*/ 40 h 41"/>
              <a:gd name="T6" fmla="*/ 0 w 23"/>
              <a:gd name="T7" fmla="*/ 1 h 41"/>
              <a:gd name="T8" fmla="*/ 1 w 23"/>
              <a:gd name="T9" fmla="*/ 1 h 41"/>
              <a:gd name="T10" fmla="*/ 2 w 23"/>
              <a:gd name="T11" fmla="*/ 0 h 41"/>
              <a:gd name="T12" fmla="*/ 12 w 23"/>
              <a:gd name="T13" fmla="*/ 3 h 41"/>
              <a:gd name="T14" fmla="*/ 21 w 23"/>
              <a:gd name="T15" fmla="*/ 18 h 41"/>
              <a:gd name="T16" fmla="*/ 5 w 23"/>
              <a:gd name="T17" fmla="*/ 41 h 41"/>
              <a:gd name="T18" fmla="*/ 4 w 23"/>
              <a:gd name="T19" fmla="*/ 41 h 41"/>
              <a:gd name="T20" fmla="*/ 3 w 23"/>
              <a:gd name="T21" fmla="*/ 3 h 41"/>
              <a:gd name="T22" fmla="*/ 5 w 23"/>
              <a:gd name="T23" fmla="*/ 39 h 41"/>
              <a:gd name="T24" fmla="*/ 19 w 23"/>
              <a:gd name="T25" fmla="*/ 19 h 41"/>
              <a:gd name="T26" fmla="*/ 11 w 23"/>
              <a:gd name="T27" fmla="*/ 5 h 41"/>
              <a:gd name="T28" fmla="*/ 3 w 23"/>
              <a:gd name="T2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41">
                <a:moveTo>
                  <a:pt x="4" y="41"/>
                </a:moveTo>
                <a:cubicBezTo>
                  <a:pt x="4" y="41"/>
                  <a:pt x="4" y="41"/>
                  <a:pt x="4" y="41"/>
                </a:cubicBezTo>
                <a:cubicBezTo>
                  <a:pt x="3" y="41"/>
                  <a:pt x="3" y="41"/>
                  <a:pt x="3" y="40"/>
                </a:cubicBezTo>
                <a:cubicBezTo>
                  <a:pt x="0" y="1"/>
                  <a:pt x="0" y="1"/>
                  <a:pt x="0" y="1"/>
                </a:cubicBezTo>
                <a:cubicBezTo>
                  <a:pt x="0" y="1"/>
                  <a:pt x="0" y="1"/>
                  <a:pt x="1" y="1"/>
                </a:cubicBezTo>
                <a:cubicBezTo>
                  <a:pt x="1" y="0"/>
                  <a:pt x="1" y="0"/>
                  <a:pt x="2" y="0"/>
                </a:cubicBezTo>
                <a:cubicBezTo>
                  <a:pt x="5" y="0"/>
                  <a:pt x="9" y="1"/>
                  <a:pt x="12" y="3"/>
                </a:cubicBezTo>
                <a:cubicBezTo>
                  <a:pt x="17" y="7"/>
                  <a:pt x="21" y="12"/>
                  <a:pt x="21" y="18"/>
                </a:cubicBezTo>
                <a:cubicBezTo>
                  <a:pt x="23" y="29"/>
                  <a:pt x="15" y="39"/>
                  <a:pt x="5" y="41"/>
                </a:cubicBezTo>
                <a:cubicBezTo>
                  <a:pt x="4" y="41"/>
                  <a:pt x="4" y="41"/>
                  <a:pt x="4" y="41"/>
                </a:cubicBezTo>
                <a:close/>
                <a:moveTo>
                  <a:pt x="3" y="3"/>
                </a:moveTo>
                <a:cubicBezTo>
                  <a:pt x="5" y="39"/>
                  <a:pt x="5" y="39"/>
                  <a:pt x="5" y="39"/>
                </a:cubicBezTo>
                <a:cubicBezTo>
                  <a:pt x="14" y="36"/>
                  <a:pt x="20" y="28"/>
                  <a:pt x="19" y="19"/>
                </a:cubicBezTo>
                <a:cubicBezTo>
                  <a:pt x="18" y="13"/>
                  <a:pt x="15" y="8"/>
                  <a:pt x="11" y="5"/>
                </a:cubicBezTo>
                <a:cubicBezTo>
                  <a:pt x="8" y="4"/>
                  <a:pt x="6" y="3"/>
                  <a:pt x="3"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5" name="Freeform 1187">
            <a:extLst>
              <a:ext uri="{FF2B5EF4-FFF2-40B4-BE49-F238E27FC236}">
                <a16:creationId xmlns:a16="http://schemas.microsoft.com/office/drawing/2014/main" id="{0C0BAABD-F7EC-40B0-9D82-5133E1067F35}"/>
              </a:ext>
            </a:extLst>
          </p:cNvPr>
          <p:cNvSpPr>
            <a:spLocks noEditPoints="1"/>
          </p:cNvSpPr>
          <p:nvPr/>
        </p:nvSpPr>
        <p:spPr bwMode="auto">
          <a:xfrm rot="1233185">
            <a:off x="4914763" y="4732859"/>
            <a:ext cx="83486" cy="162056"/>
          </a:xfrm>
          <a:custGeom>
            <a:avLst/>
            <a:gdLst>
              <a:gd name="T0" fmla="*/ 11 w 22"/>
              <a:gd name="T1" fmla="*/ 38 h 42"/>
              <a:gd name="T2" fmla="*/ 1 w 22"/>
              <a:gd name="T3" fmla="*/ 23 h 42"/>
              <a:gd name="T4" fmla="*/ 18 w 22"/>
              <a:gd name="T5" fmla="*/ 0 h 42"/>
              <a:gd name="T6" fmla="*/ 19 w 22"/>
              <a:gd name="T7" fmla="*/ 1 h 42"/>
              <a:gd name="T8" fmla="*/ 19 w 22"/>
              <a:gd name="T9" fmla="*/ 2 h 42"/>
              <a:gd name="T10" fmla="*/ 22 w 22"/>
              <a:gd name="T11" fmla="*/ 40 h 42"/>
              <a:gd name="T12" fmla="*/ 22 w 22"/>
              <a:gd name="T13" fmla="*/ 41 h 42"/>
              <a:gd name="T14" fmla="*/ 21 w 22"/>
              <a:gd name="T15" fmla="*/ 42 h 42"/>
              <a:gd name="T16" fmla="*/ 11 w 22"/>
              <a:gd name="T17" fmla="*/ 38 h 42"/>
              <a:gd name="T18" fmla="*/ 17 w 22"/>
              <a:gd name="T19" fmla="*/ 3 h 42"/>
              <a:gd name="T20" fmla="*/ 4 w 22"/>
              <a:gd name="T21" fmla="*/ 23 h 42"/>
              <a:gd name="T22" fmla="*/ 12 w 22"/>
              <a:gd name="T23" fmla="*/ 36 h 42"/>
              <a:gd name="T24" fmla="*/ 20 w 22"/>
              <a:gd name="T25" fmla="*/ 39 h 42"/>
              <a:gd name="T26" fmla="*/ 17 w 22"/>
              <a:gd name="T2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42">
                <a:moveTo>
                  <a:pt x="11" y="38"/>
                </a:moveTo>
                <a:cubicBezTo>
                  <a:pt x="5" y="35"/>
                  <a:pt x="2" y="30"/>
                  <a:pt x="1" y="23"/>
                </a:cubicBezTo>
                <a:cubicBezTo>
                  <a:pt x="0" y="13"/>
                  <a:pt x="7" y="2"/>
                  <a:pt x="18" y="0"/>
                </a:cubicBezTo>
                <a:cubicBezTo>
                  <a:pt x="18" y="0"/>
                  <a:pt x="19" y="0"/>
                  <a:pt x="19" y="1"/>
                </a:cubicBezTo>
                <a:cubicBezTo>
                  <a:pt x="19" y="1"/>
                  <a:pt x="19" y="1"/>
                  <a:pt x="19" y="2"/>
                </a:cubicBezTo>
                <a:cubicBezTo>
                  <a:pt x="22" y="40"/>
                  <a:pt x="22" y="40"/>
                  <a:pt x="22" y="40"/>
                </a:cubicBezTo>
                <a:cubicBezTo>
                  <a:pt x="22" y="41"/>
                  <a:pt x="22" y="41"/>
                  <a:pt x="22" y="41"/>
                </a:cubicBezTo>
                <a:cubicBezTo>
                  <a:pt x="22" y="42"/>
                  <a:pt x="21" y="42"/>
                  <a:pt x="21" y="42"/>
                </a:cubicBezTo>
                <a:cubicBezTo>
                  <a:pt x="17" y="41"/>
                  <a:pt x="14" y="40"/>
                  <a:pt x="11" y="38"/>
                </a:cubicBezTo>
                <a:close/>
                <a:moveTo>
                  <a:pt x="17" y="3"/>
                </a:moveTo>
                <a:cubicBezTo>
                  <a:pt x="8" y="6"/>
                  <a:pt x="2" y="14"/>
                  <a:pt x="4" y="23"/>
                </a:cubicBezTo>
                <a:cubicBezTo>
                  <a:pt x="4" y="29"/>
                  <a:pt x="7" y="33"/>
                  <a:pt x="12" y="36"/>
                </a:cubicBezTo>
                <a:cubicBezTo>
                  <a:pt x="14" y="38"/>
                  <a:pt x="17" y="39"/>
                  <a:pt x="20" y="39"/>
                </a:cubicBezTo>
                <a:lnTo>
                  <a:pt x="17"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6" name="Freeform 1188">
            <a:extLst>
              <a:ext uri="{FF2B5EF4-FFF2-40B4-BE49-F238E27FC236}">
                <a16:creationId xmlns:a16="http://schemas.microsoft.com/office/drawing/2014/main" id="{60899CAE-F0D6-4628-A808-B1FB505C6609}"/>
              </a:ext>
            </a:extLst>
          </p:cNvPr>
          <p:cNvSpPr>
            <a:spLocks noEditPoints="1"/>
          </p:cNvSpPr>
          <p:nvPr/>
        </p:nvSpPr>
        <p:spPr bwMode="auto">
          <a:xfrm rot="1233185">
            <a:off x="4260656" y="4240449"/>
            <a:ext cx="309384" cy="304472"/>
          </a:xfrm>
          <a:custGeom>
            <a:avLst/>
            <a:gdLst>
              <a:gd name="T0" fmla="*/ 21 w 81"/>
              <a:gd name="T1" fmla="*/ 71 h 81"/>
              <a:gd name="T2" fmla="*/ 11 w 81"/>
              <a:gd name="T3" fmla="*/ 22 h 81"/>
              <a:gd name="T4" fmla="*/ 60 w 81"/>
              <a:gd name="T5" fmla="*/ 11 h 81"/>
              <a:gd name="T6" fmla="*/ 70 w 81"/>
              <a:gd name="T7" fmla="*/ 60 h 81"/>
              <a:gd name="T8" fmla="*/ 21 w 81"/>
              <a:gd name="T9" fmla="*/ 71 h 81"/>
              <a:gd name="T10" fmla="*/ 58 w 81"/>
              <a:gd name="T11" fmla="*/ 14 h 81"/>
              <a:gd name="T12" fmla="*/ 14 w 81"/>
              <a:gd name="T13" fmla="*/ 24 h 81"/>
              <a:gd name="T14" fmla="*/ 23 w 81"/>
              <a:gd name="T15" fmla="*/ 68 h 81"/>
              <a:gd name="T16" fmla="*/ 67 w 81"/>
              <a:gd name="T17" fmla="*/ 58 h 81"/>
              <a:gd name="T18" fmla="*/ 58 w 81"/>
              <a:gd name="T19" fmla="*/ 14 h 81"/>
              <a:gd name="T20" fmla="*/ 25 w 81"/>
              <a:gd name="T21" fmla="*/ 65 h 81"/>
              <a:gd name="T22" fmla="*/ 17 w 81"/>
              <a:gd name="T23" fmla="*/ 26 h 81"/>
              <a:gd name="T24" fmla="*/ 56 w 81"/>
              <a:gd name="T25" fmla="*/ 17 h 81"/>
              <a:gd name="T26" fmla="*/ 64 w 81"/>
              <a:gd name="T27" fmla="*/ 56 h 81"/>
              <a:gd name="T28" fmla="*/ 25 w 81"/>
              <a:gd name="T29" fmla="*/ 65 h 81"/>
              <a:gd name="T30" fmla="*/ 54 w 81"/>
              <a:gd name="T31" fmla="*/ 20 h 81"/>
              <a:gd name="T32" fmla="*/ 20 w 81"/>
              <a:gd name="T33" fmla="*/ 28 h 81"/>
              <a:gd name="T34" fmla="*/ 27 w 81"/>
              <a:gd name="T35" fmla="*/ 62 h 81"/>
              <a:gd name="T36" fmla="*/ 61 w 81"/>
              <a:gd name="T37" fmla="*/ 54 h 81"/>
              <a:gd name="T38" fmla="*/ 54 w 81"/>
              <a:gd name="T39"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81">
                <a:moveTo>
                  <a:pt x="21" y="71"/>
                </a:moveTo>
                <a:cubicBezTo>
                  <a:pt x="5" y="61"/>
                  <a:pt x="0" y="39"/>
                  <a:pt x="11" y="22"/>
                </a:cubicBezTo>
                <a:cubicBezTo>
                  <a:pt x="21" y="5"/>
                  <a:pt x="43" y="0"/>
                  <a:pt x="60" y="11"/>
                </a:cubicBezTo>
                <a:cubicBezTo>
                  <a:pt x="76" y="21"/>
                  <a:pt x="81" y="43"/>
                  <a:pt x="70" y="60"/>
                </a:cubicBezTo>
                <a:cubicBezTo>
                  <a:pt x="59" y="76"/>
                  <a:pt x="38" y="81"/>
                  <a:pt x="21" y="71"/>
                </a:cubicBezTo>
                <a:close/>
                <a:moveTo>
                  <a:pt x="58" y="14"/>
                </a:moveTo>
                <a:cubicBezTo>
                  <a:pt x="43" y="5"/>
                  <a:pt x="23" y="9"/>
                  <a:pt x="14" y="24"/>
                </a:cubicBezTo>
                <a:cubicBezTo>
                  <a:pt x="5" y="39"/>
                  <a:pt x="9" y="58"/>
                  <a:pt x="23" y="68"/>
                </a:cubicBezTo>
                <a:cubicBezTo>
                  <a:pt x="38" y="77"/>
                  <a:pt x="57" y="72"/>
                  <a:pt x="67" y="58"/>
                </a:cubicBezTo>
                <a:cubicBezTo>
                  <a:pt x="76" y="43"/>
                  <a:pt x="72" y="23"/>
                  <a:pt x="58" y="14"/>
                </a:cubicBezTo>
                <a:close/>
                <a:moveTo>
                  <a:pt x="25" y="65"/>
                </a:moveTo>
                <a:cubicBezTo>
                  <a:pt x="12" y="57"/>
                  <a:pt x="8" y="39"/>
                  <a:pt x="17" y="26"/>
                </a:cubicBezTo>
                <a:cubicBezTo>
                  <a:pt x="25" y="13"/>
                  <a:pt x="43" y="9"/>
                  <a:pt x="56" y="17"/>
                </a:cubicBezTo>
                <a:cubicBezTo>
                  <a:pt x="69" y="25"/>
                  <a:pt x="72" y="43"/>
                  <a:pt x="64" y="56"/>
                </a:cubicBezTo>
                <a:cubicBezTo>
                  <a:pt x="55" y="69"/>
                  <a:pt x="38" y="73"/>
                  <a:pt x="25" y="65"/>
                </a:cubicBezTo>
                <a:close/>
                <a:moveTo>
                  <a:pt x="54" y="20"/>
                </a:moveTo>
                <a:cubicBezTo>
                  <a:pt x="42" y="13"/>
                  <a:pt x="27" y="16"/>
                  <a:pt x="20" y="28"/>
                </a:cubicBezTo>
                <a:cubicBezTo>
                  <a:pt x="13" y="39"/>
                  <a:pt x="16" y="55"/>
                  <a:pt x="27" y="62"/>
                </a:cubicBezTo>
                <a:cubicBezTo>
                  <a:pt x="38" y="69"/>
                  <a:pt x="53" y="65"/>
                  <a:pt x="61" y="54"/>
                </a:cubicBezTo>
                <a:cubicBezTo>
                  <a:pt x="68" y="42"/>
                  <a:pt x="65" y="27"/>
                  <a:pt x="54" y="2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7" name="Freeform 1189">
            <a:extLst>
              <a:ext uri="{FF2B5EF4-FFF2-40B4-BE49-F238E27FC236}">
                <a16:creationId xmlns:a16="http://schemas.microsoft.com/office/drawing/2014/main" id="{F153D0FD-5A7F-444E-AA52-BDF7C0E2F5E1}"/>
              </a:ext>
            </a:extLst>
          </p:cNvPr>
          <p:cNvSpPr>
            <a:spLocks noEditPoints="1"/>
          </p:cNvSpPr>
          <p:nvPr/>
        </p:nvSpPr>
        <p:spPr bwMode="auto">
          <a:xfrm rot="1233185">
            <a:off x="4584953" y="4458521"/>
            <a:ext cx="152238" cy="152234"/>
          </a:xfrm>
          <a:custGeom>
            <a:avLst/>
            <a:gdLst>
              <a:gd name="T0" fmla="*/ 10 w 40"/>
              <a:gd name="T1" fmla="*/ 35 h 40"/>
              <a:gd name="T2" fmla="*/ 5 w 40"/>
              <a:gd name="T3" fmla="*/ 11 h 40"/>
              <a:gd name="T4" fmla="*/ 29 w 40"/>
              <a:gd name="T5" fmla="*/ 5 h 40"/>
              <a:gd name="T6" fmla="*/ 34 w 40"/>
              <a:gd name="T7" fmla="*/ 29 h 40"/>
              <a:gd name="T8" fmla="*/ 10 w 40"/>
              <a:gd name="T9" fmla="*/ 35 h 40"/>
              <a:gd name="T10" fmla="*/ 28 w 40"/>
              <a:gd name="T11" fmla="*/ 7 h 40"/>
              <a:gd name="T12" fmla="*/ 7 w 40"/>
              <a:gd name="T13" fmla="*/ 12 h 40"/>
              <a:gd name="T14" fmla="*/ 12 w 40"/>
              <a:gd name="T15" fmla="*/ 33 h 40"/>
              <a:gd name="T16" fmla="*/ 32 w 40"/>
              <a:gd name="T17" fmla="*/ 28 h 40"/>
              <a:gd name="T18" fmla="*/ 28 w 40"/>
              <a:gd name="T19" fmla="*/ 7 h 40"/>
              <a:gd name="T20" fmla="*/ 12 w 40"/>
              <a:gd name="T21" fmla="*/ 32 h 40"/>
              <a:gd name="T22" fmla="*/ 8 w 40"/>
              <a:gd name="T23" fmla="*/ 13 h 40"/>
              <a:gd name="T24" fmla="*/ 27 w 40"/>
              <a:gd name="T25" fmla="*/ 8 h 40"/>
              <a:gd name="T26" fmla="*/ 32 w 40"/>
              <a:gd name="T27" fmla="*/ 28 h 40"/>
              <a:gd name="T28" fmla="*/ 12 w 40"/>
              <a:gd name="T29" fmla="*/ 32 h 40"/>
              <a:gd name="T30" fmla="*/ 26 w 40"/>
              <a:gd name="T31" fmla="*/ 10 h 40"/>
              <a:gd name="T32" fmla="*/ 10 w 40"/>
              <a:gd name="T33" fmla="*/ 14 h 40"/>
              <a:gd name="T34" fmla="*/ 13 w 40"/>
              <a:gd name="T35" fmla="*/ 30 h 40"/>
              <a:gd name="T36" fmla="*/ 29 w 40"/>
              <a:gd name="T37" fmla="*/ 26 h 40"/>
              <a:gd name="T38" fmla="*/ 26 w 40"/>
              <a:gd name="T3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0" y="35"/>
                </a:moveTo>
                <a:cubicBezTo>
                  <a:pt x="2" y="30"/>
                  <a:pt x="0" y="19"/>
                  <a:pt x="5" y="11"/>
                </a:cubicBezTo>
                <a:cubicBezTo>
                  <a:pt x="10" y="2"/>
                  <a:pt x="21" y="0"/>
                  <a:pt x="29" y="5"/>
                </a:cubicBezTo>
                <a:cubicBezTo>
                  <a:pt x="37" y="10"/>
                  <a:pt x="40" y="21"/>
                  <a:pt x="34" y="29"/>
                </a:cubicBezTo>
                <a:cubicBezTo>
                  <a:pt x="29" y="38"/>
                  <a:pt x="18" y="40"/>
                  <a:pt x="10" y="35"/>
                </a:cubicBezTo>
                <a:close/>
                <a:moveTo>
                  <a:pt x="28" y="7"/>
                </a:moveTo>
                <a:cubicBezTo>
                  <a:pt x="21" y="3"/>
                  <a:pt x="12" y="5"/>
                  <a:pt x="7" y="12"/>
                </a:cubicBezTo>
                <a:cubicBezTo>
                  <a:pt x="3" y="19"/>
                  <a:pt x="5" y="29"/>
                  <a:pt x="12" y="33"/>
                </a:cubicBezTo>
                <a:cubicBezTo>
                  <a:pt x="19" y="37"/>
                  <a:pt x="28" y="35"/>
                  <a:pt x="32" y="28"/>
                </a:cubicBezTo>
                <a:cubicBezTo>
                  <a:pt x="37" y="21"/>
                  <a:pt x="35" y="12"/>
                  <a:pt x="28" y="7"/>
                </a:cubicBezTo>
                <a:close/>
                <a:moveTo>
                  <a:pt x="12" y="32"/>
                </a:moveTo>
                <a:cubicBezTo>
                  <a:pt x="6" y="28"/>
                  <a:pt x="4" y="19"/>
                  <a:pt x="8" y="13"/>
                </a:cubicBezTo>
                <a:cubicBezTo>
                  <a:pt x="12" y="6"/>
                  <a:pt x="21" y="4"/>
                  <a:pt x="27" y="8"/>
                </a:cubicBezTo>
                <a:cubicBezTo>
                  <a:pt x="34" y="12"/>
                  <a:pt x="36" y="21"/>
                  <a:pt x="32" y="28"/>
                </a:cubicBezTo>
                <a:cubicBezTo>
                  <a:pt x="27" y="34"/>
                  <a:pt x="19" y="36"/>
                  <a:pt x="12" y="32"/>
                </a:cubicBezTo>
                <a:close/>
                <a:moveTo>
                  <a:pt x="26" y="10"/>
                </a:moveTo>
                <a:cubicBezTo>
                  <a:pt x="21" y="7"/>
                  <a:pt x="14" y="8"/>
                  <a:pt x="10" y="14"/>
                </a:cubicBezTo>
                <a:cubicBezTo>
                  <a:pt x="7" y="19"/>
                  <a:pt x="8" y="27"/>
                  <a:pt x="13" y="30"/>
                </a:cubicBezTo>
                <a:cubicBezTo>
                  <a:pt x="19" y="33"/>
                  <a:pt x="26" y="32"/>
                  <a:pt x="29" y="26"/>
                </a:cubicBezTo>
                <a:cubicBezTo>
                  <a:pt x="33" y="21"/>
                  <a:pt x="31" y="14"/>
                  <a:pt x="26"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8" name="Freeform 1190">
            <a:extLst>
              <a:ext uri="{FF2B5EF4-FFF2-40B4-BE49-F238E27FC236}">
                <a16:creationId xmlns:a16="http://schemas.microsoft.com/office/drawing/2014/main" id="{0812DEB5-4E87-48D7-AFF1-208DB09B05EE}"/>
              </a:ext>
            </a:extLst>
          </p:cNvPr>
          <p:cNvSpPr>
            <a:spLocks noEditPoints="1"/>
          </p:cNvSpPr>
          <p:nvPr/>
        </p:nvSpPr>
        <p:spPr bwMode="auto">
          <a:xfrm rot="1233185">
            <a:off x="5159478" y="4453956"/>
            <a:ext cx="1596024" cy="1591112"/>
          </a:xfrm>
          <a:custGeom>
            <a:avLst/>
            <a:gdLst>
              <a:gd name="T0" fmla="*/ 60 w 421"/>
              <a:gd name="T1" fmla="*/ 339 h 421"/>
              <a:gd name="T2" fmla="*/ 32 w 421"/>
              <a:gd name="T3" fmla="*/ 296 h 421"/>
              <a:gd name="T4" fmla="*/ 37 w 421"/>
              <a:gd name="T5" fmla="*/ 252 h 421"/>
              <a:gd name="T6" fmla="*/ 33 w 421"/>
              <a:gd name="T7" fmla="*/ 206 h 421"/>
              <a:gd name="T8" fmla="*/ 40 w 421"/>
              <a:gd name="T9" fmla="*/ 160 h 421"/>
              <a:gd name="T10" fmla="*/ 36 w 421"/>
              <a:gd name="T11" fmla="*/ 118 h 421"/>
              <a:gd name="T12" fmla="*/ 88 w 421"/>
              <a:gd name="T13" fmla="*/ 81 h 421"/>
              <a:gd name="T14" fmla="*/ 114 w 421"/>
              <a:gd name="T15" fmla="*/ 50 h 421"/>
              <a:gd name="T16" fmla="*/ 152 w 421"/>
              <a:gd name="T17" fmla="*/ 21 h 421"/>
              <a:gd name="T18" fmla="*/ 198 w 421"/>
              <a:gd name="T19" fmla="*/ 2 h 421"/>
              <a:gd name="T20" fmla="*/ 251 w 421"/>
              <a:gd name="T21" fmla="*/ 4 h 421"/>
              <a:gd name="T22" fmla="*/ 301 w 421"/>
              <a:gd name="T23" fmla="*/ 20 h 421"/>
              <a:gd name="T24" fmla="*/ 344 w 421"/>
              <a:gd name="T25" fmla="*/ 47 h 421"/>
              <a:gd name="T26" fmla="*/ 382 w 421"/>
              <a:gd name="T27" fmla="*/ 87 h 421"/>
              <a:gd name="T28" fmla="*/ 407 w 421"/>
              <a:gd name="T29" fmla="*/ 134 h 421"/>
              <a:gd name="T30" fmla="*/ 416 w 421"/>
              <a:gd name="T31" fmla="*/ 178 h 421"/>
              <a:gd name="T32" fmla="*/ 408 w 421"/>
              <a:gd name="T33" fmla="*/ 227 h 421"/>
              <a:gd name="T34" fmla="*/ 397 w 421"/>
              <a:gd name="T35" fmla="*/ 277 h 421"/>
              <a:gd name="T36" fmla="*/ 373 w 421"/>
              <a:gd name="T37" fmla="*/ 323 h 421"/>
              <a:gd name="T38" fmla="*/ 335 w 421"/>
              <a:gd name="T39" fmla="*/ 381 h 421"/>
              <a:gd name="T40" fmla="*/ 295 w 421"/>
              <a:gd name="T41" fmla="*/ 390 h 421"/>
              <a:gd name="T42" fmla="*/ 252 w 421"/>
              <a:gd name="T43" fmla="*/ 383 h 421"/>
              <a:gd name="T44" fmla="*/ 206 w 421"/>
              <a:gd name="T45" fmla="*/ 389 h 421"/>
              <a:gd name="T46" fmla="*/ 166 w 421"/>
              <a:gd name="T47" fmla="*/ 403 h 421"/>
              <a:gd name="T48" fmla="*/ 118 w 421"/>
              <a:gd name="T49" fmla="*/ 385 h 421"/>
              <a:gd name="T50" fmla="*/ 80 w 421"/>
              <a:gd name="T51" fmla="*/ 358 h 421"/>
              <a:gd name="T52" fmla="*/ 120 w 421"/>
              <a:gd name="T53" fmla="*/ 357 h 421"/>
              <a:gd name="T54" fmla="*/ 160 w 421"/>
              <a:gd name="T55" fmla="*/ 376 h 421"/>
              <a:gd name="T56" fmla="*/ 180 w 421"/>
              <a:gd name="T57" fmla="*/ 414 h 421"/>
              <a:gd name="T58" fmla="*/ 227 w 421"/>
              <a:gd name="T59" fmla="*/ 415 h 421"/>
              <a:gd name="T60" fmla="*/ 257 w 421"/>
              <a:gd name="T61" fmla="*/ 380 h 421"/>
              <a:gd name="T62" fmla="*/ 294 w 421"/>
              <a:gd name="T63" fmla="*/ 362 h 421"/>
              <a:gd name="T64" fmla="*/ 332 w 421"/>
              <a:gd name="T65" fmla="*/ 377 h 421"/>
              <a:gd name="T66" fmla="*/ 371 w 421"/>
              <a:gd name="T67" fmla="*/ 340 h 421"/>
              <a:gd name="T68" fmla="*/ 399 w 421"/>
              <a:gd name="T69" fmla="*/ 294 h 421"/>
              <a:gd name="T70" fmla="*/ 414 w 421"/>
              <a:gd name="T71" fmla="*/ 242 h 421"/>
              <a:gd name="T72" fmla="*/ 407 w 421"/>
              <a:gd name="T73" fmla="*/ 200 h 421"/>
              <a:gd name="T74" fmla="*/ 378 w 421"/>
              <a:gd name="T75" fmla="*/ 169 h 421"/>
              <a:gd name="T76" fmla="*/ 391 w 421"/>
              <a:gd name="T77" fmla="*/ 131 h 421"/>
              <a:gd name="T78" fmla="*/ 377 w 421"/>
              <a:gd name="T79" fmla="*/ 89 h 421"/>
              <a:gd name="T80" fmla="*/ 342 w 421"/>
              <a:gd name="T81" fmla="*/ 64 h 421"/>
              <a:gd name="T82" fmla="*/ 299 w 421"/>
              <a:gd name="T83" fmla="*/ 62 h 421"/>
              <a:gd name="T84" fmla="*/ 258 w 421"/>
              <a:gd name="T85" fmla="*/ 44 h 421"/>
              <a:gd name="T86" fmla="*/ 232 w 421"/>
              <a:gd name="T87" fmla="*/ 15 h 421"/>
              <a:gd name="T88" fmla="*/ 188 w 421"/>
              <a:gd name="T89" fmla="*/ 6 h 421"/>
              <a:gd name="T90" fmla="*/ 143 w 421"/>
              <a:gd name="T91" fmla="*/ 18 h 421"/>
              <a:gd name="T92" fmla="*/ 111 w 421"/>
              <a:gd name="T93" fmla="*/ 54 h 421"/>
              <a:gd name="T94" fmla="*/ 93 w 421"/>
              <a:gd name="T95" fmla="*/ 84 h 421"/>
              <a:gd name="T96" fmla="*/ 64 w 421"/>
              <a:gd name="T97" fmla="*/ 118 h 421"/>
              <a:gd name="T98" fmla="*/ 27 w 421"/>
              <a:gd name="T99" fmla="*/ 140 h 421"/>
              <a:gd name="T100" fmla="*/ 7 w 421"/>
              <a:gd name="T101" fmla="*/ 180 h 421"/>
              <a:gd name="T102" fmla="*/ 14 w 421"/>
              <a:gd name="T103" fmla="*/ 223 h 421"/>
              <a:gd name="T104" fmla="*/ 42 w 421"/>
              <a:gd name="T105" fmla="*/ 249 h 421"/>
              <a:gd name="T106" fmla="*/ 31 w 421"/>
              <a:gd name="T107" fmla="*/ 291 h 421"/>
              <a:gd name="T108" fmla="*/ 48 w 421"/>
              <a:gd name="T109" fmla="*/ 336 h 421"/>
              <a:gd name="T110" fmla="*/ 77 w 421"/>
              <a:gd name="T111" fmla="*/ 151 h 421"/>
              <a:gd name="T112" fmla="*/ 132 w 421"/>
              <a:gd name="T113" fmla="*/ 334 h 421"/>
              <a:gd name="T114" fmla="*/ 261 w 421"/>
              <a:gd name="T115" fmla="*/ 34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1">
                <a:moveTo>
                  <a:pt x="82" y="378"/>
                </a:moveTo>
                <a:cubicBezTo>
                  <a:pt x="81" y="377"/>
                  <a:pt x="80" y="376"/>
                  <a:pt x="79" y="376"/>
                </a:cubicBezTo>
                <a:cubicBezTo>
                  <a:pt x="78" y="375"/>
                  <a:pt x="78" y="375"/>
                  <a:pt x="78" y="375"/>
                </a:cubicBezTo>
                <a:cubicBezTo>
                  <a:pt x="73" y="371"/>
                  <a:pt x="69" y="367"/>
                  <a:pt x="76" y="355"/>
                </a:cubicBezTo>
                <a:cubicBezTo>
                  <a:pt x="81" y="346"/>
                  <a:pt x="83" y="336"/>
                  <a:pt x="81" y="333"/>
                </a:cubicBezTo>
                <a:cubicBezTo>
                  <a:pt x="77" y="332"/>
                  <a:pt x="68" y="335"/>
                  <a:pt x="60" y="339"/>
                </a:cubicBezTo>
                <a:cubicBezTo>
                  <a:pt x="54" y="343"/>
                  <a:pt x="49" y="343"/>
                  <a:pt x="45" y="341"/>
                </a:cubicBezTo>
                <a:cubicBezTo>
                  <a:pt x="43" y="339"/>
                  <a:pt x="42" y="338"/>
                  <a:pt x="41" y="336"/>
                </a:cubicBezTo>
                <a:cubicBezTo>
                  <a:pt x="40" y="335"/>
                  <a:pt x="40" y="335"/>
                  <a:pt x="40" y="335"/>
                </a:cubicBezTo>
                <a:cubicBezTo>
                  <a:pt x="36" y="330"/>
                  <a:pt x="34" y="325"/>
                  <a:pt x="43" y="316"/>
                </a:cubicBezTo>
                <a:cubicBezTo>
                  <a:pt x="50" y="308"/>
                  <a:pt x="55" y="299"/>
                  <a:pt x="54" y="295"/>
                </a:cubicBezTo>
                <a:cubicBezTo>
                  <a:pt x="50" y="294"/>
                  <a:pt x="41" y="294"/>
                  <a:pt x="32" y="296"/>
                </a:cubicBezTo>
                <a:cubicBezTo>
                  <a:pt x="27" y="297"/>
                  <a:pt x="22" y="297"/>
                  <a:pt x="19" y="295"/>
                </a:cubicBezTo>
                <a:cubicBezTo>
                  <a:pt x="19" y="295"/>
                  <a:pt x="19" y="295"/>
                  <a:pt x="19" y="295"/>
                </a:cubicBezTo>
                <a:cubicBezTo>
                  <a:pt x="16" y="293"/>
                  <a:pt x="15" y="290"/>
                  <a:pt x="14" y="288"/>
                </a:cubicBezTo>
                <a:cubicBezTo>
                  <a:pt x="14" y="287"/>
                  <a:pt x="14" y="287"/>
                  <a:pt x="14" y="287"/>
                </a:cubicBezTo>
                <a:cubicBezTo>
                  <a:pt x="11" y="281"/>
                  <a:pt x="10" y="275"/>
                  <a:pt x="21" y="269"/>
                </a:cubicBezTo>
                <a:cubicBezTo>
                  <a:pt x="30" y="263"/>
                  <a:pt x="37" y="256"/>
                  <a:pt x="37" y="252"/>
                </a:cubicBezTo>
                <a:cubicBezTo>
                  <a:pt x="34" y="249"/>
                  <a:pt x="25" y="247"/>
                  <a:pt x="16" y="247"/>
                </a:cubicBezTo>
                <a:cubicBezTo>
                  <a:pt x="12" y="247"/>
                  <a:pt x="8" y="246"/>
                  <a:pt x="6" y="244"/>
                </a:cubicBezTo>
                <a:cubicBezTo>
                  <a:pt x="2" y="242"/>
                  <a:pt x="1" y="238"/>
                  <a:pt x="1" y="235"/>
                </a:cubicBezTo>
                <a:cubicBezTo>
                  <a:pt x="1" y="233"/>
                  <a:pt x="1" y="233"/>
                  <a:pt x="1" y="233"/>
                </a:cubicBezTo>
                <a:cubicBezTo>
                  <a:pt x="0" y="227"/>
                  <a:pt x="0" y="221"/>
                  <a:pt x="13" y="218"/>
                </a:cubicBezTo>
                <a:cubicBezTo>
                  <a:pt x="23" y="215"/>
                  <a:pt x="31" y="209"/>
                  <a:pt x="33" y="206"/>
                </a:cubicBezTo>
                <a:cubicBezTo>
                  <a:pt x="30" y="202"/>
                  <a:pt x="21" y="198"/>
                  <a:pt x="14" y="195"/>
                </a:cubicBezTo>
                <a:cubicBezTo>
                  <a:pt x="11" y="194"/>
                  <a:pt x="8" y="193"/>
                  <a:pt x="6" y="192"/>
                </a:cubicBezTo>
                <a:cubicBezTo>
                  <a:pt x="0" y="188"/>
                  <a:pt x="1" y="183"/>
                  <a:pt x="2" y="179"/>
                </a:cubicBezTo>
                <a:cubicBezTo>
                  <a:pt x="2" y="178"/>
                  <a:pt x="2" y="178"/>
                  <a:pt x="2" y="178"/>
                </a:cubicBezTo>
                <a:cubicBezTo>
                  <a:pt x="3" y="172"/>
                  <a:pt x="4" y="166"/>
                  <a:pt x="18" y="166"/>
                </a:cubicBezTo>
                <a:cubicBezTo>
                  <a:pt x="28" y="166"/>
                  <a:pt x="37" y="163"/>
                  <a:pt x="40" y="160"/>
                </a:cubicBezTo>
                <a:cubicBezTo>
                  <a:pt x="38" y="156"/>
                  <a:pt x="32" y="149"/>
                  <a:pt x="25" y="145"/>
                </a:cubicBezTo>
                <a:cubicBezTo>
                  <a:pt x="24" y="145"/>
                  <a:pt x="24" y="145"/>
                  <a:pt x="24" y="145"/>
                </a:cubicBezTo>
                <a:cubicBezTo>
                  <a:pt x="24" y="144"/>
                  <a:pt x="23" y="144"/>
                  <a:pt x="23" y="144"/>
                </a:cubicBezTo>
                <a:cubicBezTo>
                  <a:pt x="12" y="137"/>
                  <a:pt x="15" y="131"/>
                  <a:pt x="17" y="126"/>
                </a:cubicBezTo>
                <a:cubicBezTo>
                  <a:pt x="17" y="125"/>
                  <a:pt x="17" y="125"/>
                  <a:pt x="17" y="125"/>
                </a:cubicBezTo>
                <a:cubicBezTo>
                  <a:pt x="20" y="120"/>
                  <a:pt x="23" y="114"/>
                  <a:pt x="36" y="118"/>
                </a:cubicBezTo>
                <a:cubicBezTo>
                  <a:pt x="46" y="120"/>
                  <a:pt x="56" y="120"/>
                  <a:pt x="59" y="117"/>
                </a:cubicBezTo>
                <a:cubicBezTo>
                  <a:pt x="58" y="113"/>
                  <a:pt x="53" y="105"/>
                  <a:pt x="48" y="99"/>
                </a:cubicBezTo>
                <a:cubicBezTo>
                  <a:pt x="38" y="89"/>
                  <a:pt x="41" y="84"/>
                  <a:pt x="45" y="79"/>
                </a:cubicBezTo>
                <a:cubicBezTo>
                  <a:pt x="46" y="78"/>
                  <a:pt x="46" y="78"/>
                  <a:pt x="46" y="78"/>
                </a:cubicBezTo>
                <a:cubicBezTo>
                  <a:pt x="50" y="73"/>
                  <a:pt x="54" y="69"/>
                  <a:pt x="65" y="76"/>
                </a:cubicBezTo>
                <a:cubicBezTo>
                  <a:pt x="75" y="81"/>
                  <a:pt x="85" y="83"/>
                  <a:pt x="88" y="81"/>
                </a:cubicBezTo>
                <a:cubicBezTo>
                  <a:pt x="88" y="77"/>
                  <a:pt x="86" y="68"/>
                  <a:pt x="82" y="60"/>
                </a:cubicBezTo>
                <a:cubicBezTo>
                  <a:pt x="75" y="49"/>
                  <a:pt x="80" y="45"/>
                  <a:pt x="85" y="41"/>
                </a:cubicBezTo>
                <a:cubicBezTo>
                  <a:pt x="86" y="40"/>
                  <a:pt x="86" y="40"/>
                  <a:pt x="86" y="40"/>
                </a:cubicBezTo>
                <a:cubicBezTo>
                  <a:pt x="89" y="38"/>
                  <a:pt x="93" y="34"/>
                  <a:pt x="100" y="39"/>
                </a:cubicBezTo>
                <a:cubicBezTo>
                  <a:pt x="102" y="40"/>
                  <a:pt x="103" y="41"/>
                  <a:pt x="105" y="43"/>
                </a:cubicBezTo>
                <a:cubicBezTo>
                  <a:pt x="108" y="45"/>
                  <a:pt x="111" y="48"/>
                  <a:pt x="114" y="50"/>
                </a:cubicBezTo>
                <a:cubicBezTo>
                  <a:pt x="119" y="53"/>
                  <a:pt x="124" y="54"/>
                  <a:pt x="126" y="54"/>
                </a:cubicBezTo>
                <a:cubicBezTo>
                  <a:pt x="127" y="50"/>
                  <a:pt x="127" y="40"/>
                  <a:pt x="125" y="32"/>
                </a:cubicBezTo>
                <a:cubicBezTo>
                  <a:pt x="122" y="20"/>
                  <a:pt x="127" y="16"/>
                  <a:pt x="133" y="14"/>
                </a:cubicBezTo>
                <a:cubicBezTo>
                  <a:pt x="134" y="14"/>
                  <a:pt x="134" y="14"/>
                  <a:pt x="134" y="14"/>
                </a:cubicBezTo>
                <a:cubicBezTo>
                  <a:pt x="137" y="12"/>
                  <a:pt x="141" y="11"/>
                  <a:pt x="146" y="13"/>
                </a:cubicBezTo>
                <a:cubicBezTo>
                  <a:pt x="148" y="15"/>
                  <a:pt x="150" y="17"/>
                  <a:pt x="152" y="21"/>
                </a:cubicBezTo>
                <a:cubicBezTo>
                  <a:pt x="156" y="27"/>
                  <a:pt x="161" y="33"/>
                  <a:pt x="166" y="36"/>
                </a:cubicBezTo>
                <a:cubicBezTo>
                  <a:pt x="167" y="37"/>
                  <a:pt x="168" y="37"/>
                  <a:pt x="168" y="37"/>
                </a:cubicBezTo>
                <a:cubicBezTo>
                  <a:pt x="172" y="34"/>
                  <a:pt x="175" y="25"/>
                  <a:pt x="175" y="15"/>
                </a:cubicBezTo>
                <a:cubicBezTo>
                  <a:pt x="176" y="2"/>
                  <a:pt x="182" y="1"/>
                  <a:pt x="188" y="1"/>
                </a:cubicBezTo>
                <a:cubicBezTo>
                  <a:pt x="189" y="0"/>
                  <a:pt x="189" y="0"/>
                  <a:pt x="189" y="0"/>
                </a:cubicBezTo>
                <a:cubicBezTo>
                  <a:pt x="192" y="0"/>
                  <a:pt x="195" y="0"/>
                  <a:pt x="198" y="2"/>
                </a:cubicBezTo>
                <a:cubicBezTo>
                  <a:pt x="201" y="4"/>
                  <a:pt x="203" y="7"/>
                  <a:pt x="204" y="13"/>
                </a:cubicBezTo>
                <a:cubicBezTo>
                  <a:pt x="207" y="21"/>
                  <a:pt x="211" y="29"/>
                  <a:pt x="214" y="33"/>
                </a:cubicBezTo>
                <a:cubicBezTo>
                  <a:pt x="218" y="31"/>
                  <a:pt x="224" y="23"/>
                  <a:pt x="227" y="13"/>
                </a:cubicBezTo>
                <a:cubicBezTo>
                  <a:pt x="231" y="1"/>
                  <a:pt x="237" y="1"/>
                  <a:pt x="243" y="2"/>
                </a:cubicBezTo>
                <a:cubicBezTo>
                  <a:pt x="244" y="2"/>
                  <a:pt x="244" y="2"/>
                  <a:pt x="244" y="2"/>
                </a:cubicBezTo>
                <a:cubicBezTo>
                  <a:pt x="246" y="2"/>
                  <a:pt x="249" y="3"/>
                  <a:pt x="251" y="4"/>
                </a:cubicBezTo>
                <a:cubicBezTo>
                  <a:pt x="255" y="6"/>
                  <a:pt x="256" y="11"/>
                  <a:pt x="256" y="18"/>
                </a:cubicBezTo>
                <a:cubicBezTo>
                  <a:pt x="256" y="27"/>
                  <a:pt x="257" y="36"/>
                  <a:pt x="260" y="39"/>
                </a:cubicBezTo>
                <a:cubicBezTo>
                  <a:pt x="264" y="39"/>
                  <a:pt x="272" y="33"/>
                  <a:pt x="278" y="24"/>
                </a:cubicBezTo>
                <a:cubicBezTo>
                  <a:pt x="285" y="13"/>
                  <a:pt x="290" y="15"/>
                  <a:pt x="296" y="17"/>
                </a:cubicBezTo>
                <a:cubicBezTo>
                  <a:pt x="297" y="18"/>
                  <a:pt x="297" y="18"/>
                  <a:pt x="297" y="18"/>
                </a:cubicBezTo>
                <a:cubicBezTo>
                  <a:pt x="298" y="18"/>
                  <a:pt x="299" y="19"/>
                  <a:pt x="301" y="20"/>
                </a:cubicBezTo>
                <a:cubicBezTo>
                  <a:pt x="306" y="23"/>
                  <a:pt x="307" y="28"/>
                  <a:pt x="304" y="36"/>
                </a:cubicBezTo>
                <a:cubicBezTo>
                  <a:pt x="302" y="45"/>
                  <a:pt x="301" y="54"/>
                  <a:pt x="303" y="58"/>
                </a:cubicBezTo>
                <a:cubicBezTo>
                  <a:pt x="306" y="59"/>
                  <a:pt x="316" y="55"/>
                  <a:pt x="324" y="48"/>
                </a:cubicBezTo>
                <a:cubicBezTo>
                  <a:pt x="330" y="42"/>
                  <a:pt x="335" y="41"/>
                  <a:pt x="340" y="44"/>
                </a:cubicBezTo>
                <a:cubicBezTo>
                  <a:pt x="341" y="44"/>
                  <a:pt x="342" y="45"/>
                  <a:pt x="343" y="46"/>
                </a:cubicBezTo>
                <a:cubicBezTo>
                  <a:pt x="344" y="47"/>
                  <a:pt x="344" y="47"/>
                  <a:pt x="344" y="47"/>
                </a:cubicBezTo>
                <a:cubicBezTo>
                  <a:pt x="349" y="51"/>
                  <a:pt x="353" y="56"/>
                  <a:pt x="346" y="67"/>
                </a:cubicBezTo>
                <a:cubicBezTo>
                  <a:pt x="342" y="74"/>
                  <a:pt x="339" y="83"/>
                  <a:pt x="339" y="87"/>
                </a:cubicBezTo>
                <a:cubicBezTo>
                  <a:pt x="342" y="89"/>
                  <a:pt x="352" y="87"/>
                  <a:pt x="362" y="83"/>
                </a:cubicBezTo>
                <a:cubicBezTo>
                  <a:pt x="368" y="79"/>
                  <a:pt x="373" y="79"/>
                  <a:pt x="377" y="81"/>
                </a:cubicBezTo>
                <a:cubicBezTo>
                  <a:pt x="379" y="82"/>
                  <a:pt x="380" y="84"/>
                  <a:pt x="381" y="86"/>
                </a:cubicBezTo>
                <a:cubicBezTo>
                  <a:pt x="382" y="87"/>
                  <a:pt x="382" y="87"/>
                  <a:pt x="382" y="87"/>
                </a:cubicBezTo>
                <a:cubicBezTo>
                  <a:pt x="385" y="92"/>
                  <a:pt x="388" y="98"/>
                  <a:pt x="378" y="107"/>
                </a:cubicBezTo>
                <a:cubicBezTo>
                  <a:pt x="372" y="112"/>
                  <a:pt x="367" y="120"/>
                  <a:pt x="366" y="125"/>
                </a:cubicBezTo>
                <a:cubicBezTo>
                  <a:pt x="367" y="125"/>
                  <a:pt x="367" y="125"/>
                  <a:pt x="367" y="125"/>
                </a:cubicBezTo>
                <a:cubicBezTo>
                  <a:pt x="371" y="127"/>
                  <a:pt x="381" y="128"/>
                  <a:pt x="390" y="126"/>
                </a:cubicBezTo>
                <a:cubicBezTo>
                  <a:pt x="395" y="125"/>
                  <a:pt x="400" y="125"/>
                  <a:pt x="403" y="127"/>
                </a:cubicBezTo>
                <a:cubicBezTo>
                  <a:pt x="405" y="129"/>
                  <a:pt x="406" y="132"/>
                  <a:pt x="407" y="134"/>
                </a:cubicBezTo>
                <a:cubicBezTo>
                  <a:pt x="408" y="136"/>
                  <a:pt x="408" y="136"/>
                  <a:pt x="408" y="136"/>
                </a:cubicBezTo>
                <a:cubicBezTo>
                  <a:pt x="410" y="141"/>
                  <a:pt x="411" y="147"/>
                  <a:pt x="400" y="154"/>
                </a:cubicBezTo>
                <a:cubicBezTo>
                  <a:pt x="392" y="158"/>
                  <a:pt x="385" y="164"/>
                  <a:pt x="383" y="168"/>
                </a:cubicBezTo>
                <a:cubicBezTo>
                  <a:pt x="384" y="168"/>
                  <a:pt x="384" y="169"/>
                  <a:pt x="385" y="170"/>
                </a:cubicBezTo>
                <a:cubicBezTo>
                  <a:pt x="390" y="173"/>
                  <a:pt x="398" y="175"/>
                  <a:pt x="405" y="175"/>
                </a:cubicBezTo>
                <a:cubicBezTo>
                  <a:pt x="410" y="176"/>
                  <a:pt x="413" y="176"/>
                  <a:pt x="416" y="178"/>
                </a:cubicBezTo>
                <a:cubicBezTo>
                  <a:pt x="420" y="181"/>
                  <a:pt x="420" y="185"/>
                  <a:pt x="420" y="188"/>
                </a:cubicBezTo>
                <a:cubicBezTo>
                  <a:pt x="420" y="189"/>
                  <a:pt x="420" y="189"/>
                  <a:pt x="420" y="189"/>
                </a:cubicBezTo>
                <a:cubicBezTo>
                  <a:pt x="421" y="195"/>
                  <a:pt x="421" y="202"/>
                  <a:pt x="408" y="204"/>
                </a:cubicBezTo>
                <a:cubicBezTo>
                  <a:pt x="400" y="206"/>
                  <a:pt x="391" y="211"/>
                  <a:pt x="388" y="214"/>
                </a:cubicBezTo>
                <a:cubicBezTo>
                  <a:pt x="389" y="216"/>
                  <a:pt x="391" y="218"/>
                  <a:pt x="396" y="221"/>
                </a:cubicBezTo>
                <a:cubicBezTo>
                  <a:pt x="400" y="224"/>
                  <a:pt x="404" y="226"/>
                  <a:pt x="408" y="227"/>
                </a:cubicBezTo>
                <a:cubicBezTo>
                  <a:pt x="410" y="228"/>
                  <a:pt x="413" y="229"/>
                  <a:pt x="414" y="230"/>
                </a:cubicBezTo>
                <a:cubicBezTo>
                  <a:pt x="421" y="234"/>
                  <a:pt x="420" y="239"/>
                  <a:pt x="419" y="243"/>
                </a:cubicBezTo>
                <a:cubicBezTo>
                  <a:pt x="419" y="244"/>
                  <a:pt x="419" y="244"/>
                  <a:pt x="419" y="244"/>
                </a:cubicBezTo>
                <a:cubicBezTo>
                  <a:pt x="418" y="250"/>
                  <a:pt x="416" y="256"/>
                  <a:pt x="403" y="256"/>
                </a:cubicBezTo>
                <a:cubicBezTo>
                  <a:pt x="394" y="256"/>
                  <a:pt x="385" y="257"/>
                  <a:pt x="381" y="260"/>
                </a:cubicBezTo>
                <a:cubicBezTo>
                  <a:pt x="382" y="264"/>
                  <a:pt x="388" y="272"/>
                  <a:pt x="397" y="277"/>
                </a:cubicBezTo>
                <a:cubicBezTo>
                  <a:pt x="397" y="278"/>
                  <a:pt x="397" y="278"/>
                  <a:pt x="397" y="278"/>
                </a:cubicBezTo>
                <a:cubicBezTo>
                  <a:pt x="408" y="285"/>
                  <a:pt x="406" y="290"/>
                  <a:pt x="403" y="296"/>
                </a:cubicBezTo>
                <a:cubicBezTo>
                  <a:pt x="403" y="297"/>
                  <a:pt x="403" y="297"/>
                  <a:pt x="403" y="297"/>
                </a:cubicBezTo>
                <a:cubicBezTo>
                  <a:pt x="400" y="303"/>
                  <a:pt x="397" y="308"/>
                  <a:pt x="384" y="304"/>
                </a:cubicBezTo>
                <a:cubicBezTo>
                  <a:pt x="376" y="302"/>
                  <a:pt x="367" y="301"/>
                  <a:pt x="363" y="303"/>
                </a:cubicBezTo>
                <a:cubicBezTo>
                  <a:pt x="362" y="306"/>
                  <a:pt x="366" y="316"/>
                  <a:pt x="373" y="323"/>
                </a:cubicBezTo>
                <a:cubicBezTo>
                  <a:pt x="382" y="333"/>
                  <a:pt x="379" y="338"/>
                  <a:pt x="375" y="343"/>
                </a:cubicBezTo>
                <a:cubicBezTo>
                  <a:pt x="374" y="344"/>
                  <a:pt x="374" y="344"/>
                  <a:pt x="374" y="344"/>
                </a:cubicBezTo>
                <a:cubicBezTo>
                  <a:pt x="370" y="349"/>
                  <a:pt x="365" y="353"/>
                  <a:pt x="354" y="346"/>
                </a:cubicBezTo>
                <a:cubicBezTo>
                  <a:pt x="347" y="341"/>
                  <a:pt x="338" y="339"/>
                  <a:pt x="334" y="339"/>
                </a:cubicBezTo>
                <a:cubicBezTo>
                  <a:pt x="332" y="342"/>
                  <a:pt x="334" y="352"/>
                  <a:pt x="338" y="362"/>
                </a:cubicBezTo>
                <a:cubicBezTo>
                  <a:pt x="344" y="373"/>
                  <a:pt x="340" y="377"/>
                  <a:pt x="335" y="381"/>
                </a:cubicBezTo>
                <a:cubicBezTo>
                  <a:pt x="334" y="382"/>
                  <a:pt x="334" y="382"/>
                  <a:pt x="334" y="382"/>
                </a:cubicBezTo>
                <a:cubicBezTo>
                  <a:pt x="331" y="384"/>
                  <a:pt x="326" y="387"/>
                  <a:pt x="320" y="383"/>
                </a:cubicBezTo>
                <a:cubicBezTo>
                  <a:pt x="318" y="382"/>
                  <a:pt x="316" y="380"/>
                  <a:pt x="314" y="378"/>
                </a:cubicBezTo>
                <a:cubicBezTo>
                  <a:pt x="311" y="375"/>
                  <a:pt x="308" y="372"/>
                  <a:pt x="304" y="370"/>
                </a:cubicBezTo>
                <a:cubicBezTo>
                  <a:pt x="301" y="368"/>
                  <a:pt x="298" y="367"/>
                  <a:pt x="296" y="366"/>
                </a:cubicBezTo>
                <a:cubicBezTo>
                  <a:pt x="294" y="369"/>
                  <a:pt x="293" y="379"/>
                  <a:pt x="295" y="390"/>
                </a:cubicBezTo>
                <a:cubicBezTo>
                  <a:pt x="298" y="402"/>
                  <a:pt x="292" y="405"/>
                  <a:pt x="287" y="407"/>
                </a:cubicBezTo>
                <a:cubicBezTo>
                  <a:pt x="285" y="408"/>
                  <a:pt x="285" y="408"/>
                  <a:pt x="285" y="408"/>
                </a:cubicBezTo>
                <a:cubicBezTo>
                  <a:pt x="282" y="409"/>
                  <a:pt x="278" y="410"/>
                  <a:pt x="274" y="408"/>
                </a:cubicBezTo>
                <a:cubicBezTo>
                  <a:pt x="272" y="406"/>
                  <a:pt x="269" y="403"/>
                  <a:pt x="267" y="399"/>
                </a:cubicBezTo>
                <a:cubicBezTo>
                  <a:pt x="264" y="393"/>
                  <a:pt x="258" y="386"/>
                  <a:pt x="254" y="384"/>
                </a:cubicBezTo>
                <a:cubicBezTo>
                  <a:pt x="253" y="383"/>
                  <a:pt x="253" y="383"/>
                  <a:pt x="252" y="383"/>
                </a:cubicBezTo>
                <a:cubicBezTo>
                  <a:pt x="250" y="386"/>
                  <a:pt x="247" y="396"/>
                  <a:pt x="247" y="405"/>
                </a:cubicBezTo>
                <a:cubicBezTo>
                  <a:pt x="247" y="418"/>
                  <a:pt x="241" y="419"/>
                  <a:pt x="235" y="420"/>
                </a:cubicBezTo>
                <a:cubicBezTo>
                  <a:pt x="233" y="420"/>
                  <a:pt x="233" y="420"/>
                  <a:pt x="233" y="420"/>
                </a:cubicBezTo>
                <a:cubicBezTo>
                  <a:pt x="231" y="421"/>
                  <a:pt x="227" y="421"/>
                  <a:pt x="224" y="419"/>
                </a:cubicBezTo>
                <a:cubicBezTo>
                  <a:pt x="221" y="417"/>
                  <a:pt x="219" y="414"/>
                  <a:pt x="218" y="408"/>
                </a:cubicBezTo>
                <a:cubicBezTo>
                  <a:pt x="215" y="400"/>
                  <a:pt x="210" y="391"/>
                  <a:pt x="206" y="389"/>
                </a:cubicBezTo>
                <a:cubicBezTo>
                  <a:pt x="206" y="388"/>
                  <a:pt x="206" y="388"/>
                  <a:pt x="206" y="388"/>
                </a:cubicBezTo>
                <a:cubicBezTo>
                  <a:pt x="202" y="391"/>
                  <a:pt x="198" y="399"/>
                  <a:pt x="195" y="407"/>
                </a:cubicBezTo>
                <a:cubicBezTo>
                  <a:pt x="192" y="420"/>
                  <a:pt x="186" y="420"/>
                  <a:pt x="180" y="419"/>
                </a:cubicBezTo>
                <a:cubicBezTo>
                  <a:pt x="178" y="419"/>
                  <a:pt x="178" y="419"/>
                  <a:pt x="178" y="419"/>
                </a:cubicBezTo>
                <a:cubicBezTo>
                  <a:pt x="176" y="419"/>
                  <a:pt x="174" y="418"/>
                  <a:pt x="172" y="417"/>
                </a:cubicBezTo>
                <a:cubicBezTo>
                  <a:pt x="168" y="415"/>
                  <a:pt x="166" y="410"/>
                  <a:pt x="166" y="403"/>
                </a:cubicBezTo>
                <a:cubicBezTo>
                  <a:pt x="166" y="394"/>
                  <a:pt x="163" y="384"/>
                  <a:pt x="160" y="381"/>
                </a:cubicBezTo>
                <a:cubicBezTo>
                  <a:pt x="156" y="383"/>
                  <a:pt x="149" y="389"/>
                  <a:pt x="145" y="397"/>
                </a:cubicBezTo>
                <a:cubicBezTo>
                  <a:pt x="138" y="408"/>
                  <a:pt x="132" y="406"/>
                  <a:pt x="127" y="404"/>
                </a:cubicBezTo>
                <a:cubicBezTo>
                  <a:pt x="125" y="403"/>
                  <a:pt x="125" y="403"/>
                  <a:pt x="125" y="403"/>
                </a:cubicBezTo>
                <a:cubicBezTo>
                  <a:pt x="124" y="403"/>
                  <a:pt x="123" y="402"/>
                  <a:pt x="121" y="402"/>
                </a:cubicBezTo>
                <a:cubicBezTo>
                  <a:pt x="117" y="399"/>
                  <a:pt x="116" y="394"/>
                  <a:pt x="118" y="385"/>
                </a:cubicBezTo>
                <a:cubicBezTo>
                  <a:pt x="120" y="375"/>
                  <a:pt x="120" y="365"/>
                  <a:pt x="117" y="362"/>
                </a:cubicBezTo>
                <a:cubicBezTo>
                  <a:pt x="113" y="363"/>
                  <a:pt x="105" y="367"/>
                  <a:pt x="99" y="373"/>
                </a:cubicBezTo>
                <a:cubicBezTo>
                  <a:pt x="93" y="380"/>
                  <a:pt x="87" y="381"/>
                  <a:pt x="82" y="378"/>
                </a:cubicBezTo>
                <a:close/>
                <a:moveTo>
                  <a:pt x="84" y="329"/>
                </a:moveTo>
                <a:cubicBezTo>
                  <a:pt x="85" y="329"/>
                  <a:pt x="85" y="329"/>
                  <a:pt x="85" y="329"/>
                </a:cubicBezTo>
                <a:cubicBezTo>
                  <a:pt x="90" y="335"/>
                  <a:pt x="85" y="350"/>
                  <a:pt x="80" y="358"/>
                </a:cubicBezTo>
                <a:cubicBezTo>
                  <a:pt x="75" y="366"/>
                  <a:pt x="78" y="368"/>
                  <a:pt x="81" y="371"/>
                </a:cubicBezTo>
                <a:cubicBezTo>
                  <a:pt x="82" y="372"/>
                  <a:pt x="82" y="372"/>
                  <a:pt x="82" y="372"/>
                </a:cubicBezTo>
                <a:cubicBezTo>
                  <a:pt x="83" y="372"/>
                  <a:pt x="84" y="373"/>
                  <a:pt x="85" y="373"/>
                </a:cubicBezTo>
                <a:cubicBezTo>
                  <a:pt x="86" y="374"/>
                  <a:pt x="89" y="376"/>
                  <a:pt x="95" y="370"/>
                </a:cubicBezTo>
                <a:cubicBezTo>
                  <a:pt x="102" y="364"/>
                  <a:pt x="112" y="357"/>
                  <a:pt x="118" y="357"/>
                </a:cubicBezTo>
                <a:cubicBezTo>
                  <a:pt x="119" y="357"/>
                  <a:pt x="119" y="357"/>
                  <a:pt x="120" y="357"/>
                </a:cubicBezTo>
                <a:cubicBezTo>
                  <a:pt x="126" y="362"/>
                  <a:pt x="125" y="378"/>
                  <a:pt x="123" y="387"/>
                </a:cubicBezTo>
                <a:cubicBezTo>
                  <a:pt x="120" y="395"/>
                  <a:pt x="123" y="397"/>
                  <a:pt x="124" y="397"/>
                </a:cubicBezTo>
                <a:cubicBezTo>
                  <a:pt x="125" y="398"/>
                  <a:pt x="126" y="398"/>
                  <a:pt x="127" y="399"/>
                </a:cubicBezTo>
                <a:cubicBezTo>
                  <a:pt x="129" y="399"/>
                  <a:pt x="129" y="399"/>
                  <a:pt x="129" y="399"/>
                </a:cubicBezTo>
                <a:cubicBezTo>
                  <a:pt x="133" y="401"/>
                  <a:pt x="136" y="403"/>
                  <a:pt x="140" y="394"/>
                </a:cubicBezTo>
                <a:cubicBezTo>
                  <a:pt x="145" y="386"/>
                  <a:pt x="153" y="378"/>
                  <a:pt x="160" y="376"/>
                </a:cubicBezTo>
                <a:cubicBezTo>
                  <a:pt x="160" y="376"/>
                  <a:pt x="161" y="376"/>
                  <a:pt x="161" y="376"/>
                </a:cubicBezTo>
                <a:cubicBezTo>
                  <a:pt x="162" y="376"/>
                  <a:pt x="162" y="376"/>
                  <a:pt x="162" y="376"/>
                </a:cubicBezTo>
                <a:cubicBezTo>
                  <a:pt x="169" y="380"/>
                  <a:pt x="171" y="395"/>
                  <a:pt x="171" y="403"/>
                </a:cubicBezTo>
                <a:cubicBezTo>
                  <a:pt x="171" y="411"/>
                  <a:pt x="173" y="412"/>
                  <a:pt x="174" y="413"/>
                </a:cubicBezTo>
                <a:cubicBezTo>
                  <a:pt x="175" y="414"/>
                  <a:pt x="177" y="414"/>
                  <a:pt x="179" y="414"/>
                </a:cubicBezTo>
                <a:cubicBezTo>
                  <a:pt x="180" y="414"/>
                  <a:pt x="180" y="414"/>
                  <a:pt x="180" y="414"/>
                </a:cubicBezTo>
                <a:cubicBezTo>
                  <a:pt x="185" y="415"/>
                  <a:pt x="188" y="415"/>
                  <a:pt x="190" y="406"/>
                </a:cubicBezTo>
                <a:cubicBezTo>
                  <a:pt x="193" y="398"/>
                  <a:pt x="198" y="387"/>
                  <a:pt x="204" y="383"/>
                </a:cubicBezTo>
                <a:cubicBezTo>
                  <a:pt x="205" y="383"/>
                  <a:pt x="205" y="383"/>
                  <a:pt x="206" y="383"/>
                </a:cubicBezTo>
                <a:cubicBezTo>
                  <a:pt x="207" y="383"/>
                  <a:pt x="208" y="384"/>
                  <a:pt x="209" y="384"/>
                </a:cubicBezTo>
                <a:cubicBezTo>
                  <a:pt x="215" y="388"/>
                  <a:pt x="220" y="399"/>
                  <a:pt x="223" y="407"/>
                </a:cubicBezTo>
                <a:cubicBezTo>
                  <a:pt x="224" y="411"/>
                  <a:pt x="225" y="414"/>
                  <a:pt x="227" y="415"/>
                </a:cubicBezTo>
                <a:cubicBezTo>
                  <a:pt x="228" y="416"/>
                  <a:pt x="230" y="416"/>
                  <a:pt x="233" y="415"/>
                </a:cubicBezTo>
                <a:cubicBezTo>
                  <a:pt x="234" y="415"/>
                  <a:pt x="234" y="415"/>
                  <a:pt x="234" y="415"/>
                </a:cubicBezTo>
                <a:cubicBezTo>
                  <a:pt x="238" y="415"/>
                  <a:pt x="242" y="414"/>
                  <a:pt x="242" y="404"/>
                </a:cubicBezTo>
                <a:cubicBezTo>
                  <a:pt x="242" y="394"/>
                  <a:pt x="245" y="382"/>
                  <a:pt x="250" y="378"/>
                </a:cubicBezTo>
                <a:cubicBezTo>
                  <a:pt x="251" y="378"/>
                  <a:pt x="251" y="378"/>
                  <a:pt x="252" y="378"/>
                </a:cubicBezTo>
                <a:cubicBezTo>
                  <a:pt x="254" y="378"/>
                  <a:pt x="255" y="379"/>
                  <a:pt x="257" y="380"/>
                </a:cubicBezTo>
                <a:cubicBezTo>
                  <a:pt x="262" y="383"/>
                  <a:pt x="268" y="390"/>
                  <a:pt x="272" y="397"/>
                </a:cubicBezTo>
                <a:cubicBezTo>
                  <a:pt x="273" y="400"/>
                  <a:pt x="275" y="402"/>
                  <a:pt x="277" y="403"/>
                </a:cubicBezTo>
                <a:cubicBezTo>
                  <a:pt x="279" y="405"/>
                  <a:pt x="281" y="404"/>
                  <a:pt x="283" y="403"/>
                </a:cubicBezTo>
                <a:cubicBezTo>
                  <a:pt x="285" y="403"/>
                  <a:pt x="285" y="403"/>
                  <a:pt x="285" y="403"/>
                </a:cubicBezTo>
                <a:cubicBezTo>
                  <a:pt x="289" y="401"/>
                  <a:pt x="292" y="400"/>
                  <a:pt x="290" y="391"/>
                </a:cubicBezTo>
                <a:cubicBezTo>
                  <a:pt x="288" y="382"/>
                  <a:pt x="288" y="366"/>
                  <a:pt x="294" y="362"/>
                </a:cubicBezTo>
                <a:cubicBezTo>
                  <a:pt x="294" y="361"/>
                  <a:pt x="295" y="361"/>
                  <a:pt x="296" y="361"/>
                </a:cubicBezTo>
                <a:cubicBezTo>
                  <a:pt x="299" y="361"/>
                  <a:pt x="304" y="364"/>
                  <a:pt x="307" y="366"/>
                </a:cubicBezTo>
                <a:cubicBezTo>
                  <a:pt x="311" y="368"/>
                  <a:pt x="315" y="371"/>
                  <a:pt x="318" y="375"/>
                </a:cubicBezTo>
                <a:cubicBezTo>
                  <a:pt x="320" y="377"/>
                  <a:pt x="321" y="378"/>
                  <a:pt x="322" y="379"/>
                </a:cubicBezTo>
                <a:cubicBezTo>
                  <a:pt x="326" y="381"/>
                  <a:pt x="328" y="380"/>
                  <a:pt x="331" y="378"/>
                </a:cubicBezTo>
                <a:cubicBezTo>
                  <a:pt x="332" y="377"/>
                  <a:pt x="332" y="377"/>
                  <a:pt x="332" y="377"/>
                </a:cubicBezTo>
                <a:cubicBezTo>
                  <a:pt x="336" y="374"/>
                  <a:pt x="338" y="373"/>
                  <a:pt x="334" y="364"/>
                </a:cubicBezTo>
                <a:cubicBezTo>
                  <a:pt x="330" y="356"/>
                  <a:pt x="325" y="340"/>
                  <a:pt x="330" y="335"/>
                </a:cubicBezTo>
                <a:cubicBezTo>
                  <a:pt x="331" y="334"/>
                  <a:pt x="331" y="334"/>
                  <a:pt x="332" y="334"/>
                </a:cubicBezTo>
                <a:cubicBezTo>
                  <a:pt x="338" y="333"/>
                  <a:pt x="349" y="337"/>
                  <a:pt x="357" y="341"/>
                </a:cubicBezTo>
                <a:cubicBezTo>
                  <a:pt x="365" y="347"/>
                  <a:pt x="367" y="344"/>
                  <a:pt x="370" y="341"/>
                </a:cubicBezTo>
                <a:cubicBezTo>
                  <a:pt x="371" y="340"/>
                  <a:pt x="371" y="340"/>
                  <a:pt x="371" y="340"/>
                </a:cubicBezTo>
                <a:cubicBezTo>
                  <a:pt x="374" y="336"/>
                  <a:pt x="376" y="334"/>
                  <a:pt x="369" y="327"/>
                </a:cubicBezTo>
                <a:cubicBezTo>
                  <a:pt x="363" y="320"/>
                  <a:pt x="355" y="307"/>
                  <a:pt x="358" y="300"/>
                </a:cubicBezTo>
                <a:cubicBezTo>
                  <a:pt x="358" y="299"/>
                  <a:pt x="359" y="299"/>
                  <a:pt x="359" y="299"/>
                </a:cubicBezTo>
                <a:cubicBezTo>
                  <a:pt x="365" y="296"/>
                  <a:pt x="377" y="297"/>
                  <a:pt x="386" y="299"/>
                </a:cubicBezTo>
                <a:cubicBezTo>
                  <a:pt x="395" y="302"/>
                  <a:pt x="397" y="299"/>
                  <a:pt x="398" y="295"/>
                </a:cubicBezTo>
                <a:cubicBezTo>
                  <a:pt x="399" y="294"/>
                  <a:pt x="399" y="294"/>
                  <a:pt x="399" y="294"/>
                </a:cubicBezTo>
                <a:cubicBezTo>
                  <a:pt x="401" y="290"/>
                  <a:pt x="402" y="287"/>
                  <a:pt x="394" y="282"/>
                </a:cubicBezTo>
                <a:cubicBezTo>
                  <a:pt x="386" y="276"/>
                  <a:pt x="375" y="265"/>
                  <a:pt x="377" y="258"/>
                </a:cubicBezTo>
                <a:cubicBezTo>
                  <a:pt x="377" y="258"/>
                  <a:pt x="377" y="257"/>
                  <a:pt x="377" y="257"/>
                </a:cubicBezTo>
                <a:cubicBezTo>
                  <a:pt x="383" y="252"/>
                  <a:pt x="394" y="251"/>
                  <a:pt x="403" y="251"/>
                </a:cubicBezTo>
                <a:cubicBezTo>
                  <a:pt x="413" y="251"/>
                  <a:pt x="413" y="248"/>
                  <a:pt x="414" y="244"/>
                </a:cubicBezTo>
                <a:cubicBezTo>
                  <a:pt x="414" y="242"/>
                  <a:pt x="414" y="242"/>
                  <a:pt x="414" y="242"/>
                </a:cubicBezTo>
                <a:cubicBezTo>
                  <a:pt x="415" y="239"/>
                  <a:pt x="415" y="236"/>
                  <a:pt x="412" y="234"/>
                </a:cubicBezTo>
                <a:cubicBezTo>
                  <a:pt x="410" y="233"/>
                  <a:pt x="408" y="232"/>
                  <a:pt x="406" y="232"/>
                </a:cubicBezTo>
                <a:cubicBezTo>
                  <a:pt x="402" y="230"/>
                  <a:pt x="397" y="228"/>
                  <a:pt x="393" y="226"/>
                </a:cubicBezTo>
                <a:cubicBezTo>
                  <a:pt x="389" y="223"/>
                  <a:pt x="383" y="218"/>
                  <a:pt x="383" y="214"/>
                </a:cubicBezTo>
                <a:cubicBezTo>
                  <a:pt x="383" y="213"/>
                  <a:pt x="383" y="213"/>
                  <a:pt x="384" y="212"/>
                </a:cubicBezTo>
                <a:cubicBezTo>
                  <a:pt x="387" y="207"/>
                  <a:pt x="398" y="202"/>
                  <a:pt x="407" y="200"/>
                </a:cubicBezTo>
                <a:cubicBezTo>
                  <a:pt x="416" y="197"/>
                  <a:pt x="416" y="194"/>
                  <a:pt x="415" y="190"/>
                </a:cubicBezTo>
                <a:cubicBezTo>
                  <a:pt x="415" y="188"/>
                  <a:pt x="415" y="188"/>
                  <a:pt x="415" y="188"/>
                </a:cubicBezTo>
                <a:cubicBezTo>
                  <a:pt x="415" y="185"/>
                  <a:pt x="415" y="183"/>
                  <a:pt x="413" y="182"/>
                </a:cubicBezTo>
                <a:cubicBezTo>
                  <a:pt x="411" y="181"/>
                  <a:pt x="409" y="181"/>
                  <a:pt x="405" y="180"/>
                </a:cubicBezTo>
                <a:cubicBezTo>
                  <a:pt x="397" y="180"/>
                  <a:pt x="388" y="177"/>
                  <a:pt x="383" y="174"/>
                </a:cubicBezTo>
                <a:cubicBezTo>
                  <a:pt x="380" y="173"/>
                  <a:pt x="379" y="171"/>
                  <a:pt x="378" y="169"/>
                </a:cubicBezTo>
                <a:cubicBezTo>
                  <a:pt x="378" y="168"/>
                  <a:pt x="378" y="168"/>
                  <a:pt x="378" y="167"/>
                </a:cubicBezTo>
                <a:cubicBezTo>
                  <a:pt x="380" y="161"/>
                  <a:pt x="390" y="153"/>
                  <a:pt x="397" y="149"/>
                </a:cubicBezTo>
                <a:cubicBezTo>
                  <a:pt x="406" y="145"/>
                  <a:pt x="405" y="141"/>
                  <a:pt x="403" y="137"/>
                </a:cubicBezTo>
                <a:cubicBezTo>
                  <a:pt x="403" y="136"/>
                  <a:pt x="403" y="136"/>
                  <a:pt x="403" y="136"/>
                </a:cubicBezTo>
                <a:cubicBezTo>
                  <a:pt x="402" y="134"/>
                  <a:pt x="401" y="132"/>
                  <a:pt x="400" y="131"/>
                </a:cubicBezTo>
                <a:cubicBezTo>
                  <a:pt x="398" y="130"/>
                  <a:pt x="395" y="130"/>
                  <a:pt x="391" y="131"/>
                </a:cubicBezTo>
                <a:cubicBezTo>
                  <a:pt x="382" y="133"/>
                  <a:pt x="370" y="133"/>
                  <a:pt x="364" y="129"/>
                </a:cubicBezTo>
                <a:cubicBezTo>
                  <a:pt x="363" y="129"/>
                  <a:pt x="362" y="128"/>
                  <a:pt x="362" y="127"/>
                </a:cubicBezTo>
                <a:cubicBezTo>
                  <a:pt x="361" y="126"/>
                  <a:pt x="361" y="126"/>
                  <a:pt x="361" y="125"/>
                </a:cubicBezTo>
                <a:cubicBezTo>
                  <a:pt x="362" y="119"/>
                  <a:pt x="369" y="109"/>
                  <a:pt x="375" y="103"/>
                </a:cubicBezTo>
                <a:cubicBezTo>
                  <a:pt x="382" y="96"/>
                  <a:pt x="380" y="94"/>
                  <a:pt x="378" y="90"/>
                </a:cubicBezTo>
                <a:cubicBezTo>
                  <a:pt x="377" y="89"/>
                  <a:pt x="377" y="89"/>
                  <a:pt x="377" y="89"/>
                </a:cubicBezTo>
                <a:cubicBezTo>
                  <a:pt x="376" y="87"/>
                  <a:pt x="375" y="86"/>
                  <a:pt x="374" y="85"/>
                </a:cubicBezTo>
                <a:cubicBezTo>
                  <a:pt x="373" y="85"/>
                  <a:pt x="371" y="83"/>
                  <a:pt x="364" y="87"/>
                </a:cubicBezTo>
                <a:cubicBezTo>
                  <a:pt x="356" y="91"/>
                  <a:pt x="342" y="95"/>
                  <a:pt x="336" y="91"/>
                </a:cubicBezTo>
                <a:cubicBezTo>
                  <a:pt x="335" y="91"/>
                  <a:pt x="335" y="91"/>
                  <a:pt x="335" y="91"/>
                </a:cubicBezTo>
                <a:cubicBezTo>
                  <a:pt x="335" y="90"/>
                  <a:pt x="334" y="90"/>
                  <a:pt x="334" y="89"/>
                </a:cubicBezTo>
                <a:cubicBezTo>
                  <a:pt x="333" y="83"/>
                  <a:pt x="337" y="72"/>
                  <a:pt x="342" y="64"/>
                </a:cubicBezTo>
                <a:cubicBezTo>
                  <a:pt x="347" y="56"/>
                  <a:pt x="344" y="54"/>
                  <a:pt x="341" y="51"/>
                </a:cubicBezTo>
                <a:cubicBezTo>
                  <a:pt x="340" y="50"/>
                  <a:pt x="340" y="50"/>
                  <a:pt x="340" y="50"/>
                </a:cubicBezTo>
                <a:cubicBezTo>
                  <a:pt x="339" y="49"/>
                  <a:pt x="338" y="49"/>
                  <a:pt x="337" y="48"/>
                </a:cubicBezTo>
                <a:cubicBezTo>
                  <a:pt x="336" y="47"/>
                  <a:pt x="333" y="46"/>
                  <a:pt x="327" y="52"/>
                </a:cubicBezTo>
                <a:cubicBezTo>
                  <a:pt x="320" y="57"/>
                  <a:pt x="307" y="66"/>
                  <a:pt x="300" y="63"/>
                </a:cubicBezTo>
                <a:cubicBezTo>
                  <a:pt x="299" y="62"/>
                  <a:pt x="299" y="62"/>
                  <a:pt x="299" y="62"/>
                </a:cubicBezTo>
                <a:cubicBezTo>
                  <a:pt x="296" y="56"/>
                  <a:pt x="297" y="44"/>
                  <a:pt x="299" y="35"/>
                </a:cubicBezTo>
                <a:cubicBezTo>
                  <a:pt x="302" y="27"/>
                  <a:pt x="299" y="25"/>
                  <a:pt x="298" y="24"/>
                </a:cubicBezTo>
                <a:cubicBezTo>
                  <a:pt x="297" y="23"/>
                  <a:pt x="296" y="23"/>
                  <a:pt x="295" y="23"/>
                </a:cubicBezTo>
                <a:cubicBezTo>
                  <a:pt x="294" y="22"/>
                  <a:pt x="294" y="22"/>
                  <a:pt x="294" y="22"/>
                </a:cubicBezTo>
                <a:cubicBezTo>
                  <a:pt x="290" y="20"/>
                  <a:pt x="287" y="19"/>
                  <a:pt x="282" y="27"/>
                </a:cubicBezTo>
                <a:cubicBezTo>
                  <a:pt x="277" y="35"/>
                  <a:pt x="266" y="46"/>
                  <a:pt x="258" y="44"/>
                </a:cubicBezTo>
                <a:cubicBezTo>
                  <a:pt x="258" y="44"/>
                  <a:pt x="257" y="44"/>
                  <a:pt x="257" y="43"/>
                </a:cubicBezTo>
                <a:cubicBezTo>
                  <a:pt x="253" y="38"/>
                  <a:pt x="251" y="27"/>
                  <a:pt x="251" y="18"/>
                </a:cubicBezTo>
                <a:cubicBezTo>
                  <a:pt x="251" y="10"/>
                  <a:pt x="249" y="9"/>
                  <a:pt x="248" y="8"/>
                </a:cubicBezTo>
                <a:cubicBezTo>
                  <a:pt x="247" y="8"/>
                  <a:pt x="245" y="7"/>
                  <a:pt x="244" y="7"/>
                </a:cubicBezTo>
                <a:cubicBezTo>
                  <a:pt x="242" y="7"/>
                  <a:pt x="242" y="7"/>
                  <a:pt x="242" y="7"/>
                </a:cubicBezTo>
                <a:cubicBezTo>
                  <a:pt x="238" y="6"/>
                  <a:pt x="235" y="5"/>
                  <a:pt x="232" y="15"/>
                </a:cubicBezTo>
                <a:cubicBezTo>
                  <a:pt x="229" y="23"/>
                  <a:pt x="221" y="37"/>
                  <a:pt x="214" y="38"/>
                </a:cubicBezTo>
                <a:cubicBezTo>
                  <a:pt x="213" y="38"/>
                  <a:pt x="213" y="38"/>
                  <a:pt x="212" y="37"/>
                </a:cubicBezTo>
                <a:cubicBezTo>
                  <a:pt x="207" y="34"/>
                  <a:pt x="202" y="23"/>
                  <a:pt x="200" y="14"/>
                </a:cubicBezTo>
                <a:cubicBezTo>
                  <a:pt x="199" y="10"/>
                  <a:pt x="197" y="7"/>
                  <a:pt x="196" y="6"/>
                </a:cubicBezTo>
                <a:cubicBezTo>
                  <a:pt x="194" y="5"/>
                  <a:pt x="192" y="5"/>
                  <a:pt x="190" y="5"/>
                </a:cubicBezTo>
                <a:cubicBezTo>
                  <a:pt x="188" y="6"/>
                  <a:pt x="188" y="6"/>
                  <a:pt x="188" y="6"/>
                </a:cubicBezTo>
                <a:cubicBezTo>
                  <a:pt x="184" y="6"/>
                  <a:pt x="181" y="6"/>
                  <a:pt x="180" y="16"/>
                </a:cubicBezTo>
                <a:cubicBezTo>
                  <a:pt x="180" y="24"/>
                  <a:pt x="177" y="38"/>
                  <a:pt x="170" y="42"/>
                </a:cubicBezTo>
                <a:cubicBezTo>
                  <a:pt x="170" y="42"/>
                  <a:pt x="169" y="42"/>
                  <a:pt x="169" y="42"/>
                </a:cubicBezTo>
                <a:cubicBezTo>
                  <a:pt x="167" y="42"/>
                  <a:pt x="165" y="42"/>
                  <a:pt x="163" y="40"/>
                </a:cubicBezTo>
                <a:cubicBezTo>
                  <a:pt x="158" y="37"/>
                  <a:pt x="152" y="31"/>
                  <a:pt x="148" y="24"/>
                </a:cubicBezTo>
                <a:cubicBezTo>
                  <a:pt x="146" y="21"/>
                  <a:pt x="145" y="19"/>
                  <a:pt x="143" y="18"/>
                </a:cubicBezTo>
                <a:cubicBezTo>
                  <a:pt x="141" y="16"/>
                  <a:pt x="139" y="17"/>
                  <a:pt x="136" y="18"/>
                </a:cubicBezTo>
                <a:cubicBezTo>
                  <a:pt x="135" y="19"/>
                  <a:pt x="135" y="19"/>
                  <a:pt x="135" y="19"/>
                </a:cubicBezTo>
                <a:cubicBezTo>
                  <a:pt x="131" y="20"/>
                  <a:pt x="128" y="22"/>
                  <a:pt x="130" y="31"/>
                </a:cubicBezTo>
                <a:cubicBezTo>
                  <a:pt x="132" y="40"/>
                  <a:pt x="133" y="51"/>
                  <a:pt x="130" y="57"/>
                </a:cubicBezTo>
                <a:cubicBezTo>
                  <a:pt x="129" y="58"/>
                  <a:pt x="129" y="58"/>
                  <a:pt x="128" y="58"/>
                </a:cubicBezTo>
                <a:cubicBezTo>
                  <a:pt x="123" y="61"/>
                  <a:pt x="116" y="56"/>
                  <a:pt x="111" y="54"/>
                </a:cubicBezTo>
                <a:cubicBezTo>
                  <a:pt x="108" y="52"/>
                  <a:pt x="105" y="49"/>
                  <a:pt x="102" y="46"/>
                </a:cubicBezTo>
                <a:cubicBezTo>
                  <a:pt x="100" y="45"/>
                  <a:pt x="99" y="44"/>
                  <a:pt x="98" y="43"/>
                </a:cubicBezTo>
                <a:cubicBezTo>
                  <a:pt x="94" y="40"/>
                  <a:pt x="92" y="42"/>
                  <a:pt x="89" y="44"/>
                </a:cubicBezTo>
                <a:cubicBezTo>
                  <a:pt x="88" y="45"/>
                  <a:pt x="88" y="45"/>
                  <a:pt x="88" y="45"/>
                </a:cubicBezTo>
                <a:cubicBezTo>
                  <a:pt x="84" y="47"/>
                  <a:pt x="82" y="49"/>
                  <a:pt x="86" y="58"/>
                </a:cubicBezTo>
                <a:cubicBezTo>
                  <a:pt x="91" y="66"/>
                  <a:pt x="94" y="77"/>
                  <a:pt x="93" y="84"/>
                </a:cubicBezTo>
                <a:cubicBezTo>
                  <a:pt x="93" y="84"/>
                  <a:pt x="92" y="85"/>
                  <a:pt x="92" y="85"/>
                </a:cubicBezTo>
                <a:cubicBezTo>
                  <a:pt x="86" y="90"/>
                  <a:pt x="71" y="84"/>
                  <a:pt x="63" y="80"/>
                </a:cubicBezTo>
                <a:cubicBezTo>
                  <a:pt x="55" y="75"/>
                  <a:pt x="53" y="78"/>
                  <a:pt x="50" y="81"/>
                </a:cubicBezTo>
                <a:cubicBezTo>
                  <a:pt x="49" y="82"/>
                  <a:pt x="49" y="82"/>
                  <a:pt x="49" y="82"/>
                </a:cubicBezTo>
                <a:cubicBezTo>
                  <a:pt x="46" y="86"/>
                  <a:pt x="44" y="88"/>
                  <a:pt x="51" y="95"/>
                </a:cubicBezTo>
                <a:cubicBezTo>
                  <a:pt x="57" y="102"/>
                  <a:pt x="64" y="111"/>
                  <a:pt x="64" y="118"/>
                </a:cubicBezTo>
                <a:cubicBezTo>
                  <a:pt x="64" y="119"/>
                  <a:pt x="64" y="119"/>
                  <a:pt x="63" y="120"/>
                </a:cubicBezTo>
                <a:cubicBezTo>
                  <a:pt x="59" y="126"/>
                  <a:pt x="43" y="125"/>
                  <a:pt x="34" y="123"/>
                </a:cubicBezTo>
                <a:cubicBezTo>
                  <a:pt x="25" y="120"/>
                  <a:pt x="24" y="123"/>
                  <a:pt x="22" y="127"/>
                </a:cubicBezTo>
                <a:cubicBezTo>
                  <a:pt x="21" y="129"/>
                  <a:pt x="21" y="129"/>
                  <a:pt x="21" y="129"/>
                </a:cubicBezTo>
                <a:cubicBezTo>
                  <a:pt x="20" y="132"/>
                  <a:pt x="19" y="135"/>
                  <a:pt x="26" y="140"/>
                </a:cubicBezTo>
                <a:cubicBezTo>
                  <a:pt x="26" y="140"/>
                  <a:pt x="26" y="140"/>
                  <a:pt x="27" y="140"/>
                </a:cubicBezTo>
                <a:cubicBezTo>
                  <a:pt x="27" y="141"/>
                  <a:pt x="27" y="141"/>
                  <a:pt x="27" y="141"/>
                </a:cubicBezTo>
                <a:cubicBezTo>
                  <a:pt x="35" y="145"/>
                  <a:pt x="43" y="153"/>
                  <a:pt x="45" y="160"/>
                </a:cubicBezTo>
                <a:cubicBezTo>
                  <a:pt x="45" y="160"/>
                  <a:pt x="45" y="161"/>
                  <a:pt x="45" y="161"/>
                </a:cubicBezTo>
                <a:cubicBezTo>
                  <a:pt x="42" y="168"/>
                  <a:pt x="27" y="171"/>
                  <a:pt x="18" y="171"/>
                </a:cubicBezTo>
                <a:cubicBezTo>
                  <a:pt x="8" y="171"/>
                  <a:pt x="7" y="174"/>
                  <a:pt x="7" y="179"/>
                </a:cubicBezTo>
                <a:cubicBezTo>
                  <a:pt x="7" y="180"/>
                  <a:pt x="7" y="180"/>
                  <a:pt x="7" y="180"/>
                </a:cubicBezTo>
                <a:cubicBezTo>
                  <a:pt x="6" y="184"/>
                  <a:pt x="6" y="186"/>
                  <a:pt x="9" y="188"/>
                </a:cubicBezTo>
                <a:cubicBezTo>
                  <a:pt x="11" y="189"/>
                  <a:pt x="13" y="190"/>
                  <a:pt x="15" y="190"/>
                </a:cubicBezTo>
                <a:cubicBezTo>
                  <a:pt x="20" y="192"/>
                  <a:pt x="26" y="194"/>
                  <a:pt x="30" y="197"/>
                </a:cubicBezTo>
                <a:cubicBezTo>
                  <a:pt x="34" y="199"/>
                  <a:pt x="36" y="202"/>
                  <a:pt x="37" y="204"/>
                </a:cubicBezTo>
                <a:cubicBezTo>
                  <a:pt x="38" y="204"/>
                  <a:pt x="38" y="205"/>
                  <a:pt x="38" y="206"/>
                </a:cubicBezTo>
                <a:cubicBezTo>
                  <a:pt x="37" y="213"/>
                  <a:pt x="23" y="220"/>
                  <a:pt x="14" y="223"/>
                </a:cubicBezTo>
                <a:cubicBezTo>
                  <a:pt x="5" y="225"/>
                  <a:pt x="5" y="228"/>
                  <a:pt x="6" y="232"/>
                </a:cubicBezTo>
                <a:cubicBezTo>
                  <a:pt x="6" y="234"/>
                  <a:pt x="6" y="234"/>
                  <a:pt x="6" y="234"/>
                </a:cubicBezTo>
                <a:cubicBezTo>
                  <a:pt x="6" y="237"/>
                  <a:pt x="6" y="239"/>
                  <a:pt x="8" y="240"/>
                </a:cubicBezTo>
                <a:cubicBezTo>
                  <a:pt x="10" y="241"/>
                  <a:pt x="13" y="242"/>
                  <a:pt x="16" y="242"/>
                </a:cubicBezTo>
                <a:cubicBezTo>
                  <a:pt x="24" y="242"/>
                  <a:pt x="34" y="244"/>
                  <a:pt x="40" y="247"/>
                </a:cubicBezTo>
                <a:cubicBezTo>
                  <a:pt x="40" y="248"/>
                  <a:pt x="41" y="248"/>
                  <a:pt x="42" y="249"/>
                </a:cubicBezTo>
                <a:cubicBezTo>
                  <a:pt x="42" y="249"/>
                  <a:pt x="42" y="250"/>
                  <a:pt x="42" y="250"/>
                </a:cubicBezTo>
                <a:cubicBezTo>
                  <a:pt x="44" y="258"/>
                  <a:pt x="32" y="268"/>
                  <a:pt x="24" y="273"/>
                </a:cubicBezTo>
                <a:cubicBezTo>
                  <a:pt x="15" y="278"/>
                  <a:pt x="17" y="281"/>
                  <a:pt x="18" y="285"/>
                </a:cubicBezTo>
                <a:cubicBezTo>
                  <a:pt x="19" y="286"/>
                  <a:pt x="19" y="286"/>
                  <a:pt x="19" y="286"/>
                </a:cubicBezTo>
                <a:cubicBezTo>
                  <a:pt x="20" y="288"/>
                  <a:pt x="20" y="290"/>
                  <a:pt x="22" y="291"/>
                </a:cubicBezTo>
                <a:cubicBezTo>
                  <a:pt x="24" y="292"/>
                  <a:pt x="27" y="292"/>
                  <a:pt x="31" y="291"/>
                </a:cubicBezTo>
                <a:cubicBezTo>
                  <a:pt x="40" y="289"/>
                  <a:pt x="52" y="288"/>
                  <a:pt x="57" y="291"/>
                </a:cubicBezTo>
                <a:cubicBezTo>
                  <a:pt x="58" y="292"/>
                  <a:pt x="58" y="292"/>
                  <a:pt x="59" y="293"/>
                </a:cubicBezTo>
                <a:cubicBezTo>
                  <a:pt x="62" y="299"/>
                  <a:pt x="53" y="312"/>
                  <a:pt x="46" y="319"/>
                </a:cubicBezTo>
                <a:cubicBezTo>
                  <a:pt x="39" y="326"/>
                  <a:pt x="41" y="328"/>
                  <a:pt x="44" y="332"/>
                </a:cubicBezTo>
                <a:cubicBezTo>
                  <a:pt x="45" y="333"/>
                  <a:pt x="45" y="333"/>
                  <a:pt x="45" y="333"/>
                </a:cubicBezTo>
                <a:cubicBezTo>
                  <a:pt x="46" y="334"/>
                  <a:pt x="47" y="336"/>
                  <a:pt x="48" y="336"/>
                </a:cubicBezTo>
                <a:cubicBezTo>
                  <a:pt x="49" y="337"/>
                  <a:pt x="51" y="338"/>
                  <a:pt x="58" y="334"/>
                </a:cubicBezTo>
                <a:cubicBezTo>
                  <a:pt x="66" y="330"/>
                  <a:pt x="77" y="327"/>
                  <a:pt x="84" y="328"/>
                </a:cubicBezTo>
                <a:cubicBezTo>
                  <a:pt x="84" y="328"/>
                  <a:pt x="84" y="328"/>
                  <a:pt x="84" y="329"/>
                </a:cubicBezTo>
                <a:close/>
                <a:moveTo>
                  <a:pt x="132" y="334"/>
                </a:moveTo>
                <a:cubicBezTo>
                  <a:pt x="106" y="317"/>
                  <a:pt x="86" y="292"/>
                  <a:pt x="74" y="263"/>
                </a:cubicBezTo>
                <a:cubicBezTo>
                  <a:pt x="60" y="227"/>
                  <a:pt x="61" y="187"/>
                  <a:pt x="77" y="151"/>
                </a:cubicBezTo>
                <a:cubicBezTo>
                  <a:pt x="93" y="116"/>
                  <a:pt x="121" y="88"/>
                  <a:pt x="158" y="74"/>
                </a:cubicBezTo>
                <a:cubicBezTo>
                  <a:pt x="201" y="58"/>
                  <a:pt x="250" y="62"/>
                  <a:pt x="289" y="87"/>
                </a:cubicBezTo>
                <a:cubicBezTo>
                  <a:pt x="315" y="104"/>
                  <a:pt x="335" y="128"/>
                  <a:pt x="347" y="158"/>
                </a:cubicBezTo>
                <a:cubicBezTo>
                  <a:pt x="361" y="194"/>
                  <a:pt x="360" y="234"/>
                  <a:pt x="344" y="269"/>
                </a:cubicBezTo>
                <a:cubicBezTo>
                  <a:pt x="328" y="305"/>
                  <a:pt x="300" y="332"/>
                  <a:pt x="263" y="347"/>
                </a:cubicBezTo>
                <a:cubicBezTo>
                  <a:pt x="220" y="363"/>
                  <a:pt x="171" y="358"/>
                  <a:pt x="132" y="334"/>
                </a:cubicBezTo>
                <a:close/>
                <a:moveTo>
                  <a:pt x="286" y="91"/>
                </a:moveTo>
                <a:cubicBezTo>
                  <a:pt x="249" y="67"/>
                  <a:pt x="201" y="63"/>
                  <a:pt x="160" y="79"/>
                </a:cubicBezTo>
                <a:cubicBezTo>
                  <a:pt x="124" y="92"/>
                  <a:pt x="97" y="119"/>
                  <a:pt x="82" y="153"/>
                </a:cubicBezTo>
                <a:cubicBezTo>
                  <a:pt x="66" y="188"/>
                  <a:pt x="65" y="226"/>
                  <a:pt x="79" y="261"/>
                </a:cubicBezTo>
                <a:cubicBezTo>
                  <a:pt x="90" y="290"/>
                  <a:pt x="109" y="313"/>
                  <a:pt x="135" y="329"/>
                </a:cubicBezTo>
                <a:cubicBezTo>
                  <a:pt x="172" y="353"/>
                  <a:pt x="220" y="358"/>
                  <a:pt x="261" y="342"/>
                </a:cubicBezTo>
                <a:cubicBezTo>
                  <a:pt x="297" y="328"/>
                  <a:pt x="324" y="302"/>
                  <a:pt x="339" y="267"/>
                </a:cubicBezTo>
                <a:cubicBezTo>
                  <a:pt x="355" y="233"/>
                  <a:pt x="356" y="195"/>
                  <a:pt x="342" y="159"/>
                </a:cubicBezTo>
                <a:cubicBezTo>
                  <a:pt x="331" y="131"/>
                  <a:pt x="312" y="108"/>
                  <a:pt x="286" y="9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9" name="Freeform 1191">
            <a:extLst>
              <a:ext uri="{FF2B5EF4-FFF2-40B4-BE49-F238E27FC236}">
                <a16:creationId xmlns:a16="http://schemas.microsoft.com/office/drawing/2014/main" id="{5D2FEB8E-2324-466D-B65D-0E7FBAE5923C}"/>
              </a:ext>
            </a:extLst>
          </p:cNvPr>
          <p:cNvSpPr>
            <a:spLocks noEditPoints="1"/>
          </p:cNvSpPr>
          <p:nvPr/>
        </p:nvSpPr>
        <p:spPr bwMode="auto">
          <a:xfrm rot="1233185">
            <a:off x="3670617" y="4830290"/>
            <a:ext cx="1458521" cy="1453609"/>
          </a:xfrm>
          <a:custGeom>
            <a:avLst/>
            <a:gdLst>
              <a:gd name="T0" fmla="*/ 29 w 385"/>
              <a:gd name="T1" fmla="*/ 269 h 385"/>
              <a:gd name="T2" fmla="*/ 41 w 385"/>
              <a:gd name="T3" fmla="*/ 291 h 385"/>
              <a:gd name="T4" fmla="*/ 54 w 385"/>
              <a:gd name="T5" fmla="*/ 309 h 385"/>
              <a:gd name="T6" fmla="*/ 71 w 385"/>
              <a:gd name="T7" fmla="*/ 327 h 385"/>
              <a:gd name="T8" fmla="*/ 89 w 385"/>
              <a:gd name="T9" fmla="*/ 341 h 385"/>
              <a:gd name="T10" fmla="*/ 110 w 385"/>
              <a:gd name="T11" fmla="*/ 354 h 385"/>
              <a:gd name="T12" fmla="*/ 131 w 385"/>
              <a:gd name="T13" fmla="*/ 363 h 385"/>
              <a:gd name="T14" fmla="*/ 155 w 385"/>
              <a:gd name="T15" fmla="*/ 370 h 385"/>
              <a:gd name="T16" fmla="*/ 177 w 385"/>
              <a:gd name="T17" fmla="*/ 373 h 385"/>
              <a:gd name="T18" fmla="*/ 202 w 385"/>
              <a:gd name="T19" fmla="*/ 374 h 385"/>
              <a:gd name="T20" fmla="*/ 224 w 385"/>
              <a:gd name="T21" fmla="*/ 371 h 385"/>
              <a:gd name="T22" fmla="*/ 247 w 385"/>
              <a:gd name="T23" fmla="*/ 365 h 385"/>
              <a:gd name="T24" fmla="*/ 268 w 385"/>
              <a:gd name="T25" fmla="*/ 358 h 385"/>
              <a:gd name="T26" fmla="*/ 290 w 385"/>
              <a:gd name="T27" fmla="*/ 345 h 385"/>
              <a:gd name="T28" fmla="*/ 308 w 385"/>
              <a:gd name="T29" fmla="*/ 333 h 385"/>
              <a:gd name="T30" fmla="*/ 326 w 385"/>
              <a:gd name="T31" fmla="*/ 315 h 385"/>
              <a:gd name="T32" fmla="*/ 341 w 385"/>
              <a:gd name="T33" fmla="*/ 298 h 385"/>
              <a:gd name="T34" fmla="*/ 354 w 385"/>
              <a:gd name="T35" fmla="*/ 276 h 385"/>
              <a:gd name="T36" fmla="*/ 363 w 385"/>
              <a:gd name="T37" fmla="*/ 256 h 385"/>
              <a:gd name="T38" fmla="*/ 370 w 385"/>
              <a:gd name="T39" fmla="*/ 232 h 385"/>
              <a:gd name="T40" fmla="*/ 374 w 385"/>
              <a:gd name="T41" fmla="*/ 210 h 385"/>
              <a:gd name="T42" fmla="*/ 374 w 385"/>
              <a:gd name="T43" fmla="*/ 185 h 385"/>
              <a:gd name="T44" fmla="*/ 372 w 385"/>
              <a:gd name="T45" fmla="*/ 163 h 385"/>
              <a:gd name="T46" fmla="*/ 366 w 385"/>
              <a:gd name="T47" fmla="*/ 138 h 385"/>
              <a:gd name="T48" fmla="*/ 358 w 385"/>
              <a:gd name="T49" fmla="*/ 117 h 385"/>
              <a:gd name="T50" fmla="*/ 346 w 385"/>
              <a:gd name="T51" fmla="*/ 95 h 385"/>
              <a:gd name="T52" fmla="*/ 333 w 385"/>
              <a:gd name="T53" fmla="*/ 77 h 385"/>
              <a:gd name="T54" fmla="*/ 316 w 385"/>
              <a:gd name="T55" fmla="*/ 59 h 385"/>
              <a:gd name="T56" fmla="*/ 298 w 385"/>
              <a:gd name="T57" fmla="*/ 45 h 385"/>
              <a:gd name="T58" fmla="*/ 277 w 385"/>
              <a:gd name="T59" fmla="*/ 32 h 385"/>
              <a:gd name="T60" fmla="*/ 257 w 385"/>
              <a:gd name="T61" fmla="*/ 23 h 385"/>
              <a:gd name="T62" fmla="*/ 232 w 385"/>
              <a:gd name="T63" fmla="*/ 16 h 385"/>
              <a:gd name="T64" fmla="*/ 210 w 385"/>
              <a:gd name="T65" fmla="*/ 12 h 385"/>
              <a:gd name="T66" fmla="*/ 185 w 385"/>
              <a:gd name="T67" fmla="*/ 12 h 385"/>
              <a:gd name="T68" fmla="*/ 163 w 385"/>
              <a:gd name="T69" fmla="*/ 14 h 385"/>
              <a:gd name="T70" fmla="*/ 137 w 385"/>
              <a:gd name="T71" fmla="*/ 20 h 385"/>
              <a:gd name="T72" fmla="*/ 117 w 385"/>
              <a:gd name="T73" fmla="*/ 28 h 385"/>
              <a:gd name="T74" fmla="*/ 95 w 385"/>
              <a:gd name="T75" fmla="*/ 40 h 385"/>
              <a:gd name="T76" fmla="*/ 77 w 385"/>
              <a:gd name="T77" fmla="*/ 54 h 385"/>
              <a:gd name="T78" fmla="*/ 59 w 385"/>
              <a:gd name="T79" fmla="*/ 71 h 385"/>
              <a:gd name="T80" fmla="*/ 45 w 385"/>
              <a:gd name="T81" fmla="*/ 88 h 385"/>
              <a:gd name="T82" fmla="*/ 32 w 385"/>
              <a:gd name="T83" fmla="*/ 110 h 385"/>
              <a:gd name="T84" fmla="*/ 23 w 385"/>
              <a:gd name="T85" fmla="*/ 130 h 385"/>
              <a:gd name="T86" fmla="*/ 16 w 385"/>
              <a:gd name="T87" fmla="*/ 154 h 385"/>
              <a:gd name="T88" fmla="*/ 13 w 385"/>
              <a:gd name="T89" fmla="*/ 176 h 385"/>
              <a:gd name="T90" fmla="*/ 12 w 385"/>
              <a:gd name="T91" fmla="*/ 202 h 385"/>
              <a:gd name="T92" fmla="*/ 15 w 385"/>
              <a:gd name="T93" fmla="*/ 224 h 385"/>
              <a:gd name="T94" fmla="*/ 20 w 385"/>
              <a:gd name="T95" fmla="*/ 248 h 385"/>
              <a:gd name="T96" fmla="*/ 70 w 385"/>
              <a:gd name="T97" fmla="*/ 240 h 385"/>
              <a:gd name="T98" fmla="*/ 316 w 385"/>
              <a:gd name="T99" fmla="*/ 145 h 385"/>
              <a:gd name="T100" fmla="*/ 70 w 385"/>
              <a:gd name="T101" fmla="*/ 24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5" h="385">
                <a:moveTo>
                  <a:pt x="14" y="262"/>
                </a:moveTo>
                <a:cubicBezTo>
                  <a:pt x="16" y="266"/>
                  <a:pt x="17" y="272"/>
                  <a:pt x="29" y="269"/>
                </a:cubicBezTo>
                <a:cubicBezTo>
                  <a:pt x="37" y="267"/>
                  <a:pt x="47" y="267"/>
                  <a:pt x="51" y="269"/>
                </a:cubicBezTo>
                <a:cubicBezTo>
                  <a:pt x="53" y="273"/>
                  <a:pt x="47" y="284"/>
                  <a:pt x="41" y="291"/>
                </a:cubicBezTo>
                <a:cubicBezTo>
                  <a:pt x="32" y="299"/>
                  <a:pt x="36" y="303"/>
                  <a:pt x="39" y="306"/>
                </a:cubicBezTo>
                <a:cubicBezTo>
                  <a:pt x="41" y="310"/>
                  <a:pt x="44" y="314"/>
                  <a:pt x="54" y="309"/>
                </a:cubicBezTo>
                <a:cubicBezTo>
                  <a:pt x="61" y="305"/>
                  <a:pt x="71" y="302"/>
                  <a:pt x="76" y="303"/>
                </a:cubicBezTo>
                <a:cubicBezTo>
                  <a:pt x="79" y="307"/>
                  <a:pt x="76" y="319"/>
                  <a:pt x="71" y="327"/>
                </a:cubicBezTo>
                <a:cubicBezTo>
                  <a:pt x="65" y="337"/>
                  <a:pt x="70" y="340"/>
                  <a:pt x="73" y="342"/>
                </a:cubicBezTo>
                <a:cubicBezTo>
                  <a:pt x="77" y="345"/>
                  <a:pt x="81" y="349"/>
                  <a:pt x="89" y="341"/>
                </a:cubicBezTo>
                <a:cubicBezTo>
                  <a:pt x="95" y="335"/>
                  <a:pt x="103" y="330"/>
                  <a:pt x="108" y="330"/>
                </a:cubicBezTo>
                <a:cubicBezTo>
                  <a:pt x="112" y="332"/>
                  <a:pt x="112" y="345"/>
                  <a:pt x="110" y="354"/>
                </a:cubicBezTo>
                <a:cubicBezTo>
                  <a:pt x="107" y="365"/>
                  <a:pt x="112" y="367"/>
                  <a:pt x="116" y="368"/>
                </a:cubicBezTo>
                <a:cubicBezTo>
                  <a:pt x="120" y="370"/>
                  <a:pt x="125" y="373"/>
                  <a:pt x="131" y="363"/>
                </a:cubicBezTo>
                <a:cubicBezTo>
                  <a:pt x="135" y="355"/>
                  <a:pt x="142" y="348"/>
                  <a:pt x="147" y="347"/>
                </a:cubicBezTo>
                <a:cubicBezTo>
                  <a:pt x="151" y="349"/>
                  <a:pt x="155" y="360"/>
                  <a:pt x="155" y="370"/>
                </a:cubicBezTo>
                <a:cubicBezTo>
                  <a:pt x="155" y="382"/>
                  <a:pt x="160" y="382"/>
                  <a:pt x="164" y="382"/>
                </a:cubicBezTo>
                <a:cubicBezTo>
                  <a:pt x="169" y="383"/>
                  <a:pt x="174" y="384"/>
                  <a:pt x="177" y="373"/>
                </a:cubicBezTo>
                <a:cubicBezTo>
                  <a:pt x="179" y="365"/>
                  <a:pt x="184" y="356"/>
                  <a:pt x="188" y="354"/>
                </a:cubicBezTo>
                <a:cubicBezTo>
                  <a:pt x="193" y="354"/>
                  <a:pt x="199" y="365"/>
                  <a:pt x="202" y="374"/>
                </a:cubicBezTo>
                <a:cubicBezTo>
                  <a:pt x="205" y="385"/>
                  <a:pt x="210" y="384"/>
                  <a:pt x="214" y="383"/>
                </a:cubicBezTo>
                <a:cubicBezTo>
                  <a:pt x="219" y="383"/>
                  <a:pt x="224" y="383"/>
                  <a:pt x="224" y="371"/>
                </a:cubicBezTo>
                <a:cubicBezTo>
                  <a:pt x="224" y="362"/>
                  <a:pt x="227" y="352"/>
                  <a:pt x="231" y="349"/>
                </a:cubicBezTo>
                <a:cubicBezTo>
                  <a:pt x="236" y="350"/>
                  <a:pt x="243" y="358"/>
                  <a:pt x="247" y="365"/>
                </a:cubicBezTo>
                <a:cubicBezTo>
                  <a:pt x="253" y="376"/>
                  <a:pt x="257" y="373"/>
                  <a:pt x="262" y="372"/>
                </a:cubicBezTo>
                <a:cubicBezTo>
                  <a:pt x="266" y="370"/>
                  <a:pt x="271" y="369"/>
                  <a:pt x="268" y="358"/>
                </a:cubicBezTo>
                <a:cubicBezTo>
                  <a:pt x="266" y="348"/>
                  <a:pt x="267" y="336"/>
                  <a:pt x="271" y="334"/>
                </a:cubicBezTo>
                <a:cubicBezTo>
                  <a:pt x="276" y="334"/>
                  <a:pt x="284" y="339"/>
                  <a:pt x="290" y="345"/>
                </a:cubicBezTo>
                <a:cubicBezTo>
                  <a:pt x="298" y="354"/>
                  <a:pt x="302" y="350"/>
                  <a:pt x="306" y="348"/>
                </a:cubicBezTo>
                <a:cubicBezTo>
                  <a:pt x="309" y="345"/>
                  <a:pt x="314" y="343"/>
                  <a:pt x="308" y="333"/>
                </a:cubicBezTo>
                <a:cubicBezTo>
                  <a:pt x="304" y="324"/>
                  <a:pt x="302" y="312"/>
                  <a:pt x="305" y="308"/>
                </a:cubicBezTo>
                <a:cubicBezTo>
                  <a:pt x="310" y="308"/>
                  <a:pt x="319" y="311"/>
                  <a:pt x="326" y="315"/>
                </a:cubicBezTo>
                <a:cubicBezTo>
                  <a:pt x="336" y="321"/>
                  <a:pt x="339" y="317"/>
                  <a:pt x="342" y="313"/>
                </a:cubicBezTo>
                <a:cubicBezTo>
                  <a:pt x="345" y="310"/>
                  <a:pt x="349" y="307"/>
                  <a:pt x="341" y="298"/>
                </a:cubicBezTo>
                <a:cubicBezTo>
                  <a:pt x="334" y="291"/>
                  <a:pt x="329" y="280"/>
                  <a:pt x="331" y="276"/>
                </a:cubicBezTo>
                <a:cubicBezTo>
                  <a:pt x="335" y="273"/>
                  <a:pt x="346" y="274"/>
                  <a:pt x="354" y="276"/>
                </a:cubicBezTo>
                <a:cubicBezTo>
                  <a:pt x="365" y="280"/>
                  <a:pt x="366" y="275"/>
                  <a:pt x="368" y="271"/>
                </a:cubicBezTo>
                <a:cubicBezTo>
                  <a:pt x="370" y="267"/>
                  <a:pt x="373" y="262"/>
                  <a:pt x="363" y="256"/>
                </a:cubicBezTo>
                <a:cubicBezTo>
                  <a:pt x="355" y="251"/>
                  <a:pt x="347" y="242"/>
                  <a:pt x="348" y="237"/>
                </a:cubicBezTo>
                <a:cubicBezTo>
                  <a:pt x="352" y="234"/>
                  <a:pt x="362" y="232"/>
                  <a:pt x="370" y="232"/>
                </a:cubicBezTo>
                <a:cubicBezTo>
                  <a:pt x="381" y="232"/>
                  <a:pt x="382" y="227"/>
                  <a:pt x="382" y="223"/>
                </a:cubicBezTo>
                <a:cubicBezTo>
                  <a:pt x="383" y="218"/>
                  <a:pt x="385" y="213"/>
                  <a:pt x="374" y="210"/>
                </a:cubicBezTo>
                <a:cubicBezTo>
                  <a:pt x="365" y="207"/>
                  <a:pt x="354" y="200"/>
                  <a:pt x="354" y="195"/>
                </a:cubicBezTo>
                <a:cubicBezTo>
                  <a:pt x="357" y="191"/>
                  <a:pt x="366" y="187"/>
                  <a:pt x="374" y="185"/>
                </a:cubicBezTo>
                <a:cubicBezTo>
                  <a:pt x="385" y="182"/>
                  <a:pt x="384" y="177"/>
                  <a:pt x="384" y="173"/>
                </a:cubicBezTo>
                <a:cubicBezTo>
                  <a:pt x="383" y="168"/>
                  <a:pt x="384" y="163"/>
                  <a:pt x="372" y="163"/>
                </a:cubicBezTo>
                <a:cubicBezTo>
                  <a:pt x="362" y="162"/>
                  <a:pt x="351" y="158"/>
                  <a:pt x="349" y="154"/>
                </a:cubicBezTo>
                <a:cubicBezTo>
                  <a:pt x="351" y="149"/>
                  <a:pt x="359" y="142"/>
                  <a:pt x="366" y="138"/>
                </a:cubicBezTo>
                <a:cubicBezTo>
                  <a:pt x="376" y="133"/>
                  <a:pt x="374" y="128"/>
                  <a:pt x="372" y="124"/>
                </a:cubicBezTo>
                <a:cubicBezTo>
                  <a:pt x="371" y="120"/>
                  <a:pt x="370" y="115"/>
                  <a:pt x="358" y="117"/>
                </a:cubicBezTo>
                <a:cubicBezTo>
                  <a:pt x="349" y="119"/>
                  <a:pt x="337" y="119"/>
                  <a:pt x="334" y="115"/>
                </a:cubicBezTo>
                <a:cubicBezTo>
                  <a:pt x="334" y="109"/>
                  <a:pt x="340" y="101"/>
                  <a:pt x="346" y="95"/>
                </a:cubicBezTo>
                <a:cubicBezTo>
                  <a:pt x="354" y="88"/>
                  <a:pt x="351" y="84"/>
                  <a:pt x="348" y="80"/>
                </a:cubicBezTo>
                <a:cubicBezTo>
                  <a:pt x="346" y="76"/>
                  <a:pt x="343" y="72"/>
                  <a:pt x="333" y="77"/>
                </a:cubicBezTo>
                <a:cubicBezTo>
                  <a:pt x="324" y="81"/>
                  <a:pt x="313" y="84"/>
                  <a:pt x="309" y="81"/>
                </a:cubicBezTo>
                <a:cubicBezTo>
                  <a:pt x="308" y="76"/>
                  <a:pt x="311" y="66"/>
                  <a:pt x="316" y="59"/>
                </a:cubicBezTo>
                <a:cubicBezTo>
                  <a:pt x="322" y="49"/>
                  <a:pt x="317" y="46"/>
                  <a:pt x="314" y="44"/>
                </a:cubicBezTo>
                <a:cubicBezTo>
                  <a:pt x="311" y="41"/>
                  <a:pt x="307" y="37"/>
                  <a:pt x="298" y="45"/>
                </a:cubicBezTo>
                <a:cubicBezTo>
                  <a:pt x="291" y="51"/>
                  <a:pt x="281" y="57"/>
                  <a:pt x="276" y="55"/>
                </a:cubicBezTo>
                <a:cubicBezTo>
                  <a:pt x="274" y="50"/>
                  <a:pt x="275" y="40"/>
                  <a:pt x="277" y="32"/>
                </a:cubicBezTo>
                <a:cubicBezTo>
                  <a:pt x="280" y="21"/>
                  <a:pt x="275" y="19"/>
                  <a:pt x="271" y="17"/>
                </a:cubicBezTo>
                <a:cubicBezTo>
                  <a:pt x="267" y="16"/>
                  <a:pt x="263" y="13"/>
                  <a:pt x="257" y="23"/>
                </a:cubicBezTo>
                <a:cubicBezTo>
                  <a:pt x="251" y="31"/>
                  <a:pt x="242" y="39"/>
                  <a:pt x="237" y="38"/>
                </a:cubicBezTo>
                <a:cubicBezTo>
                  <a:pt x="234" y="34"/>
                  <a:pt x="232" y="24"/>
                  <a:pt x="232" y="16"/>
                </a:cubicBezTo>
                <a:cubicBezTo>
                  <a:pt x="233" y="4"/>
                  <a:pt x="228" y="4"/>
                  <a:pt x="223" y="3"/>
                </a:cubicBezTo>
                <a:cubicBezTo>
                  <a:pt x="219" y="2"/>
                  <a:pt x="214" y="1"/>
                  <a:pt x="210" y="12"/>
                </a:cubicBezTo>
                <a:cubicBezTo>
                  <a:pt x="207" y="21"/>
                  <a:pt x="201" y="31"/>
                  <a:pt x="196" y="31"/>
                </a:cubicBezTo>
                <a:cubicBezTo>
                  <a:pt x="192" y="29"/>
                  <a:pt x="187" y="20"/>
                  <a:pt x="185" y="12"/>
                </a:cubicBezTo>
                <a:cubicBezTo>
                  <a:pt x="183" y="0"/>
                  <a:pt x="178" y="1"/>
                  <a:pt x="173" y="2"/>
                </a:cubicBezTo>
                <a:cubicBezTo>
                  <a:pt x="169" y="2"/>
                  <a:pt x="164" y="2"/>
                  <a:pt x="163" y="14"/>
                </a:cubicBezTo>
                <a:cubicBezTo>
                  <a:pt x="162" y="23"/>
                  <a:pt x="159" y="33"/>
                  <a:pt x="155" y="36"/>
                </a:cubicBezTo>
                <a:cubicBezTo>
                  <a:pt x="150" y="35"/>
                  <a:pt x="142" y="28"/>
                  <a:pt x="137" y="20"/>
                </a:cubicBezTo>
                <a:cubicBezTo>
                  <a:pt x="132" y="10"/>
                  <a:pt x="127" y="12"/>
                  <a:pt x="123" y="14"/>
                </a:cubicBezTo>
                <a:cubicBezTo>
                  <a:pt x="119" y="16"/>
                  <a:pt x="114" y="17"/>
                  <a:pt x="117" y="28"/>
                </a:cubicBezTo>
                <a:cubicBezTo>
                  <a:pt x="119" y="36"/>
                  <a:pt x="119" y="46"/>
                  <a:pt x="117" y="51"/>
                </a:cubicBezTo>
                <a:cubicBezTo>
                  <a:pt x="112" y="53"/>
                  <a:pt x="102" y="47"/>
                  <a:pt x="95" y="40"/>
                </a:cubicBezTo>
                <a:cubicBezTo>
                  <a:pt x="86" y="32"/>
                  <a:pt x="83" y="36"/>
                  <a:pt x="79" y="38"/>
                </a:cubicBezTo>
                <a:cubicBezTo>
                  <a:pt x="76" y="41"/>
                  <a:pt x="71" y="43"/>
                  <a:pt x="77" y="54"/>
                </a:cubicBezTo>
                <a:cubicBezTo>
                  <a:pt x="81" y="61"/>
                  <a:pt x="84" y="70"/>
                  <a:pt x="82" y="75"/>
                </a:cubicBezTo>
                <a:cubicBezTo>
                  <a:pt x="79" y="78"/>
                  <a:pt x="67" y="75"/>
                  <a:pt x="59" y="71"/>
                </a:cubicBezTo>
                <a:cubicBezTo>
                  <a:pt x="48" y="65"/>
                  <a:pt x="46" y="69"/>
                  <a:pt x="43" y="73"/>
                </a:cubicBezTo>
                <a:cubicBezTo>
                  <a:pt x="41" y="76"/>
                  <a:pt x="37" y="80"/>
                  <a:pt x="45" y="88"/>
                </a:cubicBezTo>
                <a:cubicBezTo>
                  <a:pt x="51" y="94"/>
                  <a:pt x="56" y="103"/>
                  <a:pt x="56" y="108"/>
                </a:cubicBezTo>
                <a:cubicBezTo>
                  <a:pt x="53" y="112"/>
                  <a:pt x="41" y="112"/>
                  <a:pt x="32" y="110"/>
                </a:cubicBezTo>
                <a:cubicBezTo>
                  <a:pt x="20" y="107"/>
                  <a:pt x="19" y="112"/>
                  <a:pt x="17" y="116"/>
                </a:cubicBezTo>
                <a:cubicBezTo>
                  <a:pt x="16" y="120"/>
                  <a:pt x="13" y="124"/>
                  <a:pt x="23" y="130"/>
                </a:cubicBezTo>
                <a:cubicBezTo>
                  <a:pt x="30" y="135"/>
                  <a:pt x="37" y="142"/>
                  <a:pt x="39" y="146"/>
                </a:cubicBezTo>
                <a:cubicBezTo>
                  <a:pt x="37" y="151"/>
                  <a:pt x="25" y="154"/>
                  <a:pt x="16" y="154"/>
                </a:cubicBezTo>
                <a:cubicBezTo>
                  <a:pt x="4" y="154"/>
                  <a:pt x="4" y="159"/>
                  <a:pt x="3" y="164"/>
                </a:cubicBezTo>
                <a:cubicBezTo>
                  <a:pt x="3" y="168"/>
                  <a:pt x="1" y="173"/>
                  <a:pt x="13" y="176"/>
                </a:cubicBezTo>
                <a:cubicBezTo>
                  <a:pt x="21" y="179"/>
                  <a:pt x="29" y="184"/>
                  <a:pt x="32" y="188"/>
                </a:cubicBezTo>
                <a:cubicBezTo>
                  <a:pt x="31" y="193"/>
                  <a:pt x="21" y="199"/>
                  <a:pt x="12" y="202"/>
                </a:cubicBezTo>
                <a:cubicBezTo>
                  <a:pt x="0" y="204"/>
                  <a:pt x="2" y="210"/>
                  <a:pt x="2" y="214"/>
                </a:cubicBezTo>
                <a:cubicBezTo>
                  <a:pt x="3" y="218"/>
                  <a:pt x="3" y="224"/>
                  <a:pt x="15" y="224"/>
                </a:cubicBezTo>
                <a:cubicBezTo>
                  <a:pt x="23" y="224"/>
                  <a:pt x="33" y="226"/>
                  <a:pt x="36" y="230"/>
                </a:cubicBezTo>
                <a:cubicBezTo>
                  <a:pt x="37" y="235"/>
                  <a:pt x="29" y="243"/>
                  <a:pt x="20" y="248"/>
                </a:cubicBezTo>
                <a:cubicBezTo>
                  <a:pt x="10" y="254"/>
                  <a:pt x="13" y="258"/>
                  <a:pt x="14" y="262"/>
                </a:cubicBezTo>
                <a:close/>
                <a:moveTo>
                  <a:pt x="70" y="240"/>
                </a:moveTo>
                <a:cubicBezTo>
                  <a:pt x="44" y="172"/>
                  <a:pt x="77" y="96"/>
                  <a:pt x="145" y="69"/>
                </a:cubicBezTo>
                <a:cubicBezTo>
                  <a:pt x="213" y="43"/>
                  <a:pt x="290" y="77"/>
                  <a:pt x="316" y="145"/>
                </a:cubicBezTo>
                <a:cubicBezTo>
                  <a:pt x="342" y="213"/>
                  <a:pt x="309" y="289"/>
                  <a:pt x="241" y="316"/>
                </a:cubicBezTo>
                <a:cubicBezTo>
                  <a:pt x="173" y="342"/>
                  <a:pt x="96" y="308"/>
                  <a:pt x="70" y="24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0" name="Freeform 1192">
            <a:extLst>
              <a:ext uri="{FF2B5EF4-FFF2-40B4-BE49-F238E27FC236}">
                <a16:creationId xmlns:a16="http://schemas.microsoft.com/office/drawing/2014/main" id="{50DF5952-DC0B-498C-A88C-9F53C2274EE5}"/>
              </a:ext>
            </a:extLst>
          </p:cNvPr>
          <p:cNvSpPr>
            <a:spLocks noEditPoints="1"/>
          </p:cNvSpPr>
          <p:nvPr/>
        </p:nvSpPr>
        <p:spPr bwMode="auto">
          <a:xfrm rot="1233185">
            <a:off x="5637292" y="4934593"/>
            <a:ext cx="633500" cy="648231"/>
          </a:xfrm>
          <a:custGeom>
            <a:avLst/>
            <a:gdLst>
              <a:gd name="T0" fmla="*/ 40 w 168"/>
              <a:gd name="T1" fmla="*/ 155 h 171"/>
              <a:gd name="T2" fmla="*/ 40 w 168"/>
              <a:gd name="T3" fmla="*/ 155 h 171"/>
              <a:gd name="T4" fmla="*/ 8 w 168"/>
              <a:gd name="T5" fmla="*/ 115 h 171"/>
              <a:gd name="T6" fmla="*/ 9 w 168"/>
              <a:gd name="T7" fmla="*/ 53 h 171"/>
              <a:gd name="T8" fmla="*/ 54 w 168"/>
              <a:gd name="T9" fmla="*/ 10 h 171"/>
              <a:gd name="T10" fmla="*/ 128 w 168"/>
              <a:gd name="T11" fmla="*/ 17 h 171"/>
              <a:gd name="T12" fmla="*/ 160 w 168"/>
              <a:gd name="T13" fmla="*/ 56 h 171"/>
              <a:gd name="T14" fmla="*/ 159 w 168"/>
              <a:gd name="T15" fmla="*/ 119 h 171"/>
              <a:gd name="T16" fmla="*/ 113 w 168"/>
              <a:gd name="T17" fmla="*/ 162 h 171"/>
              <a:gd name="T18" fmla="*/ 40 w 168"/>
              <a:gd name="T19" fmla="*/ 155 h 171"/>
              <a:gd name="T20" fmla="*/ 125 w 168"/>
              <a:gd name="T21" fmla="*/ 21 h 171"/>
              <a:gd name="T22" fmla="*/ 56 w 168"/>
              <a:gd name="T23" fmla="*/ 14 h 171"/>
              <a:gd name="T24" fmla="*/ 14 w 168"/>
              <a:gd name="T25" fmla="*/ 55 h 171"/>
              <a:gd name="T26" fmla="*/ 12 w 168"/>
              <a:gd name="T27" fmla="*/ 114 h 171"/>
              <a:gd name="T28" fmla="*/ 43 w 168"/>
              <a:gd name="T29" fmla="*/ 151 h 171"/>
              <a:gd name="T30" fmla="*/ 43 w 168"/>
              <a:gd name="T31" fmla="*/ 151 h 171"/>
              <a:gd name="T32" fmla="*/ 111 w 168"/>
              <a:gd name="T33" fmla="*/ 157 h 171"/>
              <a:gd name="T34" fmla="*/ 154 w 168"/>
              <a:gd name="T35" fmla="*/ 117 h 171"/>
              <a:gd name="T36" fmla="*/ 155 w 168"/>
              <a:gd name="T37" fmla="*/ 58 h 171"/>
              <a:gd name="T38" fmla="*/ 125 w 168"/>
              <a:gd name="T39" fmla="*/ 21 h 171"/>
              <a:gd name="T40" fmla="*/ 56 w 168"/>
              <a:gd name="T41" fmla="*/ 130 h 171"/>
              <a:gd name="T42" fmla="*/ 36 w 168"/>
              <a:gd name="T43" fmla="*/ 105 h 171"/>
              <a:gd name="T44" fmla="*/ 37 w 168"/>
              <a:gd name="T45" fmla="*/ 65 h 171"/>
              <a:gd name="T46" fmla="*/ 65 w 168"/>
              <a:gd name="T47" fmla="*/ 38 h 171"/>
              <a:gd name="T48" fmla="*/ 112 w 168"/>
              <a:gd name="T49" fmla="*/ 42 h 171"/>
              <a:gd name="T50" fmla="*/ 132 w 168"/>
              <a:gd name="T51" fmla="*/ 67 h 171"/>
              <a:gd name="T52" fmla="*/ 102 w 168"/>
              <a:gd name="T53" fmla="*/ 134 h 171"/>
              <a:gd name="T54" fmla="*/ 56 w 168"/>
              <a:gd name="T55" fmla="*/ 130 h 171"/>
              <a:gd name="T56" fmla="*/ 109 w 168"/>
              <a:gd name="T57" fmla="*/ 47 h 171"/>
              <a:gd name="T58" fmla="*/ 67 w 168"/>
              <a:gd name="T59" fmla="*/ 42 h 171"/>
              <a:gd name="T60" fmla="*/ 41 w 168"/>
              <a:gd name="T61" fmla="*/ 67 h 171"/>
              <a:gd name="T62" fmla="*/ 40 w 168"/>
              <a:gd name="T63" fmla="*/ 103 h 171"/>
              <a:gd name="T64" fmla="*/ 59 w 168"/>
              <a:gd name="T65" fmla="*/ 125 h 171"/>
              <a:gd name="T66" fmla="*/ 101 w 168"/>
              <a:gd name="T67" fmla="*/ 129 h 171"/>
              <a:gd name="T68" fmla="*/ 127 w 168"/>
              <a:gd name="T69" fmla="*/ 69 h 171"/>
              <a:gd name="T70" fmla="*/ 109 w 168"/>
              <a:gd name="T71" fmla="*/ 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71">
                <a:moveTo>
                  <a:pt x="40" y="155"/>
                </a:moveTo>
                <a:cubicBezTo>
                  <a:pt x="40" y="155"/>
                  <a:pt x="40" y="155"/>
                  <a:pt x="40" y="155"/>
                </a:cubicBezTo>
                <a:cubicBezTo>
                  <a:pt x="25" y="145"/>
                  <a:pt x="14" y="132"/>
                  <a:pt x="8" y="115"/>
                </a:cubicBezTo>
                <a:cubicBezTo>
                  <a:pt x="0" y="95"/>
                  <a:pt x="0" y="73"/>
                  <a:pt x="9" y="53"/>
                </a:cubicBezTo>
                <a:cubicBezTo>
                  <a:pt x="18" y="33"/>
                  <a:pt x="34" y="18"/>
                  <a:pt x="54" y="10"/>
                </a:cubicBezTo>
                <a:cubicBezTo>
                  <a:pt x="78" y="0"/>
                  <a:pt x="106" y="3"/>
                  <a:pt x="128" y="17"/>
                </a:cubicBezTo>
                <a:cubicBezTo>
                  <a:pt x="142" y="26"/>
                  <a:pt x="154" y="40"/>
                  <a:pt x="160" y="56"/>
                </a:cubicBezTo>
                <a:cubicBezTo>
                  <a:pt x="168" y="77"/>
                  <a:pt x="167" y="99"/>
                  <a:pt x="159" y="119"/>
                </a:cubicBezTo>
                <a:cubicBezTo>
                  <a:pt x="150" y="139"/>
                  <a:pt x="134" y="154"/>
                  <a:pt x="113" y="162"/>
                </a:cubicBezTo>
                <a:cubicBezTo>
                  <a:pt x="89" y="171"/>
                  <a:pt x="62" y="169"/>
                  <a:pt x="40" y="155"/>
                </a:cubicBezTo>
                <a:close/>
                <a:moveTo>
                  <a:pt x="125" y="21"/>
                </a:moveTo>
                <a:cubicBezTo>
                  <a:pt x="105" y="8"/>
                  <a:pt x="79" y="6"/>
                  <a:pt x="56" y="14"/>
                </a:cubicBezTo>
                <a:cubicBezTo>
                  <a:pt x="37" y="22"/>
                  <a:pt x="22" y="36"/>
                  <a:pt x="14" y="55"/>
                </a:cubicBezTo>
                <a:cubicBezTo>
                  <a:pt x="5" y="74"/>
                  <a:pt x="5" y="94"/>
                  <a:pt x="12" y="114"/>
                </a:cubicBezTo>
                <a:cubicBezTo>
                  <a:pt x="18" y="129"/>
                  <a:pt x="29" y="142"/>
                  <a:pt x="43" y="151"/>
                </a:cubicBezTo>
                <a:cubicBezTo>
                  <a:pt x="43" y="151"/>
                  <a:pt x="43" y="151"/>
                  <a:pt x="43" y="151"/>
                </a:cubicBezTo>
                <a:cubicBezTo>
                  <a:pt x="63" y="164"/>
                  <a:pt x="89" y="166"/>
                  <a:pt x="111" y="157"/>
                </a:cubicBezTo>
                <a:cubicBezTo>
                  <a:pt x="131" y="150"/>
                  <a:pt x="146" y="136"/>
                  <a:pt x="154" y="117"/>
                </a:cubicBezTo>
                <a:cubicBezTo>
                  <a:pt x="162" y="98"/>
                  <a:pt x="163" y="77"/>
                  <a:pt x="155" y="58"/>
                </a:cubicBezTo>
                <a:cubicBezTo>
                  <a:pt x="149" y="43"/>
                  <a:pt x="139" y="30"/>
                  <a:pt x="125" y="21"/>
                </a:cubicBezTo>
                <a:close/>
                <a:moveTo>
                  <a:pt x="56" y="130"/>
                </a:moveTo>
                <a:cubicBezTo>
                  <a:pt x="47" y="124"/>
                  <a:pt x="40" y="115"/>
                  <a:pt x="36" y="105"/>
                </a:cubicBezTo>
                <a:cubicBezTo>
                  <a:pt x="31" y="92"/>
                  <a:pt x="31" y="78"/>
                  <a:pt x="37" y="65"/>
                </a:cubicBezTo>
                <a:cubicBezTo>
                  <a:pt x="42" y="52"/>
                  <a:pt x="52" y="43"/>
                  <a:pt x="65" y="38"/>
                </a:cubicBezTo>
                <a:cubicBezTo>
                  <a:pt x="80" y="32"/>
                  <a:pt x="98" y="34"/>
                  <a:pt x="112" y="42"/>
                </a:cubicBezTo>
                <a:cubicBezTo>
                  <a:pt x="121" y="48"/>
                  <a:pt x="128" y="57"/>
                  <a:pt x="132" y="67"/>
                </a:cubicBezTo>
                <a:cubicBezTo>
                  <a:pt x="142" y="94"/>
                  <a:pt x="129" y="124"/>
                  <a:pt x="102" y="134"/>
                </a:cubicBezTo>
                <a:cubicBezTo>
                  <a:pt x="87" y="140"/>
                  <a:pt x="70" y="138"/>
                  <a:pt x="56" y="130"/>
                </a:cubicBezTo>
                <a:close/>
                <a:moveTo>
                  <a:pt x="109" y="47"/>
                </a:moveTo>
                <a:cubicBezTo>
                  <a:pt x="96" y="39"/>
                  <a:pt x="81" y="37"/>
                  <a:pt x="67" y="42"/>
                </a:cubicBezTo>
                <a:cubicBezTo>
                  <a:pt x="55" y="47"/>
                  <a:pt x="46" y="56"/>
                  <a:pt x="41" y="67"/>
                </a:cubicBezTo>
                <a:cubicBezTo>
                  <a:pt x="36" y="78"/>
                  <a:pt x="36" y="91"/>
                  <a:pt x="40" y="103"/>
                </a:cubicBezTo>
                <a:cubicBezTo>
                  <a:pt x="44" y="112"/>
                  <a:pt x="50" y="120"/>
                  <a:pt x="59" y="125"/>
                </a:cubicBezTo>
                <a:cubicBezTo>
                  <a:pt x="71" y="133"/>
                  <a:pt x="87" y="135"/>
                  <a:pt x="101" y="129"/>
                </a:cubicBezTo>
                <a:cubicBezTo>
                  <a:pt x="125" y="120"/>
                  <a:pt x="137" y="93"/>
                  <a:pt x="127" y="69"/>
                </a:cubicBezTo>
                <a:cubicBezTo>
                  <a:pt x="124" y="60"/>
                  <a:pt x="117" y="52"/>
                  <a:pt x="109" y="4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1" name="Freeform 1193">
            <a:extLst>
              <a:ext uri="{FF2B5EF4-FFF2-40B4-BE49-F238E27FC236}">
                <a16:creationId xmlns:a16="http://schemas.microsoft.com/office/drawing/2014/main" id="{B4E0378A-13F3-4DA0-83D7-88C5B4F7A08F}"/>
              </a:ext>
            </a:extLst>
          </p:cNvPr>
          <p:cNvSpPr>
            <a:spLocks noEditPoints="1"/>
          </p:cNvSpPr>
          <p:nvPr/>
        </p:nvSpPr>
        <p:spPr bwMode="auto">
          <a:xfrm rot="1233185">
            <a:off x="4485639" y="3533438"/>
            <a:ext cx="1095119" cy="1060741"/>
          </a:xfrm>
          <a:custGeom>
            <a:avLst/>
            <a:gdLst>
              <a:gd name="T0" fmla="*/ 66 w 289"/>
              <a:gd name="T1" fmla="*/ 253 h 280"/>
              <a:gd name="T2" fmla="*/ 66 w 289"/>
              <a:gd name="T3" fmla="*/ 253 h 280"/>
              <a:gd name="T4" fmla="*/ 11 w 289"/>
              <a:gd name="T5" fmla="*/ 183 h 280"/>
              <a:gd name="T6" fmla="*/ 18 w 289"/>
              <a:gd name="T7" fmla="*/ 80 h 280"/>
              <a:gd name="T8" fmla="*/ 96 w 289"/>
              <a:gd name="T9" fmla="*/ 13 h 280"/>
              <a:gd name="T10" fmla="*/ 210 w 289"/>
              <a:gd name="T11" fmla="*/ 27 h 280"/>
              <a:gd name="T12" fmla="*/ 265 w 289"/>
              <a:gd name="T13" fmla="*/ 98 h 280"/>
              <a:gd name="T14" fmla="*/ 181 w 289"/>
              <a:gd name="T15" fmla="*/ 267 h 280"/>
              <a:gd name="T16" fmla="*/ 66 w 289"/>
              <a:gd name="T17" fmla="*/ 253 h 280"/>
              <a:gd name="T18" fmla="*/ 207 w 289"/>
              <a:gd name="T19" fmla="*/ 31 h 280"/>
              <a:gd name="T20" fmla="*/ 97 w 289"/>
              <a:gd name="T21" fmla="*/ 18 h 280"/>
              <a:gd name="T22" fmla="*/ 23 w 289"/>
              <a:gd name="T23" fmla="*/ 83 h 280"/>
              <a:gd name="T24" fmla="*/ 16 w 289"/>
              <a:gd name="T25" fmla="*/ 181 h 280"/>
              <a:gd name="T26" fmla="*/ 69 w 289"/>
              <a:gd name="T27" fmla="*/ 249 h 280"/>
              <a:gd name="T28" fmla="*/ 69 w 289"/>
              <a:gd name="T29" fmla="*/ 249 h 280"/>
              <a:gd name="T30" fmla="*/ 179 w 289"/>
              <a:gd name="T31" fmla="*/ 262 h 280"/>
              <a:gd name="T32" fmla="*/ 260 w 289"/>
              <a:gd name="T33" fmla="*/ 99 h 280"/>
              <a:gd name="T34" fmla="*/ 207 w 289"/>
              <a:gd name="T35" fmla="*/ 31 h 280"/>
              <a:gd name="T36" fmla="*/ 111 w 289"/>
              <a:gd name="T37" fmla="*/ 182 h 280"/>
              <a:gd name="T38" fmla="*/ 91 w 289"/>
              <a:gd name="T39" fmla="*/ 156 h 280"/>
              <a:gd name="T40" fmla="*/ 122 w 289"/>
              <a:gd name="T41" fmla="*/ 93 h 280"/>
              <a:gd name="T42" fmla="*/ 165 w 289"/>
              <a:gd name="T43" fmla="*/ 98 h 280"/>
              <a:gd name="T44" fmla="*/ 185 w 289"/>
              <a:gd name="T45" fmla="*/ 124 h 280"/>
              <a:gd name="T46" fmla="*/ 154 w 289"/>
              <a:gd name="T47" fmla="*/ 188 h 280"/>
              <a:gd name="T48" fmla="*/ 111 w 289"/>
              <a:gd name="T49" fmla="*/ 182 h 280"/>
              <a:gd name="T50" fmla="*/ 162 w 289"/>
              <a:gd name="T51" fmla="*/ 102 h 280"/>
              <a:gd name="T52" fmla="*/ 124 w 289"/>
              <a:gd name="T53" fmla="*/ 98 h 280"/>
              <a:gd name="T54" fmla="*/ 95 w 289"/>
              <a:gd name="T55" fmla="*/ 154 h 280"/>
              <a:gd name="T56" fmla="*/ 114 w 289"/>
              <a:gd name="T57" fmla="*/ 178 h 280"/>
              <a:gd name="T58" fmla="*/ 152 w 289"/>
              <a:gd name="T59" fmla="*/ 183 h 280"/>
              <a:gd name="T60" fmla="*/ 181 w 289"/>
              <a:gd name="T61" fmla="*/ 126 h 280"/>
              <a:gd name="T62" fmla="*/ 162 w 289"/>
              <a:gd name="T63" fmla="*/ 10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9" h="280">
                <a:moveTo>
                  <a:pt x="66" y="253"/>
                </a:moveTo>
                <a:cubicBezTo>
                  <a:pt x="66" y="253"/>
                  <a:pt x="66" y="253"/>
                  <a:pt x="66" y="253"/>
                </a:cubicBezTo>
                <a:cubicBezTo>
                  <a:pt x="40" y="237"/>
                  <a:pt x="21" y="212"/>
                  <a:pt x="11" y="183"/>
                </a:cubicBezTo>
                <a:cubicBezTo>
                  <a:pt x="0" y="149"/>
                  <a:pt x="2" y="112"/>
                  <a:pt x="18" y="80"/>
                </a:cubicBezTo>
                <a:cubicBezTo>
                  <a:pt x="34" y="48"/>
                  <a:pt x="62" y="24"/>
                  <a:pt x="96" y="13"/>
                </a:cubicBezTo>
                <a:cubicBezTo>
                  <a:pt x="134" y="0"/>
                  <a:pt x="176" y="5"/>
                  <a:pt x="210" y="27"/>
                </a:cubicBezTo>
                <a:cubicBezTo>
                  <a:pt x="236" y="44"/>
                  <a:pt x="255" y="69"/>
                  <a:pt x="265" y="98"/>
                </a:cubicBezTo>
                <a:cubicBezTo>
                  <a:pt x="289" y="168"/>
                  <a:pt x="251" y="244"/>
                  <a:pt x="181" y="267"/>
                </a:cubicBezTo>
                <a:cubicBezTo>
                  <a:pt x="142" y="280"/>
                  <a:pt x="100" y="275"/>
                  <a:pt x="66" y="253"/>
                </a:cubicBezTo>
                <a:close/>
                <a:moveTo>
                  <a:pt x="207" y="31"/>
                </a:moveTo>
                <a:cubicBezTo>
                  <a:pt x="174" y="10"/>
                  <a:pt x="134" y="6"/>
                  <a:pt x="97" y="18"/>
                </a:cubicBezTo>
                <a:cubicBezTo>
                  <a:pt x="65" y="29"/>
                  <a:pt x="38" y="52"/>
                  <a:pt x="23" y="83"/>
                </a:cubicBezTo>
                <a:cubicBezTo>
                  <a:pt x="7" y="113"/>
                  <a:pt x="5" y="148"/>
                  <a:pt x="16" y="181"/>
                </a:cubicBezTo>
                <a:cubicBezTo>
                  <a:pt x="25" y="209"/>
                  <a:pt x="44" y="233"/>
                  <a:pt x="69" y="249"/>
                </a:cubicBezTo>
                <a:cubicBezTo>
                  <a:pt x="69" y="249"/>
                  <a:pt x="69" y="249"/>
                  <a:pt x="69" y="249"/>
                </a:cubicBezTo>
                <a:cubicBezTo>
                  <a:pt x="102" y="270"/>
                  <a:pt x="142" y="275"/>
                  <a:pt x="179" y="262"/>
                </a:cubicBezTo>
                <a:cubicBezTo>
                  <a:pt x="246" y="240"/>
                  <a:pt x="283" y="167"/>
                  <a:pt x="260" y="99"/>
                </a:cubicBezTo>
                <a:cubicBezTo>
                  <a:pt x="251" y="71"/>
                  <a:pt x="232" y="47"/>
                  <a:pt x="207" y="31"/>
                </a:cubicBezTo>
                <a:close/>
                <a:moveTo>
                  <a:pt x="111" y="182"/>
                </a:moveTo>
                <a:cubicBezTo>
                  <a:pt x="102" y="176"/>
                  <a:pt x="94" y="167"/>
                  <a:pt x="91" y="156"/>
                </a:cubicBezTo>
                <a:cubicBezTo>
                  <a:pt x="82" y="130"/>
                  <a:pt x="96" y="102"/>
                  <a:pt x="122" y="93"/>
                </a:cubicBezTo>
                <a:cubicBezTo>
                  <a:pt x="137" y="88"/>
                  <a:pt x="152" y="90"/>
                  <a:pt x="165" y="98"/>
                </a:cubicBezTo>
                <a:cubicBezTo>
                  <a:pt x="175" y="104"/>
                  <a:pt x="182" y="113"/>
                  <a:pt x="185" y="124"/>
                </a:cubicBezTo>
                <a:cubicBezTo>
                  <a:pt x="194" y="150"/>
                  <a:pt x="180" y="179"/>
                  <a:pt x="154" y="188"/>
                </a:cubicBezTo>
                <a:cubicBezTo>
                  <a:pt x="140" y="192"/>
                  <a:pt x="124" y="190"/>
                  <a:pt x="111" y="182"/>
                </a:cubicBezTo>
                <a:close/>
                <a:moveTo>
                  <a:pt x="162" y="102"/>
                </a:moveTo>
                <a:cubicBezTo>
                  <a:pt x="151" y="95"/>
                  <a:pt x="137" y="93"/>
                  <a:pt x="124" y="98"/>
                </a:cubicBezTo>
                <a:cubicBezTo>
                  <a:pt x="100" y="105"/>
                  <a:pt x="88" y="131"/>
                  <a:pt x="95" y="154"/>
                </a:cubicBezTo>
                <a:cubicBezTo>
                  <a:pt x="99" y="164"/>
                  <a:pt x="105" y="173"/>
                  <a:pt x="114" y="178"/>
                </a:cubicBezTo>
                <a:cubicBezTo>
                  <a:pt x="125" y="185"/>
                  <a:pt x="139" y="187"/>
                  <a:pt x="152" y="183"/>
                </a:cubicBezTo>
                <a:cubicBezTo>
                  <a:pt x="176" y="175"/>
                  <a:pt x="189" y="149"/>
                  <a:pt x="181" y="126"/>
                </a:cubicBezTo>
                <a:cubicBezTo>
                  <a:pt x="177" y="116"/>
                  <a:pt x="171" y="108"/>
                  <a:pt x="162"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2" name="Freeform 1194">
            <a:extLst>
              <a:ext uri="{FF2B5EF4-FFF2-40B4-BE49-F238E27FC236}">
                <a16:creationId xmlns:a16="http://schemas.microsoft.com/office/drawing/2014/main" id="{439760CB-F237-4938-BE0F-5307D411EC06}"/>
              </a:ext>
            </a:extLst>
          </p:cNvPr>
          <p:cNvSpPr>
            <a:spLocks noEditPoints="1"/>
          </p:cNvSpPr>
          <p:nvPr/>
        </p:nvSpPr>
        <p:spPr bwMode="auto">
          <a:xfrm rot="1233185">
            <a:off x="4334809" y="3383263"/>
            <a:ext cx="1355392" cy="1345570"/>
          </a:xfrm>
          <a:custGeom>
            <a:avLst/>
            <a:gdLst>
              <a:gd name="T0" fmla="*/ 74 w 357"/>
              <a:gd name="T1" fmla="*/ 280 h 356"/>
              <a:gd name="T2" fmla="*/ 36 w 357"/>
              <a:gd name="T3" fmla="*/ 262 h 356"/>
              <a:gd name="T4" fmla="*/ 9 w 357"/>
              <a:gd name="T5" fmla="*/ 233 h 356"/>
              <a:gd name="T6" fmla="*/ 5 w 357"/>
              <a:gd name="T7" fmla="*/ 190 h 356"/>
              <a:gd name="T8" fmla="*/ 23 w 357"/>
              <a:gd name="T9" fmla="*/ 145 h 356"/>
              <a:gd name="T10" fmla="*/ 26 w 357"/>
              <a:gd name="T11" fmla="*/ 114 h 356"/>
              <a:gd name="T12" fmla="*/ 53 w 357"/>
              <a:gd name="T13" fmla="*/ 70 h 356"/>
              <a:gd name="T14" fmla="*/ 87 w 357"/>
              <a:gd name="T15" fmla="*/ 33 h 356"/>
              <a:gd name="T16" fmla="*/ 120 w 357"/>
              <a:gd name="T17" fmla="*/ 10 h 356"/>
              <a:gd name="T18" fmla="*/ 156 w 357"/>
              <a:gd name="T19" fmla="*/ 35 h 356"/>
              <a:gd name="T20" fmla="*/ 182 w 357"/>
              <a:gd name="T21" fmla="*/ 0 h 356"/>
              <a:gd name="T22" fmla="*/ 219 w 357"/>
              <a:gd name="T23" fmla="*/ 18 h 356"/>
              <a:gd name="T24" fmla="*/ 246 w 357"/>
              <a:gd name="T25" fmla="*/ 49 h 356"/>
              <a:gd name="T26" fmla="*/ 289 w 357"/>
              <a:gd name="T27" fmla="*/ 56 h 356"/>
              <a:gd name="T28" fmla="*/ 324 w 357"/>
              <a:gd name="T29" fmla="*/ 76 h 356"/>
              <a:gd name="T30" fmla="*/ 348 w 357"/>
              <a:gd name="T31" fmla="*/ 125 h 356"/>
              <a:gd name="T32" fmla="*/ 343 w 357"/>
              <a:gd name="T33" fmla="*/ 165 h 356"/>
              <a:gd name="T34" fmla="*/ 322 w 357"/>
              <a:gd name="T35" fmla="*/ 201 h 356"/>
              <a:gd name="T36" fmla="*/ 347 w 357"/>
              <a:gd name="T37" fmla="*/ 235 h 356"/>
              <a:gd name="T38" fmla="*/ 322 w 357"/>
              <a:gd name="T39" fmla="*/ 284 h 356"/>
              <a:gd name="T40" fmla="*/ 282 w 357"/>
              <a:gd name="T41" fmla="*/ 323 h 356"/>
              <a:gd name="T42" fmla="*/ 235 w 357"/>
              <a:gd name="T43" fmla="*/ 347 h 356"/>
              <a:gd name="T44" fmla="*/ 200 w 357"/>
              <a:gd name="T45" fmla="*/ 321 h 356"/>
              <a:gd name="T46" fmla="*/ 161 w 357"/>
              <a:gd name="T47" fmla="*/ 342 h 356"/>
              <a:gd name="T48" fmla="*/ 115 w 357"/>
              <a:gd name="T49" fmla="*/ 345 h 356"/>
              <a:gd name="T50" fmla="*/ 77 w 357"/>
              <a:gd name="T51" fmla="*/ 275 h 356"/>
              <a:gd name="T52" fmla="*/ 77 w 357"/>
              <a:gd name="T53" fmla="*/ 319 h 356"/>
              <a:gd name="T54" fmla="*/ 118 w 357"/>
              <a:gd name="T55" fmla="*/ 340 h 356"/>
              <a:gd name="T56" fmla="*/ 154 w 357"/>
              <a:gd name="T57" fmla="*/ 317 h 356"/>
              <a:gd name="T58" fmla="*/ 185 w 357"/>
              <a:gd name="T59" fmla="*/ 342 h 356"/>
              <a:gd name="T60" fmla="*/ 232 w 357"/>
              <a:gd name="T61" fmla="*/ 343 h 356"/>
              <a:gd name="T62" fmla="*/ 255 w 357"/>
              <a:gd name="T63" fmla="*/ 307 h 356"/>
              <a:gd name="T64" fmla="*/ 282 w 357"/>
              <a:gd name="T65" fmla="*/ 305 h 356"/>
              <a:gd name="T66" fmla="*/ 318 w 357"/>
              <a:gd name="T67" fmla="*/ 280 h 356"/>
              <a:gd name="T68" fmla="*/ 342 w 357"/>
              <a:gd name="T69" fmla="*/ 233 h 356"/>
              <a:gd name="T70" fmla="*/ 317 w 357"/>
              <a:gd name="T71" fmla="*/ 201 h 356"/>
              <a:gd name="T72" fmla="*/ 349 w 357"/>
              <a:gd name="T73" fmla="*/ 172 h 356"/>
              <a:gd name="T74" fmla="*/ 337 w 357"/>
              <a:gd name="T75" fmla="*/ 139 h 356"/>
              <a:gd name="T76" fmla="*/ 306 w 357"/>
              <a:gd name="T77" fmla="*/ 117 h 356"/>
              <a:gd name="T78" fmla="*/ 319 w 357"/>
              <a:gd name="T79" fmla="*/ 78 h 356"/>
              <a:gd name="T80" fmla="*/ 284 w 357"/>
              <a:gd name="T81" fmla="*/ 54 h 356"/>
              <a:gd name="T82" fmla="*/ 244 w 357"/>
              <a:gd name="T83" fmla="*/ 54 h 356"/>
              <a:gd name="T84" fmla="*/ 234 w 357"/>
              <a:gd name="T85" fmla="*/ 14 h 356"/>
              <a:gd name="T86" fmla="*/ 188 w 357"/>
              <a:gd name="T87" fmla="*/ 6 h 356"/>
              <a:gd name="T88" fmla="*/ 157 w 357"/>
              <a:gd name="T89" fmla="*/ 40 h 356"/>
              <a:gd name="T90" fmla="*/ 130 w 357"/>
              <a:gd name="T91" fmla="*/ 14 h 356"/>
              <a:gd name="T92" fmla="*/ 113 w 357"/>
              <a:gd name="T93" fmla="*/ 53 h 356"/>
              <a:gd name="T94" fmla="*/ 74 w 357"/>
              <a:gd name="T95" fmla="*/ 40 h 356"/>
              <a:gd name="T96" fmla="*/ 38 w 357"/>
              <a:gd name="T97" fmla="*/ 77 h 356"/>
              <a:gd name="T98" fmla="*/ 25 w 357"/>
              <a:gd name="T99" fmla="*/ 119 h 356"/>
              <a:gd name="T100" fmla="*/ 26 w 357"/>
              <a:gd name="T101" fmla="*/ 141 h 356"/>
              <a:gd name="T102" fmla="*/ 5 w 357"/>
              <a:gd name="T103" fmla="*/ 179 h 356"/>
              <a:gd name="T104" fmla="*/ 19 w 357"/>
              <a:gd name="T105" fmla="*/ 219 h 356"/>
              <a:gd name="T106" fmla="*/ 51 w 357"/>
              <a:gd name="T107" fmla="*/ 239 h 356"/>
              <a:gd name="T108" fmla="*/ 41 w 357"/>
              <a:gd name="T109" fmla="*/ 283 h 356"/>
              <a:gd name="T110" fmla="*/ 67 w 357"/>
              <a:gd name="T111" fmla="*/ 215 h 356"/>
              <a:gd name="T112" fmla="*/ 215 w 357"/>
              <a:gd name="T113" fmla="*/ 289 h 356"/>
              <a:gd name="T114" fmla="*/ 118 w 357"/>
              <a:gd name="T115" fmla="*/ 272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75" y="323"/>
                </a:moveTo>
                <a:cubicBezTo>
                  <a:pt x="74" y="323"/>
                  <a:pt x="73" y="322"/>
                  <a:pt x="73" y="322"/>
                </a:cubicBezTo>
                <a:cubicBezTo>
                  <a:pt x="71" y="321"/>
                  <a:pt x="71" y="321"/>
                  <a:pt x="71" y="321"/>
                </a:cubicBezTo>
                <a:cubicBezTo>
                  <a:pt x="66" y="317"/>
                  <a:pt x="62" y="313"/>
                  <a:pt x="68" y="302"/>
                </a:cubicBezTo>
                <a:cubicBezTo>
                  <a:pt x="72" y="294"/>
                  <a:pt x="74" y="284"/>
                  <a:pt x="74" y="280"/>
                </a:cubicBezTo>
                <a:cubicBezTo>
                  <a:pt x="69" y="280"/>
                  <a:pt x="60" y="282"/>
                  <a:pt x="53" y="286"/>
                </a:cubicBezTo>
                <a:cubicBezTo>
                  <a:pt x="47" y="289"/>
                  <a:pt x="42" y="290"/>
                  <a:pt x="38" y="287"/>
                </a:cubicBezTo>
                <a:cubicBezTo>
                  <a:pt x="36" y="286"/>
                  <a:pt x="35" y="284"/>
                  <a:pt x="34" y="283"/>
                </a:cubicBezTo>
                <a:cubicBezTo>
                  <a:pt x="33" y="281"/>
                  <a:pt x="33" y="281"/>
                  <a:pt x="33" y="281"/>
                </a:cubicBezTo>
                <a:cubicBezTo>
                  <a:pt x="29" y="277"/>
                  <a:pt x="26" y="271"/>
                  <a:pt x="36" y="262"/>
                </a:cubicBezTo>
                <a:cubicBezTo>
                  <a:pt x="42" y="256"/>
                  <a:pt x="47" y="247"/>
                  <a:pt x="47" y="243"/>
                </a:cubicBezTo>
                <a:cubicBezTo>
                  <a:pt x="43" y="241"/>
                  <a:pt x="34" y="241"/>
                  <a:pt x="26" y="242"/>
                </a:cubicBezTo>
                <a:cubicBezTo>
                  <a:pt x="21" y="243"/>
                  <a:pt x="17" y="243"/>
                  <a:pt x="14" y="241"/>
                </a:cubicBezTo>
                <a:cubicBezTo>
                  <a:pt x="14" y="241"/>
                  <a:pt x="14" y="241"/>
                  <a:pt x="14" y="241"/>
                </a:cubicBezTo>
                <a:cubicBezTo>
                  <a:pt x="11" y="239"/>
                  <a:pt x="10" y="236"/>
                  <a:pt x="9" y="233"/>
                </a:cubicBezTo>
                <a:cubicBezTo>
                  <a:pt x="8" y="232"/>
                  <a:pt x="8" y="232"/>
                  <a:pt x="8" y="232"/>
                </a:cubicBezTo>
                <a:cubicBezTo>
                  <a:pt x="6" y="226"/>
                  <a:pt x="5" y="220"/>
                  <a:pt x="17" y="215"/>
                </a:cubicBezTo>
                <a:cubicBezTo>
                  <a:pt x="25" y="210"/>
                  <a:pt x="32" y="204"/>
                  <a:pt x="34" y="200"/>
                </a:cubicBezTo>
                <a:cubicBezTo>
                  <a:pt x="30" y="197"/>
                  <a:pt x="22" y="194"/>
                  <a:pt x="14" y="193"/>
                </a:cubicBezTo>
                <a:cubicBezTo>
                  <a:pt x="10" y="192"/>
                  <a:pt x="7" y="191"/>
                  <a:pt x="5" y="190"/>
                </a:cubicBezTo>
                <a:cubicBezTo>
                  <a:pt x="0" y="187"/>
                  <a:pt x="0" y="182"/>
                  <a:pt x="0" y="179"/>
                </a:cubicBezTo>
                <a:cubicBezTo>
                  <a:pt x="0" y="178"/>
                  <a:pt x="0" y="178"/>
                  <a:pt x="0" y="178"/>
                </a:cubicBezTo>
                <a:cubicBezTo>
                  <a:pt x="0" y="171"/>
                  <a:pt x="1" y="165"/>
                  <a:pt x="14" y="164"/>
                </a:cubicBezTo>
                <a:cubicBezTo>
                  <a:pt x="22" y="162"/>
                  <a:pt x="31" y="158"/>
                  <a:pt x="34" y="155"/>
                </a:cubicBezTo>
                <a:cubicBezTo>
                  <a:pt x="32" y="152"/>
                  <a:pt x="28" y="148"/>
                  <a:pt x="23" y="145"/>
                </a:cubicBezTo>
                <a:cubicBezTo>
                  <a:pt x="21" y="144"/>
                  <a:pt x="19" y="143"/>
                  <a:pt x="17" y="142"/>
                </a:cubicBezTo>
                <a:cubicBezTo>
                  <a:pt x="16" y="141"/>
                  <a:pt x="15" y="140"/>
                  <a:pt x="13" y="140"/>
                </a:cubicBezTo>
                <a:cubicBezTo>
                  <a:pt x="5" y="134"/>
                  <a:pt x="7" y="128"/>
                  <a:pt x="8" y="124"/>
                </a:cubicBezTo>
                <a:cubicBezTo>
                  <a:pt x="9" y="123"/>
                  <a:pt x="9" y="123"/>
                  <a:pt x="9" y="123"/>
                </a:cubicBezTo>
                <a:cubicBezTo>
                  <a:pt x="10" y="117"/>
                  <a:pt x="13" y="112"/>
                  <a:pt x="26" y="114"/>
                </a:cubicBezTo>
                <a:cubicBezTo>
                  <a:pt x="35" y="115"/>
                  <a:pt x="44" y="114"/>
                  <a:pt x="48" y="112"/>
                </a:cubicBezTo>
                <a:cubicBezTo>
                  <a:pt x="47" y="107"/>
                  <a:pt x="42" y="100"/>
                  <a:pt x="36" y="94"/>
                </a:cubicBezTo>
                <a:cubicBezTo>
                  <a:pt x="27" y="86"/>
                  <a:pt x="29" y="80"/>
                  <a:pt x="33" y="75"/>
                </a:cubicBezTo>
                <a:cubicBezTo>
                  <a:pt x="34" y="74"/>
                  <a:pt x="34" y="74"/>
                  <a:pt x="34" y="74"/>
                </a:cubicBezTo>
                <a:cubicBezTo>
                  <a:pt x="37" y="69"/>
                  <a:pt x="41" y="64"/>
                  <a:pt x="53" y="70"/>
                </a:cubicBezTo>
                <a:cubicBezTo>
                  <a:pt x="61" y="74"/>
                  <a:pt x="70" y="76"/>
                  <a:pt x="75" y="75"/>
                </a:cubicBezTo>
                <a:cubicBezTo>
                  <a:pt x="75" y="70"/>
                  <a:pt x="73" y="62"/>
                  <a:pt x="69" y="55"/>
                </a:cubicBezTo>
                <a:cubicBezTo>
                  <a:pt x="62" y="44"/>
                  <a:pt x="66" y="39"/>
                  <a:pt x="71" y="36"/>
                </a:cubicBezTo>
                <a:cubicBezTo>
                  <a:pt x="73" y="35"/>
                  <a:pt x="73" y="35"/>
                  <a:pt x="73" y="35"/>
                </a:cubicBezTo>
                <a:cubicBezTo>
                  <a:pt x="75" y="32"/>
                  <a:pt x="80" y="29"/>
                  <a:pt x="87" y="33"/>
                </a:cubicBezTo>
                <a:cubicBezTo>
                  <a:pt x="89" y="34"/>
                  <a:pt x="90" y="36"/>
                  <a:pt x="92" y="37"/>
                </a:cubicBezTo>
                <a:cubicBezTo>
                  <a:pt x="94" y="40"/>
                  <a:pt x="97" y="42"/>
                  <a:pt x="101" y="44"/>
                </a:cubicBezTo>
                <a:cubicBezTo>
                  <a:pt x="105" y="47"/>
                  <a:pt x="109" y="48"/>
                  <a:pt x="111" y="49"/>
                </a:cubicBezTo>
                <a:cubicBezTo>
                  <a:pt x="113" y="44"/>
                  <a:pt x="113" y="35"/>
                  <a:pt x="112" y="27"/>
                </a:cubicBezTo>
                <a:cubicBezTo>
                  <a:pt x="109" y="15"/>
                  <a:pt x="114" y="12"/>
                  <a:pt x="120" y="10"/>
                </a:cubicBezTo>
                <a:cubicBezTo>
                  <a:pt x="121" y="9"/>
                  <a:pt x="121" y="9"/>
                  <a:pt x="121" y="9"/>
                </a:cubicBezTo>
                <a:cubicBezTo>
                  <a:pt x="124" y="8"/>
                  <a:pt x="128" y="7"/>
                  <a:pt x="132" y="9"/>
                </a:cubicBezTo>
                <a:cubicBezTo>
                  <a:pt x="135" y="11"/>
                  <a:pt x="137" y="14"/>
                  <a:pt x="139" y="18"/>
                </a:cubicBezTo>
                <a:cubicBezTo>
                  <a:pt x="143" y="24"/>
                  <a:pt x="148" y="31"/>
                  <a:pt x="152" y="33"/>
                </a:cubicBezTo>
                <a:cubicBezTo>
                  <a:pt x="154" y="35"/>
                  <a:pt x="155" y="35"/>
                  <a:pt x="156" y="35"/>
                </a:cubicBezTo>
                <a:cubicBezTo>
                  <a:pt x="156" y="35"/>
                  <a:pt x="156" y="35"/>
                  <a:pt x="156" y="35"/>
                </a:cubicBezTo>
                <a:cubicBezTo>
                  <a:pt x="156" y="35"/>
                  <a:pt x="156" y="35"/>
                  <a:pt x="156" y="35"/>
                </a:cubicBezTo>
                <a:cubicBezTo>
                  <a:pt x="156" y="35"/>
                  <a:pt x="157" y="35"/>
                  <a:pt x="157" y="35"/>
                </a:cubicBezTo>
                <a:cubicBezTo>
                  <a:pt x="160" y="34"/>
                  <a:pt x="165" y="24"/>
                  <a:pt x="168" y="13"/>
                </a:cubicBezTo>
                <a:cubicBezTo>
                  <a:pt x="170" y="0"/>
                  <a:pt x="176" y="0"/>
                  <a:pt x="182" y="0"/>
                </a:cubicBezTo>
                <a:cubicBezTo>
                  <a:pt x="183" y="0"/>
                  <a:pt x="183" y="0"/>
                  <a:pt x="183" y="0"/>
                </a:cubicBezTo>
                <a:cubicBezTo>
                  <a:pt x="186" y="0"/>
                  <a:pt x="188" y="0"/>
                  <a:pt x="191" y="2"/>
                </a:cubicBezTo>
                <a:cubicBezTo>
                  <a:pt x="194" y="4"/>
                  <a:pt x="196" y="8"/>
                  <a:pt x="197" y="15"/>
                </a:cubicBezTo>
                <a:cubicBezTo>
                  <a:pt x="198" y="22"/>
                  <a:pt x="200" y="31"/>
                  <a:pt x="203" y="35"/>
                </a:cubicBezTo>
                <a:cubicBezTo>
                  <a:pt x="208" y="33"/>
                  <a:pt x="214" y="26"/>
                  <a:pt x="219" y="18"/>
                </a:cubicBezTo>
                <a:cubicBezTo>
                  <a:pt x="225" y="6"/>
                  <a:pt x="231" y="8"/>
                  <a:pt x="236" y="10"/>
                </a:cubicBezTo>
                <a:cubicBezTo>
                  <a:pt x="238" y="10"/>
                  <a:pt x="238" y="10"/>
                  <a:pt x="238" y="10"/>
                </a:cubicBezTo>
                <a:cubicBezTo>
                  <a:pt x="239" y="11"/>
                  <a:pt x="240" y="11"/>
                  <a:pt x="242" y="12"/>
                </a:cubicBezTo>
                <a:cubicBezTo>
                  <a:pt x="246" y="15"/>
                  <a:pt x="248" y="20"/>
                  <a:pt x="246" y="28"/>
                </a:cubicBezTo>
                <a:cubicBezTo>
                  <a:pt x="244" y="36"/>
                  <a:pt x="245" y="45"/>
                  <a:pt x="246" y="49"/>
                </a:cubicBezTo>
                <a:cubicBezTo>
                  <a:pt x="251" y="49"/>
                  <a:pt x="259" y="44"/>
                  <a:pt x="266" y="38"/>
                </a:cubicBezTo>
                <a:cubicBezTo>
                  <a:pt x="272" y="32"/>
                  <a:pt x="277" y="30"/>
                  <a:pt x="282" y="34"/>
                </a:cubicBezTo>
                <a:cubicBezTo>
                  <a:pt x="283" y="34"/>
                  <a:pt x="284" y="35"/>
                  <a:pt x="285" y="36"/>
                </a:cubicBezTo>
                <a:cubicBezTo>
                  <a:pt x="286" y="36"/>
                  <a:pt x="286" y="36"/>
                  <a:pt x="286" y="36"/>
                </a:cubicBezTo>
                <a:cubicBezTo>
                  <a:pt x="291" y="40"/>
                  <a:pt x="295" y="45"/>
                  <a:pt x="289" y="56"/>
                </a:cubicBezTo>
                <a:cubicBezTo>
                  <a:pt x="285" y="63"/>
                  <a:pt x="282" y="71"/>
                  <a:pt x="282" y="76"/>
                </a:cubicBezTo>
                <a:cubicBezTo>
                  <a:pt x="287" y="77"/>
                  <a:pt x="296" y="75"/>
                  <a:pt x="304" y="71"/>
                </a:cubicBezTo>
                <a:cubicBezTo>
                  <a:pt x="311" y="68"/>
                  <a:pt x="315" y="68"/>
                  <a:pt x="319" y="70"/>
                </a:cubicBezTo>
                <a:cubicBezTo>
                  <a:pt x="321" y="71"/>
                  <a:pt x="322" y="73"/>
                  <a:pt x="323" y="75"/>
                </a:cubicBezTo>
                <a:cubicBezTo>
                  <a:pt x="324" y="76"/>
                  <a:pt x="324" y="76"/>
                  <a:pt x="324" y="76"/>
                </a:cubicBezTo>
                <a:cubicBezTo>
                  <a:pt x="328" y="81"/>
                  <a:pt x="330" y="87"/>
                  <a:pt x="321" y="96"/>
                </a:cubicBezTo>
                <a:cubicBezTo>
                  <a:pt x="315" y="101"/>
                  <a:pt x="310" y="108"/>
                  <a:pt x="309" y="113"/>
                </a:cubicBezTo>
                <a:cubicBezTo>
                  <a:pt x="313" y="115"/>
                  <a:pt x="322" y="116"/>
                  <a:pt x="331" y="115"/>
                </a:cubicBezTo>
                <a:cubicBezTo>
                  <a:pt x="336" y="114"/>
                  <a:pt x="340" y="115"/>
                  <a:pt x="343" y="117"/>
                </a:cubicBezTo>
                <a:cubicBezTo>
                  <a:pt x="346" y="119"/>
                  <a:pt x="347" y="122"/>
                  <a:pt x="348" y="125"/>
                </a:cubicBezTo>
                <a:cubicBezTo>
                  <a:pt x="348" y="126"/>
                  <a:pt x="348" y="126"/>
                  <a:pt x="348" y="126"/>
                </a:cubicBezTo>
                <a:cubicBezTo>
                  <a:pt x="350" y="132"/>
                  <a:pt x="351" y="138"/>
                  <a:pt x="339" y="143"/>
                </a:cubicBezTo>
                <a:cubicBezTo>
                  <a:pt x="332" y="147"/>
                  <a:pt x="325" y="152"/>
                  <a:pt x="322" y="156"/>
                </a:cubicBezTo>
                <a:cubicBezTo>
                  <a:pt x="323" y="157"/>
                  <a:pt x="324" y="158"/>
                  <a:pt x="325" y="159"/>
                </a:cubicBezTo>
                <a:cubicBezTo>
                  <a:pt x="330" y="161"/>
                  <a:pt x="336" y="164"/>
                  <a:pt x="343" y="165"/>
                </a:cubicBezTo>
                <a:cubicBezTo>
                  <a:pt x="347" y="166"/>
                  <a:pt x="349" y="166"/>
                  <a:pt x="352" y="168"/>
                </a:cubicBezTo>
                <a:cubicBezTo>
                  <a:pt x="357" y="171"/>
                  <a:pt x="356" y="176"/>
                  <a:pt x="356" y="179"/>
                </a:cubicBezTo>
                <a:cubicBezTo>
                  <a:pt x="356" y="180"/>
                  <a:pt x="356" y="180"/>
                  <a:pt x="356" y="180"/>
                </a:cubicBezTo>
                <a:cubicBezTo>
                  <a:pt x="356" y="187"/>
                  <a:pt x="355" y="193"/>
                  <a:pt x="342" y="194"/>
                </a:cubicBezTo>
                <a:cubicBezTo>
                  <a:pt x="334" y="195"/>
                  <a:pt x="326" y="198"/>
                  <a:pt x="322" y="201"/>
                </a:cubicBezTo>
                <a:cubicBezTo>
                  <a:pt x="324" y="205"/>
                  <a:pt x="329" y="210"/>
                  <a:pt x="336" y="214"/>
                </a:cubicBezTo>
                <a:cubicBezTo>
                  <a:pt x="337" y="215"/>
                  <a:pt x="338" y="215"/>
                  <a:pt x="339" y="216"/>
                </a:cubicBezTo>
                <a:cubicBezTo>
                  <a:pt x="340" y="217"/>
                  <a:pt x="341" y="217"/>
                  <a:pt x="342" y="218"/>
                </a:cubicBezTo>
                <a:cubicBezTo>
                  <a:pt x="351" y="224"/>
                  <a:pt x="349" y="230"/>
                  <a:pt x="347" y="234"/>
                </a:cubicBezTo>
                <a:cubicBezTo>
                  <a:pt x="347" y="235"/>
                  <a:pt x="347" y="235"/>
                  <a:pt x="347" y="235"/>
                </a:cubicBezTo>
                <a:cubicBezTo>
                  <a:pt x="345" y="241"/>
                  <a:pt x="342" y="246"/>
                  <a:pt x="329" y="243"/>
                </a:cubicBezTo>
                <a:cubicBezTo>
                  <a:pt x="321" y="242"/>
                  <a:pt x="313" y="242"/>
                  <a:pt x="308" y="244"/>
                </a:cubicBezTo>
                <a:cubicBezTo>
                  <a:pt x="309" y="249"/>
                  <a:pt x="314" y="257"/>
                  <a:pt x="320" y="263"/>
                </a:cubicBezTo>
                <a:cubicBezTo>
                  <a:pt x="329" y="272"/>
                  <a:pt x="326" y="278"/>
                  <a:pt x="322" y="283"/>
                </a:cubicBezTo>
                <a:cubicBezTo>
                  <a:pt x="322" y="284"/>
                  <a:pt x="322" y="284"/>
                  <a:pt x="322" y="284"/>
                </a:cubicBezTo>
                <a:cubicBezTo>
                  <a:pt x="318" y="289"/>
                  <a:pt x="313" y="293"/>
                  <a:pt x="302" y="287"/>
                </a:cubicBezTo>
                <a:cubicBezTo>
                  <a:pt x="295" y="283"/>
                  <a:pt x="287" y="281"/>
                  <a:pt x="282" y="281"/>
                </a:cubicBezTo>
                <a:cubicBezTo>
                  <a:pt x="281" y="285"/>
                  <a:pt x="283" y="295"/>
                  <a:pt x="287" y="303"/>
                </a:cubicBezTo>
                <a:cubicBezTo>
                  <a:pt x="293" y="314"/>
                  <a:pt x="288" y="318"/>
                  <a:pt x="283" y="322"/>
                </a:cubicBezTo>
                <a:cubicBezTo>
                  <a:pt x="282" y="323"/>
                  <a:pt x="282" y="323"/>
                  <a:pt x="282" y="323"/>
                </a:cubicBezTo>
                <a:cubicBezTo>
                  <a:pt x="279" y="325"/>
                  <a:pt x="275" y="328"/>
                  <a:pt x="268" y="324"/>
                </a:cubicBezTo>
                <a:cubicBezTo>
                  <a:pt x="266" y="323"/>
                  <a:pt x="265" y="321"/>
                  <a:pt x="263" y="319"/>
                </a:cubicBezTo>
                <a:cubicBezTo>
                  <a:pt x="258" y="314"/>
                  <a:pt x="250" y="309"/>
                  <a:pt x="245" y="308"/>
                </a:cubicBezTo>
                <a:cubicBezTo>
                  <a:pt x="243" y="311"/>
                  <a:pt x="242" y="321"/>
                  <a:pt x="244" y="330"/>
                </a:cubicBezTo>
                <a:cubicBezTo>
                  <a:pt x="246" y="343"/>
                  <a:pt x="240" y="345"/>
                  <a:pt x="235" y="347"/>
                </a:cubicBezTo>
                <a:cubicBezTo>
                  <a:pt x="233" y="348"/>
                  <a:pt x="233" y="348"/>
                  <a:pt x="233" y="348"/>
                </a:cubicBezTo>
                <a:cubicBezTo>
                  <a:pt x="230" y="349"/>
                  <a:pt x="226" y="350"/>
                  <a:pt x="222" y="347"/>
                </a:cubicBezTo>
                <a:cubicBezTo>
                  <a:pt x="220" y="346"/>
                  <a:pt x="218" y="343"/>
                  <a:pt x="216" y="339"/>
                </a:cubicBezTo>
                <a:cubicBezTo>
                  <a:pt x="212" y="331"/>
                  <a:pt x="207" y="325"/>
                  <a:pt x="203" y="322"/>
                </a:cubicBezTo>
                <a:cubicBezTo>
                  <a:pt x="201" y="321"/>
                  <a:pt x="200" y="321"/>
                  <a:pt x="200" y="321"/>
                </a:cubicBezTo>
                <a:cubicBezTo>
                  <a:pt x="197" y="321"/>
                  <a:pt x="192" y="331"/>
                  <a:pt x="190" y="343"/>
                </a:cubicBezTo>
                <a:cubicBezTo>
                  <a:pt x="188" y="355"/>
                  <a:pt x="182" y="356"/>
                  <a:pt x="176" y="356"/>
                </a:cubicBezTo>
                <a:cubicBezTo>
                  <a:pt x="175" y="356"/>
                  <a:pt x="175" y="356"/>
                  <a:pt x="175" y="356"/>
                </a:cubicBezTo>
                <a:cubicBezTo>
                  <a:pt x="172" y="356"/>
                  <a:pt x="169" y="356"/>
                  <a:pt x="167" y="355"/>
                </a:cubicBezTo>
                <a:cubicBezTo>
                  <a:pt x="163" y="353"/>
                  <a:pt x="162" y="349"/>
                  <a:pt x="161" y="342"/>
                </a:cubicBezTo>
                <a:cubicBezTo>
                  <a:pt x="159" y="334"/>
                  <a:pt x="156" y="325"/>
                  <a:pt x="152" y="322"/>
                </a:cubicBezTo>
                <a:cubicBezTo>
                  <a:pt x="148" y="324"/>
                  <a:pt x="143" y="331"/>
                  <a:pt x="139" y="338"/>
                </a:cubicBezTo>
                <a:cubicBezTo>
                  <a:pt x="134" y="350"/>
                  <a:pt x="127" y="349"/>
                  <a:pt x="122" y="347"/>
                </a:cubicBezTo>
                <a:cubicBezTo>
                  <a:pt x="120" y="347"/>
                  <a:pt x="120" y="347"/>
                  <a:pt x="120" y="347"/>
                </a:cubicBezTo>
                <a:cubicBezTo>
                  <a:pt x="119" y="346"/>
                  <a:pt x="117" y="346"/>
                  <a:pt x="115" y="345"/>
                </a:cubicBezTo>
                <a:cubicBezTo>
                  <a:pt x="111" y="342"/>
                  <a:pt x="110" y="337"/>
                  <a:pt x="111" y="329"/>
                </a:cubicBezTo>
                <a:cubicBezTo>
                  <a:pt x="113" y="321"/>
                  <a:pt x="112" y="311"/>
                  <a:pt x="110" y="307"/>
                </a:cubicBezTo>
                <a:cubicBezTo>
                  <a:pt x="105" y="308"/>
                  <a:pt x="98" y="313"/>
                  <a:pt x="92" y="319"/>
                </a:cubicBezTo>
                <a:cubicBezTo>
                  <a:pt x="86" y="325"/>
                  <a:pt x="80" y="327"/>
                  <a:pt x="75" y="323"/>
                </a:cubicBezTo>
                <a:close/>
                <a:moveTo>
                  <a:pt x="77" y="275"/>
                </a:moveTo>
                <a:cubicBezTo>
                  <a:pt x="77" y="276"/>
                  <a:pt x="77" y="276"/>
                  <a:pt x="78" y="276"/>
                </a:cubicBezTo>
                <a:cubicBezTo>
                  <a:pt x="80" y="282"/>
                  <a:pt x="77" y="295"/>
                  <a:pt x="73" y="304"/>
                </a:cubicBezTo>
                <a:cubicBezTo>
                  <a:pt x="68" y="313"/>
                  <a:pt x="71" y="314"/>
                  <a:pt x="74" y="317"/>
                </a:cubicBezTo>
                <a:cubicBezTo>
                  <a:pt x="76" y="318"/>
                  <a:pt x="76" y="318"/>
                  <a:pt x="76" y="318"/>
                </a:cubicBezTo>
                <a:cubicBezTo>
                  <a:pt x="76" y="318"/>
                  <a:pt x="77" y="319"/>
                  <a:pt x="77" y="319"/>
                </a:cubicBezTo>
                <a:cubicBezTo>
                  <a:pt x="79" y="320"/>
                  <a:pt x="82" y="322"/>
                  <a:pt x="88" y="315"/>
                </a:cubicBezTo>
                <a:cubicBezTo>
                  <a:pt x="94" y="309"/>
                  <a:pt x="104" y="302"/>
                  <a:pt x="110" y="302"/>
                </a:cubicBezTo>
                <a:cubicBezTo>
                  <a:pt x="111" y="302"/>
                  <a:pt x="112" y="302"/>
                  <a:pt x="113" y="302"/>
                </a:cubicBezTo>
                <a:cubicBezTo>
                  <a:pt x="117" y="307"/>
                  <a:pt x="118" y="320"/>
                  <a:pt x="116" y="330"/>
                </a:cubicBezTo>
                <a:cubicBezTo>
                  <a:pt x="115" y="338"/>
                  <a:pt x="117" y="340"/>
                  <a:pt x="118" y="340"/>
                </a:cubicBezTo>
                <a:cubicBezTo>
                  <a:pt x="119" y="341"/>
                  <a:pt x="120" y="341"/>
                  <a:pt x="122" y="342"/>
                </a:cubicBezTo>
                <a:cubicBezTo>
                  <a:pt x="123" y="342"/>
                  <a:pt x="123" y="342"/>
                  <a:pt x="123" y="342"/>
                </a:cubicBezTo>
                <a:cubicBezTo>
                  <a:pt x="127" y="344"/>
                  <a:pt x="130" y="345"/>
                  <a:pt x="135" y="336"/>
                </a:cubicBezTo>
                <a:cubicBezTo>
                  <a:pt x="138" y="329"/>
                  <a:pt x="145" y="319"/>
                  <a:pt x="152" y="317"/>
                </a:cubicBezTo>
                <a:cubicBezTo>
                  <a:pt x="152" y="316"/>
                  <a:pt x="153" y="316"/>
                  <a:pt x="154" y="317"/>
                </a:cubicBezTo>
                <a:cubicBezTo>
                  <a:pt x="159" y="320"/>
                  <a:pt x="164" y="332"/>
                  <a:pt x="166" y="342"/>
                </a:cubicBezTo>
                <a:cubicBezTo>
                  <a:pt x="166" y="346"/>
                  <a:pt x="168" y="349"/>
                  <a:pt x="169" y="351"/>
                </a:cubicBezTo>
                <a:cubicBezTo>
                  <a:pt x="171" y="351"/>
                  <a:pt x="173" y="351"/>
                  <a:pt x="174" y="351"/>
                </a:cubicBezTo>
                <a:cubicBezTo>
                  <a:pt x="176" y="351"/>
                  <a:pt x="176" y="351"/>
                  <a:pt x="176" y="351"/>
                </a:cubicBezTo>
                <a:cubicBezTo>
                  <a:pt x="181" y="351"/>
                  <a:pt x="184" y="351"/>
                  <a:pt x="185" y="342"/>
                </a:cubicBezTo>
                <a:cubicBezTo>
                  <a:pt x="187" y="332"/>
                  <a:pt x="192" y="316"/>
                  <a:pt x="200" y="316"/>
                </a:cubicBezTo>
                <a:cubicBezTo>
                  <a:pt x="201" y="316"/>
                  <a:pt x="203" y="316"/>
                  <a:pt x="205" y="318"/>
                </a:cubicBezTo>
                <a:cubicBezTo>
                  <a:pt x="211" y="321"/>
                  <a:pt x="217" y="330"/>
                  <a:pt x="220" y="336"/>
                </a:cubicBezTo>
                <a:cubicBezTo>
                  <a:pt x="222" y="340"/>
                  <a:pt x="223" y="342"/>
                  <a:pt x="225" y="343"/>
                </a:cubicBezTo>
                <a:cubicBezTo>
                  <a:pt x="227" y="344"/>
                  <a:pt x="229" y="344"/>
                  <a:pt x="232" y="343"/>
                </a:cubicBezTo>
                <a:cubicBezTo>
                  <a:pt x="233" y="342"/>
                  <a:pt x="233" y="342"/>
                  <a:pt x="233" y="342"/>
                </a:cubicBezTo>
                <a:cubicBezTo>
                  <a:pt x="237" y="341"/>
                  <a:pt x="240" y="340"/>
                  <a:pt x="239" y="331"/>
                </a:cubicBezTo>
                <a:cubicBezTo>
                  <a:pt x="237" y="320"/>
                  <a:pt x="238" y="308"/>
                  <a:pt x="243" y="303"/>
                </a:cubicBezTo>
                <a:cubicBezTo>
                  <a:pt x="243" y="303"/>
                  <a:pt x="244" y="302"/>
                  <a:pt x="245" y="302"/>
                </a:cubicBezTo>
                <a:cubicBezTo>
                  <a:pt x="248" y="303"/>
                  <a:pt x="253" y="305"/>
                  <a:pt x="255" y="307"/>
                </a:cubicBezTo>
                <a:cubicBezTo>
                  <a:pt x="259" y="309"/>
                  <a:pt x="263" y="313"/>
                  <a:pt x="267" y="316"/>
                </a:cubicBezTo>
                <a:cubicBezTo>
                  <a:pt x="268" y="318"/>
                  <a:pt x="270" y="319"/>
                  <a:pt x="271" y="320"/>
                </a:cubicBezTo>
                <a:cubicBezTo>
                  <a:pt x="274" y="322"/>
                  <a:pt x="276" y="321"/>
                  <a:pt x="279" y="319"/>
                </a:cubicBezTo>
                <a:cubicBezTo>
                  <a:pt x="281" y="318"/>
                  <a:pt x="281" y="318"/>
                  <a:pt x="281" y="318"/>
                </a:cubicBezTo>
                <a:cubicBezTo>
                  <a:pt x="284" y="315"/>
                  <a:pt x="287" y="313"/>
                  <a:pt x="282" y="305"/>
                </a:cubicBezTo>
                <a:cubicBezTo>
                  <a:pt x="278" y="296"/>
                  <a:pt x="275" y="283"/>
                  <a:pt x="278" y="277"/>
                </a:cubicBezTo>
                <a:cubicBezTo>
                  <a:pt x="278" y="277"/>
                  <a:pt x="279" y="276"/>
                  <a:pt x="279" y="276"/>
                </a:cubicBezTo>
                <a:cubicBezTo>
                  <a:pt x="286" y="275"/>
                  <a:pt x="297" y="278"/>
                  <a:pt x="304" y="282"/>
                </a:cubicBezTo>
                <a:cubicBezTo>
                  <a:pt x="313" y="287"/>
                  <a:pt x="315" y="284"/>
                  <a:pt x="317" y="281"/>
                </a:cubicBezTo>
                <a:cubicBezTo>
                  <a:pt x="318" y="280"/>
                  <a:pt x="318" y="280"/>
                  <a:pt x="318" y="280"/>
                </a:cubicBezTo>
                <a:cubicBezTo>
                  <a:pt x="321" y="276"/>
                  <a:pt x="323" y="274"/>
                  <a:pt x="316" y="267"/>
                </a:cubicBezTo>
                <a:cubicBezTo>
                  <a:pt x="309" y="260"/>
                  <a:pt x="302" y="249"/>
                  <a:pt x="303" y="242"/>
                </a:cubicBezTo>
                <a:cubicBezTo>
                  <a:pt x="303" y="241"/>
                  <a:pt x="304" y="241"/>
                  <a:pt x="304" y="240"/>
                </a:cubicBezTo>
                <a:cubicBezTo>
                  <a:pt x="310" y="237"/>
                  <a:pt x="322" y="237"/>
                  <a:pt x="330" y="239"/>
                </a:cubicBezTo>
                <a:cubicBezTo>
                  <a:pt x="340" y="241"/>
                  <a:pt x="341" y="237"/>
                  <a:pt x="342" y="233"/>
                </a:cubicBezTo>
                <a:cubicBezTo>
                  <a:pt x="343" y="232"/>
                  <a:pt x="343" y="232"/>
                  <a:pt x="343" y="232"/>
                </a:cubicBezTo>
                <a:cubicBezTo>
                  <a:pt x="344" y="228"/>
                  <a:pt x="345" y="226"/>
                  <a:pt x="339" y="222"/>
                </a:cubicBezTo>
                <a:cubicBezTo>
                  <a:pt x="339" y="221"/>
                  <a:pt x="338" y="221"/>
                  <a:pt x="337" y="220"/>
                </a:cubicBezTo>
                <a:cubicBezTo>
                  <a:pt x="335" y="220"/>
                  <a:pt x="334" y="219"/>
                  <a:pt x="333" y="218"/>
                </a:cubicBezTo>
                <a:cubicBezTo>
                  <a:pt x="326" y="214"/>
                  <a:pt x="318" y="207"/>
                  <a:pt x="317" y="201"/>
                </a:cubicBezTo>
                <a:cubicBezTo>
                  <a:pt x="317" y="200"/>
                  <a:pt x="317" y="199"/>
                  <a:pt x="317" y="199"/>
                </a:cubicBezTo>
                <a:cubicBezTo>
                  <a:pt x="322" y="194"/>
                  <a:pt x="333" y="190"/>
                  <a:pt x="341" y="189"/>
                </a:cubicBezTo>
                <a:cubicBezTo>
                  <a:pt x="351" y="188"/>
                  <a:pt x="351" y="185"/>
                  <a:pt x="351" y="180"/>
                </a:cubicBezTo>
                <a:cubicBezTo>
                  <a:pt x="351" y="179"/>
                  <a:pt x="351" y="179"/>
                  <a:pt x="351" y="179"/>
                </a:cubicBezTo>
                <a:cubicBezTo>
                  <a:pt x="351" y="176"/>
                  <a:pt x="351" y="174"/>
                  <a:pt x="349" y="172"/>
                </a:cubicBezTo>
                <a:cubicBezTo>
                  <a:pt x="347" y="171"/>
                  <a:pt x="345" y="170"/>
                  <a:pt x="342" y="170"/>
                </a:cubicBezTo>
                <a:cubicBezTo>
                  <a:pt x="335" y="169"/>
                  <a:pt x="328" y="166"/>
                  <a:pt x="323" y="163"/>
                </a:cubicBezTo>
                <a:cubicBezTo>
                  <a:pt x="320" y="161"/>
                  <a:pt x="318" y="159"/>
                  <a:pt x="317" y="157"/>
                </a:cubicBezTo>
                <a:cubicBezTo>
                  <a:pt x="317" y="157"/>
                  <a:pt x="317" y="156"/>
                  <a:pt x="317" y="155"/>
                </a:cubicBezTo>
                <a:cubicBezTo>
                  <a:pt x="320" y="149"/>
                  <a:pt x="329" y="142"/>
                  <a:pt x="337" y="139"/>
                </a:cubicBezTo>
                <a:cubicBezTo>
                  <a:pt x="346" y="135"/>
                  <a:pt x="345" y="132"/>
                  <a:pt x="344" y="127"/>
                </a:cubicBezTo>
                <a:cubicBezTo>
                  <a:pt x="343" y="126"/>
                  <a:pt x="343" y="126"/>
                  <a:pt x="343" y="126"/>
                </a:cubicBezTo>
                <a:cubicBezTo>
                  <a:pt x="343" y="124"/>
                  <a:pt x="342" y="122"/>
                  <a:pt x="340" y="121"/>
                </a:cubicBezTo>
                <a:cubicBezTo>
                  <a:pt x="339" y="120"/>
                  <a:pt x="336" y="120"/>
                  <a:pt x="332" y="120"/>
                </a:cubicBezTo>
                <a:cubicBezTo>
                  <a:pt x="323" y="121"/>
                  <a:pt x="311" y="121"/>
                  <a:pt x="306" y="117"/>
                </a:cubicBezTo>
                <a:cubicBezTo>
                  <a:pt x="305" y="117"/>
                  <a:pt x="304" y="116"/>
                  <a:pt x="304" y="116"/>
                </a:cubicBezTo>
                <a:cubicBezTo>
                  <a:pt x="303" y="115"/>
                  <a:pt x="303" y="114"/>
                  <a:pt x="303" y="114"/>
                </a:cubicBezTo>
                <a:cubicBezTo>
                  <a:pt x="304" y="107"/>
                  <a:pt x="311" y="98"/>
                  <a:pt x="317" y="92"/>
                </a:cubicBezTo>
                <a:cubicBezTo>
                  <a:pt x="325" y="85"/>
                  <a:pt x="323" y="83"/>
                  <a:pt x="320" y="79"/>
                </a:cubicBezTo>
                <a:cubicBezTo>
                  <a:pt x="319" y="78"/>
                  <a:pt x="319" y="78"/>
                  <a:pt x="319" y="78"/>
                </a:cubicBezTo>
                <a:cubicBezTo>
                  <a:pt x="318" y="76"/>
                  <a:pt x="317" y="75"/>
                  <a:pt x="316" y="74"/>
                </a:cubicBezTo>
                <a:cubicBezTo>
                  <a:pt x="316" y="74"/>
                  <a:pt x="313" y="73"/>
                  <a:pt x="306" y="76"/>
                </a:cubicBezTo>
                <a:cubicBezTo>
                  <a:pt x="297" y="80"/>
                  <a:pt x="285" y="83"/>
                  <a:pt x="279" y="80"/>
                </a:cubicBezTo>
                <a:cubicBezTo>
                  <a:pt x="278" y="80"/>
                  <a:pt x="278" y="79"/>
                  <a:pt x="278" y="78"/>
                </a:cubicBezTo>
                <a:cubicBezTo>
                  <a:pt x="276" y="72"/>
                  <a:pt x="280" y="61"/>
                  <a:pt x="284" y="54"/>
                </a:cubicBezTo>
                <a:cubicBezTo>
                  <a:pt x="289" y="45"/>
                  <a:pt x="286" y="43"/>
                  <a:pt x="283" y="40"/>
                </a:cubicBezTo>
                <a:cubicBezTo>
                  <a:pt x="282" y="39"/>
                  <a:pt x="282" y="39"/>
                  <a:pt x="282" y="39"/>
                </a:cubicBezTo>
                <a:cubicBezTo>
                  <a:pt x="281" y="39"/>
                  <a:pt x="280" y="38"/>
                  <a:pt x="280" y="38"/>
                </a:cubicBezTo>
                <a:cubicBezTo>
                  <a:pt x="278" y="37"/>
                  <a:pt x="275" y="35"/>
                  <a:pt x="269" y="42"/>
                </a:cubicBezTo>
                <a:cubicBezTo>
                  <a:pt x="262" y="49"/>
                  <a:pt x="251" y="55"/>
                  <a:pt x="244" y="54"/>
                </a:cubicBezTo>
                <a:cubicBezTo>
                  <a:pt x="243" y="54"/>
                  <a:pt x="243" y="54"/>
                  <a:pt x="242" y="53"/>
                </a:cubicBezTo>
                <a:cubicBezTo>
                  <a:pt x="239" y="47"/>
                  <a:pt x="239" y="35"/>
                  <a:pt x="241" y="27"/>
                </a:cubicBezTo>
                <a:cubicBezTo>
                  <a:pt x="243" y="19"/>
                  <a:pt x="240" y="17"/>
                  <a:pt x="239" y="16"/>
                </a:cubicBezTo>
                <a:cubicBezTo>
                  <a:pt x="238" y="16"/>
                  <a:pt x="237" y="15"/>
                  <a:pt x="236" y="15"/>
                </a:cubicBezTo>
                <a:cubicBezTo>
                  <a:pt x="234" y="14"/>
                  <a:pt x="234" y="14"/>
                  <a:pt x="234" y="14"/>
                </a:cubicBezTo>
                <a:cubicBezTo>
                  <a:pt x="230" y="13"/>
                  <a:pt x="227" y="12"/>
                  <a:pt x="223" y="20"/>
                </a:cubicBezTo>
                <a:cubicBezTo>
                  <a:pt x="218" y="29"/>
                  <a:pt x="209" y="39"/>
                  <a:pt x="203" y="40"/>
                </a:cubicBezTo>
                <a:cubicBezTo>
                  <a:pt x="202" y="40"/>
                  <a:pt x="201" y="40"/>
                  <a:pt x="201" y="39"/>
                </a:cubicBezTo>
                <a:cubicBezTo>
                  <a:pt x="196" y="34"/>
                  <a:pt x="193" y="23"/>
                  <a:pt x="192" y="15"/>
                </a:cubicBezTo>
                <a:cubicBezTo>
                  <a:pt x="191" y="10"/>
                  <a:pt x="190" y="7"/>
                  <a:pt x="188" y="6"/>
                </a:cubicBezTo>
                <a:cubicBezTo>
                  <a:pt x="187" y="5"/>
                  <a:pt x="185" y="5"/>
                  <a:pt x="183" y="5"/>
                </a:cubicBezTo>
                <a:cubicBezTo>
                  <a:pt x="182" y="5"/>
                  <a:pt x="182" y="5"/>
                  <a:pt x="182" y="5"/>
                </a:cubicBezTo>
                <a:cubicBezTo>
                  <a:pt x="177" y="5"/>
                  <a:pt x="174" y="5"/>
                  <a:pt x="172" y="14"/>
                </a:cubicBezTo>
                <a:cubicBezTo>
                  <a:pt x="171" y="24"/>
                  <a:pt x="165" y="39"/>
                  <a:pt x="157" y="40"/>
                </a:cubicBezTo>
                <a:cubicBezTo>
                  <a:pt x="157" y="40"/>
                  <a:pt x="157" y="40"/>
                  <a:pt x="157" y="40"/>
                </a:cubicBezTo>
                <a:cubicBezTo>
                  <a:pt x="157" y="40"/>
                  <a:pt x="157" y="40"/>
                  <a:pt x="157" y="40"/>
                </a:cubicBezTo>
                <a:cubicBezTo>
                  <a:pt x="157" y="40"/>
                  <a:pt x="157" y="40"/>
                  <a:pt x="157" y="40"/>
                </a:cubicBezTo>
                <a:cubicBezTo>
                  <a:pt x="155" y="40"/>
                  <a:pt x="152" y="39"/>
                  <a:pt x="150" y="38"/>
                </a:cubicBezTo>
                <a:cubicBezTo>
                  <a:pt x="145" y="34"/>
                  <a:pt x="139" y="28"/>
                  <a:pt x="135" y="20"/>
                </a:cubicBezTo>
                <a:cubicBezTo>
                  <a:pt x="133" y="17"/>
                  <a:pt x="131" y="15"/>
                  <a:pt x="130" y="14"/>
                </a:cubicBezTo>
                <a:cubicBezTo>
                  <a:pt x="128" y="12"/>
                  <a:pt x="126" y="13"/>
                  <a:pt x="123" y="14"/>
                </a:cubicBezTo>
                <a:cubicBezTo>
                  <a:pt x="122" y="14"/>
                  <a:pt x="122" y="14"/>
                  <a:pt x="122" y="14"/>
                </a:cubicBezTo>
                <a:cubicBezTo>
                  <a:pt x="118" y="16"/>
                  <a:pt x="114" y="17"/>
                  <a:pt x="117" y="26"/>
                </a:cubicBezTo>
                <a:cubicBezTo>
                  <a:pt x="118" y="35"/>
                  <a:pt x="118" y="46"/>
                  <a:pt x="115" y="52"/>
                </a:cubicBezTo>
                <a:cubicBezTo>
                  <a:pt x="115" y="53"/>
                  <a:pt x="114" y="53"/>
                  <a:pt x="113" y="53"/>
                </a:cubicBezTo>
                <a:cubicBezTo>
                  <a:pt x="108" y="54"/>
                  <a:pt x="101" y="51"/>
                  <a:pt x="98" y="48"/>
                </a:cubicBezTo>
                <a:cubicBezTo>
                  <a:pt x="94" y="46"/>
                  <a:pt x="91" y="44"/>
                  <a:pt x="88" y="41"/>
                </a:cubicBezTo>
                <a:cubicBezTo>
                  <a:pt x="87" y="39"/>
                  <a:pt x="86" y="38"/>
                  <a:pt x="84" y="37"/>
                </a:cubicBezTo>
                <a:cubicBezTo>
                  <a:pt x="80" y="35"/>
                  <a:pt x="78" y="36"/>
                  <a:pt x="76" y="39"/>
                </a:cubicBezTo>
                <a:cubicBezTo>
                  <a:pt x="74" y="40"/>
                  <a:pt x="74" y="40"/>
                  <a:pt x="74" y="40"/>
                </a:cubicBezTo>
                <a:cubicBezTo>
                  <a:pt x="71" y="42"/>
                  <a:pt x="68" y="44"/>
                  <a:pt x="73" y="53"/>
                </a:cubicBezTo>
                <a:cubicBezTo>
                  <a:pt x="77" y="60"/>
                  <a:pt x="81" y="71"/>
                  <a:pt x="80" y="78"/>
                </a:cubicBezTo>
                <a:cubicBezTo>
                  <a:pt x="79" y="78"/>
                  <a:pt x="79" y="79"/>
                  <a:pt x="78" y="79"/>
                </a:cubicBezTo>
                <a:cubicBezTo>
                  <a:pt x="72" y="82"/>
                  <a:pt x="60" y="79"/>
                  <a:pt x="51" y="75"/>
                </a:cubicBezTo>
                <a:cubicBezTo>
                  <a:pt x="42" y="70"/>
                  <a:pt x="40" y="73"/>
                  <a:pt x="38" y="77"/>
                </a:cubicBezTo>
                <a:cubicBezTo>
                  <a:pt x="37" y="78"/>
                  <a:pt x="37" y="78"/>
                  <a:pt x="37" y="78"/>
                </a:cubicBezTo>
                <a:cubicBezTo>
                  <a:pt x="34" y="82"/>
                  <a:pt x="32" y="84"/>
                  <a:pt x="40" y="91"/>
                </a:cubicBezTo>
                <a:cubicBezTo>
                  <a:pt x="46" y="97"/>
                  <a:pt x="53" y="106"/>
                  <a:pt x="53" y="113"/>
                </a:cubicBezTo>
                <a:cubicBezTo>
                  <a:pt x="54" y="113"/>
                  <a:pt x="53" y="114"/>
                  <a:pt x="53" y="115"/>
                </a:cubicBezTo>
                <a:cubicBezTo>
                  <a:pt x="48" y="119"/>
                  <a:pt x="35" y="120"/>
                  <a:pt x="25" y="119"/>
                </a:cubicBezTo>
                <a:cubicBezTo>
                  <a:pt x="16" y="117"/>
                  <a:pt x="15" y="120"/>
                  <a:pt x="13" y="124"/>
                </a:cubicBezTo>
                <a:cubicBezTo>
                  <a:pt x="13" y="126"/>
                  <a:pt x="13" y="126"/>
                  <a:pt x="13" y="126"/>
                </a:cubicBezTo>
                <a:cubicBezTo>
                  <a:pt x="12" y="130"/>
                  <a:pt x="11" y="132"/>
                  <a:pt x="16" y="135"/>
                </a:cubicBezTo>
                <a:cubicBezTo>
                  <a:pt x="17" y="136"/>
                  <a:pt x="18" y="137"/>
                  <a:pt x="20" y="137"/>
                </a:cubicBezTo>
                <a:cubicBezTo>
                  <a:pt x="22" y="138"/>
                  <a:pt x="24" y="139"/>
                  <a:pt x="26" y="141"/>
                </a:cubicBezTo>
                <a:cubicBezTo>
                  <a:pt x="29" y="143"/>
                  <a:pt x="37" y="148"/>
                  <a:pt x="39" y="154"/>
                </a:cubicBezTo>
                <a:cubicBezTo>
                  <a:pt x="40" y="154"/>
                  <a:pt x="40" y="155"/>
                  <a:pt x="39" y="156"/>
                </a:cubicBezTo>
                <a:cubicBezTo>
                  <a:pt x="36" y="162"/>
                  <a:pt x="24" y="167"/>
                  <a:pt x="14" y="168"/>
                </a:cubicBezTo>
                <a:cubicBezTo>
                  <a:pt x="5" y="170"/>
                  <a:pt x="5" y="173"/>
                  <a:pt x="5" y="177"/>
                </a:cubicBezTo>
                <a:cubicBezTo>
                  <a:pt x="5" y="179"/>
                  <a:pt x="5" y="179"/>
                  <a:pt x="5" y="179"/>
                </a:cubicBezTo>
                <a:cubicBezTo>
                  <a:pt x="5" y="182"/>
                  <a:pt x="5" y="184"/>
                  <a:pt x="7" y="186"/>
                </a:cubicBezTo>
                <a:cubicBezTo>
                  <a:pt x="9" y="187"/>
                  <a:pt x="11" y="187"/>
                  <a:pt x="15" y="188"/>
                </a:cubicBezTo>
                <a:cubicBezTo>
                  <a:pt x="25" y="189"/>
                  <a:pt x="35" y="193"/>
                  <a:pt x="39" y="197"/>
                </a:cubicBezTo>
                <a:cubicBezTo>
                  <a:pt x="39" y="198"/>
                  <a:pt x="39" y="199"/>
                  <a:pt x="39" y="200"/>
                </a:cubicBezTo>
                <a:cubicBezTo>
                  <a:pt x="38" y="206"/>
                  <a:pt x="28" y="214"/>
                  <a:pt x="19" y="219"/>
                </a:cubicBezTo>
                <a:cubicBezTo>
                  <a:pt x="10" y="223"/>
                  <a:pt x="12" y="226"/>
                  <a:pt x="13" y="230"/>
                </a:cubicBezTo>
                <a:cubicBezTo>
                  <a:pt x="13" y="232"/>
                  <a:pt x="13" y="232"/>
                  <a:pt x="13" y="232"/>
                </a:cubicBezTo>
                <a:cubicBezTo>
                  <a:pt x="14" y="234"/>
                  <a:pt x="15" y="236"/>
                  <a:pt x="16" y="237"/>
                </a:cubicBezTo>
                <a:cubicBezTo>
                  <a:pt x="18" y="238"/>
                  <a:pt x="21" y="238"/>
                  <a:pt x="25" y="237"/>
                </a:cubicBezTo>
                <a:cubicBezTo>
                  <a:pt x="34" y="236"/>
                  <a:pt x="45" y="236"/>
                  <a:pt x="51" y="239"/>
                </a:cubicBezTo>
                <a:cubicBezTo>
                  <a:pt x="52" y="240"/>
                  <a:pt x="52" y="240"/>
                  <a:pt x="52" y="241"/>
                </a:cubicBezTo>
                <a:cubicBezTo>
                  <a:pt x="53" y="247"/>
                  <a:pt x="47" y="258"/>
                  <a:pt x="39" y="266"/>
                </a:cubicBezTo>
                <a:cubicBezTo>
                  <a:pt x="32" y="272"/>
                  <a:pt x="34" y="275"/>
                  <a:pt x="37" y="278"/>
                </a:cubicBezTo>
                <a:cubicBezTo>
                  <a:pt x="38" y="280"/>
                  <a:pt x="38" y="280"/>
                  <a:pt x="38" y="280"/>
                </a:cubicBezTo>
                <a:cubicBezTo>
                  <a:pt x="39" y="281"/>
                  <a:pt x="40" y="282"/>
                  <a:pt x="41" y="283"/>
                </a:cubicBezTo>
                <a:cubicBezTo>
                  <a:pt x="42" y="283"/>
                  <a:pt x="44" y="285"/>
                  <a:pt x="51" y="281"/>
                </a:cubicBezTo>
                <a:cubicBezTo>
                  <a:pt x="58" y="277"/>
                  <a:pt x="69" y="274"/>
                  <a:pt x="76" y="275"/>
                </a:cubicBezTo>
                <a:cubicBezTo>
                  <a:pt x="76" y="275"/>
                  <a:pt x="76" y="275"/>
                  <a:pt x="77" y="275"/>
                </a:cubicBezTo>
                <a:close/>
                <a:moveTo>
                  <a:pt x="115" y="277"/>
                </a:moveTo>
                <a:cubicBezTo>
                  <a:pt x="93" y="262"/>
                  <a:pt x="76" y="241"/>
                  <a:pt x="67" y="215"/>
                </a:cubicBezTo>
                <a:cubicBezTo>
                  <a:pt x="47" y="154"/>
                  <a:pt x="80" y="88"/>
                  <a:pt x="141" y="67"/>
                </a:cubicBezTo>
                <a:cubicBezTo>
                  <a:pt x="175" y="56"/>
                  <a:pt x="211" y="61"/>
                  <a:pt x="241" y="80"/>
                </a:cubicBezTo>
                <a:cubicBezTo>
                  <a:pt x="263" y="94"/>
                  <a:pt x="280" y="116"/>
                  <a:pt x="289" y="141"/>
                </a:cubicBezTo>
                <a:cubicBezTo>
                  <a:pt x="299" y="171"/>
                  <a:pt x="297" y="202"/>
                  <a:pt x="283" y="230"/>
                </a:cubicBezTo>
                <a:cubicBezTo>
                  <a:pt x="269" y="258"/>
                  <a:pt x="245" y="279"/>
                  <a:pt x="215" y="289"/>
                </a:cubicBezTo>
                <a:cubicBezTo>
                  <a:pt x="182" y="300"/>
                  <a:pt x="145" y="296"/>
                  <a:pt x="115" y="277"/>
                </a:cubicBezTo>
                <a:close/>
                <a:moveTo>
                  <a:pt x="238" y="84"/>
                </a:moveTo>
                <a:cubicBezTo>
                  <a:pt x="210" y="66"/>
                  <a:pt x="175" y="61"/>
                  <a:pt x="143" y="72"/>
                </a:cubicBezTo>
                <a:cubicBezTo>
                  <a:pt x="84" y="92"/>
                  <a:pt x="53" y="155"/>
                  <a:pt x="72" y="214"/>
                </a:cubicBezTo>
                <a:cubicBezTo>
                  <a:pt x="80" y="238"/>
                  <a:pt x="97" y="259"/>
                  <a:pt x="118" y="272"/>
                </a:cubicBezTo>
                <a:cubicBezTo>
                  <a:pt x="147" y="291"/>
                  <a:pt x="181" y="295"/>
                  <a:pt x="214" y="284"/>
                </a:cubicBezTo>
                <a:cubicBezTo>
                  <a:pt x="242" y="275"/>
                  <a:pt x="265" y="255"/>
                  <a:pt x="278" y="228"/>
                </a:cubicBezTo>
                <a:cubicBezTo>
                  <a:pt x="291" y="201"/>
                  <a:pt x="294" y="171"/>
                  <a:pt x="284" y="143"/>
                </a:cubicBezTo>
                <a:cubicBezTo>
                  <a:pt x="276" y="118"/>
                  <a:pt x="260" y="98"/>
                  <a:pt x="238" y="8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3" name="Freeform 1195">
            <a:extLst>
              <a:ext uri="{FF2B5EF4-FFF2-40B4-BE49-F238E27FC236}">
                <a16:creationId xmlns:a16="http://schemas.microsoft.com/office/drawing/2014/main" id="{4A254C43-1A27-48F3-BB75-3B7E7554B94B}"/>
              </a:ext>
            </a:extLst>
          </p:cNvPr>
          <p:cNvSpPr>
            <a:spLocks noEditPoints="1"/>
          </p:cNvSpPr>
          <p:nvPr/>
        </p:nvSpPr>
        <p:spPr bwMode="auto">
          <a:xfrm rot="1233185">
            <a:off x="4746457" y="3810351"/>
            <a:ext cx="530371" cy="495993"/>
          </a:xfrm>
          <a:custGeom>
            <a:avLst/>
            <a:gdLst>
              <a:gd name="T0" fmla="*/ 36 w 140"/>
              <a:gd name="T1" fmla="*/ 118 h 131"/>
              <a:gd name="T2" fmla="*/ 36 w 140"/>
              <a:gd name="T3" fmla="*/ 118 h 131"/>
              <a:gd name="T4" fmla="*/ 11 w 140"/>
              <a:gd name="T5" fmla="*/ 85 h 131"/>
              <a:gd name="T6" fmla="*/ 50 w 140"/>
              <a:gd name="T7" fmla="*/ 6 h 131"/>
              <a:gd name="T8" fmla="*/ 104 w 140"/>
              <a:gd name="T9" fmla="*/ 12 h 131"/>
              <a:gd name="T10" fmla="*/ 130 w 140"/>
              <a:gd name="T11" fmla="*/ 45 h 131"/>
              <a:gd name="T12" fmla="*/ 90 w 140"/>
              <a:gd name="T13" fmla="*/ 125 h 131"/>
              <a:gd name="T14" fmla="*/ 36 w 140"/>
              <a:gd name="T15" fmla="*/ 118 h 131"/>
              <a:gd name="T16" fmla="*/ 101 w 140"/>
              <a:gd name="T17" fmla="*/ 17 h 131"/>
              <a:gd name="T18" fmla="*/ 52 w 140"/>
              <a:gd name="T19" fmla="*/ 10 h 131"/>
              <a:gd name="T20" fmla="*/ 15 w 140"/>
              <a:gd name="T21" fmla="*/ 83 h 131"/>
              <a:gd name="T22" fmla="*/ 39 w 140"/>
              <a:gd name="T23" fmla="*/ 114 h 131"/>
              <a:gd name="T24" fmla="*/ 39 w 140"/>
              <a:gd name="T25" fmla="*/ 114 h 131"/>
              <a:gd name="T26" fmla="*/ 88 w 140"/>
              <a:gd name="T27" fmla="*/ 120 h 131"/>
              <a:gd name="T28" fmla="*/ 125 w 140"/>
              <a:gd name="T29" fmla="*/ 47 h 131"/>
              <a:gd name="T30" fmla="*/ 101 w 140"/>
              <a:gd name="T31" fmla="*/ 17 h 131"/>
              <a:gd name="T32" fmla="*/ 49 w 140"/>
              <a:gd name="T33" fmla="*/ 99 h 131"/>
              <a:gd name="T34" fmla="*/ 32 w 140"/>
              <a:gd name="T35" fmla="*/ 78 h 131"/>
              <a:gd name="T36" fmla="*/ 57 w 140"/>
              <a:gd name="T37" fmla="*/ 27 h 131"/>
              <a:gd name="T38" fmla="*/ 92 w 140"/>
              <a:gd name="T39" fmla="*/ 32 h 131"/>
              <a:gd name="T40" fmla="*/ 108 w 140"/>
              <a:gd name="T41" fmla="*/ 53 h 131"/>
              <a:gd name="T42" fmla="*/ 83 w 140"/>
              <a:gd name="T43" fmla="*/ 103 h 131"/>
              <a:gd name="T44" fmla="*/ 49 w 140"/>
              <a:gd name="T45" fmla="*/ 99 h 131"/>
              <a:gd name="T46" fmla="*/ 89 w 140"/>
              <a:gd name="T47" fmla="*/ 36 h 131"/>
              <a:gd name="T48" fmla="*/ 59 w 140"/>
              <a:gd name="T49" fmla="*/ 32 h 131"/>
              <a:gd name="T50" fmla="*/ 37 w 140"/>
              <a:gd name="T51" fmla="*/ 76 h 131"/>
              <a:gd name="T52" fmla="*/ 51 w 140"/>
              <a:gd name="T53" fmla="*/ 95 h 131"/>
              <a:gd name="T54" fmla="*/ 81 w 140"/>
              <a:gd name="T55" fmla="*/ 98 h 131"/>
              <a:gd name="T56" fmla="*/ 103 w 140"/>
              <a:gd name="T57" fmla="*/ 54 h 131"/>
              <a:gd name="T58" fmla="*/ 89 w 140"/>
              <a:gd name="T59"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131">
                <a:moveTo>
                  <a:pt x="36" y="118"/>
                </a:moveTo>
                <a:cubicBezTo>
                  <a:pt x="36" y="118"/>
                  <a:pt x="36" y="118"/>
                  <a:pt x="36" y="118"/>
                </a:cubicBezTo>
                <a:cubicBezTo>
                  <a:pt x="24" y="110"/>
                  <a:pt x="15" y="99"/>
                  <a:pt x="11" y="85"/>
                </a:cubicBezTo>
                <a:cubicBezTo>
                  <a:pt x="0" y="52"/>
                  <a:pt x="17" y="17"/>
                  <a:pt x="50" y="6"/>
                </a:cubicBezTo>
                <a:cubicBezTo>
                  <a:pt x="68" y="0"/>
                  <a:pt x="88" y="2"/>
                  <a:pt x="104" y="12"/>
                </a:cubicBezTo>
                <a:cubicBezTo>
                  <a:pt x="116" y="20"/>
                  <a:pt x="125" y="32"/>
                  <a:pt x="130" y="45"/>
                </a:cubicBezTo>
                <a:cubicBezTo>
                  <a:pt x="140" y="78"/>
                  <a:pt x="123" y="114"/>
                  <a:pt x="90" y="125"/>
                </a:cubicBezTo>
                <a:cubicBezTo>
                  <a:pt x="72" y="131"/>
                  <a:pt x="52" y="128"/>
                  <a:pt x="36" y="118"/>
                </a:cubicBezTo>
                <a:close/>
                <a:moveTo>
                  <a:pt x="101" y="17"/>
                </a:moveTo>
                <a:cubicBezTo>
                  <a:pt x="86" y="7"/>
                  <a:pt x="68" y="5"/>
                  <a:pt x="52" y="10"/>
                </a:cubicBezTo>
                <a:cubicBezTo>
                  <a:pt x="22" y="21"/>
                  <a:pt x="5" y="53"/>
                  <a:pt x="15" y="83"/>
                </a:cubicBezTo>
                <a:cubicBezTo>
                  <a:pt x="20" y="96"/>
                  <a:pt x="28" y="107"/>
                  <a:pt x="39" y="114"/>
                </a:cubicBezTo>
                <a:cubicBezTo>
                  <a:pt x="39" y="114"/>
                  <a:pt x="39" y="114"/>
                  <a:pt x="39" y="114"/>
                </a:cubicBezTo>
                <a:cubicBezTo>
                  <a:pt x="54" y="123"/>
                  <a:pt x="72" y="125"/>
                  <a:pt x="88" y="120"/>
                </a:cubicBezTo>
                <a:cubicBezTo>
                  <a:pt x="119" y="110"/>
                  <a:pt x="135" y="77"/>
                  <a:pt x="125" y="47"/>
                </a:cubicBezTo>
                <a:cubicBezTo>
                  <a:pt x="121" y="34"/>
                  <a:pt x="112" y="24"/>
                  <a:pt x="101" y="17"/>
                </a:cubicBezTo>
                <a:close/>
                <a:moveTo>
                  <a:pt x="49" y="99"/>
                </a:moveTo>
                <a:cubicBezTo>
                  <a:pt x="41" y="94"/>
                  <a:pt x="35" y="86"/>
                  <a:pt x="32" y="78"/>
                </a:cubicBezTo>
                <a:cubicBezTo>
                  <a:pt x="25" y="57"/>
                  <a:pt x="37" y="34"/>
                  <a:pt x="57" y="27"/>
                </a:cubicBezTo>
                <a:cubicBezTo>
                  <a:pt x="69" y="24"/>
                  <a:pt x="81" y="25"/>
                  <a:pt x="92" y="32"/>
                </a:cubicBezTo>
                <a:cubicBezTo>
                  <a:pt x="99" y="36"/>
                  <a:pt x="105" y="44"/>
                  <a:pt x="108" y="53"/>
                </a:cubicBezTo>
                <a:cubicBezTo>
                  <a:pt x="115" y="73"/>
                  <a:pt x="104" y="96"/>
                  <a:pt x="83" y="103"/>
                </a:cubicBezTo>
                <a:cubicBezTo>
                  <a:pt x="71" y="107"/>
                  <a:pt x="59" y="105"/>
                  <a:pt x="49" y="99"/>
                </a:cubicBezTo>
                <a:close/>
                <a:moveTo>
                  <a:pt x="89" y="36"/>
                </a:moveTo>
                <a:cubicBezTo>
                  <a:pt x="80" y="30"/>
                  <a:pt x="69" y="29"/>
                  <a:pt x="59" y="32"/>
                </a:cubicBezTo>
                <a:cubicBezTo>
                  <a:pt x="41" y="38"/>
                  <a:pt x="31" y="58"/>
                  <a:pt x="37" y="76"/>
                </a:cubicBezTo>
                <a:cubicBezTo>
                  <a:pt x="40" y="84"/>
                  <a:pt x="45" y="90"/>
                  <a:pt x="51" y="95"/>
                </a:cubicBezTo>
                <a:cubicBezTo>
                  <a:pt x="60" y="100"/>
                  <a:pt x="71" y="102"/>
                  <a:pt x="81" y="98"/>
                </a:cubicBezTo>
                <a:cubicBezTo>
                  <a:pt x="99" y="92"/>
                  <a:pt x="109" y="72"/>
                  <a:pt x="103" y="54"/>
                </a:cubicBezTo>
                <a:cubicBezTo>
                  <a:pt x="101" y="47"/>
                  <a:pt x="96" y="40"/>
                  <a:pt x="89"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4" name="Freeform 1196">
            <a:extLst>
              <a:ext uri="{FF2B5EF4-FFF2-40B4-BE49-F238E27FC236}">
                <a16:creationId xmlns:a16="http://schemas.microsoft.com/office/drawing/2014/main" id="{282F9B5C-6E36-42B1-9ABB-7689B4D7EA78}"/>
              </a:ext>
            </a:extLst>
          </p:cNvPr>
          <p:cNvSpPr>
            <a:spLocks noEditPoints="1"/>
          </p:cNvSpPr>
          <p:nvPr/>
        </p:nvSpPr>
        <p:spPr bwMode="auto">
          <a:xfrm rot="1233185">
            <a:off x="1954304" y="2610826"/>
            <a:ext cx="2396490" cy="2396490"/>
          </a:xfrm>
          <a:custGeom>
            <a:avLst/>
            <a:gdLst>
              <a:gd name="T0" fmla="*/ 94 w 633"/>
              <a:gd name="T1" fmla="*/ 524 h 633"/>
              <a:gd name="T2" fmla="*/ 53 w 633"/>
              <a:gd name="T3" fmla="*/ 469 h 633"/>
              <a:gd name="T4" fmla="*/ 16 w 633"/>
              <a:gd name="T5" fmla="*/ 416 h 633"/>
              <a:gd name="T6" fmla="*/ 29 w 633"/>
              <a:gd name="T7" fmla="*/ 338 h 633"/>
              <a:gd name="T8" fmla="*/ 4 w 633"/>
              <a:gd name="T9" fmla="*/ 269 h 633"/>
              <a:gd name="T10" fmla="*/ 51 w 633"/>
              <a:gd name="T11" fmla="*/ 205 h 633"/>
              <a:gd name="T12" fmla="*/ 93 w 633"/>
              <a:gd name="T13" fmla="*/ 134 h 633"/>
              <a:gd name="T14" fmla="*/ 128 w 633"/>
              <a:gd name="T15" fmla="*/ 63 h 633"/>
              <a:gd name="T16" fmla="*/ 201 w 633"/>
              <a:gd name="T17" fmla="*/ 52 h 633"/>
              <a:gd name="T18" fmla="*/ 265 w 633"/>
              <a:gd name="T19" fmla="*/ 4 h 633"/>
              <a:gd name="T20" fmla="*/ 333 w 633"/>
              <a:gd name="T21" fmla="*/ 29 h 633"/>
              <a:gd name="T22" fmla="*/ 412 w 633"/>
              <a:gd name="T23" fmla="*/ 15 h 633"/>
              <a:gd name="T24" fmla="*/ 462 w 633"/>
              <a:gd name="T25" fmla="*/ 68 h 633"/>
              <a:gd name="T26" fmla="*/ 538 w 633"/>
              <a:gd name="T27" fmla="*/ 91 h 633"/>
              <a:gd name="T28" fmla="*/ 563 w 633"/>
              <a:gd name="T29" fmla="*/ 166 h 633"/>
              <a:gd name="T30" fmla="*/ 617 w 633"/>
              <a:gd name="T31" fmla="*/ 216 h 633"/>
              <a:gd name="T32" fmla="*/ 604 w 633"/>
              <a:gd name="T33" fmla="*/ 288 h 633"/>
              <a:gd name="T34" fmla="*/ 630 w 633"/>
              <a:gd name="T35" fmla="*/ 363 h 633"/>
              <a:gd name="T36" fmla="*/ 583 w 633"/>
              <a:gd name="T37" fmla="*/ 428 h 633"/>
              <a:gd name="T38" fmla="*/ 556 w 633"/>
              <a:gd name="T39" fmla="*/ 504 h 633"/>
              <a:gd name="T40" fmla="*/ 509 w 633"/>
              <a:gd name="T41" fmla="*/ 553 h 633"/>
              <a:gd name="T42" fmla="*/ 445 w 633"/>
              <a:gd name="T43" fmla="*/ 593 h 633"/>
              <a:gd name="T44" fmla="*/ 369 w 633"/>
              <a:gd name="T45" fmla="*/ 629 h 633"/>
              <a:gd name="T46" fmla="*/ 300 w 633"/>
              <a:gd name="T47" fmla="*/ 605 h 633"/>
              <a:gd name="T48" fmla="*/ 221 w 633"/>
              <a:gd name="T49" fmla="*/ 618 h 633"/>
              <a:gd name="T50" fmla="*/ 171 w 633"/>
              <a:gd name="T51" fmla="*/ 566 h 633"/>
              <a:gd name="T52" fmla="*/ 138 w 633"/>
              <a:gd name="T53" fmla="*/ 572 h 633"/>
              <a:gd name="T54" fmla="*/ 189 w 633"/>
              <a:gd name="T55" fmla="*/ 592 h 633"/>
              <a:gd name="T56" fmla="*/ 246 w 633"/>
              <a:gd name="T57" fmla="*/ 592 h 633"/>
              <a:gd name="T58" fmla="*/ 301 w 633"/>
              <a:gd name="T59" fmla="*/ 600 h 633"/>
              <a:gd name="T60" fmla="*/ 358 w 633"/>
              <a:gd name="T61" fmla="*/ 617 h 633"/>
              <a:gd name="T62" fmla="*/ 415 w 633"/>
              <a:gd name="T63" fmla="*/ 612 h 633"/>
              <a:gd name="T64" fmla="*/ 465 w 633"/>
              <a:gd name="T65" fmla="*/ 582 h 633"/>
              <a:gd name="T66" fmla="*/ 498 w 633"/>
              <a:gd name="T67" fmla="*/ 535 h 633"/>
              <a:gd name="T68" fmla="*/ 531 w 633"/>
              <a:gd name="T69" fmla="*/ 502 h 633"/>
              <a:gd name="T70" fmla="*/ 564 w 633"/>
              <a:gd name="T71" fmla="*/ 458 h 633"/>
              <a:gd name="T72" fmla="*/ 613 w 633"/>
              <a:gd name="T73" fmla="*/ 411 h 633"/>
              <a:gd name="T74" fmla="*/ 625 w 633"/>
              <a:gd name="T75" fmla="*/ 362 h 633"/>
              <a:gd name="T76" fmla="*/ 626 w 633"/>
              <a:gd name="T77" fmla="*/ 307 h 633"/>
              <a:gd name="T78" fmla="*/ 615 w 633"/>
              <a:gd name="T79" fmla="*/ 258 h 633"/>
              <a:gd name="T80" fmla="*/ 579 w 633"/>
              <a:gd name="T81" fmla="*/ 210 h 633"/>
              <a:gd name="T82" fmla="*/ 555 w 633"/>
              <a:gd name="T83" fmla="*/ 162 h 633"/>
              <a:gd name="T84" fmla="*/ 536 w 633"/>
              <a:gd name="T85" fmla="*/ 106 h 633"/>
              <a:gd name="T86" fmla="*/ 497 w 633"/>
              <a:gd name="T87" fmla="*/ 63 h 633"/>
              <a:gd name="T88" fmla="*/ 444 w 633"/>
              <a:gd name="T89" fmla="*/ 41 h 633"/>
              <a:gd name="T90" fmla="*/ 387 w 633"/>
              <a:gd name="T91" fmla="*/ 41 h 633"/>
              <a:gd name="T92" fmla="*/ 332 w 633"/>
              <a:gd name="T93" fmla="*/ 34 h 633"/>
              <a:gd name="T94" fmla="*/ 285 w 633"/>
              <a:gd name="T95" fmla="*/ 34 h 633"/>
              <a:gd name="T96" fmla="*/ 225 w 633"/>
              <a:gd name="T97" fmla="*/ 21 h 633"/>
              <a:gd name="T98" fmla="*/ 172 w 633"/>
              <a:gd name="T99" fmla="*/ 41 h 633"/>
              <a:gd name="T100" fmla="*/ 129 w 633"/>
              <a:gd name="T101" fmla="*/ 78 h 633"/>
              <a:gd name="T102" fmla="*/ 103 w 633"/>
              <a:gd name="T103" fmla="*/ 129 h 633"/>
              <a:gd name="T104" fmla="*/ 71 w 633"/>
              <a:gd name="T105" fmla="*/ 175 h 633"/>
              <a:gd name="T106" fmla="*/ 30 w 633"/>
              <a:gd name="T107" fmla="*/ 217 h 633"/>
              <a:gd name="T108" fmla="*/ 9 w 633"/>
              <a:gd name="T109" fmla="*/ 270 h 633"/>
              <a:gd name="T110" fmla="*/ 8 w 633"/>
              <a:gd name="T111" fmla="*/ 326 h 633"/>
              <a:gd name="T112" fmla="*/ 19 w 633"/>
              <a:gd name="T113" fmla="*/ 375 h 633"/>
              <a:gd name="T114" fmla="*/ 54 w 633"/>
              <a:gd name="T115" fmla="*/ 423 h 633"/>
              <a:gd name="T116" fmla="*/ 79 w 633"/>
              <a:gd name="T117" fmla="*/ 471 h 633"/>
              <a:gd name="T118" fmla="*/ 98 w 633"/>
              <a:gd name="T119" fmla="*/ 527 h 633"/>
              <a:gd name="T120" fmla="*/ 563 w 633"/>
              <a:gd name="T121" fmla="*/ 234 h 633"/>
              <a:gd name="T122" fmla="*/ 454 w 633"/>
              <a:gd name="T123" fmla="*/ 102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3">
                <a:moveTo>
                  <a:pt x="135" y="576"/>
                </a:moveTo>
                <a:cubicBezTo>
                  <a:pt x="135" y="575"/>
                  <a:pt x="134" y="575"/>
                  <a:pt x="133" y="575"/>
                </a:cubicBezTo>
                <a:cubicBezTo>
                  <a:pt x="132" y="574"/>
                  <a:pt x="132" y="574"/>
                  <a:pt x="132" y="574"/>
                </a:cubicBezTo>
                <a:cubicBezTo>
                  <a:pt x="129" y="572"/>
                  <a:pt x="123" y="567"/>
                  <a:pt x="129" y="556"/>
                </a:cubicBezTo>
                <a:cubicBezTo>
                  <a:pt x="132" y="550"/>
                  <a:pt x="134" y="544"/>
                  <a:pt x="134" y="540"/>
                </a:cubicBezTo>
                <a:cubicBezTo>
                  <a:pt x="132" y="538"/>
                  <a:pt x="130" y="537"/>
                  <a:pt x="128" y="535"/>
                </a:cubicBezTo>
                <a:cubicBezTo>
                  <a:pt x="125" y="536"/>
                  <a:pt x="119" y="539"/>
                  <a:pt x="113" y="543"/>
                </a:cubicBezTo>
                <a:cubicBezTo>
                  <a:pt x="108" y="548"/>
                  <a:pt x="103" y="548"/>
                  <a:pt x="99" y="546"/>
                </a:cubicBezTo>
                <a:cubicBezTo>
                  <a:pt x="97" y="545"/>
                  <a:pt x="96" y="544"/>
                  <a:pt x="95" y="543"/>
                </a:cubicBezTo>
                <a:cubicBezTo>
                  <a:pt x="94" y="542"/>
                  <a:pt x="94" y="542"/>
                  <a:pt x="94" y="542"/>
                </a:cubicBezTo>
                <a:cubicBezTo>
                  <a:pt x="92" y="539"/>
                  <a:pt x="86" y="534"/>
                  <a:pt x="94" y="524"/>
                </a:cubicBezTo>
                <a:cubicBezTo>
                  <a:pt x="98" y="518"/>
                  <a:pt x="100" y="512"/>
                  <a:pt x="101" y="509"/>
                </a:cubicBezTo>
                <a:cubicBezTo>
                  <a:pt x="100" y="507"/>
                  <a:pt x="98" y="505"/>
                  <a:pt x="97" y="503"/>
                </a:cubicBezTo>
                <a:cubicBezTo>
                  <a:pt x="93" y="503"/>
                  <a:pt x="86" y="506"/>
                  <a:pt x="80" y="509"/>
                </a:cubicBezTo>
                <a:cubicBezTo>
                  <a:pt x="75" y="512"/>
                  <a:pt x="71" y="512"/>
                  <a:pt x="67" y="510"/>
                </a:cubicBezTo>
                <a:cubicBezTo>
                  <a:pt x="65" y="509"/>
                  <a:pt x="64" y="507"/>
                  <a:pt x="63" y="505"/>
                </a:cubicBezTo>
                <a:cubicBezTo>
                  <a:pt x="62" y="504"/>
                  <a:pt x="62" y="504"/>
                  <a:pt x="62" y="504"/>
                </a:cubicBezTo>
                <a:cubicBezTo>
                  <a:pt x="59" y="501"/>
                  <a:pt x="55" y="495"/>
                  <a:pt x="64" y="486"/>
                </a:cubicBezTo>
                <a:cubicBezTo>
                  <a:pt x="69" y="482"/>
                  <a:pt x="72" y="476"/>
                  <a:pt x="74" y="473"/>
                </a:cubicBezTo>
                <a:cubicBezTo>
                  <a:pt x="73" y="471"/>
                  <a:pt x="71" y="469"/>
                  <a:pt x="70" y="467"/>
                </a:cubicBezTo>
                <a:cubicBezTo>
                  <a:pt x="70" y="466"/>
                  <a:pt x="70" y="466"/>
                  <a:pt x="70" y="466"/>
                </a:cubicBezTo>
                <a:cubicBezTo>
                  <a:pt x="66" y="466"/>
                  <a:pt x="60" y="467"/>
                  <a:pt x="53" y="469"/>
                </a:cubicBezTo>
                <a:cubicBezTo>
                  <a:pt x="48" y="471"/>
                  <a:pt x="44" y="471"/>
                  <a:pt x="41" y="469"/>
                </a:cubicBezTo>
                <a:cubicBezTo>
                  <a:pt x="38" y="468"/>
                  <a:pt x="37" y="465"/>
                  <a:pt x="36" y="463"/>
                </a:cubicBezTo>
                <a:cubicBezTo>
                  <a:pt x="36" y="462"/>
                  <a:pt x="36" y="462"/>
                  <a:pt x="36" y="462"/>
                </a:cubicBezTo>
                <a:cubicBezTo>
                  <a:pt x="34" y="459"/>
                  <a:pt x="30" y="452"/>
                  <a:pt x="41" y="445"/>
                </a:cubicBezTo>
                <a:cubicBezTo>
                  <a:pt x="46" y="441"/>
                  <a:pt x="51" y="436"/>
                  <a:pt x="52" y="433"/>
                </a:cubicBezTo>
                <a:cubicBezTo>
                  <a:pt x="52" y="430"/>
                  <a:pt x="51" y="428"/>
                  <a:pt x="50" y="426"/>
                </a:cubicBezTo>
                <a:cubicBezTo>
                  <a:pt x="46" y="425"/>
                  <a:pt x="39" y="425"/>
                  <a:pt x="33" y="426"/>
                </a:cubicBezTo>
                <a:cubicBezTo>
                  <a:pt x="28" y="427"/>
                  <a:pt x="24" y="427"/>
                  <a:pt x="22" y="425"/>
                </a:cubicBezTo>
                <a:cubicBezTo>
                  <a:pt x="22" y="425"/>
                  <a:pt x="22" y="425"/>
                  <a:pt x="22" y="425"/>
                </a:cubicBezTo>
                <a:cubicBezTo>
                  <a:pt x="19" y="423"/>
                  <a:pt x="18" y="420"/>
                  <a:pt x="17" y="418"/>
                </a:cubicBezTo>
                <a:cubicBezTo>
                  <a:pt x="16" y="416"/>
                  <a:pt x="16" y="416"/>
                  <a:pt x="16" y="416"/>
                </a:cubicBezTo>
                <a:cubicBezTo>
                  <a:pt x="15" y="413"/>
                  <a:pt x="13" y="405"/>
                  <a:pt x="24" y="400"/>
                </a:cubicBezTo>
                <a:cubicBezTo>
                  <a:pt x="30" y="397"/>
                  <a:pt x="35" y="393"/>
                  <a:pt x="38" y="390"/>
                </a:cubicBezTo>
                <a:cubicBezTo>
                  <a:pt x="37" y="387"/>
                  <a:pt x="36" y="385"/>
                  <a:pt x="36" y="383"/>
                </a:cubicBezTo>
                <a:cubicBezTo>
                  <a:pt x="32" y="381"/>
                  <a:pt x="26" y="380"/>
                  <a:pt x="19" y="380"/>
                </a:cubicBezTo>
                <a:cubicBezTo>
                  <a:pt x="15" y="381"/>
                  <a:pt x="12" y="380"/>
                  <a:pt x="9" y="378"/>
                </a:cubicBezTo>
                <a:cubicBezTo>
                  <a:pt x="6" y="376"/>
                  <a:pt x="5" y="372"/>
                  <a:pt x="5" y="369"/>
                </a:cubicBezTo>
                <a:cubicBezTo>
                  <a:pt x="5" y="368"/>
                  <a:pt x="5" y="368"/>
                  <a:pt x="5" y="368"/>
                </a:cubicBezTo>
                <a:cubicBezTo>
                  <a:pt x="4" y="364"/>
                  <a:pt x="2" y="357"/>
                  <a:pt x="14" y="353"/>
                </a:cubicBezTo>
                <a:cubicBezTo>
                  <a:pt x="21" y="351"/>
                  <a:pt x="27" y="348"/>
                  <a:pt x="30" y="345"/>
                </a:cubicBezTo>
                <a:cubicBezTo>
                  <a:pt x="30" y="345"/>
                  <a:pt x="30" y="345"/>
                  <a:pt x="30" y="345"/>
                </a:cubicBezTo>
                <a:cubicBezTo>
                  <a:pt x="29" y="343"/>
                  <a:pt x="29" y="340"/>
                  <a:pt x="29" y="338"/>
                </a:cubicBezTo>
                <a:cubicBezTo>
                  <a:pt x="26" y="336"/>
                  <a:pt x="19" y="334"/>
                  <a:pt x="13" y="333"/>
                </a:cubicBezTo>
                <a:cubicBezTo>
                  <a:pt x="9" y="333"/>
                  <a:pt x="7" y="332"/>
                  <a:pt x="5" y="331"/>
                </a:cubicBezTo>
                <a:cubicBezTo>
                  <a:pt x="0" y="328"/>
                  <a:pt x="0" y="323"/>
                  <a:pt x="0" y="320"/>
                </a:cubicBezTo>
                <a:cubicBezTo>
                  <a:pt x="0" y="319"/>
                  <a:pt x="0" y="319"/>
                  <a:pt x="0" y="319"/>
                </a:cubicBezTo>
                <a:cubicBezTo>
                  <a:pt x="0" y="315"/>
                  <a:pt x="0" y="307"/>
                  <a:pt x="12" y="305"/>
                </a:cubicBezTo>
                <a:cubicBezTo>
                  <a:pt x="19" y="304"/>
                  <a:pt x="25" y="302"/>
                  <a:pt x="29" y="300"/>
                </a:cubicBezTo>
                <a:cubicBezTo>
                  <a:pt x="29" y="298"/>
                  <a:pt x="29" y="295"/>
                  <a:pt x="29" y="293"/>
                </a:cubicBezTo>
                <a:cubicBezTo>
                  <a:pt x="26" y="290"/>
                  <a:pt x="20" y="287"/>
                  <a:pt x="14" y="285"/>
                </a:cubicBezTo>
                <a:cubicBezTo>
                  <a:pt x="12" y="285"/>
                  <a:pt x="10" y="284"/>
                  <a:pt x="8" y="283"/>
                </a:cubicBezTo>
                <a:cubicBezTo>
                  <a:pt x="2" y="279"/>
                  <a:pt x="3" y="274"/>
                  <a:pt x="4" y="270"/>
                </a:cubicBezTo>
                <a:cubicBezTo>
                  <a:pt x="4" y="269"/>
                  <a:pt x="4" y="269"/>
                  <a:pt x="4" y="269"/>
                </a:cubicBezTo>
                <a:cubicBezTo>
                  <a:pt x="4" y="265"/>
                  <a:pt x="5" y="258"/>
                  <a:pt x="18" y="258"/>
                </a:cubicBezTo>
                <a:cubicBezTo>
                  <a:pt x="25" y="258"/>
                  <a:pt x="31" y="257"/>
                  <a:pt x="35" y="255"/>
                </a:cubicBezTo>
                <a:cubicBezTo>
                  <a:pt x="35" y="253"/>
                  <a:pt x="36" y="251"/>
                  <a:pt x="36" y="248"/>
                </a:cubicBezTo>
                <a:cubicBezTo>
                  <a:pt x="35" y="246"/>
                  <a:pt x="32" y="244"/>
                  <a:pt x="28" y="242"/>
                </a:cubicBezTo>
                <a:cubicBezTo>
                  <a:pt x="26" y="240"/>
                  <a:pt x="24" y="239"/>
                  <a:pt x="22" y="238"/>
                </a:cubicBezTo>
                <a:cubicBezTo>
                  <a:pt x="21" y="238"/>
                  <a:pt x="20" y="237"/>
                  <a:pt x="19" y="237"/>
                </a:cubicBezTo>
                <a:cubicBezTo>
                  <a:pt x="12" y="232"/>
                  <a:pt x="14" y="225"/>
                  <a:pt x="15" y="222"/>
                </a:cubicBezTo>
                <a:cubicBezTo>
                  <a:pt x="15" y="221"/>
                  <a:pt x="15" y="221"/>
                  <a:pt x="15" y="221"/>
                </a:cubicBezTo>
                <a:cubicBezTo>
                  <a:pt x="16" y="217"/>
                  <a:pt x="18" y="210"/>
                  <a:pt x="31" y="212"/>
                </a:cubicBezTo>
                <a:cubicBezTo>
                  <a:pt x="37" y="213"/>
                  <a:pt x="44" y="213"/>
                  <a:pt x="48" y="212"/>
                </a:cubicBezTo>
                <a:cubicBezTo>
                  <a:pt x="49" y="210"/>
                  <a:pt x="50" y="207"/>
                  <a:pt x="51" y="205"/>
                </a:cubicBezTo>
                <a:cubicBezTo>
                  <a:pt x="49" y="202"/>
                  <a:pt x="44" y="197"/>
                  <a:pt x="38" y="193"/>
                </a:cubicBezTo>
                <a:cubicBezTo>
                  <a:pt x="28" y="186"/>
                  <a:pt x="31" y="180"/>
                  <a:pt x="33" y="176"/>
                </a:cubicBezTo>
                <a:cubicBezTo>
                  <a:pt x="34" y="175"/>
                  <a:pt x="34" y="175"/>
                  <a:pt x="34" y="175"/>
                </a:cubicBezTo>
                <a:cubicBezTo>
                  <a:pt x="36" y="171"/>
                  <a:pt x="39" y="164"/>
                  <a:pt x="51" y="169"/>
                </a:cubicBezTo>
                <a:cubicBezTo>
                  <a:pt x="57" y="171"/>
                  <a:pt x="64" y="171"/>
                  <a:pt x="68" y="171"/>
                </a:cubicBezTo>
                <a:cubicBezTo>
                  <a:pt x="69" y="169"/>
                  <a:pt x="70" y="167"/>
                  <a:pt x="71" y="165"/>
                </a:cubicBezTo>
                <a:cubicBezTo>
                  <a:pt x="70" y="161"/>
                  <a:pt x="66" y="156"/>
                  <a:pt x="61" y="151"/>
                </a:cubicBezTo>
                <a:cubicBezTo>
                  <a:pt x="52" y="143"/>
                  <a:pt x="56" y="137"/>
                  <a:pt x="59" y="133"/>
                </a:cubicBezTo>
                <a:cubicBezTo>
                  <a:pt x="59" y="132"/>
                  <a:pt x="59" y="132"/>
                  <a:pt x="59" y="132"/>
                </a:cubicBezTo>
                <a:cubicBezTo>
                  <a:pt x="62" y="129"/>
                  <a:pt x="66" y="123"/>
                  <a:pt x="77" y="129"/>
                </a:cubicBezTo>
                <a:cubicBezTo>
                  <a:pt x="83" y="132"/>
                  <a:pt x="90" y="134"/>
                  <a:pt x="93" y="134"/>
                </a:cubicBezTo>
                <a:cubicBezTo>
                  <a:pt x="95" y="132"/>
                  <a:pt x="97" y="130"/>
                  <a:pt x="98" y="128"/>
                </a:cubicBezTo>
                <a:cubicBezTo>
                  <a:pt x="97" y="125"/>
                  <a:pt x="94" y="119"/>
                  <a:pt x="90" y="113"/>
                </a:cubicBezTo>
                <a:cubicBezTo>
                  <a:pt x="82" y="103"/>
                  <a:pt x="88" y="98"/>
                  <a:pt x="91" y="95"/>
                </a:cubicBezTo>
                <a:cubicBezTo>
                  <a:pt x="91" y="94"/>
                  <a:pt x="91" y="94"/>
                  <a:pt x="91" y="94"/>
                </a:cubicBezTo>
                <a:cubicBezTo>
                  <a:pt x="94" y="92"/>
                  <a:pt x="99" y="87"/>
                  <a:pt x="108" y="92"/>
                </a:cubicBezTo>
                <a:cubicBezTo>
                  <a:pt x="108" y="93"/>
                  <a:pt x="109" y="93"/>
                  <a:pt x="109" y="94"/>
                </a:cubicBezTo>
                <a:cubicBezTo>
                  <a:pt x="110" y="94"/>
                  <a:pt x="111" y="95"/>
                  <a:pt x="112" y="95"/>
                </a:cubicBezTo>
                <a:cubicBezTo>
                  <a:pt x="117" y="98"/>
                  <a:pt x="122" y="101"/>
                  <a:pt x="125" y="101"/>
                </a:cubicBezTo>
                <a:cubicBezTo>
                  <a:pt x="127" y="100"/>
                  <a:pt x="128" y="98"/>
                  <a:pt x="130" y="97"/>
                </a:cubicBezTo>
                <a:cubicBezTo>
                  <a:pt x="130" y="93"/>
                  <a:pt x="128" y="86"/>
                  <a:pt x="125" y="80"/>
                </a:cubicBezTo>
                <a:cubicBezTo>
                  <a:pt x="119" y="69"/>
                  <a:pt x="125" y="65"/>
                  <a:pt x="128" y="63"/>
                </a:cubicBezTo>
                <a:cubicBezTo>
                  <a:pt x="129" y="62"/>
                  <a:pt x="129" y="62"/>
                  <a:pt x="129" y="62"/>
                </a:cubicBezTo>
                <a:cubicBezTo>
                  <a:pt x="132" y="60"/>
                  <a:pt x="136" y="56"/>
                  <a:pt x="143" y="60"/>
                </a:cubicBezTo>
                <a:cubicBezTo>
                  <a:pt x="144" y="61"/>
                  <a:pt x="146" y="62"/>
                  <a:pt x="147" y="64"/>
                </a:cubicBezTo>
                <a:cubicBezTo>
                  <a:pt x="152" y="68"/>
                  <a:pt x="157" y="72"/>
                  <a:pt x="161" y="74"/>
                </a:cubicBezTo>
                <a:cubicBezTo>
                  <a:pt x="163" y="72"/>
                  <a:pt x="165" y="71"/>
                  <a:pt x="167" y="70"/>
                </a:cubicBezTo>
                <a:cubicBezTo>
                  <a:pt x="167" y="66"/>
                  <a:pt x="166" y="60"/>
                  <a:pt x="164" y="53"/>
                </a:cubicBezTo>
                <a:cubicBezTo>
                  <a:pt x="160" y="41"/>
                  <a:pt x="166" y="38"/>
                  <a:pt x="170" y="36"/>
                </a:cubicBezTo>
                <a:cubicBezTo>
                  <a:pt x="171" y="36"/>
                  <a:pt x="171" y="36"/>
                  <a:pt x="171" y="36"/>
                </a:cubicBezTo>
                <a:cubicBezTo>
                  <a:pt x="174" y="34"/>
                  <a:pt x="178" y="32"/>
                  <a:pt x="183" y="35"/>
                </a:cubicBezTo>
                <a:cubicBezTo>
                  <a:pt x="185" y="36"/>
                  <a:pt x="187" y="38"/>
                  <a:pt x="189" y="41"/>
                </a:cubicBezTo>
                <a:cubicBezTo>
                  <a:pt x="193" y="46"/>
                  <a:pt x="197" y="51"/>
                  <a:pt x="201" y="52"/>
                </a:cubicBezTo>
                <a:cubicBezTo>
                  <a:pt x="203" y="51"/>
                  <a:pt x="205" y="51"/>
                  <a:pt x="207" y="50"/>
                </a:cubicBezTo>
                <a:cubicBezTo>
                  <a:pt x="208" y="46"/>
                  <a:pt x="208" y="39"/>
                  <a:pt x="207" y="33"/>
                </a:cubicBezTo>
                <a:cubicBezTo>
                  <a:pt x="205" y="20"/>
                  <a:pt x="212" y="18"/>
                  <a:pt x="216" y="17"/>
                </a:cubicBezTo>
                <a:cubicBezTo>
                  <a:pt x="217" y="16"/>
                  <a:pt x="217" y="16"/>
                  <a:pt x="217" y="16"/>
                </a:cubicBezTo>
                <a:cubicBezTo>
                  <a:pt x="220" y="15"/>
                  <a:pt x="224" y="14"/>
                  <a:pt x="228" y="17"/>
                </a:cubicBezTo>
                <a:cubicBezTo>
                  <a:pt x="230" y="18"/>
                  <a:pt x="232" y="20"/>
                  <a:pt x="233" y="24"/>
                </a:cubicBezTo>
                <a:cubicBezTo>
                  <a:pt x="236" y="30"/>
                  <a:pt x="240" y="35"/>
                  <a:pt x="244" y="38"/>
                </a:cubicBezTo>
                <a:cubicBezTo>
                  <a:pt x="246" y="37"/>
                  <a:pt x="248" y="36"/>
                  <a:pt x="250" y="36"/>
                </a:cubicBezTo>
                <a:cubicBezTo>
                  <a:pt x="252" y="32"/>
                  <a:pt x="253" y="26"/>
                  <a:pt x="253" y="19"/>
                </a:cubicBezTo>
                <a:cubicBezTo>
                  <a:pt x="252" y="6"/>
                  <a:pt x="260" y="5"/>
                  <a:pt x="264" y="5"/>
                </a:cubicBezTo>
                <a:cubicBezTo>
                  <a:pt x="265" y="4"/>
                  <a:pt x="265" y="4"/>
                  <a:pt x="265" y="4"/>
                </a:cubicBezTo>
                <a:cubicBezTo>
                  <a:pt x="268" y="4"/>
                  <a:pt x="271" y="3"/>
                  <a:pt x="274" y="5"/>
                </a:cubicBezTo>
                <a:cubicBezTo>
                  <a:pt x="277" y="7"/>
                  <a:pt x="279" y="10"/>
                  <a:pt x="280" y="14"/>
                </a:cubicBezTo>
                <a:cubicBezTo>
                  <a:pt x="282" y="21"/>
                  <a:pt x="285" y="27"/>
                  <a:pt x="288" y="30"/>
                </a:cubicBezTo>
                <a:cubicBezTo>
                  <a:pt x="289" y="29"/>
                  <a:pt x="289" y="29"/>
                  <a:pt x="289" y="29"/>
                </a:cubicBezTo>
                <a:cubicBezTo>
                  <a:pt x="291" y="29"/>
                  <a:pt x="293" y="29"/>
                  <a:pt x="295" y="29"/>
                </a:cubicBezTo>
                <a:cubicBezTo>
                  <a:pt x="297" y="25"/>
                  <a:pt x="299" y="19"/>
                  <a:pt x="300" y="13"/>
                </a:cubicBezTo>
                <a:cubicBezTo>
                  <a:pt x="302" y="0"/>
                  <a:pt x="309" y="0"/>
                  <a:pt x="313" y="0"/>
                </a:cubicBezTo>
                <a:cubicBezTo>
                  <a:pt x="315" y="0"/>
                  <a:pt x="315" y="0"/>
                  <a:pt x="315" y="0"/>
                </a:cubicBezTo>
                <a:cubicBezTo>
                  <a:pt x="317" y="0"/>
                  <a:pt x="320" y="0"/>
                  <a:pt x="322" y="2"/>
                </a:cubicBezTo>
                <a:cubicBezTo>
                  <a:pt x="325" y="4"/>
                  <a:pt x="327" y="7"/>
                  <a:pt x="328" y="12"/>
                </a:cubicBezTo>
                <a:cubicBezTo>
                  <a:pt x="329" y="19"/>
                  <a:pt x="331" y="25"/>
                  <a:pt x="333" y="29"/>
                </a:cubicBezTo>
                <a:cubicBezTo>
                  <a:pt x="336" y="29"/>
                  <a:pt x="338" y="29"/>
                  <a:pt x="340" y="29"/>
                </a:cubicBezTo>
                <a:cubicBezTo>
                  <a:pt x="343" y="26"/>
                  <a:pt x="346" y="20"/>
                  <a:pt x="348" y="14"/>
                </a:cubicBezTo>
                <a:cubicBezTo>
                  <a:pt x="351" y="2"/>
                  <a:pt x="359" y="3"/>
                  <a:pt x="363" y="4"/>
                </a:cubicBezTo>
                <a:cubicBezTo>
                  <a:pt x="364" y="4"/>
                  <a:pt x="364" y="4"/>
                  <a:pt x="364" y="4"/>
                </a:cubicBezTo>
                <a:cubicBezTo>
                  <a:pt x="366" y="4"/>
                  <a:pt x="368" y="4"/>
                  <a:pt x="370" y="6"/>
                </a:cubicBezTo>
                <a:cubicBezTo>
                  <a:pt x="374" y="8"/>
                  <a:pt x="375" y="12"/>
                  <a:pt x="375" y="18"/>
                </a:cubicBezTo>
                <a:cubicBezTo>
                  <a:pt x="375" y="25"/>
                  <a:pt x="377" y="31"/>
                  <a:pt x="378" y="35"/>
                </a:cubicBezTo>
                <a:cubicBezTo>
                  <a:pt x="380" y="35"/>
                  <a:pt x="383" y="36"/>
                  <a:pt x="385" y="36"/>
                </a:cubicBezTo>
                <a:cubicBezTo>
                  <a:pt x="388" y="34"/>
                  <a:pt x="392" y="28"/>
                  <a:pt x="395" y="22"/>
                </a:cubicBezTo>
                <a:cubicBezTo>
                  <a:pt x="400" y="11"/>
                  <a:pt x="407" y="13"/>
                  <a:pt x="411" y="15"/>
                </a:cubicBezTo>
                <a:cubicBezTo>
                  <a:pt x="412" y="15"/>
                  <a:pt x="412" y="15"/>
                  <a:pt x="412" y="15"/>
                </a:cubicBezTo>
                <a:cubicBezTo>
                  <a:pt x="414" y="15"/>
                  <a:pt x="416" y="16"/>
                  <a:pt x="417" y="17"/>
                </a:cubicBezTo>
                <a:cubicBezTo>
                  <a:pt x="421" y="20"/>
                  <a:pt x="423" y="24"/>
                  <a:pt x="421" y="31"/>
                </a:cubicBezTo>
                <a:cubicBezTo>
                  <a:pt x="420" y="37"/>
                  <a:pt x="420" y="44"/>
                  <a:pt x="422" y="48"/>
                </a:cubicBezTo>
                <a:cubicBezTo>
                  <a:pt x="424" y="49"/>
                  <a:pt x="426" y="50"/>
                  <a:pt x="428" y="50"/>
                </a:cubicBezTo>
                <a:cubicBezTo>
                  <a:pt x="428" y="50"/>
                  <a:pt x="428" y="50"/>
                  <a:pt x="428" y="50"/>
                </a:cubicBezTo>
                <a:cubicBezTo>
                  <a:pt x="431" y="49"/>
                  <a:pt x="436" y="44"/>
                  <a:pt x="440" y="38"/>
                </a:cubicBezTo>
                <a:cubicBezTo>
                  <a:pt x="447" y="28"/>
                  <a:pt x="454" y="31"/>
                  <a:pt x="457" y="33"/>
                </a:cubicBezTo>
                <a:cubicBezTo>
                  <a:pt x="458" y="34"/>
                  <a:pt x="458" y="34"/>
                  <a:pt x="458" y="34"/>
                </a:cubicBezTo>
                <a:cubicBezTo>
                  <a:pt x="459" y="34"/>
                  <a:pt x="460" y="35"/>
                  <a:pt x="461" y="35"/>
                </a:cubicBezTo>
                <a:cubicBezTo>
                  <a:pt x="466" y="38"/>
                  <a:pt x="467" y="43"/>
                  <a:pt x="465" y="51"/>
                </a:cubicBezTo>
                <a:cubicBezTo>
                  <a:pt x="463" y="57"/>
                  <a:pt x="462" y="64"/>
                  <a:pt x="462" y="68"/>
                </a:cubicBezTo>
                <a:cubicBezTo>
                  <a:pt x="464" y="69"/>
                  <a:pt x="466" y="70"/>
                  <a:pt x="468" y="71"/>
                </a:cubicBezTo>
                <a:cubicBezTo>
                  <a:pt x="472" y="70"/>
                  <a:pt x="477" y="66"/>
                  <a:pt x="482" y="61"/>
                </a:cubicBezTo>
                <a:cubicBezTo>
                  <a:pt x="488" y="55"/>
                  <a:pt x="493" y="54"/>
                  <a:pt x="498" y="57"/>
                </a:cubicBezTo>
                <a:cubicBezTo>
                  <a:pt x="499" y="58"/>
                  <a:pt x="499" y="58"/>
                  <a:pt x="500" y="59"/>
                </a:cubicBezTo>
                <a:cubicBezTo>
                  <a:pt x="501" y="59"/>
                  <a:pt x="501" y="59"/>
                  <a:pt x="501" y="59"/>
                </a:cubicBezTo>
                <a:cubicBezTo>
                  <a:pt x="504" y="62"/>
                  <a:pt x="511" y="66"/>
                  <a:pt x="505" y="77"/>
                </a:cubicBezTo>
                <a:cubicBezTo>
                  <a:pt x="502" y="83"/>
                  <a:pt x="500" y="89"/>
                  <a:pt x="499" y="93"/>
                </a:cubicBezTo>
                <a:cubicBezTo>
                  <a:pt x="501" y="95"/>
                  <a:pt x="503" y="97"/>
                  <a:pt x="505" y="98"/>
                </a:cubicBezTo>
                <a:cubicBezTo>
                  <a:pt x="509" y="97"/>
                  <a:pt x="515" y="94"/>
                  <a:pt x="520" y="90"/>
                </a:cubicBezTo>
                <a:cubicBezTo>
                  <a:pt x="526" y="86"/>
                  <a:pt x="530" y="85"/>
                  <a:pt x="535" y="88"/>
                </a:cubicBezTo>
                <a:cubicBezTo>
                  <a:pt x="536" y="89"/>
                  <a:pt x="537" y="90"/>
                  <a:pt x="538" y="91"/>
                </a:cubicBezTo>
                <a:cubicBezTo>
                  <a:pt x="539" y="91"/>
                  <a:pt x="539" y="91"/>
                  <a:pt x="539" y="91"/>
                </a:cubicBezTo>
                <a:cubicBezTo>
                  <a:pt x="542" y="94"/>
                  <a:pt x="547" y="99"/>
                  <a:pt x="540" y="109"/>
                </a:cubicBezTo>
                <a:cubicBezTo>
                  <a:pt x="536" y="115"/>
                  <a:pt x="533" y="121"/>
                  <a:pt x="532" y="125"/>
                </a:cubicBezTo>
                <a:cubicBezTo>
                  <a:pt x="534" y="126"/>
                  <a:pt x="535" y="128"/>
                  <a:pt x="537" y="130"/>
                </a:cubicBezTo>
                <a:cubicBezTo>
                  <a:pt x="541" y="130"/>
                  <a:pt x="547" y="128"/>
                  <a:pt x="553" y="125"/>
                </a:cubicBezTo>
                <a:cubicBezTo>
                  <a:pt x="558" y="122"/>
                  <a:pt x="563" y="121"/>
                  <a:pt x="566" y="124"/>
                </a:cubicBezTo>
                <a:cubicBezTo>
                  <a:pt x="568" y="125"/>
                  <a:pt x="570" y="127"/>
                  <a:pt x="571" y="128"/>
                </a:cubicBezTo>
                <a:cubicBezTo>
                  <a:pt x="571" y="129"/>
                  <a:pt x="571" y="129"/>
                  <a:pt x="571" y="129"/>
                </a:cubicBezTo>
                <a:cubicBezTo>
                  <a:pt x="574" y="132"/>
                  <a:pt x="578" y="138"/>
                  <a:pt x="569" y="147"/>
                </a:cubicBezTo>
                <a:cubicBezTo>
                  <a:pt x="565" y="152"/>
                  <a:pt x="561" y="157"/>
                  <a:pt x="560" y="161"/>
                </a:cubicBezTo>
                <a:cubicBezTo>
                  <a:pt x="561" y="163"/>
                  <a:pt x="562" y="164"/>
                  <a:pt x="563" y="166"/>
                </a:cubicBezTo>
                <a:cubicBezTo>
                  <a:pt x="563" y="167"/>
                  <a:pt x="563" y="167"/>
                  <a:pt x="563" y="167"/>
                </a:cubicBezTo>
                <a:cubicBezTo>
                  <a:pt x="567" y="167"/>
                  <a:pt x="574" y="166"/>
                  <a:pt x="580" y="164"/>
                </a:cubicBezTo>
                <a:cubicBezTo>
                  <a:pt x="585" y="162"/>
                  <a:pt x="589" y="162"/>
                  <a:pt x="592" y="164"/>
                </a:cubicBezTo>
                <a:cubicBezTo>
                  <a:pt x="595" y="166"/>
                  <a:pt x="596" y="168"/>
                  <a:pt x="597" y="170"/>
                </a:cubicBezTo>
                <a:cubicBezTo>
                  <a:pt x="598" y="171"/>
                  <a:pt x="598" y="171"/>
                  <a:pt x="598" y="171"/>
                </a:cubicBezTo>
                <a:cubicBezTo>
                  <a:pt x="600" y="175"/>
                  <a:pt x="603" y="181"/>
                  <a:pt x="593" y="189"/>
                </a:cubicBezTo>
                <a:cubicBezTo>
                  <a:pt x="587" y="193"/>
                  <a:pt x="583" y="197"/>
                  <a:pt x="581" y="201"/>
                </a:cubicBezTo>
                <a:cubicBezTo>
                  <a:pt x="582" y="203"/>
                  <a:pt x="583" y="205"/>
                  <a:pt x="584" y="207"/>
                </a:cubicBezTo>
                <a:cubicBezTo>
                  <a:pt x="587" y="208"/>
                  <a:pt x="594" y="208"/>
                  <a:pt x="601" y="207"/>
                </a:cubicBezTo>
                <a:cubicBezTo>
                  <a:pt x="605" y="206"/>
                  <a:pt x="609" y="207"/>
                  <a:pt x="612" y="208"/>
                </a:cubicBezTo>
                <a:cubicBezTo>
                  <a:pt x="615" y="210"/>
                  <a:pt x="616" y="213"/>
                  <a:pt x="617" y="216"/>
                </a:cubicBezTo>
                <a:cubicBezTo>
                  <a:pt x="617" y="217"/>
                  <a:pt x="617" y="217"/>
                  <a:pt x="617" y="217"/>
                </a:cubicBezTo>
                <a:cubicBezTo>
                  <a:pt x="618" y="221"/>
                  <a:pt x="621" y="228"/>
                  <a:pt x="609" y="233"/>
                </a:cubicBezTo>
                <a:cubicBezTo>
                  <a:pt x="604" y="236"/>
                  <a:pt x="598" y="240"/>
                  <a:pt x="596" y="243"/>
                </a:cubicBezTo>
                <a:cubicBezTo>
                  <a:pt x="596" y="246"/>
                  <a:pt x="597" y="248"/>
                  <a:pt x="597" y="250"/>
                </a:cubicBezTo>
                <a:cubicBezTo>
                  <a:pt x="601" y="252"/>
                  <a:pt x="608" y="253"/>
                  <a:pt x="614" y="253"/>
                </a:cubicBezTo>
                <a:cubicBezTo>
                  <a:pt x="618" y="253"/>
                  <a:pt x="622" y="253"/>
                  <a:pt x="624" y="255"/>
                </a:cubicBezTo>
                <a:cubicBezTo>
                  <a:pt x="628" y="257"/>
                  <a:pt x="628" y="261"/>
                  <a:pt x="629" y="264"/>
                </a:cubicBezTo>
                <a:cubicBezTo>
                  <a:pt x="629" y="265"/>
                  <a:pt x="629" y="265"/>
                  <a:pt x="629" y="265"/>
                </a:cubicBezTo>
                <a:cubicBezTo>
                  <a:pt x="630" y="269"/>
                  <a:pt x="631" y="276"/>
                  <a:pt x="619" y="280"/>
                </a:cubicBezTo>
                <a:cubicBezTo>
                  <a:pt x="613" y="282"/>
                  <a:pt x="607" y="285"/>
                  <a:pt x="604" y="288"/>
                </a:cubicBezTo>
                <a:cubicBezTo>
                  <a:pt x="604" y="288"/>
                  <a:pt x="604" y="288"/>
                  <a:pt x="604" y="288"/>
                </a:cubicBezTo>
                <a:cubicBezTo>
                  <a:pt x="604" y="290"/>
                  <a:pt x="604" y="293"/>
                  <a:pt x="604" y="295"/>
                </a:cubicBezTo>
                <a:cubicBezTo>
                  <a:pt x="608" y="297"/>
                  <a:pt x="614" y="299"/>
                  <a:pt x="621" y="300"/>
                </a:cubicBezTo>
                <a:cubicBezTo>
                  <a:pt x="624" y="301"/>
                  <a:pt x="626" y="301"/>
                  <a:pt x="628" y="303"/>
                </a:cubicBezTo>
                <a:cubicBezTo>
                  <a:pt x="633" y="306"/>
                  <a:pt x="633" y="310"/>
                  <a:pt x="633" y="313"/>
                </a:cubicBezTo>
                <a:cubicBezTo>
                  <a:pt x="633" y="315"/>
                  <a:pt x="633" y="315"/>
                  <a:pt x="633" y="315"/>
                </a:cubicBezTo>
                <a:cubicBezTo>
                  <a:pt x="633" y="319"/>
                  <a:pt x="633" y="326"/>
                  <a:pt x="621" y="328"/>
                </a:cubicBezTo>
                <a:cubicBezTo>
                  <a:pt x="614" y="329"/>
                  <a:pt x="608" y="331"/>
                  <a:pt x="605" y="333"/>
                </a:cubicBezTo>
                <a:cubicBezTo>
                  <a:pt x="605" y="336"/>
                  <a:pt x="604" y="338"/>
                  <a:pt x="604" y="340"/>
                </a:cubicBezTo>
                <a:cubicBezTo>
                  <a:pt x="607" y="343"/>
                  <a:pt x="613" y="346"/>
                  <a:pt x="620" y="348"/>
                </a:cubicBezTo>
                <a:cubicBezTo>
                  <a:pt x="622" y="349"/>
                  <a:pt x="624" y="349"/>
                  <a:pt x="625" y="350"/>
                </a:cubicBezTo>
                <a:cubicBezTo>
                  <a:pt x="631" y="354"/>
                  <a:pt x="630" y="360"/>
                  <a:pt x="630" y="363"/>
                </a:cubicBezTo>
                <a:cubicBezTo>
                  <a:pt x="630" y="364"/>
                  <a:pt x="630" y="364"/>
                  <a:pt x="630" y="364"/>
                </a:cubicBezTo>
                <a:cubicBezTo>
                  <a:pt x="629" y="368"/>
                  <a:pt x="628" y="376"/>
                  <a:pt x="615" y="375"/>
                </a:cubicBezTo>
                <a:cubicBezTo>
                  <a:pt x="609" y="375"/>
                  <a:pt x="602" y="377"/>
                  <a:pt x="599" y="378"/>
                </a:cubicBezTo>
                <a:cubicBezTo>
                  <a:pt x="598" y="380"/>
                  <a:pt x="598" y="383"/>
                  <a:pt x="597" y="385"/>
                </a:cubicBezTo>
                <a:cubicBezTo>
                  <a:pt x="599" y="388"/>
                  <a:pt x="605" y="392"/>
                  <a:pt x="611" y="395"/>
                </a:cubicBezTo>
                <a:cubicBezTo>
                  <a:pt x="612" y="396"/>
                  <a:pt x="613" y="396"/>
                  <a:pt x="614" y="397"/>
                </a:cubicBezTo>
                <a:cubicBezTo>
                  <a:pt x="622" y="402"/>
                  <a:pt x="620" y="408"/>
                  <a:pt x="619" y="411"/>
                </a:cubicBezTo>
                <a:cubicBezTo>
                  <a:pt x="618" y="412"/>
                  <a:pt x="618" y="412"/>
                  <a:pt x="618" y="412"/>
                </a:cubicBezTo>
                <a:cubicBezTo>
                  <a:pt x="617" y="416"/>
                  <a:pt x="615" y="424"/>
                  <a:pt x="603" y="421"/>
                </a:cubicBezTo>
                <a:cubicBezTo>
                  <a:pt x="596" y="420"/>
                  <a:pt x="589" y="420"/>
                  <a:pt x="585" y="422"/>
                </a:cubicBezTo>
                <a:cubicBezTo>
                  <a:pt x="585" y="424"/>
                  <a:pt x="584" y="426"/>
                  <a:pt x="583" y="428"/>
                </a:cubicBezTo>
                <a:cubicBezTo>
                  <a:pt x="583" y="428"/>
                  <a:pt x="583" y="428"/>
                  <a:pt x="583" y="428"/>
                </a:cubicBezTo>
                <a:cubicBezTo>
                  <a:pt x="585" y="431"/>
                  <a:pt x="590" y="436"/>
                  <a:pt x="595" y="440"/>
                </a:cubicBezTo>
                <a:cubicBezTo>
                  <a:pt x="605" y="447"/>
                  <a:pt x="602" y="454"/>
                  <a:pt x="600" y="457"/>
                </a:cubicBezTo>
                <a:cubicBezTo>
                  <a:pt x="600" y="458"/>
                  <a:pt x="600" y="458"/>
                  <a:pt x="600" y="458"/>
                </a:cubicBezTo>
                <a:cubicBezTo>
                  <a:pt x="598" y="462"/>
                  <a:pt x="595" y="469"/>
                  <a:pt x="583" y="465"/>
                </a:cubicBezTo>
                <a:cubicBezTo>
                  <a:pt x="576" y="463"/>
                  <a:pt x="570" y="462"/>
                  <a:pt x="566" y="462"/>
                </a:cubicBezTo>
                <a:cubicBezTo>
                  <a:pt x="565" y="464"/>
                  <a:pt x="563" y="466"/>
                  <a:pt x="562" y="468"/>
                </a:cubicBezTo>
                <a:cubicBezTo>
                  <a:pt x="564" y="472"/>
                  <a:pt x="568" y="477"/>
                  <a:pt x="572" y="482"/>
                </a:cubicBezTo>
                <a:cubicBezTo>
                  <a:pt x="581" y="491"/>
                  <a:pt x="577" y="497"/>
                  <a:pt x="575" y="500"/>
                </a:cubicBezTo>
                <a:cubicBezTo>
                  <a:pt x="574" y="501"/>
                  <a:pt x="574" y="501"/>
                  <a:pt x="574" y="501"/>
                </a:cubicBezTo>
                <a:cubicBezTo>
                  <a:pt x="572" y="504"/>
                  <a:pt x="567" y="510"/>
                  <a:pt x="556" y="504"/>
                </a:cubicBezTo>
                <a:cubicBezTo>
                  <a:pt x="550" y="502"/>
                  <a:pt x="544" y="500"/>
                  <a:pt x="540" y="499"/>
                </a:cubicBezTo>
                <a:cubicBezTo>
                  <a:pt x="538" y="501"/>
                  <a:pt x="537" y="503"/>
                  <a:pt x="535" y="505"/>
                </a:cubicBezTo>
                <a:cubicBezTo>
                  <a:pt x="536" y="509"/>
                  <a:pt x="539" y="515"/>
                  <a:pt x="543" y="520"/>
                </a:cubicBezTo>
                <a:cubicBezTo>
                  <a:pt x="551" y="530"/>
                  <a:pt x="546" y="535"/>
                  <a:pt x="543" y="538"/>
                </a:cubicBezTo>
                <a:cubicBezTo>
                  <a:pt x="542" y="539"/>
                  <a:pt x="542" y="539"/>
                  <a:pt x="542" y="539"/>
                </a:cubicBezTo>
                <a:cubicBezTo>
                  <a:pt x="539" y="542"/>
                  <a:pt x="535" y="547"/>
                  <a:pt x="526" y="541"/>
                </a:cubicBezTo>
                <a:cubicBezTo>
                  <a:pt x="525" y="541"/>
                  <a:pt x="525" y="540"/>
                  <a:pt x="524" y="540"/>
                </a:cubicBezTo>
                <a:cubicBezTo>
                  <a:pt x="523" y="539"/>
                  <a:pt x="522" y="538"/>
                  <a:pt x="521" y="538"/>
                </a:cubicBezTo>
                <a:cubicBezTo>
                  <a:pt x="516" y="535"/>
                  <a:pt x="512" y="533"/>
                  <a:pt x="509" y="532"/>
                </a:cubicBezTo>
                <a:cubicBezTo>
                  <a:pt x="507" y="534"/>
                  <a:pt x="505" y="535"/>
                  <a:pt x="503" y="537"/>
                </a:cubicBezTo>
                <a:cubicBezTo>
                  <a:pt x="503" y="541"/>
                  <a:pt x="506" y="547"/>
                  <a:pt x="509" y="553"/>
                </a:cubicBezTo>
                <a:cubicBezTo>
                  <a:pt x="515" y="564"/>
                  <a:pt x="509" y="568"/>
                  <a:pt x="505" y="571"/>
                </a:cubicBezTo>
                <a:cubicBezTo>
                  <a:pt x="504" y="571"/>
                  <a:pt x="504" y="571"/>
                  <a:pt x="504" y="571"/>
                </a:cubicBezTo>
                <a:cubicBezTo>
                  <a:pt x="502" y="573"/>
                  <a:pt x="497" y="577"/>
                  <a:pt x="491" y="573"/>
                </a:cubicBezTo>
                <a:cubicBezTo>
                  <a:pt x="489" y="572"/>
                  <a:pt x="488" y="571"/>
                  <a:pt x="486" y="569"/>
                </a:cubicBezTo>
                <a:cubicBezTo>
                  <a:pt x="482" y="565"/>
                  <a:pt x="476" y="561"/>
                  <a:pt x="473" y="559"/>
                </a:cubicBezTo>
                <a:cubicBezTo>
                  <a:pt x="471" y="561"/>
                  <a:pt x="469" y="562"/>
                  <a:pt x="467" y="563"/>
                </a:cubicBezTo>
                <a:cubicBezTo>
                  <a:pt x="466" y="567"/>
                  <a:pt x="467" y="574"/>
                  <a:pt x="469" y="580"/>
                </a:cubicBezTo>
                <a:cubicBezTo>
                  <a:pt x="474" y="592"/>
                  <a:pt x="467" y="595"/>
                  <a:pt x="463" y="597"/>
                </a:cubicBezTo>
                <a:cubicBezTo>
                  <a:pt x="462" y="598"/>
                  <a:pt x="462" y="598"/>
                  <a:pt x="462" y="598"/>
                </a:cubicBezTo>
                <a:cubicBezTo>
                  <a:pt x="460" y="599"/>
                  <a:pt x="455" y="601"/>
                  <a:pt x="450" y="598"/>
                </a:cubicBezTo>
                <a:cubicBezTo>
                  <a:pt x="448" y="597"/>
                  <a:pt x="447" y="595"/>
                  <a:pt x="445" y="593"/>
                </a:cubicBezTo>
                <a:cubicBezTo>
                  <a:pt x="441" y="587"/>
                  <a:pt x="436" y="583"/>
                  <a:pt x="433" y="581"/>
                </a:cubicBezTo>
                <a:cubicBezTo>
                  <a:pt x="430" y="582"/>
                  <a:pt x="428" y="583"/>
                  <a:pt x="426" y="584"/>
                </a:cubicBezTo>
                <a:cubicBezTo>
                  <a:pt x="425" y="587"/>
                  <a:pt x="425" y="594"/>
                  <a:pt x="426" y="601"/>
                </a:cubicBezTo>
                <a:cubicBezTo>
                  <a:pt x="429" y="613"/>
                  <a:pt x="421" y="615"/>
                  <a:pt x="418" y="617"/>
                </a:cubicBezTo>
                <a:cubicBezTo>
                  <a:pt x="416" y="617"/>
                  <a:pt x="416" y="617"/>
                  <a:pt x="416" y="617"/>
                </a:cubicBezTo>
                <a:cubicBezTo>
                  <a:pt x="414" y="618"/>
                  <a:pt x="410" y="619"/>
                  <a:pt x="406" y="617"/>
                </a:cubicBezTo>
                <a:cubicBezTo>
                  <a:pt x="404" y="615"/>
                  <a:pt x="402" y="613"/>
                  <a:pt x="400" y="609"/>
                </a:cubicBezTo>
                <a:cubicBezTo>
                  <a:pt x="397" y="603"/>
                  <a:pt x="393" y="598"/>
                  <a:pt x="390" y="596"/>
                </a:cubicBezTo>
                <a:cubicBezTo>
                  <a:pt x="388" y="596"/>
                  <a:pt x="385" y="597"/>
                  <a:pt x="383" y="597"/>
                </a:cubicBezTo>
                <a:cubicBezTo>
                  <a:pt x="381" y="601"/>
                  <a:pt x="380" y="608"/>
                  <a:pt x="380" y="614"/>
                </a:cubicBezTo>
                <a:cubicBezTo>
                  <a:pt x="381" y="627"/>
                  <a:pt x="373" y="628"/>
                  <a:pt x="369" y="629"/>
                </a:cubicBezTo>
                <a:cubicBezTo>
                  <a:pt x="368" y="629"/>
                  <a:pt x="368" y="629"/>
                  <a:pt x="368" y="629"/>
                </a:cubicBezTo>
                <a:cubicBezTo>
                  <a:pt x="366" y="629"/>
                  <a:pt x="362" y="630"/>
                  <a:pt x="359" y="628"/>
                </a:cubicBezTo>
                <a:cubicBezTo>
                  <a:pt x="356" y="626"/>
                  <a:pt x="355" y="623"/>
                  <a:pt x="353" y="619"/>
                </a:cubicBezTo>
                <a:cubicBezTo>
                  <a:pt x="351" y="613"/>
                  <a:pt x="348" y="607"/>
                  <a:pt x="345" y="604"/>
                </a:cubicBezTo>
                <a:cubicBezTo>
                  <a:pt x="343" y="604"/>
                  <a:pt x="341" y="604"/>
                  <a:pt x="338" y="604"/>
                </a:cubicBezTo>
                <a:cubicBezTo>
                  <a:pt x="336" y="608"/>
                  <a:pt x="334" y="614"/>
                  <a:pt x="333" y="621"/>
                </a:cubicBezTo>
                <a:cubicBezTo>
                  <a:pt x="332" y="633"/>
                  <a:pt x="324" y="633"/>
                  <a:pt x="320" y="633"/>
                </a:cubicBezTo>
                <a:cubicBezTo>
                  <a:pt x="319" y="633"/>
                  <a:pt x="319" y="633"/>
                  <a:pt x="319" y="633"/>
                </a:cubicBezTo>
                <a:cubicBezTo>
                  <a:pt x="317" y="633"/>
                  <a:pt x="314" y="633"/>
                  <a:pt x="311" y="631"/>
                </a:cubicBezTo>
                <a:cubicBezTo>
                  <a:pt x="308" y="630"/>
                  <a:pt x="306" y="626"/>
                  <a:pt x="305" y="621"/>
                </a:cubicBezTo>
                <a:cubicBezTo>
                  <a:pt x="304" y="614"/>
                  <a:pt x="302" y="608"/>
                  <a:pt x="300" y="605"/>
                </a:cubicBezTo>
                <a:cubicBezTo>
                  <a:pt x="298" y="605"/>
                  <a:pt x="295" y="604"/>
                  <a:pt x="293" y="604"/>
                </a:cubicBezTo>
                <a:cubicBezTo>
                  <a:pt x="290" y="607"/>
                  <a:pt x="287" y="613"/>
                  <a:pt x="285" y="620"/>
                </a:cubicBezTo>
                <a:cubicBezTo>
                  <a:pt x="282" y="632"/>
                  <a:pt x="274" y="630"/>
                  <a:pt x="270" y="630"/>
                </a:cubicBezTo>
                <a:cubicBezTo>
                  <a:pt x="269" y="629"/>
                  <a:pt x="269" y="629"/>
                  <a:pt x="269" y="629"/>
                </a:cubicBezTo>
                <a:cubicBezTo>
                  <a:pt x="267" y="629"/>
                  <a:pt x="265" y="629"/>
                  <a:pt x="263" y="628"/>
                </a:cubicBezTo>
                <a:cubicBezTo>
                  <a:pt x="260" y="625"/>
                  <a:pt x="258" y="621"/>
                  <a:pt x="258" y="615"/>
                </a:cubicBezTo>
                <a:cubicBezTo>
                  <a:pt x="258" y="609"/>
                  <a:pt x="257" y="602"/>
                  <a:pt x="255" y="599"/>
                </a:cubicBezTo>
                <a:cubicBezTo>
                  <a:pt x="253" y="598"/>
                  <a:pt x="251" y="597"/>
                  <a:pt x="248" y="597"/>
                </a:cubicBezTo>
                <a:cubicBezTo>
                  <a:pt x="245" y="599"/>
                  <a:pt x="241" y="605"/>
                  <a:pt x="238" y="611"/>
                </a:cubicBezTo>
                <a:cubicBezTo>
                  <a:pt x="233" y="622"/>
                  <a:pt x="226" y="620"/>
                  <a:pt x="222" y="619"/>
                </a:cubicBezTo>
                <a:cubicBezTo>
                  <a:pt x="221" y="618"/>
                  <a:pt x="221" y="618"/>
                  <a:pt x="221" y="618"/>
                </a:cubicBezTo>
                <a:cubicBezTo>
                  <a:pt x="220" y="618"/>
                  <a:pt x="218" y="617"/>
                  <a:pt x="216" y="616"/>
                </a:cubicBezTo>
                <a:cubicBezTo>
                  <a:pt x="212" y="614"/>
                  <a:pt x="211" y="609"/>
                  <a:pt x="212" y="602"/>
                </a:cubicBezTo>
                <a:cubicBezTo>
                  <a:pt x="213" y="596"/>
                  <a:pt x="213" y="589"/>
                  <a:pt x="212" y="585"/>
                </a:cubicBezTo>
                <a:cubicBezTo>
                  <a:pt x="210" y="585"/>
                  <a:pt x="208" y="584"/>
                  <a:pt x="205" y="583"/>
                </a:cubicBezTo>
                <a:cubicBezTo>
                  <a:pt x="205" y="583"/>
                  <a:pt x="205" y="583"/>
                  <a:pt x="205" y="583"/>
                </a:cubicBezTo>
                <a:cubicBezTo>
                  <a:pt x="202" y="585"/>
                  <a:pt x="197" y="589"/>
                  <a:pt x="193" y="595"/>
                </a:cubicBezTo>
                <a:cubicBezTo>
                  <a:pt x="186" y="605"/>
                  <a:pt x="180" y="602"/>
                  <a:pt x="176" y="600"/>
                </a:cubicBezTo>
                <a:cubicBezTo>
                  <a:pt x="175" y="600"/>
                  <a:pt x="175" y="600"/>
                  <a:pt x="175" y="600"/>
                </a:cubicBezTo>
                <a:cubicBezTo>
                  <a:pt x="174" y="599"/>
                  <a:pt x="173" y="599"/>
                  <a:pt x="172" y="598"/>
                </a:cubicBezTo>
                <a:cubicBezTo>
                  <a:pt x="167" y="595"/>
                  <a:pt x="166" y="590"/>
                  <a:pt x="169" y="583"/>
                </a:cubicBezTo>
                <a:cubicBezTo>
                  <a:pt x="171" y="576"/>
                  <a:pt x="172" y="570"/>
                  <a:pt x="171" y="566"/>
                </a:cubicBezTo>
                <a:cubicBezTo>
                  <a:pt x="169" y="565"/>
                  <a:pt x="167" y="563"/>
                  <a:pt x="165" y="562"/>
                </a:cubicBezTo>
                <a:cubicBezTo>
                  <a:pt x="161" y="564"/>
                  <a:pt x="156" y="567"/>
                  <a:pt x="151" y="572"/>
                </a:cubicBezTo>
                <a:cubicBezTo>
                  <a:pt x="146" y="578"/>
                  <a:pt x="141" y="579"/>
                  <a:pt x="135" y="576"/>
                </a:cubicBezTo>
                <a:close/>
                <a:moveTo>
                  <a:pt x="131" y="531"/>
                </a:moveTo>
                <a:cubicBezTo>
                  <a:pt x="131" y="531"/>
                  <a:pt x="131" y="531"/>
                  <a:pt x="131" y="531"/>
                </a:cubicBezTo>
                <a:cubicBezTo>
                  <a:pt x="133" y="533"/>
                  <a:pt x="136" y="535"/>
                  <a:pt x="138" y="537"/>
                </a:cubicBezTo>
                <a:cubicBezTo>
                  <a:pt x="139" y="537"/>
                  <a:pt x="139" y="538"/>
                  <a:pt x="139" y="538"/>
                </a:cubicBezTo>
                <a:cubicBezTo>
                  <a:pt x="139" y="544"/>
                  <a:pt x="136" y="552"/>
                  <a:pt x="133" y="558"/>
                </a:cubicBezTo>
                <a:cubicBezTo>
                  <a:pt x="129" y="566"/>
                  <a:pt x="132" y="567"/>
                  <a:pt x="135" y="570"/>
                </a:cubicBezTo>
                <a:cubicBezTo>
                  <a:pt x="136" y="571"/>
                  <a:pt x="136" y="571"/>
                  <a:pt x="136" y="571"/>
                </a:cubicBezTo>
                <a:cubicBezTo>
                  <a:pt x="137" y="571"/>
                  <a:pt x="137" y="571"/>
                  <a:pt x="138" y="572"/>
                </a:cubicBezTo>
                <a:cubicBezTo>
                  <a:pt x="140" y="573"/>
                  <a:pt x="142" y="574"/>
                  <a:pt x="148" y="569"/>
                </a:cubicBezTo>
                <a:cubicBezTo>
                  <a:pt x="152" y="564"/>
                  <a:pt x="159" y="558"/>
                  <a:pt x="165" y="557"/>
                </a:cubicBezTo>
                <a:cubicBezTo>
                  <a:pt x="165" y="557"/>
                  <a:pt x="166" y="557"/>
                  <a:pt x="167" y="557"/>
                </a:cubicBezTo>
                <a:cubicBezTo>
                  <a:pt x="169" y="559"/>
                  <a:pt x="172" y="560"/>
                  <a:pt x="174" y="562"/>
                </a:cubicBezTo>
                <a:cubicBezTo>
                  <a:pt x="175" y="562"/>
                  <a:pt x="175" y="562"/>
                  <a:pt x="175" y="562"/>
                </a:cubicBezTo>
                <a:cubicBezTo>
                  <a:pt x="175" y="562"/>
                  <a:pt x="176" y="563"/>
                  <a:pt x="176" y="564"/>
                </a:cubicBezTo>
                <a:cubicBezTo>
                  <a:pt x="177" y="569"/>
                  <a:pt x="175" y="578"/>
                  <a:pt x="173" y="584"/>
                </a:cubicBezTo>
                <a:cubicBezTo>
                  <a:pt x="171" y="591"/>
                  <a:pt x="173" y="593"/>
                  <a:pt x="175" y="594"/>
                </a:cubicBezTo>
                <a:cubicBezTo>
                  <a:pt x="175" y="594"/>
                  <a:pt x="176" y="595"/>
                  <a:pt x="177" y="595"/>
                </a:cubicBezTo>
                <a:cubicBezTo>
                  <a:pt x="178" y="596"/>
                  <a:pt x="178" y="596"/>
                  <a:pt x="178" y="596"/>
                </a:cubicBezTo>
                <a:cubicBezTo>
                  <a:pt x="182" y="597"/>
                  <a:pt x="185" y="599"/>
                  <a:pt x="189" y="592"/>
                </a:cubicBezTo>
                <a:cubicBezTo>
                  <a:pt x="193" y="587"/>
                  <a:pt x="199" y="580"/>
                  <a:pt x="204" y="578"/>
                </a:cubicBezTo>
                <a:cubicBezTo>
                  <a:pt x="205" y="577"/>
                  <a:pt x="206" y="577"/>
                  <a:pt x="206" y="578"/>
                </a:cubicBezTo>
                <a:cubicBezTo>
                  <a:pt x="207" y="578"/>
                  <a:pt x="207" y="578"/>
                  <a:pt x="207" y="578"/>
                </a:cubicBezTo>
                <a:cubicBezTo>
                  <a:pt x="210" y="579"/>
                  <a:pt x="212" y="580"/>
                  <a:pt x="215" y="581"/>
                </a:cubicBezTo>
                <a:cubicBezTo>
                  <a:pt x="215" y="581"/>
                  <a:pt x="216" y="582"/>
                  <a:pt x="216" y="583"/>
                </a:cubicBezTo>
                <a:cubicBezTo>
                  <a:pt x="218" y="588"/>
                  <a:pt x="218" y="597"/>
                  <a:pt x="217" y="603"/>
                </a:cubicBezTo>
                <a:cubicBezTo>
                  <a:pt x="216" y="610"/>
                  <a:pt x="218" y="611"/>
                  <a:pt x="219" y="612"/>
                </a:cubicBezTo>
                <a:cubicBezTo>
                  <a:pt x="220" y="613"/>
                  <a:pt x="221" y="613"/>
                  <a:pt x="222" y="613"/>
                </a:cubicBezTo>
                <a:cubicBezTo>
                  <a:pt x="224" y="614"/>
                  <a:pt x="224" y="614"/>
                  <a:pt x="224" y="614"/>
                </a:cubicBezTo>
                <a:cubicBezTo>
                  <a:pt x="227" y="615"/>
                  <a:pt x="230" y="616"/>
                  <a:pt x="234" y="609"/>
                </a:cubicBezTo>
                <a:cubicBezTo>
                  <a:pt x="237" y="603"/>
                  <a:pt x="242" y="595"/>
                  <a:pt x="246" y="592"/>
                </a:cubicBezTo>
                <a:cubicBezTo>
                  <a:pt x="247" y="592"/>
                  <a:pt x="248" y="592"/>
                  <a:pt x="248" y="592"/>
                </a:cubicBezTo>
                <a:cubicBezTo>
                  <a:pt x="251" y="593"/>
                  <a:pt x="254" y="593"/>
                  <a:pt x="257" y="594"/>
                </a:cubicBezTo>
                <a:cubicBezTo>
                  <a:pt x="258" y="594"/>
                  <a:pt x="259" y="594"/>
                  <a:pt x="259" y="595"/>
                </a:cubicBezTo>
                <a:cubicBezTo>
                  <a:pt x="262" y="600"/>
                  <a:pt x="263" y="609"/>
                  <a:pt x="263" y="615"/>
                </a:cubicBezTo>
                <a:cubicBezTo>
                  <a:pt x="263" y="622"/>
                  <a:pt x="265" y="623"/>
                  <a:pt x="266" y="623"/>
                </a:cubicBezTo>
                <a:cubicBezTo>
                  <a:pt x="267" y="624"/>
                  <a:pt x="268" y="624"/>
                  <a:pt x="270" y="624"/>
                </a:cubicBezTo>
                <a:cubicBezTo>
                  <a:pt x="271" y="625"/>
                  <a:pt x="271" y="625"/>
                  <a:pt x="271" y="625"/>
                </a:cubicBezTo>
                <a:cubicBezTo>
                  <a:pt x="275" y="625"/>
                  <a:pt x="278" y="626"/>
                  <a:pt x="281" y="618"/>
                </a:cubicBezTo>
                <a:cubicBezTo>
                  <a:pt x="283" y="612"/>
                  <a:pt x="286" y="604"/>
                  <a:pt x="290" y="600"/>
                </a:cubicBezTo>
                <a:cubicBezTo>
                  <a:pt x="291" y="599"/>
                  <a:pt x="291" y="599"/>
                  <a:pt x="292" y="599"/>
                </a:cubicBezTo>
                <a:cubicBezTo>
                  <a:pt x="295" y="599"/>
                  <a:pt x="298" y="600"/>
                  <a:pt x="301" y="600"/>
                </a:cubicBezTo>
                <a:cubicBezTo>
                  <a:pt x="302" y="600"/>
                  <a:pt x="303" y="600"/>
                  <a:pt x="303" y="601"/>
                </a:cubicBezTo>
                <a:cubicBezTo>
                  <a:pt x="307" y="605"/>
                  <a:pt x="309" y="614"/>
                  <a:pt x="310" y="620"/>
                </a:cubicBezTo>
                <a:cubicBezTo>
                  <a:pt x="311" y="624"/>
                  <a:pt x="312" y="626"/>
                  <a:pt x="314" y="627"/>
                </a:cubicBezTo>
                <a:cubicBezTo>
                  <a:pt x="315" y="628"/>
                  <a:pt x="317" y="628"/>
                  <a:pt x="319" y="628"/>
                </a:cubicBezTo>
                <a:cubicBezTo>
                  <a:pt x="320" y="628"/>
                  <a:pt x="320" y="628"/>
                  <a:pt x="320" y="628"/>
                </a:cubicBezTo>
                <a:cubicBezTo>
                  <a:pt x="324" y="628"/>
                  <a:pt x="327" y="628"/>
                  <a:pt x="328" y="620"/>
                </a:cubicBezTo>
                <a:cubicBezTo>
                  <a:pt x="329" y="613"/>
                  <a:pt x="331" y="605"/>
                  <a:pt x="335" y="600"/>
                </a:cubicBezTo>
                <a:cubicBezTo>
                  <a:pt x="335" y="600"/>
                  <a:pt x="336" y="600"/>
                  <a:pt x="337" y="600"/>
                </a:cubicBezTo>
                <a:cubicBezTo>
                  <a:pt x="340" y="599"/>
                  <a:pt x="343" y="599"/>
                  <a:pt x="346" y="599"/>
                </a:cubicBezTo>
                <a:cubicBezTo>
                  <a:pt x="347" y="599"/>
                  <a:pt x="347" y="599"/>
                  <a:pt x="348" y="599"/>
                </a:cubicBezTo>
                <a:cubicBezTo>
                  <a:pt x="352" y="603"/>
                  <a:pt x="356" y="611"/>
                  <a:pt x="358" y="617"/>
                </a:cubicBezTo>
                <a:cubicBezTo>
                  <a:pt x="359" y="621"/>
                  <a:pt x="360" y="623"/>
                  <a:pt x="362" y="624"/>
                </a:cubicBezTo>
                <a:cubicBezTo>
                  <a:pt x="363" y="625"/>
                  <a:pt x="365" y="624"/>
                  <a:pt x="367" y="624"/>
                </a:cubicBezTo>
                <a:cubicBezTo>
                  <a:pt x="369" y="624"/>
                  <a:pt x="369" y="624"/>
                  <a:pt x="369" y="624"/>
                </a:cubicBezTo>
                <a:cubicBezTo>
                  <a:pt x="373" y="623"/>
                  <a:pt x="376" y="623"/>
                  <a:pt x="375" y="615"/>
                </a:cubicBezTo>
                <a:cubicBezTo>
                  <a:pt x="375" y="608"/>
                  <a:pt x="376" y="599"/>
                  <a:pt x="379" y="594"/>
                </a:cubicBezTo>
                <a:cubicBezTo>
                  <a:pt x="379" y="593"/>
                  <a:pt x="380" y="593"/>
                  <a:pt x="381" y="593"/>
                </a:cubicBezTo>
                <a:cubicBezTo>
                  <a:pt x="384" y="592"/>
                  <a:pt x="387" y="591"/>
                  <a:pt x="390" y="591"/>
                </a:cubicBezTo>
                <a:cubicBezTo>
                  <a:pt x="390" y="590"/>
                  <a:pt x="391" y="590"/>
                  <a:pt x="392" y="591"/>
                </a:cubicBezTo>
                <a:cubicBezTo>
                  <a:pt x="396" y="594"/>
                  <a:pt x="401" y="601"/>
                  <a:pt x="405" y="607"/>
                </a:cubicBezTo>
                <a:cubicBezTo>
                  <a:pt x="406" y="610"/>
                  <a:pt x="407" y="612"/>
                  <a:pt x="408" y="612"/>
                </a:cubicBezTo>
                <a:cubicBezTo>
                  <a:pt x="410" y="614"/>
                  <a:pt x="412" y="613"/>
                  <a:pt x="415" y="612"/>
                </a:cubicBezTo>
                <a:cubicBezTo>
                  <a:pt x="416" y="612"/>
                  <a:pt x="416" y="612"/>
                  <a:pt x="416" y="612"/>
                </a:cubicBezTo>
                <a:cubicBezTo>
                  <a:pt x="420" y="611"/>
                  <a:pt x="423" y="610"/>
                  <a:pt x="421" y="602"/>
                </a:cubicBezTo>
                <a:cubicBezTo>
                  <a:pt x="420" y="595"/>
                  <a:pt x="420" y="586"/>
                  <a:pt x="422" y="581"/>
                </a:cubicBezTo>
                <a:cubicBezTo>
                  <a:pt x="422" y="580"/>
                  <a:pt x="422" y="580"/>
                  <a:pt x="423" y="579"/>
                </a:cubicBezTo>
                <a:cubicBezTo>
                  <a:pt x="426" y="578"/>
                  <a:pt x="429" y="577"/>
                  <a:pt x="432" y="576"/>
                </a:cubicBezTo>
                <a:cubicBezTo>
                  <a:pt x="432" y="576"/>
                  <a:pt x="433" y="576"/>
                  <a:pt x="434" y="576"/>
                </a:cubicBezTo>
                <a:cubicBezTo>
                  <a:pt x="438" y="578"/>
                  <a:pt x="444" y="583"/>
                  <a:pt x="449" y="590"/>
                </a:cubicBezTo>
                <a:cubicBezTo>
                  <a:pt x="450" y="592"/>
                  <a:pt x="452" y="593"/>
                  <a:pt x="453" y="594"/>
                </a:cubicBezTo>
                <a:cubicBezTo>
                  <a:pt x="455" y="595"/>
                  <a:pt x="457" y="595"/>
                  <a:pt x="460" y="593"/>
                </a:cubicBezTo>
                <a:cubicBezTo>
                  <a:pt x="461" y="593"/>
                  <a:pt x="461" y="593"/>
                  <a:pt x="461" y="593"/>
                </a:cubicBezTo>
                <a:cubicBezTo>
                  <a:pt x="465" y="591"/>
                  <a:pt x="467" y="589"/>
                  <a:pt x="465" y="582"/>
                </a:cubicBezTo>
                <a:cubicBezTo>
                  <a:pt x="462" y="575"/>
                  <a:pt x="461" y="567"/>
                  <a:pt x="462" y="561"/>
                </a:cubicBezTo>
                <a:cubicBezTo>
                  <a:pt x="462" y="560"/>
                  <a:pt x="462" y="560"/>
                  <a:pt x="463" y="560"/>
                </a:cubicBezTo>
                <a:cubicBezTo>
                  <a:pt x="463" y="559"/>
                  <a:pt x="463" y="559"/>
                  <a:pt x="463" y="559"/>
                </a:cubicBezTo>
                <a:cubicBezTo>
                  <a:pt x="466" y="558"/>
                  <a:pt x="468" y="556"/>
                  <a:pt x="471" y="555"/>
                </a:cubicBezTo>
                <a:cubicBezTo>
                  <a:pt x="471" y="554"/>
                  <a:pt x="472" y="554"/>
                  <a:pt x="473" y="554"/>
                </a:cubicBezTo>
                <a:cubicBezTo>
                  <a:pt x="478" y="556"/>
                  <a:pt x="484" y="560"/>
                  <a:pt x="490" y="566"/>
                </a:cubicBezTo>
                <a:cubicBezTo>
                  <a:pt x="491" y="567"/>
                  <a:pt x="492" y="568"/>
                  <a:pt x="493" y="569"/>
                </a:cubicBezTo>
                <a:cubicBezTo>
                  <a:pt x="497" y="571"/>
                  <a:pt x="499" y="570"/>
                  <a:pt x="501" y="567"/>
                </a:cubicBezTo>
                <a:cubicBezTo>
                  <a:pt x="502" y="567"/>
                  <a:pt x="502" y="567"/>
                  <a:pt x="502" y="567"/>
                </a:cubicBezTo>
                <a:cubicBezTo>
                  <a:pt x="506" y="564"/>
                  <a:pt x="508" y="562"/>
                  <a:pt x="504" y="555"/>
                </a:cubicBezTo>
                <a:cubicBezTo>
                  <a:pt x="501" y="549"/>
                  <a:pt x="498" y="541"/>
                  <a:pt x="498" y="535"/>
                </a:cubicBezTo>
                <a:cubicBezTo>
                  <a:pt x="498" y="535"/>
                  <a:pt x="499" y="534"/>
                  <a:pt x="499" y="534"/>
                </a:cubicBezTo>
                <a:cubicBezTo>
                  <a:pt x="501" y="532"/>
                  <a:pt x="504" y="530"/>
                  <a:pt x="506" y="528"/>
                </a:cubicBezTo>
                <a:cubicBezTo>
                  <a:pt x="507" y="527"/>
                  <a:pt x="507" y="527"/>
                  <a:pt x="508" y="527"/>
                </a:cubicBezTo>
                <a:cubicBezTo>
                  <a:pt x="514" y="528"/>
                  <a:pt x="521" y="532"/>
                  <a:pt x="524" y="534"/>
                </a:cubicBezTo>
                <a:cubicBezTo>
                  <a:pt x="525" y="534"/>
                  <a:pt x="526" y="535"/>
                  <a:pt x="527" y="536"/>
                </a:cubicBezTo>
                <a:cubicBezTo>
                  <a:pt x="527" y="536"/>
                  <a:pt x="528" y="536"/>
                  <a:pt x="528" y="537"/>
                </a:cubicBezTo>
                <a:cubicBezTo>
                  <a:pt x="534" y="540"/>
                  <a:pt x="536" y="538"/>
                  <a:pt x="538" y="535"/>
                </a:cubicBezTo>
                <a:cubicBezTo>
                  <a:pt x="539" y="534"/>
                  <a:pt x="539" y="534"/>
                  <a:pt x="539" y="534"/>
                </a:cubicBezTo>
                <a:cubicBezTo>
                  <a:pt x="542" y="532"/>
                  <a:pt x="544" y="529"/>
                  <a:pt x="539" y="523"/>
                </a:cubicBezTo>
                <a:cubicBezTo>
                  <a:pt x="535" y="518"/>
                  <a:pt x="531" y="510"/>
                  <a:pt x="530" y="504"/>
                </a:cubicBezTo>
                <a:cubicBezTo>
                  <a:pt x="530" y="504"/>
                  <a:pt x="530" y="503"/>
                  <a:pt x="531" y="502"/>
                </a:cubicBezTo>
                <a:cubicBezTo>
                  <a:pt x="533" y="500"/>
                  <a:pt x="535" y="498"/>
                  <a:pt x="537" y="495"/>
                </a:cubicBezTo>
                <a:cubicBezTo>
                  <a:pt x="537" y="495"/>
                  <a:pt x="538" y="494"/>
                  <a:pt x="539" y="494"/>
                </a:cubicBezTo>
                <a:cubicBezTo>
                  <a:pt x="544" y="494"/>
                  <a:pt x="553" y="497"/>
                  <a:pt x="558" y="500"/>
                </a:cubicBezTo>
                <a:cubicBezTo>
                  <a:pt x="566" y="504"/>
                  <a:pt x="568" y="501"/>
                  <a:pt x="570" y="498"/>
                </a:cubicBezTo>
                <a:cubicBezTo>
                  <a:pt x="571" y="497"/>
                  <a:pt x="571" y="497"/>
                  <a:pt x="571" y="497"/>
                </a:cubicBezTo>
                <a:cubicBezTo>
                  <a:pt x="573" y="494"/>
                  <a:pt x="575" y="491"/>
                  <a:pt x="569" y="486"/>
                </a:cubicBezTo>
                <a:cubicBezTo>
                  <a:pt x="564" y="481"/>
                  <a:pt x="559" y="474"/>
                  <a:pt x="557" y="469"/>
                </a:cubicBezTo>
                <a:cubicBezTo>
                  <a:pt x="557" y="468"/>
                  <a:pt x="557" y="467"/>
                  <a:pt x="557" y="467"/>
                </a:cubicBezTo>
                <a:cubicBezTo>
                  <a:pt x="559" y="464"/>
                  <a:pt x="560" y="462"/>
                  <a:pt x="562" y="459"/>
                </a:cubicBezTo>
                <a:cubicBezTo>
                  <a:pt x="562" y="459"/>
                  <a:pt x="562" y="459"/>
                  <a:pt x="562" y="459"/>
                </a:cubicBezTo>
                <a:cubicBezTo>
                  <a:pt x="562" y="458"/>
                  <a:pt x="563" y="458"/>
                  <a:pt x="564" y="458"/>
                </a:cubicBezTo>
                <a:cubicBezTo>
                  <a:pt x="569" y="456"/>
                  <a:pt x="578" y="458"/>
                  <a:pt x="584" y="460"/>
                </a:cubicBezTo>
                <a:cubicBezTo>
                  <a:pt x="592" y="463"/>
                  <a:pt x="593" y="460"/>
                  <a:pt x="595" y="456"/>
                </a:cubicBezTo>
                <a:cubicBezTo>
                  <a:pt x="596" y="455"/>
                  <a:pt x="596" y="455"/>
                  <a:pt x="596" y="455"/>
                </a:cubicBezTo>
                <a:cubicBezTo>
                  <a:pt x="597" y="452"/>
                  <a:pt x="599" y="449"/>
                  <a:pt x="592" y="444"/>
                </a:cubicBezTo>
                <a:cubicBezTo>
                  <a:pt x="587" y="440"/>
                  <a:pt x="580" y="434"/>
                  <a:pt x="578" y="429"/>
                </a:cubicBezTo>
                <a:cubicBezTo>
                  <a:pt x="577" y="428"/>
                  <a:pt x="577" y="428"/>
                  <a:pt x="578" y="427"/>
                </a:cubicBezTo>
                <a:cubicBezTo>
                  <a:pt x="578" y="426"/>
                  <a:pt x="578" y="426"/>
                  <a:pt x="578" y="426"/>
                </a:cubicBezTo>
                <a:cubicBezTo>
                  <a:pt x="579" y="423"/>
                  <a:pt x="580" y="421"/>
                  <a:pt x="581" y="419"/>
                </a:cubicBezTo>
                <a:cubicBezTo>
                  <a:pt x="581" y="418"/>
                  <a:pt x="582" y="417"/>
                  <a:pt x="583" y="417"/>
                </a:cubicBezTo>
                <a:cubicBezTo>
                  <a:pt x="588" y="415"/>
                  <a:pt x="597" y="415"/>
                  <a:pt x="603" y="416"/>
                </a:cubicBezTo>
                <a:cubicBezTo>
                  <a:pt x="611" y="418"/>
                  <a:pt x="612" y="415"/>
                  <a:pt x="613" y="411"/>
                </a:cubicBezTo>
                <a:cubicBezTo>
                  <a:pt x="614" y="410"/>
                  <a:pt x="614" y="410"/>
                  <a:pt x="614" y="410"/>
                </a:cubicBezTo>
                <a:cubicBezTo>
                  <a:pt x="615" y="406"/>
                  <a:pt x="616" y="404"/>
                  <a:pt x="611" y="401"/>
                </a:cubicBezTo>
                <a:cubicBezTo>
                  <a:pt x="611" y="400"/>
                  <a:pt x="610" y="400"/>
                  <a:pt x="609" y="400"/>
                </a:cubicBezTo>
                <a:cubicBezTo>
                  <a:pt x="607" y="398"/>
                  <a:pt x="605" y="397"/>
                  <a:pt x="603" y="396"/>
                </a:cubicBezTo>
                <a:cubicBezTo>
                  <a:pt x="599" y="394"/>
                  <a:pt x="595" y="390"/>
                  <a:pt x="592" y="387"/>
                </a:cubicBezTo>
                <a:cubicBezTo>
                  <a:pt x="592" y="386"/>
                  <a:pt x="592" y="386"/>
                  <a:pt x="592" y="385"/>
                </a:cubicBezTo>
                <a:cubicBezTo>
                  <a:pt x="593" y="382"/>
                  <a:pt x="593" y="379"/>
                  <a:pt x="594" y="376"/>
                </a:cubicBezTo>
                <a:cubicBezTo>
                  <a:pt x="594" y="375"/>
                  <a:pt x="595" y="375"/>
                  <a:pt x="595" y="374"/>
                </a:cubicBezTo>
                <a:cubicBezTo>
                  <a:pt x="600" y="371"/>
                  <a:pt x="609" y="370"/>
                  <a:pt x="615" y="370"/>
                </a:cubicBezTo>
                <a:cubicBezTo>
                  <a:pt x="624" y="370"/>
                  <a:pt x="624" y="367"/>
                  <a:pt x="625" y="363"/>
                </a:cubicBezTo>
                <a:cubicBezTo>
                  <a:pt x="625" y="362"/>
                  <a:pt x="625" y="362"/>
                  <a:pt x="625" y="362"/>
                </a:cubicBezTo>
                <a:cubicBezTo>
                  <a:pt x="625" y="359"/>
                  <a:pt x="625" y="357"/>
                  <a:pt x="622" y="355"/>
                </a:cubicBezTo>
                <a:cubicBezTo>
                  <a:pt x="621" y="354"/>
                  <a:pt x="620" y="353"/>
                  <a:pt x="618" y="353"/>
                </a:cubicBezTo>
                <a:cubicBezTo>
                  <a:pt x="613" y="351"/>
                  <a:pt x="608" y="349"/>
                  <a:pt x="604" y="347"/>
                </a:cubicBezTo>
                <a:cubicBezTo>
                  <a:pt x="602" y="345"/>
                  <a:pt x="601" y="344"/>
                  <a:pt x="600" y="343"/>
                </a:cubicBezTo>
                <a:cubicBezTo>
                  <a:pt x="599" y="343"/>
                  <a:pt x="599" y="342"/>
                  <a:pt x="599" y="341"/>
                </a:cubicBezTo>
                <a:cubicBezTo>
                  <a:pt x="599" y="338"/>
                  <a:pt x="600" y="335"/>
                  <a:pt x="600" y="332"/>
                </a:cubicBezTo>
                <a:cubicBezTo>
                  <a:pt x="600" y="331"/>
                  <a:pt x="600" y="330"/>
                  <a:pt x="601" y="330"/>
                </a:cubicBezTo>
                <a:cubicBezTo>
                  <a:pt x="605" y="326"/>
                  <a:pt x="614" y="324"/>
                  <a:pt x="620" y="323"/>
                </a:cubicBezTo>
                <a:cubicBezTo>
                  <a:pt x="628" y="322"/>
                  <a:pt x="628" y="319"/>
                  <a:pt x="628" y="315"/>
                </a:cubicBezTo>
                <a:cubicBezTo>
                  <a:pt x="628" y="313"/>
                  <a:pt x="628" y="313"/>
                  <a:pt x="628" y="313"/>
                </a:cubicBezTo>
                <a:cubicBezTo>
                  <a:pt x="628" y="310"/>
                  <a:pt x="628" y="308"/>
                  <a:pt x="626" y="307"/>
                </a:cubicBezTo>
                <a:cubicBezTo>
                  <a:pt x="624" y="306"/>
                  <a:pt x="623" y="306"/>
                  <a:pt x="620" y="305"/>
                </a:cubicBezTo>
                <a:cubicBezTo>
                  <a:pt x="612" y="304"/>
                  <a:pt x="604" y="301"/>
                  <a:pt x="601" y="298"/>
                </a:cubicBezTo>
                <a:cubicBezTo>
                  <a:pt x="600" y="298"/>
                  <a:pt x="600" y="297"/>
                  <a:pt x="600" y="297"/>
                </a:cubicBezTo>
                <a:cubicBezTo>
                  <a:pt x="599" y="294"/>
                  <a:pt x="599" y="291"/>
                  <a:pt x="599" y="289"/>
                </a:cubicBezTo>
                <a:cubicBezTo>
                  <a:pt x="599" y="287"/>
                  <a:pt x="599" y="287"/>
                  <a:pt x="599" y="287"/>
                </a:cubicBezTo>
                <a:cubicBezTo>
                  <a:pt x="599" y="287"/>
                  <a:pt x="599" y="286"/>
                  <a:pt x="599" y="285"/>
                </a:cubicBezTo>
                <a:cubicBezTo>
                  <a:pt x="603" y="281"/>
                  <a:pt x="611" y="277"/>
                  <a:pt x="617" y="275"/>
                </a:cubicBezTo>
                <a:cubicBezTo>
                  <a:pt x="625" y="273"/>
                  <a:pt x="625" y="270"/>
                  <a:pt x="624" y="266"/>
                </a:cubicBezTo>
                <a:cubicBezTo>
                  <a:pt x="624" y="265"/>
                  <a:pt x="624" y="265"/>
                  <a:pt x="624" y="265"/>
                </a:cubicBezTo>
                <a:cubicBezTo>
                  <a:pt x="623" y="262"/>
                  <a:pt x="623" y="260"/>
                  <a:pt x="621" y="259"/>
                </a:cubicBezTo>
                <a:cubicBezTo>
                  <a:pt x="620" y="258"/>
                  <a:pt x="618" y="258"/>
                  <a:pt x="615" y="258"/>
                </a:cubicBezTo>
                <a:cubicBezTo>
                  <a:pt x="608" y="258"/>
                  <a:pt x="599" y="257"/>
                  <a:pt x="594" y="254"/>
                </a:cubicBezTo>
                <a:cubicBezTo>
                  <a:pt x="593" y="254"/>
                  <a:pt x="593" y="253"/>
                  <a:pt x="593" y="253"/>
                </a:cubicBezTo>
                <a:cubicBezTo>
                  <a:pt x="592" y="250"/>
                  <a:pt x="591" y="247"/>
                  <a:pt x="591" y="244"/>
                </a:cubicBezTo>
                <a:cubicBezTo>
                  <a:pt x="590" y="243"/>
                  <a:pt x="591" y="242"/>
                  <a:pt x="591" y="242"/>
                </a:cubicBezTo>
                <a:cubicBezTo>
                  <a:pt x="594" y="237"/>
                  <a:pt x="601" y="232"/>
                  <a:pt x="607" y="229"/>
                </a:cubicBezTo>
                <a:cubicBezTo>
                  <a:pt x="615" y="225"/>
                  <a:pt x="614" y="222"/>
                  <a:pt x="612" y="219"/>
                </a:cubicBezTo>
                <a:cubicBezTo>
                  <a:pt x="612" y="217"/>
                  <a:pt x="612" y="217"/>
                  <a:pt x="612" y="217"/>
                </a:cubicBezTo>
                <a:cubicBezTo>
                  <a:pt x="611" y="215"/>
                  <a:pt x="611" y="213"/>
                  <a:pt x="609" y="212"/>
                </a:cubicBezTo>
                <a:cubicBezTo>
                  <a:pt x="608" y="212"/>
                  <a:pt x="605" y="211"/>
                  <a:pt x="602" y="212"/>
                </a:cubicBezTo>
                <a:cubicBezTo>
                  <a:pt x="595" y="213"/>
                  <a:pt x="586" y="214"/>
                  <a:pt x="581" y="212"/>
                </a:cubicBezTo>
                <a:cubicBezTo>
                  <a:pt x="580" y="211"/>
                  <a:pt x="580" y="211"/>
                  <a:pt x="579" y="210"/>
                </a:cubicBezTo>
                <a:cubicBezTo>
                  <a:pt x="578" y="207"/>
                  <a:pt x="577" y="204"/>
                  <a:pt x="576" y="202"/>
                </a:cubicBezTo>
                <a:cubicBezTo>
                  <a:pt x="576" y="201"/>
                  <a:pt x="576" y="200"/>
                  <a:pt x="576" y="200"/>
                </a:cubicBezTo>
                <a:cubicBezTo>
                  <a:pt x="578" y="194"/>
                  <a:pt x="585" y="188"/>
                  <a:pt x="590" y="184"/>
                </a:cubicBezTo>
                <a:cubicBezTo>
                  <a:pt x="597" y="180"/>
                  <a:pt x="595" y="177"/>
                  <a:pt x="593" y="174"/>
                </a:cubicBezTo>
                <a:cubicBezTo>
                  <a:pt x="593" y="172"/>
                  <a:pt x="593" y="172"/>
                  <a:pt x="593" y="172"/>
                </a:cubicBezTo>
                <a:cubicBezTo>
                  <a:pt x="592" y="171"/>
                  <a:pt x="591" y="169"/>
                  <a:pt x="590" y="168"/>
                </a:cubicBezTo>
                <a:cubicBezTo>
                  <a:pt x="588" y="167"/>
                  <a:pt x="585" y="167"/>
                  <a:pt x="582" y="169"/>
                </a:cubicBezTo>
                <a:cubicBezTo>
                  <a:pt x="575" y="171"/>
                  <a:pt x="567" y="173"/>
                  <a:pt x="561" y="172"/>
                </a:cubicBezTo>
                <a:cubicBezTo>
                  <a:pt x="561" y="171"/>
                  <a:pt x="560" y="171"/>
                  <a:pt x="560" y="170"/>
                </a:cubicBezTo>
                <a:cubicBezTo>
                  <a:pt x="559" y="169"/>
                  <a:pt x="559" y="169"/>
                  <a:pt x="559" y="169"/>
                </a:cubicBezTo>
                <a:cubicBezTo>
                  <a:pt x="557" y="167"/>
                  <a:pt x="556" y="165"/>
                  <a:pt x="555" y="162"/>
                </a:cubicBezTo>
                <a:cubicBezTo>
                  <a:pt x="554" y="162"/>
                  <a:pt x="554" y="161"/>
                  <a:pt x="554" y="160"/>
                </a:cubicBezTo>
                <a:cubicBezTo>
                  <a:pt x="556" y="155"/>
                  <a:pt x="561" y="148"/>
                  <a:pt x="566" y="143"/>
                </a:cubicBezTo>
                <a:cubicBezTo>
                  <a:pt x="572" y="138"/>
                  <a:pt x="570" y="135"/>
                  <a:pt x="567" y="132"/>
                </a:cubicBezTo>
                <a:cubicBezTo>
                  <a:pt x="567" y="131"/>
                  <a:pt x="567" y="131"/>
                  <a:pt x="567" y="131"/>
                </a:cubicBezTo>
                <a:cubicBezTo>
                  <a:pt x="566" y="130"/>
                  <a:pt x="565" y="128"/>
                  <a:pt x="564" y="128"/>
                </a:cubicBezTo>
                <a:cubicBezTo>
                  <a:pt x="563" y="127"/>
                  <a:pt x="561" y="126"/>
                  <a:pt x="555" y="129"/>
                </a:cubicBezTo>
                <a:cubicBezTo>
                  <a:pt x="549" y="132"/>
                  <a:pt x="541" y="135"/>
                  <a:pt x="536" y="135"/>
                </a:cubicBezTo>
                <a:cubicBezTo>
                  <a:pt x="535" y="135"/>
                  <a:pt x="534" y="135"/>
                  <a:pt x="534" y="134"/>
                </a:cubicBezTo>
                <a:cubicBezTo>
                  <a:pt x="532" y="132"/>
                  <a:pt x="530" y="129"/>
                  <a:pt x="528" y="127"/>
                </a:cubicBezTo>
                <a:cubicBezTo>
                  <a:pt x="527" y="127"/>
                  <a:pt x="527" y="126"/>
                  <a:pt x="527" y="125"/>
                </a:cubicBezTo>
                <a:cubicBezTo>
                  <a:pt x="528" y="120"/>
                  <a:pt x="532" y="112"/>
                  <a:pt x="536" y="106"/>
                </a:cubicBezTo>
                <a:cubicBezTo>
                  <a:pt x="541" y="100"/>
                  <a:pt x="538" y="98"/>
                  <a:pt x="535" y="95"/>
                </a:cubicBezTo>
                <a:cubicBezTo>
                  <a:pt x="535" y="94"/>
                  <a:pt x="535" y="94"/>
                  <a:pt x="535" y="94"/>
                </a:cubicBezTo>
                <a:cubicBezTo>
                  <a:pt x="534" y="93"/>
                  <a:pt x="533" y="92"/>
                  <a:pt x="532" y="92"/>
                </a:cubicBezTo>
                <a:cubicBezTo>
                  <a:pt x="531" y="91"/>
                  <a:pt x="529" y="90"/>
                  <a:pt x="523" y="94"/>
                </a:cubicBezTo>
                <a:cubicBezTo>
                  <a:pt x="518" y="98"/>
                  <a:pt x="510" y="102"/>
                  <a:pt x="504" y="103"/>
                </a:cubicBezTo>
                <a:cubicBezTo>
                  <a:pt x="504" y="103"/>
                  <a:pt x="503" y="103"/>
                  <a:pt x="502" y="102"/>
                </a:cubicBezTo>
                <a:cubicBezTo>
                  <a:pt x="500" y="101"/>
                  <a:pt x="498" y="99"/>
                  <a:pt x="495" y="97"/>
                </a:cubicBezTo>
                <a:cubicBezTo>
                  <a:pt x="495" y="96"/>
                  <a:pt x="495" y="95"/>
                  <a:pt x="494" y="95"/>
                </a:cubicBezTo>
                <a:cubicBezTo>
                  <a:pt x="494" y="89"/>
                  <a:pt x="497" y="81"/>
                  <a:pt x="500" y="75"/>
                </a:cubicBezTo>
                <a:cubicBezTo>
                  <a:pt x="504" y="68"/>
                  <a:pt x="501" y="66"/>
                  <a:pt x="498" y="64"/>
                </a:cubicBezTo>
                <a:cubicBezTo>
                  <a:pt x="497" y="63"/>
                  <a:pt x="497" y="63"/>
                  <a:pt x="497" y="63"/>
                </a:cubicBezTo>
                <a:cubicBezTo>
                  <a:pt x="496" y="62"/>
                  <a:pt x="496" y="62"/>
                  <a:pt x="495" y="62"/>
                </a:cubicBezTo>
                <a:cubicBezTo>
                  <a:pt x="494" y="61"/>
                  <a:pt x="491" y="59"/>
                  <a:pt x="486" y="64"/>
                </a:cubicBezTo>
                <a:cubicBezTo>
                  <a:pt x="481" y="69"/>
                  <a:pt x="474" y="75"/>
                  <a:pt x="469" y="76"/>
                </a:cubicBezTo>
                <a:cubicBezTo>
                  <a:pt x="468" y="77"/>
                  <a:pt x="467" y="76"/>
                  <a:pt x="467" y="76"/>
                </a:cubicBezTo>
                <a:cubicBezTo>
                  <a:pt x="464" y="74"/>
                  <a:pt x="461" y="73"/>
                  <a:pt x="459" y="71"/>
                </a:cubicBezTo>
                <a:cubicBezTo>
                  <a:pt x="458" y="71"/>
                  <a:pt x="458" y="70"/>
                  <a:pt x="458" y="70"/>
                </a:cubicBezTo>
                <a:cubicBezTo>
                  <a:pt x="456" y="64"/>
                  <a:pt x="458" y="55"/>
                  <a:pt x="460" y="49"/>
                </a:cubicBezTo>
                <a:cubicBezTo>
                  <a:pt x="462" y="42"/>
                  <a:pt x="460" y="40"/>
                  <a:pt x="459" y="40"/>
                </a:cubicBezTo>
                <a:cubicBezTo>
                  <a:pt x="458" y="39"/>
                  <a:pt x="457" y="39"/>
                  <a:pt x="456" y="38"/>
                </a:cubicBezTo>
                <a:cubicBezTo>
                  <a:pt x="455" y="38"/>
                  <a:pt x="455" y="38"/>
                  <a:pt x="455" y="38"/>
                </a:cubicBezTo>
                <a:cubicBezTo>
                  <a:pt x="452" y="36"/>
                  <a:pt x="449" y="34"/>
                  <a:pt x="444" y="41"/>
                </a:cubicBezTo>
                <a:cubicBezTo>
                  <a:pt x="440" y="47"/>
                  <a:pt x="434" y="53"/>
                  <a:pt x="429" y="56"/>
                </a:cubicBezTo>
                <a:cubicBezTo>
                  <a:pt x="429" y="56"/>
                  <a:pt x="428" y="56"/>
                  <a:pt x="427" y="56"/>
                </a:cubicBezTo>
                <a:cubicBezTo>
                  <a:pt x="426" y="55"/>
                  <a:pt x="426" y="55"/>
                  <a:pt x="426" y="55"/>
                </a:cubicBezTo>
                <a:cubicBezTo>
                  <a:pt x="423" y="54"/>
                  <a:pt x="421" y="53"/>
                  <a:pt x="419" y="52"/>
                </a:cubicBezTo>
                <a:cubicBezTo>
                  <a:pt x="418" y="52"/>
                  <a:pt x="417" y="51"/>
                  <a:pt x="417" y="51"/>
                </a:cubicBezTo>
                <a:cubicBezTo>
                  <a:pt x="415" y="45"/>
                  <a:pt x="415" y="37"/>
                  <a:pt x="416" y="30"/>
                </a:cubicBezTo>
                <a:cubicBezTo>
                  <a:pt x="418" y="23"/>
                  <a:pt x="415" y="22"/>
                  <a:pt x="414" y="21"/>
                </a:cubicBezTo>
                <a:cubicBezTo>
                  <a:pt x="414" y="21"/>
                  <a:pt x="412" y="20"/>
                  <a:pt x="411" y="20"/>
                </a:cubicBezTo>
                <a:cubicBezTo>
                  <a:pt x="410" y="19"/>
                  <a:pt x="410" y="19"/>
                  <a:pt x="410" y="19"/>
                </a:cubicBezTo>
                <a:cubicBezTo>
                  <a:pt x="406" y="18"/>
                  <a:pt x="403" y="17"/>
                  <a:pt x="400" y="25"/>
                </a:cubicBezTo>
                <a:cubicBezTo>
                  <a:pt x="397" y="31"/>
                  <a:pt x="392" y="38"/>
                  <a:pt x="387" y="41"/>
                </a:cubicBezTo>
                <a:cubicBezTo>
                  <a:pt x="386" y="42"/>
                  <a:pt x="386" y="42"/>
                  <a:pt x="385" y="41"/>
                </a:cubicBezTo>
                <a:cubicBezTo>
                  <a:pt x="382" y="41"/>
                  <a:pt x="379" y="40"/>
                  <a:pt x="376" y="39"/>
                </a:cubicBezTo>
                <a:cubicBezTo>
                  <a:pt x="375" y="39"/>
                  <a:pt x="375" y="39"/>
                  <a:pt x="374" y="38"/>
                </a:cubicBezTo>
                <a:cubicBezTo>
                  <a:pt x="372" y="33"/>
                  <a:pt x="370" y="25"/>
                  <a:pt x="370" y="18"/>
                </a:cubicBezTo>
                <a:cubicBezTo>
                  <a:pt x="370" y="12"/>
                  <a:pt x="368" y="10"/>
                  <a:pt x="368" y="10"/>
                </a:cubicBezTo>
                <a:cubicBezTo>
                  <a:pt x="367" y="9"/>
                  <a:pt x="365" y="9"/>
                  <a:pt x="363" y="9"/>
                </a:cubicBezTo>
                <a:cubicBezTo>
                  <a:pt x="362" y="9"/>
                  <a:pt x="362" y="9"/>
                  <a:pt x="362" y="9"/>
                </a:cubicBezTo>
                <a:cubicBezTo>
                  <a:pt x="358" y="8"/>
                  <a:pt x="355" y="7"/>
                  <a:pt x="353" y="15"/>
                </a:cubicBezTo>
                <a:cubicBezTo>
                  <a:pt x="351" y="22"/>
                  <a:pt x="347" y="30"/>
                  <a:pt x="343" y="33"/>
                </a:cubicBezTo>
                <a:cubicBezTo>
                  <a:pt x="343" y="34"/>
                  <a:pt x="342" y="34"/>
                  <a:pt x="341" y="34"/>
                </a:cubicBezTo>
                <a:cubicBezTo>
                  <a:pt x="338" y="34"/>
                  <a:pt x="335" y="34"/>
                  <a:pt x="332" y="34"/>
                </a:cubicBezTo>
                <a:cubicBezTo>
                  <a:pt x="331" y="33"/>
                  <a:pt x="331" y="33"/>
                  <a:pt x="330" y="33"/>
                </a:cubicBezTo>
                <a:cubicBezTo>
                  <a:pt x="326" y="28"/>
                  <a:pt x="324" y="20"/>
                  <a:pt x="323" y="13"/>
                </a:cubicBezTo>
                <a:cubicBezTo>
                  <a:pt x="322" y="9"/>
                  <a:pt x="321" y="7"/>
                  <a:pt x="320" y="6"/>
                </a:cubicBezTo>
                <a:cubicBezTo>
                  <a:pt x="318" y="5"/>
                  <a:pt x="317" y="5"/>
                  <a:pt x="315" y="5"/>
                </a:cubicBezTo>
                <a:cubicBezTo>
                  <a:pt x="313" y="5"/>
                  <a:pt x="313" y="5"/>
                  <a:pt x="313" y="5"/>
                </a:cubicBezTo>
                <a:cubicBezTo>
                  <a:pt x="309" y="5"/>
                  <a:pt x="306" y="5"/>
                  <a:pt x="305" y="13"/>
                </a:cubicBezTo>
                <a:cubicBezTo>
                  <a:pt x="304" y="20"/>
                  <a:pt x="302" y="28"/>
                  <a:pt x="299" y="33"/>
                </a:cubicBezTo>
                <a:cubicBezTo>
                  <a:pt x="298" y="33"/>
                  <a:pt x="297" y="34"/>
                  <a:pt x="297" y="34"/>
                </a:cubicBezTo>
                <a:cubicBezTo>
                  <a:pt x="294" y="34"/>
                  <a:pt x="292" y="34"/>
                  <a:pt x="289" y="34"/>
                </a:cubicBezTo>
                <a:cubicBezTo>
                  <a:pt x="287" y="35"/>
                  <a:pt x="287" y="35"/>
                  <a:pt x="287" y="35"/>
                </a:cubicBezTo>
                <a:cubicBezTo>
                  <a:pt x="287" y="35"/>
                  <a:pt x="286" y="34"/>
                  <a:pt x="285" y="34"/>
                </a:cubicBezTo>
                <a:cubicBezTo>
                  <a:pt x="281" y="30"/>
                  <a:pt x="278" y="22"/>
                  <a:pt x="275" y="16"/>
                </a:cubicBezTo>
                <a:cubicBezTo>
                  <a:pt x="274" y="13"/>
                  <a:pt x="273" y="11"/>
                  <a:pt x="272" y="10"/>
                </a:cubicBezTo>
                <a:cubicBezTo>
                  <a:pt x="270" y="9"/>
                  <a:pt x="268" y="9"/>
                  <a:pt x="266" y="9"/>
                </a:cubicBezTo>
                <a:cubicBezTo>
                  <a:pt x="265" y="10"/>
                  <a:pt x="265" y="10"/>
                  <a:pt x="265" y="10"/>
                </a:cubicBezTo>
                <a:cubicBezTo>
                  <a:pt x="261" y="10"/>
                  <a:pt x="258" y="11"/>
                  <a:pt x="258" y="19"/>
                </a:cubicBezTo>
                <a:cubicBezTo>
                  <a:pt x="258" y="25"/>
                  <a:pt x="257" y="34"/>
                  <a:pt x="254" y="39"/>
                </a:cubicBezTo>
                <a:cubicBezTo>
                  <a:pt x="254" y="40"/>
                  <a:pt x="253" y="40"/>
                  <a:pt x="253" y="40"/>
                </a:cubicBezTo>
                <a:cubicBezTo>
                  <a:pt x="250" y="41"/>
                  <a:pt x="247" y="42"/>
                  <a:pt x="244" y="43"/>
                </a:cubicBezTo>
                <a:cubicBezTo>
                  <a:pt x="243" y="43"/>
                  <a:pt x="242" y="43"/>
                  <a:pt x="242" y="42"/>
                </a:cubicBezTo>
                <a:cubicBezTo>
                  <a:pt x="237" y="39"/>
                  <a:pt x="232" y="32"/>
                  <a:pt x="229" y="26"/>
                </a:cubicBezTo>
                <a:cubicBezTo>
                  <a:pt x="228" y="23"/>
                  <a:pt x="226" y="22"/>
                  <a:pt x="225" y="21"/>
                </a:cubicBezTo>
                <a:cubicBezTo>
                  <a:pt x="223" y="20"/>
                  <a:pt x="221" y="20"/>
                  <a:pt x="219" y="21"/>
                </a:cubicBezTo>
                <a:cubicBezTo>
                  <a:pt x="217" y="22"/>
                  <a:pt x="217" y="22"/>
                  <a:pt x="217" y="22"/>
                </a:cubicBezTo>
                <a:cubicBezTo>
                  <a:pt x="213" y="23"/>
                  <a:pt x="210" y="24"/>
                  <a:pt x="212" y="32"/>
                </a:cubicBezTo>
                <a:cubicBezTo>
                  <a:pt x="213" y="38"/>
                  <a:pt x="214" y="47"/>
                  <a:pt x="212" y="52"/>
                </a:cubicBezTo>
                <a:cubicBezTo>
                  <a:pt x="211" y="53"/>
                  <a:pt x="211" y="54"/>
                  <a:pt x="210" y="54"/>
                </a:cubicBezTo>
                <a:cubicBezTo>
                  <a:pt x="207" y="55"/>
                  <a:pt x="205" y="56"/>
                  <a:pt x="202" y="57"/>
                </a:cubicBezTo>
                <a:cubicBezTo>
                  <a:pt x="201" y="58"/>
                  <a:pt x="200" y="58"/>
                  <a:pt x="200" y="57"/>
                </a:cubicBezTo>
                <a:cubicBezTo>
                  <a:pt x="195" y="56"/>
                  <a:pt x="189" y="50"/>
                  <a:pt x="184" y="43"/>
                </a:cubicBezTo>
                <a:cubicBezTo>
                  <a:pt x="183" y="41"/>
                  <a:pt x="182" y="40"/>
                  <a:pt x="181" y="39"/>
                </a:cubicBezTo>
                <a:cubicBezTo>
                  <a:pt x="178" y="38"/>
                  <a:pt x="176" y="39"/>
                  <a:pt x="174" y="40"/>
                </a:cubicBezTo>
                <a:cubicBezTo>
                  <a:pt x="172" y="41"/>
                  <a:pt x="172" y="41"/>
                  <a:pt x="172" y="41"/>
                </a:cubicBezTo>
                <a:cubicBezTo>
                  <a:pt x="169" y="42"/>
                  <a:pt x="166" y="44"/>
                  <a:pt x="169" y="52"/>
                </a:cubicBezTo>
                <a:cubicBezTo>
                  <a:pt x="171" y="58"/>
                  <a:pt x="173" y="67"/>
                  <a:pt x="172" y="72"/>
                </a:cubicBezTo>
                <a:cubicBezTo>
                  <a:pt x="171" y="73"/>
                  <a:pt x="171" y="73"/>
                  <a:pt x="170" y="74"/>
                </a:cubicBezTo>
                <a:cubicBezTo>
                  <a:pt x="170" y="74"/>
                  <a:pt x="170" y="74"/>
                  <a:pt x="170" y="74"/>
                </a:cubicBezTo>
                <a:cubicBezTo>
                  <a:pt x="167" y="76"/>
                  <a:pt x="165" y="77"/>
                  <a:pt x="162" y="79"/>
                </a:cubicBezTo>
                <a:cubicBezTo>
                  <a:pt x="162" y="79"/>
                  <a:pt x="161" y="79"/>
                  <a:pt x="160" y="79"/>
                </a:cubicBezTo>
                <a:cubicBezTo>
                  <a:pt x="156" y="78"/>
                  <a:pt x="149" y="73"/>
                  <a:pt x="143" y="67"/>
                </a:cubicBezTo>
                <a:cubicBezTo>
                  <a:pt x="142" y="66"/>
                  <a:pt x="141" y="65"/>
                  <a:pt x="140" y="65"/>
                </a:cubicBezTo>
                <a:cubicBezTo>
                  <a:pt x="137" y="63"/>
                  <a:pt x="135" y="64"/>
                  <a:pt x="132" y="66"/>
                </a:cubicBezTo>
                <a:cubicBezTo>
                  <a:pt x="131" y="67"/>
                  <a:pt x="131" y="67"/>
                  <a:pt x="131" y="67"/>
                </a:cubicBezTo>
                <a:cubicBezTo>
                  <a:pt x="128" y="69"/>
                  <a:pt x="125" y="71"/>
                  <a:pt x="129" y="78"/>
                </a:cubicBezTo>
                <a:cubicBezTo>
                  <a:pt x="132" y="84"/>
                  <a:pt x="135" y="92"/>
                  <a:pt x="135" y="98"/>
                </a:cubicBezTo>
                <a:cubicBezTo>
                  <a:pt x="135" y="98"/>
                  <a:pt x="135" y="99"/>
                  <a:pt x="134" y="100"/>
                </a:cubicBezTo>
                <a:cubicBezTo>
                  <a:pt x="132" y="102"/>
                  <a:pt x="130" y="104"/>
                  <a:pt x="127" y="106"/>
                </a:cubicBezTo>
                <a:cubicBezTo>
                  <a:pt x="127" y="106"/>
                  <a:pt x="126" y="106"/>
                  <a:pt x="125" y="106"/>
                </a:cubicBezTo>
                <a:cubicBezTo>
                  <a:pt x="120" y="106"/>
                  <a:pt x="112" y="101"/>
                  <a:pt x="109" y="100"/>
                </a:cubicBezTo>
                <a:cubicBezTo>
                  <a:pt x="108" y="99"/>
                  <a:pt x="107" y="98"/>
                  <a:pt x="107" y="98"/>
                </a:cubicBezTo>
                <a:cubicBezTo>
                  <a:pt x="106" y="97"/>
                  <a:pt x="105" y="97"/>
                  <a:pt x="105" y="97"/>
                </a:cubicBezTo>
                <a:cubicBezTo>
                  <a:pt x="100" y="93"/>
                  <a:pt x="98" y="95"/>
                  <a:pt x="95" y="98"/>
                </a:cubicBezTo>
                <a:cubicBezTo>
                  <a:pt x="94" y="99"/>
                  <a:pt x="94" y="99"/>
                  <a:pt x="94" y="99"/>
                </a:cubicBezTo>
                <a:cubicBezTo>
                  <a:pt x="91" y="102"/>
                  <a:pt x="89" y="104"/>
                  <a:pt x="94" y="110"/>
                </a:cubicBezTo>
                <a:cubicBezTo>
                  <a:pt x="98" y="116"/>
                  <a:pt x="102" y="123"/>
                  <a:pt x="103" y="129"/>
                </a:cubicBezTo>
                <a:cubicBezTo>
                  <a:pt x="103" y="130"/>
                  <a:pt x="103" y="130"/>
                  <a:pt x="103" y="131"/>
                </a:cubicBezTo>
                <a:cubicBezTo>
                  <a:pt x="101" y="133"/>
                  <a:pt x="99" y="135"/>
                  <a:pt x="97" y="138"/>
                </a:cubicBezTo>
                <a:cubicBezTo>
                  <a:pt x="96" y="138"/>
                  <a:pt x="96" y="139"/>
                  <a:pt x="95" y="139"/>
                </a:cubicBezTo>
                <a:cubicBezTo>
                  <a:pt x="89" y="139"/>
                  <a:pt x="81" y="136"/>
                  <a:pt x="75" y="133"/>
                </a:cubicBezTo>
                <a:cubicBezTo>
                  <a:pt x="68" y="129"/>
                  <a:pt x="66" y="132"/>
                  <a:pt x="64" y="135"/>
                </a:cubicBezTo>
                <a:cubicBezTo>
                  <a:pt x="63" y="136"/>
                  <a:pt x="63" y="136"/>
                  <a:pt x="63" y="136"/>
                </a:cubicBezTo>
                <a:cubicBezTo>
                  <a:pt x="60" y="140"/>
                  <a:pt x="59" y="142"/>
                  <a:pt x="65" y="148"/>
                </a:cubicBezTo>
                <a:cubicBezTo>
                  <a:pt x="69" y="152"/>
                  <a:pt x="75" y="159"/>
                  <a:pt x="76" y="165"/>
                </a:cubicBezTo>
                <a:cubicBezTo>
                  <a:pt x="77" y="165"/>
                  <a:pt x="76" y="166"/>
                  <a:pt x="76" y="167"/>
                </a:cubicBezTo>
                <a:cubicBezTo>
                  <a:pt x="75" y="169"/>
                  <a:pt x="73" y="172"/>
                  <a:pt x="72" y="174"/>
                </a:cubicBezTo>
                <a:cubicBezTo>
                  <a:pt x="71" y="175"/>
                  <a:pt x="71" y="175"/>
                  <a:pt x="71" y="175"/>
                </a:cubicBezTo>
                <a:cubicBezTo>
                  <a:pt x="71" y="175"/>
                  <a:pt x="70" y="176"/>
                  <a:pt x="70" y="176"/>
                </a:cubicBezTo>
                <a:cubicBezTo>
                  <a:pt x="64" y="177"/>
                  <a:pt x="55" y="175"/>
                  <a:pt x="49" y="173"/>
                </a:cubicBezTo>
                <a:cubicBezTo>
                  <a:pt x="41" y="171"/>
                  <a:pt x="40" y="173"/>
                  <a:pt x="38" y="177"/>
                </a:cubicBezTo>
                <a:cubicBezTo>
                  <a:pt x="38" y="178"/>
                  <a:pt x="38" y="178"/>
                  <a:pt x="38" y="178"/>
                </a:cubicBezTo>
                <a:cubicBezTo>
                  <a:pt x="36" y="182"/>
                  <a:pt x="34" y="185"/>
                  <a:pt x="41" y="189"/>
                </a:cubicBezTo>
                <a:cubicBezTo>
                  <a:pt x="47" y="193"/>
                  <a:pt x="53" y="199"/>
                  <a:pt x="56" y="204"/>
                </a:cubicBezTo>
                <a:cubicBezTo>
                  <a:pt x="56" y="205"/>
                  <a:pt x="56" y="206"/>
                  <a:pt x="56" y="206"/>
                </a:cubicBezTo>
                <a:cubicBezTo>
                  <a:pt x="55" y="207"/>
                  <a:pt x="55" y="207"/>
                  <a:pt x="55" y="207"/>
                </a:cubicBezTo>
                <a:cubicBezTo>
                  <a:pt x="54" y="210"/>
                  <a:pt x="53" y="212"/>
                  <a:pt x="52" y="215"/>
                </a:cubicBezTo>
                <a:cubicBezTo>
                  <a:pt x="52" y="215"/>
                  <a:pt x="51" y="216"/>
                  <a:pt x="51" y="216"/>
                </a:cubicBezTo>
                <a:cubicBezTo>
                  <a:pt x="45" y="218"/>
                  <a:pt x="37" y="218"/>
                  <a:pt x="30" y="217"/>
                </a:cubicBezTo>
                <a:cubicBezTo>
                  <a:pt x="22" y="215"/>
                  <a:pt x="21" y="218"/>
                  <a:pt x="20" y="222"/>
                </a:cubicBezTo>
                <a:cubicBezTo>
                  <a:pt x="20" y="224"/>
                  <a:pt x="20" y="224"/>
                  <a:pt x="20" y="224"/>
                </a:cubicBezTo>
                <a:cubicBezTo>
                  <a:pt x="18" y="227"/>
                  <a:pt x="18" y="229"/>
                  <a:pt x="22" y="232"/>
                </a:cubicBezTo>
                <a:cubicBezTo>
                  <a:pt x="23" y="233"/>
                  <a:pt x="24" y="233"/>
                  <a:pt x="25" y="234"/>
                </a:cubicBezTo>
                <a:cubicBezTo>
                  <a:pt x="27" y="235"/>
                  <a:pt x="29" y="236"/>
                  <a:pt x="31" y="237"/>
                </a:cubicBezTo>
                <a:cubicBezTo>
                  <a:pt x="34" y="239"/>
                  <a:pt x="39" y="243"/>
                  <a:pt x="41" y="246"/>
                </a:cubicBezTo>
                <a:cubicBezTo>
                  <a:pt x="42" y="247"/>
                  <a:pt x="42" y="248"/>
                  <a:pt x="42" y="248"/>
                </a:cubicBezTo>
                <a:cubicBezTo>
                  <a:pt x="41" y="252"/>
                  <a:pt x="40" y="255"/>
                  <a:pt x="39" y="257"/>
                </a:cubicBezTo>
                <a:cubicBezTo>
                  <a:pt x="39" y="258"/>
                  <a:pt x="39" y="259"/>
                  <a:pt x="38" y="259"/>
                </a:cubicBezTo>
                <a:cubicBezTo>
                  <a:pt x="33" y="262"/>
                  <a:pt x="25" y="263"/>
                  <a:pt x="18" y="263"/>
                </a:cubicBezTo>
                <a:cubicBezTo>
                  <a:pt x="10" y="263"/>
                  <a:pt x="9" y="266"/>
                  <a:pt x="9" y="270"/>
                </a:cubicBezTo>
                <a:cubicBezTo>
                  <a:pt x="9" y="271"/>
                  <a:pt x="9" y="271"/>
                  <a:pt x="9" y="271"/>
                </a:cubicBezTo>
                <a:cubicBezTo>
                  <a:pt x="8" y="275"/>
                  <a:pt x="8" y="277"/>
                  <a:pt x="11" y="279"/>
                </a:cubicBezTo>
                <a:cubicBezTo>
                  <a:pt x="12" y="279"/>
                  <a:pt x="13" y="280"/>
                  <a:pt x="15" y="280"/>
                </a:cubicBezTo>
                <a:cubicBezTo>
                  <a:pt x="23" y="283"/>
                  <a:pt x="30" y="287"/>
                  <a:pt x="34" y="290"/>
                </a:cubicBezTo>
                <a:cubicBezTo>
                  <a:pt x="34" y="291"/>
                  <a:pt x="34" y="291"/>
                  <a:pt x="34" y="292"/>
                </a:cubicBezTo>
                <a:cubicBezTo>
                  <a:pt x="34" y="295"/>
                  <a:pt x="34" y="298"/>
                  <a:pt x="34" y="301"/>
                </a:cubicBezTo>
                <a:cubicBezTo>
                  <a:pt x="34" y="302"/>
                  <a:pt x="33" y="303"/>
                  <a:pt x="33" y="303"/>
                </a:cubicBezTo>
                <a:cubicBezTo>
                  <a:pt x="28" y="307"/>
                  <a:pt x="20" y="309"/>
                  <a:pt x="13" y="310"/>
                </a:cubicBezTo>
                <a:cubicBezTo>
                  <a:pt x="5" y="312"/>
                  <a:pt x="5" y="315"/>
                  <a:pt x="5" y="319"/>
                </a:cubicBezTo>
                <a:cubicBezTo>
                  <a:pt x="5" y="320"/>
                  <a:pt x="5" y="320"/>
                  <a:pt x="5" y="320"/>
                </a:cubicBezTo>
                <a:cubicBezTo>
                  <a:pt x="5" y="323"/>
                  <a:pt x="5" y="325"/>
                  <a:pt x="8" y="326"/>
                </a:cubicBezTo>
                <a:cubicBezTo>
                  <a:pt x="9" y="327"/>
                  <a:pt x="11" y="328"/>
                  <a:pt x="13" y="328"/>
                </a:cubicBezTo>
                <a:cubicBezTo>
                  <a:pt x="22" y="329"/>
                  <a:pt x="29" y="332"/>
                  <a:pt x="33" y="335"/>
                </a:cubicBezTo>
                <a:cubicBezTo>
                  <a:pt x="33" y="335"/>
                  <a:pt x="34" y="336"/>
                  <a:pt x="34" y="337"/>
                </a:cubicBezTo>
                <a:cubicBezTo>
                  <a:pt x="34" y="339"/>
                  <a:pt x="34" y="342"/>
                  <a:pt x="35" y="344"/>
                </a:cubicBezTo>
                <a:cubicBezTo>
                  <a:pt x="35" y="346"/>
                  <a:pt x="35" y="346"/>
                  <a:pt x="35" y="346"/>
                </a:cubicBezTo>
                <a:cubicBezTo>
                  <a:pt x="35" y="347"/>
                  <a:pt x="35" y="347"/>
                  <a:pt x="34" y="348"/>
                </a:cubicBezTo>
                <a:cubicBezTo>
                  <a:pt x="30" y="352"/>
                  <a:pt x="22" y="356"/>
                  <a:pt x="16" y="358"/>
                </a:cubicBezTo>
                <a:cubicBezTo>
                  <a:pt x="8" y="360"/>
                  <a:pt x="9" y="363"/>
                  <a:pt x="9" y="367"/>
                </a:cubicBezTo>
                <a:cubicBezTo>
                  <a:pt x="10" y="369"/>
                  <a:pt x="10" y="369"/>
                  <a:pt x="10" y="369"/>
                </a:cubicBezTo>
                <a:cubicBezTo>
                  <a:pt x="10" y="371"/>
                  <a:pt x="10" y="373"/>
                  <a:pt x="12" y="374"/>
                </a:cubicBezTo>
                <a:cubicBezTo>
                  <a:pt x="14" y="375"/>
                  <a:pt x="16" y="375"/>
                  <a:pt x="19" y="375"/>
                </a:cubicBezTo>
                <a:cubicBezTo>
                  <a:pt x="26" y="375"/>
                  <a:pt x="34" y="376"/>
                  <a:pt x="39" y="379"/>
                </a:cubicBezTo>
                <a:cubicBezTo>
                  <a:pt x="40" y="379"/>
                  <a:pt x="40" y="380"/>
                  <a:pt x="40" y="381"/>
                </a:cubicBezTo>
                <a:cubicBezTo>
                  <a:pt x="41" y="384"/>
                  <a:pt x="42" y="387"/>
                  <a:pt x="43" y="390"/>
                </a:cubicBezTo>
                <a:cubicBezTo>
                  <a:pt x="43" y="390"/>
                  <a:pt x="43" y="391"/>
                  <a:pt x="42" y="392"/>
                </a:cubicBezTo>
                <a:cubicBezTo>
                  <a:pt x="39" y="396"/>
                  <a:pt x="32" y="401"/>
                  <a:pt x="26" y="404"/>
                </a:cubicBezTo>
                <a:cubicBezTo>
                  <a:pt x="19" y="408"/>
                  <a:pt x="20" y="411"/>
                  <a:pt x="21" y="415"/>
                </a:cubicBezTo>
                <a:cubicBezTo>
                  <a:pt x="22" y="416"/>
                  <a:pt x="22" y="416"/>
                  <a:pt x="22" y="416"/>
                </a:cubicBezTo>
                <a:cubicBezTo>
                  <a:pt x="22" y="418"/>
                  <a:pt x="23" y="420"/>
                  <a:pt x="24" y="421"/>
                </a:cubicBezTo>
                <a:cubicBezTo>
                  <a:pt x="26" y="422"/>
                  <a:pt x="28" y="422"/>
                  <a:pt x="32" y="421"/>
                </a:cubicBezTo>
                <a:cubicBezTo>
                  <a:pt x="38" y="420"/>
                  <a:pt x="47" y="420"/>
                  <a:pt x="53" y="422"/>
                </a:cubicBezTo>
                <a:cubicBezTo>
                  <a:pt x="53" y="422"/>
                  <a:pt x="54" y="422"/>
                  <a:pt x="54" y="423"/>
                </a:cubicBezTo>
                <a:cubicBezTo>
                  <a:pt x="55" y="426"/>
                  <a:pt x="56" y="429"/>
                  <a:pt x="58" y="432"/>
                </a:cubicBezTo>
                <a:cubicBezTo>
                  <a:pt x="58" y="432"/>
                  <a:pt x="58" y="433"/>
                  <a:pt x="58" y="434"/>
                </a:cubicBezTo>
                <a:cubicBezTo>
                  <a:pt x="55" y="439"/>
                  <a:pt x="49" y="445"/>
                  <a:pt x="43" y="449"/>
                </a:cubicBezTo>
                <a:cubicBezTo>
                  <a:pt x="37" y="454"/>
                  <a:pt x="38" y="456"/>
                  <a:pt x="40" y="460"/>
                </a:cubicBezTo>
                <a:cubicBezTo>
                  <a:pt x="47" y="451"/>
                  <a:pt x="47" y="451"/>
                  <a:pt x="47" y="451"/>
                </a:cubicBezTo>
                <a:cubicBezTo>
                  <a:pt x="48" y="453"/>
                  <a:pt x="42" y="464"/>
                  <a:pt x="44" y="465"/>
                </a:cubicBezTo>
                <a:cubicBezTo>
                  <a:pt x="45" y="466"/>
                  <a:pt x="48" y="466"/>
                  <a:pt x="52" y="465"/>
                </a:cubicBezTo>
                <a:cubicBezTo>
                  <a:pt x="58" y="462"/>
                  <a:pt x="67" y="461"/>
                  <a:pt x="72" y="462"/>
                </a:cubicBezTo>
                <a:cubicBezTo>
                  <a:pt x="73" y="462"/>
                  <a:pt x="73" y="462"/>
                  <a:pt x="74" y="463"/>
                </a:cubicBezTo>
                <a:cubicBezTo>
                  <a:pt x="74" y="464"/>
                  <a:pt x="74" y="464"/>
                  <a:pt x="74" y="464"/>
                </a:cubicBezTo>
                <a:cubicBezTo>
                  <a:pt x="76" y="466"/>
                  <a:pt x="77" y="469"/>
                  <a:pt x="79" y="471"/>
                </a:cubicBezTo>
                <a:cubicBezTo>
                  <a:pt x="79" y="471"/>
                  <a:pt x="79" y="472"/>
                  <a:pt x="79" y="473"/>
                </a:cubicBezTo>
                <a:cubicBezTo>
                  <a:pt x="77" y="478"/>
                  <a:pt x="72" y="485"/>
                  <a:pt x="68" y="490"/>
                </a:cubicBezTo>
                <a:cubicBezTo>
                  <a:pt x="62" y="496"/>
                  <a:pt x="64" y="498"/>
                  <a:pt x="66" y="501"/>
                </a:cubicBezTo>
                <a:cubicBezTo>
                  <a:pt x="67" y="502"/>
                  <a:pt x="67" y="502"/>
                  <a:pt x="67" y="502"/>
                </a:cubicBezTo>
                <a:cubicBezTo>
                  <a:pt x="68" y="504"/>
                  <a:pt x="68" y="505"/>
                  <a:pt x="70" y="506"/>
                </a:cubicBezTo>
                <a:cubicBezTo>
                  <a:pt x="70" y="506"/>
                  <a:pt x="72" y="507"/>
                  <a:pt x="78" y="504"/>
                </a:cubicBezTo>
                <a:cubicBezTo>
                  <a:pt x="84" y="501"/>
                  <a:pt x="92" y="498"/>
                  <a:pt x="98" y="498"/>
                </a:cubicBezTo>
                <a:cubicBezTo>
                  <a:pt x="99" y="498"/>
                  <a:pt x="99" y="499"/>
                  <a:pt x="100" y="499"/>
                </a:cubicBezTo>
                <a:cubicBezTo>
                  <a:pt x="102" y="501"/>
                  <a:pt x="104" y="504"/>
                  <a:pt x="106" y="506"/>
                </a:cubicBezTo>
                <a:cubicBezTo>
                  <a:pt x="106" y="507"/>
                  <a:pt x="106" y="507"/>
                  <a:pt x="106" y="508"/>
                </a:cubicBezTo>
                <a:cubicBezTo>
                  <a:pt x="106" y="514"/>
                  <a:pt x="101" y="521"/>
                  <a:pt x="98" y="527"/>
                </a:cubicBezTo>
                <a:cubicBezTo>
                  <a:pt x="93" y="533"/>
                  <a:pt x="95" y="535"/>
                  <a:pt x="98" y="538"/>
                </a:cubicBezTo>
                <a:cubicBezTo>
                  <a:pt x="99" y="539"/>
                  <a:pt x="99" y="539"/>
                  <a:pt x="99" y="539"/>
                </a:cubicBezTo>
                <a:cubicBezTo>
                  <a:pt x="100" y="540"/>
                  <a:pt x="101" y="541"/>
                  <a:pt x="101" y="541"/>
                </a:cubicBezTo>
                <a:cubicBezTo>
                  <a:pt x="102" y="542"/>
                  <a:pt x="105" y="544"/>
                  <a:pt x="110" y="539"/>
                </a:cubicBezTo>
                <a:cubicBezTo>
                  <a:pt x="116" y="535"/>
                  <a:pt x="123" y="531"/>
                  <a:pt x="129" y="530"/>
                </a:cubicBezTo>
                <a:cubicBezTo>
                  <a:pt x="130" y="530"/>
                  <a:pt x="130" y="530"/>
                  <a:pt x="131" y="531"/>
                </a:cubicBezTo>
                <a:close/>
                <a:moveTo>
                  <a:pt x="177" y="536"/>
                </a:moveTo>
                <a:cubicBezTo>
                  <a:pt x="127" y="504"/>
                  <a:pt x="89" y="455"/>
                  <a:pt x="70" y="399"/>
                </a:cubicBezTo>
                <a:cubicBezTo>
                  <a:pt x="25" y="263"/>
                  <a:pt x="98" y="116"/>
                  <a:pt x="234" y="70"/>
                </a:cubicBezTo>
                <a:cubicBezTo>
                  <a:pt x="309" y="45"/>
                  <a:pt x="390" y="55"/>
                  <a:pt x="456" y="97"/>
                </a:cubicBezTo>
                <a:cubicBezTo>
                  <a:pt x="506" y="129"/>
                  <a:pt x="544" y="178"/>
                  <a:pt x="563" y="234"/>
                </a:cubicBezTo>
                <a:cubicBezTo>
                  <a:pt x="585" y="300"/>
                  <a:pt x="580" y="371"/>
                  <a:pt x="549" y="433"/>
                </a:cubicBezTo>
                <a:cubicBezTo>
                  <a:pt x="518" y="495"/>
                  <a:pt x="465" y="541"/>
                  <a:pt x="399" y="563"/>
                </a:cubicBezTo>
                <a:cubicBezTo>
                  <a:pt x="324" y="588"/>
                  <a:pt x="243" y="578"/>
                  <a:pt x="177" y="536"/>
                </a:cubicBezTo>
                <a:close/>
                <a:moveTo>
                  <a:pt x="454" y="102"/>
                </a:moveTo>
                <a:cubicBezTo>
                  <a:pt x="388" y="60"/>
                  <a:pt x="309" y="50"/>
                  <a:pt x="236" y="75"/>
                </a:cubicBezTo>
                <a:cubicBezTo>
                  <a:pt x="103" y="119"/>
                  <a:pt x="30" y="264"/>
                  <a:pt x="75" y="397"/>
                </a:cubicBezTo>
                <a:cubicBezTo>
                  <a:pt x="93" y="453"/>
                  <a:pt x="131" y="500"/>
                  <a:pt x="180" y="532"/>
                </a:cubicBezTo>
                <a:cubicBezTo>
                  <a:pt x="245" y="573"/>
                  <a:pt x="324" y="583"/>
                  <a:pt x="398" y="558"/>
                </a:cubicBezTo>
                <a:cubicBezTo>
                  <a:pt x="462" y="537"/>
                  <a:pt x="514" y="491"/>
                  <a:pt x="545" y="430"/>
                </a:cubicBezTo>
                <a:cubicBezTo>
                  <a:pt x="575" y="370"/>
                  <a:pt x="580" y="300"/>
                  <a:pt x="558" y="236"/>
                </a:cubicBezTo>
                <a:cubicBezTo>
                  <a:pt x="540" y="180"/>
                  <a:pt x="503" y="133"/>
                  <a:pt x="454"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5" name="Freeform 1197">
            <a:extLst>
              <a:ext uri="{FF2B5EF4-FFF2-40B4-BE49-F238E27FC236}">
                <a16:creationId xmlns:a16="http://schemas.microsoft.com/office/drawing/2014/main" id="{03CE8AE4-F020-48CF-BF3F-8A68AFF77EFA}"/>
              </a:ext>
            </a:extLst>
          </p:cNvPr>
          <p:cNvSpPr>
            <a:spLocks noEditPoints="1"/>
          </p:cNvSpPr>
          <p:nvPr/>
        </p:nvSpPr>
        <p:spPr bwMode="auto">
          <a:xfrm rot="1233185">
            <a:off x="5682036" y="4157787"/>
            <a:ext cx="201346" cy="206255"/>
          </a:xfrm>
          <a:custGeom>
            <a:avLst/>
            <a:gdLst>
              <a:gd name="T0" fmla="*/ 14 w 54"/>
              <a:gd name="T1" fmla="*/ 48 h 55"/>
              <a:gd name="T2" fmla="*/ 7 w 54"/>
              <a:gd name="T3" fmla="*/ 15 h 55"/>
              <a:gd name="T4" fmla="*/ 40 w 54"/>
              <a:gd name="T5" fmla="*/ 7 h 55"/>
              <a:gd name="T6" fmla="*/ 47 w 54"/>
              <a:gd name="T7" fmla="*/ 40 h 55"/>
              <a:gd name="T8" fmla="*/ 14 w 54"/>
              <a:gd name="T9" fmla="*/ 48 h 55"/>
              <a:gd name="T10" fmla="*/ 39 w 54"/>
              <a:gd name="T11" fmla="*/ 9 h 55"/>
              <a:gd name="T12" fmla="*/ 9 w 54"/>
              <a:gd name="T13" fmla="*/ 16 h 55"/>
              <a:gd name="T14" fmla="*/ 15 w 54"/>
              <a:gd name="T15" fmla="*/ 46 h 55"/>
              <a:gd name="T16" fmla="*/ 46 w 54"/>
              <a:gd name="T17" fmla="*/ 39 h 55"/>
              <a:gd name="T18" fmla="*/ 39 w 54"/>
              <a:gd name="T19" fmla="*/ 9 h 55"/>
              <a:gd name="T20" fmla="*/ 17 w 54"/>
              <a:gd name="T21" fmla="*/ 44 h 55"/>
              <a:gd name="T22" fmla="*/ 11 w 54"/>
              <a:gd name="T23" fmla="*/ 17 h 55"/>
              <a:gd name="T24" fmla="*/ 37 w 54"/>
              <a:gd name="T25" fmla="*/ 11 h 55"/>
              <a:gd name="T26" fmla="*/ 43 w 54"/>
              <a:gd name="T27" fmla="*/ 38 h 55"/>
              <a:gd name="T28" fmla="*/ 17 w 54"/>
              <a:gd name="T29" fmla="*/ 44 h 55"/>
              <a:gd name="T30" fmla="*/ 36 w 54"/>
              <a:gd name="T31" fmla="*/ 13 h 55"/>
              <a:gd name="T32" fmla="*/ 13 w 54"/>
              <a:gd name="T33" fmla="*/ 18 h 55"/>
              <a:gd name="T34" fmla="*/ 18 w 54"/>
              <a:gd name="T35" fmla="*/ 42 h 55"/>
              <a:gd name="T36" fmla="*/ 41 w 54"/>
              <a:gd name="T37" fmla="*/ 37 h 55"/>
              <a:gd name="T38" fmla="*/ 36 w 54"/>
              <a:gd name="T39" fmla="*/ 1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5">
                <a:moveTo>
                  <a:pt x="14" y="48"/>
                </a:moveTo>
                <a:cubicBezTo>
                  <a:pt x="3" y="41"/>
                  <a:pt x="0" y="26"/>
                  <a:pt x="7" y="15"/>
                </a:cubicBezTo>
                <a:cubicBezTo>
                  <a:pt x="14" y="4"/>
                  <a:pt x="29" y="0"/>
                  <a:pt x="40" y="7"/>
                </a:cubicBezTo>
                <a:cubicBezTo>
                  <a:pt x="51" y="14"/>
                  <a:pt x="54" y="29"/>
                  <a:pt x="47" y="40"/>
                </a:cubicBezTo>
                <a:cubicBezTo>
                  <a:pt x="40" y="51"/>
                  <a:pt x="25" y="55"/>
                  <a:pt x="14" y="48"/>
                </a:cubicBezTo>
                <a:close/>
                <a:moveTo>
                  <a:pt x="39" y="9"/>
                </a:moveTo>
                <a:cubicBezTo>
                  <a:pt x="29" y="2"/>
                  <a:pt x="15" y="5"/>
                  <a:pt x="9" y="16"/>
                </a:cubicBezTo>
                <a:cubicBezTo>
                  <a:pt x="2" y="26"/>
                  <a:pt x="5" y="40"/>
                  <a:pt x="15" y="46"/>
                </a:cubicBezTo>
                <a:cubicBezTo>
                  <a:pt x="25" y="53"/>
                  <a:pt x="39" y="50"/>
                  <a:pt x="46" y="39"/>
                </a:cubicBezTo>
                <a:cubicBezTo>
                  <a:pt x="52" y="29"/>
                  <a:pt x="49" y="15"/>
                  <a:pt x="39" y="9"/>
                </a:cubicBezTo>
                <a:close/>
                <a:moveTo>
                  <a:pt x="17" y="44"/>
                </a:moveTo>
                <a:cubicBezTo>
                  <a:pt x="8" y="38"/>
                  <a:pt x="6" y="26"/>
                  <a:pt x="11" y="17"/>
                </a:cubicBezTo>
                <a:cubicBezTo>
                  <a:pt x="17" y="9"/>
                  <a:pt x="29" y="6"/>
                  <a:pt x="37" y="11"/>
                </a:cubicBezTo>
                <a:cubicBezTo>
                  <a:pt x="46" y="17"/>
                  <a:pt x="49" y="29"/>
                  <a:pt x="43" y="38"/>
                </a:cubicBezTo>
                <a:cubicBezTo>
                  <a:pt x="37" y="46"/>
                  <a:pt x="25" y="49"/>
                  <a:pt x="17" y="44"/>
                </a:cubicBezTo>
                <a:close/>
                <a:moveTo>
                  <a:pt x="36" y="13"/>
                </a:moveTo>
                <a:cubicBezTo>
                  <a:pt x="28" y="8"/>
                  <a:pt x="18" y="10"/>
                  <a:pt x="13" y="18"/>
                </a:cubicBezTo>
                <a:cubicBezTo>
                  <a:pt x="8" y="27"/>
                  <a:pt x="10" y="37"/>
                  <a:pt x="18" y="42"/>
                </a:cubicBezTo>
                <a:cubicBezTo>
                  <a:pt x="26" y="47"/>
                  <a:pt x="36" y="45"/>
                  <a:pt x="41" y="37"/>
                </a:cubicBezTo>
                <a:cubicBezTo>
                  <a:pt x="47" y="29"/>
                  <a:pt x="44" y="18"/>
                  <a:pt x="36" y="1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6" name="Freeform 1198">
            <a:extLst>
              <a:ext uri="{FF2B5EF4-FFF2-40B4-BE49-F238E27FC236}">
                <a16:creationId xmlns:a16="http://schemas.microsoft.com/office/drawing/2014/main" id="{FACB02ED-83B1-45A5-B1B3-7C795CC99E26}"/>
              </a:ext>
            </a:extLst>
          </p:cNvPr>
          <p:cNvSpPr>
            <a:spLocks noEditPoints="1"/>
          </p:cNvSpPr>
          <p:nvPr/>
        </p:nvSpPr>
        <p:spPr bwMode="auto">
          <a:xfrm rot="1233185">
            <a:off x="4138352" y="4494309"/>
            <a:ext cx="98217" cy="103126"/>
          </a:xfrm>
          <a:custGeom>
            <a:avLst/>
            <a:gdLst>
              <a:gd name="T0" fmla="*/ 7 w 26"/>
              <a:gd name="T1" fmla="*/ 23 h 27"/>
              <a:gd name="T2" fmla="*/ 4 w 26"/>
              <a:gd name="T3" fmla="*/ 7 h 27"/>
              <a:gd name="T4" fmla="*/ 19 w 26"/>
              <a:gd name="T5" fmla="*/ 4 h 27"/>
              <a:gd name="T6" fmla="*/ 23 w 26"/>
              <a:gd name="T7" fmla="*/ 20 h 27"/>
              <a:gd name="T8" fmla="*/ 7 w 26"/>
              <a:gd name="T9" fmla="*/ 23 h 27"/>
              <a:gd name="T10" fmla="*/ 17 w 26"/>
              <a:gd name="T11" fmla="*/ 8 h 27"/>
              <a:gd name="T12" fmla="*/ 8 w 26"/>
              <a:gd name="T13" fmla="*/ 10 h 27"/>
              <a:gd name="T14" fmla="*/ 10 w 26"/>
              <a:gd name="T15" fmla="*/ 19 h 27"/>
              <a:gd name="T16" fmla="*/ 19 w 26"/>
              <a:gd name="T17" fmla="*/ 17 h 27"/>
              <a:gd name="T18" fmla="*/ 17 w 26"/>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7" y="23"/>
                </a:moveTo>
                <a:cubicBezTo>
                  <a:pt x="2" y="20"/>
                  <a:pt x="0" y="13"/>
                  <a:pt x="4" y="7"/>
                </a:cubicBezTo>
                <a:cubicBezTo>
                  <a:pt x="7" y="2"/>
                  <a:pt x="14" y="0"/>
                  <a:pt x="19" y="4"/>
                </a:cubicBezTo>
                <a:cubicBezTo>
                  <a:pt x="25" y="7"/>
                  <a:pt x="26" y="14"/>
                  <a:pt x="23" y="20"/>
                </a:cubicBezTo>
                <a:cubicBezTo>
                  <a:pt x="19" y="25"/>
                  <a:pt x="12" y="27"/>
                  <a:pt x="7" y="23"/>
                </a:cubicBezTo>
                <a:close/>
                <a:moveTo>
                  <a:pt x="17" y="8"/>
                </a:moveTo>
                <a:cubicBezTo>
                  <a:pt x="14" y="6"/>
                  <a:pt x="10" y="7"/>
                  <a:pt x="8" y="10"/>
                </a:cubicBezTo>
                <a:cubicBezTo>
                  <a:pt x="6" y="13"/>
                  <a:pt x="7" y="17"/>
                  <a:pt x="10" y="19"/>
                </a:cubicBezTo>
                <a:cubicBezTo>
                  <a:pt x="13" y="21"/>
                  <a:pt x="17" y="20"/>
                  <a:pt x="19" y="17"/>
                </a:cubicBezTo>
                <a:cubicBezTo>
                  <a:pt x="21" y="14"/>
                  <a:pt x="20" y="10"/>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7" name="Freeform 1199">
            <a:extLst>
              <a:ext uri="{FF2B5EF4-FFF2-40B4-BE49-F238E27FC236}">
                <a16:creationId xmlns:a16="http://schemas.microsoft.com/office/drawing/2014/main" id="{4FC5835B-5128-4D26-AD15-133C0B13AC4D}"/>
              </a:ext>
            </a:extLst>
          </p:cNvPr>
          <p:cNvSpPr>
            <a:spLocks noEditPoints="1"/>
          </p:cNvSpPr>
          <p:nvPr/>
        </p:nvSpPr>
        <p:spPr bwMode="auto">
          <a:xfrm rot="1233185">
            <a:off x="4707828" y="4786323"/>
            <a:ext cx="427245" cy="270095"/>
          </a:xfrm>
          <a:custGeom>
            <a:avLst/>
            <a:gdLst>
              <a:gd name="T0" fmla="*/ 16 w 87"/>
              <a:gd name="T1" fmla="*/ 11 h 55"/>
              <a:gd name="T2" fmla="*/ 20 w 87"/>
              <a:gd name="T3" fmla="*/ 11 h 55"/>
              <a:gd name="T4" fmla="*/ 25 w 87"/>
              <a:gd name="T5" fmla="*/ 14 h 55"/>
              <a:gd name="T6" fmla="*/ 21 w 87"/>
              <a:gd name="T7" fmla="*/ 15 h 55"/>
              <a:gd name="T8" fmla="*/ 25 w 87"/>
              <a:gd name="T9" fmla="*/ 14 h 55"/>
              <a:gd name="T10" fmla="*/ 28 w 87"/>
              <a:gd name="T11" fmla="*/ 15 h 55"/>
              <a:gd name="T12" fmla="*/ 29 w 87"/>
              <a:gd name="T13" fmla="*/ 19 h 55"/>
              <a:gd name="T14" fmla="*/ 36 w 87"/>
              <a:gd name="T15" fmla="*/ 21 h 55"/>
              <a:gd name="T16" fmla="*/ 32 w 87"/>
              <a:gd name="T17" fmla="*/ 21 h 55"/>
              <a:gd name="T18" fmla="*/ 36 w 87"/>
              <a:gd name="T19" fmla="*/ 21 h 55"/>
              <a:gd name="T20" fmla="*/ 38 w 87"/>
              <a:gd name="T21" fmla="*/ 22 h 55"/>
              <a:gd name="T22" fmla="*/ 39 w 87"/>
              <a:gd name="T23" fmla="*/ 26 h 55"/>
              <a:gd name="T24" fmla="*/ 46 w 87"/>
              <a:gd name="T25" fmla="*/ 27 h 55"/>
              <a:gd name="T26" fmla="*/ 42 w 87"/>
              <a:gd name="T27" fmla="*/ 28 h 55"/>
              <a:gd name="T28" fmla="*/ 46 w 87"/>
              <a:gd name="T29" fmla="*/ 27 h 55"/>
              <a:gd name="T30" fmla="*/ 49 w 87"/>
              <a:gd name="T31" fmla="*/ 28 h 55"/>
              <a:gd name="T32" fmla="*/ 49 w 87"/>
              <a:gd name="T33" fmla="*/ 32 h 55"/>
              <a:gd name="T34" fmla="*/ 56 w 87"/>
              <a:gd name="T35" fmla="*/ 34 h 55"/>
              <a:gd name="T36" fmla="*/ 53 w 87"/>
              <a:gd name="T37" fmla="*/ 34 h 55"/>
              <a:gd name="T38" fmla="*/ 56 w 87"/>
              <a:gd name="T39" fmla="*/ 34 h 55"/>
              <a:gd name="T40" fmla="*/ 59 w 87"/>
              <a:gd name="T41" fmla="*/ 35 h 55"/>
              <a:gd name="T42" fmla="*/ 60 w 87"/>
              <a:gd name="T43" fmla="*/ 39 h 55"/>
              <a:gd name="T44" fmla="*/ 66 w 87"/>
              <a:gd name="T45" fmla="*/ 40 h 55"/>
              <a:gd name="T46" fmla="*/ 63 w 87"/>
              <a:gd name="T47" fmla="*/ 41 h 55"/>
              <a:gd name="T48" fmla="*/ 66 w 87"/>
              <a:gd name="T49" fmla="*/ 40 h 55"/>
              <a:gd name="T50" fmla="*/ 70 w 87"/>
              <a:gd name="T51" fmla="*/ 42 h 55"/>
              <a:gd name="T52" fmla="*/ 70 w 87"/>
              <a:gd name="T53" fmla="*/ 45 h 55"/>
              <a:gd name="T54" fmla="*/ 77 w 87"/>
              <a:gd name="T55" fmla="*/ 47 h 55"/>
              <a:gd name="T56" fmla="*/ 73 w 87"/>
              <a:gd name="T57" fmla="*/ 47 h 55"/>
              <a:gd name="T58" fmla="*/ 77 w 87"/>
              <a:gd name="T59" fmla="*/ 47 h 55"/>
              <a:gd name="T60" fmla="*/ 80 w 87"/>
              <a:gd name="T61" fmla="*/ 48 h 55"/>
              <a:gd name="T62" fmla="*/ 81 w 87"/>
              <a:gd name="T63" fmla="*/ 52 h 55"/>
              <a:gd name="T64" fmla="*/ 87 w 87"/>
              <a:gd name="T65" fmla="*/ 54 h 55"/>
              <a:gd name="T66" fmla="*/ 83 w 87"/>
              <a:gd name="T67" fmla="*/ 54 h 55"/>
              <a:gd name="T68" fmla="*/ 87 w 87"/>
              <a:gd name="T69" fmla="*/ 54 h 55"/>
              <a:gd name="T70" fmla="*/ 13 w 87"/>
              <a:gd name="T71" fmla="*/ 9 h 55"/>
              <a:gd name="T72" fmla="*/ 15 w 87"/>
              <a:gd name="T73" fmla="*/ 8 h 55"/>
              <a:gd name="T74" fmla="*/ 19 w 87"/>
              <a:gd name="T75" fmla="*/ 1 h 55"/>
              <a:gd name="T76" fmla="*/ 9 w 87"/>
              <a:gd name="T77"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55">
                <a:moveTo>
                  <a:pt x="19" y="12"/>
                </a:moveTo>
                <a:lnTo>
                  <a:pt x="16" y="11"/>
                </a:lnTo>
                <a:lnTo>
                  <a:pt x="17" y="9"/>
                </a:lnTo>
                <a:lnTo>
                  <a:pt x="20" y="11"/>
                </a:lnTo>
                <a:lnTo>
                  <a:pt x="19" y="12"/>
                </a:lnTo>
                <a:close/>
                <a:moveTo>
                  <a:pt x="25" y="14"/>
                </a:moveTo>
                <a:lnTo>
                  <a:pt x="22" y="12"/>
                </a:lnTo>
                <a:lnTo>
                  <a:pt x="21" y="15"/>
                </a:lnTo>
                <a:lnTo>
                  <a:pt x="24" y="16"/>
                </a:lnTo>
                <a:lnTo>
                  <a:pt x="25" y="14"/>
                </a:lnTo>
                <a:close/>
                <a:moveTo>
                  <a:pt x="30" y="17"/>
                </a:moveTo>
                <a:lnTo>
                  <a:pt x="28" y="15"/>
                </a:lnTo>
                <a:lnTo>
                  <a:pt x="26" y="18"/>
                </a:lnTo>
                <a:lnTo>
                  <a:pt x="29" y="19"/>
                </a:lnTo>
                <a:lnTo>
                  <a:pt x="30" y="17"/>
                </a:lnTo>
                <a:close/>
                <a:moveTo>
                  <a:pt x="36" y="21"/>
                </a:moveTo>
                <a:lnTo>
                  <a:pt x="32" y="19"/>
                </a:lnTo>
                <a:lnTo>
                  <a:pt x="32" y="21"/>
                </a:lnTo>
                <a:lnTo>
                  <a:pt x="34" y="22"/>
                </a:lnTo>
                <a:lnTo>
                  <a:pt x="36" y="21"/>
                </a:lnTo>
                <a:close/>
                <a:moveTo>
                  <a:pt x="40" y="24"/>
                </a:moveTo>
                <a:lnTo>
                  <a:pt x="38" y="22"/>
                </a:lnTo>
                <a:lnTo>
                  <a:pt x="36" y="24"/>
                </a:lnTo>
                <a:lnTo>
                  <a:pt x="39" y="26"/>
                </a:lnTo>
                <a:lnTo>
                  <a:pt x="40" y="24"/>
                </a:lnTo>
                <a:close/>
                <a:moveTo>
                  <a:pt x="46" y="27"/>
                </a:moveTo>
                <a:lnTo>
                  <a:pt x="43" y="25"/>
                </a:lnTo>
                <a:lnTo>
                  <a:pt x="42" y="28"/>
                </a:lnTo>
                <a:lnTo>
                  <a:pt x="45" y="29"/>
                </a:lnTo>
                <a:lnTo>
                  <a:pt x="46" y="27"/>
                </a:lnTo>
                <a:close/>
                <a:moveTo>
                  <a:pt x="51" y="31"/>
                </a:moveTo>
                <a:lnTo>
                  <a:pt x="49" y="28"/>
                </a:lnTo>
                <a:lnTo>
                  <a:pt x="47" y="31"/>
                </a:lnTo>
                <a:lnTo>
                  <a:pt x="49" y="32"/>
                </a:lnTo>
                <a:lnTo>
                  <a:pt x="51" y="31"/>
                </a:lnTo>
                <a:close/>
                <a:moveTo>
                  <a:pt x="56" y="34"/>
                </a:moveTo>
                <a:lnTo>
                  <a:pt x="53" y="32"/>
                </a:lnTo>
                <a:lnTo>
                  <a:pt x="53" y="34"/>
                </a:lnTo>
                <a:lnTo>
                  <a:pt x="55" y="35"/>
                </a:lnTo>
                <a:lnTo>
                  <a:pt x="56" y="34"/>
                </a:lnTo>
                <a:close/>
                <a:moveTo>
                  <a:pt x="61" y="37"/>
                </a:moveTo>
                <a:lnTo>
                  <a:pt x="59" y="35"/>
                </a:lnTo>
                <a:lnTo>
                  <a:pt x="57" y="38"/>
                </a:lnTo>
                <a:lnTo>
                  <a:pt x="60" y="39"/>
                </a:lnTo>
                <a:lnTo>
                  <a:pt x="61" y="37"/>
                </a:lnTo>
                <a:close/>
                <a:moveTo>
                  <a:pt x="66" y="40"/>
                </a:moveTo>
                <a:lnTo>
                  <a:pt x="64" y="38"/>
                </a:lnTo>
                <a:lnTo>
                  <a:pt x="63" y="41"/>
                </a:lnTo>
                <a:lnTo>
                  <a:pt x="66" y="42"/>
                </a:lnTo>
                <a:lnTo>
                  <a:pt x="66" y="40"/>
                </a:lnTo>
                <a:close/>
                <a:moveTo>
                  <a:pt x="72" y="44"/>
                </a:moveTo>
                <a:lnTo>
                  <a:pt x="70" y="42"/>
                </a:lnTo>
                <a:lnTo>
                  <a:pt x="68" y="44"/>
                </a:lnTo>
                <a:lnTo>
                  <a:pt x="70" y="45"/>
                </a:lnTo>
                <a:lnTo>
                  <a:pt x="72" y="44"/>
                </a:lnTo>
                <a:close/>
                <a:moveTo>
                  <a:pt x="77" y="47"/>
                </a:moveTo>
                <a:lnTo>
                  <a:pt x="74" y="45"/>
                </a:lnTo>
                <a:lnTo>
                  <a:pt x="73" y="47"/>
                </a:lnTo>
                <a:lnTo>
                  <a:pt x="76" y="49"/>
                </a:lnTo>
                <a:lnTo>
                  <a:pt x="77" y="47"/>
                </a:lnTo>
                <a:close/>
                <a:moveTo>
                  <a:pt x="82" y="50"/>
                </a:moveTo>
                <a:lnTo>
                  <a:pt x="80" y="48"/>
                </a:lnTo>
                <a:lnTo>
                  <a:pt x="78" y="51"/>
                </a:lnTo>
                <a:lnTo>
                  <a:pt x="81" y="52"/>
                </a:lnTo>
                <a:lnTo>
                  <a:pt x="82" y="50"/>
                </a:lnTo>
                <a:close/>
                <a:moveTo>
                  <a:pt x="87" y="54"/>
                </a:moveTo>
                <a:lnTo>
                  <a:pt x="85" y="51"/>
                </a:lnTo>
                <a:lnTo>
                  <a:pt x="83" y="54"/>
                </a:lnTo>
                <a:lnTo>
                  <a:pt x="86" y="55"/>
                </a:lnTo>
                <a:lnTo>
                  <a:pt x="87" y="54"/>
                </a:lnTo>
                <a:close/>
                <a:moveTo>
                  <a:pt x="9" y="16"/>
                </a:moveTo>
                <a:lnTo>
                  <a:pt x="13" y="9"/>
                </a:lnTo>
                <a:lnTo>
                  <a:pt x="13" y="9"/>
                </a:lnTo>
                <a:lnTo>
                  <a:pt x="15" y="8"/>
                </a:lnTo>
                <a:lnTo>
                  <a:pt x="14" y="7"/>
                </a:lnTo>
                <a:lnTo>
                  <a:pt x="19" y="1"/>
                </a:lnTo>
                <a:lnTo>
                  <a:pt x="0" y="0"/>
                </a:lnTo>
                <a:lnTo>
                  <a:pt x="9" y="16"/>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9" name="Freeform 1201">
            <a:extLst>
              <a:ext uri="{FF2B5EF4-FFF2-40B4-BE49-F238E27FC236}">
                <a16:creationId xmlns:a16="http://schemas.microsoft.com/office/drawing/2014/main" id="{74FE2B46-1F49-42E2-A1B9-A2962706E3A0}"/>
              </a:ext>
            </a:extLst>
          </p:cNvPr>
          <p:cNvSpPr>
            <a:spLocks noEditPoints="1"/>
          </p:cNvSpPr>
          <p:nvPr/>
        </p:nvSpPr>
        <p:spPr bwMode="auto">
          <a:xfrm rot="1233185">
            <a:off x="6709363" y="5256654"/>
            <a:ext cx="699631" cy="692902"/>
          </a:xfrm>
          <a:custGeom>
            <a:avLst/>
            <a:gdLst>
              <a:gd name="T0" fmla="*/ 29 w 135"/>
              <a:gd name="T1" fmla="*/ 115 h 134"/>
              <a:gd name="T2" fmla="*/ 40 w 135"/>
              <a:gd name="T3" fmla="*/ 122 h 134"/>
              <a:gd name="T4" fmla="*/ 51 w 135"/>
              <a:gd name="T5" fmla="*/ 126 h 134"/>
              <a:gd name="T6" fmla="*/ 64 w 135"/>
              <a:gd name="T7" fmla="*/ 128 h 134"/>
              <a:gd name="T8" fmla="*/ 75 w 135"/>
              <a:gd name="T9" fmla="*/ 128 h 134"/>
              <a:gd name="T10" fmla="*/ 88 w 135"/>
              <a:gd name="T11" fmla="*/ 125 h 134"/>
              <a:gd name="T12" fmla="*/ 98 w 135"/>
              <a:gd name="T13" fmla="*/ 120 h 134"/>
              <a:gd name="T14" fmla="*/ 107 w 135"/>
              <a:gd name="T15" fmla="*/ 114 h 134"/>
              <a:gd name="T16" fmla="*/ 115 w 135"/>
              <a:gd name="T17" fmla="*/ 106 h 134"/>
              <a:gd name="T18" fmla="*/ 122 w 135"/>
              <a:gd name="T19" fmla="*/ 95 h 134"/>
              <a:gd name="T20" fmla="*/ 126 w 135"/>
              <a:gd name="T21" fmla="*/ 85 h 134"/>
              <a:gd name="T22" fmla="*/ 129 w 135"/>
              <a:gd name="T23" fmla="*/ 72 h 134"/>
              <a:gd name="T24" fmla="*/ 129 w 135"/>
              <a:gd name="T25" fmla="*/ 61 h 134"/>
              <a:gd name="T26" fmla="*/ 126 w 135"/>
              <a:gd name="T27" fmla="*/ 48 h 134"/>
              <a:gd name="T28" fmla="*/ 122 w 135"/>
              <a:gd name="T29" fmla="*/ 38 h 134"/>
              <a:gd name="T30" fmla="*/ 114 w 135"/>
              <a:gd name="T31" fmla="*/ 27 h 134"/>
              <a:gd name="T32" fmla="*/ 106 w 135"/>
              <a:gd name="T33" fmla="*/ 19 h 134"/>
              <a:gd name="T34" fmla="*/ 95 w 135"/>
              <a:gd name="T35" fmla="*/ 12 h 134"/>
              <a:gd name="T36" fmla="*/ 85 w 135"/>
              <a:gd name="T37" fmla="*/ 7 h 134"/>
              <a:gd name="T38" fmla="*/ 71 w 135"/>
              <a:gd name="T39" fmla="*/ 5 h 134"/>
              <a:gd name="T40" fmla="*/ 60 w 135"/>
              <a:gd name="T41" fmla="*/ 5 h 134"/>
              <a:gd name="T42" fmla="*/ 47 w 135"/>
              <a:gd name="T43" fmla="*/ 9 h 134"/>
              <a:gd name="T44" fmla="*/ 37 w 135"/>
              <a:gd name="T45" fmla="*/ 13 h 134"/>
              <a:gd name="T46" fmla="*/ 27 w 135"/>
              <a:gd name="T47" fmla="*/ 20 h 134"/>
              <a:gd name="T48" fmla="*/ 20 w 135"/>
              <a:gd name="T49" fmla="*/ 28 h 134"/>
              <a:gd name="T50" fmla="*/ 12 w 135"/>
              <a:gd name="T51" fmla="*/ 39 h 134"/>
              <a:gd name="T52" fmla="*/ 8 w 135"/>
              <a:gd name="T53" fmla="*/ 49 h 134"/>
              <a:gd name="T54" fmla="*/ 6 w 135"/>
              <a:gd name="T55" fmla="*/ 62 h 134"/>
              <a:gd name="T56" fmla="*/ 6 w 135"/>
              <a:gd name="T57" fmla="*/ 73 h 134"/>
              <a:gd name="T58" fmla="*/ 9 w 135"/>
              <a:gd name="T59" fmla="*/ 86 h 134"/>
              <a:gd name="T60" fmla="*/ 13 w 135"/>
              <a:gd name="T61" fmla="*/ 96 h 134"/>
              <a:gd name="T62" fmla="*/ 21 w 135"/>
              <a:gd name="T63" fmla="*/ 107 h 134"/>
              <a:gd name="T64" fmla="*/ 38 w 135"/>
              <a:gd name="T65" fmla="*/ 96 h 134"/>
              <a:gd name="T66" fmla="*/ 96 w 135"/>
              <a:gd name="T67" fmla="*/ 37 h 134"/>
              <a:gd name="T68" fmla="*/ 38 w 135"/>
              <a:gd name="T69" fmla="*/ 9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34">
                <a:moveTo>
                  <a:pt x="21" y="115"/>
                </a:moveTo>
                <a:cubicBezTo>
                  <a:pt x="23" y="117"/>
                  <a:pt x="25" y="119"/>
                  <a:pt x="29" y="115"/>
                </a:cubicBezTo>
                <a:cubicBezTo>
                  <a:pt x="32" y="113"/>
                  <a:pt x="37" y="110"/>
                  <a:pt x="39" y="110"/>
                </a:cubicBezTo>
                <a:cubicBezTo>
                  <a:pt x="41" y="112"/>
                  <a:pt x="41" y="118"/>
                  <a:pt x="40" y="122"/>
                </a:cubicBezTo>
                <a:cubicBezTo>
                  <a:pt x="39" y="128"/>
                  <a:pt x="42" y="128"/>
                  <a:pt x="44" y="129"/>
                </a:cubicBezTo>
                <a:cubicBezTo>
                  <a:pt x="46" y="130"/>
                  <a:pt x="48" y="131"/>
                  <a:pt x="51" y="126"/>
                </a:cubicBezTo>
                <a:cubicBezTo>
                  <a:pt x="53" y="123"/>
                  <a:pt x="56" y="119"/>
                  <a:pt x="58" y="118"/>
                </a:cubicBezTo>
                <a:cubicBezTo>
                  <a:pt x="60" y="119"/>
                  <a:pt x="63" y="124"/>
                  <a:pt x="64" y="128"/>
                </a:cubicBezTo>
                <a:cubicBezTo>
                  <a:pt x="65" y="134"/>
                  <a:pt x="67" y="134"/>
                  <a:pt x="70" y="134"/>
                </a:cubicBezTo>
                <a:cubicBezTo>
                  <a:pt x="72" y="133"/>
                  <a:pt x="74" y="134"/>
                  <a:pt x="75" y="128"/>
                </a:cubicBezTo>
                <a:cubicBezTo>
                  <a:pt x="75" y="124"/>
                  <a:pt x="77" y="119"/>
                  <a:pt x="79" y="117"/>
                </a:cubicBezTo>
                <a:cubicBezTo>
                  <a:pt x="81" y="117"/>
                  <a:pt x="85" y="121"/>
                  <a:pt x="88" y="125"/>
                </a:cubicBezTo>
                <a:cubicBezTo>
                  <a:pt x="91" y="130"/>
                  <a:pt x="93" y="128"/>
                  <a:pt x="95" y="127"/>
                </a:cubicBezTo>
                <a:cubicBezTo>
                  <a:pt x="97" y="127"/>
                  <a:pt x="100" y="126"/>
                  <a:pt x="98" y="120"/>
                </a:cubicBezTo>
                <a:cubicBezTo>
                  <a:pt x="97" y="117"/>
                  <a:pt x="96" y="112"/>
                  <a:pt x="97" y="110"/>
                </a:cubicBezTo>
                <a:cubicBezTo>
                  <a:pt x="100" y="110"/>
                  <a:pt x="104" y="112"/>
                  <a:pt x="107" y="114"/>
                </a:cubicBezTo>
                <a:cubicBezTo>
                  <a:pt x="111" y="118"/>
                  <a:pt x="113" y="116"/>
                  <a:pt x="114" y="114"/>
                </a:cubicBezTo>
                <a:cubicBezTo>
                  <a:pt x="116" y="113"/>
                  <a:pt x="118" y="111"/>
                  <a:pt x="115" y="106"/>
                </a:cubicBezTo>
                <a:cubicBezTo>
                  <a:pt x="112" y="103"/>
                  <a:pt x="110" y="97"/>
                  <a:pt x="111" y="95"/>
                </a:cubicBezTo>
                <a:cubicBezTo>
                  <a:pt x="113" y="94"/>
                  <a:pt x="118" y="94"/>
                  <a:pt x="122" y="95"/>
                </a:cubicBezTo>
                <a:cubicBezTo>
                  <a:pt x="127" y="97"/>
                  <a:pt x="128" y="94"/>
                  <a:pt x="129" y="92"/>
                </a:cubicBezTo>
                <a:cubicBezTo>
                  <a:pt x="130" y="90"/>
                  <a:pt x="131" y="88"/>
                  <a:pt x="126" y="85"/>
                </a:cubicBezTo>
                <a:cubicBezTo>
                  <a:pt x="122" y="83"/>
                  <a:pt x="118" y="79"/>
                  <a:pt x="118" y="76"/>
                </a:cubicBezTo>
                <a:cubicBezTo>
                  <a:pt x="120" y="74"/>
                  <a:pt x="125" y="73"/>
                  <a:pt x="129" y="72"/>
                </a:cubicBezTo>
                <a:cubicBezTo>
                  <a:pt x="134" y="71"/>
                  <a:pt x="134" y="69"/>
                  <a:pt x="134" y="66"/>
                </a:cubicBezTo>
                <a:cubicBezTo>
                  <a:pt x="134" y="64"/>
                  <a:pt x="135" y="62"/>
                  <a:pt x="129" y="61"/>
                </a:cubicBezTo>
                <a:cubicBezTo>
                  <a:pt x="124" y="60"/>
                  <a:pt x="119" y="58"/>
                  <a:pt x="118" y="56"/>
                </a:cubicBezTo>
                <a:cubicBezTo>
                  <a:pt x="119" y="53"/>
                  <a:pt x="122" y="50"/>
                  <a:pt x="126" y="48"/>
                </a:cubicBezTo>
                <a:cubicBezTo>
                  <a:pt x="131" y="45"/>
                  <a:pt x="130" y="43"/>
                  <a:pt x="129" y="41"/>
                </a:cubicBezTo>
                <a:cubicBezTo>
                  <a:pt x="128" y="39"/>
                  <a:pt x="127" y="36"/>
                  <a:pt x="122" y="38"/>
                </a:cubicBezTo>
                <a:cubicBezTo>
                  <a:pt x="117" y="39"/>
                  <a:pt x="111" y="39"/>
                  <a:pt x="110" y="37"/>
                </a:cubicBezTo>
                <a:cubicBezTo>
                  <a:pt x="110" y="34"/>
                  <a:pt x="112" y="30"/>
                  <a:pt x="114" y="27"/>
                </a:cubicBezTo>
                <a:cubicBezTo>
                  <a:pt x="118" y="22"/>
                  <a:pt x="115" y="20"/>
                  <a:pt x="114" y="19"/>
                </a:cubicBezTo>
                <a:cubicBezTo>
                  <a:pt x="112" y="17"/>
                  <a:pt x="111" y="15"/>
                  <a:pt x="106" y="19"/>
                </a:cubicBezTo>
                <a:cubicBezTo>
                  <a:pt x="102" y="21"/>
                  <a:pt x="97" y="24"/>
                  <a:pt x="95" y="23"/>
                </a:cubicBezTo>
                <a:cubicBezTo>
                  <a:pt x="94" y="20"/>
                  <a:pt x="94" y="16"/>
                  <a:pt x="95" y="12"/>
                </a:cubicBezTo>
                <a:cubicBezTo>
                  <a:pt x="96" y="6"/>
                  <a:pt x="94" y="5"/>
                  <a:pt x="92" y="5"/>
                </a:cubicBezTo>
                <a:cubicBezTo>
                  <a:pt x="90" y="4"/>
                  <a:pt x="87" y="2"/>
                  <a:pt x="85" y="7"/>
                </a:cubicBezTo>
                <a:cubicBezTo>
                  <a:pt x="82" y="11"/>
                  <a:pt x="78" y="15"/>
                  <a:pt x="76" y="15"/>
                </a:cubicBezTo>
                <a:cubicBezTo>
                  <a:pt x="74" y="14"/>
                  <a:pt x="72" y="9"/>
                  <a:pt x="71" y="5"/>
                </a:cubicBezTo>
                <a:cubicBezTo>
                  <a:pt x="71" y="0"/>
                  <a:pt x="68" y="0"/>
                  <a:pt x="66" y="0"/>
                </a:cubicBezTo>
                <a:cubicBezTo>
                  <a:pt x="64" y="0"/>
                  <a:pt x="61" y="0"/>
                  <a:pt x="60" y="5"/>
                </a:cubicBezTo>
                <a:cubicBezTo>
                  <a:pt x="60" y="10"/>
                  <a:pt x="57" y="15"/>
                  <a:pt x="55" y="16"/>
                </a:cubicBezTo>
                <a:cubicBezTo>
                  <a:pt x="53" y="15"/>
                  <a:pt x="49" y="12"/>
                  <a:pt x="47" y="9"/>
                </a:cubicBezTo>
                <a:cubicBezTo>
                  <a:pt x="44" y="4"/>
                  <a:pt x="42" y="5"/>
                  <a:pt x="40" y="6"/>
                </a:cubicBezTo>
                <a:cubicBezTo>
                  <a:pt x="38" y="7"/>
                  <a:pt x="36" y="7"/>
                  <a:pt x="37" y="13"/>
                </a:cubicBezTo>
                <a:cubicBezTo>
                  <a:pt x="38" y="17"/>
                  <a:pt x="38" y="21"/>
                  <a:pt x="37" y="24"/>
                </a:cubicBezTo>
                <a:cubicBezTo>
                  <a:pt x="35" y="24"/>
                  <a:pt x="31" y="22"/>
                  <a:pt x="27" y="20"/>
                </a:cubicBezTo>
                <a:cubicBezTo>
                  <a:pt x="23" y="16"/>
                  <a:pt x="21" y="18"/>
                  <a:pt x="20" y="20"/>
                </a:cubicBezTo>
                <a:cubicBezTo>
                  <a:pt x="18" y="21"/>
                  <a:pt x="16" y="23"/>
                  <a:pt x="20" y="28"/>
                </a:cubicBezTo>
                <a:cubicBezTo>
                  <a:pt x="22" y="31"/>
                  <a:pt x="24" y="35"/>
                  <a:pt x="24" y="38"/>
                </a:cubicBezTo>
                <a:cubicBezTo>
                  <a:pt x="22" y="40"/>
                  <a:pt x="17" y="40"/>
                  <a:pt x="12" y="39"/>
                </a:cubicBezTo>
                <a:cubicBezTo>
                  <a:pt x="7" y="37"/>
                  <a:pt x="6" y="40"/>
                  <a:pt x="5" y="42"/>
                </a:cubicBezTo>
                <a:cubicBezTo>
                  <a:pt x="5" y="44"/>
                  <a:pt x="3" y="46"/>
                  <a:pt x="8" y="49"/>
                </a:cubicBezTo>
                <a:cubicBezTo>
                  <a:pt x="12" y="51"/>
                  <a:pt x="15" y="54"/>
                  <a:pt x="16" y="57"/>
                </a:cubicBezTo>
                <a:cubicBezTo>
                  <a:pt x="15" y="59"/>
                  <a:pt x="10" y="61"/>
                  <a:pt x="6" y="62"/>
                </a:cubicBezTo>
                <a:cubicBezTo>
                  <a:pt x="0" y="63"/>
                  <a:pt x="0" y="66"/>
                  <a:pt x="1" y="68"/>
                </a:cubicBezTo>
                <a:cubicBezTo>
                  <a:pt x="1" y="70"/>
                  <a:pt x="0" y="73"/>
                  <a:pt x="6" y="73"/>
                </a:cubicBezTo>
                <a:cubicBezTo>
                  <a:pt x="10" y="74"/>
                  <a:pt x="15" y="75"/>
                  <a:pt x="16" y="77"/>
                </a:cubicBezTo>
                <a:cubicBezTo>
                  <a:pt x="16" y="80"/>
                  <a:pt x="13" y="84"/>
                  <a:pt x="9" y="86"/>
                </a:cubicBezTo>
                <a:cubicBezTo>
                  <a:pt x="4" y="89"/>
                  <a:pt x="5" y="92"/>
                  <a:pt x="6" y="94"/>
                </a:cubicBezTo>
                <a:cubicBezTo>
                  <a:pt x="7" y="96"/>
                  <a:pt x="8" y="98"/>
                  <a:pt x="13" y="96"/>
                </a:cubicBezTo>
                <a:cubicBezTo>
                  <a:pt x="17" y="95"/>
                  <a:pt x="22" y="95"/>
                  <a:pt x="24" y="96"/>
                </a:cubicBezTo>
                <a:cubicBezTo>
                  <a:pt x="25" y="98"/>
                  <a:pt x="23" y="104"/>
                  <a:pt x="21" y="107"/>
                </a:cubicBezTo>
                <a:cubicBezTo>
                  <a:pt x="18" y="112"/>
                  <a:pt x="20" y="114"/>
                  <a:pt x="21" y="115"/>
                </a:cubicBezTo>
                <a:close/>
                <a:moveTo>
                  <a:pt x="38" y="96"/>
                </a:moveTo>
                <a:cubicBezTo>
                  <a:pt x="22" y="80"/>
                  <a:pt x="22" y="54"/>
                  <a:pt x="38" y="38"/>
                </a:cubicBezTo>
                <a:cubicBezTo>
                  <a:pt x="54" y="21"/>
                  <a:pt x="80" y="21"/>
                  <a:pt x="96" y="37"/>
                </a:cubicBezTo>
                <a:cubicBezTo>
                  <a:pt x="113" y="54"/>
                  <a:pt x="113" y="80"/>
                  <a:pt x="97" y="96"/>
                </a:cubicBezTo>
                <a:cubicBezTo>
                  <a:pt x="80" y="112"/>
                  <a:pt x="54" y="112"/>
                  <a:pt x="38" y="9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 name="Group 1">
            <a:extLst>
              <a:ext uri="{FF2B5EF4-FFF2-40B4-BE49-F238E27FC236}">
                <a16:creationId xmlns:a16="http://schemas.microsoft.com/office/drawing/2014/main" id="{8A4AF4C6-666E-418A-BA9A-E53756836CB7}"/>
              </a:ext>
            </a:extLst>
          </p:cNvPr>
          <p:cNvGrpSpPr/>
          <p:nvPr userDrawn="1"/>
        </p:nvGrpSpPr>
        <p:grpSpPr>
          <a:xfrm rot="1477509">
            <a:off x="8855718" y="5465725"/>
            <a:ext cx="869220" cy="1111918"/>
            <a:chOff x="8913593" y="5419425"/>
            <a:chExt cx="869220" cy="1111918"/>
          </a:xfrm>
          <a:solidFill>
            <a:schemeClr val="accent2">
              <a:lumMod val="20000"/>
              <a:lumOff val="80000"/>
              <a:alpha val="50000"/>
            </a:schemeClr>
          </a:solidFill>
        </p:grpSpPr>
        <p:sp>
          <p:nvSpPr>
            <p:cNvPr id="768" name="Freeform 1200">
              <a:extLst>
                <a:ext uri="{FF2B5EF4-FFF2-40B4-BE49-F238E27FC236}">
                  <a16:creationId xmlns:a16="http://schemas.microsoft.com/office/drawing/2014/main" id="{8DABB8A9-0E84-4CAA-BD30-8A0525887F33}"/>
                </a:ext>
              </a:extLst>
            </p:cNvPr>
            <p:cNvSpPr>
              <a:spLocks noEditPoints="1"/>
            </p:cNvSpPr>
            <p:nvPr/>
          </p:nvSpPr>
          <p:spPr bwMode="auto">
            <a:xfrm rot="1233185">
              <a:off x="9124003" y="6388930"/>
              <a:ext cx="137504" cy="142413"/>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9 h 38"/>
                <a:gd name="T12" fmla="*/ 8 w 37"/>
                <a:gd name="T13" fmla="*/ 19 h 38"/>
                <a:gd name="T14" fmla="*/ 19 w 37"/>
                <a:gd name="T15" fmla="*/ 30 h 38"/>
                <a:gd name="T16" fmla="*/ 29 w 37"/>
                <a:gd name="T17" fmla="*/ 19 h 38"/>
                <a:gd name="T18" fmla="*/ 19 w 37"/>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9"/>
                  </a:moveTo>
                  <a:cubicBezTo>
                    <a:pt x="13" y="9"/>
                    <a:pt x="8" y="13"/>
                    <a:pt x="8" y="19"/>
                  </a:cubicBezTo>
                  <a:cubicBezTo>
                    <a:pt x="8" y="25"/>
                    <a:pt x="13" y="30"/>
                    <a:pt x="19" y="30"/>
                  </a:cubicBezTo>
                  <a:cubicBezTo>
                    <a:pt x="24" y="30"/>
                    <a:pt x="29" y="25"/>
                    <a:pt x="29" y="19"/>
                  </a:cubicBezTo>
                  <a:cubicBezTo>
                    <a:pt x="29" y="13"/>
                    <a:pt x="24" y="9"/>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Freeform 1202">
              <a:extLst>
                <a:ext uri="{FF2B5EF4-FFF2-40B4-BE49-F238E27FC236}">
                  <a16:creationId xmlns:a16="http://schemas.microsoft.com/office/drawing/2014/main" id="{859CA30B-2F07-4B3A-926C-F78CF13F1453}"/>
                </a:ext>
              </a:extLst>
            </p:cNvPr>
            <p:cNvSpPr>
              <a:spLocks noEditPoints="1"/>
            </p:cNvSpPr>
            <p:nvPr/>
          </p:nvSpPr>
          <p:spPr bwMode="auto">
            <a:xfrm rot="1233185">
              <a:off x="9592990" y="5419425"/>
              <a:ext cx="127682" cy="137504"/>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0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4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4"/>
                    <a:pt x="0" y="4"/>
                    <a:pt x="0" y="3"/>
                  </a:cubicBezTo>
                  <a:cubicBezTo>
                    <a:pt x="0" y="3"/>
                    <a:pt x="0" y="3"/>
                    <a:pt x="0" y="3"/>
                  </a:cubicBezTo>
                  <a:cubicBezTo>
                    <a:pt x="3" y="1"/>
                    <a:pt x="7" y="0"/>
                    <a:pt x="11" y="0"/>
                  </a:cubicBezTo>
                  <a:cubicBezTo>
                    <a:pt x="17" y="0"/>
                    <a:pt x="23" y="3"/>
                    <a:pt x="27" y="7"/>
                  </a:cubicBezTo>
                  <a:cubicBezTo>
                    <a:pt x="34" y="16"/>
                    <a:pt x="33" y="28"/>
                    <a:pt x="25" y="36"/>
                  </a:cubicBezTo>
                  <a:cubicBezTo>
                    <a:pt x="25" y="36"/>
                    <a:pt x="24" y="36"/>
                    <a:pt x="24" y="36"/>
                  </a:cubicBezTo>
                  <a:close/>
                  <a:moveTo>
                    <a:pt x="3" y="4"/>
                  </a:moveTo>
                  <a:cubicBezTo>
                    <a:pt x="24" y="33"/>
                    <a:pt x="24" y="33"/>
                    <a:pt x="24" y="33"/>
                  </a:cubicBezTo>
                  <a:cubicBezTo>
                    <a:pt x="30" y="26"/>
                    <a:pt x="31" y="16"/>
                    <a:pt x="25" y="9"/>
                  </a:cubicBezTo>
                  <a:cubicBezTo>
                    <a:pt x="21" y="5"/>
                    <a:pt x="16" y="2"/>
                    <a:pt x="11" y="2"/>
                  </a:cubicBezTo>
                  <a:cubicBezTo>
                    <a:pt x="8" y="2"/>
                    <a:pt x="5" y="3"/>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Freeform 1203">
              <a:extLst>
                <a:ext uri="{FF2B5EF4-FFF2-40B4-BE49-F238E27FC236}">
                  <a16:creationId xmlns:a16="http://schemas.microsoft.com/office/drawing/2014/main" id="{AB74C2C7-453C-4A54-A61D-CB3F9C9DC723}"/>
                </a:ext>
              </a:extLst>
            </p:cNvPr>
            <p:cNvSpPr>
              <a:spLocks noEditPoints="1"/>
            </p:cNvSpPr>
            <p:nvPr/>
          </p:nvSpPr>
          <p:spPr bwMode="auto">
            <a:xfrm rot="1233185">
              <a:off x="9539955" y="5421439"/>
              <a:ext cx="132594" cy="137504"/>
            </a:xfrm>
            <a:custGeom>
              <a:avLst/>
              <a:gdLst>
                <a:gd name="T0" fmla="*/ 23 w 34"/>
                <a:gd name="T1" fmla="*/ 36 h 36"/>
                <a:gd name="T2" fmla="*/ 7 w 34"/>
                <a:gd name="T3" fmla="*/ 29 h 36"/>
                <a:gd name="T4" fmla="*/ 8 w 34"/>
                <a:gd name="T5" fmla="*/ 0 h 36"/>
                <a:gd name="T6" fmla="*/ 9 w 34"/>
                <a:gd name="T7" fmla="*/ 0 h 36"/>
                <a:gd name="T8" fmla="*/ 10 w 34"/>
                <a:gd name="T9" fmla="*/ 1 h 36"/>
                <a:gd name="T10" fmla="*/ 33 w 34"/>
                <a:gd name="T11" fmla="*/ 32 h 36"/>
                <a:gd name="T12" fmla="*/ 34 w 34"/>
                <a:gd name="T13" fmla="*/ 33 h 36"/>
                <a:gd name="T14" fmla="*/ 33 w 34"/>
                <a:gd name="T15" fmla="*/ 34 h 36"/>
                <a:gd name="T16" fmla="*/ 23 w 34"/>
                <a:gd name="T17" fmla="*/ 36 h 36"/>
                <a:gd name="T18" fmla="*/ 9 w 34"/>
                <a:gd name="T19" fmla="*/ 3 h 36"/>
                <a:gd name="T20" fmla="*/ 9 w 34"/>
                <a:gd name="T21" fmla="*/ 27 h 36"/>
                <a:gd name="T22" fmla="*/ 23 w 34"/>
                <a:gd name="T23" fmla="*/ 34 h 36"/>
                <a:gd name="T24" fmla="*/ 30 w 34"/>
                <a:gd name="T25" fmla="*/ 32 h 36"/>
                <a:gd name="T26" fmla="*/ 9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6" y="36"/>
                    <a:pt x="11" y="34"/>
                    <a:pt x="7" y="29"/>
                  </a:cubicBezTo>
                  <a:cubicBezTo>
                    <a:pt x="0" y="20"/>
                    <a:pt x="0" y="8"/>
                    <a:pt x="8" y="0"/>
                  </a:cubicBezTo>
                  <a:cubicBezTo>
                    <a:pt x="9" y="0"/>
                    <a:pt x="9" y="0"/>
                    <a:pt x="9" y="0"/>
                  </a:cubicBezTo>
                  <a:cubicBezTo>
                    <a:pt x="10" y="0"/>
                    <a:pt x="10" y="0"/>
                    <a:pt x="10" y="1"/>
                  </a:cubicBezTo>
                  <a:cubicBezTo>
                    <a:pt x="33" y="32"/>
                    <a:pt x="33" y="32"/>
                    <a:pt x="33" y="32"/>
                  </a:cubicBezTo>
                  <a:cubicBezTo>
                    <a:pt x="34" y="32"/>
                    <a:pt x="34" y="32"/>
                    <a:pt x="34" y="33"/>
                  </a:cubicBezTo>
                  <a:cubicBezTo>
                    <a:pt x="34" y="33"/>
                    <a:pt x="33" y="33"/>
                    <a:pt x="33" y="34"/>
                  </a:cubicBezTo>
                  <a:cubicBezTo>
                    <a:pt x="30" y="35"/>
                    <a:pt x="26" y="36"/>
                    <a:pt x="23" y="36"/>
                  </a:cubicBezTo>
                  <a:close/>
                  <a:moveTo>
                    <a:pt x="9" y="3"/>
                  </a:moveTo>
                  <a:cubicBezTo>
                    <a:pt x="3" y="10"/>
                    <a:pt x="3" y="20"/>
                    <a:pt x="9" y="27"/>
                  </a:cubicBezTo>
                  <a:cubicBezTo>
                    <a:pt x="12" y="31"/>
                    <a:pt x="17" y="34"/>
                    <a:pt x="23" y="34"/>
                  </a:cubicBezTo>
                  <a:cubicBezTo>
                    <a:pt x="25" y="34"/>
                    <a:pt x="28" y="33"/>
                    <a:pt x="30" y="32"/>
                  </a:cubicBez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Freeform 1204">
              <a:extLst>
                <a:ext uri="{FF2B5EF4-FFF2-40B4-BE49-F238E27FC236}">
                  <a16:creationId xmlns:a16="http://schemas.microsoft.com/office/drawing/2014/main" id="{29B22C9A-24F5-4D3F-AD4D-BEBDF3DD5FF9}"/>
                </a:ext>
              </a:extLst>
            </p:cNvPr>
            <p:cNvSpPr>
              <a:spLocks noEditPoints="1"/>
            </p:cNvSpPr>
            <p:nvPr/>
          </p:nvSpPr>
          <p:spPr bwMode="auto">
            <a:xfrm rot="1233185">
              <a:off x="8996061" y="5611564"/>
              <a:ext cx="707161" cy="692427"/>
            </a:xfrm>
            <a:custGeom>
              <a:avLst/>
              <a:gdLst>
                <a:gd name="T0" fmla="*/ 93 w 187"/>
                <a:gd name="T1" fmla="*/ 184 h 184"/>
                <a:gd name="T2" fmla="*/ 34 w 187"/>
                <a:gd name="T3" fmla="*/ 162 h 184"/>
                <a:gd name="T4" fmla="*/ 2 w 187"/>
                <a:gd name="T5" fmla="*/ 99 h 184"/>
                <a:gd name="T6" fmla="*/ 23 w 187"/>
                <a:gd name="T7" fmla="*/ 32 h 184"/>
                <a:gd name="T8" fmla="*/ 93 w 187"/>
                <a:gd name="T9" fmla="*/ 0 h 184"/>
                <a:gd name="T10" fmla="*/ 153 w 187"/>
                <a:gd name="T11" fmla="*/ 22 h 184"/>
                <a:gd name="T12" fmla="*/ 185 w 187"/>
                <a:gd name="T13" fmla="*/ 84 h 184"/>
                <a:gd name="T14" fmla="*/ 164 w 187"/>
                <a:gd name="T15" fmla="*/ 151 h 184"/>
                <a:gd name="T16" fmla="*/ 93 w 187"/>
                <a:gd name="T17" fmla="*/ 184 h 184"/>
                <a:gd name="T18" fmla="*/ 93 w 187"/>
                <a:gd name="T19" fmla="*/ 5 h 184"/>
                <a:gd name="T20" fmla="*/ 27 w 187"/>
                <a:gd name="T21" fmla="*/ 36 h 184"/>
                <a:gd name="T22" fmla="*/ 7 w 187"/>
                <a:gd name="T23" fmla="*/ 99 h 184"/>
                <a:gd name="T24" fmla="*/ 37 w 187"/>
                <a:gd name="T25" fmla="*/ 158 h 184"/>
                <a:gd name="T26" fmla="*/ 93 w 187"/>
                <a:gd name="T27" fmla="*/ 179 h 184"/>
                <a:gd name="T28" fmla="*/ 93 w 187"/>
                <a:gd name="T29" fmla="*/ 179 h 184"/>
                <a:gd name="T30" fmla="*/ 160 w 187"/>
                <a:gd name="T31" fmla="*/ 148 h 184"/>
                <a:gd name="T32" fmla="*/ 180 w 187"/>
                <a:gd name="T33" fmla="*/ 85 h 184"/>
                <a:gd name="T34" fmla="*/ 150 w 187"/>
                <a:gd name="T35" fmla="*/ 25 h 184"/>
                <a:gd name="T36" fmla="*/ 93 w 187"/>
                <a:gd name="T37" fmla="*/ 5 h 184"/>
                <a:gd name="T38" fmla="*/ 93 w 187"/>
                <a:gd name="T39" fmla="*/ 127 h 184"/>
                <a:gd name="T40" fmla="*/ 71 w 187"/>
                <a:gd name="T41" fmla="*/ 119 h 184"/>
                <a:gd name="T42" fmla="*/ 58 w 187"/>
                <a:gd name="T43" fmla="*/ 95 h 184"/>
                <a:gd name="T44" fmla="*/ 67 w 187"/>
                <a:gd name="T45" fmla="*/ 69 h 184"/>
                <a:gd name="T46" fmla="*/ 93 w 187"/>
                <a:gd name="T47" fmla="*/ 57 h 184"/>
                <a:gd name="T48" fmla="*/ 116 w 187"/>
                <a:gd name="T49" fmla="*/ 65 h 184"/>
                <a:gd name="T50" fmla="*/ 128 w 187"/>
                <a:gd name="T51" fmla="*/ 89 h 184"/>
                <a:gd name="T52" fmla="*/ 120 w 187"/>
                <a:gd name="T53" fmla="*/ 115 h 184"/>
                <a:gd name="T54" fmla="*/ 93 w 187"/>
                <a:gd name="T55" fmla="*/ 127 h 184"/>
                <a:gd name="T56" fmla="*/ 93 w 187"/>
                <a:gd name="T57" fmla="*/ 62 h 184"/>
                <a:gd name="T58" fmla="*/ 70 w 187"/>
                <a:gd name="T59" fmla="*/ 72 h 184"/>
                <a:gd name="T60" fmla="*/ 63 w 187"/>
                <a:gd name="T61" fmla="*/ 94 h 184"/>
                <a:gd name="T62" fmla="*/ 74 w 187"/>
                <a:gd name="T63" fmla="*/ 115 h 184"/>
                <a:gd name="T64" fmla="*/ 93 w 187"/>
                <a:gd name="T65" fmla="*/ 122 h 184"/>
                <a:gd name="T66" fmla="*/ 116 w 187"/>
                <a:gd name="T67" fmla="*/ 111 h 184"/>
                <a:gd name="T68" fmla="*/ 123 w 187"/>
                <a:gd name="T69" fmla="*/ 89 h 184"/>
                <a:gd name="T70" fmla="*/ 113 w 187"/>
                <a:gd name="T71" fmla="*/ 69 h 184"/>
                <a:gd name="T72" fmla="*/ 93 w 187"/>
                <a:gd name="T73"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7" h="184">
                  <a:moveTo>
                    <a:pt x="93" y="184"/>
                  </a:moveTo>
                  <a:cubicBezTo>
                    <a:pt x="72" y="184"/>
                    <a:pt x="51" y="176"/>
                    <a:pt x="34" y="162"/>
                  </a:cubicBezTo>
                  <a:cubicBezTo>
                    <a:pt x="15" y="146"/>
                    <a:pt x="4" y="124"/>
                    <a:pt x="2" y="99"/>
                  </a:cubicBezTo>
                  <a:cubicBezTo>
                    <a:pt x="0" y="75"/>
                    <a:pt x="7" y="51"/>
                    <a:pt x="23" y="32"/>
                  </a:cubicBezTo>
                  <a:cubicBezTo>
                    <a:pt x="41" y="12"/>
                    <a:pt x="66" y="0"/>
                    <a:pt x="93" y="0"/>
                  </a:cubicBezTo>
                  <a:cubicBezTo>
                    <a:pt x="115" y="0"/>
                    <a:pt x="136" y="8"/>
                    <a:pt x="153" y="22"/>
                  </a:cubicBezTo>
                  <a:cubicBezTo>
                    <a:pt x="172" y="38"/>
                    <a:pt x="183" y="60"/>
                    <a:pt x="185" y="84"/>
                  </a:cubicBezTo>
                  <a:cubicBezTo>
                    <a:pt x="187" y="109"/>
                    <a:pt x="180" y="133"/>
                    <a:pt x="164" y="151"/>
                  </a:cubicBezTo>
                  <a:cubicBezTo>
                    <a:pt x="146" y="172"/>
                    <a:pt x="121" y="184"/>
                    <a:pt x="93" y="184"/>
                  </a:cubicBezTo>
                  <a:close/>
                  <a:moveTo>
                    <a:pt x="93" y="5"/>
                  </a:moveTo>
                  <a:cubicBezTo>
                    <a:pt x="68" y="5"/>
                    <a:pt x="44" y="16"/>
                    <a:pt x="27" y="36"/>
                  </a:cubicBezTo>
                  <a:cubicBezTo>
                    <a:pt x="12" y="53"/>
                    <a:pt x="5" y="76"/>
                    <a:pt x="7" y="99"/>
                  </a:cubicBezTo>
                  <a:cubicBezTo>
                    <a:pt x="9" y="122"/>
                    <a:pt x="19" y="143"/>
                    <a:pt x="37" y="158"/>
                  </a:cubicBezTo>
                  <a:cubicBezTo>
                    <a:pt x="53" y="172"/>
                    <a:pt x="73" y="179"/>
                    <a:pt x="93" y="179"/>
                  </a:cubicBezTo>
                  <a:cubicBezTo>
                    <a:pt x="93" y="179"/>
                    <a:pt x="93" y="179"/>
                    <a:pt x="93" y="179"/>
                  </a:cubicBezTo>
                  <a:cubicBezTo>
                    <a:pt x="119" y="179"/>
                    <a:pt x="143" y="168"/>
                    <a:pt x="160" y="148"/>
                  </a:cubicBezTo>
                  <a:cubicBezTo>
                    <a:pt x="175" y="130"/>
                    <a:pt x="182" y="108"/>
                    <a:pt x="180" y="85"/>
                  </a:cubicBezTo>
                  <a:cubicBezTo>
                    <a:pt x="178" y="62"/>
                    <a:pt x="167" y="40"/>
                    <a:pt x="150" y="25"/>
                  </a:cubicBezTo>
                  <a:cubicBezTo>
                    <a:pt x="134" y="12"/>
                    <a:pt x="114" y="5"/>
                    <a:pt x="93" y="5"/>
                  </a:cubicBezTo>
                  <a:close/>
                  <a:moveTo>
                    <a:pt x="93" y="127"/>
                  </a:moveTo>
                  <a:cubicBezTo>
                    <a:pt x="85" y="127"/>
                    <a:pt x="77" y="124"/>
                    <a:pt x="71" y="119"/>
                  </a:cubicBezTo>
                  <a:cubicBezTo>
                    <a:pt x="64" y="113"/>
                    <a:pt x="59" y="104"/>
                    <a:pt x="58" y="95"/>
                  </a:cubicBezTo>
                  <a:cubicBezTo>
                    <a:pt x="58" y="85"/>
                    <a:pt x="61" y="76"/>
                    <a:pt x="67" y="69"/>
                  </a:cubicBezTo>
                  <a:cubicBezTo>
                    <a:pt x="73" y="61"/>
                    <a:pt x="83" y="57"/>
                    <a:pt x="93" y="57"/>
                  </a:cubicBezTo>
                  <a:cubicBezTo>
                    <a:pt x="102" y="57"/>
                    <a:pt x="110" y="60"/>
                    <a:pt x="116" y="65"/>
                  </a:cubicBezTo>
                  <a:cubicBezTo>
                    <a:pt x="123" y="71"/>
                    <a:pt x="128" y="80"/>
                    <a:pt x="128" y="89"/>
                  </a:cubicBezTo>
                  <a:cubicBezTo>
                    <a:pt x="129" y="98"/>
                    <a:pt x="126" y="107"/>
                    <a:pt x="120" y="115"/>
                  </a:cubicBezTo>
                  <a:cubicBezTo>
                    <a:pt x="114" y="123"/>
                    <a:pt x="104" y="127"/>
                    <a:pt x="93" y="127"/>
                  </a:cubicBezTo>
                  <a:close/>
                  <a:moveTo>
                    <a:pt x="93" y="62"/>
                  </a:moveTo>
                  <a:cubicBezTo>
                    <a:pt x="85" y="62"/>
                    <a:pt x="76" y="66"/>
                    <a:pt x="70" y="72"/>
                  </a:cubicBezTo>
                  <a:cubicBezTo>
                    <a:pt x="65" y="79"/>
                    <a:pt x="63" y="86"/>
                    <a:pt x="63" y="94"/>
                  </a:cubicBezTo>
                  <a:cubicBezTo>
                    <a:pt x="64" y="102"/>
                    <a:pt x="68" y="110"/>
                    <a:pt x="74" y="115"/>
                  </a:cubicBezTo>
                  <a:cubicBezTo>
                    <a:pt x="79" y="119"/>
                    <a:pt x="86" y="122"/>
                    <a:pt x="93" y="122"/>
                  </a:cubicBezTo>
                  <a:cubicBezTo>
                    <a:pt x="102" y="122"/>
                    <a:pt x="111" y="118"/>
                    <a:pt x="116" y="111"/>
                  </a:cubicBezTo>
                  <a:cubicBezTo>
                    <a:pt x="122" y="105"/>
                    <a:pt x="124" y="97"/>
                    <a:pt x="123" y="89"/>
                  </a:cubicBezTo>
                  <a:cubicBezTo>
                    <a:pt x="123" y="81"/>
                    <a:pt x="119" y="74"/>
                    <a:pt x="113" y="69"/>
                  </a:cubicBezTo>
                  <a:cubicBezTo>
                    <a:pt x="107" y="64"/>
                    <a:pt x="101" y="62"/>
                    <a:pt x="93"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1205">
              <a:extLst>
                <a:ext uri="{FF2B5EF4-FFF2-40B4-BE49-F238E27FC236}">
                  <a16:creationId xmlns:a16="http://schemas.microsoft.com/office/drawing/2014/main" id="{1B7BF683-6B5D-45CB-A1A6-15729AC689D3}"/>
                </a:ext>
              </a:extLst>
            </p:cNvPr>
            <p:cNvSpPr>
              <a:spLocks noEditPoints="1"/>
            </p:cNvSpPr>
            <p:nvPr/>
          </p:nvSpPr>
          <p:spPr bwMode="auto">
            <a:xfrm rot="1233185">
              <a:off x="8913593" y="5522463"/>
              <a:ext cx="869220" cy="864308"/>
            </a:xfrm>
            <a:custGeom>
              <a:avLst/>
              <a:gdLst>
                <a:gd name="T0" fmla="*/ 95 w 229"/>
                <a:gd name="T1" fmla="*/ 228 h 229"/>
                <a:gd name="T2" fmla="*/ 66 w 229"/>
                <a:gd name="T3" fmla="*/ 219 h 229"/>
                <a:gd name="T4" fmla="*/ 46 w 229"/>
                <a:gd name="T5" fmla="*/ 205 h 229"/>
                <a:gd name="T6" fmla="*/ 27 w 229"/>
                <a:gd name="T7" fmla="*/ 185 h 229"/>
                <a:gd name="T8" fmla="*/ 18 w 229"/>
                <a:gd name="T9" fmla="*/ 159 h 229"/>
                <a:gd name="T10" fmla="*/ 9 w 229"/>
                <a:gd name="T11" fmla="*/ 133 h 229"/>
                <a:gd name="T12" fmla="*/ 1 w 229"/>
                <a:gd name="T13" fmla="*/ 95 h 229"/>
                <a:gd name="T14" fmla="*/ 10 w 229"/>
                <a:gd name="T15" fmla="*/ 67 h 229"/>
                <a:gd name="T16" fmla="*/ 27 w 229"/>
                <a:gd name="T17" fmla="*/ 53 h 229"/>
                <a:gd name="T18" fmla="*/ 49 w 229"/>
                <a:gd name="T19" fmla="*/ 43 h 229"/>
                <a:gd name="T20" fmla="*/ 70 w 229"/>
                <a:gd name="T21" fmla="*/ 28 h 229"/>
                <a:gd name="T22" fmla="*/ 94 w 229"/>
                <a:gd name="T23" fmla="*/ 20 h 229"/>
                <a:gd name="T24" fmla="*/ 119 w 229"/>
                <a:gd name="T25" fmla="*/ 18 h 229"/>
                <a:gd name="T26" fmla="*/ 144 w 229"/>
                <a:gd name="T27" fmla="*/ 22 h 229"/>
                <a:gd name="T28" fmla="*/ 167 w 229"/>
                <a:gd name="T29" fmla="*/ 33 h 229"/>
                <a:gd name="T30" fmla="*/ 186 w 229"/>
                <a:gd name="T31" fmla="*/ 49 h 229"/>
                <a:gd name="T32" fmla="*/ 207 w 229"/>
                <a:gd name="T33" fmla="*/ 62 h 229"/>
                <a:gd name="T34" fmla="*/ 223 w 229"/>
                <a:gd name="T35" fmla="*/ 77 h 229"/>
                <a:gd name="T36" fmla="*/ 221 w 229"/>
                <a:gd name="T37" fmla="*/ 115 h 229"/>
                <a:gd name="T38" fmla="*/ 217 w 229"/>
                <a:gd name="T39" fmla="*/ 143 h 229"/>
                <a:gd name="T40" fmla="*/ 211 w 229"/>
                <a:gd name="T41" fmla="*/ 170 h 229"/>
                <a:gd name="T42" fmla="*/ 201 w 229"/>
                <a:gd name="T43" fmla="*/ 190 h 229"/>
                <a:gd name="T44" fmla="*/ 180 w 229"/>
                <a:gd name="T45" fmla="*/ 209 h 229"/>
                <a:gd name="T46" fmla="*/ 153 w 229"/>
                <a:gd name="T47" fmla="*/ 223 h 229"/>
                <a:gd name="T48" fmla="*/ 124 w 229"/>
                <a:gd name="T49" fmla="*/ 229 h 229"/>
                <a:gd name="T50" fmla="*/ 123 w 229"/>
                <a:gd name="T51" fmla="*/ 224 h 229"/>
                <a:gd name="T52" fmla="*/ 147 w 229"/>
                <a:gd name="T53" fmla="*/ 216 h 229"/>
                <a:gd name="T54" fmla="*/ 156 w 229"/>
                <a:gd name="T55" fmla="*/ 197 h 229"/>
                <a:gd name="T56" fmla="*/ 178 w 229"/>
                <a:gd name="T57" fmla="*/ 199 h 229"/>
                <a:gd name="T58" fmla="*/ 198 w 229"/>
                <a:gd name="T59" fmla="*/ 186 h 229"/>
                <a:gd name="T60" fmla="*/ 213 w 229"/>
                <a:gd name="T61" fmla="*/ 162 h 229"/>
                <a:gd name="T62" fmla="*/ 217 w 229"/>
                <a:gd name="T63" fmla="*/ 138 h 229"/>
                <a:gd name="T64" fmla="*/ 207 w 229"/>
                <a:gd name="T65" fmla="*/ 118 h 229"/>
                <a:gd name="T66" fmla="*/ 204 w 229"/>
                <a:gd name="T67" fmla="*/ 93 h 229"/>
                <a:gd name="T68" fmla="*/ 207 w 229"/>
                <a:gd name="T69" fmla="*/ 76 h 229"/>
                <a:gd name="T70" fmla="*/ 203 w 229"/>
                <a:gd name="T71" fmla="*/ 51 h 229"/>
                <a:gd name="T72" fmla="*/ 186 w 229"/>
                <a:gd name="T73" fmla="*/ 32 h 229"/>
                <a:gd name="T74" fmla="*/ 163 w 229"/>
                <a:gd name="T75" fmla="*/ 36 h 229"/>
                <a:gd name="T76" fmla="*/ 143 w 229"/>
                <a:gd name="T77" fmla="*/ 27 h 229"/>
                <a:gd name="T78" fmla="*/ 132 w 229"/>
                <a:gd name="T79" fmla="*/ 7 h 229"/>
                <a:gd name="T80" fmla="*/ 106 w 229"/>
                <a:gd name="T81" fmla="*/ 5 h 229"/>
                <a:gd name="T82" fmla="*/ 80 w 229"/>
                <a:gd name="T83" fmla="*/ 11 h 229"/>
                <a:gd name="T84" fmla="*/ 58 w 229"/>
                <a:gd name="T85" fmla="*/ 26 h 229"/>
                <a:gd name="T86" fmla="*/ 52 w 229"/>
                <a:gd name="T87" fmla="*/ 47 h 229"/>
                <a:gd name="T88" fmla="*/ 31 w 229"/>
                <a:gd name="T89" fmla="*/ 50 h 229"/>
                <a:gd name="T90" fmla="*/ 15 w 229"/>
                <a:gd name="T91" fmla="*/ 68 h 229"/>
                <a:gd name="T92" fmla="*/ 11 w 229"/>
                <a:gd name="T93" fmla="*/ 92 h 229"/>
                <a:gd name="T94" fmla="*/ 9 w 229"/>
                <a:gd name="T95" fmla="*/ 120 h 229"/>
                <a:gd name="T96" fmla="*/ 14 w 229"/>
                <a:gd name="T97" fmla="*/ 147 h 229"/>
                <a:gd name="T98" fmla="*/ 32 w 229"/>
                <a:gd name="T99" fmla="*/ 155 h 229"/>
                <a:gd name="T100" fmla="*/ 30 w 229"/>
                <a:gd name="T101" fmla="*/ 179 h 229"/>
                <a:gd name="T102" fmla="*/ 44 w 229"/>
                <a:gd name="T103" fmla="*/ 199 h 229"/>
                <a:gd name="T104" fmla="*/ 64 w 229"/>
                <a:gd name="T105" fmla="*/ 192 h 229"/>
                <a:gd name="T106" fmla="*/ 85 w 229"/>
                <a:gd name="T107" fmla="*/ 202 h 229"/>
                <a:gd name="T108" fmla="*/ 100 w 229"/>
                <a:gd name="T109" fmla="*/ 219 h 229"/>
                <a:gd name="T110" fmla="*/ 114 w 229"/>
                <a:gd name="T111" fmla="*/ 35 h 229"/>
                <a:gd name="T112" fmla="*/ 57 w 229"/>
                <a:gd name="T113" fmla="*/ 67 h 229"/>
                <a:gd name="T114" fmla="*/ 114 w 229"/>
                <a:gd name="T115" fmla="*/ 4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 h="229">
                  <a:moveTo>
                    <a:pt x="122" y="229"/>
                  </a:moveTo>
                  <a:cubicBezTo>
                    <a:pt x="118" y="229"/>
                    <a:pt x="116" y="227"/>
                    <a:pt x="115" y="222"/>
                  </a:cubicBezTo>
                  <a:cubicBezTo>
                    <a:pt x="113" y="217"/>
                    <a:pt x="111" y="213"/>
                    <a:pt x="110" y="212"/>
                  </a:cubicBezTo>
                  <a:cubicBezTo>
                    <a:pt x="108" y="214"/>
                    <a:pt x="106" y="217"/>
                    <a:pt x="105" y="221"/>
                  </a:cubicBezTo>
                  <a:cubicBezTo>
                    <a:pt x="104" y="223"/>
                    <a:pt x="103" y="228"/>
                    <a:pt x="97" y="228"/>
                  </a:cubicBezTo>
                  <a:cubicBezTo>
                    <a:pt x="96" y="228"/>
                    <a:pt x="95" y="228"/>
                    <a:pt x="95" y="228"/>
                  </a:cubicBezTo>
                  <a:cubicBezTo>
                    <a:pt x="94" y="228"/>
                    <a:pt x="94" y="228"/>
                    <a:pt x="94" y="228"/>
                  </a:cubicBezTo>
                  <a:cubicBezTo>
                    <a:pt x="90" y="227"/>
                    <a:pt x="87" y="226"/>
                    <a:pt x="87" y="218"/>
                  </a:cubicBezTo>
                  <a:cubicBezTo>
                    <a:pt x="87" y="213"/>
                    <a:pt x="86" y="209"/>
                    <a:pt x="85" y="207"/>
                  </a:cubicBezTo>
                  <a:cubicBezTo>
                    <a:pt x="83" y="209"/>
                    <a:pt x="80" y="211"/>
                    <a:pt x="78" y="215"/>
                  </a:cubicBezTo>
                  <a:cubicBezTo>
                    <a:pt x="75" y="218"/>
                    <a:pt x="73" y="220"/>
                    <a:pt x="70" y="220"/>
                  </a:cubicBezTo>
                  <a:cubicBezTo>
                    <a:pt x="69" y="220"/>
                    <a:pt x="67" y="219"/>
                    <a:pt x="66" y="219"/>
                  </a:cubicBezTo>
                  <a:cubicBezTo>
                    <a:pt x="66" y="219"/>
                    <a:pt x="66" y="219"/>
                    <a:pt x="66" y="219"/>
                  </a:cubicBezTo>
                  <a:cubicBezTo>
                    <a:pt x="62" y="217"/>
                    <a:pt x="59" y="215"/>
                    <a:pt x="61" y="207"/>
                  </a:cubicBezTo>
                  <a:cubicBezTo>
                    <a:pt x="62" y="203"/>
                    <a:pt x="62" y="198"/>
                    <a:pt x="62" y="197"/>
                  </a:cubicBezTo>
                  <a:cubicBezTo>
                    <a:pt x="60" y="197"/>
                    <a:pt x="56" y="199"/>
                    <a:pt x="53" y="202"/>
                  </a:cubicBezTo>
                  <a:cubicBezTo>
                    <a:pt x="51" y="204"/>
                    <a:pt x="48" y="205"/>
                    <a:pt x="46" y="205"/>
                  </a:cubicBezTo>
                  <a:cubicBezTo>
                    <a:pt x="46" y="205"/>
                    <a:pt x="46" y="205"/>
                    <a:pt x="46" y="205"/>
                  </a:cubicBezTo>
                  <a:cubicBezTo>
                    <a:pt x="44" y="205"/>
                    <a:pt x="42" y="204"/>
                    <a:pt x="41" y="203"/>
                  </a:cubicBezTo>
                  <a:cubicBezTo>
                    <a:pt x="40" y="202"/>
                    <a:pt x="40" y="202"/>
                    <a:pt x="40" y="202"/>
                  </a:cubicBezTo>
                  <a:cubicBezTo>
                    <a:pt x="37" y="200"/>
                    <a:pt x="35" y="197"/>
                    <a:pt x="39" y="190"/>
                  </a:cubicBezTo>
                  <a:cubicBezTo>
                    <a:pt x="41" y="186"/>
                    <a:pt x="42" y="182"/>
                    <a:pt x="42" y="180"/>
                  </a:cubicBezTo>
                  <a:cubicBezTo>
                    <a:pt x="40" y="180"/>
                    <a:pt x="36" y="181"/>
                    <a:pt x="33" y="183"/>
                  </a:cubicBezTo>
                  <a:cubicBezTo>
                    <a:pt x="30" y="184"/>
                    <a:pt x="28" y="185"/>
                    <a:pt x="27" y="185"/>
                  </a:cubicBezTo>
                  <a:cubicBezTo>
                    <a:pt x="23" y="185"/>
                    <a:pt x="22" y="182"/>
                    <a:pt x="21" y="181"/>
                  </a:cubicBezTo>
                  <a:cubicBezTo>
                    <a:pt x="20" y="180"/>
                    <a:pt x="20" y="180"/>
                    <a:pt x="20" y="180"/>
                  </a:cubicBezTo>
                  <a:cubicBezTo>
                    <a:pt x="19" y="178"/>
                    <a:pt x="16" y="174"/>
                    <a:pt x="22" y="168"/>
                  </a:cubicBezTo>
                  <a:cubicBezTo>
                    <a:pt x="26" y="165"/>
                    <a:pt x="28" y="161"/>
                    <a:pt x="28" y="159"/>
                  </a:cubicBezTo>
                  <a:cubicBezTo>
                    <a:pt x="27" y="159"/>
                    <a:pt x="26" y="159"/>
                    <a:pt x="24" y="159"/>
                  </a:cubicBezTo>
                  <a:cubicBezTo>
                    <a:pt x="22" y="159"/>
                    <a:pt x="20" y="159"/>
                    <a:pt x="18" y="159"/>
                  </a:cubicBezTo>
                  <a:cubicBezTo>
                    <a:pt x="16" y="160"/>
                    <a:pt x="15" y="160"/>
                    <a:pt x="14" y="160"/>
                  </a:cubicBezTo>
                  <a:cubicBezTo>
                    <a:pt x="9" y="160"/>
                    <a:pt x="7" y="156"/>
                    <a:pt x="7" y="154"/>
                  </a:cubicBezTo>
                  <a:cubicBezTo>
                    <a:pt x="6" y="154"/>
                    <a:pt x="6" y="154"/>
                    <a:pt x="6" y="154"/>
                  </a:cubicBezTo>
                  <a:cubicBezTo>
                    <a:pt x="5" y="150"/>
                    <a:pt x="5" y="146"/>
                    <a:pt x="11" y="143"/>
                  </a:cubicBezTo>
                  <a:cubicBezTo>
                    <a:pt x="16" y="140"/>
                    <a:pt x="19" y="137"/>
                    <a:pt x="19" y="135"/>
                  </a:cubicBezTo>
                  <a:cubicBezTo>
                    <a:pt x="17" y="134"/>
                    <a:pt x="14" y="133"/>
                    <a:pt x="9" y="133"/>
                  </a:cubicBezTo>
                  <a:cubicBezTo>
                    <a:pt x="1" y="133"/>
                    <a:pt x="0" y="128"/>
                    <a:pt x="0" y="125"/>
                  </a:cubicBezTo>
                  <a:cubicBezTo>
                    <a:pt x="0" y="124"/>
                    <a:pt x="0" y="124"/>
                    <a:pt x="0" y="124"/>
                  </a:cubicBezTo>
                  <a:cubicBezTo>
                    <a:pt x="0" y="121"/>
                    <a:pt x="0" y="117"/>
                    <a:pt x="8" y="115"/>
                  </a:cubicBezTo>
                  <a:cubicBezTo>
                    <a:pt x="12" y="114"/>
                    <a:pt x="16" y="111"/>
                    <a:pt x="17" y="110"/>
                  </a:cubicBezTo>
                  <a:cubicBezTo>
                    <a:pt x="16" y="109"/>
                    <a:pt x="12" y="106"/>
                    <a:pt x="8" y="105"/>
                  </a:cubicBezTo>
                  <a:cubicBezTo>
                    <a:pt x="0" y="103"/>
                    <a:pt x="1" y="98"/>
                    <a:pt x="1" y="95"/>
                  </a:cubicBezTo>
                  <a:cubicBezTo>
                    <a:pt x="2" y="94"/>
                    <a:pt x="2" y="94"/>
                    <a:pt x="2" y="94"/>
                  </a:cubicBezTo>
                  <a:cubicBezTo>
                    <a:pt x="2" y="92"/>
                    <a:pt x="3" y="87"/>
                    <a:pt x="11" y="87"/>
                  </a:cubicBezTo>
                  <a:cubicBezTo>
                    <a:pt x="11" y="87"/>
                    <a:pt x="11" y="87"/>
                    <a:pt x="11" y="87"/>
                  </a:cubicBezTo>
                  <a:cubicBezTo>
                    <a:pt x="16" y="87"/>
                    <a:pt x="20" y="86"/>
                    <a:pt x="22" y="85"/>
                  </a:cubicBezTo>
                  <a:cubicBezTo>
                    <a:pt x="21" y="83"/>
                    <a:pt x="18" y="80"/>
                    <a:pt x="14" y="78"/>
                  </a:cubicBezTo>
                  <a:cubicBezTo>
                    <a:pt x="7" y="73"/>
                    <a:pt x="9" y="69"/>
                    <a:pt x="10" y="67"/>
                  </a:cubicBezTo>
                  <a:cubicBezTo>
                    <a:pt x="11" y="66"/>
                    <a:pt x="11" y="66"/>
                    <a:pt x="11" y="66"/>
                  </a:cubicBezTo>
                  <a:cubicBezTo>
                    <a:pt x="11" y="64"/>
                    <a:pt x="13" y="61"/>
                    <a:pt x="18" y="61"/>
                  </a:cubicBezTo>
                  <a:cubicBezTo>
                    <a:pt x="19" y="61"/>
                    <a:pt x="20" y="61"/>
                    <a:pt x="22" y="62"/>
                  </a:cubicBezTo>
                  <a:cubicBezTo>
                    <a:pt x="24" y="62"/>
                    <a:pt x="27" y="63"/>
                    <a:pt x="29" y="63"/>
                  </a:cubicBezTo>
                  <a:cubicBezTo>
                    <a:pt x="31" y="63"/>
                    <a:pt x="32" y="62"/>
                    <a:pt x="33" y="62"/>
                  </a:cubicBezTo>
                  <a:cubicBezTo>
                    <a:pt x="32" y="60"/>
                    <a:pt x="30" y="57"/>
                    <a:pt x="27" y="53"/>
                  </a:cubicBezTo>
                  <a:cubicBezTo>
                    <a:pt x="21" y="47"/>
                    <a:pt x="25" y="43"/>
                    <a:pt x="26" y="41"/>
                  </a:cubicBezTo>
                  <a:cubicBezTo>
                    <a:pt x="27" y="41"/>
                    <a:pt x="27" y="41"/>
                    <a:pt x="27" y="41"/>
                  </a:cubicBezTo>
                  <a:cubicBezTo>
                    <a:pt x="28" y="39"/>
                    <a:pt x="30" y="37"/>
                    <a:pt x="33" y="37"/>
                  </a:cubicBezTo>
                  <a:cubicBezTo>
                    <a:pt x="34" y="37"/>
                    <a:pt x="36" y="38"/>
                    <a:pt x="39" y="39"/>
                  </a:cubicBezTo>
                  <a:cubicBezTo>
                    <a:pt x="42" y="41"/>
                    <a:pt x="46" y="43"/>
                    <a:pt x="49" y="43"/>
                  </a:cubicBezTo>
                  <a:cubicBezTo>
                    <a:pt x="49" y="43"/>
                    <a:pt x="49" y="43"/>
                    <a:pt x="49" y="43"/>
                  </a:cubicBezTo>
                  <a:cubicBezTo>
                    <a:pt x="49" y="41"/>
                    <a:pt x="49" y="37"/>
                    <a:pt x="47" y="32"/>
                  </a:cubicBezTo>
                  <a:cubicBezTo>
                    <a:pt x="43" y="25"/>
                    <a:pt x="46" y="23"/>
                    <a:pt x="49" y="21"/>
                  </a:cubicBezTo>
                  <a:cubicBezTo>
                    <a:pt x="50" y="20"/>
                    <a:pt x="50" y="20"/>
                    <a:pt x="50" y="20"/>
                  </a:cubicBezTo>
                  <a:cubicBezTo>
                    <a:pt x="51" y="19"/>
                    <a:pt x="52" y="18"/>
                    <a:pt x="55" y="18"/>
                  </a:cubicBezTo>
                  <a:cubicBezTo>
                    <a:pt x="57" y="18"/>
                    <a:pt x="59" y="20"/>
                    <a:pt x="62" y="22"/>
                  </a:cubicBezTo>
                  <a:cubicBezTo>
                    <a:pt x="65" y="25"/>
                    <a:pt x="68" y="28"/>
                    <a:pt x="70" y="28"/>
                  </a:cubicBezTo>
                  <a:cubicBezTo>
                    <a:pt x="71" y="27"/>
                    <a:pt x="71" y="22"/>
                    <a:pt x="70" y="18"/>
                  </a:cubicBezTo>
                  <a:cubicBezTo>
                    <a:pt x="69" y="10"/>
                    <a:pt x="72" y="8"/>
                    <a:pt x="76" y="7"/>
                  </a:cubicBezTo>
                  <a:cubicBezTo>
                    <a:pt x="77" y="7"/>
                    <a:pt x="77" y="7"/>
                    <a:pt x="77" y="7"/>
                  </a:cubicBezTo>
                  <a:cubicBezTo>
                    <a:pt x="77" y="6"/>
                    <a:pt x="79" y="6"/>
                    <a:pt x="80" y="6"/>
                  </a:cubicBezTo>
                  <a:cubicBezTo>
                    <a:pt x="83" y="6"/>
                    <a:pt x="85" y="8"/>
                    <a:pt x="87" y="12"/>
                  </a:cubicBezTo>
                  <a:cubicBezTo>
                    <a:pt x="89" y="16"/>
                    <a:pt x="92" y="19"/>
                    <a:pt x="94" y="20"/>
                  </a:cubicBezTo>
                  <a:cubicBezTo>
                    <a:pt x="95" y="18"/>
                    <a:pt x="97" y="14"/>
                    <a:pt x="97" y="9"/>
                  </a:cubicBezTo>
                  <a:cubicBezTo>
                    <a:pt x="98" y="2"/>
                    <a:pt x="101" y="1"/>
                    <a:pt x="105" y="1"/>
                  </a:cubicBezTo>
                  <a:cubicBezTo>
                    <a:pt x="106" y="0"/>
                    <a:pt x="106" y="0"/>
                    <a:pt x="106" y="0"/>
                  </a:cubicBezTo>
                  <a:cubicBezTo>
                    <a:pt x="106" y="0"/>
                    <a:pt x="107" y="0"/>
                    <a:pt x="107" y="0"/>
                  </a:cubicBezTo>
                  <a:cubicBezTo>
                    <a:pt x="111" y="0"/>
                    <a:pt x="114" y="3"/>
                    <a:pt x="115" y="8"/>
                  </a:cubicBezTo>
                  <a:cubicBezTo>
                    <a:pt x="116" y="12"/>
                    <a:pt x="118" y="16"/>
                    <a:pt x="119" y="18"/>
                  </a:cubicBezTo>
                  <a:cubicBezTo>
                    <a:pt x="121" y="17"/>
                    <a:pt x="123" y="13"/>
                    <a:pt x="125" y="9"/>
                  </a:cubicBezTo>
                  <a:cubicBezTo>
                    <a:pt x="126" y="7"/>
                    <a:pt x="127" y="2"/>
                    <a:pt x="132" y="2"/>
                  </a:cubicBezTo>
                  <a:cubicBezTo>
                    <a:pt x="133" y="2"/>
                    <a:pt x="134" y="2"/>
                    <a:pt x="135" y="2"/>
                  </a:cubicBezTo>
                  <a:cubicBezTo>
                    <a:pt x="136" y="2"/>
                    <a:pt x="136" y="2"/>
                    <a:pt x="136" y="2"/>
                  </a:cubicBezTo>
                  <a:cubicBezTo>
                    <a:pt x="138" y="3"/>
                    <a:pt x="143" y="4"/>
                    <a:pt x="143" y="12"/>
                  </a:cubicBezTo>
                  <a:cubicBezTo>
                    <a:pt x="142" y="16"/>
                    <a:pt x="143" y="20"/>
                    <a:pt x="144" y="22"/>
                  </a:cubicBezTo>
                  <a:cubicBezTo>
                    <a:pt x="146" y="22"/>
                    <a:pt x="149" y="19"/>
                    <a:pt x="152" y="15"/>
                  </a:cubicBezTo>
                  <a:cubicBezTo>
                    <a:pt x="154" y="12"/>
                    <a:pt x="157" y="10"/>
                    <a:pt x="159" y="10"/>
                  </a:cubicBezTo>
                  <a:cubicBezTo>
                    <a:pt x="161" y="10"/>
                    <a:pt x="162" y="11"/>
                    <a:pt x="164" y="11"/>
                  </a:cubicBezTo>
                  <a:cubicBezTo>
                    <a:pt x="164" y="11"/>
                    <a:pt x="164" y="11"/>
                    <a:pt x="164" y="11"/>
                  </a:cubicBezTo>
                  <a:cubicBezTo>
                    <a:pt x="167" y="13"/>
                    <a:pt x="171" y="15"/>
                    <a:pt x="168" y="23"/>
                  </a:cubicBezTo>
                  <a:cubicBezTo>
                    <a:pt x="167" y="27"/>
                    <a:pt x="167" y="31"/>
                    <a:pt x="167" y="33"/>
                  </a:cubicBezTo>
                  <a:cubicBezTo>
                    <a:pt x="169" y="33"/>
                    <a:pt x="174" y="31"/>
                    <a:pt x="177" y="28"/>
                  </a:cubicBezTo>
                  <a:cubicBezTo>
                    <a:pt x="179" y="26"/>
                    <a:pt x="181" y="25"/>
                    <a:pt x="183" y="25"/>
                  </a:cubicBezTo>
                  <a:cubicBezTo>
                    <a:pt x="186" y="25"/>
                    <a:pt x="188" y="26"/>
                    <a:pt x="189" y="27"/>
                  </a:cubicBezTo>
                  <a:cubicBezTo>
                    <a:pt x="189" y="28"/>
                    <a:pt x="189" y="28"/>
                    <a:pt x="189" y="28"/>
                  </a:cubicBezTo>
                  <a:cubicBezTo>
                    <a:pt x="191" y="30"/>
                    <a:pt x="195" y="33"/>
                    <a:pt x="190" y="40"/>
                  </a:cubicBezTo>
                  <a:cubicBezTo>
                    <a:pt x="188" y="44"/>
                    <a:pt x="187" y="47"/>
                    <a:pt x="186" y="49"/>
                  </a:cubicBezTo>
                  <a:cubicBezTo>
                    <a:pt x="187" y="50"/>
                    <a:pt x="187" y="50"/>
                    <a:pt x="187" y="50"/>
                  </a:cubicBezTo>
                  <a:cubicBezTo>
                    <a:pt x="190" y="50"/>
                    <a:pt x="194" y="49"/>
                    <a:pt x="197" y="47"/>
                  </a:cubicBezTo>
                  <a:cubicBezTo>
                    <a:pt x="199" y="46"/>
                    <a:pt x="201" y="46"/>
                    <a:pt x="203" y="46"/>
                  </a:cubicBezTo>
                  <a:cubicBezTo>
                    <a:pt x="206" y="46"/>
                    <a:pt x="208" y="48"/>
                    <a:pt x="209" y="50"/>
                  </a:cubicBezTo>
                  <a:cubicBezTo>
                    <a:pt x="209" y="50"/>
                    <a:pt x="209" y="50"/>
                    <a:pt x="209" y="50"/>
                  </a:cubicBezTo>
                  <a:cubicBezTo>
                    <a:pt x="211" y="52"/>
                    <a:pt x="214" y="56"/>
                    <a:pt x="207" y="62"/>
                  </a:cubicBezTo>
                  <a:cubicBezTo>
                    <a:pt x="204" y="65"/>
                    <a:pt x="202" y="68"/>
                    <a:pt x="201" y="70"/>
                  </a:cubicBezTo>
                  <a:cubicBezTo>
                    <a:pt x="202" y="71"/>
                    <a:pt x="204" y="71"/>
                    <a:pt x="207" y="71"/>
                  </a:cubicBezTo>
                  <a:cubicBezTo>
                    <a:pt x="209" y="71"/>
                    <a:pt x="210" y="71"/>
                    <a:pt x="212" y="71"/>
                  </a:cubicBezTo>
                  <a:cubicBezTo>
                    <a:pt x="213" y="71"/>
                    <a:pt x="214" y="70"/>
                    <a:pt x="215" y="70"/>
                  </a:cubicBezTo>
                  <a:cubicBezTo>
                    <a:pt x="221" y="70"/>
                    <a:pt x="222" y="74"/>
                    <a:pt x="223" y="76"/>
                  </a:cubicBezTo>
                  <a:cubicBezTo>
                    <a:pt x="223" y="77"/>
                    <a:pt x="223" y="77"/>
                    <a:pt x="223" y="77"/>
                  </a:cubicBezTo>
                  <a:cubicBezTo>
                    <a:pt x="224" y="79"/>
                    <a:pt x="225" y="84"/>
                    <a:pt x="217" y="88"/>
                  </a:cubicBezTo>
                  <a:cubicBezTo>
                    <a:pt x="214" y="90"/>
                    <a:pt x="211" y="92"/>
                    <a:pt x="209" y="94"/>
                  </a:cubicBezTo>
                  <a:cubicBezTo>
                    <a:pt x="211" y="95"/>
                    <a:pt x="215" y="97"/>
                    <a:pt x="220" y="98"/>
                  </a:cubicBezTo>
                  <a:cubicBezTo>
                    <a:pt x="227" y="98"/>
                    <a:pt x="229" y="102"/>
                    <a:pt x="229" y="106"/>
                  </a:cubicBezTo>
                  <a:cubicBezTo>
                    <a:pt x="229" y="106"/>
                    <a:pt x="229" y="106"/>
                    <a:pt x="229" y="106"/>
                  </a:cubicBezTo>
                  <a:cubicBezTo>
                    <a:pt x="229" y="109"/>
                    <a:pt x="229" y="114"/>
                    <a:pt x="221" y="115"/>
                  </a:cubicBezTo>
                  <a:cubicBezTo>
                    <a:pt x="217" y="116"/>
                    <a:pt x="213" y="118"/>
                    <a:pt x="212" y="120"/>
                  </a:cubicBezTo>
                  <a:cubicBezTo>
                    <a:pt x="213" y="121"/>
                    <a:pt x="216" y="124"/>
                    <a:pt x="221" y="125"/>
                  </a:cubicBezTo>
                  <a:cubicBezTo>
                    <a:pt x="228" y="128"/>
                    <a:pt x="228" y="132"/>
                    <a:pt x="227" y="135"/>
                  </a:cubicBezTo>
                  <a:cubicBezTo>
                    <a:pt x="227" y="136"/>
                    <a:pt x="227" y="136"/>
                    <a:pt x="227" y="136"/>
                  </a:cubicBezTo>
                  <a:cubicBezTo>
                    <a:pt x="227" y="138"/>
                    <a:pt x="226" y="143"/>
                    <a:pt x="219" y="143"/>
                  </a:cubicBezTo>
                  <a:cubicBezTo>
                    <a:pt x="218" y="143"/>
                    <a:pt x="218" y="143"/>
                    <a:pt x="217" y="143"/>
                  </a:cubicBezTo>
                  <a:cubicBezTo>
                    <a:pt x="217" y="143"/>
                    <a:pt x="217" y="143"/>
                    <a:pt x="216" y="143"/>
                  </a:cubicBezTo>
                  <a:cubicBezTo>
                    <a:pt x="212" y="143"/>
                    <a:pt x="209" y="144"/>
                    <a:pt x="207" y="145"/>
                  </a:cubicBezTo>
                  <a:cubicBezTo>
                    <a:pt x="208" y="146"/>
                    <a:pt x="210" y="150"/>
                    <a:pt x="214" y="153"/>
                  </a:cubicBezTo>
                  <a:cubicBezTo>
                    <a:pt x="221" y="157"/>
                    <a:pt x="220" y="161"/>
                    <a:pt x="218" y="164"/>
                  </a:cubicBezTo>
                  <a:cubicBezTo>
                    <a:pt x="218" y="165"/>
                    <a:pt x="218" y="165"/>
                    <a:pt x="218" y="165"/>
                  </a:cubicBezTo>
                  <a:cubicBezTo>
                    <a:pt x="217" y="166"/>
                    <a:pt x="216" y="170"/>
                    <a:pt x="211" y="170"/>
                  </a:cubicBezTo>
                  <a:cubicBezTo>
                    <a:pt x="210" y="170"/>
                    <a:pt x="208" y="169"/>
                    <a:pt x="206" y="169"/>
                  </a:cubicBezTo>
                  <a:cubicBezTo>
                    <a:pt x="204" y="168"/>
                    <a:pt x="201" y="167"/>
                    <a:pt x="198" y="167"/>
                  </a:cubicBezTo>
                  <a:cubicBezTo>
                    <a:pt x="197" y="167"/>
                    <a:pt x="197" y="167"/>
                    <a:pt x="196" y="167"/>
                  </a:cubicBezTo>
                  <a:cubicBezTo>
                    <a:pt x="196" y="169"/>
                    <a:pt x="198" y="173"/>
                    <a:pt x="201" y="177"/>
                  </a:cubicBezTo>
                  <a:cubicBezTo>
                    <a:pt x="206" y="183"/>
                    <a:pt x="205" y="186"/>
                    <a:pt x="202" y="189"/>
                  </a:cubicBezTo>
                  <a:cubicBezTo>
                    <a:pt x="201" y="190"/>
                    <a:pt x="201" y="190"/>
                    <a:pt x="201" y="190"/>
                  </a:cubicBezTo>
                  <a:cubicBezTo>
                    <a:pt x="200" y="191"/>
                    <a:pt x="199" y="193"/>
                    <a:pt x="196" y="193"/>
                  </a:cubicBezTo>
                  <a:cubicBezTo>
                    <a:pt x="194" y="193"/>
                    <a:pt x="192" y="192"/>
                    <a:pt x="189" y="191"/>
                  </a:cubicBezTo>
                  <a:cubicBezTo>
                    <a:pt x="186" y="189"/>
                    <a:pt x="182" y="187"/>
                    <a:pt x="180" y="187"/>
                  </a:cubicBezTo>
                  <a:cubicBezTo>
                    <a:pt x="180" y="189"/>
                    <a:pt x="181" y="193"/>
                    <a:pt x="183" y="197"/>
                  </a:cubicBezTo>
                  <a:cubicBezTo>
                    <a:pt x="187" y="204"/>
                    <a:pt x="182" y="207"/>
                    <a:pt x="180" y="209"/>
                  </a:cubicBezTo>
                  <a:cubicBezTo>
                    <a:pt x="180" y="209"/>
                    <a:pt x="180" y="209"/>
                    <a:pt x="180" y="209"/>
                  </a:cubicBezTo>
                  <a:cubicBezTo>
                    <a:pt x="179" y="210"/>
                    <a:pt x="177" y="211"/>
                    <a:pt x="175" y="211"/>
                  </a:cubicBezTo>
                  <a:cubicBezTo>
                    <a:pt x="173" y="211"/>
                    <a:pt x="170" y="210"/>
                    <a:pt x="168" y="207"/>
                  </a:cubicBezTo>
                  <a:cubicBezTo>
                    <a:pt x="165" y="204"/>
                    <a:pt x="161" y="202"/>
                    <a:pt x="159" y="201"/>
                  </a:cubicBezTo>
                  <a:cubicBezTo>
                    <a:pt x="158" y="204"/>
                    <a:pt x="158" y="208"/>
                    <a:pt x="159" y="212"/>
                  </a:cubicBezTo>
                  <a:cubicBezTo>
                    <a:pt x="161" y="220"/>
                    <a:pt x="156" y="222"/>
                    <a:pt x="154" y="223"/>
                  </a:cubicBezTo>
                  <a:cubicBezTo>
                    <a:pt x="153" y="223"/>
                    <a:pt x="153" y="223"/>
                    <a:pt x="153" y="223"/>
                  </a:cubicBezTo>
                  <a:cubicBezTo>
                    <a:pt x="152" y="223"/>
                    <a:pt x="151" y="224"/>
                    <a:pt x="150" y="224"/>
                  </a:cubicBezTo>
                  <a:cubicBezTo>
                    <a:pt x="147" y="224"/>
                    <a:pt x="144" y="222"/>
                    <a:pt x="142" y="218"/>
                  </a:cubicBezTo>
                  <a:cubicBezTo>
                    <a:pt x="140" y="214"/>
                    <a:pt x="137" y="211"/>
                    <a:pt x="135" y="210"/>
                  </a:cubicBezTo>
                  <a:cubicBezTo>
                    <a:pt x="134" y="212"/>
                    <a:pt x="133" y="216"/>
                    <a:pt x="132" y="220"/>
                  </a:cubicBezTo>
                  <a:cubicBezTo>
                    <a:pt x="132" y="229"/>
                    <a:pt x="127" y="229"/>
                    <a:pt x="125" y="229"/>
                  </a:cubicBezTo>
                  <a:cubicBezTo>
                    <a:pt x="124" y="229"/>
                    <a:pt x="124" y="229"/>
                    <a:pt x="124" y="229"/>
                  </a:cubicBezTo>
                  <a:cubicBezTo>
                    <a:pt x="123" y="229"/>
                    <a:pt x="123" y="229"/>
                    <a:pt x="122" y="229"/>
                  </a:cubicBezTo>
                  <a:close/>
                  <a:moveTo>
                    <a:pt x="109" y="207"/>
                  </a:moveTo>
                  <a:cubicBezTo>
                    <a:pt x="109" y="207"/>
                    <a:pt x="109" y="207"/>
                    <a:pt x="110" y="207"/>
                  </a:cubicBezTo>
                  <a:cubicBezTo>
                    <a:pt x="115" y="207"/>
                    <a:pt x="118" y="216"/>
                    <a:pt x="119" y="220"/>
                  </a:cubicBezTo>
                  <a:cubicBezTo>
                    <a:pt x="120" y="224"/>
                    <a:pt x="121" y="224"/>
                    <a:pt x="122" y="224"/>
                  </a:cubicBezTo>
                  <a:cubicBezTo>
                    <a:pt x="123" y="224"/>
                    <a:pt x="123" y="224"/>
                    <a:pt x="123" y="224"/>
                  </a:cubicBezTo>
                  <a:cubicBezTo>
                    <a:pt x="124" y="224"/>
                    <a:pt x="124" y="224"/>
                    <a:pt x="124" y="224"/>
                  </a:cubicBezTo>
                  <a:cubicBezTo>
                    <a:pt x="126" y="224"/>
                    <a:pt x="127" y="224"/>
                    <a:pt x="127" y="220"/>
                  </a:cubicBezTo>
                  <a:cubicBezTo>
                    <a:pt x="128" y="214"/>
                    <a:pt x="129" y="208"/>
                    <a:pt x="132" y="205"/>
                  </a:cubicBezTo>
                  <a:cubicBezTo>
                    <a:pt x="133" y="205"/>
                    <a:pt x="133" y="205"/>
                    <a:pt x="134" y="205"/>
                  </a:cubicBezTo>
                  <a:cubicBezTo>
                    <a:pt x="134" y="205"/>
                    <a:pt x="134" y="205"/>
                    <a:pt x="134" y="205"/>
                  </a:cubicBezTo>
                  <a:cubicBezTo>
                    <a:pt x="139" y="205"/>
                    <a:pt x="144" y="212"/>
                    <a:pt x="147" y="216"/>
                  </a:cubicBezTo>
                  <a:cubicBezTo>
                    <a:pt x="147" y="217"/>
                    <a:pt x="148" y="219"/>
                    <a:pt x="150" y="219"/>
                  </a:cubicBezTo>
                  <a:cubicBezTo>
                    <a:pt x="150" y="219"/>
                    <a:pt x="151" y="218"/>
                    <a:pt x="151" y="218"/>
                  </a:cubicBezTo>
                  <a:cubicBezTo>
                    <a:pt x="152" y="218"/>
                    <a:pt x="152" y="218"/>
                    <a:pt x="152" y="218"/>
                  </a:cubicBezTo>
                  <a:cubicBezTo>
                    <a:pt x="154" y="217"/>
                    <a:pt x="155" y="217"/>
                    <a:pt x="154" y="213"/>
                  </a:cubicBezTo>
                  <a:cubicBezTo>
                    <a:pt x="153" y="208"/>
                    <a:pt x="153" y="201"/>
                    <a:pt x="155" y="198"/>
                  </a:cubicBezTo>
                  <a:cubicBezTo>
                    <a:pt x="155" y="197"/>
                    <a:pt x="156" y="197"/>
                    <a:pt x="156" y="197"/>
                  </a:cubicBezTo>
                  <a:cubicBezTo>
                    <a:pt x="157" y="196"/>
                    <a:pt x="157" y="196"/>
                    <a:pt x="158" y="196"/>
                  </a:cubicBezTo>
                  <a:cubicBezTo>
                    <a:pt x="162" y="196"/>
                    <a:pt x="168" y="200"/>
                    <a:pt x="172" y="204"/>
                  </a:cubicBezTo>
                  <a:cubicBezTo>
                    <a:pt x="174" y="206"/>
                    <a:pt x="175" y="206"/>
                    <a:pt x="175" y="206"/>
                  </a:cubicBezTo>
                  <a:cubicBezTo>
                    <a:pt x="176" y="206"/>
                    <a:pt x="176" y="206"/>
                    <a:pt x="177" y="205"/>
                  </a:cubicBezTo>
                  <a:cubicBezTo>
                    <a:pt x="178" y="205"/>
                    <a:pt x="178" y="205"/>
                    <a:pt x="178" y="205"/>
                  </a:cubicBezTo>
                  <a:cubicBezTo>
                    <a:pt x="179" y="203"/>
                    <a:pt x="180" y="203"/>
                    <a:pt x="178" y="199"/>
                  </a:cubicBezTo>
                  <a:cubicBezTo>
                    <a:pt x="176" y="196"/>
                    <a:pt x="173" y="188"/>
                    <a:pt x="175" y="183"/>
                  </a:cubicBezTo>
                  <a:cubicBezTo>
                    <a:pt x="176" y="183"/>
                    <a:pt x="176" y="182"/>
                    <a:pt x="177" y="182"/>
                  </a:cubicBezTo>
                  <a:cubicBezTo>
                    <a:pt x="181" y="181"/>
                    <a:pt x="188" y="184"/>
                    <a:pt x="192" y="186"/>
                  </a:cubicBezTo>
                  <a:cubicBezTo>
                    <a:pt x="194" y="188"/>
                    <a:pt x="195" y="188"/>
                    <a:pt x="196" y="188"/>
                  </a:cubicBezTo>
                  <a:cubicBezTo>
                    <a:pt x="196" y="188"/>
                    <a:pt x="197" y="188"/>
                    <a:pt x="198" y="186"/>
                  </a:cubicBezTo>
                  <a:cubicBezTo>
                    <a:pt x="198" y="186"/>
                    <a:pt x="198" y="186"/>
                    <a:pt x="198" y="186"/>
                  </a:cubicBezTo>
                  <a:cubicBezTo>
                    <a:pt x="200" y="184"/>
                    <a:pt x="200" y="184"/>
                    <a:pt x="197" y="180"/>
                  </a:cubicBezTo>
                  <a:cubicBezTo>
                    <a:pt x="194" y="177"/>
                    <a:pt x="189" y="169"/>
                    <a:pt x="192" y="164"/>
                  </a:cubicBezTo>
                  <a:cubicBezTo>
                    <a:pt x="192" y="164"/>
                    <a:pt x="192" y="163"/>
                    <a:pt x="193" y="163"/>
                  </a:cubicBezTo>
                  <a:cubicBezTo>
                    <a:pt x="196" y="162"/>
                    <a:pt x="202" y="162"/>
                    <a:pt x="208" y="164"/>
                  </a:cubicBezTo>
                  <a:cubicBezTo>
                    <a:pt x="209" y="164"/>
                    <a:pt x="210" y="165"/>
                    <a:pt x="211" y="165"/>
                  </a:cubicBezTo>
                  <a:cubicBezTo>
                    <a:pt x="212" y="165"/>
                    <a:pt x="213" y="164"/>
                    <a:pt x="213" y="162"/>
                  </a:cubicBezTo>
                  <a:cubicBezTo>
                    <a:pt x="214" y="162"/>
                    <a:pt x="214" y="162"/>
                    <a:pt x="214" y="162"/>
                  </a:cubicBezTo>
                  <a:cubicBezTo>
                    <a:pt x="215" y="160"/>
                    <a:pt x="215" y="159"/>
                    <a:pt x="212" y="157"/>
                  </a:cubicBezTo>
                  <a:cubicBezTo>
                    <a:pt x="207" y="153"/>
                    <a:pt x="201" y="147"/>
                    <a:pt x="202" y="143"/>
                  </a:cubicBezTo>
                  <a:cubicBezTo>
                    <a:pt x="202" y="142"/>
                    <a:pt x="202" y="142"/>
                    <a:pt x="203" y="141"/>
                  </a:cubicBezTo>
                  <a:cubicBezTo>
                    <a:pt x="206" y="139"/>
                    <a:pt x="212" y="138"/>
                    <a:pt x="216" y="138"/>
                  </a:cubicBezTo>
                  <a:cubicBezTo>
                    <a:pt x="217" y="138"/>
                    <a:pt x="217" y="138"/>
                    <a:pt x="217" y="138"/>
                  </a:cubicBezTo>
                  <a:cubicBezTo>
                    <a:pt x="218" y="138"/>
                    <a:pt x="218" y="138"/>
                    <a:pt x="219" y="138"/>
                  </a:cubicBezTo>
                  <a:cubicBezTo>
                    <a:pt x="222" y="138"/>
                    <a:pt x="222" y="137"/>
                    <a:pt x="222" y="135"/>
                  </a:cubicBezTo>
                  <a:cubicBezTo>
                    <a:pt x="222" y="134"/>
                    <a:pt x="222" y="134"/>
                    <a:pt x="222" y="134"/>
                  </a:cubicBezTo>
                  <a:cubicBezTo>
                    <a:pt x="223" y="132"/>
                    <a:pt x="223" y="131"/>
                    <a:pt x="219" y="130"/>
                  </a:cubicBezTo>
                  <a:cubicBezTo>
                    <a:pt x="215" y="128"/>
                    <a:pt x="207" y="124"/>
                    <a:pt x="206" y="119"/>
                  </a:cubicBezTo>
                  <a:cubicBezTo>
                    <a:pt x="206" y="119"/>
                    <a:pt x="206" y="118"/>
                    <a:pt x="207" y="118"/>
                  </a:cubicBezTo>
                  <a:cubicBezTo>
                    <a:pt x="209" y="114"/>
                    <a:pt x="215" y="112"/>
                    <a:pt x="220" y="111"/>
                  </a:cubicBezTo>
                  <a:cubicBezTo>
                    <a:pt x="224" y="110"/>
                    <a:pt x="224" y="109"/>
                    <a:pt x="224" y="107"/>
                  </a:cubicBezTo>
                  <a:cubicBezTo>
                    <a:pt x="224" y="106"/>
                    <a:pt x="224" y="106"/>
                    <a:pt x="224" y="106"/>
                  </a:cubicBezTo>
                  <a:cubicBezTo>
                    <a:pt x="224" y="104"/>
                    <a:pt x="224" y="103"/>
                    <a:pt x="219" y="103"/>
                  </a:cubicBezTo>
                  <a:cubicBezTo>
                    <a:pt x="215" y="102"/>
                    <a:pt x="205" y="100"/>
                    <a:pt x="204" y="95"/>
                  </a:cubicBezTo>
                  <a:cubicBezTo>
                    <a:pt x="204" y="94"/>
                    <a:pt x="204" y="94"/>
                    <a:pt x="204" y="93"/>
                  </a:cubicBezTo>
                  <a:cubicBezTo>
                    <a:pt x="206" y="90"/>
                    <a:pt x="211" y="86"/>
                    <a:pt x="215" y="83"/>
                  </a:cubicBezTo>
                  <a:cubicBezTo>
                    <a:pt x="219" y="82"/>
                    <a:pt x="219" y="81"/>
                    <a:pt x="218" y="79"/>
                  </a:cubicBezTo>
                  <a:cubicBezTo>
                    <a:pt x="218" y="78"/>
                    <a:pt x="218" y="78"/>
                    <a:pt x="218" y="78"/>
                  </a:cubicBezTo>
                  <a:cubicBezTo>
                    <a:pt x="217" y="76"/>
                    <a:pt x="217" y="75"/>
                    <a:pt x="215" y="75"/>
                  </a:cubicBezTo>
                  <a:cubicBezTo>
                    <a:pt x="214" y="75"/>
                    <a:pt x="214" y="76"/>
                    <a:pt x="213" y="76"/>
                  </a:cubicBezTo>
                  <a:cubicBezTo>
                    <a:pt x="211" y="76"/>
                    <a:pt x="209" y="76"/>
                    <a:pt x="207" y="76"/>
                  </a:cubicBezTo>
                  <a:cubicBezTo>
                    <a:pt x="203" y="76"/>
                    <a:pt x="198" y="76"/>
                    <a:pt x="196" y="73"/>
                  </a:cubicBezTo>
                  <a:cubicBezTo>
                    <a:pt x="196" y="72"/>
                    <a:pt x="196" y="72"/>
                    <a:pt x="196" y="71"/>
                  </a:cubicBezTo>
                  <a:cubicBezTo>
                    <a:pt x="196" y="67"/>
                    <a:pt x="200" y="62"/>
                    <a:pt x="204" y="58"/>
                  </a:cubicBezTo>
                  <a:cubicBezTo>
                    <a:pt x="207" y="56"/>
                    <a:pt x="206" y="55"/>
                    <a:pt x="205" y="53"/>
                  </a:cubicBezTo>
                  <a:cubicBezTo>
                    <a:pt x="205" y="52"/>
                    <a:pt x="205" y="52"/>
                    <a:pt x="205" y="52"/>
                  </a:cubicBezTo>
                  <a:cubicBezTo>
                    <a:pt x="204" y="51"/>
                    <a:pt x="203" y="51"/>
                    <a:pt x="203" y="51"/>
                  </a:cubicBezTo>
                  <a:cubicBezTo>
                    <a:pt x="202" y="51"/>
                    <a:pt x="201" y="51"/>
                    <a:pt x="199" y="52"/>
                  </a:cubicBezTo>
                  <a:cubicBezTo>
                    <a:pt x="195" y="53"/>
                    <a:pt x="191" y="55"/>
                    <a:pt x="187" y="55"/>
                  </a:cubicBezTo>
                  <a:cubicBezTo>
                    <a:pt x="185" y="55"/>
                    <a:pt x="183" y="54"/>
                    <a:pt x="182" y="53"/>
                  </a:cubicBezTo>
                  <a:cubicBezTo>
                    <a:pt x="182" y="53"/>
                    <a:pt x="182" y="52"/>
                    <a:pt x="181" y="52"/>
                  </a:cubicBezTo>
                  <a:cubicBezTo>
                    <a:pt x="181" y="48"/>
                    <a:pt x="183" y="42"/>
                    <a:pt x="186" y="37"/>
                  </a:cubicBezTo>
                  <a:cubicBezTo>
                    <a:pt x="188" y="34"/>
                    <a:pt x="188" y="33"/>
                    <a:pt x="186" y="32"/>
                  </a:cubicBezTo>
                  <a:cubicBezTo>
                    <a:pt x="185" y="31"/>
                    <a:pt x="185" y="31"/>
                    <a:pt x="185" y="31"/>
                  </a:cubicBezTo>
                  <a:cubicBezTo>
                    <a:pt x="185" y="30"/>
                    <a:pt x="184" y="30"/>
                    <a:pt x="183" y="30"/>
                  </a:cubicBezTo>
                  <a:cubicBezTo>
                    <a:pt x="183" y="30"/>
                    <a:pt x="182" y="30"/>
                    <a:pt x="180" y="32"/>
                  </a:cubicBezTo>
                  <a:cubicBezTo>
                    <a:pt x="176" y="35"/>
                    <a:pt x="171" y="38"/>
                    <a:pt x="167" y="38"/>
                  </a:cubicBezTo>
                  <a:cubicBezTo>
                    <a:pt x="166" y="38"/>
                    <a:pt x="165" y="38"/>
                    <a:pt x="164" y="38"/>
                  </a:cubicBezTo>
                  <a:cubicBezTo>
                    <a:pt x="163" y="37"/>
                    <a:pt x="163" y="37"/>
                    <a:pt x="163" y="36"/>
                  </a:cubicBezTo>
                  <a:cubicBezTo>
                    <a:pt x="161" y="33"/>
                    <a:pt x="162" y="26"/>
                    <a:pt x="163" y="21"/>
                  </a:cubicBezTo>
                  <a:cubicBezTo>
                    <a:pt x="165" y="17"/>
                    <a:pt x="164" y="17"/>
                    <a:pt x="162" y="16"/>
                  </a:cubicBezTo>
                  <a:cubicBezTo>
                    <a:pt x="161" y="16"/>
                    <a:pt x="161" y="16"/>
                    <a:pt x="161" y="16"/>
                  </a:cubicBezTo>
                  <a:cubicBezTo>
                    <a:pt x="161" y="15"/>
                    <a:pt x="160" y="15"/>
                    <a:pt x="159" y="15"/>
                  </a:cubicBezTo>
                  <a:cubicBezTo>
                    <a:pt x="159" y="15"/>
                    <a:pt x="157" y="16"/>
                    <a:pt x="156" y="18"/>
                  </a:cubicBezTo>
                  <a:cubicBezTo>
                    <a:pt x="154" y="21"/>
                    <a:pt x="148" y="27"/>
                    <a:pt x="143" y="27"/>
                  </a:cubicBezTo>
                  <a:cubicBezTo>
                    <a:pt x="143" y="27"/>
                    <a:pt x="143" y="27"/>
                    <a:pt x="142" y="27"/>
                  </a:cubicBezTo>
                  <a:cubicBezTo>
                    <a:pt x="142" y="27"/>
                    <a:pt x="141" y="27"/>
                    <a:pt x="141" y="27"/>
                  </a:cubicBezTo>
                  <a:cubicBezTo>
                    <a:pt x="138" y="23"/>
                    <a:pt x="137" y="17"/>
                    <a:pt x="138" y="12"/>
                  </a:cubicBezTo>
                  <a:cubicBezTo>
                    <a:pt x="138" y="8"/>
                    <a:pt x="137" y="7"/>
                    <a:pt x="135" y="7"/>
                  </a:cubicBezTo>
                  <a:cubicBezTo>
                    <a:pt x="134" y="7"/>
                    <a:pt x="134" y="7"/>
                    <a:pt x="134" y="7"/>
                  </a:cubicBezTo>
                  <a:cubicBezTo>
                    <a:pt x="133" y="7"/>
                    <a:pt x="133" y="7"/>
                    <a:pt x="132" y="7"/>
                  </a:cubicBezTo>
                  <a:cubicBezTo>
                    <a:pt x="132" y="7"/>
                    <a:pt x="131" y="7"/>
                    <a:pt x="130" y="10"/>
                  </a:cubicBezTo>
                  <a:cubicBezTo>
                    <a:pt x="128" y="15"/>
                    <a:pt x="124" y="23"/>
                    <a:pt x="119" y="23"/>
                  </a:cubicBezTo>
                  <a:cubicBezTo>
                    <a:pt x="118" y="23"/>
                    <a:pt x="118" y="23"/>
                    <a:pt x="117" y="23"/>
                  </a:cubicBezTo>
                  <a:cubicBezTo>
                    <a:pt x="114" y="21"/>
                    <a:pt x="111" y="14"/>
                    <a:pt x="110" y="9"/>
                  </a:cubicBezTo>
                  <a:cubicBezTo>
                    <a:pt x="109" y="5"/>
                    <a:pt x="108" y="5"/>
                    <a:pt x="107" y="5"/>
                  </a:cubicBezTo>
                  <a:cubicBezTo>
                    <a:pt x="107" y="5"/>
                    <a:pt x="107" y="5"/>
                    <a:pt x="106" y="5"/>
                  </a:cubicBezTo>
                  <a:cubicBezTo>
                    <a:pt x="105" y="6"/>
                    <a:pt x="105" y="6"/>
                    <a:pt x="105" y="6"/>
                  </a:cubicBezTo>
                  <a:cubicBezTo>
                    <a:pt x="103" y="6"/>
                    <a:pt x="102" y="6"/>
                    <a:pt x="102" y="10"/>
                  </a:cubicBezTo>
                  <a:cubicBezTo>
                    <a:pt x="102" y="15"/>
                    <a:pt x="99" y="24"/>
                    <a:pt x="95" y="25"/>
                  </a:cubicBezTo>
                  <a:cubicBezTo>
                    <a:pt x="94" y="25"/>
                    <a:pt x="93" y="25"/>
                    <a:pt x="93" y="25"/>
                  </a:cubicBezTo>
                  <a:cubicBezTo>
                    <a:pt x="89" y="24"/>
                    <a:pt x="85" y="19"/>
                    <a:pt x="83" y="14"/>
                  </a:cubicBezTo>
                  <a:cubicBezTo>
                    <a:pt x="82" y="13"/>
                    <a:pt x="81" y="11"/>
                    <a:pt x="80" y="11"/>
                  </a:cubicBezTo>
                  <a:cubicBezTo>
                    <a:pt x="80" y="11"/>
                    <a:pt x="79" y="11"/>
                    <a:pt x="78" y="11"/>
                  </a:cubicBezTo>
                  <a:cubicBezTo>
                    <a:pt x="77" y="12"/>
                    <a:pt x="77" y="12"/>
                    <a:pt x="77" y="12"/>
                  </a:cubicBezTo>
                  <a:cubicBezTo>
                    <a:pt x="75" y="12"/>
                    <a:pt x="74" y="12"/>
                    <a:pt x="75" y="17"/>
                  </a:cubicBezTo>
                  <a:cubicBezTo>
                    <a:pt x="76" y="21"/>
                    <a:pt x="76" y="31"/>
                    <a:pt x="72" y="33"/>
                  </a:cubicBezTo>
                  <a:cubicBezTo>
                    <a:pt x="72" y="34"/>
                    <a:pt x="71" y="34"/>
                    <a:pt x="71" y="34"/>
                  </a:cubicBezTo>
                  <a:cubicBezTo>
                    <a:pt x="67" y="33"/>
                    <a:pt x="61" y="29"/>
                    <a:pt x="58" y="26"/>
                  </a:cubicBezTo>
                  <a:cubicBezTo>
                    <a:pt x="57" y="24"/>
                    <a:pt x="55" y="23"/>
                    <a:pt x="55" y="23"/>
                  </a:cubicBezTo>
                  <a:cubicBezTo>
                    <a:pt x="54" y="23"/>
                    <a:pt x="53" y="24"/>
                    <a:pt x="53" y="24"/>
                  </a:cubicBezTo>
                  <a:cubicBezTo>
                    <a:pt x="52" y="25"/>
                    <a:pt x="52" y="25"/>
                    <a:pt x="52" y="25"/>
                  </a:cubicBezTo>
                  <a:cubicBezTo>
                    <a:pt x="50" y="26"/>
                    <a:pt x="49" y="26"/>
                    <a:pt x="51" y="30"/>
                  </a:cubicBezTo>
                  <a:cubicBezTo>
                    <a:pt x="53" y="34"/>
                    <a:pt x="56" y="42"/>
                    <a:pt x="53" y="46"/>
                  </a:cubicBezTo>
                  <a:cubicBezTo>
                    <a:pt x="53" y="47"/>
                    <a:pt x="53" y="47"/>
                    <a:pt x="52" y="47"/>
                  </a:cubicBezTo>
                  <a:cubicBezTo>
                    <a:pt x="51" y="48"/>
                    <a:pt x="50" y="48"/>
                    <a:pt x="49" y="48"/>
                  </a:cubicBezTo>
                  <a:cubicBezTo>
                    <a:pt x="46" y="48"/>
                    <a:pt x="41" y="46"/>
                    <a:pt x="36" y="44"/>
                  </a:cubicBezTo>
                  <a:cubicBezTo>
                    <a:pt x="34" y="43"/>
                    <a:pt x="33" y="42"/>
                    <a:pt x="33" y="42"/>
                  </a:cubicBezTo>
                  <a:cubicBezTo>
                    <a:pt x="32" y="42"/>
                    <a:pt x="32" y="43"/>
                    <a:pt x="31" y="44"/>
                  </a:cubicBezTo>
                  <a:cubicBezTo>
                    <a:pt x="30" y="45"/>
                    <a:pt x="30" y="45"/>
                    <a:pt x="30" y="45"/>
                  </a:cubicBezTo>
                  <a:cubicBezTo>
                    <a:pt x="29" y="46"/>
                    <a:pt x="28" y="47"/>
                    <a:pt x="31" y="50"/>
                  </a:cubicBezTo>
                  <a:cubicBezTo>
                    <a:pt x="35" y="54"/>
                    <a:pt x="38" y="59"/>
                    <a:pt x="38" y="63"/>
                  </a:cubicBezTo>
                  <a:cubicBezTo>
                    <a:pt x="38" y="64"/>
                    <a:pt x="38" y="64"/>
                    <a:pt x="37" y="65"/>
                  </a:cubicBezTo>
                  <a:cubicBezTo>
                    <a:pt x="36" y="67"/>
                    <a:pt x="33" y="68"/>
                    <a:pt x="29" y="68"/>
                  </a:cubicBezTo>
                  <a:cubicBezTo>
                    <a:pt x="26" y="68"/>
                    <a:pt x="23" y="67"/>
                    <a:pt x="21" y="66"/>
                  </a:cubicBezTo>
                  <a:cubicBezTo>
                    <a:pt x="19" y="66"/>
                    <a:pt x="18" y="66"/>
                    <a:pt x="18" y="66"/>
                  </a:cubicBezTo>
                  <a:cubicBezTo>
                    <a:pt x="16" y="66"/>
                    <a:pt x="16" y="66"/>
                    <a:pt x="15" y="68"/>
                  </a:cubicBezTo>
                  <a:cubicBezTo>
                    <a:pt x="15" y="69"/>
                    <a:pt x="15" y="69"/>
                    <a:pt x="15" y="69"/>
                  </a:cubicBezTo>
                  <a:cubicBezTo>
                    <a:pt x="14" y="71"/>
                    <a:pt x="14" y="72"/>
                    <a:pt x="17" y="74"/>
                  </a:cubicBezTo>
                  <a:cubicBezTo>
                    <a:pt x="21" y="77"/>
                    <a:pt x="26" y="81"/>
                    <a:pt x="27" y="85"/>
                  </a:cubicBezTo>
                  <a:cubicBezTo>
                    <a:pt x="27" y="85"/>
                    <a:pt x="27" y="86"/>
                    <a:pt x="27" y="87"/>
                  </a:cubicBezTo>
                  <a:cubicBezTo>
                    <a:pt x="25" y="91"/>
                    <a:pt x="16" y="92"/>
                    <a:pt x="11" y="92"/>
                  </a:cubicBezTo>
                  <a:cubicBezTo>
                    <a:pt x="11" y="92"/>
                    <a:pt x="11" y="92"/>
                    <a:pt x="11" y="92"/>
                  </a:cubicBezTo>
                  <a:cubicBezTo>
                    <a:pt x="7" y="92"/>
                    <a:pt x="7" y="93"/>
                    <a:pt x="6" y="95"/>
                  </a:cubicBezTo>
                  <a:cubicBezTo>
                    <a:pt x="6" y="96"/>
                    <a:pt x="6" y="96"/>
                    <a:pt x="6" y="96"/>
                  </a:cubicBezTo>
                  <a:cubicBezTo>
                    <a:pt x="6" y="98"/>
                    <a:pt x="6" y="99"/>
                    <a:pt x="10" y="100"/>
                  </a:cubicBezTo>
                  <a:cubicBezTo>
                    <a:pt x="15" y="102"/>
                    <a:pt x="20" y="105"/>
                    <a:pt x="22" y="108"/>
                  </a:cubicBezTo>
                  <a:cubicBezTo>
                    <a:pt x="23" y="109"/>
                    <a:pt x="23" y="109"/>
                    <a:pt x="23" y="110"/>
                  </a:cubicBezTo>
                  <a:cubicBezTo>
                    <a:pt x="22" y="115"/>
                    <a:pt x="13" y="119"/>
                    <a:pt x="9" y="120"/>
                  </a:cubicBezTo>
                  <a:cubicBezTo>
                    <a:pt x="5" y="121"/>
                    <a:pt x="5" y="122"/>
                    <a:pt x="5" y="124"/>
                  </a:cubicBezTo>
                  <a:cubicBezTo>
                    <a:pt x="5" y="125"/>
                    <a:pt x="5" y="125"/>
                    <a:pt x="5" y="125"/>
                  </a:cubicBezTo>
                  <a:cubicBezTo>
                    <a:pt x="5" y="127"/>
                    <a:pt x="5" y="128"/>
                    <a:pt x="10" y="128"/>
                  </a:cubicBezTo>
                  <a:cubicBezTo>
                    <a:pt x="15" y="128"/>
                    <a:pt x="21" y="130"/>
                    <a:pt x="24" y="133"/>
                  </a:cubicBezTo>
                  <a:cubicBezTo>
                    <a:pt x="24" y="133"/>
                    <a:pt x="25" y="134"/>
                    <a:pt x="25" y="134"/>
                  </a:cubicBezTo>
                  <a:cubicBezTo>
                    <a:pt x="25" y="139"/>
                    <a:pt x="18" y="145"/>
                    <a:pt x="14" y="147"/>
                  </a:cubicBezTo>
                  <a:cubicBezTo>
                    <a:pt x="10" y="149"/>
                    <a:pt x="10" y="150"/>
                    <a:pt x="11" y="152"/>
                  </a:cubicBezTo>
                  <a:cubicBezTo>
                    <a:pt x="11" y="153"/>
                    <a:pt x="11" y="153"/>
                    <a:pt x="11" y="153"/>
                  </a:cubicBezTo>
                  <a:cubicBezTo>
                    <a:pt x="12" y="155"/>
                    <a:pt x="12" y="155"/>
                    <a:pt x="14" y="155"/>
                  </a:cubicBezTo>
                  <a:cubicBezTo>
                    <a:pt x="15" y="155"/>
                    <a:pt x="16" y="155"/>
                    <a:pt x="17" y="155"/>
                  </a:cubicBezTo>
                  <a:cubicBezTo>
                    <a:pt x="19" y="154"/>
                    <a:pt x="21" y="154"/>
                    <a:pt x="24" y="154"/>
                  </a:cubicBezTo>
                  <a:cubicBezTo>
                    <a:pt x="26" y="154"/>
                    <a:pt x="29" y="154"/>
                    <a:pt x="32" y="155"/>
                  </a:cubicBezTo>
                  <a:cubicBezTo>
                    <a:pt x="32" y="156"/>
                    <a:pt x="32" y="156"/>
                    <a:pt x="33" y="157"/>
                  </a:cubicBezTo>
                  <a:cubicBezTo>
                    <a:pt x="35" y="161"/>
                    <a:pt x="29" y="169"/>
                    <a:pt x="26" y="172"/>
                  </a:cubicBezTo>
                  <a:cubicBezTo>
                    <a:pt x="22" y="175"/>
                    <a:pt x="23" y="176"/>
                    <a:pt x="24" y="177"/>
                  </a:cubicBezTo>
                  <a:cubicBezTo>
                    <a:pt x="25" y="178"/>
                    <a:pt x="25" y="178"/>
                    <a:pt x="25" y="178"/>
                  </a:cubicBezTo>
                  <a:cubicBezTo>
                    <a:pt x="26" y="179"/>
                    <a:pt x="26" y="180"/>
                    <a:pt x="27" y="180"/>
                  </a:cubicBezTo>
                  <a:cubicBezTo>
                    <a:pt x="27" y="180"/>
                    <a:pt x="28" y="180"/>
                    <a:pt x="30" y="179"/>
                  </a:cubicBezTo>
                  <a:cubicBezTo>
                    <a:pt x="34" y="176"/>
                    <a:pt x="39" y="175"/>
                    <a:pt x="42" y="175"/>
                  </a:cubicBezTo>
                  <a:cubicBezTo>
                    <a:pt x="43" y="175"/>
                    <a:pt x="44" y="175"/>
                    <a:pt x="45" y="175"/>
                  </a:cubicBezTo>
                  <a:cubicBezTo>
                    <a:pt x="45" y="176"/>
                    <a:pt x="46" y="176"/>
                    <a:pt x="46" y="176"/>
                  </a:cubicBezTo>
                  <a:cubicBezTo>
                    <a:pt x="49" y="180"/>
                    <a:pt x="46" y="189"/>
                    <a:pt x="43" y="193"/>
                  </a:cubicBezTo>
                  <a:cubicBezTo>
                    <a:pt x="41" y="197"/>
                    <a:pt x="42" y="197"/>
                    <a:pt x="43" y="199"/>
                  </a:cubicBezTo>
                  <a:cubicBezTo>
                    <a:pt x="44" y="199"/>
                    <a:pt x="44" y="199"/>
                    <a:pt x="44" y="199"/>
                  </a:cubicBezTo>
                  <a:cubicBezTo>
                    <a:pt x="45" y="200"/>
                    <a:pt x="46" y="200"/>
                    <a:pt x="46" y="200"/>
                  </a:cubicBezTo>
                  <a:cubicBezTo>
                    <a:pt x="46" y="200"/>
                    <a:pt x="46" y="200"/>
                    <a:pt x="46" y="200"/>
                  </a:cubicBezTo>
                  <a:cubicBezTo>
                    <a:pt x="47" y="200"/>
                    <a:pt x="48" y="200"/>
                    <a:pt x="50" y="198"/>
                  </a:cubicBezTo>
                  <a:cubicBezTo>
                    <a:pt x="53" y="195"/>
                    <a:pt x="59" y="191"/>
                    <a:pt x="63" y="191"/>
                  </a:cubicBezTo>
                  <a:cubicBezTo>
                    <a:pt x="63" y="191"/>
                    <a:pt x="63" y="191"/>
                    <a:pt x="63" y="191"/>
                  </a:cubicBezTo>
                  <a:cubicBezTo>
                    <a:pt x="63" y="191"/>
                    <a:pt x="64" y="192"/>
                    <a:pt x="64" y="192"/>
                  </a:cubicBezTo>
                  <a:cubicBezTo>
                    <a:pt x="68" y="195"/>
                    <a:pt x="67" y="204"/>
                    <a:pt x="66" y="209"/>
                  </a:cubicBezTo>
                  <a:cubicBezTo>
                    <a:pt x="65" y="213"/>
                    <a:pt x="66" y="213"/>
                    <a:pt x="68" y="214"/>
                  </a:cubicBezTo>
                  <a:cubicBezTo>
                    <a:pt x="68" y="214"/>
                    <a:pt x="68" y="214"/>
                    <a:pt x="68" y="214"/>
                  </a:cubicBezTo>
                  <a:cubicBezTo>
                    <a:pt x="69" y="215"/>
                    <a:pt x="70" y="215"/>
                    <a:pt x="70" y="215"/>
                  </a:cubicBezTo>
                  <a:cubicBezTo>
                    <a:pt x="71" y="215"/>
                    <a:pt x="73" y="213"/>
                    <a:pt x="73" y="212"/>
                  </a:cubicBezTo>
                  <a:cubicBezTo>
                    <a:pt x="76" y="208"/>
                    <a:pt x="81" y="203"/>
                    <a:pt x="85" y="202"/>
                  </a:cubicBezTo>
                  <a:cubicBezTo>
                    <a:pt x="85" y="202"/>
                    <a:pt x="86" y="202"/>
                    <a:pt x="86" y="202"/>
                  </a:cubicBezTo>
                  <a:cubicBezTo>
                    <a:pt x="91" y="204"/>
                    <a:pt x="92" y="213"/>
                    <a:pt x="92" y="218"/>
                  </a:cubicBezTo>
                  <a:cubicBezTo>
                    <a:pt x="92" y="222"/>
                    <a:pt x="93" y="223"/>
                    <a:pt x="95" y="223"/>
                  </a:cubicBezTo>
                  <a:cubicBezTo>
                    <a:pt x="96" y="223"/>
                    <a:pt x="96" y="223"/>
                    <a:pt x="96" y="223"/>
                  </a:cubicBezTo>
                  <a:cubicBezTo>
                    <a:pt x="96" y="223"/>
                    <a:pt x="97" y="223"/>
                    <a:pt x="97" y="223"/>
                  </a:cubicBezTo>
                  <a:cubicBezTo>
                    <a:pt x="98" y="223"/>
                    <a:pt x="99" y="223"/>
                    <a:pt x="100" y="219"/>
                  </a:cubicBezTo>
                  <a:cubicBezTo>
                    <a:pt x="102" y="215"/>
                    <a:pt x="105" y="209"/>
                    <a:pt x="108" y="207"/>
                  </a:cubicBezTo>
                  <a:cubicBezTo>
                    <a:pt x="108" y="207"/>
                    <a:pt x="109" y="207"/>
                    <a:pt x="109" y="207"/>
                  </a:cubicBezTo>
                  <a:close/>
                  <a:moveTo>
                    <a:pt x="114" y="195"/>
                  </a:moveTo>
                  <a:cubicBezTo>
                    <a:pt x="96" y="195"/>
                    <a:pt x="77" y="188"/>
                    <a:pt x="63" y="176"/>
                  </a:cubicBezTo>
                  <a:cubicBezTo>
                    <a:pt x="29" y="147"/>
                    <a:pt x="25" y="97"/>
                    <a:pt x="54" y="63"/>
                  </a:cubicBezTo>
                  <a:cubicBezTo>
                    <a:pt x="69" y="45"/>
                    <a:pt x="91" y="35"/>
                    <a:pt x="114" y="35"/>
                  </a:cubicBezTo>
                  <a:cubicBezTo>
                    <a:pt x="133" y="35"/>
                    <a:pt x="152" y="42"/>
                    <a:pt x="166" y="54"/>
                  </a:cubicBezTo>
                  <a:cubicBezTo>
                    <a:pt x="182" y="68"/>
                    <a:pt x="192" y="87"/>
                    <a:pt x="194" y="108"/>
                  </a:cubicBezTo>
                  <a:cubicBezTo>
                    <a:pt x="196" y="130"/>
                    <a:pt x="189" y="150"/>
                    <a:pt x="175" y="166"/>
                  </a:cubicBezTo>
                  <a:cubicBezTo>
                    <a:pt x="160" y="184"/>
                    <a:pt x="138" y="195"/>
                    <a:pt x="114" y="195"/>
                  </a:cubicBezTo>
                  <a:close/>
                  <a:moveTo>
                    <a:pt x="114" y="40"/>
                  </a:moveTo>
                  <a:cubicBezTo>
                    <a:pt x="92" y="40"/>
                    <a:pt x="72" y="50"/>
                    <a:pt x="57" y="67"/>
                  </a:cubicBezTo>
                  <a:cubicBezTo>
                    <a:pt x="31" y="98"/>
                    <a:pt x="35" y="145"/>
                    <a:pt x="66" y="172"/>
                  </a:cubicBezTo>
                  <a:cubicBezTo>
                    <a:pt x="80" y="183"/>
                    <a:pt x="97" y="190"/>
                    <a:pt x="114" y="190"/>
                  </a:cubicBezTo>
                  <a:cubicBezTo>
                    <a:pt x="136" y="190"/>
                    <a:pt x="157" y="180"/>
                    <a:pt x="171" y="163"/>
                  </a:cubicBezTo>
                  <a:cubicBezTo>
                    <a:pt x="184" y="148"/>
                    <a:pt x="191" y="129"/>
                    <a:pt x="189" y="109"/>
                  </a:cubicBezTo>
                  <a:cubicBezTo>
                    <a:pt x="187" y="89"/>
                    <a:pt x="178" y="71"/>
                    <a:pt x="163" y="58"/>
                  </a:cubicBezTo>
                  <a:cubicBezTo>
                    <a:pt x="149" y="46"/>
                    <a:pt x="132" y="40"/>
                    <a:pt x="1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1206">
              <a:extLst>
                <a:ext uri="{FF2B5EF4-FFF2-40B4-BE49-F238E27FC236}">
                  <a16:creationId xmlns:a16="http://schemas.microsoft.com/office/drawing/2014/main" id="{445D2912-558C-48CF-AF33-C0DD26F69E31}"/>
                </a:ext>
              </a:extLst>
            </p:cNvPr>
            <p:cNvSpPr>
              <a:spLocks noEditPoints="1"/>
            </p:cNvSpPr>
            <p:nvPr/>
          </p:nvSpPr>
          <p:spPr bwMode="auto">
            <a:xfrm rot="1233185">
              <a:off x="9177135" y="5791802"/>
              <a:ext cx="363402" cy="338846"/>
            </a:xfrm>
            <a:custGeom>
              <a:avLst/>
              <a:gdLst>
                <a:gd name="T0" fmla="*/ 45 w 96"/>
                <a:gd name="T1" fmla="*/ 90 h 90"/>
                <a:gd name="T2" fmla="*/ 45 w 96"/>
                <a:gd name="T3" fmla="*/ 90 h 90"/>
                <a:gd name="T4" fmla="*/ 16 w 96"/>
                <a:gd name="T5" fmla="*/ 79 h 90"/>
                <a:gd name="T6" fmla="*/ 0 w 96"/>
                <a:gd name="T7" fmla="*/ 49 h 90"/>
                <a:gd name="T8" fmla="*/ 11 w 96"/>
                <a:gd name="T9" fmla="*/ 16 h 90"/>
                <a:gd name="T10" fmla="*/ 45 w 96"/>
                <a:gd name="T11" fmla="*/ 0 h 90"/>
                <a:gd name="T12" fmla="*/ 75 w 96"/>
                <a:gd name="T13" fmla="*/ 10 h 90"/>
                <a:gd name="T14" fmla="*/ 80 w 96"/>
                <a:gd name="T15" fmla="*/ 74 h 90"/>
                <a:gd name="T16" fmla="*/ 45 w 96"/>
                <a:gd name="T17" fmla="*/ 90 h 90"/>
                <a:gd name="T18" fmla="*/ 45 w 96"/>
                <a:gd name="T19" fmla="*/ 5 h 90"/>
                <a:gd name="T20" fmla="*/ 15 w 96"/>
                <a:gd name="T21" fmla="*/ 19 h 90"/>
                <a:gd name="T22" fmla="*/ 5 w 96"/>
                <a:gd name="T23" fmla="*/ 48 h 90"/>
                <a:gd name="T24" fmla="*/ 20 w 96"/>
                <a:gd name="T25" fmla="*/ 75 h 90"/>
                <a:gd name="T26" fmla="*/ 45 w 96"/>
                <a:gd name="T27" fmla="*/ 85 h 90"/>
                <a:gd name="T28" fmla="*/ 76 w 96"/>
                <a:gd name="T29" fmla="*/ 71 h 90"/>
                <a:gd name="T30" fmla="*/ 71 w 96"/>
                <a:gd name="T31" fmla="*/ 14 h 90"/>
                <a:gd name="T32" fmla="*/ 45 w 96"/>
                <a:gd name="T33" fmla="*/ 5 h 90"/>
                <a:gd name="T34" fmla="*/ 45 w 96"/>
                <a:gd name="T35" fmla="*/ 74 h 90"/>
                <a:gd name="T36" fmla="*/ 27 w 96"/>
                <a:gd name="T37" fmla="*/ 67 h 90"/>
                <a:gd name="T38" fmla="*/ 23 w 96"/>
                <a:gd name="T39" fmla="*/ 26 h 90"/>
                <a:gd name="T40" fmla="*/ 45 w 96"/>
                <a:gd name="T41" fmla="*/ 16 h 90"/>
                <a:gd name="T42" fmla="*/ 64 w 96"/>
                <a:gd name="T43" fmla="*/ 23 h 90"/>
                <a:gd name="T44" fmla="*/ 68 w 96"/>
                <a:gd name="T45" fmla="*/ 64 h 90"/>
                <a:gd name="T46" fmla="*/ 45 w 96"/>
                <a:gd name="T47" fmla="*/ 74 h 90"/>
                <a:gd name="T48" fmla="*/ 45 w 96"/>
                <a:gd name="T49" fmla="*/ 21 h 90"/>
                <a:gd name="T50" fmla="*/ 27 w 96"/>
                <a:gd name="T51" fmla="*/ 29 h 90"/>
                <a:gd name="T52" fmla="*/ 30 w 96"/>
                <a:gd name="T53" fmla="*/ 63 h 90"/>
                <a:gd name="T54" fmla="*/ 45 w 96"/>
                <a:gd name="T55" fmla="*/ 69 h 90"/>
                <a:gd name="T56" fmla="*/ 64 w 96"/>
                <a:gd name="T57" fmla="*/ 60 h 90"/>
                <a:gd name="T58" fmla="*/ 61 w 96"/>
                <a:gd name="T59" fmla="*/ 27 h 90"/>
                <a:gd name="T60" fmla="*/ 45 w 96"/>
                <a:gd name="T61"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90">
                  <a:moveTo>
                    <a:pt x="45" y="90"/>
                  </a:moveTo>
                  <a:cubicBezTo>
                    <a:pt x="45" y="90"/>
                    <a:pt x="45" y="90"/>
                    <a:pt x="45" y="90"/>
                  </a:cubicBezTo>
                  <a:cubicBezTo>
                    <a:pt x="35" y="90"/>
                    <a:pt x="24" y="86"/>
                    <a:pt x="16" y="79"/>
                  </a:cubicBezTo>
                  <a:cubicBezTo>
                    <a:pt x="7" y="71"/>
                    <a:pt x="1" y="61"/>
                    <a:pt x="0" y="49"/>
                  </a:cubicBezTo>
                  <a:cubicBezTo>
                    <a:pt x="0" y="37"/>
                    <a:pt x="3" y="25"/>
                    <a:pt x="11" y="16"/>
                  </a:cubicBezTo>
                  <a:cubicBezTo>
                    <a:pt x="20" y="6"/>
                    <a:pt x="32" y="0"/>
                    <a:pt x="45" y="0"/>
                  </a:cubicBezTo>
                  <a:cubicBezTo>
                    <a:pt x="56" y="0"/>
                    <a:pt x="66" y="4"/>
                    <a:pt x="75" y="10"/>
                  </a:cubicBezTo>
                  <a:cubicBezTo>
                    <a:pt x="94" y="27"/>
                    <a:pt x="96" y="55"/>
                    <a:pt x="80" y="74"/>
                  </a:cubicBezTo>
                  <a:cubicBezTo>
                    <a:pt x="71" y="84"/>
                    <a:pt x="59" y="90"/>
                    <a:pt x="45" y="90"/>
                  </a:cubicBezTo>
                  <a:close/>
                  <a:moveTo>
                    <a:pt x="45" y="5"/>
                  </a:moveTo>
                  <a:cubicBezTo>
                    <a:pt x="34" y="5"/>
                    <a:pt x="22" y="10"/>
                    <a:pt x="15" y="19"/>
                  </a:cubicBezTo>
                  <a:cubicBezTo>
                    <a:pt x="8" y="27"/>
                    <a:pt x="5" y="38"/>
                    <a:pt x="5" y="48"/>
                  </a:cubicBezTo>
                  <a:cubicBezTo>
                    <a:pt x="6" y="59"/>
                    <a:pt x="11" y="69"/>
                    <a:pt x="20" y="75"/>
                  </a:cubicBezTo>
                  <a:cubicBezTo>
                    <a:pt x="27" y="82"/>
                    <a:pt x="36" y="85"/>
                    <a:pt x="45" y="85"/>
                  </a:cubicBezTo>
                  <a:cubicBezTo>
                    <a:pt x="57" y="85"/>
                    <a:pt x="68" y="80"/>
                    <a:pt x="76" y="71"/>
                  </a:cubicBezTo>
                  <a:cubicBezTo>
                    <a:pt x="90" y="54"/>
                    <a:pt x="88" y="29"/>
                    <a:pt x="71" y="14"/>
                  </a:cubicBezTo>
                  <a:cubicBezTo>
                    <a:pt x="64" y="8"/>
                    <a:pt x="55" y="5"/>
                    <a:pt x="45" y="5"/>
                  </a:cubicBezTo>
                  <a:close/>
                  <a:moveTo>
                    <a:pt x="45" y="74"/>
                  </a:moveTo>
                  <a:cubicBezTo>
                    <a:pt x="39" y="74"/>
                    <a:pt x="32" y="71"/>
                    <a:pt x="27" y="67"/>
                  </a:cubicBezTo>
                  <a:cubicBezTo>
                    <a:pt x="15" y="57"/>
                    <a:pt x="13" y="38"/>
                    <a:pt x="23" y="26"/>
                  </a:cubicBezTo>
                  <a:cubicBezTo>
                    <a:pt x="29" y="20"/>
                    <a:pt x="37" y="16"/>
                    <a:pt x="45" y="16"/>
                  </a:cubicBezTo>
                  <a:cubicBezTo>
                    <a:pt x="52" y="16"/>
                    <a:pt x="59" y="18"/>
                    <a:pt x="64" y="23"/>
                  </a:cubicBezTo>
                  <a:cubicBezTo>
                    <a:pt x="76" y="33"/>
                    <a:pt x="78" y="51"/>
                    <a:pt x="68" y="64"/>
                  </a:cubicBezTo>
                  <a:cubicBezTo>
                    <a:pt x="62" y="70"/>
                    <a:pt x="54" y="74"/>
                    <a:pt x="45" y="74"/>
                  </a:cubicBezTo>
                  <a:close/>
                  <a:moveTo>
                    <a:pt x="45" y="21"/>
                  </a:moveTo>
                  <a:cubicBezTo>
                    <a:pt x="38" y="21"/>
                    <a:pt x="32" y="24"/>
                    <a:pt x="27" y="29"/>
                  </a:cubicBezTo>
                  <a:cubicBezTo>
                    <a:pt x="19" y="39"/>
                    <a:pt x="20" y="55"/>
                    <a:pt x="30" y="63"/>
                  </a:cubicBezTo>
                  <a:cubicBezTo>
                    <a:pt x="34" y="67"/>
                    <a:pt x="40" y="69"/>
                    <a:pt x="45" y="69"/>
                  </a:cubicBezTo>
                  <a:cubicBezTo>
                    <a:pt x="53" y="69"/>
                    <a:pt x="59" y="66"/>
                    <a:pt x="64" y="60"/>
                  </a:cubicBezTo>
                  <a:cubicBezTo>
                    <a:pt x="72" y="50"/>
                    <a:pt x="71" y="35"/>
                    <a:pt x="61" y="27"/>
                  </a:cubicBezTo>
                  <a:cubicBezTo>
                    <a:pt x="57" y="23"/>
                    <a:pt x="51" y="21"/>
                    <a:pt x="4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5" name="Oval 1212">
            <a:extLst>
              <a:ext uri="{FF2B5EF4-FFF2-40B4-BE49-F238E27FC236}">
                <a16:creationId xmlns:a16="http://schemas.microsoft.com/office/drawing/2014/main" id="{829115CA-B3CC-486A-A882-36CFAA52CC76}"/>
              </a:ext>
            </a:extLst>
          </p:cNvPr>
          <p:cNvSpPr>
            <a:spLocks noChangeArrowheads="1"/>
          </p:cNvSpPr>
          <p:nvPr/>
        </p:nvSpPr>
        <p:spPr bwMode="auto">
          <a:xfrm rot="1233185">
            <a:off x="2931403" y="3584034"/>
            <a:ext cx="446888" cy="451797"/>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1213">
            <a:extLst>
              <a:ext uri="{FF2B5EF4-FFF2-40B4-BE49-F238E27FC236}">
                <a16:creationId xmlns:a16="http://schemas.microsoft.com/office/drawing/2014/main" id="{F864843A-163F-445B-B678-409C20F0E77E}"/>
              </a:ext>
            </a:extLst>
          </p:cNvPr>
          <p:cNvSpPr>
            <a:spLocks/>
          </p:cNvSpPr>
          <p:nvPr/>
        </p:nvSpPr>
        <p:spPr bwMode="auto">
          <a:xfrm rot="1233185">
            <a:off x="2459963" y="3117503"/>
            <a:ext cx="1389769" cy="1384857"/>
          </a:xfrm>
          <a:custGeom>
            <a:avLst/>
            <a:gdLst>
              <a:gd name="T0" fmla="*/ 359 w 366"/>
              <a:gd name="T1" fmla="*/ 173 h 366"/>
              <a:gd name="T2" fmla="*/ 346 w 366"/>
              <a:gd name="T3" fmla="*/ 152 h 366"/>
              <a:gd name="T4" fmla="*/ 341 w 366"/>
              <a:gd name="T5" fmla="*/ 132 h 366"/>
              <a:gd name="T6" fmla="*/ 342 w 366"/>
              <a:gd name="T7" fmla="*/ 107 h 366"/>
              <a:gd name="T8" fmla="*/ 337 w 366"/>
              <a:gd name="T9" fmla="*/ 85 h 366"/>
              <a:gd name="T10" fmla="*/ 320 w 366"/>
              <a:gd name="T11" fmla="*/ 71 h 366"/>
              <a:gd name="T12" fmla="*/ 297 w 366"/>
              <a:gd name="T13" fmla="*/ 61 h 366"/>
              <a:gd name="T14" fmla="*/ 281 w 366"/>
              <a:gd name="T15" fmla="*/ 48 h 366"/>
              <a:gd name="T16" fmla="*/ 267 w 366"/>
              <a:gd name="T17" fmla="*/ 27 h 366"/>
              <a:gd name="T18" fmla="*/ 250 w 366"/>
              <a:gd name="T19" fmla="*/ 13 h 366"/>
              <a:gd name="T20" fmla="*/ 228 w 366"/>
              <a:gd name="T21" fmla="*/ 12 h 366"/>
              <a:gd name="T22" fmla="*/ 204 w 366"/>
              <a:gd name="T23" fmla="*/ 18 h 366"/>
              <a:gd name="T24" fmla="*/ 183 w 366"/>
              <a:gd name="T25" fmla="*/ 16 h 366"/>
              <a:gd name="T26" fmla="*/ 160 w 366"/>
              <a:gd name="T27" fmla="*/ 7 h 366"/>
              <a:gd name="T28" fmla="*/ 138 w 366"/>
              <a:gd name="T29" fmla="*/ 6 h 366"/>
              <a:gd name="T30" fmla="*/ 119 w 366"/>
              <a:gd name="T31" fmla="*/ 18 h 366"/>
              <a:gd name="T32" fmla="*/ 103 w 366"/>
              <a:gd name="T33" fmla="*/ 37 h 366"/>
              <a:gd name="T34" fmla="*/ 85 w 366"/>
              <a:gd name="T35" fmla="*/ 48 h 366"/>
              <a:gd name="T36" fmla="*/ 61 w 366"/>
              <a:gd name="T37" fmla="*/ 54 h 366"/>
              <a:gd name="T38" fmla="*/ 42 w 366"/>
              <a:gd name="T39" fmla="*/ 66 h 366"/>
              <a:gd name="T40" fmla="*/ 34 w 366"/>
              <a:gd name="T41" fmla="*/ 87 h 366"/>
              <a:gd name="T42" fmla="*/ 32 w 366"/>
              <a:gd name="T43" fmla="*/ 112 h 366"/>
              <a:gd name="T44" fmla="*/ 25 w 366"/>
              <a:gd name="T45" fmla="*/ 131 h 366"/>
              <a:gd name="T46" fmla="*/ 9 w 366"/>
              <a:gd name="T47" fmla="*/ 150 h 366"/>
              <a:gd name="T48" fmla="*/ 1 w 366"/>
              <a:gd name="T49" fmla="*/ 171 h 366"/>
              <a:gd name="T50" fmla="*/ 6 w 366"/>
              <a:gd name="T51" fmla="*/ 193 h 366"/>
              <a:gd name="T52" fmla="*/ 19 w 366"/>
              <a:gd name="T53" fmla="*/ 214 h 366"/>
              <a:gd name="T54" fmla="*/ 24 w 366"/>
              <a:gd name="T55" fmla="*/ 234 h 366"/>
              <a:gd name="T56" fmla="*/ 23 w 366"/>
              <a:gd name="T57" fmla="*/ 259 h 366"/>
              <a:gd name="T58" fmla="*/ 28 w 366"/>
              <a:gd name="T59" fmla="*/ 280 h 366"/>
              <a:gd name="T60" fmla="*/ 46 w 366"/>
              <a:gd name="T61" fmla="*/ 294 h 366"/>
              <a:gd name="T62" fmla="*/ 69 w 366"/>
              <a:gd name="T63" fmla="*/ 304 h 366"/>
              <a:gd name="T64" fmla="*/ 85 w 366"/>
              <a:gd name="T65" fmla="*/ 317 h 366"/>
              <a:gd name="T66" fmla="*/ 98 w 366"/>
              <a:gd name="T67" fmla="*/ 338 h 366"/>
              <a:gd name="T68" fmla="*/ 115 w 366"/>
              <a:gd name="T69" fmla="*/ 352 h 366"/>
              <a:gd name="T70" fmla="*/ 138 w 366"/>
              <a:gd name="T71" fmla="*/ 354 h 366"/>
              <a:gd name="T72" fmla="*/ 162 w 366"/>
              <a:gd name="T73" fmla="*/ 348 h 366"/>
              <a:gd name="T74" fmla="*/ 182 w 366"/>
              <a:gd name="T75" fmla="*/ 349 h 366"/>
              <a:gd name="T76" fmla="*/ 206 w 366"/>
              <a:gd name="T77" fmla="*/ 358 h 366"/>
              <a:gd name="T78" fmla="*/ 228 w 366"/>
              <a:gd name="T79" fmla="*/ 360 h 366"/>
              <a:gd name="T80" fmla="*/ 247 w 366"/>
              <a:gd name="T81" fmla="*/ 347 h 366"/>
              <a:gd name="T82" fmla="*/ 263 w 366"/>
              <a:gd name="T83" fmla="*/ 328 h 366"/>
              <a:gd name="T84" fmla="*/ 280 w 366"/>
              <a:gd name="T85" fmla="*/ 317 h 366"/>
              <a:gd name="T86" fmla="*/ 304 w 366"/>
              <a:gd name="T87" fmla="*/ 311 h 366"/>
              <a:gd name="T88" fmla="*/ 323 w 366"/>
              <a:gd name="T89" fmla="*/ 299 h 366"/>
              <a:gd name="T90" fmla="*/ 331 w 366"/>
              <a:gd name="T91" fmla="*/ 278 h 366"/>
              <a:gd name="T92" fmla="*/ 333 w 366"/>
              <a:gd name="T93" fmla="*/ 254 h 366"/>
              <a:gd name="T94" fmla="*/ 341 w 366"/>
              <a:gd name="T95" fmla="*/ 234 h 366"/>
              <a:gd name="T96" fmla="*/ 357 w 366"/>
              <a:gd name="T97" fmla="*/ 215 h 366"/>
              <a:gd name="T98" fmla="*/ 365 w 366"/>
              <a:gd name="T99" fmla="*/ 19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6" h="366">
                <a:moveTo>
                  <a:pt x="359" y="187"/>
                </a:moveTo>
                <a:cubicBezTo>
                  <a:pt x="356" y="186"/>
                  <a:pt x="351" y="185"/>
                  <a:pt x="349" y="183"/>
                </a:cubicBezTo>
                <a:cubicBezTo>
                  <a:pt x="349" y="181"/>
                  <a:pt x="349" y="179"/>
                  <a:pt x="349" y="178"/>
                </a:cubicBezTo>
                <a:cubicBezTo>
                  <a:pt x="351" y="176"/>
                  <a:pt x="355" y="174"/>
                  <a:pt x="359" y="173"/>
                </a:cubicBezTo>
                <a:cubicBezTo>
                  <a:pt x="365" y="171"/>
                  <a:pt x="365" y="168"/>
                  <a:pt x="365" y="166"/>
                </a:cubicBezTo>
                <a:cubicBezTo>
                  <a:pt x="364" y="163"/>
                  <a:pt x="364" y="160"/>
                  <a:pt x="358" y="160"/>
                </a:cubicBezTo>
                <a:cubicBezTo>
                  <a:pt x="354" y="159"/>
                  <a:pt x="349" y="158"/>
                  <a:pt x="347" y="157"/>
                </a:cubicBezTo>
                <a:cubicBezTo>
                  <a:pt x="347" y="155"/>
                  <a:pt x="347" y="153"/>
                  <a:pt x="346" y="152"/>
                </a:cubicBezTo>
                <a:cubicBezTo>
                  <a:pt x="348" y="149"/>
                  <a:pt x="352" y="147"/>
                  <a:pt x="356" y="145"/>
                </a:cubicBezTo>
                <a:cubicBezTo>
                  <a:pt x="361" y="143"/>
                  <a:pt x="360" y="140"/>
                  <a:pt x="360" y="137"/>
                </a:cubicBezTo>
                <a:cubicBezTo>
                  <a:pt x="359" y="135"/>
                  <a:pt x="359" y="132"/>
                  <a:pt x="352" y="133"/>
                </a:cubicBezTo>
                <a:cubicBezTo>
                  <a:pt x="348" y="133"/>
                  <a:pt x="344" y="133"/>
                  <a:pt x="341" y="132"/>
                </a:cubicBezTo>
                <a:cubicBezTo>
                  <a:pt x="340" y="130"/>
                  <a:pt x="340" y="128"/>
                  <a:pt x="339" y="126"/>
                </a:cubicBezTo>
                <a:cubicBezTo>
                  <a:pt x="341" y="124"/>
                  <a:pt x="344" y="121"/>
                  <a:pt x="348" y="119"/>
                </a:cubicBezTo>
                <a:cubicBezTo>
                  <a:pt x="353" y="115"/>
                  <a:pt x="351" y="113"/>
                  <a:pt x="350" y="110"/>
                </a:cubicBezTo>
                <a:cubicBezTo>
                  <a:pt x="349" y="108"/>
                  <a:pt x="348" y="105"/>
                  <a:pt x="342" y="107"/>
                </a:cubicBezTo>
                <a:cubicBezTo>
                  <a:pt x="338" y="108"/>
                  <a:pt x="334" y="108"/>
                  <a:pt x="331" y="107"/>
                </a:cubicBezTo>
                <a:cubicBezTo>
                  <a:pt x="330" y="106"/>
                  <a:pt x="329" y="104"/>
                  <a:pt x="329" y="103"/>
                </a:cubicBezTo>
                <a:cubicBezTo>
                  <a:pt x="329" y="100"/>
                  <a:pt x="333" y="96"/>
                  <a:pt x="336" y="94"/>
                </a:cubicBezTo>
                <a:cubicBezTo>
                  <a:pt x="340" y="90"/>
                  <a:pt x="338" y="87"/>
                  <a:pt x="337" y="85"/>
                </a:cubicBezTo>
                <a:cubicBezTo>
                  <a:pt x="336" y="83"/>
                  <a:pt x="334" y="80"/>
                  <a:pt x="329" y="83"/>
                </a:cubicBezTo>
                <a:cubicBezTo>
                  <a:pt x="325" y="84"/>
                  <a:pt x="320" y="85"/>
                  <a:pt x="318" y="85"/>
                </a:cubicBezTo>
                <a:cubicBezTo>
                  <a:pt x="317" y="84"/>
                  <a:pt x="315" y="82"/>
                  <a:pt x="314" y="81"/>
                </a:cubicBezTo>
                <a:cubicBezTo>
                  <a:pt x="315" y="78"/>
                  <a:pt x="317" y="74"/>
                  <a:pt x="320" y="71"/>
                </a:cubicBezTo>
                <a:cubicBezTo>
                  <a:pt x="324" y="66"/>
                  <a:pt x="321" y="64"/>
                  <a:pt x="320" y="62"/>
                </a:cubicBezTo>
                <a:cubicBezTo>
                  <a:pt x="318" y="60"/>
                  <a:pt x="316" y="57"/>
                  <a:pt x="311" y="61"/>
                </a:cubicBezTo>
                <a:cubicBezTo>
                  <a:pt x="308" y="63"/>
                  <a:pt x="303" y="65"/>
                  <a:pt x="301" y="65"/>
                </a:cubicBezTo>
                <a:cubicBezTo>
                  <a:pt x="299" y="64"/>
                  <a:pt x="298" y="63"/>
                  <a:pt x="297" y="61"/>
                </a:cubicBezTo>
                <a:cubicBezTo>
                  <a:pt x="297" y="59"/>
                  <a:pt x="299" y="54"/>
                  <a:pt x="301" y="51"/>
                </a:cubicBezTo>
                <a:cubicBezTo>
                  <a:pt x="304" y="45"/>
                  <a:pt x="301" y="44"/>
                  <a:pt x="299" y="42"/>
                </a:cubicBezTo>
                <a:cubicBezTo>
                  <a:pt x="297" y="41"/>
                  <a:pt x="295" y="38"/>
                  <a:pt x="290" y="42"/>
                </a:cubicBezTo>
                <a:cubicBezTo>
                  <a:pt x="287" y="45"/>
                  <a:pt x="283" y="48"/>
                  <a:pt x="281" y="48"/>
                </a:cubicBezTo>
                <a:cubicBezTo>
                  <a:pt x="279" y="47"/>
                  <a:pt x="278" y="46"/>
                  <a:pt x="276" y="45"/>
                </a:cubicBezTo>
                <a:cubicBezTo>
                  <a:pt x="276" y="42"/>
                  <a:pt x="277" y="38"/>
                  <a:pt x="279" y="34"/>
                </a:cubicBezTo>
                <a:cubicBezTo>
                  <a:pt x="281" y="28"/>
                  <a:pt x="278" y="27"/>
                  <a:pt x="276" y="26"/>
                </a:cubicBezTo>
                <a:cubicBezTo>
                  <a:pt x="274" y="24"/>
                  <a:pt x="271" y="22"/>
                  <a:pt x="267" y="27"/>
                </a:cubicBezTo>
                <a:cubicBezTo>
                  <a:pt x="265" y="30"/>
                  <a:pt x="261" y="34"/>
                  <a:pt x="259" y="35"/>
                </a:cubicBezTo>
                <a:cubicBezTo>
                  <a:pt x="257" y="34"/>
                  <a:pt x="255" y="33"/>
                  <a:pt x="254" y="32"/>
                </a:cubicBezTo>
                <a:cubicBezTo>
                  <a:pt x="253" y="29"/>
                  <a:pt x="253" y="25"/>
                  <a:pt x="254" y="21"/>
                </a:cubicBezTo>
                <a:cubicBezTo>
                  <a:pt x="256" y="15"/>
                  <a:pt x="252" y="14"/>
                  <a:pt x="250" y="13"/>
                </a:cubicBezTo>
                <a:cubicBezTo>
                  <a:pt x="248" y="12"/>
                  <a:pt x="245" y="10"/>
                  <a:pt x="242" y="16"/>
                </a:cubicBezTo>
                <a:cubicBezTo>
                  <a:pt x="240" y="19"/>
                  <a:pt x="237" y="23"/>
                  <a:pt x="234" y="25"/>
                </a:cubicBezTo>
                <a:cubicBezTo>
                  <a:pt x="233" y="24"/>
                  <a:pt x="231" y="23"/>
                  <a:pt x="229" y="23"/>
                </a:cubicBezTo>
                <a:cubicBezTo>
                  <a:pt x="228" y="20"/>
                  <a:pt x="228" y="16"/>
                  <a:pt x="228" y="12"/>
                </a:cubicBezTo>
                <a:cubicBezTo>
                  <a:pt x="229" y="5"/>
                  <a:pt x="225" y="5"/>
                  <a:pt x="223" y="5"/>
                </a:cubicBezTo>
                <a:cubicBezTo>
                  <a:pt x="220" y="4"/>
                  <a:pt x="217" y="3"/>
                  <a:pt x="215" y="9"/>
                </a:cubicBezTo>
                <a:cubicBezTo>
                  <a:pt x="214" y="13"/>
                  <a:pt x="211" y="17"/>
                  <a:pt x="209" y="18"/>
                </a:cubicBezTo>
                <a:cubicBezTo>
                  <a:pt x="207" y="18"/>
                  <a:pt x="205" y="18"/>
                  <a:pt x="204" y="18"/>
                </a:cubicBezTo>
                <a:cubicBezTo>
                  <a:pt x="202" y="15"/>
                  <a:pt x="201" y="11"/>
                  <a:pt x="201" y="7"/>
                </a:cubicBezTo>
                <a:cubicBezTo>
                  <a:pt x="200" y="0"/>
                  <a:pt x="197" y="1"/>
                  <a:pt x="194" y="0"/>
                </a:cubicBezTo>
                <a:cubicBezTo>
                  <a:pt x="192" y="0"/>
                  <a:pt x="189" y="0"/>
                  <a:pt x="187" y="6"/>
                </a:cubicBezTo>
                <a:cubicBezTo>
                  <a:pt x="187" y="10"/>
                  <a:pt x="185" y="14"/>
                  <a:pt x="183" y="16"/>
                </a:cubicBezTo>
                <a:cubicBezTo>
                  <a:pt x="181" y="16"/>
                  <a:pt x="179" y="16"/>
                  <a:pt x="178" y="16"/>
                </a:cubicBezTo>
                <a:cubicBezTo>
                  <a:pt x="176" y="14"/>
                  <a:pt x="174" y="10"/>
                  <a:pt x="173" y="6"/>
                </a:cubicBezTo>
                <a:cubicBezTo>
                  <a:pt x="171" y="0"/>
                  <a:pt x="168" y="1"/>
                  <a:pt x="166" y="1"/>
                </a:cubicBezTo>
                <a:cubicBezTo>
                  <a:pt x="163" y="1"/>
                  <a:pt x="160" y="1"/>
                  <a:pt x="160" y="7"/>
                </a:cubicBezTo>
                <a:cubicBezTo>
                  <a:pt x="159" y="11"/>
                  <a:pt x="159" y="16"/>
                  <a:pt x="157" y="18"/>
                </a:cubicBezTo>
                <a:cubicBezTo>
                  <a:pt x="155" y="19"/>
                  <a:pt x="153" y="19"/>
                  <a:pt x="152" y="19"/>
                </a:cubicBezTo>
                <a:cubicBezTo>
                  <a:pt x="149" y="18"/>
                  <a:pt x="147" y="14"/>
                  <a:pt x="145" y="10"/>
                </a:cubicBezTo>
                <a:cubicBezTo>
                  <a:pt x="143" y="4"/>
                  <a:pt x="140" y="5"/>
                  <a:pt x="138" y="6"/>
                </a:cubicBezTo>
                <a:cubicBezTo>
                  <a:pt x="135" y="6"/>
                  <a:pt x="132" y="7"/>
                  <a:pt x="133" y="13"/>
                </a:cubicBezTo>
                <a:cubicBezTo>
                  <a:pt x="133" y="17"/>
                  <a:pt x="133" y="22"/>
                  <a:pt x="132" y="24"/>
                </a:cubicBezTo>
                <a:cubicBezTo>
                  <a:pt x="130" y="25"/>
                  <a:pt x="128" y="25"/>
                  <a:pt x="126" y="26"/>
                </a:cubicBezTo>
                <a:cubicBezTo>
                  <a:pt x="124" y="25"/>
                  <a:pt x="121" y="21"/>
                  <a:pt x="119" y="18"/>
                </a:cubicBezTo>
                <a:cubicBezTo>
                  <a:pt x="116" y="12"/>
                  <a:pt x="113" y="14"/>
                  <a:pt x="110" y="15"/>
                </a:cubicBezTo>
                <a:cubicBezTo>
                  <a:pt x="108" y="16"/>
                  <a:pt x="105" y="17"/>
                  <a:pt x="107" y="23"/>
                </a:cubicBezTo>
                <a:cubicBezTo>
                  <a:pt x="108" y="27"/>
                  <a:pt x="108" y="32"/>
                  <a:pt x="108" y="34"/>
                </a:cubicBezTo>
                <a:cubicBezTo>
                  <a:pt x="106" y="35"/>
                  <a:pt x="104" y="36"/>
                  <a:pt x="103" y="37"/>
                </a:cubicBezTo>
                <a:cubicBezTo>
                  <a:pt x="100" y="36"/>
                  <a:pt x="96" y="33"/>
                  <a:pt x="94" y="30"/>
                </a:cubicBezTo>
                <a:cubicBezTo>
                  <a:pt x="90" y="25"/>
                  <a:pt x="87" y="27"/>
                  <a:pt x="85" y="28"/>
                </a:cubicBezTo>
                <a:cubicBezTo>
                  <a:pt x="83" y="30"/>
                  <a:pt x="80" y="31"/>
                  <a:pt x="83" y="37"/>
                </a:cubicBezTo>
                <a:cubicBezTo>
                  <a:pt x="84" y="41"/>
                  <a:pt x="85" y="45"/>
                  <a:pt x="85" y="48"/>
                </a:cubicBezTo>
                <a:cubicBezTo>
                  <a:pt x="84" y="49"/>
                  <a:pt x="82" y="50"/>
                  <a:pt x="81" y="51"/>
                </a:cubicBezTo>
                <a:cubicBezTo>
                  <a:pt x="78" y="51"/>
                  <a:pt x="74" y="48"/>
                  <a:pt x="71" y="46"/>
                </a:cubicBezTo>
                <a:cubicBezTo>
                  <a:pt x="66" y="41"/>
                  <a:pt x="64" y="44"/>
                  <a:pt x="62" y="46"/>
                </a:cubicBezTo>
                <a:cubicBezTo>
                  <a:pt x="60" y="47"/>
                  <a:pt x="58" y="49"/>
                  <a:pt x="61" y="54"/>
                </a:cubicBezTo>
                <a:cubicBezTo>
                  <a:pt x="63" y="58"/>
                  <a:pt x="65" y="62"/>
                  <a:pt x="65" y="65"/>
                </a:cubicBezTo>
                <a:cubicBezTo>
                  <a:pt x="64" y="66"/>
                  <a:pt x="63" y="67"/>
                  <a:pt x="62" y="69"/>
                </a:cubicBezTo>
                <a:cubicBezTo>
                  <a:pt x="59" y="69"/>
                  <a:pt x="54" y="67"/>
                  <a:pt x="51" y="65"/>
                </a:cubicBezTo>
                <a:cubicBezTo>
                  <a:pt x="46" y="61"/>
                  <a:pt x="44" y="64"/>
                  <a:pt x="42" y="66"/>
                </a:cubicBezTo>
                <a:cubicBezTo>
                  <a:pt x="41" y="68"/>
                  <a:pt x="38" y="70"/>
                  <a:pt x="43" y="75"/>
                </a:cubicBezTo>
                <a:cubicBezTo>
                  <a:pt x="45" y="78"/>
                  <a:pt x="48" y="82"/>
                  <a:pt x="48" y="85"/>
                </a:cubicBezTo>
                <a:cubicBezTo>
                  <a:pt x="47" y="86"/>
                  <a:pt x="46" y="88"/>
                  <a:pt x="45" y="89"/>
                </a:cubicBezTo>
                <a:cubicBezTo>
                  <a:pt x="42" y="89"/>
                  <a:pt x="38" y="88"/>
                  <a:pt x="34" y="87"/>
                </a:cubicBezTo>
                <a:cubicBezTo>
                  <a:pt x="28" y="84"/>
                  <a:pt x="27" y="87"/>
                  <a:pt x="26" y="90"/>
                </a:cubicBezTo>
                <a:cubicBezTo>
                  <a:pt x="24" y="92"/>
                  <a:pt x="22" y="94"/>
                  <a:pt x="27" y="98"/>
                </a:cubicBezTo>
                <a:cubicBezTo>
                  <a:pt x="31" y="101"/>
                  <a:pt x="34" y="104"/>
                  <a:pt x="35" y="107"/>
                </a:cubicBezTo>
                <a:cubicBezTo>
                  <a:pt x="34" y="108"/>
                  <a:pt x="33" y="110"/>
                  <a:pt x="32" y="112"/>
                </a:cubicBezTo>
                <a:cubicBezTo>
                  <a:pt x="30" y="113"/>
                  <a:pt x="25" y="112"/>
                  <a:pt x="21" y="111"/>
                </a:cubicBezTo>
                <a:cubicBezTo>
                  <a:pt x="15" y="110"/>
                  <a:pt x="14" y="113"/>
                  <a:pt x="13" y="115"/>
                </a:cubicBezTo>
                <a:cubicBezTo>
                  <a:pt x="12" y="117"/>
                  <a:pt x="11" y="120"/>
                  <a:pt x="16" y="124"/>
                </a:cubicBezTo>
                <a:cubicBezTo>
                  <a:pt x="20" y="126"/>
                  <a:pt x="23" y="129"/>
                  <a:pt x="25" y="131"/>
                </a:cubicBezTo>
                <a:cubicBezTo>
                  <a:pt x="24" y="133"/>
                  <a:pt x="23" y="134"/>
                  <a:pt x="23" y="136"/>
                </a:cubicBezTo>
                <a:cubicBezTo>
                  <a:pt x="20" y="137"/>
                  <a:pt x="16" y="138"/>
                  <a:pt x="12" y="137"/>
                </a:cubicBezTo>
                <a:cubicBezTo>
                  <a:pt x="5" y="137"/>
                  <a:pt x="5" y="140"/>
                  <a:pt x="5" y="143"/>
                </a:cubicBezTo>
                <a:cubicBezTo>
                  <a:pt x="4" y="145"/>
                  <a:pt x="3" y="148"/>
                  <a:pt x="9" y="150"/>
                </a:cubicBezTo>
                <a:cubicBezTo>
                  <a:pt x="13" y="152"/>
                  <a:pt x="17" y="154"/>
                  <a:pt x="18" y="156"/>
                </a:cubicBezTo>
                <a:cubicBezTo>
                  <a:pt x="18" y="158"/>
                  <a:pt x="18" y="160"/>
                  <a:pt x="18" y="162"/>
                </a:cubicBezTo>
                <a:cubicBezTo>
                  <a:pt x="15" y="163"/>
                  <a:pt x="11" y="164"/>
                  <a:pt x="7" y="165"/>
                </a:cubicBezTo>
                <a:cubicBezTo>
                  <a:pt x="0" y="165"/>
                  <a:pt x="1" y="169"/>
                  <a:pt x="1" y="171"/>
                </a:cubicBezTo>
                <a:cubicBezTo>
                  <a:pt x="0" y="173"/>
                  <a:pt x="0" y="177"/>
                  <a:pt x="6" y="178"/>
                </a:cubicBezTo>
                <a:cubicBezTo>
                  <a:pt x="10" y="179"/>
                  <a:pt x="14" y="180"/>
                  <a:pt x="16" y="182"/>
                </a:cubicBezTo>
                <a:cubicBezTo>
                  <a:pt x="16" y="184"/>
                  <a:pt x="16" y="186"/>
                  <a:pt x="16" y="188"/>
                </a:cubicBezTo>
                <a:cubicBezTo>
                  <a:pt x="15" y="190"/>
                  <a:pt x="10" y="191"/>
                  <a:pt x="6" y="193"/>
                </a:cubicBezTo>
                <a:cubicBezTo>
                  <a:pt x="0" y="194"/>
                  <a:pt x="1" y="197"/>
                  <a:pt x="1" y="200"/>
                </a:cubicBezTo>
                <a:cubicBezTo>
                  <a:pt x="1" y="202"/>
                  <a:pt x="1" y="205"/>
                  <a:pt x="7" y="206"/>
                </a:cubicBezTo>
                <a:cubicBezTo>
                  <a:pt x="11" y="206"/>
                  <a:pt x="16" y="207"/>
                  <a:pt x="18" y="208"/>
                </a:cubicBezTo>
                <a:cubicBezTo>
                  <a:pt x="19" y="210"/>
                  <a:pt x="19" y="212"/>
                  <a:pt x="19" y="214"/>
                </a:cubicBezTo>
                <a:cubicBezTo>
                  <a:pt x="18" y="216"/>
                  <a:pt x="14" y="218"/>
                  <a:pt x="10" y="220"/>
                </a:cubicBezTo>
                <a:cubicBezTo>
                  <a:pt x="4" y="222"/>
                  <a:pt x="5" y="226"/>
                  <a:pt x="6" y="228"/>
                </a:cubicBezTo>
                <a:cubicBezTo>
                  <a:pt x="6" y="230"/>
                  <a:pt x="7" y="234"/>
                  <a:pt x="13" y="233"/>
                </a:cubicBezTo>
                <a:cubicBezTo>
                  <a:pt x="17" y="232"/>
                  <a:pt x="22" y="233"/>
                  <a:pt x="24" y="234"/>
                </a:cubicBezTo>
                <a:cubicBezTo>
                  <a:pt x="25" y="235"/>
                  <a:pt x="26" y="237"/>
                  <a:pt x="26" y="239"/>
                </a:cubicBezTo>
                <a:cubicBezTo>
                  <a:pt x="25" y="241"/>
                  <a:pt x="21" y="244"/>
                  <a:pt x="18" y="247"/>
                </a:cubicBezTo>
                <a:cubicBezTo>
                  <a:pt x="12" y="250"/>
                  <a:pt x="14" y="253"/>
                  <a:pt x="15" y="255"/>
                </a:cubicBezTo>
                <a:cubicBezTo>
                  <a:pt x="16" y="257"/>
                  <a:pt x="17" y="260"/>
                  <a:pt x="23" y="259"/>
                </a:cubicBezTo>
                <a:cubicBezTo>
                  <a:pt x="27" y="258"/>
                  <a:pt x="32" y="257"/>
                  <a:pt x="34" y="258"/>
                </a:cubicBezTo>
                <a:cubicBezTo>
                  <a:pt x="35" y="260"/>
                  <a:pt x="36" y="261"/>
                  <a:pt x="37" y="263"/>
                </a:cubicBezTo>
                <a:cubicBezTo>
                  <a:pt x="36" y="265"/>
                  <a:pt x="33" y="269"/>
                  <a:pt x="30" y="272"/>
                </a:cubicBezTo>
                <a:cubicBezTo>
                  <a:pt x="25" y="276"/>
                  <a:pt x="27" y="278"/>
                  <a:pt x="28" y="280"/>
                </a:cubicBezTo>
                <a:cubicBezTo>
                  <a:pt x="30" y="282"/>
                  <a:pt x="31" y="285"/>
                  <a:pt x="37" y="283"/>
                </a:cubicBezTo>
                <a:cubicBezTo>
                  <a:pt x="41" y="281"/>
                  <a:pt x="45" y="280"/>
                  <a:pt x="48" y="280"/>
                </a:cubicBezTo>
                <a:cubicBezTo>
                  <a:pt x="49" y="282"/>
                  <a:pt x="50" y="283"/>
                  <a:pt x="51" y="285"/>
                </a:cubicBezTo>
                <a:cubicBezTo>
                  <a:pt x="51" y="287"/>
                  <a:pt x="48" y="291"/>
                  <a:pt x="46" y="294"/>
                </a:cubicBezTo>
                <a:cubicBezTo>
                  <a:pt x="42" y="299"/>
                  <a:pt x="44" y="301"/>
                  <a:pt x="46" y="303"/>
                </a:cubicBezTo>
                <a:cubicBezTo>
                  <a:pt x="47" y="305"/>
                  <a:pt x="49" y="308"/>
                  <a:pt x="54" y="304"/>
                </a:cubicBezTo>
                <a:cubicBezTo>
                  <a:pt x="58" y="302"/>
                  <a:pt x="62" y="300"/>
                  <a:pt x="65" y="300"/>
                </a:cubicBezTo>
                <a:cubicBezTo>
                  <a:pt x="66" y="301"/>
                  <a:pt x="67" y="303"/>
                  <a:pt x="69" y="304"/>
                </a:cubicBezTo>
                <a:cubicBezTo>
                  <a:pt x="69" y="307"/>
                  <a:pt x="67" y="311"/>
                  <a:pt x="65" y="314"/>
                </a:cubicBezTo>
                <a:cubicBezTo>
                  <a:pt x="61" y="320"/>
                  <a:pt x="64" y="322"/>
                  <a:pt x="66" y="323"/>
                </a:cubicBezTo>
                <a:cubicBezTo>
                  <a:pt x="68" y="325"/>
                  <a:pt x="70" y="327"/>
                  <a:pt x="75" y="323"/>
                </a:cubicBezTo>
                <a:cubicBezTo>
                  <a:pt x="78" y="320"/>
                  <a:pt x="82" y="318"/>
                  <a:pt x="85" y="317"/>
                </a:cubicBezTo>
                <a:cubicBezTo>
                  <a:pt x="86" y="318"/>
                  <a:pt x="88" y="319"/>
                  <a:pt x="89" y="320"/>
                </a:cubicBezTo>
                <a:cubicBezTo>
                  <a:pt x="90" y="323"/>
                  <a:pt x="88" y="327"/>
                  <a:pt x="87" y="331"/>
                </a:cubicBezTo>
                <a:cubicBezTo>
                  <a:pt x="84" y="337"/>
                  <a:pt x="88" y="338"/>
                  <a:pt x="90" y="340"/>
                </a:cubicBezTo>
                <a:cubicBezTo>
                  <a:pt x="92" y="341"/>
                  <a:pt x="94" y="343"/>
                  <a:pt x="98" y="338"/>
                </a:cubicBezTo>
                <a:cubicBezTo>
                  <a:pt x="101" y="335"/>
                  <a:pt x="104" y="332"/>
                  <a:pt x="107" y="331"/>
                </a:cubicBezTo>
                <a:cubicBezTo>
                  <a:pt x="109" y="332"/>
                  <a:pt x="110" y="332"/>
                  <a:pt x="112" y="333"/>
                </a:cubicBezTo>
                <a:cubicBezTo>
                  <a:pt x="113" y="336"/>
                  <a:pt x="112" y="340"/>
                  <a:pt x="111" y="344"/>
                </a:cubicBezTo>
                <a:cubicBezTo>
                  <a:pt x="110" y="351"/>
                  <a:pt x="113" y="351"/>
                  <a:pt x="115" y="352"/>
                </a:cubicBezTo>
                <a:cubicBezTo>
                  <a:pt x="118" y="353"/>
                  <a:pt x="121" y="355"/>
                  <a:pt x="124" y="349"/>
                </a:cubicBezTo>
                <a:cubicBezTo>
                  <a:pt x="126" y="346"/>
                  <a:pt x="129" y="342"/>
                  <a:pt x="131" y="341"/>
                </a:cubicBezTo>
                <a:cubicBezTo>
                  <a:pt x="133" y="341"/>
                  <a:pt x="134" y="342"/>
                  <a:pt x="136" y="342"/>
                </a:cubicBezTo>
                <a:cubicBezTo>
                  <a:pt x="137" y="345"/>
                  <a:pt x="138" y="350"/>
                  <a:pt x="138" y="354"/>
                </a:cubicBezTo>
                <a:cubicBezTo>
                  <a:pt x="137" y="360"/>
                  <a:pt x="140" y="360"/>
                  <a:pt x="143" y="361"/>
                </a:cubicBezTo>
                <a:cubicBezTo>
                  <a:pt x="145" y="361"/>
                  <a:pt x="148" y="362"/>
                  <a:pt x="150" y="356"/>
                </a:cubicBezTo>
                <a:cubicBezTo>
                  <a:pt x="152" y="353"/>
                  <a:pt x="154" y="349"/>
                  <a:pt x="156" y="347"/>
                </a:cubicBezTo>
                <a:cubicBezTo>
                  <a:pt x="158" y="347"/>
                  <a:pt x="160" y="347"/>
                  <a:pt x="162" y="348"/>
                </a:cubicBezTo>
                <a:cubicBezTo>
                  <a:pt x="163" y="350"/>
                  <a:pt x="164" y="355"/>
                  <a:pt x="165" y="359"/>
                </a:cubicBezTo>
                <a:cubicBezTo>
                  <a:pt x="165" y="365"/>
                  <a:pt x="169" y="365"/>
                  <a:pt x="171" y="365"/>
                </a:cubicBezTo>
                <a:cubicBezTo>
                  <a:pt x="173" y="365"/>
                  <a:pt x="177" y="366"/>
                  <a:pt x="178" y="359"/>
                </a:cubicBezTo>
                <a:cubicBezTo>
                  <a:pt x="179" y="355"/>
                  <a:pt x="181" y="351"/>
                  <a:pt x="182" y="349"/>
                </a:cubicBezTo>
                <a:cubicBezTo>
                  <a:pt x="184" y="349"/>
                  <a:pt x="186" y="349"/>
                  <a:pt x="188" y="349"/>
                </a:cubicBezTo>
                <a:cubicBezTo>
                  <a:pt x="190" y="351"/>
                  <a:pt x="192" y="355"/>
                  <a:pt x="193" y="359"/>
                </a:cubicBezTo>
                <a:cubicBezTo>
                  <a:pt x="194" y="365"/>
                  <a:pt x="197" y="365"/>
                  <a:pt x="200" y="364"/>
                </a:cubicBezTo>
                <a:cubicBezTo>
                  <a:pt x="202" y="364"/>
                  <a:pt x="205" y="364"/>
                  <a:pt x="206" y="358"/>
                </a:cubicBezTo>
                <a:cubicBezTo>
                  <a:pt x="206" y="354"/>
                  <a:pt x="207" y="349"/>
                  <a:pt x="208" y="347"/>
                </a:cubicBezTo>
                <a:cubicBezTo>
                  <a:pt x="210" y="347"/>
                  <a:pt x="212" y="346"/>
                  <a:pt x="214" y="346"/>
                </a:cubicBezTo>
                <a:cubicBezTo>
                  <a:pt x="216" y="348"/>
                  <a:pt x="218" y="352"/>
                  <a:pt x="220" y="355"/>
                </a:cubicBezTo>
                <a:cubicBezTo>
                  <a:pt x="222" y="361"/>
                  <a:pt x="226" y="360"/>
                  <a:pt x="228" y="360"/>
                </a:cubicBezTo>
                <a:cubicBezTo>
                  <a:pt x="230" y="359"/>
                  <a:pt x="234" y="359"/>
                  <a:pt x="233" y="352"/>
                </a:cubicBezTo>
                <a:cubicBezTo>
                  <a:pt x="232" y="348"/>
                  <a:pt x="233" y="343"/>
                  <a:pt x="234" y="341"/>
                </a:cubicBezTo>
                <a:cubicBezTo>
                  <a:pt x="236" y="340"/>
                  <a:pt x="237" y="340"/>
                  <a:pt x="239" y="339"/>
                </a:cubicBezTo>
                <a:cubicBezTo>
                  <a:pt x="241" y="341"/>
                  <a:pt x="244" y="344"/>
                  <a:pt x="247" y="347"/>
                </a:cubicBezTo>
                <a:cubicBezTo>
                  <a:pt x="250" y="353"/>
                  <a:pt x="253" y="351"/>
                  <a:pt x="255" y="350"/>
                </a:cubicBezTo>
                <a:cubicBezTo>
                  <a:pt x="257" y="349"/>
                  <a:pt x="260" y="348"/>
                  <a:pt x="259" y="342"/>
                </a:cubicBezTo>
                <a:cubicBezTo>
                  <a:pt x="258" y="338"/>
                  <a:pt x="257" y="334"/>
                  <a:pt x="258" y="331"/>
                </a:cubicBezTo>
                <a:cubicBezTo>
                  <a:pt x="260" y="330"/>
                  <a:pt x="261" y="329"/>
                  <a:pt x="263" y="328"/>
                </a:cubicBezTo>
                <a:cubicBezTo>
                  <a:pt x="265" y="329"/>
                  <a:pt x="269" y="332"/>
                  <a:pt x="272" y="335"/>
                </a:cubicBezTo>
                <a:cubicBezTo>
                  <a:pt x="276" y="340"/>
                  <a:pt x="278" y="338"/>
                  <a:pt x="280" y="337"/>
                </a:cubicBezTo>
                <a:cubicBezTo>
                  <a:pt x="282" y="336"/>
                  <a:pt x="285" y="334"/>
                  <a:pt x="283" y="328"/>
                </a:cubicBezTo>
                <a:cubicBezTo>
                  <a:pt x="281" y="325"/>
                  <a:pt x="280" y="320"/>
                  <a:pt x="280" y="317"/>
                </a:cubicBezTo>
                <a:cubicBezTo>
                  <a:pt x="282" y="316"/>
                  <a:pt x="283" y="315"/>
                  <a:pt x="285" y="314"/>
                </a:cubicBezTo>
                <a:cubicBezTo>
                  <a:pt x="287" y="315"/>
                  <a:pt x="291" y="317"/>
                  <a:pt x="294" y="320"/>
                </a:cubicBezTo>
                <a:cubicBezTo>
                  <a:pt x="299" y="324"/>
                  <a:pt x="302" y="321"/>
                  <a:pt x="303" y="320"/>
                </a:cubicBezTo>
                <a:cubicBezTo>
                  <a:pt x="305" y="318"/>
                  <a:pt x="308" y="316"/>
                  <a:pt x="304" y="311"/>
                </a:cubicBezTo>
                <a:cubicBezTo>
                  <a:pt x="302" y="308"/>
                  <a:pt x="300" y="303"/>
                  <a:pt x="300" y="300"/>
                </a:cubicBezTo>
                <a:cubicBezTo>
                  <a:pt x="301" y="299"/>
                  <a:pt x="303" y="298"/>
                  <a:pt x="304" y="297"/>
                </a:cubicBezTo>
                <a:cubicBezTo>
                  <a:pt x="307" y="297"/>
                  <a:pt x="311" y="298"/>
                  <a:pt x="315" y="300"/>
                </a:cubicBezTo>
                <a:cubicBezTo>
                  <a:pt x="320" y="304"/>
                  <a:pt x="322" y="301"/>
                  <a:pt x="323" y="299"/>
                </a:cubicBezTo>
                <a:cubicBezTo>
                  <a:pt x="325" y="297"/>
                  <a:pt x="327" y="295"/>
                  <a:pt x="323" y="290"/>
                </a:cubicBezTo>
                <a:cubicBezTo>
                  <a:pt x="320" y="287"/>
                  <a:pt x="318" y="283"/>
                  <a:pt x="317" y="281"/>
                </a:cubicBezTo>
                <a:cubicBezTo>
                  <a:pt x="318" y="279"/>
                  <a:pt x="319" y="278"/>
                  <a:pt x="320" y="276"/>
                </a:cubicBezTo>
                <a:cubicBezTo>
                  <a:pt x="323" y="276"/>
                  <a:pt x="328" y="277"/>
                  <a:pt x="331" y="278"/>
                </a:cubicBezTo>
                <a:cubicBezTo>
                  <a:pt x="337" y="281"/>
                  <a:pt x="339" y="278"/>
                  <a:pt x="340" y="276"/>
                </a:cubicBezTo>
                <a:cubicBezTo>
                  <a:pt x="341" y="274"/>
                  <a:pt x="343" y="271"/>
                  <a:pt x="338" y="267"/>
                </a:cubicBezTo>
                <a:cubicBezTo>
                  <a:pt x="335" y="265"/>
                  <a:pt x="332" y="261"/>
                  <a:pt x="331" y="258"/>
                </a:cubicBezTo>
                <a:cubicBezTo>
                  <a:pt x="332" y="257"/>
                  <a:pt x="333" y="255"/>
                  <a:pt x="333" y="254"/>
                </a:cubicBezTo>
                <a:cubicBezTo>
                  <a:pt x="336" y="253"/>
                  <a:pt x="341" y="253"/>
                  <a:pt x="345" y="254"/>
                </a:cubicBezTo>
                <a:cubicBezTo>
                  <a:pt x="351" y="256"/>
                  <a:pt x="352" y="252"/>
                  <a:pt x="352" y="250"/>
                </a:cubicBezTo>
                <a:cubicBezTo>
                  <a:pt x="353" y="248"/>
                  <a:pt x="355" y="245"/>
                  <a:pt x="349" y="242"/>
                </a:cubicBezTo>
                <a:cubicBezTo>
                  <a:pt x="346" y="240"/>
                  <a:pt x="342" y="237"/>
                  <a:pt x="341" y="234"/>
                </a:cubicBezTo>
                <a:cubicBezTo>
                  <a:pt x="341" y="233"/>
                  <a:pt x="342" y="231"/>
                  <a:pt x="342" y="229"/>
                </a:cubicBezTo>
                <a:cubicBezTo>
                  <a:pt x="345" y="228"/>
                  <a:pt x="350" y="228"/>
                  <a:pt x="354" y="228"/>
                </a:cubicBezTo>
                <a:cubicBezTo>
                  <a:pt x="360" y="228"/>
                  <a:pt x="360" y="225"/>
                  <a:pt x="361" y="223"/>
                </a:cubicBezTo>
                <a:cubicBezTo>
                  <a:pt x="361" y="220"/>
                  <a:pt x="363" y="217"/>
                  <a:pt x="357" y="215"/>
                </a:cubicBezTo>
                <a:cubicBezTo>
                  <a:pt x="353" y="213"/>
                  <a:pt x="349" y="211"/>
                  <a:pt x="347" y="209"/>
                </a:cubicBezTo>
                <a:cubicBezTo>
                  <a:pt x="347" y="207"/>
                  <a:pt x="348" y="205"/>
                  <a:pt x="348" y="204"/>
                </a:cubicBezTo>
                <a:cubicBezTo>
                  <a:pt x="350" y="202"/>
                  <a:pt x="355" y="201"/>
                  <a:pt x="359" y="201"/>
                </a:cubicBezTo>
                <a:cubicBezTo>
                  <a:pt x="365" y="200"/>
                  <a:pt x="365" y="197"/>
                  <a:pt x="365" y="194"/>
                </a:cubicBezTo>
                <a:cubicBezTo>
                  <a:pt x="365" y="192"/>
                  <a:pt x="366" y="189"/>
                  <a:pt x="359" y="187"/>
                </a:cubicBez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1214">
            <a:extLst>
              <a:ext uri="{FF2B5EF4-FFF2-40B4-BE49-F238E27FC236}">
                <a16:creationId xmlns:a16="http://schemas.microsoft.com/office/drawing/2014/main" id="{0C69C455-6394-405A-959B-BB2B1E29762D}"/>
              </a:ext>
            </a:extLst>
          </p:cNvPr>
          <p:cNvSpPr>
            <a:spLocks noEditPoints="1"/>
          </p:cNvSpPr>
          <p:nvPr/>
        </p:nvSpPr>
        <p:spPr bwMode="auto">
          <a:xfrm rot="1233185">
            <a:off x="2729449" y="3444080"/>
            <a:ext cx="245542" cy="289738"/>
          </a:xfrm>
          <a:custGeom>
            <a:avLst/>
            <a:gdLst>
              <a:gd name="T0" fmla="*/ 28 w 65"/>
              <a:gd name="T1" fmla="*/ 0 h 76"/>
              <a:gd name="T2" fmla="*/ 62 w 65"/>
              <a:gd name="T3" fmla="*/ 17 h 76"/>
              <a:gd name="T4" fmla="*/ 64 w 65"/>
              <a:gd name="T5" fmla="*/ 25 h 76"/>
              <a:gd name="T6" fmla="*/ 47 w 65"/>
              <a:gd name="T7" fmla="*/ 63 h 76"/>
              <a:gd name="T8" fmla="*/ 43 w 65"/>
              <a:gd name="T9" fmla="*/ 72 h 76"/>
              <a:gd name="T10" fmla="*/ 37 w 65"/>
              <a:gd name="T11" fmla="*/ 75 h 76"/>
              <a:gd name="T12" fmla="*/ 0 w 65"/>
              <a:gd name="T13" fmla="*/ 63 h 76"/>
              <a:gd name="T14" fmla="*/ 28 w 65"/>
              <a:gd name="T15" fmla="*/ 0 h 76"/>
              <a:gd name="T16" fmla="*/ 15 w 65"/>
              <a:gd name="T17" fmla="*/ 54 h 76"/>
              <a:gd name="T18" fmla="*/ 16 w 65"/>
              <a:gd name="T19" fmla="*/ 60 h 76"/>
              <a:gd name="T20" fmla="*/ 21 w 65"/>
              <a:gd name="T21" fmla="*/ 58 h 76"/>
              <a:gd name="T22" fmla="*/ 20 w 65"/>
              <a:gd name="T23" fmla="*/ 53 h 76"/>
              <a:gd name="T24" fmla="*/ 15 w 65"/>
              <a:gd name="T25"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6">
                <a:moveTo>
                  <a:pt x="28" y="0"/>
                </a:moveTo>
                <a:cubicBezTo>
                  <a:pt x="35" y="8"/>
                  <a:pt x="50" y="2"/>
                  <a:pt x="62" y="17"/>
                </a:cubicBezTo>
                <a:cubicBezTo>
                  <a:pt x="63" y="18"/>
                  <a:pt x="65" y="22"/>
                  <a:pt x="64" y="25"/>
                </a:cubicBezTo>
                <a:cubicBezTo>
                  <a:pt x="58" y="38"/>
                  <a:pt x="52" y="51"/>
                  <a:pt x="47" y="63"/>
                </a:cubicBezTo>
                <a:cubicBezTo>
                  <a:pt x="45" y="66"/>
                  <a:pt x="44" y="69"/>
                  <a:pt x="43" y="72"/>
                </a:cubicBezTo>
                <a:cubicBezTo>
                  <a:pt x="42" y="75"/>
                  <a:pt x="40" y="76"/>
                  <a:pt x="37" y="75"/>
                </a:cubicBezTo>
                <a:cubicBezTo>
                  <a:pt x="25" y="71"/>
                  <a:pt x="13" y="67"/>
                  <a:pt x="0" y="63"/>
                </a:cubicBezTo>
                <a:cubicBezTo>
                  <a:pt x="9" y="42"/>
                  <a:pt x="19" y="21"/>
                  <a:pt x="28" y="0"/>
                </a:cubicBezTo>
                <a:close/>
                <a:moveTo>
                  <a:pt x="15" y="54"/>
                </a:moveTo>
                <a:cubicBezTo>
                  <a:pt x="13" y="57"/>
                  <a:pt x="14" y="59"/>
                  <a:pt x="16" y="60"/>
                </a:cubicBezTo>
                <a:cubicBezTo>
                  <a:pt x="18" y="61"/>
                  <a:pt x="20" y="60"/>
                  <a:pt x="21" y="58"/>
                </a:cubicBezTo>
                <a:cubicBezTo>
                  <a:pt x="22" y="56"/>
                  <a:pt x="22" y="54"/>
                  <a:pt x="20" y="53"/>
                </a:cubicBezTo>
                <a:cubicBezTo>
                  <a:pt x="18" y="52"/>
                  <a:pt x="16" y="52"/>
                  <a:pt x="15" y="54"/>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8" name="Freeform 1215">
            <a:extLst>
              <a:ext uri="{FF2B5EF4-FFF2-40B4-BE49-F238E27FC236}">
                <a16:creationId xmlns:a16="http://schemas.microsoft.com/office/drawing/2014/main" id="{09AEE880-2EF0-4E56-8F54-262BDEFB2B56}"/>
              </a:ext>
            </a:extLst>
          </p:cNvPr>
          <p:cNvSpPr>
            <a:spLocks noEditPoints="1"/>
          </p:cNvSpPr>
          <p:nvPr/>
        </p:nvSpPr>
        <p:spPr bwMode="auto">
          <a:xfrm rot="1233185">
            <a:off x="3452967" y="3735582"/>
            <a:ext cx="240633" cy="294650"/>
          </a:xfrm>
          <a:custGeom>
            <a:avLst/>
            <a:gdLst>
              <a:gd name="T0" fmla="*/ 63 w 63"/>
              <a:gd name="T1" fmla="*/ 64 h 78"/>
              <a:gd name="T2" fmla="*/ 27 w 63"/>
              <a:gd name="T3" fmla="*/ 76 h 78"/>
              <a:gd name="T4" fmla="*/ 20 w 63"/>
              <a:gd name="T5" fmla="*/ 72 h 78"/>
              <a:gd name="T6" fmla="*/ 5 w 63"/>
              <a:gd name="T7" fmla="*/ 32 h 78"/>
              <a:gd name="T8" fmla="*/ 2 w 63"/>
              <a:gd name="T9" fmla="*/ 23 h 78"/>
              <a:gd name="T10" fmla="*/ 3 w 63"/>
              <a:gd name="T11" fmla="*/ 17 h 78"/>
              <a:gd name="T12" fmla="*/ 38 w 63"/>
              <a:gd name="T13" fmla="*/ 0 h 78"/>
              <a:gd name="T14" fmla="*/ 63 w 63"/>
              <a:gd name="T15" fmla="*/ 64 h 78"/>
              <a:gd name="T16" fmla="*/ 34 w 63"/>
              <a:gd name="T17" fmla="*/ 16 h 78"/>
              <a:gd name="T18" fmla="*/ 29 w 63"/>
              <a:gd name="T19" fmla="*/ 13 h 78"/>
              <a:gd name="T20" fmla="*/ 27 w 63"/>
              <a:gd name="T21" fmla="*/ 18 h 78"/>
              <a:gd name="T22" fmla="*/ 32 w 63"/>
              <a:gd name="T23" fmla="*/ 21 h 78"/>
              <a:gd name="T24" fmla="*/ 34 w 63"/>
              <a:gd name="T25"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8">
                <a:moveTo>
                  <a:pt x="63" y="64"/>
                </a:moveTo>
                <a:cubicBezTo>
                  <a:pt x="53" y="63"/>
                  <a:pt x="46" y="78"/>
                  <a:pt x="27" y="76"/>
                </a:cubicBezTo>
                <a:cubicBezTo>
                  <a:pt x="25" y="76"/>
                  <a:pt x="21" y="74"/>
                  <a:pt x="20" y="72"/>
                </a:cubicBezTo>
                <a:cubicBezTo>
                  <a:pt x="15" y="59"/>
                  <a:pt x="10" y="45"/>
                  <a:pt x="5" y="32"/>
                </a:cubicBezTo>
                <a:cubicBezTo>
                  <a:pt x="4" y="29"/>
                  <a:pt x="3" y="26"/>
                  <a:pt x="2" y="23"/>
                </a:cubicBezTo>
                <a:cubicBezTo>
                  <a:pt x="0" y="21"/>
                  <a:pt x="1" y="18"/>
                  <a:pt x="3" y="17"/>
                </a:cubicBezTo>
                <a:cubicBezTo>
                  <a:pt x="15" y="11"/>
                  <a:pt x="26" y="6"/>
                  <a:pt x="38" y="0"/>
                </a:cubicBezTo>
                <a:cubicBezTo>
                  <a:pt x="47" y="21"/>
                  <a:pt x="55" y="42"/>
                  <a:pt x="63" y="64"/>
                </a:cubicBezTo>
                <a:close/>
                <a:moveTo>
                  <a:pt x="34" y="16"/>
                </a:moveTo>
                <a:cubicBezTo>
                  <a:pt x="34" y="13"/>
                  <a:pt x="31" y="12"/>
                  <a:pt x="29" y="13"/>
                </a:cubicBezTo>
                <a:cubicBezTo>
                  <a:pt x="27" y="14"/>
                  <a:pt x="26" y="15"/>
                  <a:pt x="27" y="18"/>
                </a:cubicBezTo>
                <a:cubicBezTo>
                  <a:pt x="28" y="20"/>
                  <a:pt x="29" y="21"/>
                  <a:pt x="32" y="21"/>
                </a:cubicBezTo>
                <a:cubicBezTo>
                  <a:pt x="34" y="20"/>
                  <a:pt x="35" y="18"/>
                  <a:pt x="34" y="16"/>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9" name="Freeform 1216">
            <a:extLst>
              <a:ext uri="{FF2B5EF4-FFF2-40B4-BE49-F238E27FC236}">
                <a16:creationId xmlns:a16="http://schemas.microsoft.com/office/drawing/2014/main" id="{DC864BBE-8E29-4242-AB80-07E3A6AFE1E2}"/>
              </a:ext>
            </a:extLst>
          </p:cNvPr>
          <p:cNvSpPr>
            <a:spLocks/>
          </p:cNvSpPr>
          <p:nvPr/>
        </p:nvSpPr>
        <p:spPr bwMode="auto">
          <a:xfrm rot="1233185">
            <a:off x="2996597" y="3674802"/>
            <a:ext cx="520549" cy="299560"/>
          </a:xfrm>
          <a:custGeom>
            <a:avLst/>
            <a:gdLst>
              <a:gd name="T0" fmla="*/ 116 w 137"/>
              <a:gd name="T1" fmla="*/ 7 h 79"/>
              <a:gd name="T2" fmla="*/ 137 w 137"/>
              <a:gd name="T3" fmla="*/ 67 h 79"/>
              <a:gd name="T4" fmla="*/ 118 w 137"/>
              <a:gd name="T5" fmla="*/ 79 h 79"/>
              <a:gd name="T6" fmla="*/ 88 w 137"/>
              <a:gd name="T7" fmla="*/ 48 h 79"/>
              <a:gd name="T8" fmla="*/ 52 w 137"/>
              <a:gd name="T9" fmla="*/ 31 h 79"/>
              <a:gd name="T10" fmla="*/ 41 w 137"/>
              <a:gd name="T11" fmla="*/ 30 h 79"/>
              <a:gd name="T12" fmla="*/ 13 w 137"/>
              <a:gd name="T13" fmla="*/ 44 h 79"/>
              <a:gd name="T14" fmla="*/ 7 w 137"/>
              <a:gd name="T15" fmla="*/ 33 h 79"/>
              <a:gd name="T16" fmla="*/ 17 w 137"/>
              <a:gd name="T17" fmla="*/ 13 h 79"/>
              <a:gd name="T18" fmla="*/ 26 w 137"/>
              <a:gd name="T19" fmla="*/ 8 h 79"/>
              <a:gd name="T20" fmla="*/ 51 w 137"/>
              <a:gd name="T21" fmla="*/ 1 h 79"/>
              <a:gd name="T22" fmla="*/ 69 w 137"/>
              <a:gd name="T23" fmla="*/ 5 h 79"/>
              <a:gd name="T24" fmla="*/ 97 w 137"/>
              <a:gd name="T25" fmla="*/ 12 h 79"/>
              <a:gd name="T26" fmla="*/ 116 w 137"/>
              <a:gd name="T2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16" y="7"/>
                </a:moveTo>
                <a:cubicBezTo>
                  <a:pt x="137" y="67"/>
                  <a:pt x="137" y="67"/>
                  <a:pt x="137" y="67"/>
                </a:cubicBezTo>
                <a:cubicBezTo>
                  <a:pt x="129" y="67"/>
                  <a:pt x="118" y="79"/>
                  <a:pt x="118" y="79"/>
                </a:cubicBezTo>
                <a:cubicBezTo>
                  <a:pt x="88" y="48"/>
                  <a:pt x="88" y="48"/>
                  <a:pt x="88" y="48"/>
                </a:cubicBezTo>
                <a:cubicBezTo>
                  <a:pt x="52" y="31"/>
                  <a:pt x="52" y="31"/>
                  <a:pt x="52" y="31"/>
                </a:cubicBezTo>
                <a:cubicBezTo>
                  <a:pt x="41" y="30"/>
                  <a:pt x="41" y="30"/>
                  <a:pt x="41" y="30"/>
                </a:cubicBezTo>
                <a:cubicBezTo>
                  <a:pt x="41" y="30"/>
                  <a:pt x="26" y="46"/>
                  <a:pt x="13" y="44"/>
                </a:cubicBezTo>
                <a:cubicBezTo>
                  <a:pt x="0" y="42"/>
                  <a:pt x="7" y="33"/>
                  <a:pt x="7" y="33"/>
                </a:cubicBezTo>
                <a:cubicBezTo>
                  <a:pt x="17" y="13"/>
                  <a:pt x="17" y="13"/>
                  <a:pt x="17" y="13"/>
                </a:cubicBezTo>
                <a:cubicBezTo>
                  <a:pt x="17" y="13"/>
                  <a:pt x="17" y="11"/>
                  <a:pt x="26" y="8"/>
                </a:cubicBezTo>
                <a:cubicBezTo>
                  <a:pt x="35" y="5"/>
                  <a:pt x="51" y="1"/>
                  <a:pt x="51" y="1"/>
                </a:cubicBezTo>
                <a:cubicBezTo>
                  <a:pt x="51" y="1"/>
                  <a:pt x="57" y="0"/>
                  <a:pt x="69" y="5"/>
                </a:cubicBezTo>
                <a:cubicBezTo>
                  <a:pt x="82" y="10"/>
                  <a:pt x="97" y="12"/>
                  <a:pt x="97" y="12"/>
                </a:cubicBezTo>
                <a:lnTo>
                  <a:pt x="11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0" name="Freeform 1217">
            <a:extLst>
              <a:ext uri="{FF2B5EF4-FFF2-40B4-BE49-F238E27FC236}">
                <a16:creationId xmlns:a16="http://schemas.microsoft.com/office/drawing/2014/main" id="{D4C1C7DF-923B-49DA-9C64-0C15187F3364}"/>
              </a:ext>
            </a:extLst>
          </p:cNvPr>
          <p:cNvSpPr>
            <a:spLocks/>
          </p:cNvSpPr>
          <p:nvPr/>
        </p:nvSpPr>
        <p:spPr bwMode="auto">
          <a:xfrm rot="1233185">
            <a:off x="2827258" y="3658862"/>
            <a:ext cx="604035" cy="466528"/>
          </a:xfrm>
          <a:custGeom>
            <a:avLst/>
            <a:gdLst>
              <a:gd name="T0" fmla="*/ 154 w 159"/>
              <a:gd name="T1" fmla="*/ 79 h 123"/>
              <a:gd name="T2" fmla="*/ 148 w 159"/>
              <a:gd name="T3" fmla="*/ 92 h 123"/>
              <a:gd name="T4" fmla="*/ 120 w 159"/>
              <a:gd name="T5" fmla="*/ 64 h 123"/>
              <a:gd name="T6" fmla="*/ 99 w 159"/>
              <a:gd name="T7" fmla="*/ 55 h 123"/>
              <a:gd name="T8" fmla="*/ 96 w 159"/>
              <a:gd name="T9" fmla="*/ 58 h 123"/>
              <a:gd name="T10" fmla="*/ 117 w 159"/>
              <a:gd name="T11" fmla="*/ 68 h 123"/>
              <a:gd name="T12" fmla="*/ 140 w 159"/>
              <a:gd name="T13" fmla="*/ 91 h 123"/>
              <a:gd name="T14" fmla="*/ 138 w 159"/>
              <a:gd name="T15" fmla="*/ 101 h 123"/>
              <a:gd name="T16" fmla="*/ 118 w 159"/>
              <a:gd name="T17" fmla="*/ 96 h 123"/>
              <a:gd name="T18" fmla="*/ 89 w 159"/>
              <a:gd name="T19" fmla="*/ 71 h 123"/>
              <a:gd name="T20" fmla="*/ 85 w 159"/>
              <a:gd name="T21" fmla="*/ 75 h 123"/>
              <a:gd name="T22" fmla="*/ 119 w 159"/>
              <a:gd name="T23" fmla="*/ 104 h 123"/>
              <a:gd name="T24" fmla="*/ 117 w 159"/>
              <a:gd name="T25" fmla="*/ 112 h 123"/>
              <a:gd name="T26" fmla="*/ 102 w 159"/>
              <a:gd name="T27" fmla="*/ 109 h 123"/>
              <a:gd name="T28" fmla="*/ 78 w 159"/>
              <a:gd name="T29" fmla="*/ 86 h 123"/>
              <a:gd name="T30" fmla="*/ 74 w 159"/>
              <a:gd name="T31" fmla="*/ 89 h 123"/>
              <a:gd name="T32" fmla="*/ 104 w 159"/>
              <a:gd name="T33" fmla="*/ 116 h 123"/>
              <a:gd name="T34" fmla="*/ 94 w 159"/>
              <a:gd name="T35" fmla="*/ 121 h 123"/>
              <a:gd name="T36" fmla="*/ 56 w 159"/>
              <a:gd name="T37" fmla="*/ 98 h 123"/>
              <a:gd name="T38" fmla="*/ 17 w 159"/>
              <a:gd name="T39" fmla="*/ 65 h 123"/>
              <a:gd name="T40" fmla="*/ 0 w 159"/>
              <a:gd name="T41" fmla="*/ 48 h 123"/>
              <a:gd name="T42" fmla="*/ 19 w 159"/>
              <a:gd name="T43" fmla="*/ 1 h 123"/>
              <a:gd name="T44" fmla="*/ 49 w 159"/>
              <a:gd name="T45" fmla="*/ 1 h 123"/>
              <a:gd name="T46" fmla="*/ 38 w 159"/>
              <a:gd name="T47" fmla="*/ 21 h 123"/>
              <a:gd name="T48" fmla="*/ 45 w 159"/>
              <a:gd name="T49" fmla="*/ 39 h 123"/>
              <a:gd name="T50" fmla="*/ 82 w 159"/>
              <a:gd name="T51" fmla="*/ 26 h 123"/>
              <a:gd name="T52" fmla="*/ 121 w 159"/>
              <a:gd name="T53" fmla="*/ 45 h 123"/>
              <a:gd name="T54" fmla="*/ 154 w 159"/>
              <a:gd name="T55" fmla="*/ 7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9" h="123">
                <a:moveTo>
                  <a:pt x="154" y="79"/>
                </a:moveTo>
                <a:cubicBezTo>
                  <a:pt x="154" y="79"/>
                  <a:pt x="159" y="91"/>
                  <a:pt x="148" y="92"/>
                </a:cubicBezTo>
                <a:cubicBezTo>
                  <a:pt x="120" y="64"/>
                  <a:pt x="120" y="64"/>
                  <a:pt x="120" y="64"/>
                </a:cubicBezTo>
                <a:cubicBezTo>
                  <a:pt x="99" y="55"/>
                  <a:pt x="99" y="55"/>
                  <a:pt x="99" y="55"/>
                </a:cubicBezTo>
                <a:cubicBezTo>
                  <a:pt x="96" y="58"/>
                  <a:pt x="96" y="58"/>
                  <a:pt x="96" y="58"/>
                </a:cubicBezTo>
                <a:cubicBezTo>
                  <a:pt x="117" y="68"/>
                  <a:pt x="117" y="68"/>
                  <a:pt x="117" y="68"/>
                </a:cubicBezTo>
                <a:cubicBezTo>
                  <a:pt x="140" y="91"/>
                  <a:pt x="140" y="91"/>
                  <a:pt x="140" y="91"/>
                </a:cubicBezTo>
                <a:cubicBezTo>
                  <a:pt x="140" y="91"/>
                  <a:pt x="143" y="97"/>
                  <a:pt x="138" y="101"/>
                </a:cubicBezTo>
                <a:cubicBezTo>
                  <a:pt x="133" y="105"/>
                  <a:pt x="124" y="102"/>
                  <a:pt x="118" y="96"/>
                </a:cubicBezTo>
                <a:cubicBezTo>
                  <a:pt x="112" y="91"/>
                  <a:pt x="89" y="71"/>
                  <a:pt x="89" y="71"/>
                </a:cubicBezTo>
                <a:cubicBezTo>
                  <a:pt x="85" y="75"/>
                  <a:pt x="85" y="75"/>
                  <a:pt x="85" y="75"/>
                </a:cubicBezTo>
                <a:cubicBezTo>
                  <a:pt x="119" y="104"/>
                  <a:pt x="119" y="104"/>
                  <a:pt x="119" y="104"/>
                </a:cubicBezTo>
                <a:cubicBezTo>
                  <a:pt x="119" y="104"/>
                  <a:pt x="123" y="108"/>
                  <a:pt x="117" y="112"/>
                </a:cubicBezTo>
                <a:cubicBezTo>
                  <a:pt x="111" y="117"/>
                  <a:pt x="108" y="116"/>
                  <a:pt x="102" y="109"/>
                </a:cubicBezTo>
                <a:cubicBezTo>
                  <a:pt x="95" y="103"/>
                  <a:pt x="78" y="86"/>
                  <a:pt x="78" y="86"/>
                </a:cubicBezTo>
                <a:cubicBezTo>
                  <a:pt x="74" y="89"/>
                  <a:pt x="74" y="89"/>
                  <a:pt x="74" y="89"/>
                </a:cubicBezTo>
                <a:cubicBezTo>
                  <a:pt x="104" y="116"/>
                  <a:pt x="104" y="116"/>
                  <a:pt x="104" y="116"/>
                </a:cubicBezTo>
                <a:cubicBezTo>
                  <a:pt x="104" y="116"/>
                  <a:pt x="100" y="123"/>
                  <a:pt x="94" y="121"/>
                </a:cubicBezTo>
                <a:cubicBezTo>
                  <a:pt x="87" y="118"/>
                  <a:pt x="56" y="98"/>
                  <a:pt x="56" y="98"/>
                </a:cubicBezTo>
                <a:cubicBezTo>
                  <a:pt x="17" y="65"/>
                  <a:pt x="17" y="65"/>
                  <a:pt x="17" y="65"/>
                </a:cubicBezTo>
                <a:cubicBezTo>
                  <a:pt x="0" y="48"/>
                  <a:pt x="0" y="48"/>
                  <a:pt x="0" y="48"/>
                </a:cubicBezTo>
                <a:cubicBezTo>
                  <a:pt x="19" y="1"/>
                  <a:pt x="19" y="1"/>
                  <a:pt x="19" y="1"/>
                </a:cubicBezTo>
                <a:cubicBezTo>
                  <a:pt x="19" y="1"/>
                  <a:pt x="43" y="0"/>
                  <a:pt x="49" y="1"/>
                </a:cubicBezTo>
                <a:cubicBezTo>
                  <a:pt x="38" y="21"/>
                  <a:pt x="38" y="21"/>
                  <a:pt x="38" y="21"/>
                </a:cubicBezTo>
                <a:cubicBezTo>
                  <a:pt x="38" y="21"/>
                  <a:pt x="33" y="33"/>
                  <a:pt x="45" y="39"/>
                </a:cubicBezTo>
                <a:cubicBezTo>
                  <a:pt x="58" y="44"/>
                  <a:pt x="72" y="34"/>
                  <a:pt x="82" y="26"/>
                </a:cubicBezTo>
                <a:cubicBezTo>
                  <a:pt x="121" y="45"/>
                  <a:pt x="121" y="45"/>
                  <a:pt x="121" y="45"/>
                </a:cubicBezTo>
                <a:lnTo>
                  <a:pt x="15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2" name="Freeform 568">
            <a:extLst>
              <a:ext uri="{FF2B5EF4-FFF2-40B4-BE49-F238E27FC236}">
                <a16:creationId xmlns:a16="http://schemas.microsoft.com/office/drawing/2014/main" id="{4A12BF49-A6C7-4232-8C04-5688873489C8}"/>
              </a:ext>
            </a:extLst>
          </p:cNvPr>
          <p:cNvSpPr>
            <a:spLocks noEditPoints="1"/>
          </p:cNvSpPr>
          <p:nvPr userDrawn="1"/>
        </p:nvSpPr>
        <p:spPr bwMode="auto">
          <a:xfrm>
            <a:off x="9930751" y="3398907"/>
            <a:ext cx="569002" cy="565553"/>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3" name="Freeform 569">
            <a:extLst>
              <a:ext uri="{FF2B5EF4-FFF2-40B4-BE49-F238E27FC236}">
                <a16:creationId xmlns:a16="http://schemas.microsoft.com/office/drawing/2014/main" id="{74D461DB-6C71-473E-A9AC-33BBFED5B083}"/>
              </a:ext>
            </a:extLst>
          </p:cNvPr>
          <p:cNvSpPr>
            <a:spLocks noEditPoints="1"/>
          </p:cNvSpPr>
          <p:nvPr userDrawn="1"/>
        </p:nvSpPr>
        <p:spPr bwMode="auto">
          <a:xfrm>
            <a:off x="7237486" y="5713640"/>
            <a:ext cx="727633" cy="720736"/>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4" name="Freeform 570">
            <a:extLst>
              <a:ext uri="{FF2B5EF4-FFF2-40B4-BE49-F238E27FC236}">
                <a16:creationId xmlns:a16="http://schemas.microsoft.com/office/drawing/2014/main" id="{EDF28CC2-718B-41F5-870C-DF4540579C4D}"/>
              </a:ext>
            </a:extLst>
          </p:cNvPr>
          <p:cNvSpPr>
            <a:spLocks noEditPoints="1"/>
          </p:cNvSpPr>
          <p:nvPr userDrawn="1"/>
        </p:nvSpPr>
        <p:spPr bwMode="auto">
          <a:xfrm>
            <a:off x="11001790" y="5332026"/>
            <a:ext cx="1134555" cy="1120761"/>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5" name="Freeform 571">
            <a:extLst>
              <a:ext uri="{FF2B5EF4-FFF2-40B4-BE49-F238E27FC236}">
                <a16:creationId xmlns:a16="http://schemas.microsoft.com/office/drawing/2014/main" id="{F33520C6-584F-4F8F-86D1-E8074F8A3A8D}"/>
              </a:ext>
            </a:extLst>
          </p:cNvPr>
          <p:cNvSpPr>
            <a:spLocks noEditPoints="1"/>
          </p:cNvSpPr>
          <p:nvPr userDrawn="1"/>
        </p:nvSpPr>
        <p:spPr bwMode="auto">
          <a:xfrm>
            <a:off x="11098348" y="5428584"/>
            <a:ext cx="934543" cy="927646"/>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6" name="Freeform 572">
            <a:extLst>
              <a:ext uri="{FF2B5EF4-FFF2-40B4-BE49-F238E27FC236}">
                <a16:creationId xmlns:a16="http://schemas.microsoft.com/office/drawing/2014/main" id="{73FB5B27-F324-4FEA-96FA-3776C9D3F8C5}"/>
              </a:ext>
            </a:extLst>
          </p:cNvPr>
          <p:cNvSpPr>
            <a:spLocks noEditPoints="1"/>
          </p:cNvSpPr>
          <p:nvPr userDrawn="1"/>
        </p:nvSpPr>
        <p:spPr bwMode="auto">
          <a:xfrm>
            <a:off x="7923069" y="5389908"/>
            <a:ext cx="908313" cy="911930"/>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7" name="Freeform 573">
            <a:extLst>
              <a:ext uri="{FF2B5EF4-FFF2-40B4-BE49-F238E27FC236}">
                <a16:creationId xmlns:a16="http://schemas.microsoft.com/office/drawing/2014/main" id="{ED21504A-FF1E-4004-850D-EB8323C65D09}"/>
              </a:ext>
            </a:extLst>
          </p:cNvPr>
          <p:cNvSpPr>
            <a:spLocks noEditPoints="1"/>
          </p:cNvSpPr>
          <p:nvPr userDrawn="1"/>
        </p:nvSpPr>
        <p:spPr bwMode="auto">
          <a:xfrm>
            <a:off x="10961284" y="4562893"/>
            <a:ext cx="55176" cy="100007"/>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8" name="Freeform 574">
            <a:extLst>
              <a:ext uri="{FF2B5EF4-FFF2-40B4-BE49-F238E27FC236}">
                <a16:creationId xmlns:a16="http://schemas.microsoft.com/office/drawing/2014/main" id="{3810C91D-2D33-4C3A-AB81-F0F8BF3581EE}"/>
              </a:ext>
            </a:extLst>
          </p:cNvPr>
          <p:cNvSpPr>
            <a:spLocks noEditPoints="1"/>
          </p:cNvSpPr>
          <p:nvPr userDrawn="1"/>
        </p:nvSpPr>
        <p:spPr bwMode="auto">
          <a:xfrm>
            <a:off x="10909556" y="4562893"/>
            <a:ext cx="55176" cy="100007"/>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9" name="Freeform 575">
            <a:extLst>
              <a:ext uri="{FF2B5EF4-FFF2-40B4-BE49-F238E27FC236}">
                <a16:creationId xmlns:a16="http://schemas.microsoft.com/office/drawing/2014/main" id="{BBB4E623-98CC-4C10-8DE5-5F58E9A7C32D}"/>
              </a:ext>
            </a:extLst>
          </p:cNvPr>
          <p:cNvSpPr>
            <a:spLocks noEditPoints="1"/>
          </p:cNvSpPr>
          <p:nvPr userDrawn="1"/>
        </p:nvSpPr>
        <p:spPr bwMode="auto">
          <a:xfrm>
            <a:off x="10478495" y="4528408"/>
            <a:ext cx="193116" cy="196565"/>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0" name="Freeform 576">
            <a:extLst>
              <a:ext uri="{FF2B5EF4-FFF2-40B4-BE49-F238E27FC236}">
                <a16:creationId xmlns:a16="http://schemas.microsoft.com/office/drawing/2014/main" id="{2A6D5D0F-D7FC-4FB5-8D96-80BD21E9AF92}"/>
              </a:ext>
            </a:extLst>
          </p:cNvPr>
          <p:cNvSpPr>
            <a:spLocks noEditPoints="1"/>
          </p:cNvSpPr>
          <p:nvPr userDrawn="1"/>
        </p:nvSpPr>
        <p:spPr bwMode="auto">
          <a:xfrm>
            <a:off x="10706096" y="4607723"/>
            <a:ext cx="93110" cy="96558"/>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1" name="Freeform 577">
            <a:extLst>
              <a:ext uri="{FF2B5EF4-FFF2-40B4-BE49-F238E27FC236}">
                <a16:creationId xmlns:a16="http://schemas.microsoft.com/office/drawing/2014/main" id="{0C1EFAB3-E8B0-40F1-AEF0-7852C2457A04}"/>
              </a:ext>
            </a:extLst>
          </p:cNvPr>
          <p:cNvSpPr>
            <a:spLocks noEditPoints="1"/>
          </p:cNvSpPr>
          <p:nvPr userDrawn="1"/>
        </p:nvSpPr>
        <p:spPr bwMode="auto">
          <a:xfrm>
            <a:off x="11123362" y="4145625"/>
            <a:ext cx="1013857" cy="1010410"/>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2" name="Freeform 578">
            <a:extLst>
              <a:ext uri="{FF2B5EF4-FFF2-40B4-BE49-F238E27FC236}">
                <a16:creationId xmlns:a16="http://schemas.microsoft.com/office/drawing/2014/main" id="{6ED24165-E11B-4D1B-A80A-11E0B2830763}"/>
              </a:ext>
            </a:extLst>
          </p:cNvPr>
          <p:cNvSpPr>
            <a:spLocks noEditPoints="1"/>
          </p:cNvSpPr>
          <p:nvPr userDrawn="1"/>
        </p:nvSpPr>
        <p:spPr bwMode="auto">
          <a:xfrm>
            <a:off x="10312967" y="4718074"/>
            <a:ext cx="924196" cy="920749"/>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3" name="Freeform 579">
            <a:extLst>
              <a:ext uri="{FF2B5EF4-FFF2-40B4-BE49-F238E27FC236}">
                <a16:creationId xmlns:a16="http://schemas.microsoft.com/office/drawing/2014/main" id="{934622D4-68D3-48A8-9719-18E863DDD218}"/>
              </a:ext>
            </a:extLst>
          </p:cNvPr>
          <p:cNvSpPr>
            <a:spLocks noEditPoints="1"/>
          </p:cNvSpPr>
          <p:nvPr userDrawn="1"/>
        </p:nvSpPr>
        <p:spPr bwMode="auto">
          <a:xfrm>
            <a:off x="11426830" y="4452542"/>
            <a:ext cx="406922" cy="406922"/>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4" name="Freeform 580">
            <a:extLst>
              <a:ext uri="{FF2B5EF4-FFF2-40B4-BE49-F238E27FC236}">
                <a16:creationId xmlns:a16="http://schemas.microsoft.com/office/drawing/2014/main" id="{C6DE6EE3-3DBA-4220-9A79-3442038890FD}"/>
              </a:ext>
            </a:extLst>
          </p:cNvPr>
          <p:cNvSpPr>
            <a:spLocks noEditPoints="1"/>
          </p:cNvSpPr>
          <p:nvPr userDrawn="1"/>
        </p:nvSpPr>
        <p:spPr bwMode="auto">
          <a:xfrm>
            <a:off x="10468148" y="3814569"/>
            <a:ext cx="693148" cy="669008"/>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5" name="Freeform 581">
            <a:extLst>
              <a:ext uri="{FF2B5EF4-FFF2-40B4-BE49-F238E27FC236}">
                <a16:creationId xmlns:a16="http://schemas.microsoft.com/office/drawing/2014/main" id="{D0538B4E-332B-46A2-8069-6D75FD051F5B}"/>
              </a:ext>
            </a:extLst>
          </p:cNvPr>
          <p:cNvSpPr>
            <a:spLocks noEditPoints="1"/>
          </p:cNvSpPr>
          <p:nvPr userDrawn="1"/>
        </p:nvSpPr>
        <p:spPr bwMode="auto">
          <a:xfrm>
            <a:off x="10371591" y="3721461"/>
            <a:ext cx="858676" cy="855226"/>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6" name="Freeform 582">
            <a:extLst>
              <a:ext uri="{FF2B5EF4-FFF2-40B4-BE49-F238E27FC236}">
                <a16:creationId xmlns:a16="http://schemas.microsoft.com/office/drawing/2014/main" id="{18599FDB-4198-4B93-967E-F240D63B67EE}"/>
              </a:ext>
            </a:extLst>
          </p:cNvPr>
          <p:cNvSpPr>
            <a:spLocks noEditPoints="1"/>
          </p:cNvSpPr>
          <p:nvPr userDrawn="1"/>
        </p:nvSpPr>
        <p:spPr bwMode="auto">
          <a:xfrm>
            <a:off x="10633676" y="3990443"/>
            <a:ext cx="337952" cy="317261"/>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7" name="Freeform 583">
            <a:extLst>
              <a:ext uri="{FF2B5EF4-FFF2-40B4-BE49-F238E27FC236}">
                <a16:creationId xmlns:a16="http://schemas.microsoft.com/office/drawing/2014/main" id="{9781D073-3611-4B4E-ADE9-81144573496D}"/>
              </a:ext>
            </a:extLst>
          </p:cNvPr>
          <p:cNvSpPr>
            <a:spLocks noEditPoints="1"/>
          </p:cNvSpPr>
          <p:nvPr userDrawn="1"/>
        </p:nvSpPr>
        <p:spPr bwMode="auto">
          <a:xfrm>
            <a:off x="9334501" y="4200801"/>
            <a:ext cx="1123301" cy="1120760"/>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8"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close/>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2"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4"/>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close/>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close/>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8" name="Freeform 584">
            <a:extLst>
              <a:ext uri="{FF2B5EF4-FFF2-40B4-BE49-F238E27FC236}">
                <a16:creationId xmlns:a16="http://schemas.microsoft.com/office/drawing/2014/main" id="{60388699-A65C-401A-ADAA-7A3DD6F86392}"/>
              </a:ext>
            </a:extLst>
          </p:cNvPr>
          <p:cNvSpPr>
            <a:spLocks noEditPoints="1"/>
          </p:cNvSpPr>
          <p:nvPr userDrawn="1"/>
        </p:nvSpPr>
        <p:spPr bwMode="auto">
          <a:xfrm>
            <a:off x="11240611" y="4035273"/>
            <a:ext cx="131043" cy="131043"/>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9" name="Freeform 585">
            <a:extLst>
              <a:ext uri="{FF2B5EF4-FFF2-40B4-BE49-F238E27FC236}">
                <a16:creationId xmlns:a16="http://schemas.microsoft.com/office/drawing/2014/main" id="{4FD22BEB-8603-4BFC-87D0-F61013CAD264}"/>
              </a:ext>
            </a:extLst>
          </p:cNvPr>
          <p:cNvSpPr>
            <a:spLocks noEditPoints="1"/>
          </p:cNvSpPr>
          <p:nvPr userDrawn="1"/>
        </p:nvSpPr>
        <p:spPr bwMode="auto">
          <a:xfrm>
            <a:off x="10201458" y="5830334"/>
            <a:ext cx="34485" cy="62073"/>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0" name="Freeform 586">
            <a:extLst>
              <a:ext uri="{FF2B5EF4-FFF2-40B4-BE49-F238E27FC236}">
                <a16:creationId xmlns:a16="http://schemas.microsoft.com/office/drawing/2014/main" id="{5D0AC2FF-F27A-4623-B8B1-0D62562A8E80}"/>
              </a:ext>
            </a:extLst>
          </p:cNvPr>
          <p:cNvSpPr>
            <a:spLocks noEditPoints="1"/>
          </p:cNvSpPr>
          <p:nvPr userDrawn="1"/>
        </p:nvSpPr>
        <p:spPr bwMode="auto">
          <a:xfrm>
            <a:off x="10166973" y="5830334"/>
            <a:ext cx="34485" cy="62073"/>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1" name="Freeform 587">
            <a:extLst>
              <a:ext uri="{FF2B5EF4-FFF2-40B4-BE49-F238E27FC236}">
                <a16:creationId xmlns:a16="http://schemas.microsoft.com/office/drawing/2014/main" id="{CE2058B5-8BF2-4E74-9990-17B51F7A0A99}"/>
              </a:ext>
            </a:extLst>
          </p:cNvPr>
          <p:cNvSpPr>
            <a:spLocks noEditPoints="1"/>
          </p:cNvSpPr>
          <p:nvPr userDrawn="1"/>
        </p:nvSpPr>
        <p:spPr bwMode="auto">
          <a:xfrm>
            <a:off x="9894541" y="5368235"/>
            <a:ext cx="431063" cy="417269"/>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2" name="Freeform 588">
            <a:extLst>
              <a:ext uri="{FF2B5EF4-FFF2-40B4-BE49-F238E27FC236}">
                <a16:creationId xmlns:a16="http://schemas.microsoft.com/office/drawing/2014/main" id="{7084CF22-4FA0-460A-8211-DECC78D819C9}"/>
              </a:ext>
            </a:extLst>
          </p:cNvPr>
          <p:cNvSpPr>
            <a:spLocks noEditPoints="1"/>
          </p:cNvSpPr>
          <p:nvPr userDrawn="1"/>
        </p:nvSpPr>
        <p:spPr bwMode="auto">
          <a:xfrm>
            <a:off x="9835918" y="5309610"/>
            <a:ext cx="531068" cy="531068"/>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3" name="Freeform 589">
            <a:extLst>
              <a:ext uri="{FF2B5EF4-FFF2-40B4-BE49-F238E27FC236}">
                <a16:creationId xmlns:a16="http://schemas.microsoft.com/office/drawing/2014/main" id="{0E9D9DB4-7BE7-4B5E-9AB3-4A1172FE17C4}"/>
              </a:ext>
            </a:extLst>
          </p:cNvPr>
          <p:cNvSpPr>
            <a:spLocks noEditPoints="1"/>
          </p:cNvSpPr>
          <p:nvPr userDrawn="1"/>
        </p:nvSpPr>
        <p:spPr bwMode="auto">
          <a:xfrm>
            <a:off x="9994549" y="5478587"/>
            <a:ext cx="213807" cy="196565"/>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4" name="Freeform 590">
            <a:extLst>
              <a:ext uri="{FF2B5EF4-FFF2-40B4-BE49-F238E27FC236}">
                <a16:creationId xmlns:a16="http://schemas.microsoft.com/office/drawing/2014/main" id="{E082028F-1778-4E5B-B32A-F4AF2CFDB120}"/>
              </a:ext>
            </a:extLst>
          </p:cNvPr>
          <p:cNvSpPr>
            <a:spLocks noEditPoints="1"/>
          </p:cNvSpPr>
          <p:nvPr userDrawn="1"/>
        </p:nvSpPr>
        <p:spPr bwMode="auto">
          <a:xfrm>
            <a:off x="10373883" y="5502726"/>
            <a:ext cx="82764" cy="82764"/>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5" name="Freeform 591">
            <a:extLst>
              <a:ext uri="{FF2B5EF4-FFF2-40B4-BE49-F238E27FC236}">
                <a16:creationId xmlns:a16="http://schemas.microsoft.com/office/drawing/2014/main" id="{208900E8-DF57-462E-B7FF-E446E3D669C9}"/>
              </a:ext>
            </a:extLst>
          </p:cNvPr>
          <p:cNvSpPr>
            <a:spLocks noEditPoints="1"/>
          </p:cNvSpPr>
          <p:nvPr userDrawn="1"/>
        </p:nvSpPr>
        <p:spPr bwMode="auto">
          <a:xfrm>
            <a:off x="10447457" y="4738765"/>
            <a:ext cx="62073" cy="58625"/>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6" name="Freeform 592">
            <a:extLst>
              <a:ext uri="{FF2B5EF4-FFF2-40B4-BE49-F238E27FC236}">
                <a16:creationId xmlns:a16="http://schemas.microsoft.com/office/drawing/2014/main" id="{C2D2F98F-8803-4B4D-B5C0-598CDDDFBC3C}"/>
              </a:ext>
            </a:extLst>
          </p:cNvPr>
          <p:cNvSpPr>
            <a:spLocks noEditPoints="1"/>
          </p:cNvSpPr>
          <p:nvPr userDrawn="1"/>
        </p:nvSpPr>
        <p:spPr bwMode="auto">
          <a:xfrm>
            <a:off x="10806101" y="4597378"/>
            <a:ext cx="268982" cy="172425"/>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7" name="Freeform 593">
            <a:extLst>
              <a:ext uri="{FF2B5EF4-FFF2-40B4-BE49-F238E27FC236}">
                <a16:creationId xmlns:a16="http://schemas.microsoft.com/office/drawing/2014/main" id="{2AD9A2AC-D1CA-4999-8A13-72F3FD788F8D}"/>
              </a:ext>
            </a:extLst>
          </p:cNvPr>
          <p:cNvSpPr>
            <a:spLocks noEditPoints="1"/>
          </p:cNvSpPr>
          <p:nvPr userDrawn="1"/>
        </p:nvSpPr>
        <p:spPr bwMode="auto">
          <a:xfrm>
            <a:off x="9402242" y="5122709"/>
            <a:ext cx="89661" cy="89661"/>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8" name="Freeform 594">
            <a:extLst>
              <a:ext uri="{FF2B5EF4-FFF2-40B4-BE49-F238E27FC236}">
                <a16:creationId xmlns:a16="http://schemas.microsoft.com/office/drawing/2014/main" id="{49E9B5EF-C8BA-4DB1-A076-A1B56B362FE7}"/>
              </a:ext>
            </a:extLst>
          </p:cNvPr>
          <p:cNvSpPr>
            <a:spLocks noEditPoints="1"/>
          </p:cNvSpPr>
          <p:nvPr userDrawn="1"/>
        </p:nvSpPr>
        <p:spPr bwMode="auto">
          <a:xfrm>
            <a:off x="9150503" y="5181333"/>
            <a:ext cx="324158" cy="324158"/>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9" name="Freeform 595">
            <a:extLst>
              <a:ext uri="{FF2B5EF4-FFF2-40B4-BE49-F238E27FC236}">
                <a16:creationId xmlns:a16="http://schemas.microsoft.com/office/drawing/2014/main" id="{CD31BF73-6AF2-46E3-B00D-5F1FB7C76E19}"/>
              </a:ext>
            </a:extLst>
          </p:cNvPr>
          <p:cNvSpPr>
            <a:spLocks noEditPoints="1"/>
          </p:cNvSpPr>
          <p:nvPr userDrawn="1"/>
        </p:nvSpPr>
        <p:spPr bwMode="auto">
          <a:xfrm>
            <a:off x="10215252" y="5888957"/>
            <a:ext cx="262085" cy="255188"/>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0" name="Freeform 596">
            <a:extLst>
              <a:ext uri="{FF2B5EF4-FFF2-40B4-BE49-F238E27FC236}">
                <a16:creationId xmlns:a16="http://schemas.microsoft.com/office/drawing/2014/main" id="{27649543-1A30-4F82-9792-F97494D72777}"/>
              </a:ext>
            </a:extLst>
          </p:cNvPr>
          <p:cNvSpPr>
            <a:spLocks noEditPoints="1"/>
          </p:cNvSpPr>
          <p:nvPr userDrawn="1"/>
        </p:nvSpPr>
        <p:spPr bwMode="auto">
          <a:xfrm>
            <a:off x="10184215" y="5857921"/>
            <a:ext cx="324158" cy="317261"/>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1" name="Freeform 597">
            <a:extLst>
              <a:ext uri="{FF2B5EF4-FFF2-40B4-BE49-F238E27FC236}">
                <a16:creationId xmlns:a16="http://schemas.microsoft.com/office/drawing/2014/main" id="{65C5B5CA-8C39-4FF0-B657-34EF694C1B6E}"/>
              </a:ext>
            </a:extLst>
          </p:cNvPr>
          <p:cNvSpPr>
            <a:spLocks noEditPoints="1"/>
          </p:cNvSpPr>
          <p:nvPr userDrawn="1"/>
        </p:nvSpPr>
        <p:spPr bwMode="auto">
          <a:xfrm>
            <a:off x="10280772" y="5951030"/>
            <a:ext cx="134492" cy="127595"/>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7474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1">
    <p:bg>
      <p:bgRef idx="1001">
        <a:schemeClr val="bg1"/>
      </p:bgRef>
    </p:bg>
    <p:spTree>
      <p:nvGrpSpPr>
        <p:cNvPr id="1" name=""/>
        <p:cNvGrpSpPr/>
        <p:nvPr/>
      </p:nvGrpSpPr>
      <p:grpSpPr>
        <a:xfrm>
          <a:off x="0" y="0"/>
          <a:ext cx="0" cy="0"/>
          <a:chOff x="0" y="0"/>
          <a:chExt cx="0" cy="0"/>
        </a:xfrm>
      </p:grpSpPr>
      <p:sp>
        <p:nvSpPr>
          <p:cNvPr id="346" name="Freeform: Shape 345">
            <a:extLst>
              <a:ext uri="{FF2B5EF4-FFF2-40B4-BE49-F238E27FC236}">
                <a16:creationId xmlns:a16="http://schemas.microsoft.com/office/drawing/2014/main" id="{335F469C-95F6-4010-9C46-D1C590E66813}"/>
              </a:ext>
            </a:extLst>
          </p:cNvPr>
          <p:cNvSpPr/>
          <p:nvPr userDrawn="1"/>
        </p:nvSpPr>
        <p:spPr>
          <a:xfrm flipV="1">
            <a:off x="0" y="-1"/>
            <a:ext cx="8246711" cy="4943765"/>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7665815" y="1138594"/>
            <a:ext cx="424770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279" name="Freeform 1366">
            <a:extLst>
              <a:ext uri="{FF2B5EF4-FFF2-40B4-BE49-F238E27FC236}">
                <a16:creationId xmlns:a16="http://schemas.microsoft.com/office/drawing/2014/main" id="{AFBE5C92-90AC-4540-B721-84778693334A}"/>
              </a:ext>
            </a:extLst>
          </p:cNvPr>
          <p:cNvSpPr>
            <a:spLocks noEditPoints="1"/>
          </p:cNvSpPr>
          <p:nvPr/>
        </p:nvSpPr>
        <p:spPr bwMode="auto">
          <a:xfrm rot="7915163">
            <a:off x="95990" y="2591645"/>
            <a:ext cx="1517148" cy="1513306"/>
          </a:xfrm>
          <a:custGeom>
            <a:avLst/>
            <a:gdLst>
              <a:gd name="T0" fmla="*/ 200 w 528"/>
              <a:gd name="T1" fmla="*/ 509 h 527"/>
              <a:gd name="T2" fmla="*/ 147 w 528"/>
              <a:gd name="T3" fmla="*/ 489 h 527"/>
              <a:gd name="T4" fmla="*/ 95 w 528"/>
              <a:gd name="T5" fmla="*/ 453 h 527"/>
              <a:gd name="T6" fmla="*/ 57 w 528"/>
              <a:gd name="T7" fmla="*/ 411 h 527"/>
              <a:gd name="T8" fmla="*/ 28 w 528"/>
              <a:gd name="T9" fmla="*/ 356 h 527"/>
              <a:gd name="T10" fmla="*/ 13 w 528"/>
              <a:gd name="T11" fmla="*/ 301 h 527"/>
              <a:gd name="T12" fmla="*/ 26 w 528"/>
              <a:gd name="T13" fmla="*/ 229 h 527"/>
              <a:gd name="T14" fmla="*/ 18 w 528"/>
              <a:gd name="T15" fmla="*/ 168 h 527"/>
              <a:gd name="T16" fmla="*/ 67 w 528"/>
              <a:gd name="T17" fmla="*/ 125 h 527"/>
              <a:gd name="T18" fmla="*/ 95 w 528"/>
              <a:gd name="T19" fmla="*/ 63 h 527"/>
              <a:gd name="T20" fmla="*/ 152 w 528"/>
              <a:gd name="T21" fmla="*/ 50 h 527"/>
              <a:gd name="T22" fmla="*/ 201 w 528"/>
              <a:gd name="T23" fmla="*/ 8 h 527"/>
              <a:gd name="T24" fmla="*/ 261 w 528"/>
              <a:gd name="T25" fmla="*/ 23 h 527"/>
              <a:gd name="T26" fmla="*/ 320 w 528"/>
              <a:gd name="T27" fmla="*/ 5 h 527"/>
              <a:gd name="T28" fmla="*/ 370 w 528"/>
              <a:gd name="T29" fmla="*/ 48 h 527"/>
              <a:gd name="T30" fmla="*/ 431 w 528"/>
              <a:gd name="T31" fmla="*/ 59 h 527"/>
              <a:gd name="T32" fmla="*/ 457 w 528"/>
              <a:gd name="T33" fmla="*/ 119 h 527"/>
              <a:gd name="T34" fmla="*/ 505 w 528"/>
              <a:gd name="T35" fmla="*/ 157 h 527"/>
              <a:gd name="T36" fmla="*/ 501 w 528"/>
              <a:gd name="T37" fmla="*/ 223 h 527"/>
              <a:gd name="T38" fmla="*/ 503 w 528"/>
              <a:gd name="T39" fmla="*/ 292 h 527"/>
              <a:gd name="T40" fmla="*/ 510 w 528"/>
              <a:gd name="T41" fmla="*/ 358 h 527"/>
              <a:gd name="T42" fmla="*/ 464 w 528"/>
              <a:gd name="T43" fmla="*/ 397 h 527"/>
              <a:gd name="T44" fmla="*/ 440 w 528"/>
              <a:gd name="T45" fmla="*/ 460 h 527"/>
              <a:gd name="T46" fmla="*/ 376 w 528"/>
              <a:gd name="T47" fmla="*/ 476 h 527"/>
              <a:gd name="T48" fmla="*/ 327 w 528"/>
              <a:gd name="T49" fmla="*/ 519 h 527"/>
              <a:gd name="T50" fmla="*/ 267 w 528"/>
              <a:gd name="T51" fmla="*/ 504 h 527"/>
              <a:gd name="T52" fmla="*/ 258 w 528"/>
              <a:gd name="T53" fmla="*/ 517 h 527"/>
              <a:gd name="T54" fmla="*/ 302 w 528"/>
              <a:gd name="T55" fmla="*/ 497 h 527"/>
              <a:gd name="T56" fmla="*/ 339 w 528"/>
              <a:gd name="T57" fmla="*/ 488 h 527"/>
              <a:gd name="T58" fmla="*/ 380 w 528"/>
              <a:gd name="T59" fmla="*/ 469 h 527"/>
              <a:gd name="T60" fmla="*/ 428 w 528"/>
              <a:gd name="T61" fmla="*/ 456 h 527"/>
              <a:gd name="T62" fmla="*/ 465 w 528"/>
              <a:gd name="T63" fmla="*/ 427 h 527"/>
              <a:gd name="T64" fmla="*/ 487 w 528"/>
              <a:gd name="T65" fmla="*/ 384 h 527"/>
              <a:gd name="T66" fmla="*/ 490 w 528"/>
              <a:gd name="T67" fmla="*/ 336 h 527"/>
              <a:gd name="T68" fmla="*/ 498 w 528"/>
              <a:gd name="T69" fmla="*/ 298 h 527"/>
              <a:gd name="T70" fmla="*/ 501 w 528"/>
              <a:gd name="T71" fmla="*/ 252 h 527"/>
              <a:gd name="T72" fmla="*/ 515 w 528"/>
              <a:gd name="T73" fmla="*/ 197 h 527"/>
              <a:gd name="T74" fmla="*/ 501 w 528"/>
              <a:gd name="T75" fmla="*/ 157 h 527"/>
              <a:gd name="T76" fmla="*/ 477 w 528"/>
              <a:gd name="T77" fmla="*/ 118 h 527"/>
              <a:gd name="T78" fmla="*/ 447 w 528"/>
              <a:gd name="T79" fmla="*/ 89 h 527"/>
              <a:gd name="T80" fmla="*/ 401 w 528"/>
              <a:gd name="T81" fmla="*/ 71 h 527"/>
              <a:gd name="T82" fmla="*/ 362 w 528"/>
              <a:gd name="T83" fmla="*/ 48 h 527"/>
              <a:gd name="T84" fmla="*/ 324 w 528"/>
              <a:gd name="T85" fmla="*/ 17 h 527"/>
              <a:gd name="T86" fmla="*/ 277 w 528"/>
              <a:gd name="T87" fmla="*/ 4 h 527"/>
              <a:gd name="T88" fmla="*/ 230 w 528"/>
              <a:gd name="T89" fmla="*/ 12 h 527"/>
              <a:gd name="T90" fmla="*/ 190 w 528"/>
              <a:gd name="T91" fmla="*/ 38 h 527"/>
              <a:gd name="T92" fmla="*/ 148 w 528"/>
              <a:gd name="T93" fmla="*/ 57 h 527"/>
              <a:gd name="T94" fmla="*/ 116 w 528"/>
              <a:gd name="T95" fmla="*/ 78 h 527"/>
              <a:gd name="T96" fmla="*/ 67 w 528"/>
              <a:gd name="T97" fmla="*/ 96 h 527"/>
              <a:gd name="T98" fmla="*/ 39 w 528"/>
              <a:gd name="T99" fmla="*/ 134 h 527"/>
              <a:gd name="T100" fmla="*/ 25 w 528"/>
              <a:gd name="T101" fmla="*/ 179 h 527"/>
              <a:gd name="T102" fmla="*/ 30 w 528"/>
              <a:gd name="T103" fmla="*/ 227 h 527"/>
              <a:gd name="T104" fmla="*/ 28 w 528"/>
              <a:gd name="T105" fmla="*/ 273 h 527"/>
              <a:gd name="T106" fmla="*/ 18 w 528"/>
              <a:gd name="T107" fmla="*/ 322 h 527"/>
              <a:gd name="T108" fmla="*/ 26 w 528"/>
              <a:gd name="T109" fmla="*/ 368 h 527"/>
              <a:gd name="T110" fmla="*/ 51 w 528"/>
              <a:gd name="T111" fmla="*/ 409 h 527"/>
              <a:gd name="T112" fmla="*/ 81 w 528"/>
              <a:gd name="T113" fmla="*/ 438 h 527"/>
              <a:gd name="T114" fmla="*/ 127 w 528"/>
              <a:gd name="T115" fmla="*/ 456 h 527"/>
              <a:gd name="T116" fmla="*/ 166 w 528"/>
              <a:gd name="T117" fmla="*/ 478 h 527"/>
              <a:gd name="T118" fmla="*/ 204 w 528"/>
              <a:gd name="T119" fmla="*/ 509 h 527"/>
              <a:gd name="T120" fmla="*/ 401 w 528"/>
              <a:gd name="T121" fmla="*/ 95 h 527"/>
              <a:gd name="T122" fmla="*/ 264 w 528"/>
              <a:gd name="T123" fmla="*/ 5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8" h="527">
                <a:moveTo>
                  <a:pt x="252" y="527"/>
                </a:moveTo>
                <a:cubicBezTo>
                  <a:pt x="252" y="527"/>
                  <a:pt x="251" y="527"/>
                  <a:pt x="250" y="527"/>
                </a:cubicBezTo>
                <a:cubicBezTo>
                  <a:pt x="250" y="527"/>
                  <a:pt x="250" y="527"/>
                  <a:pt x="250" y="527"/>
                </a:cubicBezTo>
                <a:cubicBezTo>
                  <a:pt x="246" y="527"/>
                  <a:pt x="240" y="527"/>
                  <a:pt x="239" y="516"/>
                </a:cubicBezTo>
                <a:cubicBezTo>
                  <a:pt x="238" y="510"/>
                  <a:pt x="237" y="505"/>
                  <a:pt x="235" y="502"/>
                </a:cubicBezTo>
                <a:cubicBezTo>
                  <a:pt x="233" y="502"/>
                  <a:pt x="231" y="502"/>
                  <a:pt x="229" y="502"/>
                </a:cubicBezTo>
                <a:cubicBezTo>
                  <a:pt x="227" y="504"/>
                  <a:pt x="224" y="509"/>
                  <a:pt x="222" y="514"/>
                </a:cubicBezTo>
                <a:cubicBezTo>
                  <a:pt x="220" y="519"/>
                  <a:pt x="217" y="522"/>
                  <a:pt x="213" y="522"/>
                </a:cubicBezTo>
                <a:cubicBezTo>
                  <a:pt x="212" y="522"/>
                  <a:pt x="211" y="522"/>
                  <a:pt x="209" y="522"/>
                </a:cubicBezTo>
                <a:cubicBezTo>
                  <a:pt x="208" y="521"/>
                  <a:pt x="208" y="521"/>
                  <a:pt x="208" y="521"/>
                </a:cubicBezTo>
                <a:cubicBezTo>
                  <a:pt x="205" y="521"/>
                  <a:pt x="199" y="519"/>
                  <a:pt x="200" y="509"/>
                </a:cubicBezTo>
                <a:cubicBezTo>
                  <a:pt x="200" y="503"/>
                  <a:pt x="200" y="498"/>
                  <a:pt x="198" y="495"/>
                </a:cubicBezTo>
                <a:cubicBezTo>
                  <a:pt x="196" y="494"/>
                  <a:pt x="195" y="494"/>
                  <a:pt x="193" y="493"/>
                </a:cubicBezTo>
                <a:cubicBezTo>
                  <a:pt x="190" y="495"/>
                  <a:pt x="186" y="499"/>
                  <a:pt x="184" y="504"/>
                </a:cubicBezTo>
                <a:cubicBezTo>
                  <a:pt x="181" y="509"/>
                  <a:pt x="178" y="511"/>
                  <a:pt x="175" y="511"/>
                </a:cubicBezTo>
                <a:cubicBezTo>
                  <a:pt x="173" y="511"/>
                  <a:pt x="171" y="510"/>
                  <a:pt x="170" y="510"/>
                </a:cubicBezTo>
                <a:cubicBezTo>
                  <a:pt x="169" y="509"/>
                  <a:pt x="169" y="509"/>
                  <a:pt x="169" y="509"/>
                </a:cubicBezTo>
                <a:cubicBezTo>
                  <a:pt x="166" y="508"/>
                  <a:pt x="160" y="506"/>
                  <a:pt x="162" y="496"/>
                </a:cubicBezTo>
                <a:cubicBezTo>
                  <a:pt x="163" y="490"/>
                  <a:pt x="164" y="485"/>
                  <a:pt x="163" y="482"/>
                </a:cubicBezTo>
                <a:cubicBezTo>
                  <a:pt x="161" y="481"/>
                  <a:pt x="159" y="480"/>
                  <a:pt x="158" y="479"/>
                </a:cubicBezTo>
                <a:cubicBezTo>
                  <a:pt x="158" y="479"/>
                  <a:pt x="158" y="479"/>
                  <a:pt x="158" y="479"/>
                </a:cubicBezTo>
                <a:cubicBezTo>
                  <a:pt x="155" y="481"/>
                  <a:pt x="150" y="484"/>
                  <a:pt x="147" y="489"/>
                </a:cubicBezTo>
                <a:cubicBezTo>
                  <a:pt x="144" y="492"/>
                  <a:pt x="141" y="494"/>
                  <a:pt x="138" y="494"/>
                </a:cubicBezTo>
                <a:cubicBezTo>
                  <a:pt x="136" y="494"/>
                  <a:pt x="134" y="493"/>
                  <a:pt x="132" y="492"/>
                </a:cubicBezTo>
                <a:cubicBezTo>
                  <a:pt x="131" y="492"/>
                  <a:pt x="131" y="492"/>
                  <a:pt x="131" y="492"/>
                </a:cubicBezTo>
                <a:cubicBezTo>
                  <a:pt x="128" y="490"/>
                  <a:pt x="123" y="487"/>
                  <a:pt x="127" y="477"/>
                </a:cubicBezTo>
                <a:cubicBezTo>
                  <a:pt x="129" y="472"/>
                  <a:pt x="130" y="467"/>
                  <a:pt x="130" y="463"/>
                </a:cubicBezTo>
                <a:cubicBezTo>
                  <a:pt x="128" y="462"/>
                  <a:pt x="127" y="461"/>
                  <a:pt x="125" y="460"/>
                </a:cubicBezTo>
                <a:cubicBezTo>
                  <a:pt x="122" y="461"/>
                  <a:pt x="117" y="464"/>
                  <a:pt x="113" y="468"/>
                </a:cubicBezTo>
                <a:cubicBezTo>
                  <a:pt x="110" y="470"/>
                  <a:pt x="108" y="472"/>
                  <a:pt x="105" y="472"/>
                </a:cubicBezTo>
                <a:cubicBezTo>
                  <a:pt x="102" y="472"/>
                  <a:pt x="100" y="470"/>
                  <a:pt x="98" y="469"/>
                </a:cubicBezTo>
                <a:cubicBezTo>
                  <a:pt x="97" y="468"/>
                  <a:pt x="97" y="468"/>
                  <a:pt x="97" y="468"/>
                </a:cubicBezTo>
                <a:cubicBezTo>
                  <a:pt x="95" y="466"/>
                  <a:pt x="90" y="462"/>
                  <a:pt x="95" y="453"/>
                </a:cubicBezTo>
                <a:cubicBezTo>
                  <a:pt x="98" y="448"/>
                  <a:pt x="100" y="443"/>
                  <a:pt x="100" y="440"/>
                </a:cubicBezTo>
                <a:cubicBezTo>
                  <a:pt x="99" y="438"/>
                  <a:pt x="97" y="437"/>
                  <a:pt x="96" y="436"/>
                </a:cubicBezTo>
                <a:cubicBezTo>
                  <a:pt x="93" y="436"/>
                  <a:pt x="88" y="438"/>
                  <a:pt x="83" y="442"/>
                </a:cubicBezTo>
                <a:cubicBezTo>
                  <a:pt x="80" y="443"/>
                  <a:pt x="78" y="444"/>
                  <a:pt x="75" y="444"/>
                </a:cubicBezTo>
                <a:cubicBezTo>
                  <a:pt x="72" y="444"/>
                  <a:pt x="70" y="442"/>
                  <a:pt x="68" y="440"/>
                </a:cubicBezTo>
                <a:cubicBezTo>
                  <a:pt x="67" y="439"/>
                  <a:pt x="67" y="439"/>
                  <a:pt x="67" y="439"/>
                </a:cubicBezTo>
                <a:cubicBezTo>
                  <a:pt x="65" y="437"/>
                  <a:pt x="61" y="432"/>
                  <a:pt x="68" y="424"/>
                </a:cubicBezTo>
                <a:cubicBezTo>
                  <a:pt x="71" y="420"/>
                  <a:pt x="74" y="415"/>
                  <a:pt x="75" y="412"/>
                </a:cubicBezTo>
                <a:cubicBezTo>
                  <a:pt x="75" y="412"/>
                  <a:pt x="75" y="412"/>
                  <a:pt x="75" y="412"/>
                </a:cubicBezTo>
                <a:cubicBezTo>
                  <a:pt x="73" y="410"/>
                  <a:pt x="72" y="409"/>
                  <a:pt x="71" y="407"/>
                </a:cubicBezTo>
                <a:cubicBezTo>
                  <a:pt x="68" y="407"/>
                  <a:pt x="63" y="409"/>
                  <a:pt x="57" y="411"/>
                </a:cubicBezTo>
                <a:cubicBezTo>
                  <a:pt x="55" y="412"/>
                  <a:pt x="53" y="413"/>
                  <a:pt x="51" y="413"/>
                </a:cubicBezTo>
                <a:cubicBezTo>
                  <a:pt x="46" y="413"/>
                  <a:pt x="44" y="409"/>
                  <a:pt x="43" y="407"/>
                </a:cubicBezTo>
                <a:cubicBezTo>
                  <a:pt x="42" y="406"/>
                  <a:pt x="42" y="406"/>
                  <a:pt x="42" y="406"/>
                </a:cubicBezTo>
                <a:cubicBezTo>
                  <a:pt x="40" y="404"/>
                  <a:pt x="37" y="398"/>
                  <a:pt x="45" y="392"/>
                </a:cubicBezTo>
                <a:cubicBezTo>
                  <a:pt x="49" y="388"/>
                  <a:pt x="53" y="384"/>
                  <a:pt x="54" y="381"/>
                </a:cubicBezTo>
                <a:cubicBezTo>
                  <a:pt x="53" y="379"/>
                  <a:pt x="52" y="377"/>
                  <a:pt x="51" y="375"/>
                </a:cubicBezTo>
                <a:cubicBezTo>
                  <a:pt x="48" y="375"/>
                  <a:pt x="42" y="375"/>
                  <a:pt x="37" y="377"/>
                </a:cubicBezTo>
                <a:cubicBezTo>
                  <a:pt x="35" y="377"/>
                  <a:pt x="33" y="378"/>
                  <a:pt x="32" y="378"/>
                </a:cubicBezTo>
                <a:cubicBezTo>
                  <a:pt x="26" y="378"/>
                  <a:pt x="24" y="373"/>
                  <a:pt x="23" y="371"/>
                </a:cubicBezTo>
                <a:cubicBezTo>
                  <a:pt x="23" y="370"/>
                  <a:pt x="23" y="370"/>
                  <a:pt x="23" y="370"/>
                </a:cubicBezTo>
                <a:cubicBezTo>
                  <a:pt x="21" y="367"/>
                  <a:pt x="19" y="361"/>
                  <a:pt x="28" y="356"/>
                </a:cubicBezTo>
                <a:cubicBezTo>
                  <a:pt x="32" y="353"/>
                  <a:pt x="36" y="349"/>
                  <a:pt x="38" y="346"/>
                </a:cubicBezTo>
                <a:cubicBezTo>
                  <a:pt x="37" y="345"/>
                  <a:pt x="37" y="343"/>
                  <a:pt x="36" y="341"/>
                </a:cubicBezTo>
                <a:cubicBezTo>
                  <a:pt x="34" y="340"/>
                  <a:pt x="31" y="340"/>
                  <a:pt x="27" y="340"/>
                </a:cubicBezTo>
                <a:cubicBezTo>
                  <a:pt x="26" y="340"/>
                  <a:pt x="24" y="340"/>
                  <a:pt x="22" y="340"/>
                </a:cubicBezTo>
                <a:cubicBezTo>
                  <a:pt x="21" y="340"/>
                  <a:pt x="20" y="340"/>
                  <a:pt x="19" y="340"/>
                </a:cubicBezTo>
                <a:cubicBezTo>
                  <a:pt x="11" y="340"/>
                  <a:pt x="10" y="335"/>
                  <a:pt x="9" y="332"/>
                </a:cubicBezTo>
                <a:cubicBezTo>
                  <a:pt x="9" y="331"/>
                  <a:pt x="9" y="331"/>
                  <a:pt x="9" y="331"/>
                </a:cubicBezTo>
                <a:cubicBezTo>
                  <a:pt x="8" y="328"/>
                  <a:pt x="6" y="322"/>
                  <a:pt x="16" y="318"/>
                </a:cubicBezTo>
                <a:cubicBezTo>
                  <a:pt x="21" y="315"/>
                  <a:pt x="26" y="312"/>
                  <a:pt x="28" y="310"/>
                </a:cubicBezTo>
                <a:cubicBezTo>
                  <a:pt x="28" y="308"/>
                  <a:pt x="27" y="306"/>
                  <a:pt x="27" y="304"/>
                </a:cubicBezTo>
                <a:cubicBezTo>
                  <a:pt x="24" y="303"/>
                  <a:pt x="19" y="301"/>
                  <a:pt x="13" y="301"/>
                </a:cubicBezTo>
                <a:cubicBezTo>
                  <a:pt x="2" y="301"/>
                  <a:pt x="2" y="295"/>
                  <a:pt x="2" y="291"/>
                </a:cubicBezTo>
                <a:cubicBezTo>
                  <a:pt x="1" y="290"/>
                  <a:pt x="1" y="290"/>
                  <a:pt x="1" y="290"/>
                </a:cubicBezTo>
                <a:cubicBezTo>
                  <a:pt x="1" y="287"/>
                  <a:pt x="0" y="281"/>
                  <a:pt x="11" y="278"/>
                </a:cubicBezTo>
                <a:cubicBezTo>
                  <a:pt x="16" y="277"/>
                  <a:pt x="21" y="274"/>
                  <a:pt x="24" y="272"/>
                </a:cubicBezTo>
                <a:cubicBezTo>
                  <a:pt x="23" y="270"/>
                  <a:pt x="23" y="268"/>
                  <a:pt x="23" y="267"/>
                </a:cubicBezTo>
                <a:cubicBezTo>
                  <a:pt x="21" y="265"/>
                  <a:pt x="16" y="263"/>
                  <a:pt x="10" y="261"/>
                </a:cubicBezTo>
                <a:cubicBezTo>
                  <a:pt x="0" y="259"/>
                  <a:pt x="0" y="253"/>
                  <a:pt x="0" y="250"/>
                </a:cubicBezTo>
                <a:cubicBezTo>
                  <a:pt x="1" y="249"/>
                  <a:pt x="1" y="249"/>
                  <a:pt x="1" y="249"/>
                </a:cubicBezTo>
                <a:cubicBezTo>
                  <a:pt x="1" y="245"/>
                  <a:pt x="1" y="239"/>
                  <a:pt x="11" y="238"/>
                </a:cubicBezTo>
                <a:cubicBezTo>
                  <a:pt x="17" y="238"/>
                  <a:pt x="22" y="236"/>
                  <a:pt x="25" y="235"/>
                </a:cubicBezTo>
                <a:cubicBezTo>
                  <a:pt x="25" y="233"/>
                  <a:pt x="26" y="231"/>
                  <a:pt x="26" y="229"/>
                </a:cubicBezTo>
                <a:cubicBezTo>
                  <a:pt x="24" y="226"/>
                  <a:pt x="19" y="224"/>
                  <a:pt x="13" y="222"/>
                </a:cubicBezTo>
                <a:cubicBezTo>
                  <a:pt x="4" y="218"/>
                  <a:pt x="5" y="212"/>
                  <a:pt x="6" y="209"/>
                </a:cubicBezTo>
                <a:cubicBezTo>
                  <a:pt x="6" y="208"/>
                  <a:pt x="6" y="208"/>
                  <a:pt x="6" y="208"/>
                </a:cubicBezTo>
                <a:cubicBezTo>
                  <a:pt x="7" y="205"/>
                  <a:pt x="8" y="199"/>
                  <a:pt x="16" y="199"/>
                </a:cubicBezTo>
                <a:cubicBezTo>
                  <a:pt x="17" y="199"/>
                  <a:pt x="18" y="199"/>
                  <a:pt x="18" y="199"/>
                </a:cubicBezTo>
                <a:cubicBezTo>
                  <a:pt x="19" y="199"/>
                  <a:pt x="20" y="199"/>
                  <a:pt x="21" y="199"/>
                </a:cubicBezTo>
                <a:cubicBezTo>
                  <a:pt x="26" y="199"/>
                  <a:pt x="30" y="199"/>
                  <a:pt x="32" y="198"/>
                </a:cubicBezTo>
                <a:cubicBezTo>
                  <a:pt x="33" y="196"/>
                  <a:pt x="34" y="194"/>
                  <a:pt x="34" y="192"/>
                </a:cubicBezTo>
                <a:cubicBezTo>
                  <a:pt x="32" y="189"/>
                  <a:pt x="28" y="186"/>
                  <a:pt x="23" y="183"/>
                </a:cubicBezTo>
                <a:cubicBezTo>
                  <a:pt x="14" y="178"/>
                  <a:pt x="16" y="172"/>
                  <a:pt x="18" y="169"/>
                </a:cubicBezTo>
                <a:cubicBezTo>
                  <a:pt x="18" y="168"/>
                  <a:pt x="18" y="168"/>
                  <a:pt x="18" y="168"/>
                </a:cubicBezTo>
                <a:cubicBezTo>
                  <a:pt x="19" y="165"/>
                  <a:pt x="21" y="161"/>
                  <a:pt x="27" y="161"/>
                </a:cubicBezTo>
                <a:cubicBezTo>
                  <a:pt x="28" y="161"/>
                  <a:pt x="30" y="161"/>
                  <a:pt x="31" y="162"/>
                </a:cubicBezTo>
                <a:cubicBezTo>
                  <a:pt x="37" y="163"/>
                  <a:pt x="42" y="163"/>
                  <a:pt x="46" y="162"/>
                </a:cubicBezTo>
                <a:cubicBezTo>
                  <a:pt x="46" y="160"/>
                  <a:pt x="47" y="159"/>
                  <a:pt x="48" y="157"/>
                </a:cubicBezTo>
                <a:cubicBezTo>
                  <a:pt x="47" y="154"/>
                  <a:pt x="43" y="150"/>
                  <a:pt x="39" y="146"/>
                </a:cubicBezTo>
                <a:cubicBezTo>
                  <a:pt x="30" y="140"/>
                  <a:pt x="34" y="135"/>
                  <a:pt x="35" y="132"/>
                </a:cubicBezTo>
                <a:cubicBezTo>
                  <a:pt x="36" y="131"/>
                  <a:pt x="36" y="131"/>
                  <a:pt x="36" y="131"/>
                </a:cubicBezTo>
                <a:cubicBezTo>
                  <a:pt x="37" y="129"/>
                  <a:pt x="39" y="125"/>
                  <a:pt x="44" y="125"/>
                </a:cubicBezTo>
                <a:cubicBezTo>
                  <a:pt x="46" y="125"/>
                  <a:pt x="48" y="125"/>
                  <a:pt x="50" y="126"/>
                </a:cubicBezTo>
                <a:cubicBezTo>
                  <a:pt x="55" y="128"/>
                  <a:pt x="61" y="130"/>
                  <a:pt x="64" y="129"/>
                </a:cubicBezTo>
                <a:cubicBezTo>
                  <a:pt x="65" y="128"/>
                  <a:pt x="66" y="126"/>
                  <a:pt x="67" y="125"/>
                </a:cubicBezTo>
                <a:cubicBezTo>
                  <a:pt x="66" y="121"/>
                  <a:pt x="63" y="117"/>
                  <a:pt x="60" y="112"/>
                </a:cubicBezTo>
                <a:cubicBezTo>
                  <a:pt x="53" y="105"/>
                  <a:pt x="57" y="100"/>
                  <a:pt x="59" y="98"/>
                </a:cubicBezTo>
                <a:cubicBezTo>
                  <a:pt x="59" y="97"/>
                  <a:pt x="59" y="97"/>
                  <a:pt x="59" y="97"/>
                </a:cubicBezTo>
                <a:cubicBezTo>
                  <a:pt x="61" y="95"/>
                  <a:pt x="63" y="92"/>
                  <a:pt x="67" y="92"/>
                </a:cubicBezTo>
                <a:cubicBezTo>
                  <a:pt x="69" y="92"/>
                  <a:pt x="72" y="93"/>
                  <a:pt x="74" y="95"/>
                </a:cubicBezTo>
                <a:cubicBezTo>
                  <a:pt x="79" y="97"/>
                  <a:pt x="84" y="99"/>
                  <a:pt x="88" y="100"/>
                </a:cubicBezTo>
                <a:cubicBezTo>
                  <a:pt x="89" y="98"/>
                  <a:pt x="90" y="97"/>
                  <a:pt x="92" y="95"/>
                </a:cubicBezTo>
                <a:cubicBezTo>
                  <a:pt x="91" y="92"/>
                  <a:pt x="89" y="87"/>
                  <a:pt x="86" y="82"/>
                </a:cubicBezTo>
                <a:cubicBezTo>
                  <a:pt x="80" y="74"/>
                  <a:pt x="85" y="70"/>
                  <a:pt x="87" y="67"/>
                </a:cubicBezTo>
                <a:cubicBezTo>
                  <a:pt x="88" y="67"/>
                  <a:pt x="88" y="67"/>
                  <a:pt x="88" y="67"/>
                </a:cubicBezTo>
                <a:cubicBezTo>
                  <a:pt x="90" y="65"/>
                  <a:pt x="92" y="63"/>
                  <a:pt x="95" y="63"/>
                </a:cubicBezTo>
                <a:cubicBezTo>
                  <a:pt x="97" y="63"/>
                  <a:pt x="100" y="65"/>
                  <a:pt x="103" y="67"/>
                </a:cubicBezTo>
                <a:cubicBezTo>
                  <a:pt x="107" y="71"/>
                  <a:pt x="112" y="73"/>
                  <a:pt x="115" y="74"/>
                </a:cubicBezTo>
                <a:cubicBezTo>
                  <a:pt x="116" y="74"/>
                  <a:pt x="116" y="74"/>
                  <a:pt x="116" y="74"/>
                </a:cubicBezTo>
                <a:cubicBezTo>
                  <a:pt x="117" y="73"/>
                  <a:pt x="119" y="72"/>
                  <a:pt x="120" y="70"/>
                </a:cubicBezTo>
                <a:cubicBezTo>
                  <a:pt x="120" y="67"/>
                  <a:pt x="119" y="62"/>
                  <a:pt x="116" y="57"/>
                </a:cubicBezTo>
                <a:cubicBezTo>
                  <a:pt x="112" y="47"/>
                  <a:pt x="117" y="44"/>
                  <a:pt x="120" y="42"/>
                </a:cubicBezTo>
                <a:cubicBezTo>
                  <a:pt x="121" y="42"/>
                  <a:pt x="121" y="42"/>
                  <a:pt x="121" y="42"/>
                </a:cubicBezTo>
                <a:cubicBezTo>
                  <a:pt x="122" y="41"/>
                  <a:pt x="124" y="39"/>
                  <a:pt x="127" y="39"/>
                </a:cubicBezTo>
                <a:cubicBezTo>
                  <a:pt x="130" y="39"/>
                  <a:pt x="133" y="41"/>
                  <a:pt x="136" y="44"/>
                </a:cubicBezTo>
                <a:cubicBezTo>
                  <a:pt x="139" y="48"/>
                  <a:pt x="144" y="52"/>
                  <a:pt x="147" y="53"/>
                </a:cubicBezTo>
                <a:cubicBezTo>
                  <a:pt x="148" y="52"/>
                  <a:pt x="150" y="51"/>
                  <a:pt x="152" y="50"/>
                </a:cubicBezTo>
                <a:cubicBezTo>
                  <a:pt x="152" y="47"/>
                  <a:pt x="152" y="42"/>
                  <a:pt x="151" y="36"/>
                </a:cubicBezTo>
                <a:cubicBezTo>
                  <a:pt x="148" y="26"/>
                  <a:pt x="153" y="24"/>
                  <a:pt x="156" y="22"/>
                </a:cubicBezTo>
                <a:cubicBezTo>
                  <a:pt x="157" y="22"/>
                  <a:pt x="157" y="22"/>
                  <a:pt x="157" y="22"/>
                </a:cubicBezTo>
                <a:cubicBezTo>
                  <a:pt x="159" y="21"/>
                  <a:pt x="161" y="20"/>
                  <a:pt x="163" y="20"/>
                </a:cubicBezTo>
                <a:cubicBezTo>
                  <a:pt x="166" y="20"/>
                  <a:pt x="169" y="23"/>
                  <a:pt x="172" y="27"/>
                </a:cubicBezTo>
                <a:cubicBezTo>
                  <a:pt x="175" y="32"/>
                  <a:pt x="178" y="36"/>
                  <a:pt x="181" y="37"/>
                </a:cubicBezTo>
                <a:cubicBezTo>
                  <a:pt x="183" y="37"/>
                  <a:pt x="185" y="36"/>
                  <a:pt x="187" y="36"/>
                </a:cubicBezTo>
                <a:cubicBezTo>
                  <a:pt x="188" y="32"/>
                  <a:pt x="188" y="27"/>
                  <a:pt x="187" y="21"/>
                </a:cubicBezTo>
                <a:cubicBezTo>
                  <a:pt x="186" y="11"/>
                  <a:pt x="192" y="9"/>
                  <a:pt x="195" y="9"/>
                </a:cubicBezTo>
                <a:cubicBezTo>
                  <a:pt x="196" y="8"/>
                  <a:pt x="196" y="8"/>
                  <a:pt x="196" y="8"/>
                </a:cubicBezTo>
                <a:cubicBezTo>
                  <a:pt x="198" y="8"/>
                  <a:pt x="199" y="8"/>
                  <a:pt x="201" y="8"/>
                </a:cubicBezTo>
                <a:cubicBezTo>
                  <a:pt x="205" y="8"/>
                  <a:pt x="208" y="10"/>
                  <a:pt x="210" y="15"/>
                </a:cubicBezTo>
                <a:cubicBezTo>
                  <a:pt x="212" y="20"/>
                  <a:pt x="215" y="25"/>
                  <a:pt x="217" y="27"/>
                </a:cubicBezTo>
                <a:cubicBezTo>
                  <a:pt x="219" y="27"/>
                  <a:pt x="221" y="27"/>
                  <a:pt x="223" y="26"/>
                </a:cubicBezTo>
                <a:cubicBezTo>
                  <a:pt x="223" y="26"/>
                  <a:pt x="223" y="26"/>
                  <a:pt x="223" y="26"/>
                </a:cubicBezTo>
                <a:cubicBezTo>
                  <a:pt x="225" y="23"/>
                  <a:pt x="226" y="18"/>
                  <a:pt x="226" y="12"/>
                </a:cubicBezTo>
                <a:cubicBezTo>
                  <a:pt x="227" y="2"/>
                  <a:pt x="233" y="1"/>
                  <a:pt x="236" y="1"/>
                </a:cubicBezTo>
                <a:cubicBezTo>
                  <a:pt x="237" y="1"/>
                  <a:pt x="237" y="1"/>
                  <a:pt x="237" y="1"/>
                </a:cubicBezTo>
                <a:cubicBezTo>
                  <a:pt x="238" y="1"/>
                  <a:pt x="239" y="1"/>
                  <a:pt x="240" y="1"/>
                </a:cubicBezTo>
                <a:cubicBezTo>
                  <a:pt x="245" y="1"/>
                  <a:pt x="248" y="4"/>
                  <a:pt x="249" y="10"/>
                </a:cubicBezTo>
                <a:cubicBezTo>
                  <a:pt x="251" y="15"/>
                  <a:pt x="253" y="20"/>
                  <a:pt x="255" y="23"/>
                </a:cubicBezTo>
                <a:cubicBezTo>
                  <a:pt x="257" y="23"/>
                  <a:pt x="259" y="23"/>
                  <a:pt x="261" y="23"/>
                </a:cubicBezTo>
                <a:cubicBezTo>
                  <a:pt x="263" y="20"/>
                  <a:pt x="265" y="15"/>
                  <a:pt x="266" y="9"/>
                </a:cubicBezTo>
                <a:cubicBezTo>
                  <a:pt x="267" y="3"/>
                  <a:pt x="270" y="0"/>
                  <a:pt x="276" y="0"/>
                </a:cubicBezTo>
                <a:cubicBezTo>
                  <a:pt x="276" y="0"/>
                  <a:pt x="277" y="0"/>
                  <a:pt x="278" y="0"/>
                </a:cubicBezTo>
                <a:cubicBezTo>
                  <a:pt x="279" y="0"/>
                  <a:pt x="279" y="0"/>
                  <a:pt x="279" y="0"/>
                </a:cubicBezTo>
                <a:cubicBezTo>
                  <a:pt x="282" y="0"/>
                  <a:pt x="288" y="0"/>
                  <a:pt x="289" y="11"/>
                </a:cubicBezTo>
                <a:cubicBezTo>
                  <a:pt x="290" y="16"/>
                  <a:pt x="291" y="22"/>
                  <a:pt x="293" y="24"/>
                </a:cubicBezTo>
                <a:cubicBezTo>
                  <a:pt x="295" y="25"/>
                  <a:pt x="297" y="25"/>
                  <a:pt x="299" y="25"/>
                </a:cubicBezTo>
                <a:cubicBezTo>
                  <a:pt x="301" y="23"/>
                  <a:pt x="304" y="18"/>
                  <a:pt x="306" y="13"/>
                </a:cubicBezTo>
                <a:cubicBezTo>
                  <a:pt x="308" y="7"/>
                  <a:pt x="311" y="5"/>
                  <a:pt x="315" y="5"/>
                </a:cubicBezTo>
                <a:cubicBezTo>
                  <a:pt x="316" y="5"/>
                  <a:pt x="317" y="5"/>
                  <a:pt x="319" y="5"/>
                </a:cubicBezTo>
                <a:cubicBezTo>
                  <a:pt x="320" y="5"/>
                  <a:pt x="320" y="5"/>
                  <a:pt x="320" y="5"/>
                </a:cubicBezTo>
                <a:cubicBezTo>
                  <a:pt x="323" y="6"/>
                  <a:pt x="329" y="7"/>
                  <a:pt x="328" y="18"/>
                </a:cubicBezTo>
                <a:cubicBezTo>
                  <a:pt x="328" y="23"/>
                  <a:pt x="329" y="29"/>
                  <a:pt x="330" y="32"/>
                </a:cubicBezTo>
                <a:cubicBezTo>
                  <a:pt x="332" y="32"/>
                  <a:pt x="333" y="33"/>
                  <a:pt x="335" y="34"/>
                </a:cubicBezTo>
                <a:cubicBezTo>
                  <a:pt x="338" y="32"/>
                  <a:pt x="342" y="27"/>
                  <a:pt x="344" y="22"/>
                </a:cubicBezTo>
                <a:cubicBezTo>
                  <a:pt x="347" y="18"/>
                  <a:pt x="350" y="16"/>
                  <a:pt x="353" y="16"/>
                </a:cubicBezTo>
                <a:cubicBezTo>
                  <a:pt x="355" y="16"/>
                  <a:pt x="357" y="16"/>
                  <a:pt x="358" y="17"/>
                </a:cubicBezTo>
                <a:cubicBezTo>
                  <a:pt x="359" y="17"/>
                  <a:pt x="359" y="17"/>
                  <a:pt x="359" y="17"/>
                </a:cubicBezTo>
                <a:cubicBezTo>
                  <a:pt x="362" y="18"/>
                  <a:pt x="368" y="21"/>
                  <a:pt x="366" y="31"/>
                </a:cubicBezTo>
                <a:cubicBezTo>
                  <a:pt x="365" y="36"/>
                  <a:pt x="364" y="42"/>
                  <a:pt x="365" y="45"/>
                </a:cubicBezTo>
                <a:cubicBezTo>
                  <a:pt x="367" y="46"/>
                  <a:pt x="368" y="46"/>
                  <a:pt x="370" y="47"/>
                </a:cubicBezTo>
                <a:cubicBezTo>
                  <a:pt x="370" y="48"/>
                  <a:pt x="370" y="48"/>
                  <a:pt x="370" y="48"/>
                </a:cubicBezTo>
                <a:cubicBezTo>
                  <a:pt x="373" y="46"/>
                  <a:pt x="378" y="42"/>
                  <a:pt x="381" y="38"/>
                </a:cubicBezTo>
                <a:cubicBezTo>
                  <a:pt x="384" y="34"/>
                  <a:pt x="387" y="33"/>
                  <a:pt x="390" y="33"/>
                </a:cubicBezTo>
                <a:cubicBezTo>
                  <a:pt x="392" y="33"/>
                  <a:pt x="394" y="34"/>
                  <a:pt x="396" y="35"/>
                </a:cubicBezTo>
                <a:cubicBezTo>
                  <a:pt x="397" y="35"/>
                  <a:pt x="397" y="35"/>
                  <a:pt x="397" y="35"/>
                </a:cubicBezTo>
                <a:cubicBezTo>
                  <a:pt x="400" y="37"/>
                  <a:pt x="405" y="40"/>
                  <a:pt x="401" y="50"/>
                </a:cubicBezTo>
                <a:cubicBezTo>
                  <a:pt x="399" y="55"/>
                  <a:pt x="398" y="60"/>
                  <a:pt x="398" y="64"/>
                </a:cubicBezTo>
                <a:cubicBezTo>
                  <a:pt x="400" y="65"/>
                  <a:pt x="401" y="66"/>
                  <a:pt x="403" y="67"/>
                </a:cubicBezTo>
                <a:cubicBezTo>
                  <a:pt x="406" y="66"/>
                  <a:pt x="411" y="63"/>
                  <a:pt x="415" y="59"/>
                </a:cubicBezTo>
                <a:cubicBezTo>
                  <a:pt x="418" y="56"/>
                  <a:pt x="420" y="55"/>
                  <a:pt x="423" y="55"/>
                </a:cubicBezTo>
                <a:cubicBezTo>
                  <a:pt x="426" y="55"/>
                  <a:pt x="428" y="57"/>
                  <a:pt x="430" y="58"/>
                </a:cubicBezTo>
                <a:cubicBezTo>
                  <a:pt x="431" y="59"/>
                  <a:pt x="431" y="59"/>
                  <a:pt x="431" y="59"/>
                </a:cubicBezTo>
                <a:cubicBezTo>
                  <a:pt x="433" y="61"/>
                  <a:pt x="438" y="65"/>
                  <a:pt x="433" y="74"/>
                </a:cubicBezTo>
                <a:cubicBezTo>
                  <a:pt x="430" y="78"/>
                  <a:pt x="428" y="84"/>
                  <a:pt x="428" y="87"/>
                </a:cubicBezTo>
                <a:cubicBezTo>
                  <a:pt x="429" y="88"/>
                  <a:pt x="430" y="90"/>
                  <a:pt x="432" y="91"/>
                </a:cubicBezTo>
                <a:cubicBezTo>
                  <a:pt x="435" y="90"/>
                  <a:pt x="440" y="88"/>
                  <a:pt x="445" y="85"/>
                </a:cubicBezTo>
                <a:cubicBezTo>
                  <a:pt x="448" y="83"/>
                  <a:pt x="450" y="82"/>
                  <a:pt x="453" y="82"/>
                </a:cubicBezTo>
                <a:cubicBezTo>
                  <a:pt x="456" y="82"/>
                  <a:pt x="458" y="85"/>
                  <a:pt x="460" y="87"/>
                </a:cubicBezTo>
                <a:cubicBezTo>
                  <a:pt x="461" y="87"/>
                  <a:pt x="461" y="87"/>
                  <a:pt x="461" y="87"/>
                </a:cubicBezTo>
                <a:cubicBezTo>
                  <a:pt x="463" y="90"/>
                  <a:pt x="467" y="94"/>
                  <a:pt x="460" y="102"/>
                </a:cubicBezTo>
                <a:cubicBezTo>
                  <a:pt x="457" y="107"/>
                  <a:pt x="454" y="111"/>
                  <a:pt x="453" y="115"/>
                </a:cubicBezTo>
                <a:cubicBezTo>
                  <a:pt x="453" y="115"/>
                  <a:pt x="453" y="115"/>
                  <a:pt x="453" y="115"/>
                </a:cubicBezTo>
                <a:cubicBezTo>
                  <a:pt x="454" y="116"/>
                  <a:pt x="456" y="118"/>
                  <a:pt x="457" y="119"/>
                </a:cubicBezTo>
                <a:cubicBezTo>
                  <a:pt x="460" y="119"/>
                  <a:pt x="465" y="118"/>
                  <a:pt x="471" y="116"/>
                </a:cubicBezTo>
                <a:cubicBezTo>
                  <a:pt x="473" y="115"/>
                  <a:pt x="475" y="114"/>
                  <a:pt x="477" y="114"/>
                </a:cubicBezTo>
                <a:cubicBezTo>
                  <a:pt x="482" y="114"/>
                  <a:pt x="484" y="117"/>
                  <a:pt x="485" y="119"/>
                </a:cubicBezTo>
                <a:cubicBezTo>
                  <a:pt x="486" y="120"/>
                  <a:pt x="486" y="120"/>
                  <a:pt x="486" y="120"/>
                </a:cubicBezTo>
                <a:cubicBezTo>
                  <a:pt x="488" y="123"/>
                  <a:pt x="491" y="128"/>
                  <a:pt x="483" y="135"/>
                </a:cubicBezTo>
                <a:cubicBezTo>
                  <a:pt x="479" y="139"/>
                  <a:pt x="476" y="143"/>
                  <a:pt x="474" y="146"/>
                </a:cubicBezTo>
                <a:cubicBezTo>
                  <a:pt x="475" y="148"/>
                  <a:pt x="476" y="150"/>
                  <a:pt x="477" y="151"/>
                </a:cubicBezTo>
                <a:cubicBezTo>
                  <a:pt x="480" y="152"/>
                  <a:pt x="486" y="151"/>
                  <a:pt x="491" y="150"/>
                </a:cubicBezTo>
                <a:cubicBezTo>
                  <a:pt x="493" y="149"/>
                  <a:pt x="495" y="149"/>
                  <a:pt x="496" y="149"/>
                </a:cubicBezTo>
                <a:cubicBezTo>
                  <a:pt x="502" y="149"/>
                  <a:pt x="504" y="153"/>
                  <a:pt x="505" y="156"/>
                </a:cubicBezTo>
                <a:cubicBezTo>
                  <a:pt x="505" y="157"/>
                  <a:pt x="505" y="157"/>
                  <a:pt x="505" y="157"/>
                </a:cubicBezTo>
                <a:cubicBezTo>
                  <a:pt x="507" y="160"/>
                  <a:pt x="509" y="165"/>
                  <a:pt x="500" y="171"/>
                </a:cubicBezTo>
                <a:cubicBezTo>
                  <a:pt x="496" y="174"/>
                  <a:pt x="492" y="178"/>
                  <a:pt x="490" y="180"/>
                </a:cubicBezTo>
                <a:cubicBezTo>
                  <a:pt x="491" y="182"/>
                  <a:pt x="491" y="184"/>
                  <a:pt x="492" y="186"/>
                </a:cubicBezTo>
                <a:cubicBezTo>
                  <a:pt x="495" y="187"/>
                  <a:pt x="501" y="187"/>
                  <a:pt x="506" y="187"/>
                </a:cubicBezTo>
                <a:cubicBezTo>
                  <a:pt x="507" y="187"/>
                  <a:pt x="508" y="187"/>
                  <a:pt x="509" y="187"/>
                </a:cubicBezTo>
                <a:cubicBezTo>
                  <a:pt x="517" y="187"/>
                  <a:pt x="518" y="192"/>
                  <a:pt x="519" y="195"/>
                </a:cubicBezTo>
                <a:cubicBezTo>
                  <a:pt x="519" y="196"/>
                  <a:pt x="519" y="196"/>
                  <a:pt x="519" y="196"/>
                </a:cubicBezTo>
                <a:cubicBezTo>
                  <a:pt x="520" y="199"/>
                  <a:pt x="522" y="205"/>
                  <a:pt x="512" y="209"/>
                </a:cubicBezTo>
                <a:cubicBezTo>
                  <a:pt x="507" y="211"/>
                  <a:pt x="502" y="214"/>
                  <a:pt x="500" y="217"/>
                </a:cubicBezTo>
                <a:cubicBezTo>
                  <a:pt x="500" y="219"/>
                  <a:pt x="501" y="221"/>
                  <a:pt x="501" y="222"/>
                </a:cubicBezTo>
                <a:cubicBezTo>
                  <a:pt x="501" y="223"/>
                  <a:pt x="501" y="223"/>
                  <a:pt x="501" y="223"/>
                </a:cubicBezTo>
                <a:cubicBezTo>
                  <a:pt x="504" y="224"/>
                  <a:pt x="509" y="225"/>
                  <a:pt x="515" y="226"/>
                </a:cubicBezTo>
                <a:cubicBezTo>
                  <a:pt x="526" y="226"/>
                  <a:pt x="526" y="232"/>
                  <a:pt x="526" y="236"/>
                </a:cubicBezTo>
                <a:cubicBezTo>
                  <a:pt x="527" y="236"/>
                  <a:pt x="527" y="236"/>
                  <a:pt x="527" y="236"/>
                </a:cubicBezTo>
                <a:cubicBezTo>
                  <a:pt x="527" y="240"/>
                  <a:pt x="528" y="246"/>
                  <a:pt x="517" y="248"/>
                </a:cubicBezTo>
                <a:cubicBezTo>
                  <a:pt x="512" y="250"/>
                  <a:pt x="507" y="252"/>
                  <a:pt x="504" y="254"/>
                </a:cubicBezTo>
                <a:cubicBezTo>
                  <a:pt x="505" y="256"/>
                  <a:pt x="505" y="258"/>
                  <a:pt x="505" y="260"/>
                </a:cubicBezTo>
                <a:cubicBezTo>
                  <a:pt x="507" y="262"/>
                  <a:pt x="512" y="264"/>
                  <a:pt x="518" y="265"/>
                </a:cubicBezTo>
                <a:cubicBezTo>
                  <a:pt x="528" y="267"/>
                  <a:pt x="528" y="274"/>
                  <a:pt x="528" y="277"/>
                </a:cubicBezTo>
                <a:cubicBezTo>
                  <a:pt x="527" y="278"/>
                  <a:pt x="527" y="278"/>
                  <a:pt x="527" y="278"/>
                </a:cubicBezTo>
                <a:cubicBezTo>
                  <a:pt x="527" y="281"/>
                  <a:pt x="527" y="288"/>
                  <a:pt x="517" y="288"/>
                </a:cubicBezTo>
                <a:cubicBezTo>
                  <a:pt x="511" y="289"/>
                  <a:pt x="506" y="290"/>
                  <a:pt x="503" y="292"/>
                </a:cubicBezTo>
                <a:cubicBezTo>
                  <a:pt x="503" y="294"/>
                  <a:pt x="502" y="296"/>
                  <a:pt x="502" y="298"/>
                </a:cubicBezTo>
                <a:cubicBezTo>
                  <a:pt x="504" y="300"/>
                  <a:pt x="509" y="303"/>
                  <a:pt x="515" y="305"/>
                </a:cubicBezTo>
                <a:cubicBezTo>
                  <a:pt x="524" y="309"/>
                  <a:pt x="523" y="315"/>
                  <a:pt x="522" y="318"/>
                </a:cubicBezTo>
                <a:cubicBezTo>
                  <a:pt x="522" y="319"/>
                  <a:pt x="522" y="319"/>
                  <a:pt x="522" y="319"/>
                </a:cubicBezTo>
                <a:cubicBezTo>
                  <a:pt x="521" y="322"/>
                  <a:pt x="520" y="328"/>
                  <a:pt x="512" y="328"/>
                </a:cubicBezTo>
                <a:cubicBezTo>
                  <a:pt x="511" y="328"/>
                  <a:pt x="510" y="328"/>
                  <a:pt x="510" y="328"/>
                </a:cubicBezTo>
                <a:cubicBezTo>
                  <a:pt x="509" y="327"/>
                  <a:pt x="508" y="327"/>
                  <a:pt x="507" y="327"/>
                </a:cubicBezTo>
                <a:cubicBezTo>
                  <a:pt x="502" y="327"/>
                  <a:pt x="498" y="328"/>
                  <a:pt x="496" y="329"/>
                </a:cubicBezTo>
                <a:cubicBezTo>
                  <a:pt x="495" y="331"/>
                  <a:pt x="494" y="333"/>
                  <a:pt x="494" y="335"/>
                </a:cubicBezTo>
                <a:cubicBezTo>
                  <a:pt x="496" y="337"/>
                  <a:pt x="500" y="341"/>
                  <a:pt x="505" y="344"/>
                </a:cubicBezTo>
                <a:cubicBezTo>
                  <a:pt x="514" y="349"/>
                  <a:pt x="512" y="355"/>
                  <a:pt x="510" y="358"/>
                </a:cubicBezTo>
                <a:cubicBezTo>
                  <a:pt x="510" y="359"/>
                  <a:pt x="510" y="359"/>
                  <a:pt x="510" y="359"/>
                </a:cubicBezTo>
                <a:cubicBezTo>
                  <a:pt x="509" y="361"/>
                  <a:pt x="507" y="366"/>
                  <a:pt x="501" y="366"/>
                </a:cubicBezTo>
                <a:cubicBezTo>
                  <a:pt x="500" y="366"/>
                  <a:pt x="498" y="366"/>
                  <a:pt x="497" y="365"/>
                </a:cubicBezTo>
                <a:cubicBezTo>
                  <a:pt x="491" y="364"/>
                  <a:pt x="486" y="364"/>
                  <a:pt x="482" y="364"/>
                </a:cubicBezTo>
                <a:cubicBezTo>
                  <a:pt x="482" y="366"/>
                  <a:pt x="481" y="368"/>
                  <a:pt x="480" y="370"/>
                </a:cubicBezTo>
                <a:cubicBezTo>
                  <a:pt x="481" y="373"/>
                  <a:pt x="485" y="377"/>
                  <a:pt x="489" y="380"/>
                </a:cubicBezTo>
                <a:cubicBezTo>
                  <a:pt x="498" y="387"/>
                  <a:pt x="494" y="392"/>
                  <a:pt x="493" y="395"/>
                </a:cubicBezTo>
                <a:cubicBezTo>
                  <a:pt x="492" y="396"/>
                  <a:pt x="492" y="396"/>
                  <a:pt x="492" y="396"/>
                </a:cubicBezTo>
                <a:cubicBezTo>
                  <a:pt x="491" y="398"/>
                  <a:pt x="489" y="402"/>
                  <a:pt x="484" y="402"/>
                </a:cubicBezTo>
                <a:cubicBezTo>
                  <a:pt x="482" y="402"/>
                  <a:pt x="480" y="401"/>
                  <a:pt x="478" y="400"/>
                </a:cubicBezTo>
                <a:cubicBezTo>
                  <a:pt x="473" y="398"/>
                  <a:pt x="467" y="397"/>
                  <a:pt x="464" y="397"/>
                </a:cubicBezTo>
                <a:cubicBezTo>
                  <a:pt x="463" y="399"/>
                  <a:pt x="462" y="401"/>
                  <a:pt x="461" y="402"/>
                </a:cubicBezTo>
                <a:cubicBezTo>
                  <a:pt x="462" y="405"/>
                  <a:pt x="464" y="410"/>
                  <a:pt x="468" y="414"/>
                </a:cubicBezTo>
                <a:cubicBezTo>
                  <a:pt x="475" y="422"/>
                  <a:pt x="471" y="427"/>
                  <a:pt x="469" y="429"/>
                </a:cubicBezTo>
                <a:cubicBezTo>
                  <a:pt x="469" y="430"/>
                  <a:pt x="469" y="430"/>
                  <a:pt x="469" y="430"/>
                </a:cubicBezTo>
                <a:cubicBezTo>
                  <a:pt x="467" y="432"/>
                  <a:pt x="465" y="435"/>
                  <a:pt x="461" y="435"/>
                </a:cubicBezTo>
                <a:cubicBezTo>
                  <a:pt x="459" y="435"/>
                  <a:pt x="456" y="434"/>
                  <a:pt x="454" y="432"/>
                </a:cubicBezTo>
                <a:cubicBezTo>
                  <a:pt x="449" y="429"/>
                  <a:pt x="444" y="427"/>
                  <a:pt x="440" y="427"/>
                </a:cubicBezTo>
                <a:cubicBezTo>
                  <a:pt x="439" y="428"/>
                  <a:pt x="438" y="430"/>
                  <a:pt x="436" y="431"/>
                </a:cubicBezTo>
                <a:cubicBezTo>
                  <a:pt x="437" y="435"/>
                  <a:pt x="439" y="440"/>
                  <a:pt x="442" y="444"/>
                </a:cubicBezTo>
                <a:cubicBezTo>
                  <a:pt x="448" y="453"/>
                  <a:pt x="443" y="457"/>
                  <a:pt x="441" y="459"/>
                </a:cubicBezTo>
                <a:cubicBezTo>
                  <a:pt x="440" y="460"/>
                  <a:pt x="440" y="460"/>
                  <a:pt x="440" y="460"/>
                </a:cubicBezTo>
                <a:cubicBezTo>
                  <a:pt x="439" y="461"/>
                  <a:pt x="436" y="463"/>
                  <a:pt x="433" y="463"/>
                </a:cubicBezTo>
                <a:cubicBezTo>
                  <a:pt x="431" y="463"/>
                  <a:pt x="428" y="462"/>
                  <a:pt x="425" y="460"/>
                </a:cubicBezTo>
                <a:cubicBezTo>
                  <a:pt x="421" y="456"/>
                  <a:pt x="416" y="453"/>
                  <a:pt x="413" y="453"/>
                </a:cubicBezTo>
                <a:cubicBezTo>
                  <a:pt x="411" y="454"/>
                  <a:pt x="410" y="455"/>
                  <a:pt x="408" y="456"/>
                </a:cubicBezTo>
                <a:cubicBezTo>
                  <a:pt x="408" y="460"/>
                  <a:pt x="409" y="465"/>
                  <a:pt x="412" y="470"/>
                </a:cubicBezTo>
                <a:cubicBezTo>
                  <a:pt x="416" y="479"/>
                  <a:pt x="411" y="483"/>
                  <a:pt x="408" y="485"/>
                </a:cubicBezTo>
                <a:cubicBezTo>
                  <a:pt x="407" y="485"/>
                  <a:pt x="407" y="485"/>
                  <a:pt x="407" y="485"/>
                </a:cubicBezTo>
                <a:cubicBezTo>
                  <a:pt x="406" y="486"/>
                  <a:pt x="404" y="487"/>
                  <a:pt x="401" y="487"/>
                </a:cubicBezTo>
                <a:cubicBezTo>
                  <a:pt x="398" y="487"/>
                  <a:pt x="395" y="486"/>
                  <a:pt x="392" y="482"/>
                </a:cubicBezTo>
                <a:cubicBezTo>
                  <a:pt x="389" y="478"/>
                  <a:pt x="384" y="475"/>
                  <a:pt x="381" y="474"/>
                </a:cubicBezTo>
                <a:cubicBezTo>
                  <a:pt x="380" y="474"/>
                  <a:pt x="378" y="475"/>
                  <a:pt x="376" y="476"/>
                </a:cubicBezTo>
                <a:cubicBezTo>
                  <a:pt x="376" y="480"/>
                  <a:pt x="376" y="485"/>
                  <a:pt x="378" y="491"/>
                </a:cubicBezTo>
                <a:cubicBezTo>
                  <a:pt x="381" y="501"/>
                  <a:pt x="375" y="503"/>
                  <a:pt x="372" y="504"/>
                </a:cubicBezTo>
                <a:cubicBezTo>
                  <a:pt x="371" y="505"/>
                  <a:pt x="371" y="505"/>
                  <a:pt x="371" y="505"/>
                </a:cubicBezTo>
                <a:cubicBezTo>
                  <a:pt x="369" y="505"/>
                  <a:pt x="367" y="506"/>
                  <a:pt x="365" y="506"/>
                </a:cubicBezTo>
                <a:cubicBezTo>
                  <a:pt x="362" y="506"/>
                  <a:pt x="359" y="504"/>
                  <a:pt x="356" y="500"/>
                </a:cubicBezTo>
                <a:cubicBezTo>
                  <a:pt x="353" y="495"/>
                  <a:pt x="350" y="491"/>
                  <a:pt x="347" y="489"/>
                </a:cubicBezTo>
                <a:cubicBezTo>
                  <a:pt x="345" y="490"/>
                  <a:pt x="343" y="491"/>
                  <a:pt x="341" y="491"/>
                </a:cubicBezTo>
                <a:cubicBezTo>
                  <a:pt x="340" y="494"/>
                  <a:pt x="340" y="500"/>
                  <a:pt x="341" y="506"/>
                </a:cubicBezTo>
                <a:cubicBezTo>
                  <a:pt x="342" y="516"/>
                  <a:pt x="336" y="517"/>
                  <a:pt x="333" y="518"/>
                </a:cubicBezTo>
                <a:cubicBezTo>
                  <a:pt x="332" y="518"/>
                  <a:pt x="332" y="518"/>
                  <a:pt x="332" y="518"/>
                </a:cubicBezTo>
                <a:cubicBezTo>
                  <a:pt x="330" y="519"/>
                  <a:pt x="329" y="519"/>
                  <a:pt x="327" y="519"/>
                </a:cubicBezTo>
                <a:cubicBezTo>
                  <a:pt x="323" y="519"/>
                  <a:pt x="320" y="517"/>
                  <a:pt x="318" y="511"/>
                </a:cubicBezTo>
                <a:cubicBezTo>
                  <a:pt x="316" y="506"/>
                  <a:pt x="313" y="502"/>
                  <a:pt x="311" y="499"/>
                </a:cubicBezTo>
                <a:cubicBezTo>
                  <a:pt x="309" y="500"/>
                  <a:pt x="307" y="500"/>
                  <a:pt x="305" y="500"/>
                </a:cubicBezTo>
                <a:cubicBezTo>
                  <a:pt x="305" y="500"/>
                  <a:pt x="305" y="500"/>
                  <a:pt x="305" y="500"/>
                </a:cubicBezTo>
                <a:cubicBezTo>
                  <a:pt x="303" y="503"/>
                  <a:pt x="302" y="509"/>
                  <a:pt x="302" y="514"/>
                </a:cubicBezTo>
                <a:cubicBezTo>
                  <a:pt x="302" y="525"/>
                  <a:pt x="295" y="525"/>
                  <a:pt x="292" y="526"/>
                </a:cubicBezTo>
                <a:cubicBezTo>
                  <a:pt x="291" y="526"/>
                  <a:pt x="291" y="526"/>
                  <a:pt x="291" y="526"/>
                </a:cubicBezTo>
                <a:cubicBezTo>
                  <a:pt x="290" y="526"/>
                  <a:pt x="289" y="526"/>
                  <a:pt x="288" y="526"/>
                </a:cubicBezTo>
                <a:cubicBezTo>
                  <a:pt x="283" y="526"/>
                  <a:pt x="280" y="523"/>
                  <a:pt x="279" y="517"/>
                </a:cubicBezTo>
                <a:cubicBezTo>
                  <a:pt x="277" y="511"/>
                  <a:pt x="275" y="506"/>
                  <a:pt x="273" y="504"/>
                </a:cubicBezTo>
                <a:cubicBezTo>
                  <a:pt x="271" y="504"/>
                  <a:pt x="269" y="504"/>
                  <a:pt x="267" y="504"/>
                </a:cubicBezTo>
                <a:cubicBezTo>
                  <a:pt x="265" y="507"/>
                  <a:pt x="263" y="512"/>
                  <a:pt x="262" y="517"/>
                </a:cubicBezTo>
                <a:cubicBezTo>
                  <a:pt x="261" y="524"/>
                  <a:pt x="258" y="527"/>
                  <a:pt x="252" y="527"/>
                </a:cubicBezTo>
                <a:close/>
                <a:moveTo>
                  <a:pt x="229" y="497"/>
                </a:moveTo>
                <a:cubicBezTo>
                  <a:pt x="229" y="497"/>
                  <a:pt x="229" y="497"/>
                  <a:pt x="229" y="497"/>
                </a:cubicBezTo>
                <a:cubicBezTo>
                  <a:pt x="232" y="498"/>
                  <a:pt x="234" y="498"/>
                  <a:pt x="237" y="498"/>
                </a:cubicBezTo>
                <a:cubicBezTo>
                  <a:pt x="237" y="498"/>
                  <a:pt x="238" y="499"/>
                  <a:pt x="238" y="499"/>
                </a:cubicBezTo>
                <a:cubicBezTo>
                  <a:pt x="241" y="503"/>
                  <a:pt x="243" y="510"/>
                  <a:pt x="243" y="516"/>
                </a:cubicBezTo>
                <a:cubicBezTo>
                  <a:pt x="244" y="522"/>
                  <a:pt x="246" y="523"/>
                  <a:pt x="250" y="523"/>
                </a:cubicBezTo>
                <a:cubicBezTo>
                  <a:pt x="251" y="523"/>
                  <a:pt x="251" y="523"/>
                  <a:pt x="251" y="523"/>
                </a:cubicBezTo>
                <a:cubicBezTo>
                  <a:pt x="251" y="523"/>
                  <a:pt x="252" y="523"/>
                  <a:pt x="252" y="523"/>
                </a:cubicBezTo>
                <a:cubicBezTo>
                  <a:pt x="254" y="523"/>
                  <a:pt x="257" y="523"/>
                  <a:pt x="258" y="517"/>
                </a:cubicBezTo>
                <a:cubicBezTo>
                  <a:pt x="259" y="511"/>
                  <a:pt x="261" y="504"/>
                  <a:pt x="265" y="501"/>
                </a:cubicBezTo>
                <a:cubicBezTo>
                  <a:pt x="265" y="500"/>
                  <a:pt x="266" y="500"/>
                  <a:pt x="266" y="500"/>
                </a:cubicBezTo>
                <a:cubicBezTo>
                  <a:pt x="269" y="500"/>
                  <a:pt x="271" y="500"/>
                  <a:pt x="273" y="500"/>
                </a:cubicBezTo>
                <a:cubicBezTo>
                  <a:pt x="274" y="500"/>
                  <a:pt x="274" y="500"/>
                  <a:pt x="274" y="500"/>
                </a:cubicBezTo>
                <a:cubicBezTo>
                  <a:pt x="274" y="500"/>
                  <a:pt x="275" y="500"/>
                  <a:pt x="275" y="500"/>
                </a:cubicBezTo>
                <a:cubicBezTo>
                  <a:pt x="279" y="504"/>
                  <a:pt x="281" y="510"/>
                  <a:pt x="283" y="516"/>
                </a:cubicBezTo>
                <a:cubicBezTo>
                  <a:pt x="284" y="522"/>
                  <a:pt x="287" y="522"/>
                  <a:pt x="288" y="522"/>
                </a:cubicBezTo>
                <a:cubicBezTo>
                  <a:pt x="289" y="522"/>
                  <a:pt x="290" y="522"/>
                  <a:pt x="290" y="522"/>
                </a:cubicBezTo>
                <a:cubicBezTo>
                  <a:pt x="292" y="522"/>
                  <a:pt x="292" y="522"/>
                  <a:pt x="292" y="522"/>
                </a:cubicBezTo>
                <a:cubicBezTo>
                  <a:pt x="295" y="521"/>
                  <a:pt x="297" y="521"/>
                  <a:pt x="298" y="514"/>
                </a:cubicBezTo>
                <a:cubicBezTo>
                  <a:pt x="298" y="509"/>
                  <a:pt x="299" y="501"/>
                  <a:pt x="302" y="497"/>
                </a:cubicBezTo>
                <a:cubicBezTo>
                  <a:pt x="302" y="497"/>
                  <a:pt x="303" y="497"/>
                  <a:pt x="303" y="497"/>
                </a:cubicBezTo>
                <a:cubicBezTo>
                  <a:pt x="304" y="496"/>
                  <a:pt x="304" y="496"/>
                  <a:pt x="304" y="496"/>
                </a:cubicBezTo>
                <a:cubicBezTo>
                  <a:pt x="306" y="496"/>
                  <a:pt x="309" y="496"/>
                  <a:pt x="311" y="495"/>
                </a:cubicBezTo>
                <a:cubicBezTo>
                  <a:pt x="311" y="495"/>
                  <a:pt x="312" y="495"/>
                  <a:pt x="312" y="496"/>
                </a:cubicBezTo>
                <a:cubicBezTo>
                  <a:pt x="316" y="498"/>
                  <a:pt x="320" y="505"/>
                  <a:pt x="322" y="510"/>
                </a:cubicBezTo>
                <a:cubicBezTo>
                  <a:pt x="324" y="515"/>
                  <a:pt x="327" y="515"/>
                  <a:pt x="327" y="515"/>
                </a:cubicBezTo>
                <a:cubicBezTo>
                  <a:pt x="328" y="515"/>
                  <a:pt x="329" y="515"/>
                  <a:pt x="330" y="514"/>
                </a:cubicBezTo>
                <a:cubicBezTo>
                  <a:pt x="332" y="514"/>
                  <a:pt x="332" y="514"/>
                  <a:pt x="332" y="514"/>
                </a:cubicBezTo>
                <a:cubicBezTo>
                  <a:pt x="335" y="513"/>
                  <a:pt x="337" y="513"/>
                  <a:pt x="336" y="506"/>
                </a:cubicBezTo>
                <a:cubicBezTo>
                  <a:pt x="336" y="500"/>
                  <a:pt x="336" y="493"/>
                  <a:pt x="338" y="489"/>
                </a:cubicBezTo>
                <a:cubicBezTo>
                  <a:pt x="338" y="488"/>
                  <a:pt x="339" y="488"/>
                  <a:pt x="339" y="488"/>
                </a:cubicBezTo>
                <a:cubicBezTo>
                  <a:pt x="342" y="487"/>
                  <a:pt x="344" y="486"/>
                  <a:pt x="346" y="485"/>
                </a:cubicBezTo>
                <a:cubicBezTo>
                  <a:pt x="347" y="485"/>
                  <a:pt x="348" y="485"/>
                  <a:pt x="348" y="485"/>
                </a:cubicBezTo>
                <a:cubicBezTo>
                  <a:pt x="352" y="487"/>
                  <a:pt x="357" y="493"/>
                  <a:pt x="360" y="498"/>
                </a:cubicBezTo>
                <a:cubicBezTo>
                  <a:pt x="363" y="502"/>
                  <a:pt x="365" y="502"/>
                  <a:pt x="365" y="502"/>
                </a:cubicBezTo>
                <a:cubicBezTo>
                  <a:pt x="367" y="502"/>
                  <a:pt x="368" y="501"/>
                  <a:pt x="369" y="501"/>
                </a:cubicBezTo>
                <a:cubicBezTo>
                  <a:pt x="370" y="500"/>
                  <a:pt x="370" y="500"/>
                  <a:pt x="370" y="500"/>
                </a:cubicBezTo>
                <a:cubicBezTo>
                  <a:pt x="373" y="499"/>
                  <a:pt x="375" y="498"/>
                  <a:pt x="373" y="492"/>
                </a:cubicBezTo>
                <a:cubicBezTo>
                  <a:pt x="372" y="486"/>
                  <a:pt x="371" y="479"/>
                  <a:pt x="372" y="474"/>
                </a:cubicBezTo>
                <a:cubicBezTo>
                  <a:pt x="372" y="474"/>
                  <a:pt x="373" y="473"/>
                  <a:pt x="373" y="473"/>
                </a:cubicBezTo>
                <a:cubicBezTo>
                  <a:pt x="375" y="472"/>
                  <a:pt x="378" y="471"/>
                  <a:pt x="380" y="470"/>
                </a:cubicBezTo>
                <a:cubicBezTo>
                  <a:pt x="380" y="469"/>
                  <a:pt x="380" y="469"/>
                  <a:pt x="380" y="469"/>
                </a:cubicBezTo>
                <a:cubicBezTo>
                  <a:pt x="381" y="469"/>
                  <a:pt x="381" y="469"/>
                  <a:pt x="382" y="469"/>
                </a:cubicBezTo>
                <a:cubicBezTo>
                  <a:pt x="386" y="471"/>
                  <a:pt x="392" y="476"/>
                  <a:pt x="395" y="480"/>
                </a:cubicBezTo>
                <a:cubicBezTo>
                  <a:pt x="398" y="482"/>
                  <a:pt x="399" y="483"/>
                  <a:pt x="401" y="483"/>
                </a:cubicBezTo>
                <a:cubicBezTo>
                  <a:pt x="402" y="483"/>
                  <a:pt x="404" y="482"/>
                  <a:pt x="405" y="482"/>
                </a:cubicBezTo>
                <a:cubicBezTo>
                  <a:pt x="406" y="481"/>
                  <a:pt x="406" y="481"/>
                  <a:pt x="406" y="481"/>
                </a:cubicBezTo>
                <a:cubicBezTo>
                  <a:pt x="409" y="479"/>
                  <a:pt x="411" y="478"/>
                  <a:pt x="408" y="472"/>
                </a:cubicBezTo>
                <a:cubicBezTo>
                  <a:pt x="406" y="467"/>
                  <a:pt x="403" y="460"/>
                  <a:pt x="404" y="455"/>
                </a:cubicBezTo>
                <a:cubicBezTo>
                  <a:pt x="404" y="454"/>
                  <a:pt x="404" y="454"/>
                  <a:pt x="405" y="453"/>
                </a:cubicBezTo>
                <a:cubicBezTo>
                  <a:pt x="407" y="452"/>
                  <a:pt x="409" y="450"/>
                  <a:pt x="411" y="449"/>
                </a:cubicBezTo>
                <a:cubicBezTo>
                  <a:pt x="411" y="448"/>
                  <a:pt x="412" y="448"/>
                  <a:pt x="412" y="448"/>
                </a:cubicBezTo>
                <a:cubicBezTo>
                  <a:pt x="417" y="449"/>
                  <a:pt x="423" y="453"/>
                  <a:pt x="428" y="456"/>
                </a:cubicBezTo>
                <a:cubicBezTo>
                  <a:pt x="430" y="458"/>
                  <a:pt x="432" y="459"/>
                  <a:pt x="433" y="459"/>
                </a:cubicBezTo>
                <a:cubicBezTo>
                  <a:pt x="435" y="459"/>
                  <a:pt x="436" y="458"/>
                  <a:pt x="437" y="457"/>
                </a:cubicBezTo>
                <a:cubicBezTo>
                  <a:pt x="438" y="456"/>
                  <a:pt x="438" y="456"/>
                  <a:pt x="438" y="456"/>
                </a:cubicBezTo>
                <a:cubicBezTo>
                  <a:pt x="441" y="454"/>
                  <a:pt x="443" y="452"/>
                  <a:pt x="439" y="447"/>
                </a:cubicBezTo>
                <a:cubicBezTo>
                  <a:pt x="436" y="442"/>
                  <a:pt x="432" y="435"/>
                  <a:pt x="432" y="431"/>
                </a:cubicBezTo>
                <a:cubicBezTo>
                  <a:pt x="432" y="430"/>
                  <a:pt x="432" y="429"/>
                  <a:pt x="433" y="429"/>
                </a:cubicBezTo>
                <a:cubicBezTo>
                  <a:pt x="435" y="427"/>
                  <a:pt x="436" y="425"/>
                  <a:pt x="438" y="423"/>
                </a:cubicBezTo>
                <a:cubicBezTo>
                  <a:pt x="438" y="423"/>
                  <a:pt x="439" y="423"/>
                  <a:pt x="440" y="423"/>
                </a:cubicBezTo>
                <a:cubicBezTo>
                  <a:pt x="444" y="423"/>
                  <a:pt x="451" y="426"/>
                  <a:pt x="456" y="428"/>
                </a:cubicBezTo>
                <a:cubicBezTo>
                  <a:pt x="458" y="430"/>
                  <a:pt x="460" y="430"/>
                  <a:pt x="461" y="430"/>
                </a:cubicBezTo>
                <a:cubicBezTo>
                  <a:pt x="463" y="430"/>
                  <a:pt x="464" y="429"/>
                  <a:pt x="465" y="427"/>
                </a:cubicBezTo>
                <a:cubicBezTo>
                  <a:pt x="466" y="427"/>
                  <a:pt x="466" y="427"/>
                  <a:pt x="466" y="427"/>
                </a:cubicBezTo>
                <a:cubicBezTo>
                  <a:pt x="468" y="424"/>
                  <a:pt x="470" y="422"/>
                  <a:pt x="465" y="417"/>
                </a:cubicBezTo>
                <a:cubicBezTo>
                  <a:pt x="461" y="413"/>
                  <a:pt x="457" y="407"/>
                  <a:pt x="456" y="402"/>
                </a:cubicBezTo>
                <a:cubicBezTo>
                  <a:pt x="456" y="402"/>
                  <a:pt x="456" y="401"/>
                  <a:pt x="457" y="401"/>
                </a:cubicBezTo>
                <a:cubicBezTo>
                  <a:pt x="458" y="398"/>
                  <a:pt x="460" y="396"/>
                  <a:pt x="461" y="394"/>
                </a:cubicBezTo>
                <a:cubicBezTo>
                  <a:pt x="461" y="394"/>
                  <a:pt x="462" y="393"/>
                  <a:pt x="462" y="393"/>
                </a:cubicBezTo>
                <a:cubicBezTo>
                  <a:pt x="466" y="393"/>
                  <a:pt x="473" y="394"/>
                  <a:pt x="479" y="396"/>
                </a:cubicBezTo>
                <a:cubicBezTo>
                  <a:pt x="481" y="397"/>
                  <a:pt x="483" y="398"/>
                  <a:pt x="484" y="398"/>
                </a:cubicBezTo>
                <a:cubicBezTo>
                  <a:pt x="486" y="398"/>
                  <a:pt x="487" y="396"/>
                  <a:pt x="489" y="394"/>
                </a:cubicBezTo>
                <a:cubicBezTo>
                  <a:pt x="489" y="393"/>
                  <a:pt x="489" y="393"/>
                  <a:pt x="489" y="393"/>
                </a:cubicBezTo>
                <a:cubicBezTo>
                  <a:pt x="491" y="390"/>
                  <a:pt x="492" y="388"/>
                  <a:pt x="487" y="384"/>
                </a:cubicBezTo>
                <a:cubicBezTo>
                  <a:pt x="482" y="380"/>
                  <a:pt x="477" y="375"/>
                  <a:pt x="476" y="370"/>
                </a:cubicBezTo>
                <a:cubicBezTo>
                  <a:pt x="475" y="370"/>
                  <a:pt x="475" y="369"/>
                  <a:pt x="476" y="369"/>
                </a:cubicBezTo>
                <a:cubicBezTo>
                  <a:pt x="476" y="369"/>
                  <a:pt x="476" y="369"/>
                  <a:pt x="476" y="369"/>
                </a:cubicBezTo>
                <a:cubicBezTo>
                  <a:pt x="477" y="366"/>
                  <a:pt x="478" y="364"/>
                  <a:pt x="479" y="362"/>
                </a:cubicBezTo>
                <a:cubicBezTo>
                  <a:pt x="479" y="361"/>
                  <a:pt x="480" y="361"/>
                  <a:pt x="480" y="361"/>
                </a:cubicBezTo>
                <a:cubicBezTo>
                  <a:pt x="484" y="360"/>
                  <a:pt x="491" y="360"/>
                  <a:pt x="498" y="361"/>
                </a:cubicBezTo>
                <a:cubicBezTo>
                  <a:pt x="499" y="361"/>
                  <a:pt x="500" y="362"/>
                  <a:pt x="501" y="362"/>
                </a:cubicBezTo>
                <a:cubicBezTo>
                  <a:pt x="504" y="362"/>
                  <a:pt x="505" y="360"/>
                  <a:pt x="506" y="357"/>
                </a:cubicBezTo>
                <a:cubicBezTo>
                  <a:pt x="507" y="356"/>
                  <a:pt x="507" y="356"/>
                  <a:pt x="507" y="356"/>
                </a:cubicBezTo>
                <a:cubicBezTo>
                  <a:pt x="508" y="353"/>
                  <a:pt x="509" y="351"/>
                  <a:pt x="503" y="347"/>
                </a:cubicBezTo>
                <a:cubicBezTo>
                  <a:pt x="498" y="345"/>
                  <a:pt x="492" y="340"/>
                  <a:pt x="490" y="336"/>
                </a:cubicBezTo>
                <a:cubicBezTo>
                  <a:pt x="489" y="336"/>
                  <a:pt x="489" y="335"/>
                  <a:pt x="490" y="334"/>
                </a:cubicBezTo>
                <a:cubicBezTo>
                  <a:pt x="490" y="332"/>
                  <a:pt x="491" y="329"/>
                  <a:pt x="492" y="327"/>
                </a:cubicBezTo>
                <a:cubicBezTo>
                  <a:pt x="492" y="326"/>
                  <a:pt x="492" y="326"/>
                  <a:pt x="493" y="326"/>
                </a:cubicBezTo>
                <a:cubicBezTo>
                  <a:pt x="497" y="324"/>
                  <a:pt x="504" y="323"/>
                  <a:pt x="507" y="323"/>
                </a:cubicBezTo>
                <a:cubicBezTo>
                  <a:pt x="508" y="323"/>
                  <a:pt x="509" y="323"/>
                  <a:pt x="510" y="323"/>
                </a:cubicBezTo>
                <a:cubicBezTo>
                  <a:pt x="511" y="323"/>
                  <a:pt x="511" y="323"/>
                  <a:pt x="512" y="323"/>
                </a:cubicBezTo>
                <a:cubicBezTo>
                  <a:pt x="517" y="323"/>
                  <a:pt x="517" y="321"/>
                  <a:pt x="518" y="318"/>
                </a:cubicBezTo>
                <a:cubicBezTo>
                  <a:pt x="518" y="317"/>
                  <a:pt x="518" y="317"/>
                  <a:pt x="518" y="317"/>
                </a:cubicBezTo>
                <a:cubicBezTo>
                  <a:pt x="519" y="314"/>
                  <a:pt x="519" y="311"/>
                  <a:pt x="513" y="309"/>
                </a:cubicBezTo>
                <a:cubicBezTo>
                  <a:pt x="508" y="307"/>
                  <a:pt x="501" y="304"/>
                  <a:pt x="498" y="300"/>
                </a:cubicBezTo>
                <a:cubicBezTo>
                  <a:pt x="498" y="299"/>
                  <a:pt x="498" y="299"/>
                  <a:pt x="498" y="298"/>
                </a:cubicBezTo>
                <a:cubicBezTo>
                  <a:pt x="498" y="296"/>
                  <a:pt x="499" y="293"/>
                  <a:pt x="499" y="291"/>
                </a:cubicBezTo>
                <a:cubicBezTo>
                  <a:pt x="499" y="290"/>
                  <a:pt x="499" y="289"/>
                  <a:pt x="500" y="289"/>
                </a:cubicBezTo>
                <a:cubicBezTo>
                  <a:pt x="504" y="286"/>
                  <a:pt x="511" y="285"/>
                  <a:pt x="516" y="284"/>
                </a:cubicBezTo>
                <a:cubicBezTo>
                  <a:pt x="523" y="284"/>
                  <a:pt x="523" y="281"/>
                  <a:pt x="523" y="278"/>
                </a:cubicBezTo>
                <a:cubicBezTo>
                  <a:pt x="523" y="277"/>
                  <a:pt x="523" y="277"/>
                  <a:pt x="523" y="277"/>
                </a:cubicBezTo>
                <a:cubicBezTo>
                  <a:pt x="524" y="273"/>
                  <a:pt x="524" y="271"/>
                  <a:pt x="517" y="269"/>
                </a:cubicBezTo>
                <a:cubicBezTo>
                  <a:pt x="512" y="268"/>
                  <a:pt x="505" y="266"/>
                  <a:pt x="501" y="263"/>
                </a:cubicBezTo>
                <a:cubicBezTo>
                  <a:pt x="501" y="262"/>
                  <a:pt x="500" y="262"/>
                  <a:pt x="500" y="261"/>
                </a:cubicBezTo>
                <a:cubicBezTo>
                  <a:pt x="500" y="259"/>
                  <a:pt x="500" y="257"/>
                  <a:pt x="500" y="254"/>
                </a:cubicBezTo>
                <a:cubicBezTo>
                  <a:pt x="500" y="254"/>
                  <a:pt x="500" y="254"/>
                  <a:pt x="500" y="254"/>
                </a:cubicBezTo>
                <a:cubicBezTo>
                  <a:pt x="500" y="253"/>
                  <a:pt x="500" y="252"/>
                  <a:pt x="501" y="252"/>
                </a:cubicBezTo>
                <a:cubicBezTo>
                  <a:pt x="504" y="249"/>
                  <a:pt x="511" y="246"/>
                  <a:pt x="516" y="244"/>
                </a:cubicBezTo>
                <a:cubicBezTo>
                  <a:pt x="523" y="243"/>
                  <a:pt x="523" y="240"/>
                  <a:pt x="522" y="237"/>
                </a:cubicBezTo>
                <a:cubicBezTo>
                  <a:pt x="522" y="236"/>
                  <a:pt x="522" y="236"/>
                  <a:pt x="522" y="236"/>
                </a:cubicBezTo>
                <a:cubicBezTo>
                  <a:pt x="522" y="233"/>
                  <a:pt x="522" y="230"/>
                  <a:pt x="515" y="230"/>
                </a:cubicBezTo>
                <a:cubicBezTo>
                  <a:pt x="509" y="229"/>
                  <a:pt x="502" y="228"/>
                  <a:pt x="498" y="226"/>
                </a:cubicBezTo>
                <a:cubicBezTo>
                  <a:pt x="498" y="225"/>
                  <a:pt x="497" y="225"/>
                  <a:pt x="497" y="224"/>
                </a:cubicBezTo>
                <a:cubicBezTo>
                  <a:pt x="497" y="223"/>
                  <a:pt x="497" y="223"/>
                  <a:pt x="497" y="223"/>
                </a:cubicBezTo>
                <a:cubicBezTo>
                  <a:pt x="497" y="221"/>
                  <a:pt x="496" y="219"/>
                  <a:pt x="496" y="217"/>
                </a:cubicBezTo>
                <a:cubicBezTo>
                  <a:pt x="496" y="216"/>
                  <a:pt x="496" y="215"/>
                  <a:pt x="496" y="215"/>
                </a:cubicBezTo>
                <a:cubicBezTo>
                  <a:pt x="499" y="211"/>
                  <a:pt x="505" y="207"/>
                  <a:pt x="510" y="205"/>
                </a:cubicBezTo>
                <a:cubicBezTo>
                  <a:pt x="517" y="203"/>
                  <a:pt x="516" y="200"/>
                  <a:pt x="515" y="197"/>
                </a:cubicBezTo>
                <a:cubicBezTo>
                  <a:pt x="515" y="196"/>
                  <a:pt x="515" y="196"/>
                  <a:pt x="515" y="196"/>
                </a:cubicBezTo>
                <a:cubicBezTo>
                  <a:pt x="514" y="193"/>
                  <a:pt x="514" y="191"/>
                  <a:pt x="509" y="191"/>
                </a:cubicBezTo>
                <a:cubicBezTo>
                  <a:pt x="508" y="191"/>
                  <a:pt x="507" y="191"/>
                  <a:pt x="507" y="191"/>
                </a:cubicBezTo>
                <a:cubicBezTo>
                  <a:pt x="505" y="191"/>
                  <a:pt x="503" y="191"/>
                  <a:pt x="501" y="191"/>
                </a:cubicBezTo>
                <a:cubicBezTo>
                  <a:pt x="497" y="191"/>
                  <a:pt x="493" y="191"/>
                  <a:pt x="489" y="189"/>
                </a:cubicBezTo>
                <a:cubicBezTo>
                  <a:pt x="489" y="189"/>
                  <a:pt x="488" y="189"/>
                  <a:pt x="488" y="188"/>
                </a:cubicBezTo>
                <a:cubicBezTo>
                  <a:pt x="487" y="186"/>
                  <a:pt x="487" y="183"/>
                  <a:pt x="486" y="181"/>
                </a:cubicBezTo>
                <a:cubicBezTo>
                  <a:pt x="485" y="180"/>
                  <a:pt x="485" y="180"/>
                  <a:pt x="486" y="179"/>
                </a:cubicBezTo>
                <a:cubicBezTo>
                  <a:pt x="488" y="175"/>
                  <a:pt x="494" y="170"/>
                  <a:pt x="498" y="167"/>
                </a:cubicBezTo>
                <a:cubicBezTo>
                  <a:pt x="504" y="164"/>
                  <a:pt x="503" y="161"/>
                  <a:pt x="502" y="158"/>
                </a:cubicBezTo>
                <a:cubicBezTo>
                  <a:pt x="501" y="157"/>
                  <a:pt x="501" y="157"/>
                  <a:pt x="501" y="157"/>
                </a:cubicBezTo>
                <a:cubicBezTo>
                  <a:pt x="500" y="155"/>
                  <a:pt x="499" y="153"/>
                  <a:pt x="496" y="153"/>
                </a:cubicBezTo>
                <a:cubicBezTo>
                  <a:pt x="495" y="153"/>
                  <a:pt x="494" y="153"/>
                  <a:pt x="492" y="154"/>
                </a:cubicBezTo>
                <a:cubicBezTo>
                  <a:pt x="488" y="155"/>
                  <a:pt x="483" y="156"/>
                  <a:pt x="480" y="156"/>
                </a:cubicBezTo>
                <a:cubicBezTo>
                  <a:pt x="478" y="156"/>
                  <a:pt x="476" y="156"/>
                  <a:pt x="475" y="155"/>
                </a:cubicBezTo>
                <a:cubicBezTo>
                  <a:pt x="475" y="155"/>
                  <a:pt x="474" y="155"/>
                  <a:pt x="474" y="154"/>
                </a:cubicBezTo>
                <a:cubicBezTo>
                  <a:pt x="473" y="152"/>
                  <a:pt x="471" y="150"/>
                  <a:pt x="470" y="147"/>
                </a:cubicBezTo>
                <a:cubicBezTo>
                  <a:pt x="470" y="147"/>
                  <a:pt x="470" y="146"/>
                  <a:pt x="470" y="146"/>
                </a:cubicBezTo>
                <a:cubicBezTo>
                  <a:pt x="471" y="141"/>
                  <a:pt x="476" y="136"/>
                  <a:pt x="480" y="132"/>
                </a:cubicBezTo>
                <a:cubicBezTo>
                  <a:pt x="486" y="127"/>
                  <a:pt x="484" y="125"/>
                  <a:pt x="482" y="123"/>
                </a:cubicBezTo>
                <a:cubicBezTo>
                  <a:pt x="482" y="122"/>
                  <a:pt x="482" y="122"/>
                  <a:pt x="482" y="122"/>
                </a:cubicBezTo>
                <a:cubicBezTo>
                  <a:pt x="480" y="119"/>
                  <a:pt x="479" y="118"/>
                  <a:pt x="477" y="118"/>
                </a:cubicBezTo>
                <a:cubicBezTo>
                  <a:pt x="476" y="118"/>
                  <a:pt x="474" y="119"/>
                  <a:pt x="472" y="120"/>
                </a:cubicBezTo>
                <a:cubicBezTo>
                  <a:pt x="466" y="122"/>
                  <a:pt x="460" y="124"/>
                  <a:pt x="456" y="123"/>
                </a:cubicBezTo>
                <a:cubicBezTo>
                  <a:pt x="455" y="123"/>
                  <a:pt x="454" y="123"/>
                  <a:pt x="454" y="123"/>
                </a:cubicBezTo>
                <a:cubicBezTo>
                  <a:pt x="453" y="121"/>
                  <a:pt x="451" y="119"/>
                  <a:pt x="450" y="117"/>
                </a:cubicBezTo>
                <a:cubicBezTo>
                  <a:pt x="449" y="117"/>
                  <a:pt x="449" y="117"/>
                  <a:pt x="449" y="117"/>
                </a:cubicBezTo>
                <a:cubicBezTo>
                  <a:pt x="449" y="116"/>
                  <a:pt x="449" y="115"/>
                  <a:pt x="449" y="115"/>
                </a:cubicBezTo>
                <a:cubicBezTo>
                  <a:pt x="450" y="110"/>
                  <a:pt x="454" y="104"/>
                  <a:pt x="457" y="100"/>
                </a:cubicBezTo>
                <a:cubicBezTo>
                  <a:pt x="462" y="94"/>
                  <a:pt x="460" y="93"/>
                  <a:pt x="458" y="90"/>
                </a:cubicBezTo>
                <a:cubicBezTo>
                  <a:pt x="457" y="89"/>
                  <a:pt x="457" y="89"/>
                  <a:pt x="457" y="89"/>
                </a:cubicBezTo>
                <a:cubicBezTo>
                  <a:pt x="455" y="88"/>
                  <a:pt x="454" y="87"/>
                  <a:pt x="453" y="87"/>
                </a:cubicBezTo>
                <a:cubicBezTo>
                  <a:pt x="451" y="87"/>
                  <a:pt x="449" y="87"/>
                  <a:pt x="447" y="89"/>
                </a:cubicBezTo>
                <a:cubicBezTo>
                  <a:pt x="443" y="92"/>
                  <a:pt x="436" y="95"/>
                  <a:pt x="431" y="95"/>
                </a:cubicBezTo>
                <a:cubicBezTo>
                  <a:pt x="431" y="95"/>
                  <a:pt x="430" y="95"/>
                  <a:pt x="430" y="95"/>
                </a:cubicBezTo>
                <a:cubicBezTo>
                  <a:pt x="428" y="93"/>
                  <a:pt x="426" y="91"/>
                  <a:pt x="424" y="89"/>
                </a:cubicBezTo>
                <a:cubicBezTo>
                  <a:pt x="424" y="89"/>
                  <a:pt x="423" y="88"/>
                  <a:pt x="423" y="88"/>
                </a:cubicBezTo>
                <a:cubicBezTo>
                  <a:pt x="423" y="83"/>
                  <a:pt x="426" y="76"/>
                  <a:pt x="429" y="71"/>
                </a:cubicBezTo>
                <a:cubicBezTo>
                  <a:pt x="433" y="66"/>
                  <a:pt x="431" y="64"/>
                  <a:pt x="428" y="62"/>
                </a:cubicBezTo>
                <a:cubicBezTo>
                  <a:pt x="427" y="61"/>
                  <a:pt x="427" y="61"/>
                  <a:pt x="427" y="61"/>
                </a:cubicBezTo>
                <a:cubicBezTo>
                  <a:pt x="426" y="60"/>
                  <a:pt x="425" y="59"/>
                  <a:pt x="423" y="59"/>
                </a:cubicBezTo>
                <a:cubicBezTo>
                  <a:pt x="422" y="59"/>
                  <a:pt x="420" y="60"/>
                  <a:pt x="418" y="62"/>
                </a:cubicBezTo>
                <a:cubicBezTo>
                  <a:pt x="414" y="66"/>
                  <a:pt x="407" y="70"/>
                  <a:pt x="403" y="71"/>
                </a:cubicBezTo>
                <a:cubicBezTo>
                  <a:pt x="402" y="71"/>
                  <a:pt x="402" y="71"/>
                  <a:pt x="401" y="71"/>
                </a:cubicBezTo>
                <a:cubicBezTo>
                  <a:pt x="399" y="69"/>
                  <a:pt x="397" y="68"/>
                  <a:pt x="395" y="66"/>
                </a:cubicBezTo>
                <a:cubicBezTo>
                  <a:pt x="394" y="66"/>
                  <a:pt x="394" y="66"/>
                  <a:pt x="394" y="65"/>
                </a:cubicBezTo>
                <a:cubicBezTo>
                  <a:pt x="393" y="60"/>
                  <a:pt x="395" y="53"/>
                  <a:pt x="397" y="48"/>
                </a:cubicBezTo>
                <a:cubicBezTo>
                  <a:pt x="400" y="42"/>
                  <a:pt x="397" y="40"/>
                  <a:pt x="395" y="39"/>
                </a:cubicBezTo>
                <a:cubicBezTo>
                  <a:pt x="394" y="38"/>
                  <a:pt x="394" y="38"/>
                  <a:pt x="394" y="38"/>
                </a:cubicBezTo>
                <a:cubicBezTo>
                  <a:pt x="392" y="38"/>
                  <a:pt x="391" y="37"/>
                  <a:pt x="390" y="37"/>
                </a:cubicBezTo>
                <a:cubicBezTo>
                  <a:pt x="388" y="37"/>
                  <a:pt x="386" y="38"/>
                  <a:pt x="384" y="41"/>
                </a:cubicBezTo>
                <a:cubicBezTo>
                  <a:pt x="381" y="45"/>
                  <a:pt x="376" y="50"/>
                  <a:pt x="371" y="52"/>
                </a:cubicBezTo>
                <a:cubicBezTo>
                  <a:pt x="371" y="52"/>
                  <a:pt x="370" y="52"/>
                  <a:pt x="369" y="52"/>
                </a:cubicBezTo>
                <a:cubicBezTo>
                  <a:pt x="368" y="51"/>
                  <a:pt x="368" y="51"/>
                  <a:pt x="368" y="51"/>
                </a:cubicBezTo>
                <a:cubicBezTo>
                  <a:pt x="366" y="50"/>
                  <a:pt x="364" y="49"/>
                  <a:pt x="362" y="48"/>
                </a:cubicBezTo>
                <a:cubicBezTo>
                  <a:pt x="362" y="48"/>
                  <a:pt x="362" y="48"/>
                  <a:pt x="361" y="47"/>
                </a:cubicBezTo>
                <a:cubicBezTo>
                  <a:pt x="360" y="43"/>
                  <a:pt x="361" y="35"/>
                  <a:pt x="362" y="30"/>
                </a:cubicBezTo>
                <a:cubicBezTo>
                  <a:pt x="363" y="23"/>
                  <a:pt x="361" y="22"/>
                  <a:pt x="358" y="21"/>
                </a:cubicBezTo>
                <a:cubicBezTo>
                  <a:pt x="357" y="21"/>
                  <a:pt x="357" y="21"/>
                  <a:pt x="357" y="21"/>
                </a:cubicBezTo>
                <a:cubicBezTo>
                  <a:pt x="356" y="20"/>
                  <a:pt x="354" y="20"/>
                  <a:pt x="353" y="20"/>
                </a:cubicBezTo>
                <a:cubicBezTo>
                  <a:pt x="353" y="20"/>
                  <a:pt x="351" y="20"/>
                  <a:pt x="348" y="24"/>
                </a:cubicBezTo>
                <a:cubicBezTo>
                  <a:pt x="345" y="29"/>
                  <a:pt x="341" y="35"/>
                  <a:pt x="337" y="38"/>
                </a:cubicBezTo>
                <a:cubicBezTo>
                  <a:pt x="336" y="38"/>
                  <a:pt x="336" y="38"/>
                  <a:pt x="335" y="38"/>
                </a:cubicBezTo>
                <a:cubicBezTo>
                  <a:pt x="333" y="37"/>
                  <a:pt x="330" y="36"/>
                  <a:pt x="328" y="36"/>
                </a:cubicBezTo>
                <a:cubicBezTo>
                  <a:pt x="327" y="35"/>
                  <a:pt x="327" y="35"/>
                  <a:pt x="326" y="34"/>
                </a:cubicBezTo>
                <a:cubicBezTo>
                  <a:pt x="324" y="30"/>
                  <a:pt x="324" y="23"/>
                  <a:pt x="324" y="17"/>
                </a:cubicBezTo>
                <a:cubicBezTo>
                  <a:pt x="325" y="11"/>
                  <a:pt x="322" y="10"/>
                  <a:pt x="319" y="9"/>
                </a:cubicBezTo>
                <a:cubicBezTo>
                  <a:pt x="318" y="9"/>
                  <a:pt x="318" y="9"/>
                  <a:pt x="318" y="9"/>
                </a:cubicBezTo>
                <a:cubicBezTo>
                  <a:pt x="317" y="9"/>
                  <a:pt x="316" y="9"/>
                  <a:pt x="315" y="9"/>
                </a:cubicBezTo>
                <a:cubicBezTo>
                  <a:pt x="314" y="9"/>
                  <a:pt x="312" y="9"/>
                  <a:pt x="310" y="14"/>
                </a:cubicBezTo>
                <a:cubicBezTo>
                  <a:pt x="308" y="19"/>
                  <a:pt x="304" y="26"/>
                  <a:pt x="301" y="29"/>
                </a:cubicBezTo>
                <a:cubicBezTo>
                  <a:pt x="300" y="29"/>
                  <a:pt x="299" y="30"/>
                  <a:pt x="299" y="29"/>
                </a:cubicBezTo>
                <a:cubicBezTo>
                  <a:pt x="297" y="29"/>
                  <a:pt x="294" y="29"/>
                  <a:pt x="291" y="28"/>
                </a:cubicBezTo>
                <a:cubicBezTo>
                  <a:pt x="291" y="28"/>
                  <a:pt x="290" y="28"/>
                  <a:pt x="290" y="28"/>
                </a:cubicBezTo>
                <a:cubicBezTo>
                  <a:pt x="287" y="24"/>
                  <a:pt x="285" y="17"/>
                  <a:pt x="285" y="11"/>
                </a:cubicBezTo>
                <a:cubicBezTo>
                  <a:pt x="284" y="4"/>
                  <a:pt x="282" y="4"/>
                  <a:pt x="278" y="4"/>
                </a:cubicBezTo>
                <a:cubicBezTo>
                  <a:pt x="277" y="4"/>
                  <a:pt x="277" y="4"/>
                  <a:pt x="277" y="4"/>
                </a:cubicBezTo>
                <a:cubicBezTo>
                  <a:pt x="277" y="4"/>
                  <a:pt x="276" y="4"/>
                  <a:pt x="276" y="4"/>
                </a:cubicBezTo>
                <a:cubicBezTo>
                  <a:pt x="274" y="4"/>
                  <a:pt x="271" y="4"/>
                  <a:pt x="270" y="10"/>
                </a:cubicBezTo>
                <a:cubicBezTo>
                  <a:pt x="269" y="16"/>
                  <a:pt x="267" y="23"/>
                  <a:pt x="263" y="26"/>
                </a:cubicBezTo>
                <a:cubicBezTo>
                  <a:pt x="263" y="27"/>
                  <a:pt x="262" y="27"/>
                  <a:pt x="262" y="27"/>
                </a:cubicBezTo>
                <a:cubicBezTo>
                  <a:pt x="259" y="27"/>
                  <a:pt x="257" y="27"/>
                  <a:pt x="254" y="27"/>
                </a:cubicBezTo>
                <a:cubicBezTo>
                  <a:pt x="254" y="27"/>
                  <a:pt x="253" y="27"/>
                  <a:pt x="253" y="27"/>
                </a:cubicBezTo>
                <a:cubicBezTo>
                  <a:pt x="249" y="23"/>
                  <a:pt x="247" y="16"/>
                  <a:pt x="245" y="11"/>
                </a:cubicBezTo>
                <a:cubicBezTo>
                  <a:pt x="244" y="5"/>
                  <a:pt x="241" y="5"/>
                  <a:pt x="240" y="5"/>
                </a:cubicBezTo>
                <a:cubicBezTo>
                  <a:pt x="239" y="5"/>
                  <a:pt x="238" y="5"/>
                  <a:pt x="238" y="5"/>
                </a:cubicBezTo>
                <a:cubicBezTo>
                  <a:pt x="237" y="5"/>
                  <a:pt x="237" y="5"/>
                  <a:pt x="237" y="5"/>
                </a:cubicBezTo>
                <a:cubicBezTo>
                  <a:pt x="233" y="5"/>
                  <a:pt x="231" y="6"/>
                  <a:pt x="230" y="12"/>
                </a:cubicBezTo>
                <a:cubicBezTo>
                  <a:pt x="230" y="18"/>
                  <a:pt x="229" y="25"/>
                  <a:pt x="226" y="29"/>
                </a:cubicBezTo>
                <a:cubicBezTo>
                  <a:pt x="226" y="30"/>
                  <a:pt x="225" y="30"/>
                  <a:pt x="225" y="30"/>
                </a:cubicBezTo>
                <a:cubicBezTo>
                  <a:pt x="224" y="30"/>
                  <a:pt x="224" y="30"/>
                  <a:pt x="224" y="30"/>
                </a:cubicBezTo>
                <a:cubicBezTo>
                  <a:pt x="222" y="31"/>
                  <a:pt x="219" y="31"/>
                  <a:pt x="217" y="32"/>
                </a:cubicBezTo>
                <a:cubicBezTo>
                  <a:pt x="217" y="32"/>
                  <a:pt x="216" y="32"/>
                  <a:pt x="216" y="31"/>
                </a:cubicBezTo>
                <a:cubicBezTo>
                  <a:pt x="212" y="28"/>
                  <a:pt x="208" y="22"/>
                  <a:pt x="206" y="17"/>
                </a:cubicBezTo>
                <a:cubicBezTo>
                  <a:pt x="204" y="12"/>
                  <a:pt x="201" y="12"/>
                  <a:pt x="201" y="12"/>
                </a:cubicBezTo>
                <a:cubicBezTo>
                  <a:pt x="200" y="12"/>
                  <a:pt x="199" y="12"/>
                  <a:pt x="198" y="12"/>
                </a:cubicBezTo>
                <a:cubicBezTo>
                  <a:pt x="196" y="13"/>
                  <a:pt x="196" y="13"/>
                  <a:pt x="196" y="13"/>
                </a:cubicBezTo>
                <a:cubicBezTo>
                  <a:pt x="193" y="13"/>
                  <a:pt x="191" y="14"/>
                  <a:pt x="192" y="21"/>
                </a:cubicBezTo>
                <a:cubicBezTo>
                  <a:pt x="192" y="26"/>
                  <a:pt x="192" y="34"/>
                  <a:pt x="190" y="38"/>
                </a:cubicBezTo>
                <a:cubicBezTo>
                  <a:pt x="190" y="39"/>
                  <a:pt x="189" y="39"/>
                  <a:pt x="189" y="39"/>
                </a:cubicBezTo>
                <a:cubicBezTo>
                  <a:pt x="186" y="40"/>
                  <a:pt x="184" y="41"/>
                  <a:pt x="182" y="42"/>
                </a:cubicBezTo>
                <a:cubicBezTo>
                  <a:pt x="181" y="42"/>
                  <a:pt x="180" y="42"/>
                  <a:pt x="180" y="42"/>
                </a:cubicBezTo>
                <a:cubicBezTo>
                  <a:pt x="176" y="39"/>
                  <a:pt x="171" y="34"/>
                  <a:pt x="168" y="29"/>
                </a:cubicBezTo>
                <a:cubicBezTo>
                  <a:pt x="165" y="25"/>
                  <a:pt x="163" y="25"/>
                  <a:pt x="163" y="25"/>
                </a:cubicBezTo>
                <a:cubicBezTo>
                  <a:pt x="161" y="25"/>
                  <a:pt x="160" y="25"/>
                  <a:pt x="159" y="26"/>
                </a:cubicBezTo>
                <a:cubicBezTo>
                  <a:pt x="158" y="26"/>
                  <a:pt x="158" y="26"/>
                  <a:pt x="158" y="26"/>
                </a:cubicBezTo>
                <a:cubicBezTo>
                  <a:pt x="155" y="28"/>
                  <a:pt x="153" y="29"/>
                  <a:pt x="155" y="35"/>
                </a:cubicBezTo>
                <a:cubicBezTo>
                  <a:pt x="156" y="40"/>
                  <a:pt x="157" y="48"/>
                  <a:pt x="156" y="52"/>
                </a:cubicBezTo>
                <a:cubicBezTo>
                  <a:pt x="156" y="53"/>
                  <a:pt x="155" y="53"/>
                  <a:pt x="155" y="54"/>
                </a:cubicBezTo>
                <a:cubicBezTo>
                  <a:pt x="152" y="55"/>
                  <a:pt x="150" y="56"/>
                  <a:pt x="148" y="57"/>
                </a:cubicBezTo>
                <a:cubicBezTo>
                  <a:pt x="147" y="58"/>
                  <a:pt x="147" y="58"/>
                  <a:pt x="146" y="57"/>
                </a:cubicBezTo>
                <a:cubicBezTo>
                  <a:pt x="142" y="56"/>
                  <a:pt x="136" y="51"/>
                  <a:pt x="133" y="47"/>
                </a:cubicBezTo>
                <a:cubicBezTo>
                  <a:pt x="131" y="45"/>
                  <a:pt x="129" y="43"/>
                  <a:pt x="127" y="43"/>
                </a:cubicBezTo>
                <a:cubicBezTo>
                  <a:pt x="126" y="43"/>
                  <a:pt x="124" y="44"/>
                  <a:pt x="123" y="45"/>
                </a:cubicBezTo>
                <a:cubicBezTo>
                  <a:pt x="122" y="46"/>
                  <a:pt x="122" y="46"/>
                  <a:pt x="122" y="46"/>
                </a:cubicBezTo>
                <a:cubicBezTo>
                  <a:pt x="119" y="47"/>
                  <a:pt x="117" y="49"/>
                  <a:pt x="120" y="55"/>
                </a:cubicBezTo>
                <a:cubicBezTo>
                  <a:pt x="122" y="60"/>
                  <a:pt x="125" y="67"/>
                  <a:pt x="124" y="72"/>
                </a:cubicBezTo>
                <a:cubicBezTo>
                  <a:pt x="124" y="72"/>
                  <a:pt x="124" y="73"/>
                  <a:pt x="123" y="73"/>
                </a:cubicBezTo>
                <a:cubicBezTo>
                  <a:pt x="122" y="74"/>
                  <a:pt x="120" y="76"/>
                  <a:pt x="118" y="77"/>
                </a:cubicBezTo>
                <a:cubicBezTo>
                  <a:pt x="117" y="78"/>
                  <a:pt x="117" y="78"/>
                  <a:pt x="117" y="78"/>
                </a:cubicBezTo>
                <a:cubicBezTo>
                  <a:pt x="117" y="78"/>
                  <a:pt x="116" y="79"/>
                  <a:pt x="116" y="78"/>
                </a:cubicBezTo>
                <a:cubicBezTo>
                  <a:pt x="111" y="78"/>
                  <a:pt x="105" y="74"/>
                  <a:pt x="100" y="70"/>
                </a:cubicBezTo>
                <a:cubicBezTo>
                  <a:pt x="98" y="68"/>
                  <a:pt x="96" y="67"/>
                  <a:pt x="95" y="67"/>
                </a:cubicBezTo>
                <a:cubicBezTo>
                  <a:pt x="93" y="67"/>
                  <a:pt x="92" y="69"/>
                  <a:pt x="91" y="70"/>
                </a:cubicBezTo>
                <a:cubicBezTo>
                  <a:pt x="90" y="71"/>
                  <a:pt x="90" y="71"/>
                  <a:pt x="90" y="71"/>
                </a:cubicBezTo>
                <a:cubicBezTo>
                  <a:pt x="87" y="73"/>
                  <a:pt x="85" y="74"/>
                  <a:pt x="89" y="80"/>
                </a:cubicBezTo>
                <a:cubicBezTo>
                  <a:pt x="92" y="85"/>
                  <a:pt x="96" y="91"/>
                  <a:pt x="96" y="96"/>
                </a:cubicBezTo>
                <a:cubicBezTo>
                  <a:pt x="96" y="97"/>
                  <a:pt x="96" y="97"/>
                  <a:pt x="95" y="98"/>
                </a:cubicBezTo>
                <a:cubicBezTo>
                  <a:pt x="94" y="99"/>
                  <a:pt x="92" y="101"/>
                  <a:pt x="90" y="103"/>
                </a:cubicBezTo>
                <a:cubicBezTo>
                  <a:pt x="90" y="104"/>
                  <a:pt x="89" y="104"/>
                  <a:pt x="88" y="104"/>
                </a:cubicBezTo>
                <a:cubicBezTo>
                  <a:pt x="84" y="104"/>
                  <a:pt x="77" y="101"/>
                  <a:pt x="72" y="98"/>
                </a:cubicBezTo>
                <a:cubicBezTo>
                  <a:pt x="70" y="97"/>
                  <a:pt x="68" y="96"/>
                  <a:pt x="67" y="96"/>
                </a:cubicBezTo>
                <a:cubicBezTo>
                  <a:pt x="65" y="96"/>
                  <a:pt x="64" y="97"/>
                  <a:pt x="63" y="99"/>
                </a:cubicBezTo>
                <a:cubicBezTo>
                  <a:pt x="62" y="100"/>
                  <a:pt x="62" y="100"/>
                  <a:pt x="62" y="100"/>
                </a:cubicBezTo>
                <a:cubicBezTo>
                  <a:pt x="60" y="103"/>
                  <a:pt x="58" y="105"/>
                  <a:pt x="63" y="110"/>
                </a:cubicBezTo>
                <a:cubicBezTo>
                  <a:pt x="67" y="114"/>
                  <a:pt x="71" y="120"/>
                  <a:pt x="72" y="124"/>
                </a:cubicBezTo>
                <a:cubicBezTo>
                  <a:pt x="72" y="125"/>
                  <a:pt x="72" y="126"/>
                  <a:pt x="71" y="126"/>
                </a:cubicBezTo>
                <a:cubicBezTo>
                  <a:pt x="70" y="128"/>
                  <a:pt x="68" y="130"/>
                  <a:pt x="67" y="132"/>
                </a:cubicBezTo>
                <a:cubicBezTo>
                  <a:pt x="67" y="133"/>
                  <a:pt x="66" y="133"/>
                  <a:pt x="66" y="133"/>
                </a:cubicBezTo>
                <a:cubicBezTo>
                  <a:pt x="62" y="134"/>
                  <a:pt x="55" y="133"/>
                  <a:pt x="49" y="130"/>
                </a:cubicBezTo>
                <a:cubicBezTo>
                  <a:pt x="47" y="130"/>
                  <a:pt x="45" y="129"/>
                  <a:pt x="44" y="129"/>
                </a:cubicBezTo>
                <a:cubicBezTo>
                  <a:pt x="42" y="129"/>
                  <a:pt x="41" y="131"/>
                  <a:pt x="39" y="133"/>
                </a:cubicBezTo>
                <a:cubicBezTo>
                  <a:pt x="39" y="134"/>
                  <a:pt x="39" y="134"/>
                  <a:pt x="39" y="134"/>
                </a:cubicBezTo>
                <a:cubicBezTo>
                  <a:pt x="37" y="137"/>
                  <a:pt x="36" y="139"/>
                  <a:pt x="41" y="143"/>
                </a:cubicBezTo>
                <a:cubicBezTo>
                  <a:pt x="46" y="147"/>
                  <a:pt x="51" y="152"/>
                  <a:pt x="52" y="156"/>
                </a:cubicBezTo>
                <a:cubicBezTo>
                  <a:pt x="53" y="157"/>
                  <a:pt x="53" y="157"/>
                  <a:pt x="52" y="158"/>
                </a:cubicBezTo>
                <a:cubicBezTo>
                  <a:pt x="52" y="158"/>
                  <a:pt x="52" y="158"/>
                  <a:pt x="52" y="158"/>
                </a:cubicBezTo>
                <a:cubicBezTo>
                  <a:pt x="51" y="161"/>
                  <a:pt x="50" y="163"/>
                  <a:pt x="49" y="165"/>
                </a:cubicBezTo>
                <a:cubicBezTo>
                  <a:pt x="49" y="165"/>
                  <a:pt x="48" y="166"/>
                  <a:pt x="48" y="166"/>
                </a:cubicBezTo>
                <a:cubicBezTo>
                  <a:pt x="44" y="167"/>
                  <a:pt x="37" y="167"/>
                  <a:pt x="30" y="166"/>
                </a:cubicBezTo>
                <a:cubicBezTo>
                  <a:pt x="29" y="165"/>
                  <a:pt x="28" y="165"/>
                  <a:pt x="27" y="165"/>
                </a:cubicBezTo>
                <a:cubicBezTo>
                  <a:pt x="24" y="165"/>
                  <a:pt x="23" y="167"/>
                  <a:pt x="22" y="170"/>
                </a:cubicBezTo>
                <a:cubicBezTo>
                  <a:pt x="21" y="171"/>
                  <a:pt x="21" y="171"/>
                  <a:pt x="21" y="171"/>
                </a:cubicBezTo>
                <a:cubicBezTo>
                  <a:pt x="20" y="174"/>
                  <a:pt x="19" y="176"/>
                  <a:pt x="25" y="179"/>
                </a:cubicBezTo>
                <a:cubicBezTo>
                  <a:pt x="30" y="182"/>
                  <a:pt x="36" y="187"/>
                  <a:pt x="38" y="191"/>
                </a:cubicBezTo>
                <a:cubicBezTo>
                  <a:pt x="39" y="191"/>
                  <a:pt x="39" y="192"/>
                  <a:pt x="38" y="192"/>
                </a:cubicBezTo>
                <a:cubicBezTo>
                  <a:pt x="38" y="195"/>
                  <a:pt x="37" y="197"/>
                  <a:pt x="36" y="200"/>
                </a:cubicBezTo>
                <a:cubicBezTo>
                  <a:pt x="36" y="200"/>
                  <a:pt x="36" y="201"/>
                  <a:pt x="35" y="201"/>
                </a:cubicBezTo>
                <a:cubicBezTo>
                  <a:pt x="31" y="203"/>
                  <a:pt x="24" y="203"/>
                  <a:pt x="21" y="203"/>
                </a:cubicBezTo>
                <a:cubicBezTo>
                  <a:pt x="20" y="203"/>
                  <a:pt x="19" y="203"/>
                  <a:pt x="18" y="203"/>
                </a:cubicBezTo>
                <a:cubicBezTo>
                  <a:pt x="17" y="203"/>
                  <a:pt x="17" y="203"/>
                  <a:pt x="16" y="203"/>
                </a:cubicBezTo>
                <a:cubicBezTo>
                  <a:pt x="11" y="203"/>
                  <a:pt x="11" y="206"/>
                  <a:pt x="10" y="209"/>
                </a:cubicBezTo>
                <a:cubicBezTo>
                  <a:pt x="10" y="210"/>
                  <a:pt x="10" y="210"/>
                  <a:pt x="10" y="210"/>
                </a:cubicBezTo>
                <a:cubicBezTo>
                  <a:pt x="9" y="213"/>
                  <a:pt x="9" y="215"/>
                  <a:pt x="15" y="218"/>
                </a:cubicBezTo>
                <a:cubicBezTo>
                  <a:pt x="20" y="220"/>
                  <a:pt x="27" y="223"/>
                  <a:pt x="30" y="227"/>
                </a:cubicBezTo>
                <a:cubicBezTo>
                  <a:pt x="30" y="227"/>
                  <a:pt x="30" y="228"/>
                  <a:pt x="30" y="228"/>
                </a:cubicBezTo>
                <a:cubicBezTo>
                  <a:pt x="30" y="231"/>
                  <a:pt x="29" y="233"/>
                  <a:pt x="29" y="236"/>
                </a:cubicBezTo>
                <a:cubicBezTo>
                  <a:pt x="29" y="237"/>
                  <a:pt x="29" y="237"/>
                  <a:pt x="28" y="238"/>
                </a:cubicBezTo>
                <a:cubicBezTo>
                  <a:pt x="24" y="240"/>
                  <a:pt x="17" y="242"/>
                  <a:pt x="12" y="243"/>
                </a:cubicBezTo>
                <a:cubicBezTo>
                  <a:pt x="5" y="243"/>
                  <a:pt x="5" y="246"/>
                  <a:pt x="5" y="249"/>
                </a:cubicBezTo>
                <a:cubicBezTo>
                  <a:pt x="5" y="250"/>
                  <a:pt x="5" y="250"/>
                  <a:pt x="5" y="250"/>
                </a:cubicBezTo>
                <a:cubicBezTo>
                  <a:pt x="4" y="253"/>
                  <a:pt x="4" y="256"/>
                  <a:pt x="11" y="257"/>
                </a:cubicBezTo>
                <a:cubicBezTo>
                  <a:pt x="16" y="258"/>
                  <a:pt x="23" y="261"/>
                  <a:pt x="27" y="264"/>
                </a:cubicBezTo>
                <a:cubicBezTo>
                  <a:pt x="27" y="264"/>
                  <a:pt x="28" y="265"/>
                  <a:pt x="28" y="266"/>
                </a:cubicBezTo>
                <a:cubicBezTo>
                  <a:pt x="28" y="268"/>
                  <a:pt x="28" y="270"/>
                  <a:pt x="28" y="273"/>
                </a:cubicBezTo>
                <a:cubicBezTo>
                  <a:pt x="28" y="273"/>
                  <a:pt x="28" y="273"/>
                  <a:pt x="28" y="273"/>
                </a:cubicBezTo>
                <a:cubicBezTo>
                  <a:pt x="28" y="274"/>
                  <a:pt x="28" y="274"/>
                  <a:pt x="27" y="275"/>
                </a:cubicBezTo>
                <a:cubicBezTo>
                  <a:pt x="24" y="278"/>
                  <a:pt x="17" y="281"/>
                  <a:pt x="12" y="282"/>
                </a:cubicBezTo>
                <a:cubicBezTo>
                  <a:pt x="5" y="284"/>
                  <a:pt x="5" y="286"/>
                  <a:pt x="6" y="290"/>
                </a:cubicBezTo>
                <a:cubicBezTo>
                  <a:pt x="6" y="291"/>
                  <a:pt x="6" y="291"/>
                  <a:pt x="6" y="291"/>
                </a:cubicBezTo>
                <a:cubicBezTo>
                  <a:pt x="6" y="294"/>
                  <a:pt x="6" y="297"/>
                  <a:pt x="13" y="297"/>
                </a:cubicBezTo>
                <a:cubicBezTo>
                  <a:pt x="19" y="297"/>
                  <a:pt x="26" y="299"/>
                  <a:pt x="30" y="301"/>
                </a:cubicBezTo>
                <a:cubicBezTo>
                  <a:pt x="30" y="301"/>
                  <a:pt x="31" y="302"/>
                  <a:pt x="31" y="302"/>
                </a:cubicBezTo>
                <a:cubicBezTo>
                  <a:pt x="31" y="303"/>
                  <a:pt x="31" y="303"/>
                  <a:pt x="31" y="303"/>
                </a:cubicBezTo>
                <a:cubicBezTo>
                  <a:pt x="31" y="306"/>
                  <a:pt x="32" y="308"/>
                  <a:pt x="32" y="310"/>
                </a:cubicBezTo>
                <a:cubicBezTo>
                  <a:pt x="32" y="311"/>
                  <a:pt x="32" y="311"/>
                  <a:pt x="32" y="312"/>
                </a:cubicBezTo>
                <a:cubicBezTo>
                  <a:pt x="29" y="315"/>
                  <a:pt x="23" y="319"/>
                  <a:pt x="18" y="322"/>
                </a:cubicBezTo>
                <a:cubicBezTo>
                  <a:pt x="11" y="324"/>
                  <a:pt x="12" y="327"/>
                  <a:pt x="13" y="330"/>
                </a:cubicBezTo>
                <a:cubicBezTo>
                  <a:pt x="13" y="331"/>
                  <a:pt x="13" y="331"/>
                  <a:pt x="13" y="331"/>
                </a:cubicBezTo>
                <a:cubicBezTo>
                  <a:pt x="14" y="334"/>
                  <a:pt x="14" y="336"/>
                  <a:pt x="19" y="336"/>
                </a:cubicBezTo>
                <a:cubicBezTo>
                  <a:pt x="20" y="336"/>
                  <a:pt x="21" y="336"/>
                  <a:pt x="21" y="336"/>
                </a:cubicBezTo>
                <a:cubicBezTo>
                  <a:pt x="23" y="336"/>
                  <a:pt x="25" y="335"/>
                  <a:pt x="27" y="335"/>
                </a:cubicBezTo>
                <a:cubicBezTo>
                  <a:pt x="31" y="335"/>
                  <a:pt x="35" y="336"/>
                  <a:pt x="39" y="337"/>
                </a:cubicBezTo>
                <a:cubicBezTo>
                  <a:pt x="39" y="337"/>
                  <a:pt x="40" y="338"/>
                  <a:pt x="40" y="338"/>
                </a:cubicBezTo>
                <a:cubicBezTo>
                  <a:pt x="41" y="341"/>
                  <a:pt x="42" y="343"/>
                  <a:pt x="42" y="346"/>
                </a:cubicBezTo>
                <a:cubicBezTo>
                  <a:pt x="43" y="346"/>
                  <a:pt x="43" y="347"/>
                  <a:pt x="42" y="347"/>
                </a:cubicBezTo>
                <a:cubicBezTo>
                  <a:pt x="40" y="352"/>
                  <a:pt x="34" y="356"/>
                  <a:pt x="30" y="359"/>
                </a:cubicBezTo>
                <a:cubicBezTo>
                  <a:pt x="24" y="363"/>
                  <a:pt x="25" y="365"/>
                  <a:pt x="26" y="368"/>
                </a:cubicBezTo>
                <a:cubicBezTo>
                  <a:pt x="27" y="369"/>
                  <a:pt x="27" y="369"/>
                  <a:pt x="27" y="369"/>
                </a:cubicBezTo>
                <a:cubicBezTo>
                  <a:pt x="28" y="372"/>
                  <a:pt x="29" y="374"/>
                  <a:pt x="32" y="374"/>
                </a:cubicBezTo>
                <a:cubicBezTo>
                  <a:pt x="33" y="374"/>
                  <a:pt x="34" y="373"/>
                  <a:pt x="36" y="373"/>
                </a:cubicBezTo>
                <a:cubicBezTo>
                  <a:pt x="42" y="371"/>
                  <a:pt x="49" y="371"/>
                  <a:pt x="53" y="372"/>
                </a:cubicBezTo>
                <a:cubicBezTo>
                  <a:pt x="53" y="372"/>
                  <a:pt x="54" y="372"/>
                  <a:pt x="54" y="373"/>
                </a:cubicBezTo>
                <a:cubicBezTo>
                  <a:pt x="55" y="375"/>
                  <a:pt x="57" y="377"/>
                  <a:pt x="58" y="379"/>
                </a:cubicBezTo>
                <a:cubicBezTo>
                  <a:pt x="58" y="380"/>
                  <a:pt x="58" y="381"/>
                  <a:pt x="58" y="381"/>
                </a:cubicBezTo>
                <a:cubicBezTo>
                  <a:pt x="57" y="386"/>
                  <a:pt x="52" y="391"/>
                  <a:pt x="48" y="395"/>
                </a:cubicBezTo>
                <a:cubicBezTo>
                  <a:pt x="42" y="399"/>
                  <a:pt x="44" y="401"/>
                  <a:pt x="46" y="404"/>
                </a:cubicBezTo>
                <a:cubicBezTo>
                  <a:pt x="46" y="405"/>
                  <a:pt x="46" y="405"/>
                  <a:pt x="46" y="405"/>
                </a:cubicBezTo>
                <a:cubicBezTo>
                  <a:pt x="48" y="407"/>
                  <a:pt x="49" y="409"/>
                  <a:pt x="51" y="409"/>
                </a:cubicBezTo>
                <a:cubicBezTo>
                  <a:pt x="52" y="409"/>
                  <a:pt x="54" y="408"/>
                  <a:pt x="56" y="407"/>
                </a:cubicBezTo>
                <a:cubicBezTo>
                  <a:pt x="62" y="404"/>
                  <a:pt x="68" y="403"/>
                  <a:pt x="72" y="403"/>
                </a:cubicBezTo>
                <a:cubicBezTo>
                  <a:pt x="73" y="403"/>
                  <a:pt x="74" y="404"/>
                  <a:pt x="74" y="404"/>
                </a:cubicBezTo>
                <a:cubicBezTo>
                  <a:pt x="75" y="406"/>
                  <a:pt x="76" y="407"/>
                  <a:pt x="78" y="409"/>
                </a:cubicBezTo>
                <a:cubicBezTo>
                  <a:pt x="79" y="410"/>
                  <a:pt x="79" y="410"/>
                  <a:pt x="79" y="410"/>
                </a:cubicBezTo>
                <a:cubicBezTo>
                  <a:pt x="79" y="411"/>
                  <a:pt x="79" y="411"/>
                  <a:pt x="79" y="412"/>
                </a:cubicBezTo>
                <a:cubicBezTo>
                  <a:pt x="78" y="416"/>
                  <a:pt x="74" y="423"/>
                  <a:pt x="71" y="427"/>
                </a:cubicBezTo>
                <a:cubicBezTo>
                  <a:pt x="66" y="432"/>
                  <a:pt x="68" y="434"/>
                  <a:pt x="70" y="437"/>
                </a:cubicBezTo>
                <a:cubicBezTo>
                  <a:pt x="71" y="437"/>
                  <a:pt x="71" y="437"/>
                  <a:pt x="71" y="437"/>
                </a:cubicBezTo>
                <a:cubicBezTo>
                  <a:pt x="73" y="439"/>
                  <a:pt x="74" y="440"/>
                  <a:pt x="75" y="440"/>
                </a:cubicBezTo>
                <a:cubicBezTo>
                  <a:pt x="77" y="440"/>
                  <a:pt x="79" y="439"/>
                  <a:pt x="81" y="438"/>
                </a:cubicBezTo>
                <a:cubicBezTo>
                  <a:pt x="85" y="435"/>
                  <a:pt x="92" y="432"/>
                  <a:pt x="97" y="431"/>
                </a:cubicBezTo>
                <a:cubicBezTo>
                  <a:pt x="97" y="431"/>
                  <a:pt x="98" y="432"/>
                  <a:pt x="98" y="432"/>
                </a:cubicBezTo>
                <a:cubicBezTo>
                  <a:pt x="100" y="434"/>
                  <a:pt x="102" y="436"/>
                  <a:pt x="104" y="437"/>
                </a:cubicBezTo>
                <a:cubicBezTo>
                  <a:pt x="104" y="438"/>
                  <a:pt x="105" y="438"/>
                  <a:pt x="105" y="439"/>
                </a:cubicBezTo>
                <a:cubicBezTo>
                  <a:pt x="105" y="444"/>
                  <a:pt x="102" y="450"/>
                  <a:pt x="99" y="455"/>
                </a:cubicBezTo>
                <a:cubicBezTo>
                  <a:pt x="95" y="461"/>
                  <a:pt x="97" y="463"/>
                  <a:pt x="100" y="465"/>
                </a:cubicBezTo>
                <a:cubicBezTo>
                  <a:pt x="101" y="465"/>
                  <a:pt x="101" y="465"/>
                  <a:pt x="101" y="465"/>
                </a:cubicBezTo>
                <a:cubicBezTo>
                  <a:pt x="102" y="466"/>
                  <a:pt x="103" y="468"/>
                  <a:pt x="105" y="468"/>
                </a:cubicBezTo>
                <a:cubicBezTo>
                  <a:pt x="106" y="468"/>
                  <a:pt x="108" y="467"/>
                  <a:pt x="110" y="465"/>
                </a:cubicBezTo>
                <a:cubicBezTo>
                  <a:pt x="114" y="461"/>
                  <a:pt x="121" y="457"/>
                  <a:pt x="125" y="456"/>
                </a:cubicBezTo>
                <a:cubicBezTo>
                  <a:pt x="126" y="455"/>
                  <a:pt x="126" y="456"/>
                  <a:pt x="127" y="456"/>
                </a:cubicBezTo>
                <a:cubicBezTo>
                  <a:pt x="129" y="457"/>
                  <a:pt x="131" y="459"/>
                  <a:pt x="133" y="460"/>
                </a:cubicBezTo>
                <a:cubicBezTo>
                  <a:pt x="134" y="461"/>
                  <a:pt x="134" y="461"/>
                  <a:pt x="134" y="462"/>
                </a:cubicBezTo>
                <a:cubicBezTo>
                  <a:pt x="135" y="466"/>
                  <a:pt x="133" y="474"/>
                  <a:pt x="131" y="479"/>
                </a:cubicBezTo>
                <a:cubicBezTo>
                  <a:pt x="128" y="485"/>
                  <a:pt x="131" y="486"/>
                  <a:pt x="133" y="488"/>
                </a:cubicBezTo>
                <a:cubicBezTo>
                  <a:pt x="134" y="488"/>
                  <a:pt x="134" y="488"/>
                  <a:pt x="134" y="488"/>
                </a:cubicBezTo>
                <a:cubicBezTo>
                  <a:pt x="136" y="489"/>
                  <a:pt x="137" y="490"/>
                  <a:pt x="138" y="490"/>
                </a:cubicBezTo>
                <a:cubicBezTo>
                  <a:pt x="140" y="490"/>
                  <a:pt x="142" y="489"/>
                  <a:pt x="144" y="486"/>
                </a:cubicBezTo>
                <a:cubicBezTo>
                  <a:pt x="147" y="482"/>
                  <a:pt x="152" y="477"/>
                  <a:pt x="157" y="475"/>
                </a:cubicBezTo>
                <a:cubicBezTo>
                  <a:pt x="157" y="475"/>
                  <a:pt x="158" y="475"/>
                  <a:pt x="159" y="475"/>
                </a:cubicBezTo>
                <a:cubicBezTo>
                  <a:pt x="159" y="475"/>
                  <a:pt x="159" y="475"/>
                  <a:pt x="159" y="475"/>
                </a:cubicBezTo>
                <a:cubicBezTo>
                  <a:pt x="161" y="476"/>
                  <a:pt x="164" y="477"/>
                  <a:pt x="166" y="478"/>
                </a:cubicBezTo>
                <a:cubicBezTo>
                  <a:pt x="166" y="479"/>
                  <a:pt x="167" y="479"/>
                  <a:pt x="167" y="480"/>
                </a:cubicBezTo>
                <a:cubicBezTo>
                  <a:pt x="168" y="484"/>
                  <a:pt x="167" y="492"/>
                  <a:pt x="166" y="497"/>
                </a:cubicBezTo>
                <a:cubicBezTo>
                  <a:pt x="165" y="504"/>
                  <a:pt x="167" y="504"/>
                  <a:pt x="170" y="506"/>
                </a:cubicBezTo>
                <a:cubicBezTo>
                  <a:pt x="171" y="506"/>
                  <a:pt x="171" y="506"/>
                  <a:pt x="171" y="506"/>
                </a:cubicBezTo>
                <a:cubicBezTo>
                  <a:pt x="172" y="506"/>
                  <a:pt x="174" y="507"/>
                  <a:pt x="175" y="507"/>
                </a:cubicBezTo>
                <a:cubicBezTo>
                  <a:pt x="175" y="507"/>
                  <a:pt x="177" y="507"/>
                  <a:pt x="180" y="502"/>
                </a:cubicBezTo>
                <a:cubicBezTo>
                  <a:pt x="183" y="497"/>
                  <a:pt x="187" y="491"/>
                  <a:pt x="191" y="489"/>
                </a:cubicBezTo>
                <a:cubicBezTo>
                  <a:pt x="192" y="489"/>
                  <a:pt x="192" y="489"/>
                  <a:pt x="193" y="489"/>
                </a:cubicBezTo>
                <a:cubicBezTo>
                  <a:pt x="195" y="490"/>
                  <a:pt x="198" y="490"/>
                  <a:pt x="200" y="491"/>
                </a:cubicBezTo>
                <a:cubicBezTo>
                  <a:pt x="201" y="491"/>
                  <a:pt x="201" y="492"/>
                  <a:pt x="202" y="492"/>
                </a:cubicBezTo>
                <a:cubicBezTo>
                  <a:pt x="204" y="496"/>
                  <a:pt x="204" y="504"/>
                  <a:pt x="204" y="509"/>
                </a:cubicBezTo>
                <a:cubicBezTo>
                  <a:pt x="203" y="516"/>
                  <a:pt x="206" y="517"/>
                  <a:pt x="209" y="517"/>
                </a:cubicBezTo>
                <a:cubicBezTo>
                  <a:pt x="210" y="517"/>
                  <a:pt x="210" y="517"/>
                  <a:pt x="210" y="517"/>
                </a:cubicBezTo>
                <a:cubicBezTo>
                  <a:pt x="211" y="518"/>
                  <a:pt x="212" y="518"/>
                  <a:pt x="213" y="518"/>
                </a:cubicBezTo>
                <a:cubicBezTo>
                  <a:pt x="214" y="518"/>
                  <a:pt x="216" y="518"/>
                  <a:pt x="218" y="512"/>
                </a:cubicBezTo>
                <a:cubicBezTo>
                  <a:pt x="220" y="507"/>
                  <a:pt x="224" y="501"/>
                  <a:pt x="227" y="498"/>
                </a:cubicBezTo>
                <a:cubicBezTo>
                  <a:pt x="228" y="497"/>
                  <a:pt x="228" y="497"/>
                  <a:pt x="229" y="497"/>
                </a:cubicBezTo>
                <a:close/>
                <a:moveTo>
                  <a:pt x="264" y="480"/>
                </a:moveTo>
                <a:cubicBezTo>
                  <a:pt x="214" y="480"/>
                  <a:pt x="166" y="463"/>
                  <a:pt x="127" y="432"/>
                </a:cubicBezTo>
                <a:cubicBezTo>
                  <a:pt x="35" y="356"/>
                  <a:pt x="20" y="220"/>
                  <a:pt x="96" y="127"/>
                </a:cubicBezTo>
                <a:cubicBezTo>
                  <a:pt x="137" y="76"/>
                  <a:pt x="198" y="47"/>
                  <a:pt x="264" y="47"/>
                </a:cubicBezTo>
                <a:cubicBezTo>
                  <a:pt x="314" y="47"/>
                  <a:pt x="362" y="64"/>
                  <a:pt x="401" y="95"/>
                </a:cubicBezTo>
                <a:cubicBezTo>
                  <a:pt x="446" y="131"/>
                  <a:pt x="474" y="183"/>
                  <a:pt x="480" y="241"/>
                </a:cubicBezTo>
                <a:cubicBezTo>
                  <a:pt x="486" y="298"/>
                  <a:pt x="469" y="355"/>
                  <a:pt x="432" y="400"/>
                </a:cubicBezTo>
                <a:cubicBezTo>
                  <a:pt x="391" y="451"/>
                  <a:pt x="330" y="480"/>
                  <a:pt x="264" y="480"/>
                </a:cubicBezTo>
                <a:close/>
                <a:moveTo>
                  <a:pt x="264" y="51"/>
                </a:moveTo>
                <a:cubicBezTo>
                  <a:pt x="200" y="51"/>
                  <a:pt x="139" y="79"/>
                  <a:pt x="99" y="129"/>
                </a:cubicBezTo>
                <a:cubicBezTo>
                  <a:pt x="25" y="220"/>
                  <a:pt x="39" y="355"/>
                  <a:pt x="130" y="429"/>
                </a:cubicBezTo>
                <a:cubicBezTo>
                  <a:pt x="168" y="459"/>
                  <a:pt x="215" y="476"/>
                  <a:pt x="264" y="476"/>
                </a:cubicBezTo>
                <a:cubicBezTo>
                  <a:pt x="328" y="476"/>
                  <a:pt x="389" y="447"/>
                  <a:pt x="429" y="397"/>
                </a:cubicBezTo>
                <a:cubicBezTo>
                  <a:pt x="465" y="353"/>
                  <a:pt x="481" y="298"/>
                  <a:pt x="476" y="241"/>
                </a:cubicBezTo>
                <a:cubicBezTo>
                  <a:pt x="470" y="185"/>
                  <a:pt x="442" y="134"/>
                  <a:pt x="398" y="98"/>
                </a:cubicBezTo>
                <a:cubicBezTo>
                  <a:pt x="360" y="68"/>
                  <a:pt x="313" y="51"/>
                  <a:pt x="264" y="5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0" name="Freeform 1367">
            <a:extLst>
              <a:ext uri="{FF2B5EF4-FFF2-40B4-BE49-F238E27FC236}">
                <a16:creationId xmlns:a16="http://schemas.microsoft.com/office/drawing/2014/main" id="{5B823E6F-4BD0-46B5-911B-5ADF5F80F687}"/>
              </a:ext>
            </a:extLst>
          </p:cNvPr>
          <p:cNvSpPr>
            <a:spLocks noEditPoints="1"/>
          </p:cNvSpPr>
          <p:nvPr/>
        </p:nvSpPr>
        <p:spPr bwMode="auto">
          <a:xfrm rot="7915163">
            <a:off x="4864335" y="191103"/>
            <a:ext cx="1820577" cy="1812895"/>
          </a:xfrm>
          <a:custGeom>
            <a:avLst/>
            <a:gdLst>
              <a:gd name="T0" fmla="*/ 240 w 633"/>
              <a:gd name="T1" fmla="*/ 610 h 632"/>
              <a:gd name="T2" fmla="*/ 176 w 633"/>
              <a:gd name="T3" fmla="*/ 586 h 632"/>
              <a:gd name="T4" fmla="*/ 114 w 633"/>
              <a:gd name="T5" fmla="*/ 543 h 632"/>
              <a:gd name="T6" fmla="*/ 69 w 633"/>
              <a:gd name="T7" fmla="*/ 493 h 632"/>
              <a:gd name="T8" fmla="*/ 33 w 633"/>
              <a:gd name="T9" fmla="*/ 427 h 632"/>
              <a:gd name="T10" fmla="*/ 32 w 633"/>
              <a:gd name="T11" fmla="*/ 365 h 632"/>
              <a:gd name="T12" fmla="*/ 30 w 633"/>
              <a:gd name="T13" fmla="*/ 281 h 632"/>
              <a:gd name="T14" fmla="*/ 21 w 633"/>
              <a:gd name="T15" fmla="*/ 203 h 632"/>
              <a:gd name="T16" fmla="*/ 77 w 633"/>
              <a:gd name="T17" fmla="*/ 155 h 632"/>
              <a:gd name="T18" fmla="*/ 105 w 633"/>
              <a:gd name="T19" fmla="*/ 80 h 632"/>
              <a:gd name="T20" fmla="*/ 176 w 633"/>
              <a:gd name="T21" fmla="*/ 64 h 632"/>
              <a:gd name="T22" fmla="*/ 235 w 633"/>
              <a:gd name="T23" fmla="*/ 10 h 632"/>
              <a:gd name="T24" fmla="*/ 306 w 633"/>
              <a:gd name="T25" fmla="*/ 27 h 632"/>
              <a:gd name="T26" fmla="*/ 382 w 633"/>
              <a:gd name="T27" fmla="*/ 6 h 632"/>
              <a:gd name="T28" fmla="*/ 444 w 633"/>
              <a:gd name="T29" fmla="*/ 57 h 632"/>
              <a:gd name="T30" fmla="*/ 515 w 633"/>
              <a:gd name="T31" fmla="*/ 70 h 632"/>
              <a:gd name="T32" fmla="*/ 543 w 633"/>
              <a:gd name="T33" fmla="*/ 138 h 632"/>
              <a:gd name="T34" fmla="*/ 605 w 633"/>
              <a:gd name="T35" fmla="*/ 187 h 632"/>
              <a:gd name="T36" fmla="*/ 601 w 633"/>
              <a:gd name="T37" fmla="*/ 267 h 632"/>
              <a:gd name="T38" fmla="*/ 619 w 633"/>
              <a:gd name="T39" fmla="*/ 346 h 632"/>
              <a:gd name="T40" fmla="*/ 605 w 633"/>
              <a:gd name="T41" fmla="*/ 412 h 632"/>
              <a:gd name="T42" fmla="*/ 573 w 633"/>
              <a:gd name="T43" fmla="*/ 480 h 632"/>
              <a:gd name="T44" fmla="*/ 529 w 633"/>
              <a:gd name="T45" fmla="*/ 551 h 632"/>
              <a:gd name="T46" fmla="*/ 457 w 633"/>
              <a:gd name="T47" fmla="*/ 568 h 632"/>
              <a:gd name="T48" fmla="*/ 398 w 633"/>
              <a:gd name="T49" fmla="*/ 622 h 632"/>
              <a:gd name="T50" fmla="*/ 327 w 633"/>
              <a:gd name="T51" fmla="*/ 604 h 632"/>
              <a:gd name="T52" fmla="*/ 303 w 633"/>
              <a:gd name="T53" fmla="*/ 627 h 632"/>
              <a:gd name="T54" fmla="*/ 357 w 633"/>
              <a:gd name="T55" fmla="*/ 617 h 632"/>
              <a:gd name="T56" fmla="*/ 405 w 633"/>
              <a:gd name="T57" fmla="*/ 586 h 632"/>
              <a:gd name="T58" fmla="*/ 456 w 633"/>
              <a:gd name="T59" fmla="*/ 563 h 632"/>
              <a:gd name="T60" fmla="*/ 513 w 633"/>
              <a:gd name="T61" fmla="*/ 547 h 632"/>
              <a:gd name="T62" fmla="*/ 558 w 633"/>
              <a:gd name="T63" fmla="*/ 512 h 632"/>
              <a:gd name="T64" fmla="*/ 584 w 633"/>
              <a:gd name="T65" fmla="*/ 460 h 632"/>
              <a:gd name="T66" fmla="*/ 587 w 633"/>
              <a:gd name="T67" fmla="*/ 403 h 632"/>
              <a:gd name="T68" fmla="*/ 597 w 633"/>
              <a:gd name="T69" fmla="*/ 358 h 632"/>
              <a:gd name="T70" fmla="*/ 600 w 633"/>
              <a:gd name="T71" fmla="*/ 302 h 632"/>
              <a:gd name="T72" fmla="*/ 618 w 633"/>
              <a:gd name="T73" fmla="*/ 236 h 632"/>
              <a:gd name="T74" fmla="*/ 601 w 633"/>
              <a:gd name="T75" fmla="*/ 189 h 632"/>
              <a:gd name="T76" fmla="*/ 572 w 633"/>
              <a:gd name="T77" fmla="*/ 142 h 632"/>
              <a:gd name="T78" fmla="*/ 536 w 633"/>
              <a:gd name="T79" fmla="*/ 106 h 632"/>
              <a:gd name="T80" fmla="*/ 481 w 633"/>
              <a:gd name="T81" fmla="*/ 85 h 632"/>
              <a:gd name="T82" fmla="*/ 435 w 633"/>
              <a:gd name="T83" fmla="*/ 58 h 632"/>
              <a:gd name="T84" fmla="*/ 389 w 633"/>
              <a:gd name="T85" fmla="*/ 21 h 632"/>
              <a:gd name="T86" fmla="*/ 332 w 633"/>
              <a:gd name="T87" fmla="*/ 5 h 632"/>
              <a:gd name="T88" fmla="*/ 276 w 633"/>
              <a:gd name="T89" fmla="*/ 15 h 632"/>
              <a:gd name="T90" fmla="*/ 228 w 633"/>
              <a:gd name="T91" fmla="*/ 46 h 632"/>
              <a:gd name="T92" fmla="*/ 177 w 633"/>
              <a:gd name="T93" fmla="*/ 69 h 632"/>
              <a:gd name="T94" fmla="*/ 139 w 633"/>
              <a:gd name="T95" fmla="*/ 94 h 632"/>
              <a:gd name="T96" fmla="*/ 80 w 633"/>
              <a:gd name="T97" fmla="*/ 115 h 632"/>
              <a:gd name="T98" fmla="*/ 47 w 633"/>
              <a:gd name="T99" fmla="*/ 160 h 632"/>
              <a:gd name="T100" fmla="*/ 30 w 633"/>
              <a:gd name="T101" fmla="*/ 215 h 632"/>
              <a:gd name="T102" fmla="*/ 36 w 633"/>
              <a:gd name="T103" fmla="*/ 272 h 632"/>
              <a:gd name="T104" fmla="*/ 33 w 633"/>
              <a:gd name="T105" fmla="*/ 327 h 632"/>
              <a:gd name="T106" fmla="*/ 21 w 633"/>
              <a:gd name="T107" fmla="*/ 386 h 632"/>
              <a:gd name="T108" fmla="*/ 32 w 633"/>
              <a:gd name="T109" fmla="*/ 442 h 632"/>
              <a:gd name="T110" fmla="*/ 61 w 633"/>
              <a:gd name="T111" fmla="*/ 490 h 632"/>
              <a:gd name="T112" fmla="*/ 97 w 633"/>
              <a:gd name="T113" fmla="*/ 525 h 632"/>
              <a:gd name="T114" fmla="*/ 152 w 633"/>
              <a:gd name="T115" fmla="*/ 547 h 632"/>
              <a:gd name="T116" fmla="*/ 199 w 633"/>
              <a:gd name="T117" fmla="*/ 574 h 632"/>
              <a:gd name="T118" fmla="*/ 245 w 633"/>
              <a:gd name="T119" fmla="*/ 611 h 632"/>
              <a:gd name="T120" fmla="*/ 480 w 633"/>
              <a:gd name="T121" fmla="*/ 114 h 632"/>
              <a:gd name="T122" fmla="*/ 317 w 633"/>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2">
                <a:moveTo>
                  <a:pt x="303" y="632"/>
                </a:moveTo>
                <a:cubicBezTo>
                  <a:pt x="302" y="632"/>
                  <a:pt x="301" y="632"/>
                  <a:pt x="300" y="632"/>
                </a:cubicBezTo>
                <a:cubicBezTo>
                  <a:pt x="299" y="632"/>
                  <a:pt x="299" y="632"/>
                  <a:pt x="299" y="632"/>
                </a:cubicBezTo>
                <a:cubicBezTo>
                  <a:pt x="295" y="632"/>
                  <a:pt x="288" y="631"/>
                  <a:pt x="287" y="619"/>
                </a:cubicBezTo>
                <a:cubicBezTo>
                  <a:pt x="286" y="612"/>
                  <a:pt x="284" y="606"/>
                  <a:pt x="282" y="602"/>
                </a:cubicBezTo>
                <a:cubicBezTo>
                  <a:pt x="280" y="602"/>
                  <a:pt x="277" y="602"/>
                  <a:pt x="275" y="601"/>
                </a:cubicBezTo>
                <a:cubicBezTo>
                  <a:pt x="272" y="604"/>
                  <a:pt x="269" y="610"/>
                  <a:pt x="267" y="616"/>
                </a:cubicBezTo>
                <a:cubicBezTo>
                  <a:pt x="264" y="623"/>
                  <a:pt x="261" y="626"/>
                  <a:pt x="256" y="626"/>
                </a:cubicBezTo>
                <a:cubicBezTo>
                  <a:pt x="254" y="626"/>
                  <a:pt x="252" y="626"/>
                  <a:pt x="251" y="625"/>
                </a:cubicBezTo>
                <a:cubicBezTo>
                  <a:pt x="250" y="625"/>
                  <a:pt x="250" y="625"/>
                  <a:pt x="250" y="625"/>
                </a:cubicBezTo>
                <a:cubicBezTo>
                  <a:pt x="246" y="624"/>
                  <a:pt x="239" y="623"/>
                  <a:pt x="240" y="610"/>
                </a:cubicBezTo>
                <a:cubicBezTo>
                  <a:pt x="240" y="604"/>
                  <a:pt x="239" y="597"/>
                  <a:pt x="238" y="593"/>
                </a:cubicBezTo>
                <a:cubicBezTo>
                  <a:pt x="236" y="593"/>
                  <a:pt x="233" y="592"/>
                  <a:pt x="231" y="591"/>
                </a:cubicBezTo>
                <a:cubicBezTo>
                  <a:pt x="228" y="594"/>
                  <a:pt x="224" y="599"/>
                  <a:pt x="220" y="605"/>
                </a:cubicBezTo>
                <a:cubicBezTo>
                  <a:pt x="217" y="610"/>
                  <a:pt x="214" y="613"/>
                  <a:pt x="209" y="613"/>
                </a:cubicBezTo>
                <a:cubicBezTo>
                  <a:pt x="207" y="613"/>
                  <a:pt x="205" y="612"/>
                  <a:pt x="203" y="611"/>
                </a:cubicBezTo>
                <a:cubicBezTo>
                  <a:pt x="202" y="611"/>
                  <a:pt x="202" y="611"/>
                  <a:pt x="202" y="611"/>
                </a:cubicBezTo>
                <a:cubicBezTo>
                  <a:pt x="199" y="609"/>
                  <a:pt x="191" y="607"/>
                  <a:pt x="194" y="595"/>
                </a:cubicBezTo>
                <a:cubicBezTo>
                  <a:pt x="196" y="588"/>
                  <a:pt x="196" y="582"/>
                  <a:pt x="195" y="578"/>
                </a:cubicBezTo>
                <a:cubicBezTo>
                  <a:pt x="193" y="577"/>
                  <a:pt x="191" y="576"/>
                  <a:pt x="189" y="575"/>
                </a:cubicBezTo>
                <a:cubicBezTo>
                  <a:pt x="189" y="575"/>
                  <a:pt x="189" y="575"/>
                  <a:pt x="189" y="575"/>
                </a:cubicBezTo>
                <a:cubicBezTo>
                  <a:pt x="185" y="576"/>
                  <a:pt x="180" y="581"/>
                  <a:pt x="176" y="586"/>
                </a:cubicBezTo>
                <a:cubicBezTo>
                  <a:pt x="173" y="590"/>
                  <a:pt x="169" y="592"/>
                  <a:pt x="166" y="592"/>
                </a:cubicBezTo>
                <a:cubicBezTo>
                  <a:pt x="163" y="592"/>
                  <a:pt x="161" y="591"/>
                  <a:pt x="159" y="590"/>
                </a:cubicBezTo>
                <a:cubicBezTo>
                  <a:pt x="158" y="589"/>
                  <a:pt x="158" y="589"/>
                  <a:pt x="158" y="589"/>
                </a:cubicBezTo>
                <a:cubicBezTo>
                  <a:pt x="154" y="587"/>
                  <a:pt x="147" y="584"/>
                  <a:pt x="152" y="572"/>
                </a:cubicBezTo>
                <a:cubicBezTo>
                  <a:pt x="155" y="566"/>
                  <a:pt x="156" y="559"/>
                  <a:pt x="156" y="555"/>
                </a:cubicBezTo>
                <a:cubicBezTo>
                  <a:pt x="154" y="554"/>
                  <a:pt x="152" y="553"/>
                  <a:pt x="150" y="551"/>
                </a:cubicBezTo>
                <a:cubicBezTo>
                  <a:pt x="146" y="553"/>
                  <a:pt x="141" y="556"/>
                  <a:pt x="136" y="561"/>
                </a:cubicBezTo>
                <a:cubicBezTo>
                  <a:pt x="132" y="564"/>
                  <a:pt x="129" y="566"/>
                  <a:pt x="126" y="566"/>
                </a:cubicBezTo>
                <a:cubicBezTo>
                  <a:pt x="122" y="566"/>
                  <a:pt x="120" y="563"/>
                  <a:pt x="118" y="562"/>
                </a:cubicBezTo>
                <a:cubicBezTo>
                  <a:pt x="117" y="561"/>
                  <a:pt x="117" y="561"/>
                  <a:pt x="117" y="561"/>
                </a:cubicBezTo>
                <a:cubicBezTo>
                  <a:pt x="114" y="559"/>
                  <a:pt x="108" y="554"/>
                  <a:pt x="114" y="543"/>
                </a:cubicBezTo>
                <a:cubicBezTo>
                  <a:pt x="118" y="537"/>
                  <a:pt x="120" y="531"/>
                  <a:pt x="120" y="527"/>
                </a:cubicBezTo>
                <a:cubicBezTo>
                  <a:pt x="119" y="526"/>
                  <a:pt x="117" y="524"/>
                  <a:pt x="115" y="522"/>
                </a:cubicBezTo>
                <a:cubicBezTo>
                  <a:pt x="111" y="523"/>
                  <a:pt x="105" y="526"/>
                  <a:pt x="100" y="529"/>
                </a:cubicBezTo>
                <a:cubicBezTo>
                  <a:pt x="96" y="532"/>
                  <a:pt x="93" y="533"/>
                  <a:pt x="91" y="533"/>
                </a:cubicBezTo>
                <a:cubicBezTo>
                  <a:pt x="86" y="533"/>
                  <a:pt x="83" y="530"/>
                  <a:pt x="82" y="528"/>
                </a:cubicBezTo>
                <a:cubicBezTo>
                  <a:pt x="81" y="527"/>
                  <a:pt x="81" y="527"/>
                  <a:pt x="81" y="527"/>
                </a:cubicBezTo>
                <a:cubicBezTo>
                  <a:pt x="78" y="524"/>
                  <a:pt x="73" y="518"/>
                  <a:pt x="81" y="509"/>
                </a:cubicBezTo>
                <a:cubicBezTo>
                  <a:pt x="85" y="504"/>
                  <a:pt x="89" y="498"/>
                  <a:pt x="90" y="494"/>
                </a:cubicBezTo>
                <a:cubicBezTo>
                  <a:pt x="89" y="494"/>
                  <a:pt x="89" y="494"/>
                  <a:pt x="89" y="494"/>
                </a:cubicBezTo>
                <a:cubicBezTo>
                  <a:pt x="88" y="492"/>
                  <a:pt x="87" y="490"/>
                  <a:pt x="85" y="488"/>
                </a:cubicBezTo>
                <a:cubicBezTo>
                  <a:pt x="81" y="488"/>
                  <a:pt x="75" y="490"/>
                  <a:pt x="69" y="493"/>
                </a:cubicBezTo>
                <a:cubicBezTo>
                  <a:pt x="66" y="494"/>
                  <a:pt x="63" y="495"/>
                  <a:pt x="61" y="495"/>
                </a:cubicBezTo>
                <a:cubicBezTo>
                  <a:pt x="55" y="495"/>
                  <a:pt x="53" y="491"/>
                  <a:pt x="51" y="488"/>
                </a:cubicBezTo>
                <a:cubicBezTo>
                  <a:pt x="51" y="487"/>
                  <a:pt x="51" y="487"/>
                  <a:pt x="51" y="487"/>
                </a:cubicBezTo>
                <a:cubicBezTo>
                  <a:pt x="48" y="484"/>
                  <a:pt x="44" y="478"/>
                  <a:pt x="54" y="470"/>
                </a:cubicBezTo>
                <a:cubicBezTo>
                  <a:pt x="59" y="465"/>
                  <a:pt x="63" y="460"/>
                  <a:pt x="65" y="456"/>
                </a:cubicBezTo>
                <a:cubicBezTo>
                  <a:pt x="63" y="454"/>
                  <a:pt x="62" y="452"/>
                  <a:pt x="61" y="450"/>
                </a:cubicBezTo>
                <a:cubicBezTo>
                  <a:pt x="57" y="449"/>
                  <a:pt x="51" y="450"/>
                  <a:pt x="44" y="452"/>
                </a:cubicBezTo>
                <a:cubicBezTo>
                  <a:pt x="42" y="453"/>
                  <a:pt x="40" y="453"/>
                  <a:pt x="38" y="453"/>
                </a:cubicBezTo>
                <a:cubicBezTo>
                  <a:pt x="31" y="453"/>
                  <a:pt x="29" y="448"/>
                  <a:pt x="28" y="445"/>
                </a:cubicBezTo>
                <a:cubicBezTo>
                  <a:pt x="27" y="444"/>
                  <a:pt x="27" y="444"/>
                  <a:pt x="27" y="444"/>
                </a:cubicBezTo>
                <a:cubicBezTo>
                  <a:pt x="25" y="440"/>
                  <a:pt x="22" y="433"/>
                  <a:pt x="33" y="427"/>
                </a:cubicBezTo>
                <a:cubicBezTo>
                  <a:pt x="39" y="423"/>
                  <a:pt x="44" y="418"/>
                  <a:pt x="46" y="415"/>
                </a:cubicBezTo>
                <a:cubicBezTo>
                  <a:pt x="45" y="413"/>
                  <a:pt x="44" y="411"/>
                  <a:pt x="43" y="409"/>
                </a:cubicBezTo>
                <a:cubicBezTo>
                  <a:pt x="41" y="408"/>
                  <a:pt x="37" y="407"/>
                  <a:pt x="33" y="407"/>
                </a:cubicBezTo>
                <a:cubicBezTo>
                  <a:pt x="31" y="407"/>
                  <a:pt x="28" y="407"/>
                  <a:pt x="26" y="408"/>
                </a:cubicBezTo>
                <a:cubicBezTo>
                  <a:pt x="25" y="408"/>
                  <a:pt x="24" y="408"/>
                  <a:pt x="23" y="408"/>
                </a:cubicBezTo>
                <a:cubicBezTo>
                  <a:pt x="13" y="408"/>
                  <a:pt x="12" y="401"/>
                  <a:pt x="11" y="398"/>
                </a:cubicBezTo>
                <a:cubicBezTo>
                  <a:pt x="11" y="397"/>
                  <a:pt x="11" y="397"/>
                  <a:pt x="11" y="397"/>
                </a:cubicBezTo>
                <a:cubicBezTo>
                  <a:pt x="10" y="393"/>
                  <a:pt x="7" y="386"/>
                  <a:pt x="19" y="381"/>
                </a:cubicBezTo>
                <a:cubicBezTo>
                  <a:pt x="25" y="378"/>
                  <a:pt x="31" y="374"/>
                  <a:pt x="33" y="372"/>
                </a:cubicBezTo>
                <a:cubicBezTo>
                  <a:pt x="33" y="369"/>
                  <a:pt x="33" y="367"/>
                  <a:pt x="32" y="365"/>
                </a:cubicBezTo>
                <a:cubicBezTo>
                  <a:pt x="32" y="365"/>
                  <a:pt x="32" y="365"/>
                  <a:pt x="32" y="365"/>
                </a:cubicBezTo>
                <a:cubicBezTo>
                  <a:pt x="29" y="363"/>
                  <a:pt x="22" y="361"/>
                  <a:pt x="15" y="361"/>
                </a:cubicBezTo>
                <a:cubicBezTo>
                  <a:pt x="3" y="361"/>
                  <a:pt x="2" y="353"/>
                  <a:pt x="2" y="349"/>
                </a:cubicBezTo>
                <a:cubicBezTo>
                  <a:pt x="2" y="348"/>
                  <a:pt x="2" y="348"/>
                  <a:pt x="2" y="348"/>
                </a:cubicBezTo>
                <a:cubicBezTo>
                  <a:pt x="1" y="344"/>
                  <a:pt x="0" y="336"/>
                  <a:pt x="13" y="334"/>
                </a:cubicBezTo>
                <a:cubicBezTo>
                  <a:pt x="19" y="332"/>
                  <a:pt x="25" y="329"/>
                  <a:pt x="28" y="327"/>
                </a:cubicBezTo>
                <a:cubicBezTo>
                  <a:pt x="28" y="324"/>
                  <a:pt x="28" y="322"/>
                  <a:pt x="28" y="320"/>
                </a:cubicBezTo>
                <a:cubicBezTo>
                  <a:pt x="25" y="317"/>
                  <a:pt x="19" y="315"/>
                  <a:pt x="12" y="313"/>
                </a:cubicBezTo>
                <a:cubicBezTo>
                  <a:pt x="0" y="311"/>
                  <a:pt x="0" y="304"/>
                  <a:pt x="1" y="300"/>
                </a:cubicBezTo>
                <a:cubicBezTo>
                  <a:pt x="1" y="298"/>
                  <a:pt x="1" y="298"/>
                  <a:pt x="1" y="298"/>
                </a:cubicBezTo>
                <a:cubicBezTo>
                  <a:pt x="1" y="294"/>
                  <a:pt x="1" y="287"/>
                  <a:pt x="14" y="286"/>
                </a:cubicBezTo>
                <a:cubicBezTo>
                  <a:pt x="20" y="285"/>
                  <a:pt x="27" y="283"/>
                  <a:pt x="30" y="281"/>
                </a:cubicBezTo>
                <a:cubicBezTo>
                  <a:pt x="30" y="279"/>
                  <a:pt x="31" y="277"/>
                  <a:pt x="31" y="274"/>
                </a:cubicBezTo>
                <a:cubicBezTo>
                  <a:pt x="28" y="272"/>
                  <a:pt x="22" y="268"/>
                  <a:pt x="16" y="266"/>
                </a:cubicBezTo>
                <a:cubicBezTo>
                  <a:pt x="4" y="262"/>
                  <a:pt x="6" y="254"/>
                  <a:pt x="7" y="250"/>
                </a:cubicBezTo>
                <a:cubicBezTo>
                  <a:pt x="7" y="249"/>
                  <a:pt x="7" y="249"/>
                  <a:pt x="7" y="249"/>
                </a:cubicBezTo>
                <a:cubicBezTo>
                  <a:pt x="8" y="245"/>
                  <a:pt x="9" y="239"/>
                  <a:pt x="20" y="239"/>
                </a:cubicBezTo>
                <a:cubicBezTo>
                  <a:pt x="20" y="239"/>
                  <a:pt x="21" y="239"/>
                  <a:pt x="22" y="239"/>
                </a:cubicBezTo>
                <a:cubicBezTo>
                  <a:pt x="23" y="239"/>
                  <a:pt x="24" y="239"/>
                  <a:pt x="25" y="239"/>
                </a:cubicBezTo>
                <a:cubicBezTo>
                  <a:pt x="31" y="239"/>
                  <a:pt x="36" y="238"/>
                  <a:pt x="39" y="237"/>
                </a:cubicBezTo>
                <a:cubicBezTo>
                  <a:pt x="40" y="235"/>
                  <a:pt x="40" y="232"/>
                  <a:pt x="41" y="230"/>
                </a:cubicBezTo>
                <a:cubicBezTo>
                  <a:pt x="39" y="227"/>
                  <a:pt x="34" y="223"/>
                  <a:pt x="28" y="219"/>
                </a:cubicBezTo>
                <a:cubicBezTo>
                  <a:pt x="17" y="213"/>
                  <a:pt x="20" y="206"/>
                  <a:pt x="21" y="203"/>
                </a:cubicBezTo>
                <a:cubicBezTo>
                  <a:pt x="21" y="202"/>
                  <a:pt x="21" y="202"/>
                  <a:pt x="21" y="202"/>
                </a:cubicBezTo>
                <a:cubicBezTo>
                  <a:pt x="23" y="198"/>
                  <a:pt x="25" y="193"/>
                  <a:pt x="32" y="193"/>
                </a:cubicBezTo>
                <a:cubicBezTo>
                  <a:pt x="34" y="193"/>
                  <a:pt x="36" y="193"/>
                  <a:pt x="38" y="194"/>
                </a:cubicBezTo>
                <a:cubicBezTo>
                  <a:pt x="44" y="195"/>
                  <a:pt x="51" y="195"/>
                  <a:pt x="55" y="195"/>
                </a:cubicBezTo>
                <a:cubicBezTo>
                  <a:pt x="56" y="192"/>
                  <a:pt x="57" y="190"/>
                  <a:pt x="58" y="188"/>
                </a:cubicBezTo>
                <a:cubicBezTo>
                  <a:pt x="56" y="185"/>
                  <a:pt x="52" y="180"/>
                  <a:pt x="46" y="175"/>
                </a:cubicBezTo>
                <a:cubicBezTo>
                  <a:pt x="36" y="168"/>
                  <a:pt x="40" y="161"/>
                  <a:pt x="42" y="158"/>
                </a:cubicBezTo>
                <a:cubicBezTo>
                  <a:pt x="43" y="157"/>
                  <a:pt x="43" y="157"/>
                  <a:pt x="43" y="157"/>
                </a:cubicBezTo>
                <a:cubicBezTo>
                  <a:pt x="44" y="154"/>
                  <a:pt x="47" y="150"/>
                  <a:pt x="53" y="150"/>
                </a:cubicBezTo>
                <a:cubicBezTo>
                  <a:pt x="55" y="150"/>
                  <a:pt x="57" y="150"/>
                  <a:pt x="60" y="152"/>
                </a:cubicBezTo>
                <a:cubicBezTo>
                  <a:pt x="66" y="154"/>
                  <a:pt x="73" y="155"/>
                  <a:pt x="77" y="155"/>
                </a:cubicBezTo>
                <a:cubicBezTo>
                  <a:pt x="78" y="153"/>
                  <a:pt x="80" y="151"/>
                  <a:pt x="81" y="149"/>
                </a:cubicBezTo>
                <a:cubicBezTo>
                  <a:pt x="80" y="146"/>
                  <a:pt x="76" y="140"/>
                  <a:pt x="72" y="135"/>
                </a:cubicBezTo>
                <a:cubicBezTo>
                  <a:pt x="63" y="126"/>
                  <a:pt x="68" y="120"/>
                  <a:pt x="70" y="117"/>
                </a:cubicBezTo>
                <a:cubicBezTo>
                  <a:pt x="71" y="116"/>
                  <a:pt x="71" y="116"/>
                  <a:pt x="71" y="116"/>
                </a:cubicBezTo>
                <a:cubicBezTo>
                  <a:pt x="73" y="114"/>
                  <a:pt x="76" y="110"/>
                  <a:pt x="80" y="110"/>
                </a:cubicBezTo>
                <a:cubicBezTo>
                  <a:pt x="83" y="110"/>
                  <a:pt x="86" y="111"/>
                  <a:pt x="89" y="113"/>
                </a:cubicBezTo>
                <a:cubicBezTo>
                  <a:pt x="95" y="117"/>
                  <a:pt x="101" y="119"/>
                  <a:pt x="105" y="120"/>
                </a:cubicBezTo>
                <a:cubicBezTo>
                  <a:pt x="107" y="118"/>
                  <a:pt x="108" y="116"/>
                  <a:pt x="110" y="114"/>
                </a:cubicBezTo>
                <a:cubicBezTo>
                  <a:pt x="109" y="111"/>
                  <a:pt x="107" y="104"/>
                  <a:pt x="103" y="99"/>
                </a:cubicBezTo>
                <a:cubicBezTo>
                  <a:pt x="96" y="88"/>
                  <a:pt x="102" y="83"/>
                  <a:pt x="105" y="81"/>
                </a:cubicBezTo>
                <a:cubicBezTo>
                  <a:pt x="105" y="80"/>
                  <a:pt x="105" y="80"/>
                  <a:pt x="105" y="80"/>
                </a:cubicBezTo>
                <a:cubicBezTo>
                  <a:pt x="107" y="78"/>
                  <a:pt x="110" y="76"/>
                  <a:pt x="114" y="76"/>
                </a:cubicBezTo>
                <a:cubicBezTo>
                  <a:pt x="117" y="76"/>
                  <a:pt x="120" y="77"/>
                  <a:pt x="123" y="80"/>
                </a:cubicBezTo>
                <a:cubicBezTo>
                  <a:pt x="129" y="85"/>
                  <a:pt x="134" y="88"/>
                  <a:pt x="138" y="89"/>
                </a:cubicBezTo>
                <a:cubicBezTo>
                  <a:pt x="139" y="89"/>
                  <a:pt x="139" y="89"/>
                  <a:pt x="139" y="89"/>
                </a:cubicBezTo>
                <a:cubicBezTo>
                  <a:pt x="140" y="87"/>
                  <a:pt x="142" y="86"/>
                  <a:pt x="144" y="84"/>
                </a:cubicBezTo>
                <a:cubicBezTo>
                  <a:pt x="144" y="80"/>
                  <a:pt x="142" y="74"/>
                  <a:pt x="140" y="68"/>
                </a:cubicBezTo>
                <a:cubicBezTo>
                  <a:pt x="134" y="57"/>
                  <a:pt x="141" y="53"/>
                  <a:pt x="144" y="51"/>
                </a:cubicBezTo>
                <a:cubicBezTo>
                  <a:pt x="145" y="50"/>
                  <a:pt x="145" y="50"/>
                  <a:pt x="145" y="50"/>
                </a:cubicBezTo>
                <a:cubicBezTo>
                  <a:pt x="147" y="49"/>
                  <a:pt x="149" y="47"/>
                  <a:pt x="152" y="47"/>
                </a:cubicBezTo>
                <a:cubicBezTo>
                  <a:pt x="156" y="47"/>
                  <a:pt x="159" y="49"/>
                  <a:pt x="163" y="53"/>
                </a:cubicBezTo>
                <a:cubicBezTo>
                  <a:pt x="167" y="58"/>
                  <a:pt x="172" y="62"/>
                  <a:pt x="176" y="64"/>
                </a:cubicBezTo>
                <a:cubicBezTo>
                  <a:pt x="178" y="63"/>
                  <a:pt x="180" y="61"/>
                  <a:pt x="182" y="60"/>
                </a:cubicBezTo>
                <a:cubicBezTo>
                  <a:pt x="183" y="56"/>
                  <a:pt x="182" y="50"/>
                  <a:pt x="180" y="43"/>
                </a:cubicBezTo>
                <a:cubicBezTo>
                  <a:pt x="177" y="31"/>
                  <a:pt x="184" y="28"/>
                  <a:pt x="188" y="27"/>
                </a:cubicBezTo>
                <a:cubicBezTo>
                  <a:pt x="189" y="26"/>
                  <a:pt x="189" y="26"/>
                  <a:pt x="189" y="26"/>
                </a:cubicBezTo>
                <a:cubicBezTo>
                  <a:pt x="190" y="26"/>
                  <a:pt x="193" y="25"/>
                  <a:pt x="195" y="25"/>
                </a:cubicBezTo>
                <a:cubicBezTo>
                  <a:pt x="199" y="25"/>
                  <a:pt x="203" y="27"/>
                  <a:pt x="206" y="32"/>
                </a:cubicBezTo>
                <a:cubicBezTo>
                  <a:pt x="209" y="38"/>
                  <a:pt x="214" y="43"/>
                  <a:pt x="217" y="45"/>
                </a:cubicBezTo>
                <a:cubicBezTo>
                  <a:pt x="219" y="44"/>
                  <a:pt x="221" y="43"/>
                  <a:pt x="224" y="43"/>
                </a:cubicBezTo>
                <a:cubicBezTo>
                  <a:pt x="225" y="39"/>
                  <a:pt x="225" y="32"/>
                  <a:pt x="225" y="25"/>
                </a:cubicBezTo>
                <a:cubicBezTo>
                  <a:pt x="223" y="13"/>
                  <a:pt x="230" y="11"/>
                  <a:pt x="234" y="10"/>
                </a:cubicBezTo>
                <a:cubicBezTo>
                  <a:pt x="235" y="10"/>
                  <a:pt x="235" y="10"/>
                  <a:pt x="235" y="10"/>
                </a:cubicBezTo>
                <a:cubicBezTo>
                  <a:pt x="237" y="10"/>
                  <a:pt x="239" y="9"/>
                  <a:pt x="241" y="9"/>
                </a:cubicBezTo>
                <a:cubicBezTo>
                  <a:pt x="245" y="9"/>
                  <a:pt x="249" y="12"/>
                  <a:pt x="251" y="18"/>
                </a:cubicBezTo>
                <a:cubicBezTo>
                  <a:pt x="254" y="25"/>
                  <a:pt x="258" y="30"/>
                  <a:pt x="261" y="33"/>
                </a:cubicBezTo>
                <a:cubicBezTo>
                  <a:pt x="263" y="32"/>
                  <a:pt x="265" y="32"/>
                  <a:pt x="267" y="31"/>
                </a:cubicBezTo>
                <a:cubicBezTo>
                  <a:pt x="268" y="31"/>
                  <a:pt x="268" y="31"/>
                  <a:pt x="268" y="31"/>
                </a:cubicBezTo>
                <a:cubicBezTo>
                  <a:pt x="269" y="28"/>
                  <a:pt x="271" y="21"/>
                  <a:pt x="271" y="15"/>
                </a:cubicBezTo>
                <a:cubicBezTo>
                  <a:pt x="272" y="2"/>
                  <a:pt x="279" y="1"/>
                  <a:pt x="283" y="1"/>
                </a:cubicBezTo>
                <a:cubicBezTo>
                  <a:pt x="284" y="1"/>
                  <a:pt x="284" y="1"/>
                  <a:pt x="284" y="1"/>
                </a:cubicBezTo>
                <a:cubicBezTo>
                  <a:pt x="285" y="1"/>
                  <a:pt x="286" y="1"/>
                  <a:pt x="288" y="1"/>
                </a:cubicBezTo>
                <a:cubicBezTo>
                  <a:pt x="293" y="1"/>
                  <a:pt x="297" y="4"/>
                  <a:pt x="299" y="12"/>
                </a:cubicBezTo>
                <a:cubicBezTo>
                  <a:pt x="301" y="18"/>
                  <a:pt x="303" y="24"/>
                  <a:pt x="306" y="27"/>
                </a:cubicBezTo>
                <a:cubicBezTo>
                  <a:pt x="308" y="27"/>
                  <a:pt x="310" y="27"/>
                  <a:pt x="313" y="27"/>
                </a:cubicBezTo>
                <a:cubicBezTo>
                  <a:pt x="315" y="24"/>
                  <a:pt x="318" y="18"/>
                  <a:pt x="319" y="11"/>
                </a:cubicBezTo>
                <a:cubicBezTo>
                  <a:pt x="320" y="3"/>
                  <a:pt x="324" y="0"/>
                  <a:pt x="330" y="0"/>
                </a:cubicBezTo>
                <a:cubicBezTo>
                  <a:pt x="331" y="0"/>
                  <a:pt x="332" y="0"/>
                  <a:pt x="333" y="0"/>
                </a:cubicBezTo>
                <a:cubicBezTo>
                  <a:pt x="334" y="0"/>
                  <a:pt x="334" y="0"/>
                  <a:pt x="334" y="0"/>
                </a:cubicBezTo>
                <a:cubicBezTo>
                  <a:pt x="338" y="0"/>
                  <a:pt x="346" y="0"/>
                  <a:pt x="346" y="13"/>
                </a:cubicBezTo>
                <a:cubicBezTo>
                  <a:pt x="347" y="20"/>
                  <a:pt x="349" y="26"/>
                  <a:pt x="351" y="29"/>
                </a:cubicBezTo>
                <a:cubicBezTo>
                  <a:pt x="354" y="30"/>
                  <a:pt x="356" y="30"/>
                  <a:pt x="358" y="30"/>
                </a:cubicBezTo>
                <a:cubicBezTo>
                  <a:pt x="361" y="27"/>
                  <a:pt x="364" y="22"/>
                  <a:pt x="367" y="15"/>
                </a:cubicBezTo>
                <a:cubicBezTo>
                  <a:pt x="369" y="9"/>
                  <a:pt x="372" y="6"/>
                  <a:pt x="377" y="6"/>
                </a:cubicBezTo>
                <a:cubicBezTo>
                  <a:pt x="379" y="6"/>
                  <a:pt x="381" y="6"/>
                  <a:pt x="382" y="6"/>
                </a:cubicBezTo>
                <a:cubicBezTo>
                  <a:pt x="383" y="6"/>
                  <a:pt x="383" y="6"/>
                  <a:pt x="383" y="6"/>
                </a:cubicBezTo>
                <a:cubicBezTo>
                  <a:pt x="387" y="7"/>
                  <a:pt x="395" y="9"/>
                  <a:pt x="394" y="21"/>
                </a:cubicBezTo>
                <a:cubicBezTo>
                  <a:pt x="393" y="28"/>
                  <a:pt x="394" y="34"/>
                  <a:pt x="395" y="38"/>
                </a:cubicBezTo>
                <a:cubicBezTo>
                  <a:pt x="398" y="39"/>
                  <a:pt x="400" y="39"/>
                  <a:pt x="402" y="40"/>
                </a:cubicBezTo>
                <a:cubicBezTo>
                  <a:pt x="405" y="38"/>
                  <a:pt x="410" y="33"/>
                  <a:pt x="413" y="27"/>
                </a:cubicBezTo>
                <a:cubicBezTo>
                  <a:pt x="416" y="21"/>
                  <a:pt x="419" y="19"/>
                  <a:pt x="424" y="19"/>
                </a:cubicBezTo>
                <a:cubicBezTo>
                  <a:pt x="426" y="19"/>
                  <a:pt x="428" y="20"/>
                  <a:pt x="430" y="20"/>
                </a:cubicBezTo>
                <a:cubicBezTo>
                  <a:pt x="431" y="21"/>
                  <a:pt x="431" y="21"/>
                  <a:pt x="431" y="21"/>
                </a:cubicBezTo>
                <a:cubicBezTo>
                  <a:pt x="435" y="22"/>
                  <a:pt x="442" y="25"/>
                  <a:pt x="439" y="37"/>
                </a:cubicBezTo>
                <a:cubicBezTo>
                  <a:pt x="437" y="43"/>
                  <a:pt x="437" y="50"/>
                  <a:pt x="438" y="54"/>
                </a:cubicBezTo>
                <a:cubicBezTo>
                  <a:pt x="440" y="55"/>
                  <a:pt x="442" y="56"/>
                  <a:pt x="444" y="57"/>
                </a:cubicBezTo>
                <a:cubicBezTo>
                  <a:pt x="444" y="57"/>
                  <a:pt x="444" y="57"/>
                  <a:pt x="444" y="57"/>
                </a:cubicBezTo>
                <a:cubicBezTo>
                  <a:pt x="448" y="55"/>
                  <a:pt x="453" y="51"/>
                  <a:pt x="457" y="46"/>
                </a:cubicBezTo>
                <a:cubicBezTo>
                  <a:pt x="460" y="41"/>
                  <a:pt x="464" y="39"/>
                  <a:pt x="467" y="39"/>
                </a:cubicBezTo>
                <a:cubicBezTo>
                  <a:pt x="470" y="39"/>
                  <a:pt x="473" y="40"/>
                  <a:pt x="474" y="42"/>
                </a:cubicBezTo>
                <a:cubicBezTo>
                  <a:pt x="475" y="42"/>
                  <a:pt x="475" y="42"/>
                  <a:pt x="475" y="42"/>
                </a:cubicBezTo>
                <a:cubicBezTo>
                  <a:pt x="479" y="44"/>
                  <a:pt x="486" y="48"/>
                  <a:pt x="481" y="59"/>
                </a:cubicBezTo>
                <a:cubicBezTo>
                  <a:pt x="478" y="66"/>
                  <a:pt x="477" y="72"/>
                  <a:pt x="477" y="76"/>
                </a:cubicBezTo>
                <a:cubicBezTo>
                  <a:pt x="479" y="77"/>
                  <a:pt x="481" y="79"/>
                  <a:pt x="483" y="80"/>
                </a:cubicBezTo>
                <a:cubicBezTo>
                  <a:pt x="487" y="79"/>
                  <a:pt x="492" y="75"/>
                  <a:pt x="497" y="71"/>
                </a:cubicBezTo>
                <a:cubicBezTo>
                  <a:pt x="501" y="68"/>
                  <a:pt x="504" y="66"/>
                  <a:pt x="507" y="66"/>
                </a:cubicBezTo>
                <a:cubicBezTo>
                  <a:pt x="511" y="66"/>
                  <a:pt x="514" y="68"/>
                  <a:pt x="515" y="70"/>
                </a:cubicBezTo>
                <a:cubicBezTo>
                  <a:pt x="516" y="70"/>
                  <a:pt x="516" y="70"/>
                  <a:pt x="516" y="70"/>
                </a:cubicBezTo>
                <a:cubicBezTo>
                  <a:pt x="520" y="73"/>
                  <a:pt x="525" y="78"/>
                  <a:pt x="519" y="88"/>
                </a:cubicBezTo>
                <a:cubicBezTo>
                  <a:pt x="516" y="94"/>
                  <a:pt x="513" y="100"/>
                  <a:pt x="513" y="104"/>
                </a:cubicBezTo>
                <a:cubicBezTo>
                  <a:pt x="514" y="106"/>
                  <a:pt x="516" y="107"/>
                  <a:pt x="518" y="109"/>
                </a:cubicBezTo>
                <a:cubicBezTo>
                  <a:pt x="522" y="108"/>
                  <a:pt x="528" y="106"/>
                  <a:pt x="534" y="102"/>
                </a:cubicBezTo>
                <a:cubicBezTo>
                  <a:pt x="537" y="100"/>
                  <a:pt x="540" y="99"/>
                  <a:pt x="543" y="99"/>
                </a:cubicBezTo>
                <a:cubicBezTo>
                  <a:pt x="547" y="99"/>
                  <a:pt x="550" y="102"/>
                  <a:pt x="551" y="104"/>
                </a:cubicBezTo>
                <a:cubicBezTo>
                  <a:pt x="552" y="105"/>
                  <a:pt x="552" y="105"/>
                  <a:pt x="552" y="105"/>
                </a:cubicBezTo>
                <a:cubicBezTo>
                  <a:pt x="555" y="108"/>
                  <a:pt x="560" y="113"/>
                  <a:pt x="552" y="123"/>
                </a:cubicBezTo>
                <a:cubicBezTo>
                  <a:pt x="548" y="128"/>
                  <a:pt x="544" y="134"/>
                  <a:pt x="543" y="138"/>
                </a:cubicBezTo>
                <a:cubicBezTo>
                  <a:pt x="543" y="138"/>
                  <a:pt x="543" y="138"/>
                  <a:pt x="543" y="138"/>
                </a:cubicBezTo>
                <a:cubicBezTo>
                  <a:pt x="545" y="139"/>
                  <a:pt x="546" y="141"/>
                  <a:pt x="548" y="143"/>
                </a:cubicBezTo>
                <a:cubicBezTo>
                  <a:pt x="552" y="143"/>
                  <a:pt x="558" y="141"/>
                  <a:pt x="564" y="139"/>
                </a:cubicBezTo>
                <a:cubicBezTo>
                  <a:pt x="567" y="137"/>
                  <a:pt x="570" y="137"/>
                  <a:pt x="572" y="137"/>
                </a:cubicBezTo>
                <a:cubicBezTo>
                  <a:pt x="578" y="137"/>
                  <a:pt x="580" y="141"/>
                  <a:pt x="582" y="143"/>
                </a:cubicBezTo>
                <a:cubicBezTo>
                  <a:pt x="582" y="144"/>
                  <a:pt x="582" y="144"/>
                  <a:pt x="582" y="144"/>
                </a:cubicBezTo>
                <a:cubicBezTo>
                  <a:pt x="585" y="147"/>
                  <a:pt x="589" y="154"/>
                  <a:pt x="579" y="162"/>
                </a:cubicBezTo>
                <a:cubicBezTo>
                  <a:pt x="574" y="166"/>
                  <a:pt x="570" y="172"/>
                  <a:pt x="569" y="175"/>
                </a:cubicBezTo>
                <a:cubicBezTo>
                  <a:pt x="570" y="177"/>
                  <a:pt x="571" y="179"/>
                  <a:pt x="572" y="181"/>
                </a:cubicBezTo>
                <a:cubicBezTo>
                  <a:pt x="576" y="182"/>
                  <a:pt x="583" y="181"/>
                  <a:pt x="589" y="180"/>
                </a:cubicBezTo>
                <a:cubicBezTo>
                  <a:pt x="591" y="179"/>
                  <a:pt x="593" y="179"/>
                  <a:pt x="595" y="179"/>
                </a:cubicBezTo>
                <a:cubicBezTo>
                  <a:pt x="602" y="179"/>
                  <a:pt x="604" y="184"/>
                  <a:pt x="605" y="187"/>
                </a:cubicBezTo>
                <a:cubicBezTo>
                  <a:pt x="606" y="188"/>
                  <a:pt x="606" y="188"/>
                  <a:pt x="606" y="188"/>
                </a:cubicBezTo>
                <a:cubicBezTo>
                  <a:pt x="608" y="192"/>
                  <a:pt x="611" y="198"/>
                  <a:pt x="600" y="205"/>
                </a:cubicBezTo>
                <a:cubicBezTo>
                  <a:pt x="594" y="209"/>
                  <a:pt x="590" y="213"/>
                  <a:pt x="587" y="216"/>
                </a:cubicBezTo>
                <a:cubicBezTo>
                  <a:pt x="588" y="219"/>
                  <a:pt x="589" y="221"/>
                  <a:pt x="590" y="223"/>
                </a:cubicBezTo>
                <a:cubicBezTo>
                  <a:pt x="593" y="224"/>
                  <a:pt x="600" y="225"/>
                  <a:pt x="607" y="224"/>
                </a:cubicBezTo>
                <a:cubicBezTo>
                  <a:pt x="608" y="224"/>
                  <a:pt x="609" y="224"/>
                  <a:pt x="610" y="224"/>
                </a:cubicBezTo>
                <a:cubicBezTo>
                  <a:pt x="620" y="224"/>
                  <a:pt x="621" y="230"/>
                  <a:pt x="622" y="234"/>
                </a:cubicBezTo>
                <a:cubicBezTo>
                  <a:pt x="622" y="235"/>
                  <a:pt x="622" y="235"/>
                  <a:pt x="622" y="235"/>
                </a:cubicBezTo>
                <a:cubicBezTo>
                  <a:pt x="623" y="239"/>
                  <a:pt x="626" y="246"/>
                  <a:pt x="614" y="251"/>
                </a:cubicBezTo>
                <a:cubicBezTo>
                  <a:pt x="608" y="253"/>
                  <a:pt x="602" y="257"/>
                  <a:pt x="600" y="260"/>
                </a:cubicBezTo>
                <a:cubicBezTo>
                  <a:pt x="600" y="262"/>
                  <a:pt x="600" y="264"/>
                  <a:pt x="601" y="267"/>
                </a:cubicBezTo>
                <a:cubicBezTo>
                  <a:pt x="601" y="267"/>
                  <a:pt x="601" y="267"/>
                  <a:pt x="601" y="267"/>
                </a:cubicBezTo>
                <a:cubicBezTo>
                  <a:pt x="604" y="269"/>
                  <a:pt x="611" y="270"/>
                  <a:pt x="618" y="270"/>
                </a:cubicBezTo>
                <a:cubicBezTo>
                  <a:pt x="630" y="271"/>
                  <a:pt x="631" y="278"/>
                  <a:pt x="631" y="282"/>
                </a:cubicBezTo>
                <a:cubicBezTo>
                  <a:pt x="631" y="283"/>
                  <a:pt x="631" y="283"/>
                  <a:pt x="631" y="283"/>
                </a:cubicBezTo>
                <a:cubicBezTo>
                  <a:pt x="632" y="288"/>
                  <a:pt x="633" y="295"/>
                  <a:pt x="620" y="298"/>
                </a:cubicBezTo>
                <a:cubicBezTo>
                  <a:pt x="614" y="300"/>
                  <a:pt x="608" y="302"/>
                  <a:pt x="605" y="305"/>
                </a:cubicBezTo>
                <a:cubicBezTo>
                  <a:pt x="605" y="307"/>
                  <a:pt x="605" y="310"/>
                  <a:pt x="605" y="312"/>
                </a:cubicBezTo>
                <a:cubicBezTo>
                  <a:pt x="608" y="314"/>
                  <a:pt x="614" y="317"/>
                  <a:pt x="621" y="318"/>
                </a:cubicBezTo>
                <a:cubicBezTo>
                  <a:pt x="633" y="320"/>
                  <a:pt x="633" y="328"/>
                  <a:pt x="633" y="332"/>
                </a:cubicBezTo>
                <a:cubicBezTo>
                  <a:pt x="632" y="333"/>
                  <a:pt x="632" y="333"/>
                  <a:pt x="632" y="333"/>
                </a:cubicBezTo>
                <a:cubicBezTo>
                  <a:pt x="632" y="337"/>
                  <a:pt x="632" y="345"/>
                  <a:pt x="619" y="346"/>
                </a:cubicBezTo>
                <a:cubicBezTo>
                  <a:pt x="613" y="346"/>
                  <a:pt x="606" y="348"/>
                  <a:pt x="603" y="350"/>
                </a:cubicBezTo>
                <a:cubicBezTo>
                  <a:pt x="603" y="352"/>
                  <a:pt x="602" y="355"/>
                  <a:pt x="602" y="357"/>
                </a:cubicBezTo>
                <a:cubicBezTo>
                  <a:pt x="605" y="360"/>
                  <a:pt x="611" y="363"/>
                  <a:pt x="617" y="366"/>
                </a:cubicBezTo>
                <a:cubicBezTo>
                  <a:pt x="629" y="370"/>
                  <a:pt x="627" y="377"/>
                  <a:pt x="626" y="381"/>
                </a:cubicBezTo>
                <a:cubicBezTo>
                  <a:pt x="626" y="382"/>
                  <a:pt x="626" y="382"/>
                  <a:pt x="626" y="382"/>
                </a:cubicBezTo>
                <a:cubicBezTo>
                  <a:pt x="625" y="386"/>
                  <a:pt x="624" y="393"/>
                  <a:pt x="613" y="393"/>
                </a:cubicBezTo>
                <a:cubicBezTo>
                  <a:pt x="613" y="393"/>
                  <a:pt x="612" y="393"/>
                  <a:pt x="611" y="393"/>
                </a:cubicBezTo>
                <a:cubicBezTo>
                  <a:pt x="610" y="393"/>
                  <a:pt x="609" y="393"/>
                  <a:pt x="608" y="393"/>
                </a:cubicBezTo>
                <a:cubicBezTo>
                  <a:pt x="602" y="393"/>
                  <a:pt x="597" y="393"/>
                  <a:pt x="594" y="395"/>
                </a:cubicBezTo>
                <a:cubicBezTo>
                  <a:pt x="593" y="397"/>
                  <a:pt x="593" y="399"/>
                  <a:pt x="592" y="401"/>
                </a:cubicBezTo>
                <a:cubicBezTo>
                  <a:pt x="594" y="405"/>
                  <a:pt x="599" y="409"/>
                  <a:pt x="605" y="412"/>
                </a:cubicBezTo>
                <a:cubicBezTo>
                  <a:pt x="616" y="418"/>
                  <a:pt x="614" y="425"/>
                  <a:pt x="612" y="429"/>
                </a:cubicBezTo>
                <a:cubicBezTo>
                  <a:pt x="612" y="430"/>
                  <a:pt x="612" y="430"/>
                  <a:pt x="612" y="430"/>
                </a:cubicBezTo>
                <a:cubicBezTo>
                  <a:pt x="610" y="433"/>
                  <a:pt x="608" y="439"/>
                  <a:pt x="601" y="439"/>
                </a:cubicBezTo>
                <a:cubicBezTo>
                  <a:pt x="599" y="439"/>
                  <a:pt x="597" y="438"/>
                  <a:pt x="595" y="438"/>
                </a:cubicBezTo>
                <a:cubicBezTo>
                  <a:pt x="589" y="437"/>
                  <a:pt x="582" y="436"/>
                  <a:pt x="578" y="437"/>
                </a:cubicBezTo>
                <a:cubicBezTo>
                  <a:pt x="577" y="439"/>
                  <a:pt x="576" y="441"/>
                  <a:pt x="575" y="443"/>
                </a:cubicBezTo>
                <a:cubicBezTo>
                  <a:pt x="577" y="447"/>
                  <a:pt x="582" y="452"/>
                  <a:pt x="587" y="456"/>
                </a:cubicBezTo>
                <a:cubicBezTo>
                  <a:pt x="597" y="464"/>
                  <a:pt x="593" y="470"/>
                  <a:pt x="591" y="474"/>
                </a:cubicBezTo>
                <a:cubicBezTo>
                  <a:pt x="590" y="475"/>
                  <a:pt x="590" y="475"/>
                  <a:pt x="590" y="475"/>
                </a:cubicBezTo>
                <a:cubicBezTo>
                  <a:pt x="589" y="477"/>
                  <a:pt x="586" y="482"/>
                  <a:pt x="580" y="482"/>
                </a:cubicBezTo>
                <a:cubicBezTo>
                  <a:pt x="578" y="482"/>
                  <a:pt x="576" y="481"/>
                  <a:pt x="573" y="480"/>
                </a:cubicBezTo>
                <a:cubicBezTo>
                  <a:pt x="567" y="478"/>
                  <a:pt x="560" y="476"/>
                  <a:pt x="556" y="476"/>
                </a:cubicBezTo>
                <a:cubicBezTo>
                  <a:pt x="555" y="478"/>
                  <a:pt x="554" y="480"/>
                  <a:pt x="552" y="482"/>
                </a:cubicBezTo>
                <a:cubicBezTo>
                  <a:pt x="553" y="486"/>
                  <a:pt x="557" y="492"/>
                  <a:pt x="561" y="497"/>
                </a:cubicBezTo>
                <a:cubicBezTo>
                  <a:pt x="570" y="506"/>
                  <a:pt x="565" y="512"/>
                  <a:pt x="563" y="515"/>
                </a:cubicBezTo>
                <a:cubicBezTo>
                  <a:pt x="562" y="515"/>
                  <a:pt x="562" y="515"/>
                  <a:pt x="562" y="515"/>
                </a:cubicBezTo>
                <a:cubicBezTo>
                  <a:pt x="560" y="518"/>
                  <a:pt x="558" y="521"/>
                  <a:pt x="553" y="521"/>
                </a:cubicBezTo>
                <a:cubicBezTo>
                  <a:pt x="550" y="521"/>
                  <a:pt x="547" y="520"/>
                  <a:pt x="544" y="518"/>
                </a:cubicBezTo>
                <a:cubicBezTo>
                  <a:pt x="538" y="515"/>
                  <a:pt x="532" y="512"/>
                  <a:pt x="528" y="512"/>
                </a:cubicBezTo>
                <a:cubicBezTo>
                  <a:pt x="526" y="514"/>
                  <a:pt x="525" y="515"/>
                  <a:pt x="523" y="517"/>
                </a:cubicBezTo>
                <a:cubicBezTo>
                  <a:pt x="524" y="521"/>
                  <a:pt x="526" y="527"/>
                  <a:pt x="530" y="533"/>
                </a:cubicBezTo>
                <a:cubicBezTo>
                  <a:pt x="537" y="543"/>
                  <a:pt x="532" y="548"/>
                  <a:pt x="529" y="551"/>
                </a:cubicBezTo>
                <a:cubicBezTo>
                  <a:pt x="528" y="551"/>
                  <a:pt x="528" y="551"/>
                  <a:pt x="528" y="551"/>
                </a:cubicBezTo>
                <a:cubicBezTo>
                  <a:pt x="526" y="553"/>
                  <a:pt x="523" y="556"/>
                  <a:pt x="519" y="556"/>
                </a:cubicBezTo>
                <a:cubicBezTo>
                  <a:pt x="516" y="556"/>
                  <a:pt x="513" y="554"/>
                  <a:pt x="510" y="551"/>
                </a:cubicBezTo>
                <a:cubicBezTo>
                  <a:pt x="504" y="547"/>
                  <a:pt x="499" y="544"/>
                  <a:pt x="495" y="543"/>
                </a:cubicBezTo>
                <a:cubicBezTo>
                  <a:pt x="493" y="544"/>
                  <a:pt x="491" y="546"/>
                  <a:pt x="489" y="547"/>
                </a:cubicBezTo>
                <a:cubicBezTo>
                  <a:pt x="489" y="551"/>
                  <a:pt x="491" y="557"/>
                  <a:pt x="494" y="563"/>
                </a:cubicBezTo>
                <a:cubicBezTo>
                  <a:pt x="499" y="575"/>
                  <a:pt x="493" y="579"/>
                  <a:pt x="489" y="581"/>
                </a:cubicBezTo>
                <a:cubicBezTo>
                  <a:pt x="488" y="582"/>
                  <a:pt x="488" y="582"/>
                  <a:pt x="488" y="582"/>
                </a:cubicBezTo>
                <a:cubicBezTo>
                  <a:pt x="486" y="583"/>
                  <a:pt x="484" y="584"/>
                  <a:pt x="481" y="584"/>
                </a:cubicBezTo>
                <a:cubicBezTo>
                  <a:pt x="477" y="584"/>
                  <a:pt x="474" y="582"/>
                  <a:pt x="470" y="578"/>
                </a:cubicBezTo>
                <a:cubicBezTo>
                  <a:pt x="466" y="573"/>
                  <a:pt x="461" y="569"/>
                  <a:pt x="457" y="568"/>
                </a:cubicBezTo>
                <a:cubicBezTo>
                  <a:pt x="455" y="569"/>
                  <a:pt x="453" y="570"/>
                  <a:pt x="451" y="571"/>
                </a:cubicBezTo>
                <a:cubicBezTo>
                  <a:pt x="450" y="575"/>
                  <a:pt x="451" y="582"/>
                  <a:pt x="453" y="588"/>
                </a:cubicBezTo>
                <a:cubicBezTo>
                  <a:pt x="456" y="600"/>
                  <a:pt x="449" y="603"/>
                  <a:pt x="446" y="605"/>
                </a:cubicBezTo>
                <a:cubicBezTo>
                  <a:pt x="444" y="605"/>
                  <a:pt x="444" y="605"/>
                  <a:pt x="444" y="605"/>
                </a:cubicBezTo>
                <a:cubicBezTo>
                  <a:pt x="443" y="606"/>
                  <a:pt x="441" y="607"/>
                  <a:pt x="438" y="607"/>
                </a:cubicBezTo>
                <a:cubicBezTo>
                  <a:pt x="434" y="607"/>
                  <a:pt x="431" y="604"/>
                  <a:pt x="427" y="599"/>
                </a:cubicBezTo>
                <a:cubicBezTo>
                  <a:pt x="424" y="594"/>
                  <a:pt x="419" y="589"/>
                  <a:pt x="416" y="587"/>
                </a:cubicBezTo>
                <a:cubicBezTo>
                  <a:pt x="414" y="587"/>
                  <a:pt x="412" y="588"/>
                  <a:pt x="409" y="589"/>
                </a:cubicBezTo>
                <a:cubicBezTo>
                  <a:pt x="408" y="593"/>
                  <a:pt x="408" y="599"/>
                  <a:pt x="408" y="606"/>
                </a:cubicBezTo>
                <a:cubicBezTo>
                  <a:pt x="410" y="618"/>
                  <a:pt x="403" y="620"/>
                  <a:pt x="399" y="621"/>
                </a:cubicBezTo>
                <a:cubicBezTo>
                  <a:pt x="398" y="622"/>
                  <a:pt x="398" y="622"/>
                  <a:pt x="398" y="622"/>
                </a:cubicBezTo>
                <a:cubicBezTo>
                  <a:pt x="396" y="622"/>
                  <a:pt x="394" y="622"/>
                  <a:pt x="393" y="622"/>
                </a:cubicBezTo>
                <a:cubicBezTo>
                  <a:pt x="388" y="622"/>
                  <a:pt x="384" y="619"/>
                  <a:pt x="382" y="613"/>
                </a:cubicBezTo>
                <a:cubicBezTo>
                  <a:pt x="379" y="607"/>
                  <a:pt x="375" y="601"/>
                  <a:pt x="372" y="599"/>
                </a:cubicBezTo>
                <a:cubicBezTo>
                  <a:pt x="370" y="599"/>
                  <a:pt x="368" y="600"/>
                  <a:pt x="366" y="600"/>
                </a:cubicBezTo>
                <a:cubicBezTo>
                  <a:pt x="365" y="600"/>
                  <a:pt x="365" y="600"/>
                  <a:pt x="365" y="600"/>
                </a:cubicBezTo>
                <a:cubicBezTo>
                  <a:pt x="364" y="604"/>
                  <a:pt x="362" y="610"/>
                  <a:pt x="362" y="617"/>
                </a:cubicBezTo>
                <a:cubicBezTo>
                  <a:pt x="362" y="629"/>
                  <a:pt x="354" y="630"/>
                  <a:pt x="350" y="630"/>
                </a:cubicBezTo>
                <a:cubicBezTo>
                  <a:pt x="349" y="630"/>
                  <a:pt x="349" y="630"/>
                  <a:pt x="349" y="630"/>
                </a:cubicBezTo>
                <a:cubicBezTo>
                  <a:pt x="348" y="631"/>
                  <a:pt x="347" y="631"/>
                  <a:pt x="346" y="631"/>
                </a:cubicBezTo>
                <a:cubicBezTo>
                  <a:pt x="340" y="631"/>
                  <a:pt x="336" y="627"/>
                  <a:pt x="334" y="620"/>
                </a:cubicBezTo>
                <a:cubicBezTo>
                  <a:pt x="333" y="613"/>
                  <a:pt x="330" y="607"/>
                  <a:pt x="327" y="604"/>
                </a:cubicBezTo>
                <a:cubicBezTo>
                  <a:pt x="325" y="604"/>
                  <a:pt x="323" y="604"/>
                  <a:pt x="320" y="604"/>
                </a:cubicBezTo>
                <a:cubicBezTo>
                  <a:pt x="318" y="607"/>
                  <a:pt x="316" y="614"/>
                  <a:pt x="314" y="620"/>
                </a:cubicBezTo>
                <a:cubicBezTo>
                  <a:pt x="313" y="628"/>
                  <a:pt x="309" y="632"/>
                  <a:pt x="303" y="632"/>
                </a:cubicBezTo>
                <a:close/>
                <a:moveTo>
                  <a:pt x="274" y="596"/>
                </a:moveTo>
                <a:cubicBezTo>
                  <a:pt x="275" y="596"/>
                  <a:pt x="275" y="596"/>
                  <a:pt x="275" y="596"/>
                </a:cubicBezTo>
                <a:cubicBezTo>
                  <a:pt x="278" y="597"/>
                  <a:pt x="281" y="597"/>
                  <a:pt x="284" y="597"/>
                </a:cubicBezTo>
                <a:cubicBezTo>
                  <a:pt x="285" y="597"/>
                  <a:pt x="285" y="598"/>
                  <a:pt x="286" y="598"/>
                </a:cubicBezTo>
                <a:cubicBezTo>
                  <a:pt x="289" y="603"/>
                  <a:pt x="291" y="612"/>
                  <a:pt x="292" y="618"/>
                </a:cubicBezTo>
                <a:cubicBezTo>
                  <a:pt x="292" y="626"/>
                  <a:pt x="295" y="627"/>
                  <a:pt x="299" y="627"/>
                </a:cubicBezTo>
                <a:cubicBezTo>
                  <a:pt x="301" y="627"/>
                  <a:pt x="301" y="627"/>
                  <a:pt x="301" y="627"/>
                </a:cubicBezTo>
                <a:cubicBezTo>
                  <a:pt x="301" y="627"/>
                  <a:pt x="302" y="627"/>
                  <a:pt x="303" y="627"/>
                </a:cubicBezTo>
                <a:cubicBezTo>
                  <a:pt x="305" y="627"/>
                  <a:pt x="308" y="627"/>
                  <a:pt x="309" y="619"/>
                </a:cubicBezTo>
                <a:cubicBezTo>
                  <a:pt x="311" y="613"/>
                  <a:pt x="314" y="604"/>
                  <a:pt x="317" y="600"/>
                </a:cubicBezTo>
                <a:cubicBezTo>
                  <a:pt x="318" y="600"/>
                  <a:pt x="318" y="599"/>
                  <a:pt x="319" y="599"/>
                </a:cubicBezTo>
                <a:cubicBezTo>
                  <a:pt x="322" y="599"/>
                  <a:pt x="325" y="599"/>
                  <a:pt x="328" y="599"/>
                </a:cubicBezTo>
                <a:cubicBezTo>
                  <a:pt x="328" y="599"/>
                  <a:pt x="328" y="599"/>
                  <a:pt x="328" y="599"/>
                </a:cubicBezTo>
                <a:cubicBezTo>
                  <a:pt x="329" y="599"/>
                  <a:pt x="330" y="599"/>
                  <a:pt x="330" y="600"/>
                </a:cubicBezTo>
                <a:cubicBezTo>
                  <a:pt x="334" y="604"/>
                  <a:pt x="337" y="612"/>
                  <a:pt x="339" y="618"/>
                </a:cubicBezTo>
                <a:cubicBezTo>
                  <a:pt x="341" y="626"/>
                  <a:pt x="344" y="626"/>
                  <a:pt x="346" y="626"/>
                </a:cubicBezTo>
                <a:cubicBezTo>
                  <a:pt x="346" y="626"/>
                  <a:pt x="347" y="626"/>
                  <a:pt x="348" y="626"/>
                </a:cubicBezTo>
                <a:cubicBezTo>
                  <a:pt x="350" y="625"/>
                  <a:pt x="350" y="625"/>
                  <a:pt x="350" y="625"/>
                </a:cubicBezTo>
                <a:cubicBezTo>
                  <a:pt x="353" y="625"/>
                  <a:pt x="357" y="625"/>
                  <a:pt x="357" y="617"/>
                </a:cubicBezTo>
                <a:cubicBezTo>
                  <a:pt x="357" y="610"/>
                  <a:pt x="359" y="601"/>
                  <a:pt x="362" y="596"/>
                </a:cubicBezTo>
                <a:cubicBezTo>
                  <a:pt x="362" y="596"/>
                  <a:pt x="363" y="595"/>
                  <a:pt x="363" y="595"/>
                </a:cubicBezTo>
                <a:cubicBezTo>
                  <a:pt x="365" y="595"/>
                  <a:pt x="365" y="595"/>
                  <a:pt x="365" y="595"/>
                </a:cubicBezTo>
                <a:cubicBezTo>
                  <a:pt x="367" y="595"/>
                  <a:pt x="370" y="594"/>
                  <a:pt x="373" y="594"/>
                </a:cubicBezTo>
                <a:cubicBezTo>
                  <a:pt x="373" y="594"/>
                  <a:pt x="374" y="594"/>
                  <a:pt x="375" y="594"/>
                </a:cubicBezTo>
                <a:cubicBezTo>
                  <a:pt x="379" y="597"/>
                  <a:pt x="384" y="605"/>
                  <a:pt x="386" y="611"/>
                </a:cubicBezTo>
                <a:cubicBezTo>
                  <a:pt x="389" y="617"/>
                  <a:pt x="392" y="617"/>
                  <a:pt x="393" y="617"/>
                </a:cubicBezTo>
                <a:cubicBezTo>
                  <a:pt x="394" y="617"/>
                  <a:pt x="395" y="617"/>
                  <a:pt x="396" y="617"/>
                </a:cubicBezTo>
                <a:cubicBezTo>
                  <a:pt x="398" y="616"/>
                  <a:pt x="398" y="616"/>
                  <a:pt x="398" y="616"/>
                </a:cubicBezTo>
                <a:cubicBezTo>
                  <a:pt x="401" y="615"/>
                  <a:pt x="404" y="615"/>
                  <a:pt x="403" y="607"/>
                </a:cubicBezTo>
                <a:cubicBezTo>
                  <a:pt x="403" y="600"/>
                  <a:pt x="403" y="591"/>
                  <a:pt x="405" y="586"/>
                </a:cubicBezTo>
                <a:cubicBezTo>
                  <a:pt x="405" y="585"/>
                  <a:pt x="406" y="585"/>
                  <a:pt x="407" y="585"/>
                </a:cubicBezTo>
                <a:cubicBezTo>
                  <a:pt x="410" y="584"/>
                  <a:pt x="412" y="583"/>
                  <a:pt x="415" y="581"/>
                </a:cubicBezTo>
                <a:cubicBezTo>
                  <a:pt x="416" y="581"/>
                  <a:pt x="417" y="581"/>
                  <a:pt x="417" y="582"/>
                </a:cubicBezTo>
                <a:cubicBezTo>
                  <a:pt x="422" y="584"/>
                  <a:pt x="428" y="591"/>
                  <a:pt x="432" y="597"/>
                </a:cubicBezTo>
                <a:cubicBezTo>
                  <a:pt x="435" y="602"/>
                  <a:pt x="437" y="602"/>
                  <a:pt x="438" y="602"/>
                </a:cubicBezTo>
                <a:cubicBezTo>
                  <a:pt x="439" y="602"/>
                  <a:pt x="441" y="601"/>
                  <a:pt x="442" y="601"/>
                </a:cubicBezTo>
                <a:cubicBezTo>
                  <a:pt x="444" y="600"/>
                  <a:pt x="444" y="600"/>
                  <a:pt x="444" y="600"/>
                </a:cubicBezTo>
                <a:cubicBezTo>
                  <a:pt x="447" y="598"/>
                  <a:pt x="450" y="597"/>
                  <a:pt x="448" y="589"/>
                </a:cubicBezTo>
                <a:cubicBezTo>
                  <a:pt x="446" y="583"/>
                  <a:pt x="445" y="574"/>
                  <a:pt x="446" y="569"/>
                </a:cubicBezTo>
                <a:cubicBezTo>
                  <a:pt x="446" y="568"/>
                  <a:pt x="447" y="568"/>
                  <a:pt x="448" y="567"/>
                </a:cubicBezTo>
                <a:cubicBezTo>
                  <a:pt x="450" y="566"/>
                  <a:pt x="453" y="564"/>
                  <a:pt x="456" y="563"/>
                </a:cubicBezTo>
                <a:cubicBezTo>
                  <a:pt x="456" y="563"/>
                  <a:pt x="457" y="562"/>
                  <a:pt x="458" y="563"/>
                </a:cubicBezTo>
                <a:cubicBezTo>
                  <a:pt x="463" y="564"/>
                  <a:pt x="470" y="570"/>
                  <a:pt x="474" y="575"/>
                </a:cubicBezTo>
                <a:cubicBezTo>
                  <a:pt x="477" y="578"/>
                  <a:pt x="479" y="579"/>
                  <a:pt x="481" y="579"/>
                </a:cubicBezTo>
                <a:cubicBezTo>
                  <a:pt x="482" y="579"/>
                  <a:pt x="484" y="578"/>
                  <a:pt x="485" y="577"/>
                </a:cubicBezTo>
                <a:cubicBezTo>
                  <a:pt x="486" y="577"/>
                  <a:pt x="486" y="577"/>
                  <a:pt x="486" y="577"/>
                </a:cubicBezTo>
                <a:cubicBezTo>
                  <a:pt x="490" y="575"/>
                  <a:pt x="493" y="573"/>
                  <a:pt x="489" y="566"/>
                </a:cubicBezTo>
                <a:cubicBezTo>
                  <a:pt x="486" y="560"/>
                  <a:pt x="484" y="551"/>
                  <a:pt x="484" y="545"/>
                </a:cubicBezTo>
                <a:cubicBezTo>
                  <a:pt x="484" y="545"/>
                  <a:pt x="485" y="544"/>
                  <a:pt x="485" y="544"/>
                </a:cubicBezTo>
                <a:cubicBezTo>
                  <a:pt x="488" y="542"/>
                  <a:pt x="490" y="540"/>
                  <a:pt x="493" y="538"/>
                </a:cubicBezTo>
                <a:cubicBezTo>
                  <a:pt x="493" y="538"/>
                  <a:pt x="494" y="537"/>
                  <a:pt x="495" y="537"/>
                </a:cubicBezTo>
                <a:cubicBezTo>
                  <a:pt x="500" y="538"/>
                  <a:pt x="508" y="543"/>
                  <a:pt x="513" y="547"/>
                </a:cubicBezTo>
                <a:cubicBezTo>
                  <a:pt x="515" y="549"/>
                  <a:pt x="518" y="551"/>
                  <a:pt x="519" y="551"/>
                </a:cubicBezTo>
                <a:cubicBezTo>
                  <a:pt x="521" y="551"/>
                  <a:pt x="523" y="549"/>
                  <a:pt x="524" y="548"/>
                </a:cubicBezTo>
                <a:cubicBezTo>
                  <a:pt x="525" y="547"/>
                  <a:pt x="525" y="547"/>
                  <a:pt x="525" y="547"/>
                </a:cubicBezTo>
                <a:cubicBezTo>
                  <a:pt x="528" y="544"/>
                  <a:pt x="531" y="542"/>
                  <a:pt x="526" y="536"/>
                </a:cubicBezTo>
                <a:cubicBezTo>
                  <a:pt x="522" y="530"/>
                  <a:pt x="518" y="522"/>
                  <a:pt x="518" y="516"/>
                </a:cubicBezTo>
                <a:cubicBezTo>
                  <a:pt x="518" y="516"/>
                  <a:pt x="518" y="515"/>
                  <a:pt x="519" y="514"/>
                </a:cubicBezTo>
                <a:cubicBezTo>
                  <a:pt x="521" y="512"/>
                  <a:pt x="523" y="510"/>
                  <a:pt x="525" y="508"/>
                </a:cubicBezTo>
                <a:cubicBezTo>
                  <a:pt x="526" y="507"/>
                  <a:pt x="526" y="507"/>
                  <a:pt x="527" y="507"/>
                </a:cubicBezTo>
                <a:cubicBezTo>
                  <a:pt x="533" y="507"/>
                  <a:pt x="541" y="510"/>
                  <a:pt x="547" y="514"/>
                </a:cubicBezTo>
                <a:cubicBezTo>
                  <a:pt x="549" y="515"/>
                  <a:pt x="551" y="516"/>
                  <a:pt x="553" y="516"/>
                </a:cubicBezTo>
                <a:cubicBezTo>
                  <a:pt x="555" y="516"/>
                  <a:pt x="556" y="515"/>
                  <a:pt x="558" y="512"/>
                </a:cubicBezTo>
                <a:cubicBezTo>
                  <a:pt x="559" y="511"/>
                  <a:pt x="559" y="511"/>
                  <a:pt x="559" y="511"/>
                </a:cubicBezTo>
                <a:cubicBezTo>
                  <a:pt x="561" y="508"/>
                  <a:pt x="563" y="506"/>
                  <a:pt x="558" y="500"/>
                </a:cubicBezTo>
                <a:cubicBezTo>
                  <a:pt x="553" y="495"/>
                  <a:pt x="548" y="488"/>
                  <a:pt x="547" y="482"/>
                </a:cubicBezTo>
                <a:cubicBezTo>
                  <a:pt x="547" y="482"/>
                  <a:pt x="547" y="481"/>
                  <a:pt x="547" y="480"/>
                </a:cubicBezTo>
                <a:cubicBezTo>
                  <a:pt x="549" y="478"/>
                  <a:pt x="551" y="475"/>
                  <a:pt x="553" y="473"/>
                </a:cubicBezTo>
                <a:cubicBezTo>
                  <a:pt x="553" y="472"/>
                  <a:pt x="554" y="472"/>
                  <a:pt x="554" y="472"/>
                </a:cubicBezTo>
                <a:cubicBezTo>
                  <a:pt x="559" y="471"/>
                  <a:pt x="567" y="472"/>
                  <a:pt x="575" y="475"/>
                </a:cubicBezTo>
                <a:cubicBezTo>
                  <a:pt x="577" y="476"/>
                  <a:pt x="579" y="477"/>
                  <a:pt x="580" y="477"/>
                </a:cubicBezTo>
                <a:cubicBezTo>
                  <a:pt x="583" y="477"/>
                  <a:pt x="584" y="475"/>
                  <a:pt x="586" y="472"/>
                </a:cubicBezTo>
                <a:cubicBezTo>
                  <a:pt x="586" y="471"/>
                  <a:pt x="586" y="471"/>
                  <a:pt x="586" y="471"/>
                </a:cubicBezTo>
                <a:cubicBezTo>
                  <a:pt x="588" y="468"/>
                  <a:pt x="590" y="465"/>
                  <a:pt x="584" y="460"/>
                </a:cubicBezTo>
                <a:cubicBezTo>
                  <a:pt x="578" y="456"/>
                  <a:pt x="572" y="449"/>
                  <a:pt x="570" y="444"/>
                </a:cubicBezTo>
                <a:cubicBezTo>
                  <a:pt x="570" y="444"/>
                  <a:pt x="570" y="443"/>
                  <a:pt x="570" y="442"/>
                </a:cubicBezTo>
                <a:cubicBezTo>
                  <a:pt x="570" y="442"/>
                  <a:pt x="570" y="442"/>
                  <a:pt x="570" y="442"/>
                </a:cubicBezTo>
                <a:cubicBezTo>
                  <a:pt x="572" y="439"/>
                  <a:pt x="573" y="436"/>
                  <a:pt x="574" y="434"/>
                </a:cubicBezTo>
                <a:cubicBezTo>
                  <a:pt x="575" y="433"/>
                  <a:pt x="575" y="433"/>
                  <a:pt x="576" y="432"/>
                </a:cubicBezTo>
                <a:cubicBezTo>
                  <a:pt x="581" y="431"/>
                  <a:pt x="589" y="431"/>
                  <a:pt x="597" y="433"/>
                </a:cubicBezTo>
                <a:cubicBezTo>
                  <a:pt x="598" y="433"/>
                  <a:pt x="600" y="434"/>
                  <a:pt x="601" y="434"/>
                </a:cubicBezTo>
                <a:cubicBezTo>
                  <a:pt x="605" y="434"/>
                  <a:pt x="606" y="432"/>
                  <a:pt x="607" y="428"/>
                </a:cubicBezTo>
                <a:cubicBezTo>
                  <a:pt x="607" y="427"/>
                  <a:pt x="607" y="427"/>
                  <a:pt x="607" y="427"/>
                </a:cubicBezTo>
                <a:cubicBezTo>
                  <a:pt x="609" y="423"/>
                  <a:pt x="610" y="420"/>
                  <a:pt x="603" y="416"/>
                </a:cubicBezTo>
                <a:cubicBezTo>
                  <a:pt x="597" y="413"/>
                  <a:pt x="590" y="408"/>
                  <a:pt x="587" y="403"/>
                </a:cubicBezTo>
                <a:cubicBezTo>
                  <a:pt x="587" y="402"/>
                  <a:pt x="587" y="402"/>
                  <a:pt x="587" y="401"/>
                </a:cubicBezTo>
                <a:cubicBezTo>
                  <a:pt x="588" y="398"/>
                  <a:pt x="589" y="395"/>
                  <a:pt x="590" y="392"/>
                </a:cubicBezTo>
                <a:cubicBezTo>
                  <a:pt x="590" y="391"/>
                  <a:pt x="590" y="391"/>
                  <a:pt x="591" y="390"/>
                </a:cubicBezTo>
                <a:cubicBezTo>
                  <a:pt x="596" y="388"/>
                  <a:pt x="605" y="388"/>
                  <a:pt x="608" y="388"/>
                </a:cubicBezTo>
                <a:cubicBezTo>
                  <a:pt x="609" y="388"/>
                  <a:pt x="610" y="388"/>
                  <a:pt x="611" y="388"/>
                </a:cubicBezTo>
                <a:cubicBezTo>
                  <a:pt x="612" y="388"/>
                  <a:pt x="613" y="388"/>
                  <a:pt x="613" y="388"/>
                </a:cubicBezTo>
                <a:cubicBezTo>
                  <a:pt x="620" y="388"/>
                  <a:pt x="620" y="385"/>
                  <a:pt x="621" y="381"/>
                </a:cubicBezTo>
                <a:cubicBezTo>
                  <a:pt x="621" y="380"/>
                  <a:pt x="621" y="380"/>
                  <a:pt x="621" y="380"/>
                </a:cubicBezTo>
                <a:cubicBezTo>
                  <a:pt x="622" y="376"/>
                  <a:pt x="623" y="373"/>
                  <a:pt x="615" y="370"/>
                </a:cubicBezTo>
                <a:cubicBezTo>
                  <a:pt x="609" y="368"/>
                  <a:pt x="601" y="364"/>
                  <a:pt x="597" y="360"/>
                </a:cubicBezTo>
                <a:cubicBezTo>
                  <a:pt x="597" y="359"/>
                  <a:pt x="597" y="358"/>
                  <a:pt x="597" y="358"/>
                </a:cubicBezTo>
                <a:cubicBezTo>
                  <a:pt x="597" y="355"/>
                  <a:pt x="598" y="351"/>
                  <a:pt x="598" y="348"/>
                </a:cubicBezTo>
                <a:cubicBezTo>
                  <a:pt x="598" y="348"/>
                  <a:pt x="599" y="347"/>
                  <a:pt x="599" y="347"/>
                </a:cubicBezTo>
                <a:cubicBezTo>
                  <a:pt x="604" y="343"/>
                  <a:pt x="612" y="341"/>
                  <a:pt x="619" y="341"/>
                </a:cubicBezTo>
                <a:cubicBezTo>
                  <a:pt x="627" y="340"/>
                  <a:pt x="627" y="337"/>
                  <a:pt x="627" y="333"/>
                </a:cubicBezTo>
                <a:cubicBezTo>
                  <a:pt x="628" y="332"/>
                  <a:pt x="628" y="332"/>
                  <a:pt x="628" y="332"/>
                </a:cubicBezTo>
                <a:cubicBezTo>
                  <a:pt x="628" y="328"/>
                  <a:pt x="628" y="325"/>
                  <a:pt x="620" y="323"/>
                </a:cubicBezTo>
                <a:cubicBezTo>
                  <a:pt x="614" y="322"/>
                  <a:pt x="605" y="319"/>
                  <a:pt x="601" y="315"/>
                </a:cubicBezTo>
                <a:cubicBezTo>
                  <a:pt x="600" y="315"/>
                  <a:pt x="600" y="314"/>
                  <a:pt x="600" y="313"/>
                </a:cubicBezTo>
                <a:cubicBezTo>
                  <a:pt x="600" y="310"/>
                  <a:pt x="600" y="308"/>
                  <a:pt x="600" y="305"/>
                </a:cubicBezTo>
                <a:cubicBezTo>
                  <a:pt x="600" y="304"/>
                  <a:pt x="600" y="304"/>
                  <a:pt x="600" y="304"/>
                </a:cubicBezTo>
                <a:cubicBezTo>
                  <a:pt x="600" y="303"/>
                  <a:pt x="600" y="303"/>
                  <a:pt x="600" y="302"/>
                </a:cubicBezTo>
                <a:cubicBezTo>
                  <a:pt x="605" y="298"/>
                  <a:pt x="613" y="295"/>
                  <a:pt x="619" y="293"/>
                </a:cubicBezTo>
                <a:cubicBezTo>
                  <a:pt x="627" y="291"/>
                  <a:pt x="627" y="288"/>
                  <a:pt x="626" y="284"/>
                </a:cubicBezTo>
                <a:cubicBezTo>
                  <a:pt x="626" y="283"/>
                  <a:pt x="626" y="283"/>
                  <a:pt x="626" y="283"/>
                </a:cubicBezTo>
                <a:cubicBezTo>
                  <a:pt x="626" y="279"/>
                  <a:pt x="626" y="276"/>
                  <a:pt x="617" y="275"/>
                </a:cubicBezTo>
                <a:cubicBezTo>
                  <a:pt x="611" y="275"/>
                  <a:pt x="602" y="274"/>
                  <a:pt x="597" y="270"/>
                </a:cubicBezTo>
                <a:cubicBezTo>
                  <a:pt x="597" y="270"/>
                  <a:pt x="596" y="269"/>
                  <a:pt x="596" y="269"/>
                </a:cubicBezTo>
                <a:cubicBezTo>
                  <a:pt x="596" y="268"/>
                  <a:pt x="596" y="268"/>
                  <a:pt x="596" y="268"/>
                </a:cubicBezTo>
                <a:cubicBezTo>
                  <a:pt x="595" y="265"/>
                  <a:pt x="595" y="262"/>
                  <a:pt x="594" y="260"/>
                </a:cubicBezTo>
                <a:cubicBezTo>
                  <a:pt x="594" y="259"/>
                  <a:pt x="595" y="258"/>
                  <a:pt x="595" y="258"/>
                </a:cubicBezTo>
                <a:cubicBezTo>
                  <a:pt x="598" y="253"/>
                  <a:pt x="606" y="249"/>
                  <a:pt x="612" y="246"/>
                </a:cubicBezTo>
                <a:cubicBezTo>
                  <a:pt x="620" y="243"/>
                  <a:pt x="619" y="240"/>
                  <a:pt x="618" y="236"/>
                </a:cubicBezTo>
                <a:cubicBezTo>
                  <a:pt x="617" y="235"/>
                  <a:pt x="617" y="235"/>
                  <a:pt x="617" y="235"/>
                </a:cubicBezTo>
                <a:cubicBezTo>
                  <a:pt x="616" y="231"/>
                  <a:pt x="616" y="229"/>
                  <a:pt x="610" y="229"/>
                </a:cubicBezTo>
                <a:cubicBezTo>
                  <a:pt x="609" y="229"/>
                  <a:pt x="608" y="229"/>
                  <a:pt x="607" y="229"/>
                </a:cubicBezTo>
                <a:cubicBezTo>
                  <a:pt x="605" y="229"/>
                  <a:pt x="603" y="229"/>
                  <a:pt x="600" y="229"/>
                </a:cubicBezTo>
                <a:cubicBezTo>
                  <a:pt x="596" y="229"/>
                  <a:pt x="591" y="229"/>
                  <a:pt x="587" y="227"/>
                </a:cubicBezTo>
                <a:cubicBezTo>
                  <a:pt x="586" y="227"/>
                  <a:pt x="586" y="226"/>
                  <a:pt x="585" y="226"/>
                </a:cubicBezTo>
                <a:cubicBezTo>
                  <a:pt x="584" y="223"/>
                  <a:pt x="583" y="220"/>
                  <a:pt x="582" y="217"/>
                </a:cubicBezTo>
                <a:cubicBezTo>
                  <a:pt x="582" y="216"/>
                  <a:pt x="582" y="216"/>
                  <a:pt x="582" y="215"/>
                </a:cubicBezTo>
                <a:cubicBezTo>
                  <a:pt x="585" y="210"/>
                  <a:pt x="592" y="204"/>
                  <a:pt x="597" y="201"/>
                </a:cubicBezTo>
                <a:cubicBezTo>
                  <a:pt x="604" y="196"/>
                  <a:pt x="603" y="194"/>
                  <a:pt x="601" y="190"/>
                </a:cubicBezTo>
                <a:cubicBezTo>
                  <a:pt x="601" y="189"/>
                  <a:pt x="601" y="189"/>
                  <a:pt x="601" y="189"/>
                </a:cubicBezTo>
                <a:cubicBezTo>
                  <a:pt x="600" y="186"/>
                  <a:pt x="599" y="184"/>
                  <a:pt x="595" y="184"/>
                </a:cubicBezTo>
                <a:cubicBezTo>
                  <a:pt x="594" y="184"/>
                  <a:pt x="592" y="184"/>
                  <a:pt x="590" y="184"/>
                </a:cubicBezTo>
                <a:cubicBezTo>
                  <a:pt x="585" y="186"/>
                  <a:pt x="580" y="187"/>
                  <a:pt x="575" y="187"/>
                </a:cubicBezTo>
                <a:cubicBezTo>
                  <a:pt x="573" y="187"/>
                  <a:pt x="571" y="186"/>
                  <a:pt x="570" y="186"/>
                </a:cubicBezTo>
                <a:cubicBezTo>
                  <a:pt x="569" y="186"/>
                  <a:pt x="568" y="185"/>
                  <a:pt x="568" y="185"/>
                </a:cubicBezTo>
                <a:cubicBezTo>
                  <a:pt x="567" y="182"/>
                  <a:pt x="565" y="179"/>
                  <a:pt x="564" y="177"/>
                </a:cubicBezTo>
                <a:cubicBezTo>
                  <a:pt x="563" y="176"/>
                  <a:pt x="563" y="175"/>
                  <a:pt x="563" y="175"/>
                </a:cubicBezTo>
                <a:cubicBezTo>
                  <a:pt x="565" y="169"/>
                  <a:pt x="571" y="163"/>
                  <a:pt x="576" y="158"/>
                </a:cubicBezTo>
                <a:cubicBezTo>
                  <a:pt x="582" y="153"/>
                  <a:pt x="580" y="150"/>
                  <a:pt x="578" y="147"/>
                </a:cubicBezTo>
                <a:cubicBezTo>
                  <a:pt x="577" y="146"/>
                  <a:pt x="577" y="146"/>
                  <a:pt x="577" y="146"/>
                </a:cubicBezTo>
                <a:cubicBezTo>
                  <a:pt x="576" y="143"/>
                  <a:pt x="575" y="142"/>
                  <a:pt x="572" y="142"/>
                </a:cubicBezTo>
                <a:cubicBezTo>
                  <a:pt x="571" y="142"/>
                  <a:pt x="569" y="142"/>
                  <a:pt x="566" y="143"/>
                </a:cubicBezTo>
                <a:cubicBezTo>
                  <a:pt x="559" y="147"/>
                  <a:pt x="551" y="148"/>
                  <a:pt x="546" y="148"/>
                </a:cubicBezTo>
                <a:cubicBezTo>
                  <a:pt x="546" y="148"/>
                  <a:pt x="545" y="148"/>
                  <a:pt x="545" y="147"/>
                </a:cubicBezTo>
                <a:cubicBezTo>
                  <a:pt x="543" y="145"/>
                  <a:pt x="541" y="143"/>
                  <a:pt x="540" y="141"/>
                </a:cubicBezTo>
                <a:cubicBezTo>
                  <a:pt x="539" y="140"/>
                  <a:pt x="539" y="140"/>
                  <a:pt x="539" y="140"/>
                </a:cubicBezTo>
                <a:cubicBezTo>
                  <a:pt x="538" y="139"/>
                  <a:pt x="538" y="138"/>
                  <a:pt x="538" y="138"/>
                </a:cubicBezTo>
                <a:cubicBezTo>
                  <a:pt x="539" y="132"/>
                  <a:pt x="544" y="125"/>
                  <a:pt x="548" y="119"/>
                </a:cubicBezTo>
                <a:cubicBezTo>
                  <a:pt x="553" y="113"/>
                  <a:pt x="551" y="111"/>
                  <a:pt x="549" y="108"/>
                </a:cubicBezTo>
                <a:cubicBezTo>
                  <a:pt x="548" y="107"/>
                  <a:pt x="548" y="107"/>
                  <a:pt x="548" y="107"/>
                </a:cubicBezTo>
                <a:cubicBezTo>
                  <a:pt x="546" y="105"/>
                  <a:pt x="545" y="104"/>
                  <a:pt x="543" y="104"/>
                </a:cubicBezTo>
                <a:cubicBezTo>
                  <a:pt x="541" y="104"/>
                  <a:pt x="539" y="105"/>
                  <a:pt x="536" y="106"/>
                </a:cubicBezTo>
                <a:cubicBezTo>
                  <a:pt x="531" y="110"/>
                  <a:pt x="523" y="114"/>
                  <a:pt x="517" y="114"/>
                </a:cubicBezTo>
                <a:cubicBezTo>
                  <a:pt x="516" y="114"/>
                  <a:pt x="516" y="114"/>
                  <a:pt x="515" y="113"/>
                </a:cubicBezTo>
                <a:cubicBezTo>
                  <a:pt x="513" y="111"/>
                  <a:pt x="511" y="109"/>
                  <a:pt x="508" y="107"/>
                </a:cubicBezTo>
                <a:cubicBezTo>
                  <a:pt x="508" y="107"/>
                  <a:pt x="508" y="106"/>
                  <a:pt x="508" y="105"/>
                </a:cubicBezTo>
                <a:cubicBezTo>
                  <a:pt x="508" y="100"/>
                  <a:pt x="511" y="91"/>
                  <a:pt x="515" y="86"/>
                </a:cubicBezTo>
                <a:cubicBezTo>
                  <a:pt x="519" y="79"/>
                  <a:pt x="516" y="77"/>
                  <a:pt x="513" y="74"/>
                </a:cubicBezTo>
                <a:cubicBezTo>
                  <a:pt x="512" y="73"/>
                  <a:pt x="512" y="73"/>
                  <a:pt x="512" y="73"/>
                </a:cubicBezTo>
                <a:cubicBezTo>
                  <a:pt x="511" y="72"/>
                  <a:pt x="509" y="71"/>
                  <a:pt x="507" y="71"/>
                </a:cubicBezTo>
                <a:cubicBezTo>
                  <a:pt x="506" y="71"/>
                  <a:pt x="503" y="72"/>
                  <a:pt x="501" y="75"/>
                </a:cubicBezTo>
                <a:cubicBezTo>
                  <a:pt x="496" y="79"/>
                  <a:pt x="489" y="84"/>
                  <a:pt x="483" y="85"/>
                </a:cubicBezTo>
                <a:cubicBezTo>
                  <a:pt x="482" y="85"/>
                  <a:pt x="482" y="85"/>
                  <a:pt x="481" y="85"/>
                </a:cubicBezTo>
                <a:cubicBezTo>
                  <a:pt x="479" y="83"/>
                  <a:pt x="476" y="81"/>
                  <a:pt x="473" y="80"/>
                </a:cubicBezTo>
                <a:cubicBezTo>
                  <a:pt x="473" y="79"/>
                  <a:pt x="473" y="79"/>
                  <a:pt x="472" y="78"/>
                </a:cubicBezTo>
                <a:cubicBezTo>
                  <a:pt x="472" y="72"/>
                  <a:pt x="474" y="64"/>
                  <a:pt x="476" y="58"/>
                </a:cubicBezTo>
                <a:cubicBezTo>
                  <a:pt x="479" y="50"/>
                  <a:pt x="477" y="48"/>
                  <a:pt x="473" y="47"/>
                </a:cubicBezTo>
                <a:cubicBezTo>
                  <a:pt x="472" y="46"/>
                  <a:pt x="472" y="46"/>
                  <a:pt x="472" y="46"/>
                </a:cubicBezTo>
                <a:cubicBezTo>
                  <a:pt x="470" y="45"/>
                  <a:pt x="469" y="44"/>
                  <a:pt x="467" y="44"/>
                </a:cubicBezTo>
                <a:cubicBezTo>
                  <a:pt x="465" y="44"/>
                  <a:pt x="463" y="46"/>
                  <a:pt x="461" y="49"/>
                </a:cubicBezTo>
                <a:cubicBezTo>
                  <a:pt x="457" y="54"/>
                  <a:pt x="450" y="60"/>
                  <a:pt x="445" y="62"/>
                </a:cubicBezTo>
                <a:cubicBezTo>
                  <a:pt x="444" y="62"/>
                  <a:pt x="444" y="62"/>
                  <a:pt x="443" y="62"/>
                </a:cubicBezTo>
                <a:cubicBezTo>
                  <a:pt x="441" y="61"/>
                  <a:pt x="441" y="61"/>
                  <a:pt x="441" y="61"/>
                </a:cubicBezTo>
                <a:cubicBezTo>
                  <a:pt x="439" y="60"/>
                  <a:pt x="437" y="59"/>
                  <a:pt x="435" y="58"/>
                </a:cubicBezTo>
                <a:cubicBezTo>
                  <a:pt x="434" y="58"/>
                  <a:pt x="433" y="57"/>
                  <a:pt x="433" y="56"/>
                </a:cubicBezTo>
                <a:cubicBezTo>
                  <a:pt x="432" y="51"/>
                  <a:pt x="432" y="42"/>
                  <a:pt x="434" y="36"/>
                </a:cubicBezTo>
                <a:cubicBezTo>
                  <a:pt x="436" y="28"/>
                  <a:pt x="433" y="27"/>
                  <a:pt x="429" y="25"/>
                </a:cubicBezTo>
                <a:cubicBezTo>
                  <a:pt x="428" y="25"/>
                  <a:pt x="428" y="25"/>
                  <a:pt x="428" y="25"/>
                </a:cubicBezTo>
                <a:cubicBezTo>
                  <a:pt x="426" y="24"/>
                  <a:pt x="425" y="24"/>
                  <a:pt x="424" y="24"/>
                </a:cubicBezTo>
                <a:cubicBezTo>
                  <a:pt x="423" y="24"/>
                  <a:pt x="420" y="24"/>
                  <a:pt x="417" y="29"/>
                </a:cubicBezTo>
                <a:cubicBezTo>
                  <a:pt x="414" y="35"/>
                  <a:pt x="409" y="42"/>
                  <a:pt x="404" y="45"/>
                </a:cubicBezTo>
                <a:cubicBezTo>
                  <a:pt x="403" y="45"/>
                  <a:pt x="402" y="46"/>
                  <a:pt x="402" y="45"/>
                </a:cubicBezTo>
                <a:cubicBezTo>
                  <a:pt x="399" y="44"/>
                  <a:pt x="396" y="43"/>
                  <a:pt x="393" y="43"/>
                </a:cubicBezTo>
                <a:cubicBezTo>
                  <a:pt x="392" y="42"/>
                  <a:pt x="392" y="42"/>
                  <a:pt x="391" y="41"/>
                </a:cubicBezTo>
                <a:cubicBezTo>
                  <a:pt x="389" y="36"/>
                  <a:pt x="388" y="27"/>
                  <a:pt x="389" y="21"/>
                </a:cubicBezTo>
                <a:cubicBezTo>
                  <a:pt x="389" y="13"/>
                  <a:pt x="386" y="12"/>
                  <a:pt x="382" y="11"/>
                </a:cubicBezTo>
                <a:cubicBezTo>
                  <a:pt x="381" y="11"/>
                  <a:pt x="381" y="11"/>
                  <a:pt x="381" y="11"/>
                </a:cubicBezTo>
                <a:cubicBezTo>
                  <a:pt x="380" y="11"/>
                  <a:pt x="379" y="11"/>
                  <a:pt x="377" y="11"/>
                </a:cubicBezTo>
                <a:cubicBezTo>
                  <a:pt x="376" y="11"/>
                  <a:pt x="374" y="11"/>
                  <a:pt x="371" y="17"/>
                </a:cubicBezTo>
                <a:cubicBezTo>
                  <a:pt x="369" y="23"/>
                  <a:pt x="365" y="31"/>
                  <a:pt x="360" y="35"/>
                </a:cubicBezTo>
                <a:cubicBezTo>
                  <a:pt x="360" y="35"/>
                  <a:pt x="359" y="35"/>
                  <a:pt x="358" y="35"/>
                </a:cubicBezTo>
                <a:cubicBezTo>
                  <a:pt x="356" y="35"/>
                  <a:pt x="353" y="35"/>
                  <a:pt x="349" y="34"/>
                </a:cubicBezTo>
                <a:cubicBezTo>
                  <a:pt x="349" y="34"/>
                  <a:pt x="348" y="34"/>
                  <a:pt x="347" y="33"/>
                </a:cubicBezTo>
                <a:cubicBezTo>
                  <a:pt x="344" y="29"/>
                  <a:pt x="342" y="20"/>
                  <a:pt x="341" y="13"/>
                </a:cubicBezTo>
                <a:cubicBezTo>
                  <a:pt x="341" y="5"/>
                  <a:pt x="338" y="5"/>
                  <a:pt x="334" y="5"/>
                </a:cubicBezTo>
                <a:cubicBezTo>
                  <a:pt x="332" y="5"/>
                  <a:pt x="332" y="5"/>
                  <a:pt x="332" y="5"/>
                </a:cubicBezTo>
                <a:cubicBezTo>
                  <a:pt x="332" y="5"/>
                  <a:pt x="331" y="5"/>
                  <a:pt x="330" y="5"/>
                </a:cubicBezTo>
                <a:cubicBezTo>
                  <a:pt x="328" y="5"/>
                  <a:pt x="325" y="5"/>
                  <a:pt x="324" y="12"/>
                </a:cubicBezTo>
                <a:cubicBezTo>
                  <a:pt x="322" y="19"/>
                  <a:pt x="320" y="27"/>
                  <a:pt x="316" y="31"/>
                </a:cubicBezTo>
                <a:cubicBezTo>
                  <a:pt x="315" y="32"/>
                  <a:pt x="315" y="32"/>
                  <a:pt x="314" y="32"/>
                </a:cubicBezTo>
                <a:cubicBezTo>
                  <a:pt x="311" y="32"/>
                  <a:pt x="308" y="32"/>
                  <a:pt x="305" y="33"/>
                </a:cubicBezTo>
                <a:cubicBezTo>
                  <a:pt x="304" y="33"/>
                  <a:pt x="303" y="32"/>
                  <a:pt x="303" y="32"/>
                </a:cubicBezTo>
                <a:cubicBezTo>
                  <a:pt x="299" y="28"/>
                  <a:pt x="296" y="20"/>
                  <a:pt x="294" y="13"/>
                </a:cubicBezTo>
                <a:cubicBezTo>
                  <a:pt x="292" y="6"/>
                  <a:pt x="289" y="6"/>
                  <a:pt x="288" y="6"/>
                </a:cubicBezTo>
                <a:cubicBezTo>
                  <a:pt x="287" y="6"/>
                  <a:pt x="286" y="6"/>
                  <a:pt x="285" y="6"/>
                </a:cubicBezTo>
                <a:cubicBezTo>
                  <a:pt x="284" y="6"/>
                  <a:pt x="284" y="6"/>
                  <a:pt x="284" y="6"/>
                </a:cubicBezTo>
                <a:cubicBezTo>
                  <a:pt x="280" y="6"/>
                  <a:pt x="276" y="7"/>
                  <a:pt x="276" y="15"/>
                </a:cubicBezTo>
                <a:cubicBezTo>
                  <a:pt x="276" y="22"/>
                  <a:pt x="274" y="30"/>
                  <a:pt x="271" y="35"/>
                </a:cubicBezTo>
                <a:cubicBezTo>
                  <a:pt x="271" y="36"/>
                  <a:pt x="270" y="36"/>
                  <a:pt x="270" y="36"/>
                </a:cubicBezTo>
                <a:cubicBezTo>
                  <a:pt x="268" y="36"/>
                  <a:pt x="268" y="36"/>
                  <a:pt x="268" y="36"/>
                </a:cubicBezTo>
                <a:cubicBezTo>
                  <a:pt x="266" y="37"/>
                  <a:pt x="263" y="37"/>
                  <a:pt x="261" y="38"/>
                </a:cubicBezTo>
                <a:cubicBezTo>
                  <a:pt x="260" y="38"/>
                  <a:pt x="259" y="38"/>
                  <a:pt x="259" y="37"/>
                </a:cubicBezTo>
                <a:cubicBezTo>
                  <a:pt x="254" y="34"/>
                  <a:pt x="250" y="26"/>
                  <a:pt x="247" y="20"/>
                </a:cubicBezTo>
                <a:cubicBezTo>
                  <a:pt x="244" y="14"/>
                  <a:pt x="242" y="14"/>
                  <a:pt x="241" y="14"/>
                </a:cubicBezTo>
                <a:cubicBezTo>
                  <a:pt x="239" y="14"/>
                  <a:pt x="238" y="14"/>
                  <a:pt x="237" y="15"/>
                </a:cubicBezTo>
                <a:cubicBezTo>
                  <a:pt x="236" y="15"/>
                  <a:pt x="236" y="15"/>
                  <a:pt x="236" y="15"/>
                </a:cubicBezTo>
                <a:cubicBezTo>
                  <a:pt x="232" y="16"/>
                  <a:pt x="229" y="17"/>
                  <a:pt x="230" y="25"/>
                </a:cubicBezTo>
                <a:cubicBezTo>
                  <a:pt x="230" y="32"/>
                  <a:pt x="230" y="40"/>
                  <a:pt x="228" y="46"/>
                </a:cubicBezTo>
                <a:cubicBezTo>
                  <a:pt x="228" y="46"/>
                  <a:pt x="227" y="47"/>
                  <a:pt x="226" y="47"/>
                </a:cubicBezTo>
                <a:cubicBezTo>
                  <a:pt x="223" y="48"/>
                  <a:pt x="220" y="49"/>
                  <a:pt x="218" y="50"/>
                </a:cubicBezTo>
                <a:cubicBezTo>
                  <a:pt x="217" y="50"/>
                  <a:pt x="216" y="50"/>
                  <a:pt x="216" y="50"/>
                </a:cubicBezTo>
                <a:cubicBezTo>
                  <a:pt x="211" y="47"/>
                  <a:pt x="205" y="40"/>
                  <a:pt x="201" y="35"/>
                </a:cubicBezTo>
                <a:cubicBezTo>
                  <a:pt x="198" y="30"/>
                  <a:pt x="196" y="30"/>
                  <a:pt x="195" y="30"/>
                </a:cubicBezTo>
                <a:cubicBezTo>
                  <a:pt x="194" y="30"/>
                  <a:pt x="192" y="30"/>
                  <a:pt x="191" y="31"/>
                </a:cubicBezTo>
                <a:cubicBezTo>
                  <a:pt x="190" y="31"/>
                  <a:pt x="190" y="31"/>
                  <a:pt x="190" y="31"/>
                </a:cubicBezTo>
                <a:cubicBezTo>
                  <a:pt x="186" y="33"/>
                  <a:pt x="183" y="34"/>
                  <a:pt x="185" y="42"/>
                </a:cubicBezTo>
                <a:cubicBezTo>
                  <a:pt x="187" y="48"/>
                  <a:pt x="188" y="57"/>
                  <a:pt x="187" y="63"/>
                </a:cubicBezTo>
                <a:cubicBezTo>
                  <a:pt x="187" y="63"/>
                  <a:pt x="186" y="64"/>
                  <a:pt x="186" y="64"/>
                </a:cubicBezTo>
                <a:cubicBezTo>
                  <a:pt x="183" y="66"/>
                  <a:pt x="180" y="67"/>
                  <a:pt x="177" y="69"/>
                </a:cubicBezTo>
                <a:cubicBezTo>
                  <a:pt x="177" y="69"/>
                  <a:pt x="176" y="69"/>
                  <a:pt x="175" y="69"/>
                </a:cubicBezTo>
                <a:cubicBezTo>
                  <a:pt x="170" y="67"/>
                  <a:pt x="163" y="61"/>
                  <a:pt x="159" y="56"/>
                </a:cubicBezTo>
                <a:cubicBezTo>
                  <a:pt x="156" y="53"/>
                  <a:pt x="154" y="52"/>
                  <a:pt x="152" y="52"/>
                </a:cubicBezTo>
                <a:cubicBezTo>
                  <a:pt x="151" y="52"/>
                  <a:pt x="149" y="53"/>
                  <a:pt x="148" y="54"/>
                </a:cubicBezTo>
                <a:cubicBezTo>
                  <a:pt x="147" y="55"/>
                  <a:pt x="147" y="55"/>
                  <a:pt x="147" y="55"/>
                </a:cubicBezTo>
                <a:cubicBezTo>
                  <a:pt x="143" y="57"/>
                  <a:pt x="141" y="59"/>
                  <a:pt x="144" y="66"/>
                </a:cubicBezTo>
                <a:cubicBezTo>
                  <a:pt x="147" y="72"/>
                  <a:pt x="149" y="80"/>
                  <a:pt x="149" y="86"/>
                </a:cubicBezTo>
                <a:cubicBezTo>
                  <a:pt x="149" y="87"/>
                  <a:pt x="148" y="87"/>
                  <a:pt x="148" y="88"/>
                </a:cubicBezTo>
                <a:cubicBezTo>
                  <a:pt x="146" y="89"/>
                  <a:pt x="144" y="91"/>
                  <a:pt x="142" y="92"/>
                </a:cubicBezTo>
                <a:cubicBezTo>
                  <a:pt x="140" y="94"/>
                  <a:pt x="140" y="94"/>
                  <a:pt x="140" y="94"/>
                </a:cubicBezTo>
                <a:cubicBezTo>
                  <a:pt x="140" y="94"/>
                  <a:pt x="139" y="94"/>
                  <a:pt x="139" y="94"/>
                </a:cubicBezTo>
                <a:cubicBezTo>
                  <a:pt x="133" y="93"/>
                  <a:pt x="125" y="88"/>
                  <a:pt x="120" y="84"/>
                </a:cubicBezTo>
                <a:cubicBezTo>
                  <a:pt x="118" y="82"/>
                  <a:pt x="116" y="81"/>
                  <a:pt x="114" y="81"/>
                </a:cubicBezTo>
                <a:cubicBezTo>
                  <a:pt x="112" y="81"/>
                  <a:pt x="110" y="82"/>
                  <a:pt x="109" y="84"/>
                </a:cubicBezTo>
                <a:cubicBezTo>
                  <a:pt x="108" y="85"/>
                  <a:pt x="108" y="85"/>
                  <a:pt x="108" y="85"/>
                </a:cubicBezTo>
                <a:cubicBezTo>
                  <a:pt x="105" y="87"/>
                  <a:pt x="102" y="89"/>
                  <a:pt x="107" y="96"/>
                </a:cubicBezTo>
                <a:cubicBezTo>
                  <a:pt x="111" y="102"/>
                  <a:pt x="115" y="110"/>
                  <a:pt x="115" y="115"/>
                </a:cubicBezTo>
                <a:cubicBezTo>
                  <a:pt x="115" y="116"/>
                  <a:pt x="115" y="117"/>
                  <a:pt x="114" y="117"/>
                </a:cubicBezTo>
                <a:cubicBezTo>
                  <a:pt x="112" y="119"/>
                  <a:pt x="110" y="122"/>
                  <a:pt x="108" y="124"/>
                </a:cubicBezTo>
                <a:cubicBezTo>
                  <a:pt x="107" y="124"/>
                  <a:pt x="107" y="125"/>
                  <a:pt x="106" y="125"/>
                </a:cubicBezTo>
                <a:cubicBezTo>
                  <a:pt x="100" y="125"/>
                  <a:pt x="92" y="121"/>
                  <a:pt x="87" y="118"/>
                </a:cubicBezTo>
                <a:cubicBezTo>
                  <a:pt x="84" y="116"/>
                  <a:pt x="82" y="115"/>
                  <a:pt x="80" y="115"/>
                </a:cubicBezTo>
                <a:cubicBezTo>
                  <a:pt x="78" y="115"/>
                  <a:pt x="77" y="117"/>
                  <a:pt x="75" y="119"/>
                </a:cubicBezTo>
                <a:cubicBezTo>
                  <a:pt x="74" y="120"/>
                  <a:pt x="74" y="120"/>
                  <a:pt x="74" y="120"/>
                </a:cubicBezTo>
                <a:cubicBezTo>
                  <a:pt x="72" y="123"/>
                  <a:pt x="70" y="126"/>
                  <a:pt x="75" y="131"/>
                </a:cubicBezTo>
                <a:cubicBezTo>
                  <a:pt x="80" y="136"/>
                  <a:pt x="85" y="144"/>
                  <a:pt x="86" y="149"/>
                </a:cubicBezTo>
                <a:cubicBezTo>
                  <a:pt x="86" y="150"/>
                  <a:pt x="86" y="151"/>
                  <a:pt x="86" y="151"/>
                </a:cubicBezTo>
                <a:cubicBezTo>
                  <a:pt x="84" y="154"/>
                  <a:pt x="82" y="156"/>
                  <a:pt x="80" y="159"/>
                </a:cubicBezTo>
                <a:cubicBezTo>
                  <a:pt x="80" y="159"/>
                  <a:pt x="79" y="160"/>
                  <a:pt x="79" y="160"/>
                </a:cubicBezTo>
                <a:cubicBezTo>
                  <a:pt x="74" y="161"/>
                  <a:pt x="66" y="159"/>
                  <a:pt x="58" y="156"/>
                </a:cubicBezTo>
                <a:cubicBezTo>
                  <a:pt x="56" y="155"/>
                  <a:pt x="54" y="155"/>
                  <a:pt x="53" y="155"/>
                </a:cubicBezTo>
                <a:cubicBezTo>
                  <a:pt x="50" y="155"/>
                  <a:pt x="49" y="156"/>
                  <a:pt x="47" y="159"/>
                </a:cubicBezTo>
                <a:cubicBezTo>
                  <a:pt x="47" y="160"/>
                  <a:pt x="47" y="160"/>
                  <a:pt x="47" y="160"/>
                </a:cubicBezTo>
                <a:cubicBezTo>
                  <a:pt x="45" y="164"/>
                  <a:pt x="43" y="167"/>
                  <a:pt x="49" y="171"/>
                </a:cubicBezTo>
                <a:cubicBezTo>
                  <a:pt x="55" y="176"/>
                  <a:pt x="61" y="182"/>
                  <a:pt x="63" y="187"/>
                </a:cubicBezTo>
                <a:cubicBezTo>
                  <a:pt x="63" y="188"/>
                  <a:pt x="63" y="189"/>
                  <a:pt x="63" y="189"/>
                </a:cubicBezTo>
                <a:cubicBezTo>
                  <a:pt x="62" y="190"/>
                  <a:pt x="62" y="190"/>
                  <a:pt x="62" y="190"/>
                </a:cubicBezTo>
                <a:cubicBezTo>
                  <a:pt x="61" y="193"/>
                  <a:pt x="60" y="195"/>
                  <a:pt x="59" y="198"/>
                </a:cubicBezTo>
                <a:cubicBezTo>
                  <a:pt x="58" y="198"/>
                  <a:pt x="58" y="199"/>
                  <a:pt x="57" y="199"/>
                </a:cubicBezTo>
                <a:cubicBezTo>
                  <a:pt x="53" y="200"/>
                  <a:pt x="44" y="200"/>
                  <a:pt x="37" y="199"/>
                </a:cubicBezTo>
                <a:cubicBezTo>
                  <a:pt x="35" y="198"/>
                  <a:pt x="33" y="198"/>
                  <a:pt x="32" y="198"/>
                </a:cubicBezTo>
                <a:cubicBezTo>
                  <a:pt x="28" y="198"/>
                  <a:pt x="27" y="200"/>
                  <a:pt x="26" y="203"/>
                </a:cubicBezTo>
                <a:cubicBezTo>
                  <a:pt x="26" y="205"/>
                  <a:pt x="26" y="205"/>
                  <a:pt x="26" y="205"/>
                </a:cubicBezTo>
                <a:cubicBezTo>
                  <a:pt x="24" y="208"/>
                  <a:pt x="23" y="211"/>
                  <a:pt x="30" y="215"/>
                </a:cubicBezTo>
                <a:cubicBezTo>
                  <a:pt x="36" y="218"/>
                  <a:pt x="43" y="224"/>
                  <a:pt x="46" y="229"/>
                </a:cubicBezTo>
                <a:cubicBezTo>
                  <a:pt x="46" y="229"/>
                  <a:pt x="46" y="230"/>
                  <a:pt x="46" y="231"/>
                </a:cubicBezTo>
                <a:cubicBezTo>
                  <a:pt x="45" y="234"/>
                  <a:pt x="44" y="236"/>
                  <a:pt x="43" y="239"/>
                </a:cubicBezTo>
                <a:cubicBezTo>
                  <a:pt x="43" y="240"/>
                  <a:pt x="43" y="241"/>
                  <a:pt x="42" y="241"/>
                </a:cubicBezTo>
                <a:cubicBezTo>
                  <a:pt x="37" y="244"/>
                  <a:pt x="29" y="244"/>
                  <a:pt x="25" y="244"/>
                </a:cubicBezTo>
                <a:cubicBezTo>
                  <a:pt x="24" y="244"/>
                  <a:pt x="23" y="244"/>
                  <a:pt x="22" y="244"/>
                </a:cubicBezTo>
                <a:cubicBezTo>
                  <a:pt x="21" y="244"/>
                  <a:pt x="20" y="244"/>
                  <a:pt x="20" y="244"/>
                </a:cubicBezTo>
                <a:cubicBezTo>
                  <a:pt x="13" y="244"/>
                  <a:pt x="13" y="247"/>
                  <a:pt x="12" y="250"/>
                </a:cubicBezTo>
                <a:cubicBezTo>
                  <a:pt x="12" y="251"/>
                  <a:pt x="12" y="251"/>
                  <a:pt x="12" y="251"/>
                </a:cubicBezTo>
                <a:cubicBezTo>
                  <a:pt x="11" y="255"/>
                  <a:pt x="10" y="258"/>
                  <a:pt x="18" y="261"/>
                </a:cubicBezTo>
                <a:cubicBezTo>
                  <a:pt x="24" y="263"/>
                  <a:pt x="32" y="268"/>
                  <a:pt x="36" y="272"/>
                </a:cubicBezTo>
                <a:cubicBezTo>
                  <a:pt x="36" y="273"/>
                  <a:pt x="36" y="273"/>
                  <a:pt x="36" y="274"/>
                </a:cubicBezTo>
                <a:cubicBezTo>
                  <a:pt x="36" y="277"/>
                  <a:pt x="35" y="280"/>
                  <a:pt x="35" y="283"/>
                </a:cubicBezTo>
                <a:cubicBezTo>
                  <a:pt x="35" y="284"/>
                  <a:pt x="35" y="284"/>
                  <a:pt x="34" y="285"/>
                </a:cubicBezTo>
                <a:cubicBezTo>
                  <a:pt x="29" y="288"/>
                  <a:pt x="21" y="290"/>
                  <a:pt x="14" y="291"/>
                </a:cubicBezTo>
                <a:cubicBezTo>
                  <a:pt x="6" y="291"/>
                  <a:pt x="6" y="295"/>
                  <a:pt x="6" y="299"/>
                </a:cubicBezTo>
                <a:cubicBezTo>
                  <a:pt x="6" y="300"/>
                  <a:pt x="6" y="300"/>
                  <a:pt x="6" y="300"/>
                </a:cubicBezTo>
                <a:cubicBezTo>
                  <a:pt x="5" y="304"/>
                  <a:pt x="5" y="307"/>
                  <a:pt x="13" y="308"/>
                </a:cubicBezTo>
                <a:cubicBezTo>
                  <a:pt x="20" y="310"/>
                  <a:pt x="28" y="313"/>
                  <a:pt x="32" y="316"/>
                </a:cubicBezTo>
                <a:cubicBezTo>
                  <a:pt x="33" y="317"/>
                  <a:pt x="33" y="318"/>
                  <a:pt x="33" y="318"/>
                </a:cubicBezTo>
                <a:cubicBezTo>
                  <a:pt x="33" y="321"/>
                  <a:pt x="33" y="324"/>
                  <a:pt x="33" y="327"/>
                </a:cubicBezTo>
                <a:cubicBezTo>
                  <a:pt x="33" y="327"/>
                  <a:pt x="33" y="327"/>
                  <a:pt x="33" y="327"/>
                </a:cubicBezTo>
                <a:cubicBezTo>
                  <a:pt x="33" y="328"/>
                  <a:pt x="33" y="329"/>
                  <a:pt x="33" y="329"/>
                </a:cubicBezTo>
                <a:cubicBezTo>
                  <a:pt x="29" y="333"/>
                  <a:pt x="20" y="337"/>
                  <a:pt x="14" y="338"/>
                </a:cubicBezTo>
                <a:cubicBezTo>
                  <a:pt x="6" y="340"/>
                  <a:pt x="6" y="343"/>
                  <a:pt x="7" y="347"/>
                </a:cubicBezTo>
                <a:cubicBezTo>
                  <a:pt x="7" y="349"/>
                  <a:pt x="7" y="349"/>
                  <a:pt x="7" y="349"/>
                </a:cubicBezTo>
                <a:cubicBezTo>
                  <a:pt x="7" y="353"/>
                  <a:pt x="8" y="356"/>
                  <a:pt x="16" y="356"/>
                </a:cubicBezTo>
                <a:cubicBezTo>
                  <a:pt x="22" y="356"/>
                  <a:pt x="31" y="358"/>
                  <a:pt x="36" y="361"/>
                </a:cubicBezTo>
                <a:cubicBezTo>
                  <a:pt x="36" y="361"/>
                  <a:pt x="37" y="362"/>
                  <a:pt x="37" y="363"/>
                </a:cubicBezTo>
                <a:cubicBezTo>
                  <a:pt x="37" y="364"/>
                  <a:pt x="37" y="364"/>
                  <a:pt x="37" y="364"/>
                </a:cubicBezTo>
                <a:cubicBezTo>
                  <a:pt x="38" y="367"/>
                  <a:pt x="38" y="369"/>
                  <a:pt x="39" y="372"/>
                </a:cubicBezTo>
                <a:cubicBezTo>
                  <a:pt x="39" y="372"/>
                  <a:pt x="39" y="373"/>
                  <a:pt x="38" y="374"/>
                </a:cubicBezTo>
                <a:cubicBezTo>
                  <a:pt x="35" y="378"/>
                  <a:pt x="27" y="383"/>
                  <a:pt x="21" y="386"/>
                </a:cubicBezTo>
                <a:cubicBezTo>
                  <a:pt x="14" y="389"/>
                  <a:pt x="14" y="392"/>
                  <a:pt x="16" y="395"/>
                </a:cubicBezTo>
                <a:cubicBezTo>
                  <a:pt x="16" y="397"/>
                  <a:pt x="16" y="397"/>
                  <a:pt x="16" y="397"/>
                </a:cubicBezTo>
                <a:cubicBezTo>
                  <a:pt x="17" y="400"/>
                  <a:pt x="17" y="403"/>
                  <a:pt x="23" y="403"/>
                </a:cubicBezTo>
                <a:cubicBezTo>
                  <a:pt x="24" y="403"/>
                  <a:pt x="25" y="403"/>
                  <a:pt x="26" y="403"/>
                </a:cubicBezTo>
                <a:cubicBezTo>
                  <a:pt x="28" y="402"/>
                  <a:pt x="30" y="402"/>
                  <a:pt x="33" y="402"/>
                </a:cubicBezTo>
                <a:cubicBezTo>
                  <a:pt x="37" y="402"/>
                  <a:pt x="42" y="403"/>
                  <a:pt x="46" y="404"/>
                </a:cubicBezTo>
                <a:cubicBezTo>
                  <a:pt x="47" y="405"/>
                  <a:pt x="48" y="405"/>
                  <a:pt x="48" y="406"/>
                </a:cubicBezTo>
                <a:cubicBezTo>
                  <a:pt x="49" y="409"/>
                  <a:pt x="50" y="412"/>
                  <a:pt x="51" y="415"/>
                </a:cubicBezTo>
                <a:cubicBezTo>
                  <a:pt x="51" y="415"/>
                  <a:pt x="51" y="416"/>
                  <a:pt x="51" y="417"/>
                </a:cubicBezTo>
                <a:cubicBezTo>
                  <a:pt x="48" y="422"/>
                  <a:pt x="41" y="427"/>
                  <a:pt x="36" y="431"/>
                </a:cubicBezTo>
                <a:cubicBezTo>
                  <a:pt x="29" y="435"/>
                  <a:pt x="30" y="438"/>
                  <a:pt x="32" y="442"/>
                </a:cubicBezTo>
                <a:cubicBezTo>
                  <a:pt x="32" y="443"/>
                  <a:pt x="32" y="443"/>
                  <a:pt x="32" y="443"/>
                </a:cubicBezTo>
                <a:cubicBezTo>
                  <a:pt x="34" y="446"/>
                  <a:pt x="35" y="448"/>
                  <a:pt x="38" y="448"/>
                </a:cubicBezTo>
                <a:cubicBezTo>
                  <a:pt x="39" y="448"/>
                  <a:pt x="41" y="448"/>
                  <a:pt x="43" y="447"/>
                </a:cubicBezTo>
                <a:cubicBezTo>
                  <a:pt x="51" y="445"/>
                  <a:pt x="59" y="444"/>
                  <a:pt x="63" y="445"/>
                </a:cubicBezTo>
                <a:cubicBezTo>
                  <a:pt x="64" y="446"/>
                  <a:pt x="65" y="446"/>
                  <a:pt x="65" y="447"/>
                </a:cubicBezTo>
                <a:cubicBezTo>
                  <a:pt x="66" y="449"/>
                  <a:pt x="68" y="452"/>
                  <a:pt x="70" y="455"/>
                </a:cubicBezTo>
                <a:cubicBezTo>
                  <a:pt x="70" y="456"/>
                  <a:pt x="70" y="456"/>
                  <a:pt x="70" y="457"/>
                </a:cubicBezTo>
                <a:cubicBezTo>
                  <a:pt x="68" y="462"/>
                  <a:pt x="62" y="469"/>
                  <a:pt x="57" y="473"/>
                </a:cubicBezTo>
                <a:cubicBezTo>
                  <a:pt x="51" y="479"/>
                  <a:pt x="53" y="481"/>
                  <a:pt x="55" y="485"/>
                </a:cubicBezTo>
                <a:cubicBezTo>
                  <a:pt x="56" y="486"/>
                  <a:pt x="56" y="486"/>
                  <a:pt x="56" y="486"/>
                </a:cubicBezTo>
                <a:cubicBezTo>
                  <a:pt x="57" y="488"/>
                  <a:pt x="58" y="490"/>
                  <a:pt x="61" y="490"/>
                </a:cubicBezTo>
                <a:cubicBezTo>
                  <a:pt x="63" y="490"/>
                  <a:pt x="64" y="489"/>
                  <a:pt x="67" y="488"/>
                </a:cubicBezTo>
                <a:cubicBezTo>
                  <a:pt x="74" y="485"/>
                  <a:pt x="82" y="483"/>
                  <a:pt x="87" y="483"/>
                </a:cubicBezTo>
                <a:cubicBezTo>
                  <a:pt x="88" y="484"/>
                  <a:pt x="88" y="484"/>
                  <a:pt x="89" y="484"/>
                </a:cubicBezTo>
                <a:cubicBezTo>
                  <a:pt x="90" y="487"/>
                  <a:pt x="92" y="489"/>
                  <a:pt x="93" y="491"/>
                </a:cubicBezTo>
                <a:cubicBezTo>
                  <a:pt x="94" y="492"/>
                  <a:pt x="94" y="492"/>
                  <a:pt x="94" y="492"/>
                </a:cubicBezTo>
                <a:cubicBezTo>
                  <a:pt x="95" y="492"/>
                  <a:pt x="95" y="493"/>
                  <a:pt x="95" y="494"/>
                </a:cubicBezTo>
                <a:cubicBezTo>
                  <a:pt x="94" y="499"/>
                  <a:pt x="89" y="507"/>
                  <a:pt x="85" y="512"/>
                </a:cubicBezTo>
                <a:cubicBezTo>
                  <a:pt x="80" y="518"/>
                  <a:pt x="82" y="521"/>
                  <a:pt x="85" y="523"/>
                </a:cubicBezTo>
                <a:cubicBezTo>
                  <a:pt x="85" y="524"/>
                  <a:pt x="85" y="524"/>
                  <a:pt x="85" y="524"/>
                </a:cubicBezTo>
                <a:cubicBezTo>
                  <a:pt x="87" y="526"/>
                  <a:pt x="88" y="528"/>
                  <a:pt x="91" y="528"/>
                </a:cubicBezTo>
                <a:cubicBezTo>
                  <a:pt x="92" y="528"/>
                  <a:pt x="94" y="527"/>
                  <a:pt x="97" y="525"/>
                </a:cubicBezTo>
                <a:cubicBezTo>
                  <a:pt x="102" y="522"/>
                  <a:pt x="110" y="518"/>
                  <a:pt x="116" y="517"/>
                </a:cubicBezTo>
                <a:cubicBezTo>
                  <a:pt x="117" y="517"/>
                  <a:pt x="117" y="518"/>
                  <a:pt x="118" y="518"/>
                </a:cubicBezTo>
                <a:cubicBezTo>
                  <a:pt x="120" y="520"/>
                  <a:pt x="122" y="522"/>
                  <a:pt x="125" y="524"/>
                </a:cubicBezTo>
                <a:cubicBezTo>
                  <a:pt x="125" y="525"/>
                  <a:pt x="125" y="526"/>
                  <a:pt x="125" y="526"/>
                </a:cubicBezTo>
                <a:cubicBezTo>
                  <a:pt x="125" y="532"/>
                  <a:pt x="122" y="540"/>
                  <a:pt x="119" y="546"/>
                </a:cubicBezTo>
                <a:cubicBezTo>
                  <a:pt x="114" y="553"/>
                  <a:pt x="117" y="555"/>
                  <a:pt x="120" y="557"/>
                </a:cubicBezTo>
                <a:cubicBezTo>
                  <a:pt x="121" y="558"/>
                  <a:pt x="121" y="558"/>
                  <a:pt x="121" y="558"/>
                </a:cubicBezTo>
                <a:cubicBezTo>
                  <a:pt x="122" y="559"/>
                  <a:pt x="124" y="561"/>
                  <a:pt x="126" y="561"/>
                </a:cubicBezTo>
                <a:cubicBezTo>
                  <a:pt x="128" y="561"/>
                  <a:pt x="130" y="559"/>
                  <a:pt x="132" y="557"/>
                </a:cubicBezTo>
                <a:cubicBezTo>
                  <a:pt x="137" y="553"/>
                  <a:pt x="145" y="547"/>
                  <a:pt x="150" y="546"/>
                </a:cubicBezTo>
                <a:cubicBezTo>
                  <a:pt x="151" y="546"/>
                  <a:pt x="151" y="546"/>
                  <a:pt x="152" y="547"/>
                </a:cubicBezTo>
                <a:cubicBezTo>
                  <a:pt x="155" y="548"/>
                  <a:pt x="157" y="550"/>
                  <a:pt x="160" y="552"/>
                </a:cubicBezTo>
                <a:cubicBezTo>
                  <a:pt x="160" y="552"/>
                  <a:pt x="161" y="553"/>
                  <a:pt x="161" y="554"/>
                </a:cubicBezTo>
                <a:cubicBezTo>
                  <a:pt x="162" y="559"/>
                  <a:pt x="159" y="568"/>
                  <a:pt x="157" y="574"/>
                </a:cubicBezTo>
                <a:cubicBezTo>
                  <a:pt x="154" y="582"/>
                  <a:pt x="157" y="583"/>
                  <a:pt x="160" y="585"/>
                </a:cubicBezTo>
                <a:cubicBezTo>
                  <a:pt x="161" y="586"/>
                  <a:pt x="161" y="586"/>
                  <a:pt x="161" y="586"/>
                </a:cubicBezTo>
                <a:cubicBezTo>
                  <a:pt x="163" y="587"/>
                  <a:pt x="164" y="587"/>
                  <a:pt x="166" y="587"/>
                </a:cubicBezTo>
                <a:cubicBezTo>
                  <a:pt x="168" y="587"/>
                  <a:pt x="170" y="586"/>
                  <a:pt x="172" y="583"/>
                </a:cubicBezTo>
                <a:cubicBezTo>
                  <a:pt x="176" y="578"/>
                  <a:pt x="183" y="571"/>
                  <a:pt x="188" y="569"/>
                </a:cubicBezTo>
                <a:cubicBezTo>
                  <a:pt x="189" y="569"/>
                  <a:pt x="189" y="569"/>
                  <a:pt x="190" y="570"/>
                </a:cubicBezTo>
                <a:cubicBezTo>
                  <a:pt x="191" y="570"/>
                  <a:pt x="191" y="570"/>
                  <a:pt x="191" y="570"/>
                </a:cubicBezTo>
                <a:cubicBezTo>
                  <a:pt x="194" y="571"/>
                  <a:pt x="196" y="573"/>
                  <a:pt x="199" y="574"/>
                </a:cubicBezTo>
                <a:cubicBezTo>
                  <a:pt x="199" y="574"/>
                  <a:pt x="200" y="574"/>
                  <a:pt x="200" y="575"/>
                </a:cubicBezTo>
                <a:cubicBezTo>
                  <a:pt x="202" y="581"/>
                  <a:pt x="201" y="589"/>
                  <a:pt x="199" y="596"/>
                </a:cubicBezTo>
                <a:cubicBezTo>
                  <a:pt x="197" y="604"/>
                  <a:pt x="200" y="605"/>
                  <a:pt x="204" y="606"/>
                </a:cubicBezTo>
                <a:cubicBezTo>
                  <a:pt x="205" y="607"/>
                  <a:pt x="205" y="607"/>
                  <a:pt x="205" y="607"/>
                </a:cubicBezTo>
                <a:cubicBezTo>
                  <a:pt x="207" y="607"/>
                  <a:pt x="208" y="608"/>
                  <a:pt x="209" y="608"/>
                </a:cubicBezTo>
                <a:cubicBezTo>
                  <a:pt x="210" y="608"/>
                  <a:pt x="213" y="608"/>
                  <a:pt x="216" y="602"/>
                </a:cubicBezTo>
                <a:cubicBezTo>
                  <a:pt x="219" y="596"/>
                  <a:pt x="224" y="589"/>
                  <a:pt x="229" y="586"/>
                </a:cubicBezTo>
                <a:cubicBezTo>
                  <a:pt x="230" y="586"/>
                  <a:pt x="231" y="586"/>
                  <a:pt x="231" y="586"/>
                </a:cubicBezTo>
                <a:cubicBezTo>
                  <a:pt x="234" y="587"/>
                  <a:pt x="237" y="588"/>
                  <a:pt x="240" y="589"/>
                </a:cubicBezTo>
                <a:cubicBezTo>
                  <a:pt x="241" y="589"/>
                  <a:pt x="242" y="590"/>
                  <a:pt x="242" y="590"/>
                </a:cubicBezTo>
                <a:cubicBezTo>
                  <a:pt x="244" y="595"/>
                  <a:pt x="245" y="604"/>
                  <a:pt x="245" y="611"/>
                </a:cubicBezTo>
                <a:cubicBezTo>
                  <a:pt x="244" y="619"/>
                  <a:pt x="247" y="619"/>
                  <a:pt x="251" y="620"/>
                </a:cubicBezTo>
                <a:cubicBezTo>
                  <a:pt x="252" y="620"/>
                  <a:pt x="252" y="620"/>
                  <a:pt x="252" y="620"/>
                </a:cubicBezTo>
                <a:cubicBezTo>
                  <a:pt x="253" y="621"/>
                  <a:pt x="255" y="621"/>
                  <a:pt x="256" y="621"/>
                </a:cubicBezTo>
                <a:cubicBezTo>
                  <a:pt x="257" y="621"/>
                  <a:pt x="260" y="621"/>
                  <a:pt x="262" y="614"/>
                </a:cubicBezTo>
                <a:cubicBezTo>
                  <a:pt x="264" y="608"/>
                  <a:pt x="268" y="600"/>
                  <a:pt x="273" y="597"/>
                </a:cubicBezTo>
                <a:cubicBezTo>
                  <a:pt x="273" y="596"/>
                  <a:pt x="274" y="596"/>
                  <a:pt x="274" y="596"/>
                </a:cubicBezTo>
                <a:close/>
                <a:moveTo>
                  <a:pt x="316" y="576"/>
                </a:moveTo>
                <a:cubicBezTo>
                  <a:pt x="257" y="576"/>
                  <a:pt x="199" y="555"/>
                  <a:pt x="153" y="518"/>
                </a:cubicBezTo>
                <a:cubicBezTo>
                  <a:pt x="41" y="427"/>
                  <a:pt x="24" y="263"/>
                  <a:pt x="115" y="152"/>
                </a:cubicBezTo>
                <a:cubicBezTo>
                  <a:pt x="164" y="91"/>
                  <a:pt x="238" y="56"/>
                  <a:pt x="317" y="56"/>
                </a:cubicBezTo>
                <a:cubicBezTo>
                  <a:pt x="376" y="56"/>
                  <a:pt x="434" y="76"/>
                  <a:pt x="480" y="114"/>
                </a:cubicBezTo>
                <a:cubicBezTo>
                  <a:pt x="534" y="158"/>
                  <a:pt x="568" y="220"/>
                  <a:pt x="575" y="289"/>
                </a:cubicBezTo>
                <a:cubicBezTo>
                  <a:pt x="582" y="358"/>
                  <a:pt x="562" y="426"/>
                  <a:pt x="518" y="480"/>
                </a:cubicBezTo>
                <a:cubicBezTo>
                  <a:pt x="469" y="541"/>
                  <a:pt x="395" y="576"/>
                  <a:pt x="316" y="576"/>
                </a:cubicBezTo>
                <a:close/>
                <a:moveTo>
                  <a:pt x="317" y="61"/>
                </a:moveTo>
                <a:cubicBezTo>
                  <a:pt x="239" y="61"/>
                  <a:pt x="167" y="95"/>
                  <a:pt x="119" y="155"/>
                </a:cubicBezTo>
                <a:cubicBezTo>
                  <a:pt x="30" y="264"/>
                  <a:pt x="47" y="425"/>
                  <a:pt x="156" y="514"/>
                </a:cubicBezTo>
                <a:cubicBezTo>
                  <a:pt x="201" y="550"/>
                  <a:pt x="258" y="571"/>
                  <a:pt x="316" y="571"/>
                </a:cubicBezTo>
                <a:cubicBezTo>
                  <a:pt x="394" y="571"/>
                  <a:pt x="466" y="536"/>
                  <a:pt x="515" y="476"/>
                </a:cubicBezTo>
                <a:cubicBezTo>
                  <a:pt x="557" y="423"/>
                  <a:pt x="577" y="357"/>
                  <a:pt x="570" y="289"/>
                </a:cubicBezTo>
                <a:cubicBezTo>
                  <a:pt x="563" y="222"/>
                  <a:pt x="530" y="161"/>
                  <a:pt x="477" y="118"/>
                </a:cubicBezTo>
                <a:cubicBezTo>
                  <a:pt x="432" y="81"/>
                  <a:pt x="375" y="61"/>
                  <a:pt x="317" y="6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1368">
            <a:extLst>
              <a:ext uri="{FF2B5EF4-FFF2-40B4-BE49-F238E27FC236}">
                <a16:creationId xmlns:a16="http://schemas.microsoft.com/office/drawing/2014/main" id="{20BD51AF-8BA5-478B-9059-9E87648B511D}"/>
              </a:ext>
            </a:extLst>
          </p:cNvPr>
          <p:cNvSpPr>
            <a:spLocks noEditPoints="1"/>
          </p:cNvSpPr>
          <p:nvPr/>
        </p:nvSpPr>
        <p:spPr bwMode="auto">
          <a:xfrm rot="7915163">
            <a:off x="7108761" y="677498"/>
            <a:ext cx="107545" cy="111386"/>
          </a:xfrm>
          <a:custGeom>
            <a:avLst/>
            <a:gdLst>
              <a:gd name="T0" fmla="*/ 26 w 37"/>
              <a:gd name="T1" fmla="*/ 39 h 39"/>
              <a:gd name="T2" fmla="*/ 26 w 37"/>
              <a:gd name="T3" fmla="*/ 39 h 39"/>
              <a:gd name="T4" fmla="*/ 24 w 37"/>
              <a:gd name="T5" fmla="*/ 38 h 39"/>
              <a:gd name="T6" fmla="*/ 1 w 37"/>
              <a:gd name="T7" fmla="*/ 6 h 39"/>
              <a:gd name="T8" fmla="*/ 0 w 37"/>
              <a:gd name="T9" fmla="*/ 4 h 39"/>
              <a:gd name="T10" fmla="*/ 1 w 37"/>
              <a:gd name="T11" fmla="*/ 3 h 39"/>
              <a:gd name="T12" fmla="*/ 12 w 37"/>
              <a:gd name="T13" fmla="*/ 0 h 39"/>
              <a:gd name="T14" fmla="*/ 30 w 37"/>
              <a:gd name="T15" fmla="*/ 8 h 39"/>
              <a:gd name="T16" fmla="*/ 27 w 37"/>
              <a:gd name="T17" fmla="*/ 38 h 39"/>
              <a:gd name="T18" fmla="*/ 26 w 37"/>
              <a:gd name="T19" fmla="*/ 39 h 39"/>
              <a:gd name="T20" fmla="*/ 7 w 37"/>
              <a:gd name="T21" fmla="*/ 6 h 39"/>
              <a:gd name="T22" fmla="*/ 26 w 37"/>
              <a:gd name="T23" fmla="*/ 32 h 39"/>
              <a:gd name="T24" fmla="*/ 26 w 37"/>
              <a:gd name="T25" fmla="*/ 11 h 39"/>
              <a:gd name="T26" fmla="*/ 12 w 37"/>
              <a:gd name="T27" fmla="*/ 5 h 39"/>
              <a:gd name="T28" fmla="*/ 7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6" y="39"/>
                </a:moveTo>
                <a:cubicBezTo>
                  <a:pt x="26" y="39"/>
                  <a:pt x="26" y="39"/>
                  <a:pt x="26" y="39"/>
                </a:cubicBezTo>
                <a:cubicBezTo>
                  <a:pt x="25" y="39"/>
                  <a:pt x="24" y="38"/>
                  <a:pt x="24" y="38"/>
                </a:cubicBezTo>
                <a:cubicBezTo>
                  <a:pt x="1" y="6"/>
                  <a:pt x="1" y="6"/>
                  <a:pt x="1" y="6"/>
                </a:cubicBezTo>
                <a:cubicBezTo>
                  <a:pt x="0" y="6"/>
                  <a:pt x="0" y="5"/>
                  <a:pt x="0" y="4"/>
                </a:cubicBezTo>
                <a:cubicBezTo>
                  <a:pt x="0" y="4"/>
                  <a:pt x="1" y="3"/>
                  <a:pt x="1" y="3"/>
                </a:cubicBezTo>
                <a:cubicBezTo>
                  <a:pt x="5" y="1"/>
                  <a:pt x="9" y="0"/>
                  <a:pt x="12" y="0"/>
                </a:cubicBezTo>
                <a:cubicBezTo>
                  <a:pt x="19" y="0"/>
                  <a:pt x="25" y="3"/>
                  <a:pt x="30" y="8"/>
                </a:cubicBezTo>
                <a:cubicBezTo>
                  <a:pt x="37" y="17"/>
                  <a:pt x="36" y="30"/>
                  <a:pt x="27" y="38"/>
                </a:cubicBezTo>
                <a:cubicBezTo>
                  <a:pt x="27" y="38"/>
                  <a:pt x="26" y="39"/>
                  <a:pt x="26" y="39"/>
                </a:cubicBezTo>
                <a:close/>
                <a:moveTo>
                  <a:pt x="7" y="6"/>
                </a:moveTo>
                <a:cubicBezTo>
                  <a:pt x="26" y="32"/>
                  <a:pt x="26" y="32"/>
                  <a:pt x="26" y="32"/>
                </a:cubicBezTo>
                <a:cubicBezTo>
                  <a:pt x="31" y="26"/>
                  <a:pt x="31" y="17"/>
                  <a:pt x="26" y="11"/>
                </a:cubicBezTo>
                <a:cubicBezTo>
                  <a:pt x="22" y="7"/>
                  <a:pt x="18" y="5"/>
                  <a:pt x="12" y="5"/>
                </a:cubicBezTo>
                <a:cubicBezTo>
                  <a:pt x="10" y="5"/>
                  <a:pt x="8" y="5"/>
                  <a:pt x="7"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2" name="Freeform 1369">
            <a:extLst>
              <a:ext uri="{FF2B5EF4-FFF2-40B4-BE49-F238E27FC236}">
                <a16:creationId xmlns:a16="http://schemas.microsoft.com/office/drawing/2014/main" id="{2E43DA76-62C4-42D1-BC8B-E0825F32123C}"/>
              </a:ext>
            </a:extLst>
          </p:cNvPr>
          <p:cNvSpPr>
            <a:spLocks noEditPoints="1"/>
          </p:cNvSpPr>
          <p:nvPr/>
        </p:nvSpPr>
        <p:spPr bwMode="auto">
          <a:xfrm rot="7915163">
            <a:off x="7120422" y="641513"/>
            <a:ext cx="107545" cy="111386"/>
          </a:xfrm>
          <a:custGeom>
            <a:avLst/>
            <a:gdLst>
              <a:gd name="T0" fmla="*/ 24 w 37"/>
              <a:gd name="T1" fmla="*/ 39 h 39"/>
              <a:gd name="T2" fmla="*/ 7 w 37"/>
              <a:gd name="T3" fmla="*/ 31 h 39"/>
              <a:gd name="T4" fmla="*/ 9 w 37"/>
              <a:gd name="T5" fmla="*/ 1 h 39"/>
              <a:gd name="T6" fmla="*/ 11 w 37"/>
              <a:gd name="T7" fmla="*/ 0 h 39"/>
              <a:gd name="T8" fmla="*/ 13 w 37"/>
              <a:gd name="T9" fmla="*/ 1 h 39"/>
              <a:gd name="T10" fmla="*/ 36 w 37"/>
              <a:gd name="T11" fmla="*/ 32 h 39"/>
              <a:gd name="T12" fmla="*/ 37 w 37"/>
              <a:gd name="T13" fmla="*/ 34 h 39"/>
              <a:gd name="T14" fmla="*/ 35 w 37"/>
              <a:gd name="T15" fmla="*/ 36 h 39"/>
              <a:gd name="T16" fmla="*/ 24 w 37"/>
              <a:gd name="T17" fmla="*/ 39 h 39"/>
              <a:gd name="T18" fmla="*/ 11 w 37"/>
              <a:gd name="T19" fmla="*/ 7 h 39"/>
              <a:gd name="T20" fmla="*/ 11 w 37"/>
              <a:gd name="T21" fmla="*/ 28 h 39"/>
              <a:gd name="T22" fmla="*/ 24 w 37"/>
              <a:gd name="T23" fmla="*/ 34 h 39"/>
              <a:gd name="T24" fmla="*/ 30 w 37"/>
              <a:gd name="T25" fmla="*/ 33 h 39"/>
              <a:gd name="T26" fmla="*/ 11 w 37"/>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24" y="39"/>
                </a:moveTo>
                <a:cubicBezTo>
                  <a:pt x="18" y="39"/>
                  <a:pt x="12" y="36"/>
                  <a:pt x="7" y="31"/>
                </a:cubicBezTo>
                <a:cubicBezTo>
                  <a:pt x="0" y="22"/>
                  <a:pt x="1" y="9"/>
                  <a:pt x="9" y="1"/>
                </a:cubicBezTo>
                <a:cubicBezTo>
                  <a:pt x="10" y="0"/>
                  <a:pt x="11" y="0"/>
                  <a:pt x="11" y="0"/>
                </a:cubicBezTo>
                <a:cubicBezTo>
                  <a:pt x="12" y="0"/>
                  <a:pt x="13" y="1"/>
                  <a:pt x="13" y="1"/>
                </a:cubicBezTo>
                <a:cubicBezTo>
                  <a:pt x="36" y="32"/>
                  <a:pt x="36" y="32"/>
                  <a:pt x="36" y="32"/>
                </a:cubicBezTo>
                <a:cubicBezTo>
                  <a:pt x="37" y="33"/>
                  <a:pt x="37" y="34"/>
                  <a:pt x="37" y="34"/>
                </a:cubicBezTo>
                <a:cubicBezTo>
                  <a:pt x="37" y="35"/>
                  <a:pt x="36" y="36"/>
                  <a:pt x="35" y="36"/>
                </a:cubicBezTo>
                <a:cubicBezTo>
                  <a:pt x="32" y="38"/>
                  <a:pt x="28" y="39"/>
                  <a:pt x="24" y="39"/>
                </a:cubicBezTo>
                <a:close/>
                <a:moveTo>
                  <a:pt x="11" y="7"/>
                </a:moveTo>
                <a:cubicBezTo>
                  <a:pt x="6" y="13"/>
                  <a:pt x="6" y="22"/>
                  <a:pt x="11" y="28"/>
                </a:cubicBezTo>
                <a:cubicBezTo>
                  <a:pt x="15" y="32"/>
                  <a:pt x="19" y="34"/>
                  <a:pt x="24" y="34"/>
                </a:cubicBezTo>
                <a:cubicBezTo>
                  <a:pt x="26" y="34"/>
                  <a:pt x="28" y="34"/>
                  <a:pt x="30" y="33"/>
                </a:cubicBezTo>
                <a:lnTo>
                  <a:pt x="11"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3" name="Freeform 1370">
            <a:extLst>
              <a:ext uri="{FF2B5EF4-FFF2-40B4-BE49-F238E27FC236}">
                <a16:creationId xmlns:a16="http://schemas.microsoft.com/office/drawing/2014/main" id="{B1866B44-4668-4BC5-8F11-5177DD61DC5C}"/>
              </a:ext>
            </a:extLst>
          </p:cNvPr>
          <p:cNvSpPr>
            <a:spLocks noEditPoints="1"/>
          </p:cNvSpPr>
          <p:nvPr/>
        </p:nvSpPr>
        <p:spPr bwMode="auto">
          <a:xfrm rot="7915163">
            <a:off x="6659846" y="1725781"/>
            <a:ext cx="103704" cy="111386"/>
          </a:xfrm>
          <a:custGeom>
            <a:avLst/>
            <a:gdLst>
              <a:gd name="T0" fmla="*/ 25 w 36"/>
              <a:gd name="T1" fmla="*/ 39 h 39"/>
              <a:gd name="T2" fmla="*/ 25 w 36"/>
              <a:gd name="T3" fmla="*/ 39 h 39"/>
              <a:gd name="T4" fmla="*/ 23 w 36"/>
              <a:gd name="T5" fmla="*/ 38 h 39"/>
              <a:gd name="T6" fmla="*/ 0 w 36"/>
              <a:gd name="T7" fmla="*/ 7 h 39"/>
              <a:gd name="T8" fmla="*/ 0 w 36"/>
              <a:gd name="T9" fmla="*/ 5 h 39"/>
              <a:gd name="T10" fmla="*/ 1 w 36"/>
              <a:gd name="T11" fmla="*/ 3 h 39"/>
              <a:gd name="T12" fmla="*/ 12 w 36"/>
              <a:gd name="T13" fmla="*/ 0 h 39"/>
              <a:gd name="T14" fmla="*/ 29 w 36"/>
              <a:gd name="T15" fmla="*/ 8 h 39"/>
              <a:gd name="T16" fmla="*/ 27 w 36"/>
              <a:gd name="T17" fmla="*/ 38 h 39"/>
              <a:gd name="T18" fmla="*/ 25 w 36"/>
              <a:gd name="T19" fmla="*/ 39 h 39"/>
              <a:gd name="T20" fmla="*/ 6 w 36"/>
              <a:gd name="T21" fmla="*/ 6 h 39"/>
              <a:gd name="T22" fmla="*/ 26 w 36"/>
              <a:gd name="T23" fmla="*/ 32 h 39"/>
              <a:gd name="T24" fmla="*/ 25 w 36"/>
              <a:gd name="T25" fmla="*/ 11 h 39"/>
              <a:gd name="T26" fmla="*/ 12 w 36"/>
              <a:gd name="T27" fmla="*/ 5 h 39"/>
              <a:gd name="T28" fmla="*/ 6 w 3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9">
                <a:moveTo>
                  <a:pt x="25" y="39"/>
                </a:moveTo>
                <a:cubicBezTo>
                  <a:pt x="25" y="39"/>
                  <a:pt x="25" y="39"/>
                  <a:pt x="25" y="39"/>
                </a:cubicBezTo>
                <a:cubicBezTo>
                  <a:pt x="24" y="39"/>
                  <a:pt x="24" y="38"/>
                  <a:pt x="23" y="38"/>
                </a:cubicBezTo>
                <a:cubicBezTo>
                  <a:pt x="0" y="7"/>
                  <a:pt x="0" y="7"/>
                  <a:pt x="0" y="7"/>
                </a:cubicBezTo>
                <a:cubicBezTo>
                  <a:pt x="0" y="6"/>
                  <a:pt x="0" y="5"/>
                  <a:pt x="0" y="5"/>
                </a:cubicBezTo>
                <a:cubicBezTo>
                  <a:pt x="0" y="4"/>
                  <a:pt x="0" y="3"/>
                  <a:pt x="1" y="3"/>
                </a:cubicBezTo>
                <a:cubicBezTo>
                  <a:pt x="4" y="1"/>
                  <a:pt x="8" y="0"/>
                  <a:pt x="12" y="0"/>
                </a:cubicBezTo>
                <a:cubicBezTo>
                  <a:pt x="19" y="0"/>
                  <a:pt x="25" y="3"/>
                  <a:pt x="29" y="8"/>
                </a:cubicBezTo>
                <a:cubicBezTo>
                  <a:pt x="36"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4" name="Freeform 1371">
            <a:extLst>
              <a:ext uri="{FF2B5EF4-FFF2-40B4-BE49-F238E27FC236}">
                <a16:creationId xmlns:a16="http://schemas.microsoft.com/office/drawing/2014/main" id="{65C542E8-2A56-4681-B984-41D6388FBD02}"/>
              </a:ext>
            </a:extLst>
          </p:cNvPr>
          <p:cNvSpPr>
            <a:spLocks noEditPoints="1"/>
          </p:cNvSpPr>
          <p:nvPr/>
        </p:nvSpPr>
        <p:spPr bwMode="auto">
          <a:xfrm rot="7915163">
            <a:off x="6671508" y="1689797"/>
            <a:ext cx="103704" cy="111386"/>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3 h 39"/>
              <a:gd name="T12" fmla="*/ 36 w 36"/>
              <a:gd name="T13" fmla="*/ 35 h 39"/>
              <a:gd name="T14" fmla="*/ 35 w 36"/>
              <a:gd name="T15" fmla="*/ 36 h 39"/>
              <a:gd name="T16" fmla="*/ 24 w 36"/>
              <a:gd name="T17" fmla="*/ 39 h 39"/>
              <a:gd name="T18" fmla="*/ 10 w 36"/>
              <a:gd name="T19" fmla="*/ 7 h 39"/>
              <a:gd name="T20" fmla="*/ 11 w 36"/>
              <a:gd name="T21" fmla="*/ 28 h 39"/>
              <a:gd name="T22" fmla="*/ 24 w 36"/>
              <a:gd name="T23" fmla="*/ 34 h 39"/>
              <a:gd name="T24" fmla="*/ 30 w 36"/>
              <a:gd name="T25" fmla="*/ 33 h 39"/>
              <a:gd name="T26" fmla="*/ 10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7" y="39"/>
                  <a:pt x="11" y="36"/>
                  <a:pt x="7" y="31"/>
                </a:cubicBezTo>
                <a:cubicBezTo>
                  <a:pt x="0" y="22"/>
                  <a:pt x="0" y="9"/>
                  <a:pt x="9" y="1"/>
                </a:cubicBezTo>
                <a:cubicBezTo>
                  <a:pt x="10" y="1"/>
                  <a:pt x="10" y="0"/>
                  <a:pt x="11" y="0"/>
                </a:cubicBezTo>
                <a:cubicBezTo>
                  <a:pt x="12" y="0"/>
                  <a:pt x="12" y="1"/>
                  <a:pt x="13" y="1"/>
                </a:cubicBezTo>
                <a:cubicBezTo>
                  <a:pt x="36" y="33"/>
                  <a:pt x="36" y="33"/>
                  <a:pt x="36" y="33"/>
                </a:cubicBezTo>
                <a:cubicBezTo>
                  <a:pt x="36" y="33"/>
                  <a:pt x="36" y="34"/>
                  <a:pt x="36" y="35"/>
                </a:cubicBezTo>
                <a:cubicBezTo>
                  <a:pt x="36" y="35"/>
                  <a:pt x="36" y="36"/>
                  <a:pt x="35" y="36"/>
                </a:cubicBezTo>
                <a:cubicBezTo>
                  <a:pt x="32" y="38"/>
                  <a:pt x="28" y="39"/>
                  <a:pt x="24" y="39"/>
                </a:cubicBezTo>
                <a:close/>
                <a:moveTo>
                  <a:pt x="10" y="7"/>
                </a:moveTo>
                <a:cubicBezTo>
                  <a:pt x="6" y="13"/>
                  <a:pt x="6" y="22"/>
                  <a:pt x="11" y="28"/>
                </a:cubicBezTo>
                <a:cubicBezTo>
                  <a:pt x="14" y="32"/>
                  <a:pt x="19" y="34"/>
                  <a:pt x="24" y="34"/>
                </a:cubicBezTo>
                <a:cubicBezTo>
                  <a:pt x="26" y="34"/>
                  <a:pt x="28" y="34"/>
                  <a:pt x="30" y="33"/>
                </a:cubicBezTo>
                <a:lnTo>
                  <a:pt x="10"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5" name="Freeform 1372">
            <a:extLst>
              <a:ext uri="{FF2B5EF4-FFF2-40B4-BE49-F238E27FC236}">
                <a16:creationId xmlns:a16="http://schemas.microsoft.com/office/drawing/2014/main" id="{08BE7DF5-A430-4E46-959D-C30B515A5EF8}"/>
              </a:ext>
            </a:extLst>
          </p:cNvPr>
          <p:cNvSpPr>
            <a:spLocks noEditPoints="1"/>
          </p:cNvSpPr>
          <p:nvPr/>
        </p:nvSpPr>
        <p:spPr bwMode="auto">
          <a:xfrm rot="7915163">
            <a:off x="7505048" y="460342"/>
            <a:ext cx="107545" cy="111386"/>
          </a:xfrm>
          <a:custGeom>
            <a:avLst/>
            <a:gdLst>
              <a:gd name="T0" fmla="*/ 25 w 37"/>
              <a:gd name="T1" fmla="*/ 39 h 39"/>
              <a:gd name="T2" fmla="*/ 25 w 37"/>
              <a:gd name="T3" fmla="*/ 39 h 39"/>
              <a:gd name="T4" fmla="*/ 23 w 37"/>
              <a:gd name="T5" fmla="*/ 38 h 39"/>
              <a:gd name="T6" fmla="*/ 0 w 37"/>
              <a:gd name="T7" fmla="*/ 7 h 39"/>
              <a:gd name="T8" fmla="*/ 0 w 37"/>
              <a:gd name="T9" fmla="*/ 5 h 39"/>
              <a:gd name="T10" fmla="*/ 1 w 37"/>
              <a:gd name="T11" fmla="*/ 3 h 39"/>
              <a:gd name="T12" fmla="*/ 12 w 37"/>
              <a:gd name="T13" fmla="*/ 0 h 39"/>
              <a:gd name="T14" fmla="*/ 29 w 37"/>
              <a:gd name="T15" fmla="*/ 8 h 39"/>
              <a:gd name="T16" fmla="*/ 27 w 37"/>
              <a:gd name="T17" fmla="*/ 38 h 39"/>
              <a:gd name="T18" fmla="*/ 25 w 37"/>
              <a:gd name="T19" fmla="*/ 39 h 39"/>
              <a:gd name="T20" fmla="*/ 6 w 37"/>
              <a:gd name="T21" fmla="*/ 6 h 39"/>
              <a:gd name="T22" fmla="*/ 26 w 37"/>
              <a:gd name="T23" fmla="*/ 32 h 39"/>
              <a:gd name="T24" fmla="*/ 25 w 37"/>
              <a:gd name="T25" fmla="*/ 11 h 39"/>
              <a:gd name="T26" fmla="*/ 12 w 37"/>
              <a:gd name="T27" fmla="*/ 5 h 39"/>
              <a:gd name="T28" fmla="*/ 6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5" y="39"/>
                </a:moveTo>
                <a:cubicBezTo>
                  <a:pt x="25" y="39"/>
                  <a:pt x="25" y="39"/>
                  <a:pt x="25" y="39"/>
                </a:cubicBezTo>
                <a:cubicBezTo>
                  <a:pt x="25" y="39"/>
                  <a:pt x="24" y="38"/>
                  <a:pt x="23" y="38"/>
                </a:cubicBezTo>
                <a:cubicBezTo>
                  <a:pt x="0" y="7"/>
                  <a:pt x="0" y="7"/>
                  <a:pt x="0" y="7"/>
                </a:cubicBezTo>
                <a:cubicBezTo>
                  <a:pt x="0" y="6"/>
                  <a:pt x="0" y="5"/>
                  <a:pt x="0" y="5"/>
                </a:cubicBezTo>
                <a:cubicBezTo>
                  <a:pt x="0" y="4"/>
                  <a:pt x="1" y="3"/>
                  <a:pt x="1" y="3"/>
                </a:cubicBezTo>
                <a:cubicBezTo>
                  <a:pt x="5" y="1"/>
                  <a:pt x="8" y="0"/>
                  <a:pt x="12" y="0"/>
                </a:cubicBezTo>
                <a:cubicBezTo>
                  <a:pt x="19" y="0"/>
                  <a:pt x="25" y="3"/>
                  <a:pt x="29" y="8"/>
                </a:cubicBezTo>
                <a:cubicBezTo>
                  <a:pt x="37"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6" name="Freeform 1373">
            <a:extLst>
              <a:ext uri="{FF2B5EF4-FFF2-40B4-BE49-F238E27FC236}">
                <a16:creationId xmlns:a16="http://schemas.microsoft.com/office/drawing/2014/main" id="{996599F4-CC41-446A-B7F1-132842EF06D1}"/>
              </a:ext>
            </a:extLst>
          </p:cNvPr>
          <p:cNvSpPr>
            <a:spLocks noEditPoints="1"/>
          </p:cNvSpPr>
          <p:nvPr/>
        </p:nvSpPr>
        <p:spPr bwMode="auto">
          <a:xfrm rot="7915163">
            <a:off x="7519914" y="422926"/>
            <a:ext cx="103704" cy="111386"/>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2 h 39"/>
              <a:gd name="T12" fmla="*/ 36 w 36"/>
              <a:gd name="T13" fmla="*/ 34 h 39"/>
              <a:gd name="T14" fmla="*/ 35 w 36"/>
              <a:gd name="T15" fmla="*/ 36 h 39"/>
              <a:gd name="T16" fmla="*/ 24 w 36"/>
              <a:gd name="T17" fmla="*/ 39 h 39"/>
              <a:gd name="T18" fmla="*/ 11 w 36"/>
              <a:gd name="T19" fmla="*/ 7 h 39"/>
              <a:gd name="T20" fmla="*/ 11 w 36"/>
              <a:gd name="T21" fmla="*/ 28 h 39"/>
              <a:gd name="T22" fmla="*/ 24 w 36"/>
              <a:gd name="T23" fmla="*/ 34 h 39"/>
              <a:gd name="T24" fmla="*/ 30 w 36"/>
              <a:gd name="T25" fmla="*/ 33 h 39"/>
              <a:gd name="T26" fmla="*/ 11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1" y="9"/>
                  <a:pt x="9" y="1"/>
                </a:cubicBezTo>
                <a:cubicBezTo>
                  <a:pt x="10" y="0"/>
                  <a:pt x="10" y="0"/>
                  <a:pt x="11" y="0"/>
                </a:cubicBezTo>
                <a:cubicBezTo>
                  <a:pt x="12" y="0"/>
                  <a:pt x="12" y="1"/>
                  <a:pt x="13" y="1"/>
                </a:cubicBezTo>
                <a:cubicBezTo>
                  <a:pt x="36" y="32"/>
                  <a:pt x="36" y="32"/>
                  <a:pt x="36" y="32"/>
                </a:cubicBezTo>
                <a:cubicBezTo>
                  <a:pt x="36" y="33"/>
                  <a:pt x="36" y="34"/>
                  <a:pt x="36" y="34"/>
                </a:cubicBezTo>
                <a:cubicBezTo>
                  <a:pt x="36" y="35"/>
                  <a:pt x="36" y="36"/>
                  <a:pt x="35" y="36"/>
                </a:cubicBezTo>
                <a:cubicBezTo>
                  <a:pt x="32" y="38"/>
                  <a:pt x="28" y="39"/>
                  <a:pt x="24" y="39"/>
                </a:cubicBezTo>
                <a:close/>
                <a:moveTo>
                  <a:pt x="11" y="7"/>
                </a:moveTo>
                <a:cubicBezTo>
                  <a:pt x="6" y="13"/>
                  <a:pt x="6" y="22"/>
                  <a:pt x="11" y="28"/>
                </a:cubicBezTo>
                <a:cubicBezTo>
                  <a:pt x="14" y="32"/>
                  <a:pt x="19" y="34"/>
                  <a:pt x="24" y="34"/>
                </a:cubicBezTo>
                <a:cubicBezTo>
                  <a:pt x="26" y="34"/>
                  <a:pt x="28" y="34"/>
                  <a:pt x="30" y="33"/>
                </a:cubicBezTo>
                <a:lnTo>
                  <a:pt x="11"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7" name="Freeform 1374">
            <a:extLst>
              <a:ext uri="{FF2B5EF4-FFF2-40B4-BE49-F238E27FC236}">
                <a16:creationId xmlns:a16="http://schemas.microsoft.com/office/drawing/2014/main" id="{DC85BBAB-02B1-4F6D-893D-57BE3058CDD0}"/>
              </a:ext>
            </a:extLst>
          </p:cNvPr>
          <p:cNvSpPr>
            <a:spLocks noEditPoints="1"/>
          </p:cNvSpPr>
          <p:nvPr/>
        </p:nvSpPr>
        <p:spPr bwMode="auto">
          <a:xfrm rot="7915163">
            <a:off x="6774906" y="1010273"/>
            <a:ext cx="103704" cy="107545"/>
          </a:xfrm>
          <a:custGeom>
            <a:avLst/>
            <a:gdLst>
              <a:gd name="T0" fmla="*/ 18 w 37"/>
              <a:gd name="T1" fmla="*/ 38 h 38"/>
              <a:gd name="T2" fmla="*/ 0 w 37"/>
              <a:gd name="T3" fmla="*/ 19 h 38"/>
              <a:gd name="T4" fmla="*/ 18 w 37"/>
              <a:gd name="T5" fmla="*/ 0 h 38"/>
              <a:gd name="T6" fmla="*/ 37 w 37"/>
              <a:gd name="T7" fmla="*/ 19 h 38"/>
              <a:gd name="T8" fmla="*/ 18 w 37"/>
              <a:gd name="T9" fmla="*/ 38 h 38"/>
              <a:gd name="T10" fmla="*/ 18 w 37"/>
              <a:gd name="T11" fmla="*/ 8 h 38"/>
              <a:gd name="T12" fmla="*/ 8 w 37"/>
              <a:gd name="T13" fmla="*/ 19 h 38"/>
              <a:gd name="T14" fmla="*/ 18 w 37"/>
              <a:gd name="T15" fmla="*/ 29 h 38"/>
              <a:gd name="T16" fmla="*/ 28 w 37"/>
              <a:gd name="T17" fmla="*/ 19 h 38"/>
              <a:gd name="T18" fmla="*/ 18 w 37"/>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8"/>
                </a:moveTo>
                <a:cubicBezTo>
                  <a:pt x="8" y="38"/>
                  <a:pt x="0" y="29"/>
                  <a:pt x="0" y="19"/>
                </a:cubicBezTo>
                <a:cubicBezTo>
                  <a:pt x="0" y="8"/>
                  <a:pt x="8" y="0"/>
                  <a:pt x="18" y="0"/>
                </a:cubicBezTo>
                <a:cubicBezTo>
                  <a:pt x="29" y="0"/>
                  <a:pt x="37" y="8"/>
                  <a:pt x="37" y="19"/>
                </a:cubicBezTo>
                <a:cubicBezTo>
                  <a:pt x="37" y="29"/>
                  <a:pt x="29" y="38"/>
                  <a:pt x="18" y="38"/>
                </a:cubicBezTo>
                <a:close/>
                <a:moveTo>
                  <a:pt x="18" y="8"/>
                </a:moveTo>
                <a:cubicBezTo>
                  <a:pt x="13" y="8"/>
                  <a:pt x="8" y="13"/>
                  <a:pt x="8" y="19"/>
                </a:cubicBezTo>
                <a:cubicBezTo>
                  <a:pt x="8" y="25"/>
                  <a:pt x="13" y="29"/>
                  <a:pt x="18" y="29"/>
                </a:cubicBezTo>
                <a:cubicBezTo>
                  <a:pt x="24" y="29"/>
                  <a:pt x="28" y="25"/>
                  <a:pt x="28" y="19"/>
                </a:cubicBezTo>
                <a:cubicBezTo>
                  <a:pt x="28" y="13"/>
                  <a:pt x="24" y="8"/>
                  <a:pt x="18"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8" name="Freeform 1375">
            <a:extLst>
              <a:ext uri="{FF2B5EF4-FFF2-40B4-BE49-F238E27FC236}">
                <a16:creationId xmlns:a16="http://schemas.microsoft.com/office/drawing/2014/main" id="{AED9F7BB-6333-472F-B007-E5F9175B35E4}"/>
              </a:ext>
            </a:extLst>
          </p:cNvPr>
          <p:cNvSpPr>
            <a:spLocks noEditPoints="1"/>
          </p:cNvSpPr>
          <p:nvPr/>
        </p:nvSpPr>
        <p:spPr bwMode="auto">
          <a:xfrm rot="7915163">
            <a:off x="6942339" y="695176"/>
            <a:ext cx="107545" cy="10754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9 w 38"/>
              <a:gd name="T13" fmla="*/ 19 h 38"/>
              <a:gd name="T14" fmla="*/ 19 w 38"/>
              <a:gd name="T15" fmla="*/ 30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30"/>
                  <a:pt x="0" y="19"/>
                </a:cubicBezTo>
                <a:cubicBezTo>
                  <a:pt x="0" y="9"/>
                  <a:pt x="9" y="0"/>
                  <a:pt x="19" y="0"/>
                </a:cubicBezTo>
                <a:cubicBezTo>
                  <a:pt x="29" y="0"/>
                  <a:pt x="38" y="9"/>
                  <a:pt x="38" y="19"/>
                </a:cubicBezTo>
                <a:cubicBezTo>
                  <a:pt x="38" y="30"/>
                  <a:pt x="29" y="38"/>
                  <a:pt x="19" y="38"/>
                </a:cubicBezTo>
                <a:close/>
                <a:moveTo>
                  <a:pt x="19" y="9"/>
                </a:moveTo>
                <a:cubicBezTo>
                  <a:pt x="13" y="9"/>
                  <a:pt x="9" y="14"/>
                  <a:pt x="9" y="19"/>
                </a:cubicBezTo>
                <a:cubicBezTo>
                  <a:pt x="9" y="25"/>
                  <a:pt x="13" y="30"/>
                  <a:pt x="19" y="30"/>
                </a:cubicBezTo>
                <a:cubicBezTo>
                  <a:pt x="25" y="30"/>
                  <a:pt x="29" y="25"/>
                  <a:pt x="29" y="19"/>
                </a:cubicBezTo>
                <a:cubicBezTo>
                  <a:pt x="29" y="14"/>
                  <a:pt x="25" y="9"/>
                  <a:pt x="19"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0" name="Freeform 1377">
            <a:extLst>
              <a:ext uri="{FF2B5EF4-FFF2-40B4-BE49-F238E27FC236}">
                <a16:creationId xmlns:a16="http://schemas.microsoft.com/office/drawing/2014/main" id="{D821535F-CFB2-42C2-80BE-5C60AE91B431}"/>
              </a:ext>
            </a:extLst>
          </p:cNvPr>
          <p:cNvSpPr>
            <a:spLocks noEditPoints="1"/>
          </p:cNvSpPr>
          <p:nvPr/>
        </p:nvSpPr>
        <p:spPr bwMode="auto">
          <a:xfrm rot="7915163">
            <a:off x="6654338" y="1179335"/>
            <a:ext cx="472429" cy="472429"/>
          </a:xfrm>
          <a:custGeom>
            <a:avLst/>
            <a:gdLst>
              <a:gd name="T0" fmla="*/ 65 w 164"/>
              <a:gd name="T1" fmla="*/ 154 h 164"/>
              <a:gd name="T2" fmla="*/ 48 w 164"/>
              <a:gd name="T3" fmla="*/ 147 h 164"/>
              <a:gd name="T4" fmla="*/ 26 w 164"/>
              <a:gd name="T5" fmla="*/ 141 h 164"/>
              <a:gd name="T6" fmla="*/ 19 w 164"/>
              <a:gd name="T7" fmla="*/ 120 h 164"/>
              <a:gd name="T8" fmla="*/ 11 w 164"/>
              <a:gd name="T9" fmla="*/ 103 h 164"/>
              <a:gd name="T10" fmla="*/ 0 w 164"/>
              <a:gd name="T11" fmla="*/ 83 h 164"/>
              <a:gd name="T12" fmla="*/ 6 w 164"/>
              <a:gd name="T13" fmla="*/ 52 h 164"/>
              <a:gd name="T14" fmla="*/ 23 w 164"/>
              <a:gd name="T15" fmla="*/ 47 h 164"/>
              <a:gd name="T16" fmla="*/ 24 w 164"/>
              <a:gd name="T17" fmla="*/ 24 h 164"/>
              <a:gd name="T18" fmla="*/ 44 w 164"/>
              <a:gd name="T19" fmla="*/ 18 h 164"/>
              <a:gd name="T20" fmla="*/ 61 w 164"/>
              <a:gd name="T21" fmla="*/ 11 h 164"/>
              <a:gd name="T22" fmla="*/ 80 w 164"/>
              <a:gd name="T23" fmla="*/ 0 h 164"/>
              <a:gd name="T24" fmla="*/ 101 w 164"/>
              <a:gd name="T25" fmla="*/ 10 h 164"/>
              <a:gd name="T26" fmla="*/ 117 w 164"/>
              <a:gd name="T27" fmla="*/ 17 h 164"/>
              <a:gd name="T28" fmla="*/ 139 w 164"/>
              <a:gd name="T29" fmla="*/ 23 h 164"/>
              <a:gd name="T30" fmla="*/ 140 w 164"/>
              <a:gd name="T31" fmla="*/ 45 h 164"/>
              <a:gd name="T32" fmla="*/ 158 w 164"/>
              <a:gd name="T33" fmla="*/ 50 h 164"/>
              <a:gd name="T34" fmla="*/ 164 w 164"/>
              <a:gd name="T35" fmla="*/ 81 h 164"/>
              <a:gd name="T36" fmla="*/ 146 w 164"/>
              <a:gd name="T37" fmla="*/ 94 h 164"/>
              <a:gd name="T38" fmla="*/ 151 w 164"/>
              <a:gd name="T39" fmla="*/ 119 h 164"/>
              <a:gd name="T40" fmla="*/ 141 w 164"/>
              <a:gd name="T41" fmla="*/ 128 h 164"/>
              <a:gd name="T42" fmla="*/ 127 w 164"/>
              <a:gd name="T43" fmla="*/ 140 h 164"/>
              <a:gd name="T44" fmla="*/ 116 w 164"/>
              <a:gd name="T45" fmla="*/ 156 h 164"/>
              <a:gd name="T46" fmla="*/ 94 w 164"/>
              <a:gd name="T47" fmla="*/ 155 h 164"/>
              <a:gd name="T48" fmla="*/ 71 w 164"/>
              <a:gd name="T49" fmla="*/ 140 h 164"/>
              <a:gd name="T50" fmla="*/ 84 w 164"/>
              <a:gd name="T51" fmla="*/ 159 h 164"/>
              <a:gd name="T52" fmla="*/ 96 w 164"/>
              <a:gd name="T53" fmla="*/ 140 h 164"/>
              <a:gd name="T54" fmla="*/ 114 w 164"/>
              <a:gd name="T55" fmla="*/ 152 h 164"/>
              <a:gd name="T56" fmla="*/ 118 w 164"/>
              <a:gd name="T57" fmla="*/ 131 h 164"/>
              <a:gd name="T58" fmla="*/ 137 w 164"/>
              <a:gd name="T59" fmla="*/ 136 h 164"/>
              <a:gd name="T60" fmla="*/ 139 w 164"/>
              <a:gd name="T61" fmla="*/ 112 h 164"/>
              <a:gd name="T62" fmla="*/ 153 w 164"/>
              <a:gd name="T63" fmla="*/ 111 h 164"/>
              <a:gd name="T64" fmla="*/ 155 w 164"/>
              <a:gd name="T65" fmla="*/ 86 h 164"/>
              <a:gd name="T66" fmla="*/ 155 w 164"/>
              <a:gd name="T67" fmla="*/ 77 h 164"/>
              <a:gd name="T68" fmla="*/ 153 w 164"/>
              <a:gd name="T69" fmla="*/ 52 h 164"/>
              <a:gd name="T70" fmla="*/ 140 w 164"/>
              <a:gd name="T71" fmla="*/ 50 h 164"/>
              <a:gd name="T72" fmla="*/ 136 w 164"/>
              <a:gd name="T73" fmla="*/ 27 h 164"/>
              <a:gd name="T74" fmla="*/ 114 w 164"/>
              <a:gd name="T75" fmla="*/ 32 h 164"/>
              <a:gd name="T76" fmla="*/ 110 w 164"/>
              <a:gd name="T77" fmla="*/ 10 h 164"/>
              <a:gd name="T78" fmla="*/ 91 w 164"/>
              <a:gd name="T79" fmla="*/ 23 h 164"/>
              <a:gd name="T80" fmla="*/ 80 w 164"/>
              <a:gd name="T81" fmla="*/ 5 h 164"/>
              <a:gd name="T82" fmla="*/ 56 w 164"/>
              <a:gd name="T83" fmla="*/ 14 h 164"/>
              <a:gd name="T84" fmla="*/ 49 w 164"/>
              <a:gd name="T85" fmla="*/ 17 h 164"/>
              <a:gd name="T86" fmla="*/ 30 w 164"/>
              <a:gd name="T87" fmla="*/ 26 h 164"/>
              <a:gd name="T88" fmla="*/ 33 w 164"/>
              <a:gd name="T89" fmla="*/ 47 h 164"/>
              <a:gd name="T90" fmla="*/ 13 w 164"/>
              <a:gd name="T91" fmla="*/ 51 h 164"/>
              <a:gd name="T92" fmla="*/ 24 w 164"/>
              <a:gd name="T93" fmla="*/ 69 h 164"/>
              <a:gd name="T94" fmla="*/ 5 w 164"/>
              <a:gd name="T95" fmla="*/ 84 h 164"/>
              <a:gd name="T96" fmla="*/ 14 w 164"/>
              <a:gd name="T97" fmla="*/ 107 h 164"/>
              <a:gd name="T98" fmla="*/ 17 w 164"/>
              <a:gd name="T99" fmla="*/ 115 h 164"/>
              <a:gd name="T100" fmla="*/ 29 w 164"/>
              <a:gd name="T101" fmla="*/ 132 h 164"/>
              <a:gd name="T102" fmla="*/ 35 w 164"/>
              <a:gd name="T103" fmla="*/ 137 h 164"/>
              <a:gd name="T104" fmla="*/ 54 w 164"/>
              <a:gd name="T105" fmla="*/ 154 h 164"/>
              <a:gd name="T106" fmla="*/ 70 w 164"/>
              <a:gd name="T107" fmla="*/ 140 h 164"/>
              <a:gd name="T108" fmla="*/ 30 w 164"/>
              <a:gd name="T109" fmla="*/ 82 h 164"/>
              <a:gd name="T110" fmla="*/ 134 w 164"/>
              <a:gd name="T111" fmla="*/ 82 h 164"/>
              <a:gd name="T112" fmla="*/ 49 w 164"/>
              <a:gd name="T113" fmla="*/ 49 h 164"/>
              <a:gd name="T114" fmla="*/ 115 w 164"/>
              <a:gd name="T115"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1"/>
                  <a:pt x="76" y="156"/>
                </a:cubicBezTo>
                <a:cubicBezTo>
                  <a:pt x="75" y="151"/>
                  <a:pt x="72" y="147"/>
                  <a:pt x="71" y="146"/>
                </a:cubicBezTo>
                <a:cubicBezTo>
                  <a:pt x="69" y="147"/>
                  <a:pt x="66" y="150"/>
                  <a:pt x="65" y="154"/>
                </a:cubicBezTo>
                <a:cubicBezTo>
                  <a:pt x="63" y="158"/>
                  <a:pt x="60" y="159"/>
                  <a:pt x="57" y="159"/>
                </a:cubicBezTo>
                <a:cubicBezTo>
                  <a:pt x="56" y="159"/>
                  <a:pt x="54" y="159"/>
                  <a:pt x="53" y="159"/>
                </a:cubicBezTo>
                <a:cubicBezTo>
                  <a:pt x="53" y="158"/>
                  <a:pt x="53" y="158"/>
                  <a:pt x="53" y="158"/>
                </a:cubicBezTo>
                <a:cubicBezTo>
                  <a:pt x="50" y="157"/>
                  <a:pt x="46" y="156"/>
                  <a:pt x="48" y="147"/>
                </a:cubicBezTo>
                <a:cubicBezTo>
                  <a:pt x="48" y="143"/>
                  <a:pt x="48" y="138"/>
                  <a:pt x="47" y="136"/>
                </a:cubicBezTo>
                <a:cubicBezTo>
                  <a:pt x="45" y="137"/>
                  <a:pt x="41" y="139"/>
                  <a:pt x="38" y="141"/>
                </a:cubicBezTo>
                <a:cubicBezTo>
                  <a:pt x="36" y="143"/>
                  <a:pt x="34" y="144"/>
                  <a:pt x="31" y="144"/>
                </a:cubicBezTo>
                <a:cubicBezTo>
                  <a:pt x="29" y="144"/>
                  <a:pt x="27" y="143"/>
                  <a:pt x="26" y="141"/>
                </a:cubicBezTo>
                <a:cubicBezTo>
                  <a:pt x="25" y="141"/>
                  <a:pt x="25" y="141"/>
                  <a:pt x="25" y="141"/>
                </a:cubicBezTo>
                <a:cubicBezTo>
                  <a:pt x="23" y="138"/>
                  <a:pt x="20" y="135"/>
                  <a:pt x="25" y="129"/>
                </a:cubicBezTo>
                <a:cubicBezTo>
                  <a:pt x="28" y="125"/>
                  <a:pt x="29" y="121"/>
                  <a:pt x="29" y="119"/>
                </a:cubicBezTo>
                <a:cubicBezTo>
                  <a:pt x="27" y="118"/>
                  <a:pt x="22" y="119"/>
                  <a:pt x="19" y="120"/>
                </a:cubicBezTo>
                <a:cubicBezTo>
                  <a:pt x="17" y="120"/>
                  <a:pt x="16" y="120"/>
                  <a:pt x="14" y="120"/>
                </a:cubicBezTo>
                <a:cubicBezTo>
                  <a:pt x="10" y="120"/>
                  <a:pt x="8" y="117"/>
                  <a:pt x="7" y="115"/>
                </a:cubicBezTo>
                <a:cubicBezTo>
                  <a:pt x="7" y="114"/>
                  <a:pt x="7" y="114"/>
                  <a:pt x="7" y="114"/>
                </a:cubicBezTo>
                <a:cubicBezTo>
                  <a:pt x="6" y="112"/>
                  <a:pt x="4" y="108"/>
                  <a:pt x="11" y="103"/>
                </a:cubicBezTo>
                <a:cubicBezTo>
                  <a:pt x="15" y="101"/>
                  <a:pt x="18" y="97"/>
                  <a:pt x="19" y="95"/>
                </a:cubicBezTo>
                <a:cubicBezTo>
                  <a:pt x="17" y="94"/>
                  <a:pt x="13" y="93"/>
                  <a:pt x="9" y="92"/>
                </a:cubicBezTo>
                <a:cubicBezTo>
                  <a:pt x="0" y="91"/>
                  <a:pt x="0" y="86"/>
                  <a:pt x="0" y="84"/>
                </a:cubicBezTo>
                <a:cubicBezTo>
                  <a:pt x="0" y="83"/>
                  <a:pt x="0" y="83"/>
                  <a:pt x="0" y="83"/>
                </a:cubicBezTo>
                <a:cubicBezTo>
                  <a:pt x="0" y="80"/>
                  <a:pt x="0" y="75"/>
                  <a:pt x="9" y="74"/>
                </a:cubicBezTo>
                <a:cubicBezTo>
                  <a:pt x="13" y="73"/>
                  <a:pt x="17" y="71"/>
                  <a:pt x="19" y="70"/>
                </a:cubicBezTo>
                <a:cubicBezTo>
                  <a:pt x="17" y="68"/>
                  <a:pt x="14" y="65"/>
                  <a:pt x="11" y="63"/>
                </a:cubicBezTo>
                <a:cubicBezTo>
                  <a:pt x="3" y="59"/>
                  <a:pt x="5" y="54"/>
                  <a:pt x="6" y="52"/>
                </a:cubicBezTo>
                <a:cubicBezTo>
                  <a:pt x="6" y="51"/>
                  <a:pt x="6" y="51"/>
                  <a:pt x="6" y="51"/>
                </a:cubicBezTo>
                <a:cubicBezTo>
                  <a:pt x="7" y="49"/>
                  <a:pt x="8" y="46"/>
                  <a:pt x="13" y="46"/>
                </a:cubicBezTo>
                <a:cubicBezTo>
                  <a:pt x="15" y="46"/>
                  <a:pt x="16" y="46"/>
                  <a:pt x="17" y="46"/>
                </a:cubicBezTo>
                <a:cubicBezTo>
                  <a:pt x="19" y="46"/>
                  <a:pt x="21" y="47"/>
                  <a:pt x="23" y="47"/>
                </a:cubicBezTo>
                <a:cubicBezTo>
                  <a:pt x="26" y="47"/>
                  <a:pt x="27" y="46"/>
                  <a:pt x="28" y="46"/>
                </a:cubicBezTo>
                <a:cubicBezTo>
                  <a:pt x="28" y="44"/>
                  <a:pt x="26" y="40"/>
                  <a:pt x="24" y="37"/>
                </a:cubicBezTo>
                <a:cubicBezTo>
                  <a:pt x="18" y="30"/>
                  <a:pt x="22" y="27"/>
                  <a:pt x="24" y="25"/>
                </a:cubicBezTo>
                <a:cubicBezTo>
                  <a:pt x="24" y="24"/>
                  <a:pt x="24" y="24"/>
                  <a:pt x="24" y="24"/>
                </a:cubicBezTo>
                <a:cubicBezTo>
                  <a:pt x="25" y="23"/>
                  <a:pt x="27" y="21"/>
                  <a:pt x="30" y="21"/>
                </a:cubicBezTo>
                <a:cubicBezTo>
                  <a:pt x="32" y="21"/>
                  <a:pt x="34" y="22"/>
                  <a:pt x="36" y="24"/>
                </a:cubicBezTo>
                <a:cubicBezTo>
                  <a:pt x="39" y="26"/>
                  <a:pt x="42" y="27"/>
                  <a:pt x="45" y="28"/>
                </a:cubicBezTo>
                <a:cubicBezTo>
                  <a:pt x="45" y="25"/>
                  <a:pt x="45" y="22"/>
                  <a:pt x="44" y="18"/>
                </a:cubicBezTo>
                <a:cubicBezTo>
                  <a:pt x="41" y="10"/>
                  <a:pt x="46" y="8"/>
                  <a:pt x="48" y="7"/>
                </a:cubicBezTo>
                <a:cubicBezTo>
                  <a:pt x="49" y="7"/>
                  <a:pt x="49" y="7"/>
                  <a:pt x="49" y="7"/>
                </a:cubicBezTo>
                <a:cubicBezTo>
                  <a:pt x="50" y="6"/>
                  <a:pt x="52" y="6"/>
                  <a:pt x="53" y="6"/>
                </a:cubicBezTo>
                <a:cubicBezTo>
                  <a:pt x="56" y="6"/>
                  <a:pt x="58" y="8"/>
                  <a:pt x="61" y="11"/>
                </a:cubicBezTo>
                <a:cubicBezTo>
                  <a:pt x="63" y="14"/>
                  <a:pt x="65" y="18"/>
                  <a:pt x="68" y="19"/>
                </a:cubicBezTo>
                <a:cubicBezTo>
                  <a:pt x="69" y="17"/>
                  <a:pt x="71" y="13"/>
                  <a:pt x="71" y="8"/>
                </a:cubicBezTo>
                <a:cubicBezTo>
                  <a:pt x="72" y="1"/>
                  <a:pt x="76" y="0"/>
                  <a:pt x="80" y="0"/>
                </a:cubicBezTo>
                <a:cubicBezTo>
                  <a:pt x="80" y="0"/>
                  <a:pt x="80" y="0"/>
                  <a:pt x="80" y="0"/>
                </a:cubicBezTo>
                <a:cubicBezTo>
                  <a:pt x="82" y="0"/>
                  <a:pt x="82" y="0"/>
                  <a:pt x="82" y="0"/>
                </a:cubicBezTo>
                <a:cubicBezTo>
                  <a:pt x="86" y="0"/>
                  <a:pt x="89" y="3"/>
                  <a:pt x="90" y="8"/>
                </a:cubicBezTo>
                <a:cubicBezTo>
                  <a:pt x="90" y="13"/>
                  <a:pt x="92" y="16"/>
                  <a:pt x="93" y="18"/>
                </a:cubicBezTo>
                <a:cubicBezTo>
                  <a:pt x="95" y="17"/>
                  <a:pt x="98" y="14"/>
                  <a:pt x="101" y="10"/>
                </a:cubicBezTo>
                <a:cubicBezTo>
                  <a:pt x="103" y="6"/>
                  <a:pt x="105" y="4"/>
                  <a:pt x="108" y="4"/>
                </a:cubicBezTo>
                <a:cubicBezTo>
                  <a:pt x="109" y="4"/>
                  <a:pt x="111" y="5"/>
                  <a:pt x="112" y="5"/>
                </a:cubicBezTo>
                <a:cubicBezTo>
                  <a:pt x="112" y="6"/>
                  <a:pt x="112" y="6"/>
                  <a:pt x="112" y="6"/>
                </a:cubicBezTo>
                <a:cubicBezTo>
                  <a:pt x="115" y="7"/>
                  <a:pt x="120" y="8"/>
                  <a:pt x="117" y="17"/>
                </a:cubicBezTo>
                <a:cubicBezTo>
                  <a:pt x="116" y="21"/>
                  <a:pt x="116" y="25"/>
                  <a:pt x="117" y="27"/>
                </a:cubicBezTo>
                <a:cubicBezTo>
                  <a:pt x="119" y="27"/>
                  <a:pt x="124" y="25"/>
                  <a:pt x="127" y="23"/>
                </a:cubicBezTo>
                <a:cubicBezTo>
                  <a:pt x="129" y="21"/>
                  <a:pt x="132" y="20"/>
                  <a:pt x="134" y="20"/>
                </a:cubicBezTo>
                <a:cubicBezTo>
                  <a:pt x="136" y="20"/>
                  <a:pt x="138" y="22"/>
                  <a:pt x="139" y="23"/>
                </a:cubicBezTo>
                <a:cubicBezTo>
                  <a:pt x="140" y="23"/>
                  <a:pt x="140" y="23"/>
                  <a:pt x="140" y="23"/>
                </a:cubicBezTo>
                <a:cubicBezTo>
                  <a:pt x="142" y="25"/>
                  <a:pt x="145" y="29"/>
                  <a:pt x="140" y="36"/>
                </a:cubicBezTo>
                <a:cubicBezTo>
                  <a:pt x="138" y="39"/>
                  <a:pt x="136" y="42"/>
                  <a:pt x="135" y="45"/>
                </a:cubicBezTo>
                <a:cubicBezTo>
                  <a:pt x="136" y="45"/>
                  <a:pt x="137" y="45"/>
                  <a:pt x="140" y="45"/>
                </a:cubicBezTo>
                <a:cubicBezTo>
                  <a:pt x="142" y="45"/>
                  <a:pt x="144" y="45"/>
                  <a:pt x="146" y="45"/>
                </a:cubicBezTo>
                <a:cubicBezTo>
                  <a:pt x="148" y="44"/>
                  <a:pt x="149" y="44"/>
                  <a:pt x="150" y="44"/>
                </a:cubicBezTo>
                <a:cubicBezTo>
                  <a:pt x="155" y="44"/>
                  <a:pt x="157" y="48"/>
                  <a:pt x="157" y="49"/>
                </a:cubicBezTo>
                <a:cubicBezTo>
                  <a:pt x="158" y="50"/>
                  <a:pt x="158" y="50"/>
                  <a:pt x="158" y="50"/>
                </a:cubicBezTo>
                <a:cubicBezTo>
                  <a:pt x="159" y="53"/>
                  <a:pt x="161" y="57"/>
                  <a:pt x="153" y="61"/>
                </a:cubicBezTo>
                <a:cubicBezTo>
                  <a:pt x="150" y="63"/>
                  <a:pt x="147" y="66"/>
                  <a:pt x="146" y="68"/>
                </a:cubicBezTo>
                <a:cubicBezTo>
                  <a:pt x="147" y="70"/>
                  <a:pt x="151" y="72"/>
                  <a:pt x="156" y="72"/>
                </a:cubicBezTo>
                <a:cubicBezTo>
                  <a:pt x="164" y="74"/>
                  <a:pt x="164" y="78"/>
                  <a:pt x="164" y="81"/>
                </a:cubicBezTo>
                <a:cubicBezTo>
                  <a:pt x="164" y="81"/>
                  <a:pt x="164" y="81"/>
                  <a:pt x="164" y="81"/>
                </a:cubicBezTo>
                <a:cubicBezTo>
                  <a:pt x="164" y="82"/>
                  <a:pt x="164" y="82"/>
                  <a:pt x="164" y="82"/>
                </a:cubicBezTo>
                <a:cubicBezTo>
                  <a:pt x="164" y="84"/>
                  <a:pt x="164" y="89"/>
                  <a:pt x="155" y="90"/>
                </a:cubicBezTo>
                <a:cubicBezTo>
                  <a:pt x="152" y="91"/>
                  <a:pt x="148" y="92"/>
                  <a:pt x="146" y="94"/>
                </a:cubicBezTo>
                <a:cubicBezTo>
                  <a:pt x="147" y="96"/>
                  <a:pt x="150" y="99"/>
                  <a:pt x="154" y="102"/>
                </a:cubicBezTo>
                <a:cubicBezTo>
                  <a:pt x="161" y="106"/>
                  <a:pt x="159" y="110"/>
                  <a:pt x="158" y="113"/>
                </a:cubicBezTo>
                <a:cubicBezTo>
                  <a:pt x="158" y="114"/>
                  <a:pt x="158" y="114"/>
                  <a:pt x="158" y="114"/>
                </a:cubicBezTo>
                <a:cubicBezTo>
                  <a:pt x="157" y="115"/>
                  <a:pt x="156" y="119"/>
                  <a:pt x="151" y="119"/>
                </a:cubicBezTo>
                <a:cubicBezTo>
                  <a:pt x="149" y="119"/>
                  <a:pt x="148" y="119"/>
                  <a:pt x="146" y="118"/>
                </a:cubicBezTo>
                <a:cubicBezTo>
                  <a:pt x="144" y="118"/>
                  <a:pt x="142" y="117"/>
                  <a:pt x="139" y="117"/>
                </a:cubicBezTo>
                <a:cubicBezTo>
                  <a:pt x="138" y="117"/>
                  <a:pt x="137" y="117"/>
                  <a:pt x="136" y="118"/>
                </a:cubicBezTo>
                <a:cubicBezTo>
                  <a:pt x="136" y="119"/>
                  <a:pt x="138" y="124"/>
                  <a:pt x="141" y="128"/>
                </a:cubicBezTo>
                <a:cubicBezTo>
                  <a:pt x="145" y="134"/>
                  <a:pt x="143" y="137"/>
                  <a:pt x="140" y="140"/>
                </a:cubicBezTo>
                <a:cubicBezTo>
                  <a:pt x="140" y="140"/>
                  <a:pt x="140" y="140"/>
                  <a:pt x="140" y="140"/>
                </a:cubicBezTo>
                <a:cubicBezTo>
                  <a:pt x="139" y="141"/>
                  <a:pt x="137" y="143"/>
                  <a:pt x="134" y="143"/>
                </a:cubicBezTo>
                <a:cubicBezTo>
                  <a:pt x="132" y="143"/>
                  <a:pt x="130" y="142"/>
                  <a:pt x="127" y="140"/>
                </a:cubicBezTo>
                <a:cubicBezTo>
                  <a:pt x="125" y="138"/>
                  <a:pt x="122" y="137"/>
                  <a:pt x="120" y="136"/>
                </a:cubicBezTo>
                <a:cubicBezTo>
                  <a:pt x="120" y="139"/>
                  <a:pt x="120" y="142"/>
                  <a:pt x="121" y="145"/>
                </a:cubicBezTo>
                <a:cubicBezTo>
                  <a:pt x="124" y="153"/>
                  <a:pt x="119" y="155"/>
                  <a:pt x="117" y="156"/>
                </a:cubicBezTo>
                <a:cubicBezTo>
                  <a:pt x="116" y="156"/>
                  <a:pt x="116" y="156"/>
                  <a:pt x="116" y="156"/>
                </a:cubicBezTo>
                <a:cubicBezTo>
                  <a:pt x="115" y="157"/>
                  <a:pt x="114" y="158"/>
                  <a:pt x="112" y="158"/>
                </a:cubicBezTo>
                <a:cubicBezTo>
                  <a:pt x="109" y="158"/>
                  <a:pt x="107" y="156"/>
                  <a:pt x="105" y="152"/>
                </a:cubicBezTo>
                <a:cubicBezTo>
                  <a:pt x="102" y="149"/>
                  <a:pt x="99" y="146"/>
                  <a:pt x="97" y="145"/>
                </a:cubicBezTo>
                <a:cubicBezTo>
                  <a:pt x="96" y="147"/>
                  <a:pt x="94" y="151"/>
                  <a:pt x="94" y="155"/>
                </a:cubicBezTo>
                <a:cubicBezTo>
                  <a:pt x="93" y="164"/>
                  <a:pt x="88" y="164"/>
                  <a:pt x="85" y="164"/>
                </a:cubicBezTo>
                <a:cubicBezTo>
                  <a:pt x="85" y="164"/>
                  <a:pt x="85" y="164"/>
                  <a:pt x="85" y="164"/>
                </a:cubicBezTo>
                <a:cubicBezTo>
                  <a:pt x="84" y="164"/>
                  <a:pt x="84" y="164"/>
                  <a:pt x="83" y="164"/>
                </a:cubicBezTo>
                <a:close/>
                <a:moveTo>
                  <a:pt x="71" y="140"/>
                </a:moveTo>
                <a:cubicBezTo>
                  <a:pt x="72" y="140"/>
                  <a:pt x="72" y="140"/>
                  <a:pt x="72" y="140"/>
                </a:cubicBezTo>
                <a:cubicBezTo>
                  <a:pt x="77" y="142"/>
                  <a:pt x="80" y="150"/>
                  <a:pt x="80" y="155"/>
                </a:cubicBezTo>
                <a:cubicBezTo>
                  <a:pt x="81" y="159"/>
                  <a:pt x="82" y="159"/>
                  <a:pt x="83" y="159"/>
                </a:cubicBezTo>
                <a:cubicBezTo>
                  <a:pt x="84" y="159"/>
                  <a:pt x="84" y="159"/>
                  <a:pt x="84" y="159"/>
                </a:cubicBezTo>
                <a:cubicBezTo>
                  <a:pt x="85" y="159"/>
                  <a:pt x="85" y="159"/>
                  <a:pt x="85" y="159"/>
                </a:cubicBezTo>
                <a:cubicBezTo>
                  <a:pt x="87" y="159"/>
                  <a:pt x="88" y="159"/>
                  <a:pt x="89" y="154"/>
                </a:cubicBezTo>
                <a:cubicBezTo>
                  <a:pt x="89" y="149"/>
                  <a:pt x="91" y="143"/>
                  <a:pt x="94" y="140"/>
                </a:cubicBezTo>
                <a:cubicBezTo>
                  <a:pt x="94" y="140"/>
                  <a:pt x="95" y="140"/>
                  <a:pt x="96" y="140"/>
                </a:cubicBezTo>
                <a:cubicBezTo>
                  <a:pt x="96" y="140"/>
                  <a:pt x="96" y="140"/>
                  <a:pt x="96" y="140"/>
                </a:cubicBezTo>
                <a:cubicBezTo>
                  <a:pt x="101" y="140"/>
                  <a:pt x="106" y="146"/>
                  <a:pt x="109" y="150"/>
                </a:cubicBezTo>
                <a:cubicBezTo>
                  <a:pt x="110" y="152"/>
                  <a:pt x="111" y="153"/>
                  <a:pt x="112" y="153"/>
                </a:cubicBezTo>
                <a:cubicBezTo>
                  <a:pt x="112" y="153"/>
                  <a:pt x="113" y="152"/>
                  <a:pt x="114" y="152"/>
                </a:cubicBezTo>
                <a:cubicBezTo>
                  <a:pt x="115" y="152"/>
                  <a:pt x="115" y="152"/>
                  <a:pt x="115" y="152"/>
                </a:cubicBezTo>
                <a:cubicBezTo>
                  <a:pt x="117" y="151"/>
                  <a:pt x="118" y="150"/>
                  <a:pt x="116" y="146"/>
                </a:cubicBezTo>
                <a:cubicBezTo>
                  <a:pt x="115" y="142"/>
                  <a:pt x="114" y="136"/>
                  <a:pt x="115" y="132"/>
                </a:cubicBezTo>
                <a:cubicBezTo>
                  <a:pt x="116" y="131"/>
                  <a:pt x="117" y="130"/>
                  <a:pt x="118" y="131"/>
                </a:cubicBezTo>
                <a:cubicBezTo>
                  <a:pt x="122" y="131"/>
                  <a:pt x="127" y="134"/>
                  <a:pt x="130" y="136"/>
                </a:cubicBezTo>
                <a:cubicBezTo>
                  <a:pt x="133" y="138"/>
                  <a:pt x="134" y="138"/>
                  <a:pt x="134" y="138"/>
                </a:cubicBezTo>
                <a:cubicBezTo>
                  <a:pt x="135" y="138"/>
                  <a:pt x="135" y="138"/>
                  <a:pt x="136" y="137"/>
                </a:cubicBezTo>
                <a:cubicBezTo>
                  <a:pt x="137" y="136"/>
                  <a:pt x="137" y="136"/>
                  <a:pt x="137" y="136"/>
                </a:cubicBezTo>
                <a:cubicBezTo>
                  <a:pt x="138" y="135"/>
                  <a:pt x="139" y="134"/>
                  <a:pt x="136" y="131"/>
                </a:cubicBezTo>
                <a:cubicBezTo>
                  <a:pt x="134" y="127"/>
                  <a:pt x="130" y="119"/>
                  <a:pt x="132" y="115"/>
                </a:cubicBezTo>
                <a:cubicBezTo>
                  <a:pt x="132" y="114"/>
                  <a:pt x="132" y="114"/>
                  <a:pt x="133" y="113"/>
                </a:cubicBezTo>
                <a:cubicBezTo>
                  <a:pt x="134" y="113"/>
                  <a:pt x="137" y="112"/>
                  <a:pt x="139" y="112"/>
                </a:cubicBezTo>
                <a:cubicBezTo>
                  <a:pt x="142" y="112"/>
                  <a:pt x="145" y="113"/>
                  <a:pt x="148" y="113"/>
                </a:cubicBezTo>
                <a:cubicBezTo>
                  <a:pt x="149" y="114"/>
                  <a:pt x="150" y="114"/>
                  <a:pt x="151" y="114"/>
                </a:cubicBezTo>
                <a:cubicBezTo>
                  <a:pt x="152" y="114"/>
                  <a:pt x="152" y="113"/>
                  <a:pt x="153" y="112"/>
                </a:cubicBezTo>
                <a:cubicBezTo>
                  <a:pt x="153" y="111"/>
                  <a:pt x="153" y="111"/>
                  <a:pt x="153" y="111"/>
                </a:cubicBezTo>
                <a:cubicBezTo>
                  <a:pt x="154" y="109"/>
                  <a:pt x="155" y="108"/>
                  <a:pt x="151" y="106"/>
                </a:cubicBezTo>
                <a:cubicBezTo>
                  <a:pt x="147" y="103"/>
                  <a:pt x="141" y="98"/>
                  <a:pt x="141" y="93"/>
                </a:cubicBezTo>
                <a:cubicBezTo>
                  <a:pt x="141" y="92"/>
                  <a:pt x="141" y="92"/>
                  <a:pt x="141" y="91"/>
                </a:cubicBezTo>
                <a:cubicBezTo>
                  <a:pt x="144" y="88"/>
                  <a:pt x="150" y="86"/>
                  <a:pt x="155" y="86"/>
                </a:cubicBezTo>
                <a:cubicBezTo>
                  <a:pt x="159" y="85"/>
                  <a:pt x="159" y="84"/>
                  <a:pt x="159" y="82"/>
                </a:cubicBezTo>
                <a:cubicBezTo>
                  <a:pt x="159" y="81"/>
                  <a:pt x="159" y="81"/>
                  <a:pt x="159" y="81"/>
                </a:cubicBezTo>
                <a:cubicBezTo>
                  <a:pt x="159" y="81"/>
                  <a:pt x="159" y="81"/>
                  <a:pt x="159" y="81"/>
                </a:cubicBezTo>
                <a:cubicBezTo>
                  <a:pt x="159" y="79"/>
                  <a:pt x="159" y="78"/>
                  <a:pt x="155" y="77"/>
                </a:cubicBezTo>
                <a:cubicBezTo>
                  <a:pt x="151" y="77"/>
                  <a:pt x="142" y="74"/>
                  <a:pt x="140" y="69"/>
                </a:cubicBezTo>
                <a:cubicBezTo>
                  <a:pt x="140" y="69"/>
                  <a:pt x="140" y="68"/>
                  <a:pt x="140" y="68"/>
                </a:cubicBezTo>
                <a:cubicBezTo>
                  <a:pt x="142" y="64"/>
                  <a:pt x="146" y="60"/>
                  <a:pt x="151" y="57"/>
                </a:cubicBezTo>
                <a:cubicBezTo>
                  <a:pt x="154" y="55"/>
                  <a:pt x="154" y="54"/>
                  <a:pt x="153" y="52"/>
                </a:cubicBezTo>
                <a:cubicBezTo>
                  <a:pt x="153" y="51"/>
                  <a:pt x="153" y="51"/>
                  <a:pt x="153" y="51"/>
                </a:cubicBezTo>
                <a:cubicBezTo>
                  <a:pt x="152" y="50"/>
                  <a:pt x="152" y="49"/>
                  <a:pt x="150" y="49"/>
                </a:cubicBezTo>
                <a:cubicBezTo>
                  <a:pt x="150" y="49"/>
                  <a:pt x="149" y="49"/>
                  <a:pt x="148" y="50"/>
                </a:cubicBezTo>
                <a:cubicBezTo>
                  <a:pt x="145" y="50"/>
                  <a:pt x="142" y="50"/>
                  <a:pt x="140" y="50"/>
                </a:cubicBezTo>
                <a:cubicBezTo>
                  <a:pt x="135" y="50"/>
                  <a:pt x="133" y="50"/>
                  <a:pt x="131" y="48"/>
                </a:cubicBezTo>
                <a:cubicBezTo>
                  <a:pt x="131" y="48"/>
                  <a:pt x="130" y="47"/>
                  <a:pt x="130" y="46"/>
                </a:cubicBezTo>
                <a:cubicBezTo>
                  <a:pt x="130" y="42"/>
                  <a:pt x="133" y="37"/>
                  <a:pt x="136" y="33"/>
                </a:cubicBezTo>
                <a:cubicBezTo>
                  <a:pt x="138" y="29"/>
                  <a:pt x="138" y="29"/>
                  <a:pt x="136" y="27"/>
                </a:cubicBezTo>
                <a:cubicBezTo>
                  <a:pt x="135" y="26"/>
                  <a:pt x="135" y="26"/>
                  <a:pt x="135" y="26"/>
                </a:cubicBezTo>
                <a:cubicBezTo>
                  <a:pt x="135" y="25"/>
                  <a:pt x="134" y="25"/>
                  <a:pt x="134" y="25"/>
                </a:cubicBezTo>
                <a:cubicBezTo>
                  <a:pt x="133" y="25"/>
                  <a:pt x="132" y="25"/>
                  <a:pt x="130" y="27"/>
                </a:cubicBezTo>
                <a:cubicBezTo>
                  <a:pt x="125" y="30"/>
                  <a:pt x="118" y="33"/>
                  <a:pt x="114" y="32"/>
                </a:cubicBezTo>
                <a:cubicBezTo>
                  <a:pt x="114" y="32"/>
                  <a:pt x="113" y="31"/>
                  <a:pt x="113" y="31"/>
                </a:cubicBezTo>
                <a:cubicBezTo>
                  <a:pt x="111" y="27"/>
                  <a:pt x="111" y="21"/>
                  <a:pt x="112" y="16"/>
                </a:cubicBezTo>
                <a:cubicBezTo>
                  <a:pt x="114" y="12"/>
                  <a:pt x="113" y="11"/>
                  <a:pt x="111" y="10"/>
                </a:cubicBezTo>
                <a:cubicBezTo>
                  <a:pt x="110" y="10"/>
                  <a:pt x="110" y="10"/>
                  <a:pt x="110" y="10"/>
                </a:cubicBezTo>
                <a:cubicBezTo>
                  <a:pt x="109" y="10"/>
                  <a:pt x="108" y="9"/>
                  <a:pt x="108" y="9"/>
                </a:cubicBezTo>
                <a:cubicBezTo>
                  <a:pt x="107" y="9"/>
                  <a:pt x="106" y="11"/>
                  <a:pt x="105" y="13"/>
                </a:cubicBezTo>
                <a:cubicBezTo>
                  <a:pt x="103" y="16"/>
                  <a:pt x="97" y="23"/>
                  <a:pt x="92" y="23"/>
                </a:cubicBezTo>
                <a:cubicBezTo>
                  <a:pt x="92" y="23"/>
                  <a:pt x="91" y="23"/>
                  <a:pt x="91" y="23"/>
                </a:cubicBezTo>
                <a:cubicBezTo>
                  <a:pt x="88" y="20"/>
                  <a:pt x="85" y="14"/>
                  <a:pt x="85" y="9"/>
                </a:cubicBezTo>
                <a:cubicBezTo>
                  <a:pt x="84" y="5"/>
                  <a:pt x="83" y="5"/>
                  <a:pt x="82" y="5"/>
                </a:cubicBezTo>
                <a:cubicBezTo>
                  <a:pt x="80" y="5"/>
                  <a:pt x="80" y="5"/>
                  <a:pt x="80" y="5"/>
                </a:cubicBezTo>
                <a:cubicBezTo>
                  <a:pt x="80" y="5"/>
                  <a:pt x="80" y="5"/>
                  <a:pt x="80" y="5"/>
                </a:cubicBezTo>
                <a:cubicBezTo>
                  <a:pt x="78" y="5"/>
                  <a:pt x="77" y="5"/>
                  <a:pt x="76" y="9"/>
                </a:cubicBezTo>
                <a:cubicBezTo>
                  <a:pt x="76" y="14"/>
                  <a:pt x="73" y="22"/>
                  <a:pt x="69" y="24"/>
                </a:cubicBezTo>
                <a:cubicBezTo>
                  <a:pt x="68" y="24"/>
                  <a:pt x="68" y="24"/>
                  <a:pt x="67" y="24"/>
                </a:cubicBezTo>
                <a:cubicBezTo>
                  <a:pt x="63" y="23"/>
                  <a:pt x="59" y="18"/>
                  <a:pt x="56" y="14"/>
                </a:cubicBezTo>
                <a:cubicBezTo>
                  <a:pt x="56" y="13"/>
                  <a:pt x="54" y="11"/>
                  <a:pt x="53" y="11"/>
                </a:cubicBezTo>
                <a:cubicBezTo>
                  <a:pt x="53" y="11"/>
                  <a:pt x="52" y="11"/>
                  <a:pt x="51" y="11"/>
                </a:cubicBezTo>
                <a:cubicBezTo>
                  <a:pt x="50" y="12"/>
                  <a:pt x="50" y="12"/>
                  <a:pt x="50" y="12"/>
                </a:cubicBezTo>
                <a:cubicBezTo>
                  <a:pt x="48" y="13"/>
                  <a:pt x="48" y="13"/>
                  <a:pt x="49" y="17"/>
                </a:cubicBezTo>
                <a:cubicBezTo>
                  <a:pt x="50" y="22"/>
                  <a:pt x="50" y="28"/>
                  <a:pt x="49" y="31"/>
                </a:cubicBezTo>
                <a:cubicBezTo>
                  <a:pt x="49" y="32"/>
                  <a:pt x="48" y="33"/>
                  <a:pt x="47" y="33"/>
                </a:cubicBezTo>
                <a:cubicBezTo>
                  <a:pt x="43" y="33"/>
                  <a:pt x="37" y="30"/>
                  <a:pt x="33" y="28"/>
                </a:cubicBezTo>
                <a:cubicBezTo>
                  <a:pt x="31" y="26"/>
                  <a:pt x="30" y="26"/>
                  <a:pt x="30" y="26"/>
                </a:cubicBezTo>
                <a:cubicBezTo>
                  <a:pt x="29" y="26"/>
                  <a:pt x="29" y="27"/>
                  <a:pt x="28" y="28"/>
                </a:cubicBezTo>
                <a:cubicBezTo>
                  <a:pt x="27" y="28"/>
                  <a:pt x="27" y="28"/>
                  <a:pt x="27" y="28"/>
                </a:cubicBezTo>
                <a:cubicBezTo>
                  <a:pt x="26" y="30"/>
                  <a:pt x="25" y="30"/>
                  <a:pt x="28" y="34"/>
                </a:cubicBezTo>
                <a:cubicBezTo>
                  <a:pt x="31" y="38"/>
                  <a:pt x="34" y="43"/>
                  <a:pt x="33" y="47"/>
                </a:cubicBezTo>
                <a:cubicBezTo>
                  <a:pt x="33" y="48"/>
                  <a:pt x="33" y="49"/>
                  <a:pt x="33" y="49"/>
                </a:cubicBezTo>
                <a:cubicBezTo>
                  <a:pt x="31" y="51"/>
                  <a:pt x="27" y="52"/>
                  <a:pt x="23" y="52"/>
                </a:cubicBezTo>
                <a:cubicBezTo>
                  <a:pt x="21" y="52"/>
                  <a:pt x="18" y="51"/>
                  <a:pt x="16" y="51"/>
                </a:cubicBezTo>
                <a:cubicBezTo>
                  <a:pt x="15" y="51"/>
                  <a:pt x="14" y="51"/>
                  <a:pt x="13" y="51"/>
                </a:cubicBezTo>
                <a:cubicBezTo>
                  <a:pt x="12" y="51"/>
                  <a:pt x="12" y="51"/>
                  <a:pt x="11" y="53"/>
                </a:cubicBezTo>
                <a:cubicBezTo>
                  <a:pt x="11" y="54"/>
                  <a:pt x="11" y="54"/>
                  <a:pt x="11" y="54"/>
                </a:cubicBezTo>
                <a:cubicBezTo>
                  <a:pt x="10" y="56"/>
                  <a:pt x="9" y="57"/>
                  <a:pt x="13" y="59"/>
                </a:cubicBezTo>
                <a:cubicBezTo>
                  <a:pt x="18" y="61"/>
                  <a:pt x="22" y="65"/>
                  <a:pt x="24" y="69"/>
                </a:cubicBezTo>
                <a:cubicBezTo>
                  <a:pt x="24" y="69"/>
                  <a:pt x="24" y="70"/>
                  <a:pt x="24" y="71"/>
                </a:cubicBezTo>
                <a:cubicBezTo>
                  <a:pt x="22" y="75"/>
                  <a:pt x="14" y="78"/>
                  <a:pt x="9" y="79"/>
                </a:cubicBezTo>
                <a:cubicBezTo>
                  <a:pt x="5" y="80"/>
                  <a:pt x="5" y="80"/>
                  <a:pt x="5" y="83"/>
                </a:cubicBezTo>
                <a:cubicBezTo>
                  <a:pt x="5" y="84"/>
                  <a:pt x="5" y="84"/>
                  <a:pt x="5" y="84"/>
                </a:cubicBezTo>
                <a:cubicBezTo>
                  <a:pt x="5" y="86"/>
                  <a:pt x="5" y="87"/>
                  <a:pt x="10" y="87"/>
                </a:cubicBezTo>
                <a:cubicBezTo>
                  <a:pt x="15" y="88"/>
                  <a:pt x="21" y="90"/>
                  <a:pt x="23" y="93"/>
                </a:cubicBezTo>
                <a:cubicBezTo>
                  <a:pt x="24" y="93"/>
                  <a:pt x="24" y="94"/>
                  <a:pt x="24" y="94"/>
                </a:cubicBezTo>
                <a:cubicBezTo>
                  <a:pt x="24" y="99"/>
                  <a:pt x="17" y="105"/>
                  <a:pt x="14" y="107"/>
                </a:cubicBezTo>
                <a:cubicBezTo>
                  <a:pt x="10" y="110"/>
                  <a:pt x="11" y="110"/>
                  <a:pt x="12" y="112"/>
                </a:cubicBezTo>
                <a:cubicBezTo>
                  <a:pt x="12" y="113"/>
                  <a:pt x="12" y="113"/>
                  <a:pt x="12" y="113"/>
                </a:cubicBezTo>
                <a:cubicBezTo>
                  <a:pt x="13" y="115"/>
                  <a:pt x="13" y="115"/>
                  <a:pt x="14" y="115"/>
                </a:cubicBezTo>
                <a:cubicBezTo>
                  <a:pt x="15" y="115"/>
                  <a:pt x="16" y="115"/>
                  <a:pt x="17" y="115"/>
                </a:cubicBezTo>
                <a:cubicBezTo>
                  <a:pt x="20" y="114"/>
                  <a:pt x="24" y="113"/>
                  <a:pt x="26" y="113"/>
                </a:cubicBezTo>
                <a:cubicBezTo>
                  <a:pt x="29" y="113"/>
                  <a:pt x="31" y="114"/>
                  <a:pt x="32" y="114"/>
                </a:cubicBezTo>
                <a:cubicBezTo>
                  <a:pt x="33" y="115"/>
                  <a:pt x="33" y="115"/>
                  <a:pt x="33" y="116"/>
                </a:cubicBezTo>
                <a:cubicBezTo>
                  <a:pt x="35" y="120"/>
                  <a:pt x="31" y="128"/>
                  <a:pt x="29" y="132"/>
                </a:cubicBezTo>
                <a:cubicBezTo>
                  <a:pt x="27" y="135"/>
                  <a:pt x="27" y="136"/>
                  <a:pt x="29" y="137"/>
                </a:cubicBezTo>
                <a:cubicBezTo>
                  <a:pt x="29" y="138"/>
                  <a:pt x="29" y="138"/>
                  <a:pt x="29" y="138"/>
                </a:cubicBezTo>
                <a:cubicBezTo>
                  <a:pt x="30" y="139"/>
                  <a:pt x="31" y="139"/>
                  <a:pt x="31" y="139"/>
                </a:cubicBezTo>
                <a:cubicBezTo>
                  <a:pt x="32" y="139"/>
                  <a:pt x="33" y="139"/>
                  <a:pt x="35" y="137"/>
                </a:cubicBezTo>
                <a:cubicBezTo>
                  <a:pt x="39" y="134"/>
                  <a:pt x="45" y="131"/>
                  <a:pt x="48" y="131"/>
                </a:cubicBezTo>
                <a:cubicBezTo>
                  <a:pt x="49" y="131"/>
                  <a:pt x="50" y="132"/>
                  <a:pt x="50" y="132"/>
                </a:cubicBezTo>
                <a:cubicBezTo>
                  <a:pt x="54" y="135"/>
                  <a:pt x="53" y="144"/>
                  <a:pt x="52" y="148"/>
                </a:cubicBezTo>
                <a:cubicBezTo>
                  <a:pt x="52" y="153"/>
                  <a:pt x="52" y="153"/>
                  <a:pt x="54" y="154"/>
                </a:cubicBezTo>
                <a:cubicBezTo>
                  <a:pt x="55" y="154"/>
                  <a:pt x="55" y="154"/>
                  <a:pt x="55" y="154"/>
                </a:cubicBezTo>
                <a:cubicBezTo>
                  <a:pt x="56" y="154"/>
                  <a:pt x="57" y="154"/>
                  <a:pt x="57" y="154"/>
                </a:cubicBezTo>
                <a:cubicBezTo>
                  <a:pt x="58" y="154"/>
                  <a:pt x="59" y="153"/>
                  <a:pt x="60" y="151"/>
                </a:cubicBezTo>
                <a:cubicBezTo>
                  <a:pt x="63" y="147"/>
                  <a:pt x="67" y="142"/>
                  <a:pt x="70" y="140"/>
                </a:cubicBezTo>
                <a:lnTo>
                  <a:pt x="71" y="140"/>
                </a:lnTo>
                <a:close/>
                <a:moveTo>
                  <a:pt x="82" y="134"/>
                </a:moveTo>
                <a:cubicBezTo>
                  <a:pt x="68" y="134"/>
                  <a:pt x="55" y="128"/>
                  <a:pt x="46" y="118"/>
                </a:cubicBezTo>
                <a:cubicBezTo>
                  <a:pt x="36" y="109"/>
                  <a:pt x="31" y="96"/>
                  <a:pt x="30" y="82"/>
                </a:cubicBezTo>
                <a:cubicBezTo>
                  <a:pt x="30" y="68"/>
                  <a:pt x="36" y="55"/>
                  <a:pt x="46" y="45"/>
                </a:cubicBezTo>
                <a:cubicBezTo>
                  <a:pt x="55" y="36"/>
                  <a:pt x="68" y="30"/>
                  <a:pt x="82" y="30"/>
                </a:cubicBezTo>
                <a:cubicBezTo>
                  <a:pt x="96" y="30"/>
                  <a:pt x="109" y="36"/>
                  <a:pt x="119" y="45"/>
                </a:cubicBezTo>
                <a:cubicBezTo>
                  <a:pt x="128" y="55"/>
                  <a:pt x="134" y="68"/>
                  <a:pt x="134" y="82"/>
                </a:cubicBezTo>
                <a:cubicBezTo>
                  <a:pt x="134" y="96"/>
                  <a:pt x="129" y="109"/>
                  <a:pt x="119" y="118"/>
                </a:cubicBezTo>
                <a:cubicBezTo>
                  <a:pt x="109" y="128"/>
                  <a:pt x="96" y="134"/>
                  <a:pt x="82" y="134"/>
                </a:cubicBezTo>
                <a:close/>
                <a:moveTo>
                  <a:pt x="82" y="35"/>
                </a:moveTo>
                <a:cubicBezTo>
                  <a:pt x="70" y="35"/>
                  <a:pt x="58" y="40"/>
                  <a:pt x="49" y="49"/>
                </a:cubicBezTo>
                <a:cubicBezTo>
                  <a:pt x="40" y="58"/>
                  <a:pt x="35" y="69"/>
                  <a:pt x="35" y="82"/>
                </a:cubicBezTo>
                <a:cubicBezTo>
                  <a:pt x="36" y="94"/>
                  <a:pt x="40" y="106"/>
                  <a:pt x="49" y="115"/>
                </a:cubicBezTo>
                <a:cubicBezTo>
                  <a:pt x="58" y="124"/>
                  <a:pt x="70" y="129"/>
                  <a:pt x="82" y="129"/>
                </a:cubicBezTo>
                <a:cubicBezTo>
                  <a:pt x="95" y="129"/>
                  <a:pt x="106" y="124"/>
                  <a:pt x="115" y="115"/>
                </a:cubicBezTo>
                <a:cubicBezTo>
                  <a:pt x="124" y="106"/>
                  <a:pt x="129" y="94"/>
                  <a:pt x="129" y="82"/>
                </a:cubicBezTo>
                <a:cubicBezTo>
                  <a:pt x="129" y="69"/>
                  <a:pt x="124" y="58"/>
                  <a:pt x="115" y="49"/>
                </a:cubicBezTo>
                <a:cubicBezTo>
                  <a:pt x="106" y="40"/>
                  <a:pt x="95" y="35"/>
                  <a:pt x="82" y="3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1" name="Freeform 1378">
            <a:extLst>
              <a:ext uri="{FF2B5EF4-FFF2-40B4-BE49-F238E27FC236}">
                <a16:creationId xmlns:a16="http://schemas.microsoft.com/office/drawing/2014/main" id="{0024CFED-A7A4-4B33-B8CE-887BD6CB73F7}"/>
              </a:ext>
            </a:extLst>
          </p:cNvPr>
          <p:cNvSpPr>
            <a:spLocks noEditPoints="1"/>
          </p:cNvSpPr>
          <p:nvPr/>
        </p:nvSpPr>
        <p:spPr bwMode="auto">
          <a:xfrm rot="7915163">
            <a:off x="1458708" y="2337836"/>
            <a:ext cx="476269" cy="472429"/>
          </a:xfrm>
          <a:custGeom>
            <a:avLst/>
            <a:gdLst>
              <a:gd name="T0" fmla="*/ 65 w 165"/>
              <a:gd name="T1" fmla="*/ 153 h 164"/>
              <a:gd name="T2" fmla="*/ 48 w 165"/>
              <a:gd name="T3" fmla="*/ 147 h 164"/>
              <a:gd name="T4" fmla="*/ 32 w 165"/>
              <a:gd name="T5" fmla="*/ 144 h 164"/>
              <a:gd name="T6" fmla="*/ 29 w 165"/>
              <a:gd name="T7" fmla="*/ 118 h 164"/>
              <a:gd name="T8" fmla="*/ 8 w 165"/>
              <a:gd name="T9" fmla="*/ 114 h 164"/>
              <a:gd name="T10" fmla="*/ 1 w 165"/>
              <a:gd name="T11" fmla="*/ 83 h 164"/>
              <a:gd name="T12" fmla="*/ 11 w 165"/>
              <a:gd name="T13" fmla="*/ 63 h 164"/>
              <a:gd name="T14" fmla="*/ 18 w 165"/>
              <a:gd name="T15" fmla="*/ 46 h 164"/>
              <a:gd name="T16" fmla="*/ 24 w 165"/>
              <a:gd name="T17" fmla="*/ 24 h 164"/>
              <a:gd name="T18" fmla="*/ 45 w 165"/>
              <a:gd name="T19" fmla="*/ 28 h 164"/>
              <a:gd name="T20" fmla="*/ 54 w 165"/>
              <a:gd name="T21" fmla="*/ 6 h 164"/>
              <a:gd name="T22" fmla="*/ 80 w 165"/>
              <a:gd name="T23" fmla="*/ 0 h 164"/>
              <a:gd name="T24" fmla="*/ 94 w 165"/>
              <a:gd name="T25" fmla="*/ 18 h 164"/>
              <a:gd name="T26" fmla="*/ 113 w 165"/>
              <a:gd name="T27" fmla="*/ 6 h 164"/>
              <a:gd name="T28" fmla="*/ 134 w 165"/>
              <a:gd name="T29" fmla="*/ 20 h 164"/>
              <a:gd name="T30" fmla="*/ 136 w 165"/>
              <a:gd name="T31" fmla="*/ 45 h 164"/>
              <a:gd name="T32" fmla="*/ 158 w 165"/>
              <a:gd name="T33" fmla="*/ 49 h 164"/>
              <a:gd name="T34" fmla="*/ 156 w 165"/>
              <a:gd name="T35" fmla="*/ 72 h 164"/>
              <a:gd name="T36" fmla="*/ 156 w 165"/>
              <a:gd name="T37" fmla="*/ 90 h 164"/>
              <a:gd name="T38" fmla="*/ 158 w 165"/>
              <a:gd name="T39" fmla="*/ 113 h 164"/>
              <a:gd name="T40" fmla="*/ 137 w 165"/>
              <a:gd name="T41" fmla="*/ 117 h 164"/>
              <a:gd name="T42" fmla="*/ 135 w 165"/>
              <a:gd name="T43" fmla="*/ 143 h 164"/>
              <a:gd name="T44" fmla="*/ 117 w 165"/>
              <a:gd name="T45" fmla="*/ 156 h 164"/>
              <a:gd name="T46" fmla="*/ 97 w 165"/>
              <a:gd name="T47" fmla="*/ 145 h 164"/>
              <a:gd name="T48" fmla="*/ 84 w 165"/>
              <a:gd name="T49" fmla="*/ 164 h 164"/>
              <a:gd name="T50" fmla="*/ 84 w 165"/>
              <a:gd name="T51" fmla="*/ 159 h 164"/>
              <a:gd name="T52" fmla="*/ 95 w 165"/>
              <a:gd name="T53" fmla="*/ 140 h 164"/>
              <a:gd name="T54" fmla="*/ 112 w 165"/>
              <a:gd name="T55" fmla="*/ 152 h 164"/>
              <a:gd name="T56" fmla="*/ 116 w 165"/>
              <a:gd name="T57" fmla="*/ 132 h 164"/>
              <a:gd name="T58" fmla="*/ 137 w 165"/>
              <a:gd name="T59" fmla="*/ 137 h 164"/>
              <a:gd name="T60" fmla="*/ 133 w 165"/>
              <a:gd name="T61" fmla="*/ 113 h 164"/>
              <a:gd name="T62" fmla="*/ 154 w 165"/>
              <a:gd name="T63" fmla="*/ 111 h 164"/>
              <a:gd name="T64" fmla="*/ 142 w 165"/>
              <a:gd name="T65" fmla="*/ 91 h 164"/>
              <a:gd name="T66" fmla="*/ 160 w 165"/>
              <a:gd name="T67" fmla="*/ 81 h 164"/>
              <a:gd name="T68" fmla="*/ 151 w 165"/>
              <a:gd name="T69" fmla="*/ 57 h 164"/>
              <a:gd name="T70" fmla="*/ 148 w 165"/>
              <a:gd name="T71" fmla="*/ 49 h 164"/>
              <a:gd name="T72" fmla="*/ 136 w 165"/>
              <a:gd name="T73" fmla="*/ 32 h 164"/>
              <a:gd name="T74" fmla="*/ 130 w 165"/>
              <a:gd name="T75" fmla="*/ 27 h 164"/>
              <a:gd name="T76" fmla="*/ 111 w 165"/>
              <a:gd name="T77" fmla="*/ 10 h 164"/>
              <a:gd name="T78" fmla="*/ 93 w 165"/>
              <a:gd name="T79" fmla="*/ 23 h 164"/>
              <a:gd name="T80" fmla="*/ 81 w 165"/>
              <a:gd name="T81" fmla="*/ 5 h 164"/>
              <a:gd name="T82" fmla="*/ 67 w 165"/>
              <a:gd name="T83" fmla="*/ 24 h 164"/>
              <a:gd name="T84" fmla="*/ 51 w 165"/>
              <a:gd name="T85" fmla="*/ 12 h 164"/>
              <a:gd name="T86" fmla="*/ 34 w 165"/>
              <a:gd name="T87" fmla="*/ 28 h 164"/>
              <a:gd name="T88" fmla="*/ 28 w 165"/>
              <a:gd name="T89" fmla="*/ 34 h 164"/>
              <a:gd name="T90" fmla="*/ 17 w 165"/>
              <a:gd name="T91" fmla="*/ 51 h 164"/>
              <a:gd name="T92" fmla="*/ 14 w 165"/>
              <a:gd name="T93" fmla="*/ 58 h 164"/>
              <a:gd name="T94" fmla="*/ 6 w 165"/>
              <a:gd name="T95" fmla="*/ 82 h 164"/>
              <a:gd name="T96" fmla="*/ 25 w 165"/>
              <a:gd name="T97" fmla="*/ 94 h 164"/>
              <a:gd name="T98" fmla="*/ 15 w 165"/>
              <a:gd name="T99" fmla="*/ 115 h 164"/>
              <a:gd name="T100" fmla="*/ 34 w 165"/>
              <a:gd name="T101" fmla="*/ 115 h 164"/>
              <a:gd name="T102" fmla="*/ 32 w 165"/>
              <a:gd name="T103" fmla="*/ 139 h 164"/>
              <a:gd name="T104" fmla="*/ 53 w 165"/>
              <a:gd name="T105" fmla="*/ 148 h 164"/>
              <a:gd name="T106" fmla="*/ 61 w 165"/>
              <a:gd name="T107" fmla="*/ 151 h 164"/>
              <a:gd name="T108" fmla="*/ 46 w 165"/>
              <a:gd name="T109" fmla="*/ 118 h 164"/>
              <a:gd name="T110" fmla="*/ 119 w 165"/>
              <a:gd name="T111" fmla="*/ 45 h 164"/>
              <a:gd name="T112" fmla="*/ 83 w 165"/>
              <a:gd name="T113" fmla="*/ 35 h 164"/>
              <a:gd name="T114" fmla="*/ 83 w 165"/>
              <a:gd name="T115" fmla="*/ 128 h 164"/>
              <a:gd name="T116" fmla="*/ 83 w 165"/>
              <a:gd name="T117" fmla="*/ 3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4">
                <a:moveTo>
                  <a:pt x="84" y="164"/>
                </a:moveTo>
                <a:cubicBezTo>
                  <a:pt x="80" y="164"/>
                  <a:pt x="77" y="161"/>
                  <a:pt x="76" y="155"/>
                </a:cubicBezTo>
                <a:cubicBezTo>
                  <a:pt x="75" y="151"/>
                  <a:pt x="73" y="147"/>
                  <a:pt x="72" y="145"/>
                </a:cubicBezTo>
                <a:cubicBezTo>
                  <a:pt x="70" y="147"/>
                  <a:pt x="67" y="150"/>
                  <a:pt x="65" y="153"/>
                </a:cubicBezTo>
                <a:cubicBezTo>
                  <a:pt x="63" y="157"/>
                  <a:pt x="61" y="159"/>
                  <a:pt x="58" y="159"/>
                </a:cubicBezTo>
                <a:cubicBezTo>
                  <a:pt x="56" y="159"/>
                  <a:pt x="55" y="159"/>
                  <a:pt x="54" y="158"/>
                </a:cubicBezTo>
                <a:cubicBezTo>
                  <a:pt x="53" y="158"/>
                  <a:pt x="53" y="158"/>
                  <a:pt x="53" y="158"/>
                </a:cubicBezTo>
                <a:cubicBezTo>
                  <a:pt x="51" y="157"/>
                  <a:pt x="46" y="156"/>
                  <a:pt x="48" y="147"/>
                </a:cubicBezTo>
                <a:cubicBezTo>
                  <a:pt x="49" y="142"/>
                  <a:pt x="49" y="138"/>
                  <a:pt x="48" y="136"/>
                </a:cubicBezTo>
                <a:cubicBezTo>
                  <a:pt x="45" y="137"/>
                  <a:pt x="42" y="139"/>
                  <a:pt x="39" y="141"/>
                </a:cubicBezTo>
                <a:cubicBezTo>
                  <a:pt x="36" y="143"/>
                  <a:pt x="34" y="144"/>
                  <a:pt x="32" y="144"/>
                </a:cubicBezTo>
                <a:cubicBezTo>
                  <a:pt x="32" y="144"/>
                  <a:pt x="32" y="144"/>
                  <a:pt x="32" y="144"/>
                </a:cubicBezTo>
                <a:cubicBezTo>
                  <a:pt x="29" y="144"/>
                  <a:pt x="28" y="142"/>
                  <a:pt x="27" y="141"/>
                </a:cubicBezTo>
                <a:cubicBezTo>
                  <a:pt x="26" y="141"/>
                  <a:pt x="26" y="141"/>
                  <a:pt x="26" y="141"/>
                </a:cubicBezTo>
                <a:cubicBezTo>
                  <a:pt x="23" y="138"/>
                  <a:pt x="21" y="135"/>
                  <a:pt x="25" y="129"/>
                </a:cubicBezTo>
                <a:cubicBezTo>
                  <a:pt x="28" y="125"/>
                  <a:pt x="29" y="120"/>
                  <a:pt x="29" y="118"/>
                </a:cubicBezTo>
                <a:cubicBezTo>
                  <a:pt x="27" y="118"/>
                  <a:pt x="23" y="118"/>
                  <a:pt x="19" y="119"/>
                </a:cubicBezTo>
                <a:cubicBezTo>
                  <a:pt x="18" y="120"/>
                  <a:pt x="16" y="120"/>
                  <a:pt x="15" y="120"/>
                </a:cubicBezTo>
                <a:cubicBezTo>
                  <a:pt x="10" y="120"/>
                  <a:pt x="9" y="117"/>
                  <a:pt x="8" y="115"/>
                </a:cubicBezTo>
                <a:cubicBezTo>
                  <a:pt x="8" y="114"/>
                  <a:pt x="8" y="114"/>
                  <a:pt x="8" y="114"/>
                </a:cubicBezTo>
                <a:cubicBezTo>
                  <a:pt x="6" y="112"/>
                  <a:pt x="4" y="107"/>
                  <a:pt x="12" y="103"/>
                </a:cubicBezTo>
                <a:cubicBezTo>
                  <a:pt x="16" y="100"/>
                  <a:pt x="19" y="97"/>
                  <a:pt x="19" y="95"/>
                </a:cubicBezTo>
                <a:cubicBezTo>
                  <a:pt x="17" y="94"/>
                  <a:pt x="14" y="92"/>
                  <a:pt x="10" y="92"/>
                </a:cubicBezTo>
                <a:cubicBezTo>
                  <a:pt x="1" y="91"/>
                  <a:pt x="1" y="86"/>
                  <a:pt x="1" y="83"/>
                </a:cubicBezTo>
                <a:cubicBezTo>
                  <a:pt x="1" y="83"/>
                  <a:pt x="1" y="83"/>
                  <a:pt x="1" y="83"/>
                </a:cubicBezTo>
                <a:cubicBezTo>
                  <a:pt x="1" y="80"/>
                  <a:pt x="0" y="75"/>
                  <a:pt x="9" y="74"/>
                </a:cubicBezTo>
                <a:cubicBezTo>
                  <a:pt x="14" y="73"/>
                  <a:pt x="18" y="71"/>
                  <a:pt x="19" y="69"/>
                </a:cubicBezTo>
                <a:cubicBezTo>
                  <a:pt x="18" y="67"/>
                  <a:pt x="15" y="65"/>
                  <a:pt x="11" y="63"/>
                </a:cubicBezTo>
                <a:cubicBezTo>
                  <a:pt x="4" y="59"/>
                  <a:pt x="5" y="54"/>
                  <a:pt x="6" y="52"/>
                </a:cubicBezTo>
                <a:cubicBezTo>
                  <a:pt x="7" y="51"/>
                  <a:pt x="7" y="51"/>
                  <a:pt x="7" y="51"/>
                </a:cubicBezTo>
                <a:cubicBezTo>
                  <a:pt x="7" y="49"/>
                  <a:pt x="9" y="45"/>
                  <a:pt x="14" y="45"/>
                </a:cubicBezTo>
                <a:cubicBezTo>
                  <a:pt x="15" y="45"/>
                  <a:pt x="16" y="46"/>
                  <a:pt x="18" y="46"/>
                </a:cubicBezTo>
                <a:cubicBezTo>
                  <a:pt x="20" y="46"/>
                  <a:pt x="22" y="46"/>
                  <a:pt x="24" y="46"/>
                </a:cubicBezTo>
                <a:cubicBezTo>
                  <a:pt x="26" y="46"/>
                  <a:pt x="28" y="46"/>
                  <a:pt x="29" y="46"/>
                </a:cubicBezTo>
                <a:cubicBezTo>
                  <a:pt x="28" y="43"/>
                  <a:pt x="26" y="40"/>
                  <a:pt x="24" y="37"/>
                </a:cubicBezTo>
                <a:cubicBezTo>
                  <a:pt x="19" y="30"/>
                  <a:pt x="22" y="26"/>
                  <a:pt x="24" y="24"/>
                </a:cubicBezTo>
                <a:cubicBezTo>
                  <a:pt x="25" y="24"/>
                  <a:pt x="25" y="24"/>
                  <a:pt x="25" y="24"/>
                </a:cubicBezTo>
                <a:cubicBezTo>
                  <a:pt x="26" y="23"/>
                  <a:pt x="27" y="21"/>
                  <a:pt x="30" y="21"/>
                </a:cubicBezTo>
                <a:cubicBezTo>
                  <a:pt x="32" y="21"/>
                  <a:pt x="34" y="22"/>
                  <a:pt x="37" y="24"/>
                </a:cubicBezTo>
                <a:cubicBezTo>
                  <a:pt x="39" y="25"/>
                  <a:pt x="43" y="27"/>
                  <a:pt x="45" y="28"/>
                </a:cubicBezTo>
                <a:cubicBezTo>
                  <a:pt x="45" y="25"/>
                  <a:pt x="45" y="21"/>
                  <a:pt x="44" y="18"/>
                </a:cubicBezTo>
                <a:cubicBezTo>
                  <a:pt x="42" y="10"/>
                  <a:pt x="47" y="8"/>
                  <a:pt x="49" y="7"/>
                </a:cubicBezTo>
                <a:cubicBezTo>
                  <a:pt x="50" y="7"/>
                  <a:pt x="50" y="7"/>
                  <a:pt x="50" y="7"/>
                </a:cubicBezTo>
                <a:cubicBezTo>
                  <a:pt x="51" y="6"/>
                  <a:pt x="52" y="6"/>
                  <a:pt x="54" y="6"/>
                </a:cubicBezTo>
                <a:cubicBezTo>
                  <a:pt x="56" y="6"/>
                  <a:pt x="59" y="7"/>
                  <a:pt x="61" y="11"/>
                </a:cubicBezTo>
                <a:cubicBezTo>
                  <a:pt x="63" y="14"/>
                  <a:pt x="66" y="17"/>
                  <a:pt x="68" y="19"/>
                </a:cubicBezTo>
                <a:cubicBezTo>
                  <a:pt x="69" y="17"/>
                  <a:pt x="71" y="13"/>
                  <a:pt x="72" y="8"/>
                </a:cubicBezTo>
                <a:cubicBezTo>
                  <a:pt x="73" y="1"/>
                  <a:pt x="77" y="0"/>
                  <a:pt x="80" y="0"/>
                </a:cubicBezTo>
                <a:cubicBezTo>
                  <a:pt x="81" y="0"/>
                  <a:pt x="81" y="0"/>
                  <a:pt x="81" y="0"/>
                </a:cubicBezTo>
                <a:cubicBezTo>
                  <a:pt x="82" y="0"/>
                  <a:pt x="82" y="0"/>
                  <a:pt x="82" y="0"/>
                </a:cubicBezTo>
                <a:cubicBezTo>
                  <a:pt x="87" y="0"/>
                  <a:pt x="89" y="2"/>
                  <a:pt x="90" y="8"/>
                </a:cubicBezTo>
                <a:cubicBezTo>
                  <a:pt x="91" y="12"/>
                  <a:pt x="92" y="16"/>
                  <a:pt x="94" y="18"/>
                </a:cubicBezTo>
                <a:cubicBezTo>
                  <a:pt x="95" y="17"/>
                  <a:pt x="99" y="14"/>
                  <a:pt x="101" y="10"/>
                </a:cubicBezTo>
                <a:cubicBezTo>
                  <a:pt x="103" y="6"/>
                  <a:pt x="106" y="4"/>
                  <a:pt x="108" y="4"/>
                </a:cubicBezTo>
                <a:cubicBezTo>
                  <a:pt x="110" y="4"/>
                  <a:pt x="111" y="5"/>
                  <a:pt x="112" y="5"/>
                </a:cubicBezTo>
                <a:cubicBezTo>
                  <a:pt x="113" y="6"/>
                  <a:pt x="113" y="6"/>
                  <a:pt x="113" y="6"/>
                </a:cubicBezTo>
                <a:cubicBezTo>
                  <a:pt x="115" y="6"/>
                  <a:pt x="120" y="8"/>
                  <a:pt x="118" y="17"/>
                </a:cubicBezTo>
                <a:cubicBezTo>
                  <a:pt x="117" y="21"/>
                  <a:pt x="117" y="25"/>
                  <a:pt x="117" y="27"/>
                </a:cubicBezTo>
                <a:cubicBezTo>
                  <a:pt x="120" y="27"/>
                  <a:pt x="124" y="25"/>
                  <a:pt x="127" y="23"/>
                </a:cubicBezTo>
                <a:cubicBezTo>
                  <a:pt x="130" y="21"/>
                  <a:pt x="132" y="20"/>
                  <a:pt x="134" y="20"/>
                </a:cubicBezTo>
                <a:cubicBezTo>
                  <a:pt x="137" y="20"/>
                  <a:pt x="138" y="22"/>
                  <a:pt x="140" y="23"/>
                </a:cubicBezTo>
                <a:cubicBezTo>
                  <a:pt x="140" y="23"/>
                  <a:pt x="140" y="23"/>
                  <a:pt x="140" y="23"/>
                </a:cubicBezTo>
                <a:cubicBezTo>
                  <a:pt x="142" y="25"/>
                  <a:pt x="146" y="28"/>
                  <a:pt x="140" y="35"/>
                </a:cubicBezTo>
                <a:cubicBezTo>
                  <a:pt x="138" y="38"/>
                  <a:pt x="136" y="42"/>
                  <a:pt x="136" y="45"/>
                </a:cubicBezTo>
                <a:cubicBezTo>
                  <a:pt x="137" y="45"/>
                  <a:pt x="138" y="45"/>
                  <a:pt x="140" y="45"/>
                </a:cubicBezTo>
                <a:cubicBezTo>
                  <a:pt x="142" y="45"/>
                  <a:pt x="145" y="45"/>
                  <a:pt x="147" y="44"/>
                </a:cubicBezTo>
                <a:cubicBezTo>
                  <a:pt x="148" y="44"/>
                  <a:pt x="150" y="44"/>
                  <a:pt x="151" y="44"/>
                </a:cubicBezTo>
                <a:cubicBezTo>
                  <a:pt x="156" y="44"/>
                  <a:pt x="157" y="47"/>
                  <a:pt x="158" y="49"/>
                </a:cubicBezTo>
                <a:cubicBezTo>
                  <a:pt x="158" y="50"/>
                  <a:pt x="158" y="50"/>
                  <a:pt x="158" y="50"/>
                </a:cubicBezTo>
                <a:cubicBezTo>
                  <a:pt x="159" y="52"/>
                  <a:pt x="161" y="57"/>
                  <a:pt x="154" y="61"/>
                </a:cubicBezTo>
                <a:cubicBezTo>
                  <a:pt x="150" y="63"/>
                  <a:pt x="147" y="66"/>
                  <a:pt x="146" y="68"/>
                </a:cubicBezTo>
                <a:cubicBezTo>
                  <a:pt x="147" y="69"/>
                  <a:pt x="151" y="71"/>
                  <a:pt x="156" y="72"/>
                </a:cubicBezTo>
                <a:cubicBezTo>
                  <a:pt x="165" y="73"/>
                  <a:pt x="165" y="78"/>
                  <a:pt x="165" y="81"/>
                </a:cubicBezTo>
                <a:cubicBezTo>
                  <a:pt x="165" y="81"/>
                  <a:pt x="165" y="81"/>
                  <a:pt x="165" y="81"/>
                </a:cubicBezTo>
                <a:cubicBezTo>
                  <a:pt x="165" y="82"/>
                  <a:pt x="165" y="82"/>
                  <a:pt x="165" y="82"/>
                </a:cubicBezTo>
                <a:cubicBezTo>
                  <a:pt x="165" y="84"/>
                  <a:pt x="165" y="89"/>
                  <a:pt x="156" y="90"/>
                </a:cubicBezTo>
                <a:cubicBezTo>
                  <a:pt x="152" y="91"/>
                  <a:pt x="148" y="92"/>
                  <a:pt x="146" y="94"/>
                </a:cubicBezTo>
                <a:cubicBezTo>
                  <a:pt x="147" y="96"/>
                  <a:pt x="150" y="99"/>
                  <a:pt x="154" y="101"/>
                </a:cubicBezTo>
                <a:cubicBezTo>
                  <a:pt x="162" y="106"/>
                  <a:pt x="160" y="110"/>
                  <a:pt x="159" y="113"/>
                </a:cubicBezTo>
                <a:cubicBezTo>
                  <a:pt x="158" y="113"/>
                  <a:pt x="158" y="113"/>
                  <a:pt x="158" y="113"/>
                </a:cubicBezTo>
                <a:cubicBezTo>
                  <a:pt x="158" y="115"/>
                  <a:pt x="156" y="119"/>
                  <a:pt x="151" y="119"/>
                </a:cubicBezTo>
                <a:cubicBezTo>
                  <a:pt x="150" y="119"/>
                  <a:pt x="149" y="118"/>
                  <a:pt x="147" y="118"/>
                </a:cubicBezTo>
                <a:cubicBezTo>
                  <a:pt x="145" y="117"/>
                  <a:pt x="142" y="117"/>
                  <a:pt x="140" y="117"/>
                </a:cubicBezTo>
                <a:cubicBezTo>
                  <a:pt x="138" y="117"/>
                  <a:pt x="137" y="117"/>
                  <a:pt x="137" y="117"/>
                </a:cubicBezTo>
                <a:cubicBezTo>
                  <a:pt x="137" y="119"/>
                  <a:pt x="138" y="123"/>
                  <a:pt x="141" y="127"/>
                </a:cubicBezTo>
                <a:cubicBezTo>
                  <a:pt x="146" y="134"/>
                  <a:pt x="144" y="137"/>
                  <a:pt x="141" y="140"/>
                </a:cubicBezTo>
                <a:cubicBezTo>
                  <a:pt x="140" y="140"/>
                  <a:pt x="140" y="140"/>
                  <a:pt x="140" y="140"/>
                </a:cubicBezTo>
                <a:cubicBezTo>
                  <a:pt x="139" y="141"/>
                  <a:pt x="137" y="143"/>
                  <a:pt x="135" y="143"/>
                </a:cubicBezTo>
                <a:cubicBezTo>
                  <a:pt x="133" y="143"/>
                  <a:pt x="130" y="142"/>
                  <a:pt x="128" y="140"/>
                </a:cubicBezTo>
                <a:cubicBezTo>
                  <a:pt x="126" y="138"/>
                  <a:pt x="123" y="137"/>
                  <a:pt x="120" y="136"/>
                </a:cubicBezTo>
                <a:cubicBezTo>
                  <a:pt x="120" y="138"/>
                  <a:pt x="121" y="142"/>
                  <a:pt x="122" y="145"/>
                </a:cubicBezTo>
                <a:cubicBezTo>
                  <a:pt x="124" y="153"/>
                  <a:pt x="120" y="155"/>
                  <a:pt x="117" y="156"/>
                </a:cubicBezTo>
                <a:cubicBezTo>
                  <a:pt x="117" y="156"/>
                  <a:pt x="117" y="156"/>
                  <a:pt x="117" y="156"/>
                </a:cubicBezTo>
                <a:cubicBezTo>
                  <a:pt x="116" y="157"/>
                  <a:pt x="114" y="157"/>
                  <a:pt x="112" y="157"/>
                </a:cubicBezTo>
                <a:cubicBezTo>
                  <a:pt x="110" y="157"/>
                  <a:pt x="107" y="156"/>
                  <a:pt x="105" y="152"/>
                </a:cubicBezTo>
                <a:cubicBezTo>
                  <a:pt x="102" y="148"/>
                  <a:pt x="99" y="146"/>
                  <a:pt x="97" y="145"/>
                </a:cubicBezTo>
                <a:cubicBezTo>
                  <a:pt x="96" y="147"/>
                  <a:pt x="95" y="150"/>
                  <a:pt x="94" y="155"/>
                </a:cubicBezTo>
                <a:cubicBezTo>
                  <a:pt x="94" y="163"/>
                  <a:pt x="88" y="163"/>
                  <a:pt x="86" y="164"/>
                </a:cubicBezTo>
                <a:cubicBezTo>
                  <a:pt x="85" y="164"/>
                  <a:pt x="85" y="164"/>
                  <a:pt x="85" y="164"/>
                </a:cubicBezTo>
                <a:cubicBezTo>
                  <a:pt x="85" y="164"/>
                  <a:pt x="84" y="164"/>
                  <a:pt x="84" y="164"/>
                </a:cubicBezTo>
                <a:close/>
                <a:moveTo>
                  <a:pt x="72" y="140"/>
                </a:moveTo>
                <a:cubicBezTo>
                  <a:pt x="72" y="140"/>
                  <a:pt x="72" y="140"/>
                  <a:pt x="72" y="140"/>
                </a:cubicBezTo>
                <a:cubicBezTo>
                  <a:pt x="77" y="142"/>
                  <a:pt x="80" y="150"/>
                  <a:pt x="81" y="154"/>
                </a:cubicBezTo>
                <a:cubicBezTo>
                  <a:pt x="82" y="159"/>
                  <a:pt x="83" y="159"/>
                  <a:pt x="84" y="159"/>
                </a:cubicBezTo>
                <a:cubicBezTo>
                  <a:pt x="85" y="159"/>
                  <a:pt x="85" y="159"/>
                  <a:pt x="85" y="159"/>
                </a:cubicBezTo>
                <a:cubicBezTo>
                  <a:pt x="86" y="159"/>
                  <a:pt x="86" y="159"/>
                  <a:pt x="86" y="159"/>
                </a:cubicBezTo>
                <a:cubicBezTo>
                  <a:pt x="88" y="158"/>
                  <a:pt x="89" y="158"/>
                  <a:pt x="89" y="154"/>
                </a:cubicBezTo>
                <a:cubicBezTo>
                  <a:pt x="90" y="149"/>
                  <a:pt x="92" y="143"/>
                  <a:pt x="95" y="140"/>
                </a:cubicBezTo>
                <a:cubicBezTo>
                  <a:pt x="95" y="140"/>
                  <a:pt x="96" y="140"/>
                  <a:pt x="96" y="139"/>
                </a:cubicBezTo>
                <a:cubicBezTo>
                  <a:pt x="96" y="139"/>
                  <a:pt x="96" y="139"/>
                  <a:pt x="96" y="139"/>
                </a:cubicBezTo>
                <a:cubicBezTo>
                  <a:pt x="101" y="139"/>
                  <a:pt x="107" y="146"/>
                  <a:pt x="109" y="149"/>
                </a:cubicBezTo>
                <a:cubicBezTo>
                  <a:pt x="111" y="151"/>
                  <a:pt x="112" y="152"/>
                  <a:pt x="112" y="152"/>
                </a:cubicBezTo>
                <a:cubicBezTo>
                  <a:pt x="113" y="152"/>
                  <a:pt x="114" y="152"/>
                  <a:pt x="114" y="152"/>
                </a:cubicBezTo>
                <a:cubicBezTo>
                  <a:pt x="115" y="151"/>
                  <a:pt x="115" y="151"/>
                  <a:pt x="115" y="151"/>
                </a:cubicBezTo>
                <a:cubicBezTo>
                  <a:pt x="117" y="150"/>
                  <a:pt x="118" y="150"/>
                  <a:pt x="117" y="146"/>
                </a:cubicBezTo>
                <a:cubicBezTo>
                  <a:pt x="116" y="142"/>
                  <a:pt x="115" y="136"/>
                  <a:pt x="116" y="132"/>
                </a:cubicBezTo>
                <a:cubicBezTo>
                  <a:pt x="116" y="131"/>
                  <a:pt x="117" y="130"/>
                  <a:pt x="118" y="130"/>
                </a:cubicBezTo>
                <a:cubicBezTo>
                  <a:pt x="122" y="131"/>
                  <a:pt x="128" y="133"/>
                  <a:pt x="131" y="136"/>
                </a:cubicBezTo>
                <a:cubicBezTo>
                  <a:pt x="133" y="138"/>
                  <a:pt x="134" y="138"/>
                  <a:pt x="135" y="138"/>
                </a:cubicBezTo>
                <a:cubicBezTo>
                  <a:pt x="135" y="138"/>
                  <a:pt x="136" y="137"/>
                  <a:pt x="137" y="137"/>
                </a:cubicBezTo>
                <a:cubicBezTo>
                  <a:pt x="137" y="136"/>
                  <a:pt x="137" y="136"/>
                  <a:pt x="137" y="136"/>
                </a:cubicBezTo>
                <a:cubicBezTo>
                  <a:pt x="139" y="134"/>
                  <a:pt x="140" y="134"/>
                  <a:pt x="137" y="130"/>
                </a:cubicBezTo>
                <a:cubicBezTo>
                  <a:pt x="134" y="127"/>
                  <a:pt x="130" y="119"/>
                  <a:pt x="132" y="114"/>
                </a:cubicBezTo>
                <a:cubicBezTo>
                  <a:pt x="132" y="114"/>
                  <a:pt x="133" y="113"/>
                  <a:pt x="133" y="113"/>
                </a:cubicBezTo>
                <a:cubicBezTo>
                  <a:pt x="135" y="112"/>
                  <a:pt x="137" y="112"/>
                  <a:pt x="140" y="112"/>
                </a:cubicBezTo>
                <a:cubicBezTo>
                  <a:pt x="143" y="112"/>
                  <a:pt x="146" y="112"/>
                  <a:pt x="148" y="113"/>
                </a:cubicBezTo>
                <a:cubicBezTo>
                  <a:pt x="149" y="113"/>
                  <a:pt x="150" y="114"/>
                  <a:pt x="151" y="114"/>
                </a:cubicBezTo>
                <a:cubicBezTo>
                  <a:pt x="153" y="114"/>
                  <a:pt x="153" y="113"/>
                  <a:pt x="154" y="111"/>
                </a:cubicBezTo>
                <a:cubicBezTo>
                  <a:pt x="154" y="111"/>
                  <a:pt x="154" y="111"/>
                  <a:pt x="154" y="111"/>
                </a:cubicBezTo>
                <a:cubicBezTo>
                  <a:pt x="155" y="109"/>
                  <a:pt x="155" y="108"/>
                  <a:pt x="152" y="106"/>
                </a:cubicBezTo>
                <a:cubicBezTo>
                  <a:pt x="148" y="103"/>
                  <a:pt x="141" y="98"/>
                  <a:pt x="141" y="93"/>
                </a:cubicBezTo>
                <a:cubicBezTo>
                  <a:pt x="141" y="92"/>
                  <a:pt x="141" y="92"/>
                  <a:pt x="142" y="91"/>
                </a:cubicBezTo>
                <a:cubicBezTo>
                  <a:pt x="144" y="88"/>
                  <a:pt x="150" y="86"/>
                  <a:pt x="155" y="85"/>
                </a:cubicBezTo>
                <a:cubicBezTo>
                  <a:pt x="160" y="85"/>
                  <a:pt x="160" y="84"/>
                  <a:pt x="160" y="82"/>
                </a:cubicBezTo>
                <a:cubicBezTo>
                  <a:pt x="160" y="81"/>
                  <a:pt x="160" y="81"/>
                  <a:pt x="160" y="81"/>
                </a:cubicBezTo>
                <a:cubicBezTo>
                  <a:pt x="160" y="81"/>
                  <a:pt x="160" y="81"/>
                  <a:pt x="160" y="81"/>
                </a:cubicBezTo>
                <a:cubicBezTo>
                  <a:pt x="160" y="79"/>
                  <a:pt x="160" y="78"/>
                  <a:pt x="155" y="77"/>
                </a:cubicBezTo>
                <a:cubicBezTo>
                  <a:pt x="151" y="76"/>
                  <a:pt x="142" y="74"/>
                  <a:pt x="141" y="69"/>
                </a:cubicBezTo>
                <a:cubicBezTo>
                  <a:pt x="141" y="69"/>
                  <a:pt x="141" y="68"/>
                  <a:pt x="141" y="67"/>
                </a:cubicBezTo>
                <a:cubicBezTo>
                  <a:pt x="142" y="64"/>
                  <a:pt x="147" y="59"/>
                  <a:pt x="151" y="57"/>
                </a:cubicBezTo>
                <a:cubicBezTo>
                  <a:pt x="155" y="55"/>
                  <a:pt x="155" y="54"/>
                  <a:pt x="154" y="52"/>
                </a:cubicBezTo>
                <a:cubicBezTo>
                  <a:pt x="153" y="51"/>
                  <a:pt x="153" y="51"/>
                  <a:pt x="153" y="51"/>
                </a:cubicBezTo>
                <a:cubicBezTo>
                  <a:pt x="153" y="49"/>
                  <a:pt x="152" y="49"/>
                  <a:pt x="151" y="49"/>
                </a:cubicBezTo>
                <a:cubicBezTo>
                  <a:pt x="150" y="49"/>
                  <a:pt x="149" y="49"/>
                  <a:pt x="148" y="49"/>
                </a:cubicBezTo>
                <a:cubicBezTo>
                  <a:pt x="145" y="50"/>
                  <a:pt x="143" y="50"/>
                  <a:pt x="140" y="50"/>
                </a:cubicBezTo>
                <a:cubicBezTo>
                  <a:pt x="136" y="50"/>
                  <a:pt x="133" y="49"/>
                  <a:pt x="131" y="48"/>
                </a:cubicBezTo>
                <a:cubicBezTo>
                  <a:pt x="131" y="47"/>
                  <a:pt x="131" y="47"/>
                  <a:pt x="131" y="46"/>
                </a:cubicBezTo>
                <a:cubicBezTo>
                  <a:pt x="131" y="42"/>
                  <a:pt x="133" y="36"/>
                  <a:pt x="136" y="32"/>
                </a:cubicBezTo>
                <a:cubicBezTo>
                  <a:pt x="139" y="29"/>
                  <a:pt x="138" y="28"/>
                  <a:pt x="137" y="27"/>
                </a:cubicBezTo>
                <a:cubicBezTo>
                  <a:pt x="136" y="26"/>
                  <a:pt x="136" y="26"/>
                  <a:pt x="136" y="26"/>
                </a:cubicBezTo>
                <a:cubicBezTo>
                  <a:pt x="135" y="25"/>
                  <a:pt x="135" y="25"/>
                  <a:pt x="134" y="25"/>
                </a:cubicBezTo>
                <a:cubicBezTo>
                  <a:pt x="134" y="25"/>
                  <a:pt x="132" y="25"/>
                  <a:pt x="130" y="27"/>
                </a:cubicBezTo>
                <a:cubicBezTo>
                  <a:pt x="126" y="30"/>
                  <a:pt x="118" y="33"/>
                  <a:pt x="115" y="32"/>
                </a:cubicBezTo>
                <a:cubicBezTo>
                  <a:pt x="114" y="31"/>
                  <a:pt x="114" y="31"/>
                  <a:pt x="113" y="30"/>
                </a:cubicBezTo>
                <a:cubicBezTo>
                  <a:pt x="112" y="27"/>
                  <a:pt x="112" y="20"/>
                  <a:pt x="113" y="16"/>
                </a:cubicBezTo>
                <a:cubicBezTo>
                  <a:pt x="114" y="11"/>
                  <a:pt x="113" y="11"/>
                  <a:pt x="111" y="10"/>
                </a:cubicBezTo>
                <a:cubicBezTo>
                  <a:pt x="110" y="10"/>
                  <a:pt x="110" y="10"/>
                  <a:pt x="110" y="10"/>
                </a:cubicBezTo>
                <a:cubicBezTo>
                  <a:pt x="110" y="10"/>
                  <a:pt x="109" y="9"/>
                  <a:pt x="108" y="9"/>
                </a:cubicBezTo>
                <a:cubicBezTo>
                  <a:pt x="107" y="9"/>
                  <a:pt x="106" y="11"/>
                  <a:pt x="105" y="12"/>
                </a:cubicBezTo>
                <a:cubicBezTo>
                  <a:pt x="103" y="16"/>
                  <a:pt x="98" y="23"/>
                  <a:pt x="93" y="23"/>
                </a:cubicBezTo>
                <a:cubicBezTo>
                  <a:pt x="92" y="23"/>
                  <a:pt x="92" y="23"/>
                  <a:pt x="91" y="23"/>
                </a:cubicBezTo>
                <a:cubicBezTo>
                  <a:pt x="88" y="20"/>
                  <a:pt x="86" y="14"/>
                  <a:pt x="85" y="9"/>
                </a:cubicBezTo>
                <a:cubicBezTo>
                  <a:pt x="84" y="5"/>
                  <a:pt x="83" y="5"/>
                  <a:pt x="82" y="5"/>
                </a:cubicBezTo>
                <a:cubicBezTo>
                  <a:pt x="81" y="5"/>
                  <a:pt x="81" y="5"/>
                  <a:pt x="81" y="5"/>
                </a:cubicBezTo>
                <a:cubicBezTo>
                  <a:pt x="80" y="5"/>
                  <a:pt x="80" y="5"/>
                  <a:pt x="80" y="5"/>
                </a:cubicBezTo>
                <a:cubicBezTo>
                  <a:pt x="78" y="5"/>
                  <a:pt x="77" y="5"/>
                  <a:pt x="77" y="9"/>
                </a:cubicBezTo>
                <a:cubicBezTo>
                  <a:pt x="76" y="13"/>
                  <a:pt x="74" y="22"/>
                  <a:pt x="69" y="24"/>
                </a:cubicBezTo>
                <a:cubicBezTo>
                  <a:pt x="69" y="24"/>
                  <a:pt x="68" y="24"/>
                  <a:pt x="67" y="24"/>
                </a:cubicBezTo>
                <a:cubicBezTo>
                  <a:pt x="64" y="23"/>
                  <a:pt x="59" y="18"/>
                  <a:pt x="57" y="14"/>
                </a:cubicBezTo>
                <a:cubicBezTo>
                  <a:pt x="56" y="13"/>
                  <a:pt x="55" y="11"/>
                  <a:pt x="54" y="11"/>
                </a:cubicBezTo>
                <a:cubicBezTo>
                  <a:pt x="53" y="11"/>
                  <a:pt x="52" y="11"/>
                  <a:pt x="52" y="11"/>
                </a:cubicBezTo>
                <a:cubicBezTo>
                  <a:pt x="51" y="12"/>
                  <a:pt x="51" y="12"/>
                  <a:pt x="51" y="12"/>
                </a:cubicBezTo>
                <a:cubicBezTo>
                  <a:pt x="49" y="12"/>
                  <a:pt x="48" y="13"/>
                  <a:pt x="49" y="17"/>
                </a:cubicBezTo>
                <a:cubicBezTo>
                  <a:pt x="50" y="21"/>
                  <a:pt x="51" y="27"/>
                  <a:pt x="49" y="31"/>
                </a:cubicBezTo>
                <a:cubicBezTo>
                  <a:pt x="49" y="32"/>
                  <a:pt x="48" y="33"/>
                  <a:pt x="47" y="33"/>
                </a:cubicBezTo>
                <a:cubicBezTo>
                  <a:pt x="43" y="33"/>
                  <a:pt x="38" y="30"/>
                  <a:pt x="34" y="28"/>
                </a:cubicBezTo>
                <a:cubicBezTo>
                  <a:pt x="32" y="26"/>
                  <a:pt x="31" y="26"/>
                  <a:pt x="30" y="26"/>
                </a:cubicBezTo>
                <a:cubicBezTo>
                  <a:pt x="30" y="26"/>
                  <a:pt x="29" y="26"/>
                  <a:pt x="28" y="27"/>
                </a:cubicBezTo>
                <a:cubicBezTo>
                  <a:pt x="28" y="28"/>
                  <a:pt x="28" y="28"/>
                  <a:pt x="28" y="28"/>
                </a:cubicBezTo>
                <a:cubicBezTo>
                  <a:pt x="26" y="30"/>
                  <a:pt x="25" y="30"/>
                  <a:pt x="28" y="34"/>
                </a:cubicBezTo>
                <a:cubicBezTo>
                  <a:pt x="31" y="38"/>
                  <a:pt x="34" y="43"/>
                  <a:pt x="34" y="47"/>
                </a:cubicBezTo>
                <a:cubicBezTo>
                  <a:pt x="34" y="48"/>
                  <a:pt x="34" y="48"/>
                  <a:pt x="33" y="49"/>
                </a:cubicBezTo>
                <a:cubicBezTo>
                  <a:pt x="31" y="51"/>
                  <a:pt x="27" y="51"/>
                  <a:pt x="24" y="51"/>
                </a:cubicBezTo>
                <a:cubicBezTo>
                  <a:pt x="22" y="51"/>
                  <a:pt x="19" y="51"/>
                  <a:pt x="17" y="51"/>
                </a:cubicBezTo>
                <a:cubicBezTo>
                  <a:pt x="16" y="50"/>
                  <a:pt x="15" y="50"/>
                  <a:pt x="14" y="50"/>
                </a:cubicBezTo>
                <a:cubicBezTo>
                  <a:pt x="12" y="50"/>
                  <a:pt x="12" y="51"/>
                  <a:pt x="11" y="53"/>
                </a:cubicBezTo>
                <a:cubicBezTo>
                  <a:pt x="11" y="53"/>
                  <a:pt x="11" y="53"/>
                  <a:pt x="11" y="53"/>
                </a:cubicBezTo>
                <a:cubicBezTo>
                  <a:pt x="10" y="55"/>
                  <a:pt x="10" y="56"/>
                  <a:pt x="14" y="58"/>
                </a:cubicBezTo>
                <a:cubicBezTo>
                  <a:pt x="18" y="61"/>
                  <a:pt x="23" y="65"/>
                  <a:pt x="24" y="69"/>
                </a:cubicBezTo>
                <a:cubicBezTo>
                  <a:pt x="25" y="69"/>
                  <a:pt x="25" y="70"/>
                  <a:pt x="24" y="70"/>
                </a:cubicBezTo>
                <a:cubicBezTo>
                  <a:pt x="23" y="75"/>
                  <a:pt x="14" y="78"/>
                  <a:pt x="10" y="79"/>
                </a:cubicBezTo>
                <a:cubicBezTo>
                  <a:pt x="6" y="79"/>
                  <a:pt x="6" y="80"/>
                  <a:pt x="6" y="82"/>
                </a:cubicBezTo>
                <a:cubicBezTo>
                  <a:pt x="6" y="83"/>
                  <a:pt x="6" y="83"/>
                  <a:pt x="6" y="83"/>
                </a:cubicBezTo>
                <a:cubicBezTo>
                  <a:pt x="6" y="86"/>
                  <a:pt x="6" y="86"/>
                  <a:pt x="10" y="87"/>
                </a:cubicBezTo>
                <a:cubicBezTo>
                  <a:pt x="15" y="88"/>
                  <a:pt x="21" y="90"/>
                  <a:pt x="24" y="92"/>
                </a:cubicBezTo>
                <a:cubicBezTo>
                  <a:pt x="24" y="93"/>
                  <a:pt x="25" y="93"/>
                  <a:pt x="25" y="94"/>
                </a:cubicBezTo>
                <a:cubicBezTo>
                  <a:pt x="25" y="99"/>
                  <a:pt x="18" y="105"/>
                  <a:pt x="14" y="107"/>
                </a:cubicBezTo>
                <a:cubicBezTo>
                  <a:pt x="11" y="109"/>
                  <a:pt x="11" y="110"/>
                  <a:pt x="12" y="112"/>
                </a:cubicBezTo>
                <a:cubicBezTo>
                  <a:pt x="12" y="113"/>
                  <a:pt x="12" y="113"/>
                  <a:pt x="12" y="113"/>
                </a:cubicBezTo>
                <a:cubicBezTo>
                  <a:pt x="13" y="115"/>
                  <a:pt x="13" y="115"/>
                  <a:pt x="15" y="115"/>
                </a:cubicBezTo>
                <a:cubicBezTo>
                  <a:pt x="16" y="115"/>
                  <a:pt x="17" y="115"/>
                  <a:pt x="18" y="115"/>
                </a:cubicBezTo>
                <a:cubicBezTo>
                  <a:pt x="21" y="114"/>
                  <a:pt x="24" y="113"/>
                  <a:pt x="27" y="113"/>
                </a:cubicBezTo>
                <a:cubicBezTo>
                  <a:pt x="29" y="113"/>
                  <a:pt x="31" y="114"/>
                  <a:pt x="33" y="114"/>
                </a:cubicBezTo>
                <a:cubicBezTo>
                  <a:pt x="33" y="114"/>
                  <a:pt x="34" y="115"/>
                  <a:pt x="34" y="115"/>
                </a:cubicBezTo>
                <a:cubicBezTo>
                  <a:pt x="36" y="120"/>
                  <a:pt x="32" y="128"/>
                  <a:pt x="30" y="131"/>
                </a:cubicBezTo>
                <a:cubicBezTo>
                  <a:pt x="27" y="135"/>
                  <a:pt x="28" y="136"/>
                  <a:pt x="29" y="137"/>
                </a:cubicBezTo>
                <a:cubicBezTo>
                  <a:pt x="30" y="138"/>
                  <a:pt x="30" y="138"/>
                  <a:pt x="30" y="138"/>
                </a:cubicBezTo>
                <a:cubicBezTo>
                  <a:pt x="31" y="139"/>
                  <a:pt x="31" y="139"/>
                  <a:pt x="32" y="139"/>
                </a:cubicBezTo>
                <a:cubicBezTo>
                  <a:pt x="32" y="139"/>
                  <a:pt x="34" y="139"/>
                  <a:pt x="36" y="137"/>
                </a:cubicBezTo>
                <a:cubicBezTo>
                  <a:pt x="39" y="134"/>
                  <a:pt x="45" y="131"/>
                  <a:pt x="49" y="131"/>
                </a:cubicBezTo>
                <a:cubicBezTo>
                  <a:pt x="50" y="131"/>
                  <a:pt x="50" y="131"/>
                  <a:pt x="51" y="132"/>
                </a:cubicBezTo>
                <a:cubicBezTo>
                  <a:pt x="54" y="135"/>
                  <a:pt x="54" y="144"/>
                  <a:pt x="53" y="148"/>
                </a:cubicBezTo>
                <a:cubicBezTo>
                  <a:pt x="52" y="152"/>
                  <a:pt x="53" y="153"/>
                  <a:pt x="55" y="153"/>
                </a:cubicBezTo>
                <a:cubicBezTo>
                  <a:pt x="56" y="154"/>
                  <a:pt x="56" y="154"/>
                  <a:pt x="56" y="154"/>
                </a:cubicBezTo>
                <a:cubicBezTo>
                  <a:pt x="56" y="154"/>
                  <a:pt x="57" y="154"/>
                  <a:pt x="58" y="154"/>
                </a:cubicBezTo>
                <a:cubicBezTo>
                  <a:pt x="59" y="154"/>
                  <a:pt x="60" y="152"/>
                  <a:pt x="61" y="151"/>
                </a:cubicBezTo>
                <a:cubicBezTo>
                  <a:pt x="63" y="147"/>
                  <a:pt x="67" y="142"/>
                  <a:pt x="71" y="140"/>
                </a:cubicBezTo>
                <a:lnTo>
                  <a:pt x="72" y="140"/>
                </a:lnTo>
                <a:close/>
                <a:moveTo>
                  <a:pt x="83" y="133"/>
                </a:moveTo>
                <a:cubicBezTo>
                  <a:pt x="69" y="133"/>
                  <a:pt x="56" y="128"/>
                  <a:pt x="46" y="118"/>
                </a:cubicBezTo>
                <a:cubicBezTo>
                  <a:pt x="36" y="109"/>
                  <a:pt x="31" y="96"/>
                  <a:pt x="31" y="82"/>
                </a:cubicBezTo>
                <a:cubicBezTo>
                  <a:pt x="31" y="68"/>
                  <a:pt x="36" y="55"/>
                  <a:pt x="46" y="45"/>
                </a:cubicBezTo>
                <a:cubicBezTo>
                  <a:pt x="56" y="35"/>
                  <a:pt x="69" y="30"/>
                  <a:pt x="83" y="30"/>
                </a:cubicBezTo>
                <a:cubicBezTo>
                  <a:pt x="96" y="30"/>
                  <a:pt x="109" y="35"/>
                  <a:pt x="119" y="45"/>
                </a:cubicBezTo>
                <a:cubicBezTo>
                  <a:pt x="129" y="55"/>
                  <a:pt x="134" y="68"/>
                  <a:pt x="134" y="82"/>
                </a:cubicBezTo>
                <a:cubicBezTo>
                  <a:pt x="134" y="95"/>
                  <a:pt x="129" y="108"/>
                  <a:pt x="119" y="118"/>
                </a:cubicBezTo>
                <a:cubicBezTo>
                  <a:pt x="110" y="128"/>
                  <a:pt x="97" y="133"/>
                  <a:pt x="83" y="133"/>
                </a:cubicBezTo>
                <a:close/>
                <a:moveTo>
                  <a:pt x="83" y="35"/>
                </a:moveTo>
                <a:cubicBezTo>
                  <a:pt x="70" y="35"/>
                  <a:pt x="58" y="40"/>
                  <a:pt x="50" y="49"/>
                </a:cubicBezTo>
                <a:cubicBezTo>
                  <a:pt x="41" y="58"/>
                  <a:pt x="36" y="69"/>
                  <a:pt x="36" y="82"/>
                </a:cubicBezTo>
                <a:cubicBezTo>
                  <a:pt x="36" y="94"/>
                  <a:pt x="41" y="106"/>
                  <a:pt x="50" y="115"/>
                </a:cubicBezTo>
                <a:cubicBezTo>
                  <a:pt x="59" y="124"/>
                  <a:pt x="70" y="128"/>
                  <a:pt x="83" y="128"/>
                </a:cubicBezTo>
                <a:cubicBezTo>
                  <a:pt x="95" y="128"/>
                  <a:pt x="107" y="123"/>
                  <a:pt x="116" y="115"/>
                </a:cubicBezTo>
                <a:cubicBezTo>
                  <a:pt x="125" y="106"/>
                  <a:pt x="129" y="94"/>
                  <a:pt x="129" y="82"/>
                </a:cubicBezTo>
                <a:cubicBezTo>
                  <a:pt x="129" y="69"/>
                  <a:pt x="124" y="57"/>
                  <a:pt x="116" y="49"/>
                </a:cubicBezTo>
                <a:cubicBezTo>
                  <a:pt x="107" y="40"/>
                  <a:pt x="95" y="35"/>
                  <a:pt x="83" y="3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2" name="Freeform 1379">
            <a:extLst>
              <a:ext uri="{FF2B5EF4-FFF2-40B4-BE49-F238E27FC236}">
                <a16:creationId xmlns:a16="http://schemas.microsoft.com/office/drawing/2014/main" id="{6143D4D7-7943-412F-8996-D37C45DB02FB}"/>
              </a:ext>
            </a:extLst>
          </p:cNvPr>
          <p:cNvSpPr>
            <a:spLocks noEditPoints="1"/>
          </p:cNvSpPr>
          <p:nvPr/>
        </p:nvSpPr>
        <p:spPr bwMode="auto">
          <a:xfrm rot="7915163">
            <a:off x="959498" y="2293275"/>
            <a:ext cx="115226" cy="115226"/>
          </a:xfrm>
          <a:custGeom>
            <a:avLst/>
            <a:gdLst>
              <a:gd name="T0" fmla="*/ 20 w 40"/>
              <a:gd name="T1" fmla="*/ 40 h 40"/>
              <a:gd name="T2" fmla="*/ 20 w 40"/>
              <a:gd name="T3" fmla="*/ 40 h 40"/>
              <a:gd name="T4" fmla="*/ 6 w 40"/>
              <a:gd name="T5" fmla="*/ 34 h 40"/>
              <a:gd name="T6" fmla="*/ 0 w 40"/>
              <a:gd name="T7" fmla="*/ 20 h 40"/>
              <a:gd name="T8" fmla="*/ 6 w 40"/>
              <a:gd name="T9" fmla="*/ 6 h 40"/>
              <a:gd name="T10" fmla="*/ 20 w 40"/>
              <a:gd name="T11" fmla="*/ 0 h 40"/>
              <a:gd name="T12" fmla="*/ 34 w 40"/>
              <a:gd name="T13" fmla="*/ 6 h 40"/>
              <a:gd name="T14" fmla="*/ 40 w 40"/>
              <a:gd name="T15" fmla="*/ 20 h 40"/>
              <a:gd name="T16" fmla="*/ 34 w 40"/>
              <a:gd name="T17" fmla="*/ 34 h 40"/>
              <a:gd name="T18" fmla="*/ 20 w 40"/>
              <a:gd name="T19" fmla="*/ 40 h 40"/>
              <a:gd name="T20" fmla="*/ 20 w 40"/>
              <a:gd name="T21" fmla="*/ 3 h 40"/>
              <a:gd name="T22" fmla="*/ 8 w 40"/>
              <a:gd name="T23" fmla="*/ 8 h 40"/>
              <a:gd name="T24" fmla="*/ 3 w 40"/>
              <a:gd name="T25" fmla="*/ 20 h 40"/>
              <a:gd name="T26" fmla="*/ 8 w 40"/>
              <a:gd name="T27" fmla="*/ 32 h 40"/>
              <a:gd name="T28" fmla="*/ 20 w 40"/>
              <a:gd name="T29" fmla="*/ 37 h 40"/>
              <a:gd name="T30" fmla="*/ 20 w 40"/>
              <a:gd name="T31" fmla="*/ 37 h 40"/>
              <a:gd name="T32" fmla="*/ 32 w 40"/>
              <a:gd name="T33" fmla="*/ 32 h 40"/>
              <a:gd name="T34" fmla="*/ 37 w 40"/>
              <a:gd name="T35" fmla="*/ 20 h 40"/>
              <a:gd name="T36" fmla="*/ 32 w 40"/>
              <a:gd name="T37" fmla="*/ 8 h 40"/>
              <a:gd name="T38" fmla="*/ 20 w 40"/>
              <a:gd name="T39" fmla="*/ 3 h 40"/>
              <a:gd name="T40" fmla="*/ 20 w 40"/>
              <a:gd name="T41" fmla="*/ 33 h 40"/>
              <a:gd name="T42" fmla="*/ 11 w 40"/>
              <a:gd name="T43" fmla="*/ 29 h 40"/>
              <a:gd name="T44" fmla="*/ 10 w 40"/>
              <a:gd name="T45" fmla="*/ 11 h 40"/>
              <a:gd name="T46" fmla="*/ 20 w 40"/>
              <a:gd name="T47" fmla="*/ 7 h 40"/>
              <a:gd name="T48" fmla="*/ 29 w 40"/>
              <a:gd name="T49" fmla="*/ 11 h 40"/>
              <a:gd name="T50" fmla="*/ 33 w 40"/>
              <a:gd name="T51" fmla="*/ 20 h 40"/>
              <a:gd name="T52" fmla="*/ 29 w 40"/>
              <a:gd name="T53" fmla="*/ 29 h 40"/>
              <a:gd name="T54" fmla="*/ 20 w 40"/>
              <a:gd name="T55" fmla="*/ 33 h 40"/>
              <a:gd name="T56" fmla="*/ 20 w 40"/>
              <a:gd name="T57" fmla="*/ 10 h 40"/>
              <a:gd name="T58" fmla="*/ 13 w 40"/>
              <a:gd name="T59" fmla="*/ 13 h 40"/>
              <a:gd name="T60" fmla="*/ 13 w 40"/>
              <a:gd name="T61" fmla="*/ 27 h 40"/>
              <a:gd name="T62" fmla="*/ 20 w 40"/>
              <a:gd name="T63" fmla="*/ 30 h 40"/>
              <a:gd name="T64" fmla="*/ 27 w 40"/>
              <a:gd name="T65" fmla="*/ 27 h 40"/>
              <a:gd name="T66" fmla="*/ 30 w 40"/>
              <a:gd name="T67" fmla="*/ 20 h 40"/>
              <a:gd name="T68" fmla="*/ 27 w 40"/>
              <a:gd name="T69" fmla="*/ 13 h 40"/>
              <a:gd name="T70" fmla="*/ 20 w 40"/>
              <a:gd name="T7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0">
                <a:moveTo>
                  <a:pt x="20" y="40"/>
                </a:moveTo>
                <a:cubicBezTo>
                  <a:pt x="20" y="40"/>
                  <a:pt x="20" y="40"/>
                  <a:pt x="20" y="40"/>
                </a:cubicBezTo>
                <a:cubicBezTo>
                  <a:pt x="14" y="40"/>
                  <a:pt x="9" y="38"/>
                  <a:pt x="6" y="34"/>
                </a:cubicBezTo>
                <a:cubicBezTo>
                  <a:pt x="2" y="30"/>
                  <a:pt x="0" y="25"/>
                  <a:pt x="0" y="20"/>
                </a:cubicBezTo>
                <a:cubicBezTo>
                  <a:pt x="0" y="15"/>
                  <a:pt x="2" y="9"/>
                  <a:pt x="6" y="6"/>
                </a:cubicBezTo>
                <a:cubicBezTo>
                  <a:pt x="9" y="2"/>
                  <a:pt x="14" y="0"/>
                  <a:pt x="20" y="0"/>
                </a:cubicBezTo>
                <a:cubicBezTo>
                  <a:pt x="25" y="0"/>
                  <a:pt x="30" y="2"/>
                  <a:pt x="34" y="6"/>
                </a:cubicBezTo>
                <a:cubicBezTo>
                  <a:pt x="38" y="9"/>
                  <a:pt x="40" y="14"/>
                  <a:pt x="40" y="20"/>
                </a:cubicBezTo>
                <a:cubicBezTo>
                  <a:pt x="40" y="25"/>
                  <a:pt x="38" y="30"/>
                  <a:pt x="34" y="34"/>
                </a:cubicBezTo>
                <a:cubicBezTo>
                  <a:pt x="30" y="38"/>
                  <a:pt x="25" y="40"/>
                  <a:pt x="20" y="40"/>
                </a:cubicBezTo>
                <a:close/>
                <a:moveTo>
                  <a:pt x="20" y="3"/>
                </a:moveTo>
                <a:cubicBezTo>
                  <a:pt x="15" y="3"/>
                  <a:pt x="11" y="5"/>
                  <a:pt x="8" y="8"/>
                </a:cubicBezTo>
                <a:cubicBezTo>
                  <a:pt x="5" y="11"/>
                  <a:pt x="3" y="15"/>
                  <a:pt x="3" y="20"/>
                </a:cubicBezTo>
                <a:cubicBezTo>
                  <a:pt x="3" y="24"/>
                  <a:pt x="5" y="29"/>
                  <a:pt x="8" y="32"/>
                </a:cubicBezTo>
                <a:cubicBezTo>
                  <a:pt x="11" y="35"/>
                  <a:pt x="15" y="37"/>
                  <a:pt x="20" y="37"/>
                </a:cubicBezTo>
                <a:cubicBezTo>
                  <a:pt x="20" y="37"/>
                  <a:pt x="20" y="37"/>
                  <a:pt x="20" y="37"/>
                </a:cubicBezTo>
                <a:cubicBezTo>
                  <a:pt x="24" y="37"/>
                  <a:pt x="28" y="35"/>
                  <a:pt x="32" y="32"/>
                </a:cubicBezTo>
                <a:cubicBezTo>
                  <a:pt x="35" y="29"/>
                  <a:pt x="37" y="24"/>
                  <a:pt x="37" y="20"/>
                </a:cubicBezTo>
                <a:cubicBezTo>
                  <a:pt x="37" y="15"/>
                  <a:pt x="35" y="11"/>
                  <a:pt x="32" y="8"/>
                </a:cubicBezTo>
                <a:cubicBezTo>
                  <a:pt x="28" y="5"/>
                  <a:pt x="24" y="3"/>
                  <a:pt x="20" y="3"/>
                </a:cubicBezTo>
                <a:close/>
                <a:moveTo>
                  <a:pt x="20" y="33"/>
                </a:moveTo>
                <a:cubicBezTo>
                  <a:pt x="16" y="33"/>
                  <a:pt x="13" y="32"/>
                  <a:pt x="11" y="29"/>
                </a:cubicBezTo>
                <a:cubicBezTo>
                  <a:pt x="5" y="24"/>
                  <a:pt x="5" y="16"/>
                  <a:pt x="10" y="11"/>
                </a:cubicBezTo>
                <a:cubicBezTo>
                  <a:pt x="13" y="8"/>
                  <a:pt x="16" y="7"/>
                  <a:pt x="20" y="7"/>
                </a:cubicBezTo>
                <a:cubicBezTo>
                  <a:pt x="23" y="7"/>
                  <a:pt x="26" y="8"/>
                  <a:pt x="29" y="11"/>
                </a:cubicBezTo>
                <a:cubicBezTo>
                  <a:pt x="31" y="13"/>
                  <a:pt x="33" y="16"/>
                  <a:pt x="33" y="20"/>
                </a:cubicBezTo>
                <a:cubicBezTo>
                  <a:pt x="33" y="23"/>
                  <a:pt x="31" y="27"/>
                  <a:pt x="29" y="29"/>
                </a:cubicBezTo>
                <a:cubicBezTo>
                  <a:pt x="27" y="32"/>
                  <a:pt x="23" y="33"/>
                  <a:pt x="20" y="33"/>
                </a:cubicBezTo>
                <a:close/>
                <a:moveTo>
                  <a:pt x="20" y="10"/>
                </a:moveTo>
                <a:cubicBezTo>
                  <a:pt x="17" y="10"/>
                  <a:pt x="15" y="11"/>
                  <a:pt x="13" y="13"/>
                </a:cubicBezTo>
                <a:cubicBezTo>
                  <a:pt x="9" y="17"/>
                  <a:pt x="9" y="23"/>
                  <a:pt x="13" y="27"/>
                </a:cubicBezTo>
                <a:cubicBezTo>
                  <a:pt x="15" y="29"/>
                  <a:pt x="17" y="30"/>
                  <a:pt x="20" y="30"/>
                </a:cubicBezTo>
                <a:cubicBezTo>
                  <a:pt x="22" y="30"/>
                  <a:pt x="25" y="29"/>
                  <a:pt x="27" y="27"/>
                </a:cubicBezTo>
                <a:cubicBezTo>
                  <a:pt x="29" y="25"/>
                  <a:pt x="30" y="22"/>
                  <a:pt x="30" y="20"/>
                </a:cubicBezTo>
                <a:cubicBezTo>
                  <a:pt x="30" y="17"/>
                  <a:pt x="29" y="15"/>
                  <a:pt x="27" y="13"/>
                </a:cubicBezTo>
                <a:cubicBezTo>
                  <a:pt x="25" y="11"/>
                  <a:pt x="22" y="10"/>
                  <a:pt x="20"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3" name="Freeform 1380">
            <a:extLst>
              <a:ext uri="{FF2B5EF4-FFF2-40B4-BE49-F238E27FC236}">
                <a16:creationId xmlns:a16="http://schemas.microsoft.com/office/drawing/2014/main" id="{547EF1A2-1EC9-4019-9D15-7F42B3590562}"/>
              </a:ext>
            </a:extLst>
          </p:cNvPr>
          <p:cNvSpPr>
            <a:spLocks noEditPoints="1"/>
          </p:cNvSpPr>
          <p:nvPr/>
        </p:nvSpPr>
        <p:spPr bwMode="auto">
          <a:xfrm rot="7915163">
            <a:off x="1326929" y="2645349"/>
            <a:ext cx="122908" cy="119068"/>
          </a:xfrm>
          <a:custGeom>
            <a:avLst/>
            <a:gdLst>
              <a:gd name="T0" fmla="*/ 21 w 42"/>
              <a:gd name="T1" fmla="*/ 41 h 41"/>
              <a:gd name="T2" fmla="*/ 21 w 42"/>
              <a:gd name="T3" fmla="*/ 41 h 41"/>
              <a:gd name="T4" fmla="*/ 6 w 42"/>
              <a:gd name="T5" fmla="*/ 35 h 41"/>
              <a:gd name="T6" fmla="*/ 0 w 42"/>
              <a:gd name="T7" fmla="*/ 20 h 41"/>
              <a:gd name="T8" fmla="*/ 6 w 42"/>
              <a:gd name="T9" fmla="*/ 6 h 41"/>
              <a:gd name="T10" fmla="*/ 21 w 42"/>
              <a:gd name="T11" fmla="*/ 0 h 41"/>
              <a:gd name="T12" fmla="*/ 36 w 42"/>
              <a:gd name="T13" fmla="*/ 6 h 41"/>
              <a:gd name="T14" fmla="*/ 42 w 42"/>
              <a:gd name="T15" fmla="*/ 20 h 41"/>
              <a:gd name="T16" fmla="*/ 36 w 42"/>
              <a:gd name="T17" fmla="*/ 35 h 41"/>
              <a:gd name="T18" fmla="*/ 21 w 42"/>
              <a:gd name="T19" fmla="*/ 41 h 41"/>
              <a:gd name="T20" fmla="*/ 21 w 42"/>
              <a:gd name="T21" fmla="*/ 3 h 41"/>
              <a:gd name="T22" fmla="*/ 9 w 42"/>
              <a:gd name="T23" fmla="*/ 8 h 41"/>
              <a:gd name="T24" fmla="*/ 4 w 42"/>
              <a:gd name="T25" fmla="*/ 20 h 41"/>
              <a:gd name="T26" fmla="*/ 9 w 42"/>
              <a:gd name="T27" fmla="*/ 33 h 41"/>
              <a:gd name="T28" fmla="*/ 21 w 42"/>
              <a:gd name="T29" fmla="*/ 38 h 41"/>
              <a:gd name="T30" fmla="*/ 21 w 42"/>
              <a:gd name="T31" fmla="*/ 38 h 41"/>
              <a:gd name="T32" fmla="*/ 33 w 42"/>
              <a:gd name="T33" fmla="*/ 33 h 41"/>
              <a:gd name="T34" fmla="*/ 38 w 42"/>
              <a:gd name="T35" fmla="*/ 20 h 41"/>
              <a:gd name="T36" fmla="*/ 33 w 42"/>
              <a:gd name="T37" fmla="*/ 8 h 41"/>
              <a:gd name="T38" fmla="*/ 21 w 42"/>
              <a:gd name="T39" fmla="*/ 3 h 41"/>
              <a:gd name="T40" fmla="*/ 21 w 42"/>
              <a:gd name="T41" fmla="*/ 34 h 41"/>
              <a:gd name="T42" fmla="*/ 11 w 42"/>
              <a:gd name="T43" fmla="*/ 30 h 41"/>
              <a:gd name="T44" fmla="*/ 11 w 42"/>
              <a:gd name="T45" fmla="*/ 11 h 41"/>
              <a:gd name="T46" fmla="*/ 21 w 42"/>
              <a:gd name="T47" fmla="*/ 7 h 41"/>
              <a:gd name="T48" fmla="*/ 30 w 42"/>
              <a:gd name="T49" fmla="*/ 11 h 41"/>
              <a:gd name="T50" fmla="*/ 34 w 42"/>
              <a:gd name="T51" fmla="*/ 20 h 41"/>
              <a:gd name="T52" fmla="*/ 30 w 42"/>
              <a:gd name="T53" fmla="*/ 30 h 41"/>
              <a:gd name="T54" fmla="*/ 21 w 42"/>
              <a:gd name="T55" fmla="*/ 34 h 41"/>
              <a:gd name="T56" fmla="*/ 21 w 42"/>
              <a:gd name="T57" fmla="*/ 10 h 41"/>
              <a:gd name="T58" fmla="*/ 14 w 42"/>
              <a:gd name="T59" fmla="*/ 13 h 41"/>
              <a:gd name="T60" fmla="*/ 14 w 42"/>
              <a:gd name="T61" fmla="*/ 28 h 41"/>
              <a:gd name="T62" fmla="*/ 21 w 42"/>
              <a:gd name="T63" fmla="*/ 30 h 41"/>
              <a:gd name="T64" fmla="*/ 28 w 42"/>
              <a:gd name="T65" fmla="*/ 28 h 41"/>
              <a:gd name="T66" fmla="*/ 31 w 42"/>
              <a:gd name="T67" fmla="*/ 20 h 41"/>
              <a:gd name="T68" fmla="*/ 28 w 42"/>
              <a:gd name="T69" fmla="*/ 13 h 41"/>
              <a:gd name="T70" fmla="*/ 21 w 42"/>
              <a:gd name="T7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21" y="41"/>
                </a:moveTo>
                <a:cubicBezTo>
                  <a:pt x="21" y="41"/>
                  <a:pt x="21"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2" y="2"/>
                  <a:pt x="36" y="6"/>
                </a:cubicBezTo>
                <a:cubicBezTo>
                  <a:pt x="39" y="10"/>
                  <a:pt x="42" y="15"/>
                  <a:pt x="42" y="20"/>
                </a:cubicBezTo>
                <a:cubicBezTo>
                  <a:pt x="42" y="26"/>
                  <a:pt x="39" y="31"/>
                  <a:pt x="36" y="35"/>
                </a:cubicBezTo>
                <a:cubicBezTo>
                  <a:pt x="32" y="39"/>
                  <a:pt x="26" y="41"/>
                  <a:pt x="21" y="41"/>
                </a:cubicBezTo>
                <a:close/>
                <a:moveTo>
                  <a:pt x="21" y="3"/>
                </a:moveTo>
                <a:cubicBezTo>
                  <a:pt x="16" y="3"/>
                  <a:pt x="12" y="5"/>
                  <a:pt x="9" y="8"/>
                </a:cubicBezTo>
                <a:cubicBezTo>
                  <a:pt x="5" y="11"/>
                  <a:pt x="4" y="16"/>
                  <a:pt x="4" y="20"/>
                </a:cubicBezTo>
                <a:cubicBezTo>
                  <a:pt x="4" y="25"/>
                  <a:pt x="5" y="29"/>
                  <a:pt x="9" y="33"/>
                </a:cubicBezTo>
                <a:cubicBezTo>
                  <a:pt x="12" y="36"/>
                  <a:pt x="16" y="38"/>
                  <a:pt x="21" y="38"/>
                </a:cubicBezTo>
                <a:cubicBezTo>
                  <a:pt x="21" y="38"/>
                  <a:pt x="21" y="38"/>
                  <a:pt x="21" y="38"/>
                </a:cubicBezTo>
                <a:cubicBezTo>
                  <a:pt x="26" y="38"/>
                  <a:pt x="30" y="36"/>
                  <a:pt x="33" y="33"/>
                </a:cubicBezTo>
                <a:cubicBezTo>
                  <a:pt x="36" y="29"/>
                  <a:pt x="38" y="25"/>
                  <a:pt x="38" y="20"/>
                </a:cubicBezTo>
                <a:cubicBezTo>
                  <a:pt x="38" y="16"/>
                  <a:pt x="36" y="11"/>
                  <a:pt x="33" y="8"/>
                </a:cubicBezTo>
                <a:cubicBezTo>
                  <a:pt x="30" y="5"/>
                  <a:pt x="26" y="3"/>
                  <a:pt x="21" y="3"/>
                </a:cubicBezTo>
                <a:close/>
                <a:moveTo>
                  <a:pt x="21" y="34"/>
                </a:moveTo>
                <a:cubicBezTo>
                  <a:pt x="17" y="34"/>
                  <a:pt x="14" y="32"/>
                  <a:pt x="11" y="30"/>
                </a:cubicBezTo>
                <a:cubicBezTo>
                  <a:pt x="6" y="25"/>
                  <a:pt x="6" y="16"/>
                  <a:pt x="11" y="11"/>
                </a:cubicBezTo>
                <a:cubicBezTo>
                  <a:pt x="14" y="8"/>
                  <a:pt x="17" y="7"/>
                  <a:pt x="21" y="7"/>
                </a:cubicBezTo>
                <a:cubicBezTo>
                  <a:pt x="25" y="7"/>
                  <a:pt x="28" y="8"/>
                  <a:pt x="30" y="11"/>
                </a:cubicBezTo>
                <a:cubicBezTo>
                  <a:pt x="33" y="13"/>
                  <a:pt x="34" y="17"/>
                  <a:pt x="34" y="20"/>
                </a:cubicBezTo>
                <a:cubicBezTo>
                  <a:pt x="34" y="24"/>
                  <a:pt x="33" y="27"/>
                  <a:pt x="30" y="30"/>
                </a:cubicBezTo>
                <a:cubicBezTo>
                  <a:pt x="28" y="32"/>
                  <a:pt x="25" y="34"/>
                  <a:pt x="21" y="34"/>
                </a:cubicBezTo>
                <a:close/>
                <a:moveTo>
                  <a:pt x="21" y="10"/>
                </a:moveTo>
                <a:cubicBezTo>
                  <a:pt x="18" y="10"/>
                  <a:pt x="16" y="11"/>
                  <a:pt x="14" y="13"/>
                </a:cubicBezTo>
                <a:cubicBezTo>
                  <a:pt x="10" y="17"/>
                  <a:pt x="10" y="24"/>
                  <a:pt x="14" y="28"/>
                </a:cubicBezTo>
                <a:cubicBezTo>
                  <a:pt x="16" y="29"/>
                  <a:pt x="18" y="30"/>
                  <a:pt x="21" y="30"/>
                </a:cubicBezTo>
                <a:cubicBezTo>
                  <a:pt x="24" y="30"/>
                  <a:pt x="26" y="29"/>
                  <a:pt x="28" y="28"/>
                </a:cubicBezTo>
                <a:cubicBezTo>
                  <a:pt x="30" y="26"/>
                  <a:pt x="31" y="23"/>
                  <a:pt x="31" y="20"/>
                </a:cubicBezTo>
                <a:cubicBezTo>
                  <a:pt x="31" y="18"/>
                  <a:pt x="30" y="15"/>
                  <a:pt x="28" y="13"/>
                </a:cubicBezTo>
                <a:cubicBezTo>
                  <a:pt x="26" y="11"/>
                  <a:pt x="24" y="10"/>
                  <a:pt x="21"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4" name="Freeform 1381">
            <a:extLst>
              <a:ext uri="{FF2B5EF4-FFF2-40B4-BE49-F238E27FC236}">
                <a16:creationId xmlns:a16="http://schemas.microsoft.com/office/drawing/2014/main" id="{838DEAF2-7AFC-4B51-AF88-A71A2FE9AB2D}"/>
              </a:ext>
            </a:extLst>
          </p:cNvPr>
          <p:cNvSpPr>
            <a:spLocks noEditPoints="1"/>
          </p:cNvSpPr>
          <p:nvPr/>
        </p:nvSpPr>
        <p:spPr bwMode="auto">
          <a:xfrm rot="7915163">
            <a:off x="2130523" y="2808276"/>
            <a:ext cx="1647738" cy="1640056"/>
          </a:xfrm>
          <a:custGeom>
            <a:avLst/>
            <a:gdLst>
              <a:gd name="T0" fmla="*/ 216 w 572"/>
              <a:gd name="T1" fmla="*/ 552 h 571"/>
              <a:gd name="T2" fmla="*/ 150 w 572"/>
              <a:gd name="T3" fmla="*/ 536 h 571"/>
              <a:gd name="T4" fmla="*/ 103 w 572"/>
              <a:gd name="T5" fmla="*/ 491 h 571"/>
              <a:gd name="T6" fmla="*/ 63 w 572"/>
              <a:gd name="T7" fmla="*/ 446 h 571"/>
              <a:gd name="T8" fmla="*/ 30 w 572"/>
              <a:gd name="T9" fmla="*/ 386 h 571"/>
              <a:gd name="T10" fmla="*/ 14 w 572"/>
              <a:gd name="T11" fmla="*/ 327 h 571"/>
              <a:gd name="T12" fmla="*/ 28 w 572"/>
              <a:gd name="T13" fmla="*/ 249 h 571"/>
              <a:gd name="T14" fmla="*/ 20 w 572"/>
              <a:gd name="T15" fmla="*/ 183 h 571"/>
              <a:gd name="T16" fmla="*/ 70 w 572"/>
              <a:gd name="T17" fmla="*/ 141 h 571"/>
              <a:gd name="T18" fmla="*/ 95 w 572"/>
              <a:gd name="T19" fmla="*/ 73 h 571"/>
              <a:gd name="T20" fmla="*/ 165 w 572"/>
              <a:gd name="T21" fmla="*/ 55 h 571"/>
              <a:gd name="T22" fmla="*/ 217 w 572"/>
              <a:gd name="T23" fmla="*/ 9 h 571"/>
              <a:gd name="T24" fmla="*/ 283 w 572"/>
              <a:gd name="T25" fmla="*/ 25 h 571"/>
              <a:gd name="T26" fmla="*/ 346 w 572"/>
              <a:gd name="T27" fmla="*/ 6 h 571"/>
              <a:gd name="T28" fmla="*/ 401 w 572"/>
              <a:gd name="T29" fmla="*/ 52 h 571"/>
              <a:gd name="T30" fmla="*/ 466 w 572"/>
              <a:gd name="T31" fmla="*/ 64 h 571"/>
              <a:gd name="T32" fmla="*/ 495 w 572"/>
              <a:gd name="T33" fmla="*/ 130 h 571"/>
              <a:gd name="T34" fmla="*/ 547 w 572"/>
              <a:gd name="T35" fmla="*/ 170 h 571"/>
              <a:gd name="T36" fmla="*/ 543 w 572"/>
              <a:gd name="T37" fmla="*/ 241 h 571"/>
              <a:gd name="T38" fmla="*/ 545 w 572"/>
              <a:gd name="T39" fmla="*/ 317 h 571"/>
              <a:gd name="T40" fmla="*/ 547 w 572"/>
              <a:gd name="T41" fmla="*/ 373 h 571"/>
              <a:gd name="T42" fmla="*/ 524 w 572"/>
              <a:gd name="T43" fmla="*/ 436 h 571"/>
              <a:gd name="T44" fmla="*/ 479 w 572"/>
              <a:gd name="T45" fmla="*/ 482 h 571"/>
              <a:gd name="T46" fmla="*/ 425 w 572"/>
              <a:gd name="T47" fmla="*/ 523 h 571"/>
              <a:gd name="T48" fmla="*/ 360 w 572"/>
              <a:gd name="T49" fmla="*/ 562 h 571"/>
              <a:gd name="T50" fmla="*/ 296 w 572"/>
              <a:gd name="T51" fmla="*/ 546 h 571"/>
              <a:gd name="T52" fmla="*/ 274 w 572"/>
              <a:gd name="T53" fmla="*/ 566 h 571"/>
              <a:gd name="T54" fmla="*/ 322 w 572"/>
              <a:gd name="T55" fmla="*/ 557 h 571"/>
              <a:gd name="T56" fmla="*/ 366 w 572"/>
              <a:gd name="T57" fmla="*/ 530 h 571"/>
              <a:gd name="T58" fmla="*/ 412 w 572"/>
              <a:gd name="T59" fmla="*/ 509 h 571"/>
              <a:gd name="T60" fmla="*/ 463 w 572"/>
              <a:gd name="T61" fmla="*/ 495 h 571"/>
              <a:gd name="T62" fmla="*/ 504 w 572"/>
              <a:gd name="T63" fmla="*/ 463 h 571"/>
              <a:gd name="T64" fmla="*/ 527 w 572"/>
              <a:gd name="T65" fmla="*/ 416 h 571"/>
              <a:gd name="T66" fmla="*/ 530 w 572"/>
              <a:gd name="T67" fmla="*/ 365 h 571"/>
              <a:gd name="T68" fmla="*/ 539 w 572"/>
              <a:gd name="T69" fmla="*/ 325 h 571"/>
              <a:gd name="T70" fmla="*/ 542 w 572"/>
              <a:gd name="T71" fmla="*/ 273 h 571"/>
              <a:gd name="T72" fmla="*/ 557 w 572"/>
              <a:gd name="T73" fmla="*/ 214 h 571"/>
              <a:gd name="T74" fmla="*/ 542 w 572"/>
              <a:gd name="T75" fmla="*/ 171 h 571"/>
              <a:gd name="T76" fmla="*/ 517 w 572"/>
              <a:gd name="T77" fmla="*/ 129 h 571"/>
              <a:gd name="T78" fmla="*/ 485 w 572"/>
              <a:gd name="T79" fmla="*/ 97 h 571"/>
              <a:gd name="T80" fmla="*/ 434 w 572"/>
              <a:gd name="T81" fmla="*/ 78 h 571"/>
              <a:gd name="T82" fmla="*/ 392 w 572"/>
              <a:gd name="T83" fmla="*/ 53 h 571"/>
              <a:gd name="T84" fmla="*/ 351 w 572"/>
              <a:gd name="T85" fmla="*/ 20 h 571"/>
              <a:gd name="T86" fmla="*/ 300 w 572"/>
              <a:gd name="T87" fmla="*/ 5 h 571"/>
              <a:gd name="T88" fmla="*/ 250 w 572"/>
              <a:gd name="T89" fmla="*/ 14 h 571"/>
              <a:gd name="T90" fmla="*/ 206 w 572"/>
              <a:gd name="T91" fmla="*/ 42 h 571"/>
              <a:gd name="T92" fmla="*/ 161 w 572"/>
              <a:gd name="T93" fmla="*/ 63 h 571"/>
              <a:gd name="T94" fmla="*/ 125 w 572"/>
              <a:gd name="T95" fmla="*/ 86 h 571"/>
              <a:gd name="T96" fmla="*/ 78 w 572"/>
              <a:gd name="T97" fmla="*/ 107 h 571"/>
              <a:gd name="T98" fmla="*/ 43 w 572"/>
              <a:gd name="T99" fmla="*/ 145 h 571"/>
              <a:gd name="T100" fmla="*/ 24 w 572"/>
              <a:gd name="T101" fmla="*/ 186 h 571"/>
              <a:gd name="T102" fmla="*/ 17 w 572"/>
              <a:gd name="T103" fmla="*/ 236 h 571"/>
              <a:gd name="T104" fmla="*/ 31 w 572"/>
              <a:gd name="T105" fmla="*/ 296 h 571"/>
              <a:gd name="T106" fmla="*/ 20 w 572"/>
              <a:gd name="T107" fmla="*/ 349 h 571"/>
              <a:gd name="T108" fmla="*/ 29 w 572"/>
              <a:gd name="T109" fmla="*/ 399 h 571"/>
              <a:gd name="T110" fmla="*/ 51 w 572"/>
              <a:gd name="T111" fmla="*/ 439 h 571"/>
              <a:gd name="T112" fmla="*/ 82 w 572"/>
              <a:gd name="T113" fmla="*/ 477 h 571"/>
              <a:gd name="T114" fmla="*/ 120 w 572"/>
              <a:gd name="T115" fmla="*/ 503 h 571"/>
              <a:gd name="T116" fmla="*/ 172 w 572"/>
              <a:gd name="T117" fmla="*/ 515 h 571"/>
              <a:gd name="T118" fmla="*/ 217 w 572"/>
              <a:gd name="T119" fmla="*/ 532 h 571"/>
              <a:gd name="T120" fmla="*/ 104 w 572"/>
              <a:gd name="T121" fmla="*/ 138 h 571"/>
              <a:gd name="T122" fmla="*/ 515 w 572"/>
              <a:gd name="T123" fmla="*/ 2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2" h="571">
                <a:moveTo>
                  <a:pt x="274" y="571"/>
                </a:moveTo>
                <a:cubicBezTo>
                  <a:pt x="273" y="571"/>
                  <a:pt x="272" y="571"/>
                  <a:pt x="271" y="571"/>
                </a:cubicBezTo>
                <a:cubicBezTo>
                  <a:pt x="270" y="571"/>
                  <a:pt x="270" y="571"/>
                  <a:pt x="270" y="571"/>
                </a:cubicBezTo>
                <a:cubicBezTo>
                  <a:pt x="267" y="571"/>
                  <a:pt x="260" y="571"/>
                  <a:pt x="259" y="559"/>
                </a:cubicBezTo>
                <a:cubicBezTo>
                  <a:pt x="258" y="553"/>
                  <a:pt x="257" y="548"/>
                  <a:pt x="255" y="545"/>
                </a:cubicBezTo>
                <a:cubicBezTo>
                  <a:pt x="253" y="544"/>
                  <a:pt x="251" y="544"/>
                  <a:pt x="249" y="544"/>
                </a:cubicBezTo>
                <a:cubicBezTo>
                  <a:pt x="246" y="546"/>
                  <a:pt x="243" y="551"/>
                  <a:pt x="241" y="557"/>
                </a:cubicBezTo>
                <a:cubicBezTo>
                  <a:pt x="239" y="563"/>
                  <a:pt x="236" y="566"/>
                  <a:pt x="231" y="566"/>
                </a:cubicBezTo>
                <a:cubicBezTo>
                  <a:pt x="230" y="566"/>
                  <a:pt x="228" y="566"/>
                  <a:pt x="227" y="565"/>
                </a:cubicBezTo>
                <a:cubicBezTo>
                  <a:pt x="226" y="565"/>
                  <a:pt x="226" y="565"/>
                  <a:pt x="226" y="565"/>
                </a:cubicBezTo>
                <a:cubicBezTo>
                  <a:pt x="222" y="564"/>
                  <a:pt x="215" y="563"/>
                  <a:pt x="216" y="552"/>
                </a:cubicBezTo>
                <a:cubicBezTo>
                  <a:pt x="217" y="546"/>
                  <a:pt x="216" y="540"/>
                  <a:pt x="215" y="537"/>
                </a:cubicBezTo>
                <a:cubicBezTo>
                  <a:pt x="213" y="536"/>
                  <a:pt x="211" y="535"/>
                  <a:pt x="209" y="535"/>
                </a:cubicBezTo>
                <a:cubicBezTo>
                  <a:pt x="206" y="537"/>
                  <a:pt x="202" y="541"/>
                  <a:pt x="199" y="547"/>
                </a:cubicBezTo>
                <a:cubicBezTo>
                  <a:pt x="197" y="552"/>
                  <a:pt x="193" y="554"/>
                  <a:pt x="189" y="554"/>
                </a:cubicBezTo>
                <a:cubicBezTo>
                  <a:pt x="187" y="554"/>
                  <a:pt x="185" y="553"/>
                  <a:pt x="184" y="553"/>
                </a:cubicBezTo>
                <a:cubicBezTo>
                  <a:pt x="183" y="552"/>
                  <a:pt x="183" y="552"/>
                  <a:pt x="183" y="552"/>
                </a:cubicBezTo>
                <a:cubicBezTo>
                  <a:pt x="179" y="551"/>
                  <a:pt x="173" y="549"/>
                  <a:pt x="176" y="537"/>
                </a:cubicBezTo>
                <a:cubicBezTo>
                  <a:pt x="177" y="532"/>
                  <a:pt x="177" y="526"/>
                  <a:pt x="176" y="522"/>
                </a:cubicBezTo>
                <a:cubicBezTo>
                  <a:pt x="175" y="521"/>
                  <a:pt x="173" y="521"/>
                  <a:pt x="171" y="520"/>
                </a:cubicBezTo>
                <a:cubicBezTo>
                  <a:pt x="168" y="521"/>
                  <a:pt x="163" y="525"/>
                  <a:pt x="160" y="530"/>
                </a:cubicBezTo>
                <a:cubicBezTo>
                  <a:pt x="157" y="534"/>
                  <a:pt x="153" y="536"/>
                  <a:pt x="150" y="536"/>
                </a:cubicBezTo>
                <a:cubicBezTo>
                  <a:pt x="147" y="536"/>
                  <a:pt x="145" y="534"/>
                  <a:pt x="143" y="533"/>
                </a:cubicBezTo>
                <a:cubicBezTo>
                  <a:pt x="143" y="533"/>
                  <a:pt x="143" y="533"/>
                  <a:pt x="143" y="533"/>
                </a:cubicBezTo>
                <a:cubicBezTo>
                  <a:pt x="139" y="531"/>
                  <a:pt x="133" y="528"/>
                  <a:pt x="138" y="517"/>
                </a:cubicBezTo>
                <a:cubicBezTo>
                  <a:pt x="140" y="512"/>
                  <a:pt x="141" y="506"/>
                  <a:pt x="141" y="502"/>
                </a:cubicBezTo>
                <a:cubicBezTo>
                  <a:pt x="139" y="501"/>
                  <a:pt x="137" y="500"/>
                  <a:pt x="136" y="499"/>
                </a:cubicBezTo>
                <a:cubicBezTo>
                  <a:pt x="132" y="500"/>
                  <a:pt x="127" y="503"/>
                  <a:pt x="123" y="507"/>
                </a:cubicBezTo>
                <a:cubicBezTo>
                  <a:pt x="120" y="510"/>
                  <a:pt x="117" y="512"/>
                  <a:pt x="114" y="512"/>
                </a:cubicBezTo>
                <a:cubicBezTo>
                  <a:pt x="114" y="512"/>
                  <a:pt x="114" y="512"/>
                  <a:pt x="114" y="512"/>
                </a:cubicBezTo>
                <a:cubicBezTo>
                  <a:pt x="111" y="512"/>
                  <a:pt x="108" y="510"/>
                  <a:pt x="106" y="508"/>
                </a:cubicBezTo>
                <a:cubicBezTo>
                  <a:pt x="106" y="507"/>
                  <a:pt x="106" y="507"/>
                  <a:pt x="106" y="507"/>
                </a:cubicBezTo>
                <a:cubicBezTo>
                  <a:pt x="103" y="505"/>
                  <a:pt x="97" y="501"/>
                  <a:pt x="103" y="491"/>
                </a:cubicBezTo>
                <a:cubicBezTo>
                  <a:pt x="106" y="486"/>
                  <a:pt x="108" y="480"/>
                  <a:pt x="109" y="477"/>
                </a:cubicBezTo>
                <a:cubicBezTo>
                  <a:pt x="107" y="475"/>
                  <a:pt x="106" y="474"/>
                  <a:pt x="104" y="473"/>
                </a:cubicBezTo>
                <a:cubicBezTo>
                  <a:pt x="101" y="473"/>
                  <a:pt x="95" y="476"/>
                  <a:pt x="90" y="479"/>
                </a:cubicBezTo>
                <a:cubicBezTo>
                  <a:pt x="87" y="481"/>
                  <a:pt x="85" y="482"/>
                  <a:pt x="82" y="482"/>
                </a:cubicBezTo>
                <a:cubicBezTo>
                  <a:pt x="78" y="482"/>
                  <a:pt x="75" y="479"/>
                  <a:pt x="74" y="477"/>
                </a:cubicBezTo>
                <a:cubicBezTo>
                  <a:pt x="73" y="476"/>
                  <a:pt x="73" y="476"/>
                  <a:pt x="73" y="476"/>
                </a:cubicBezTo>
                <a:cubicBezTo>
                  <a:pt x="71" y="474"/>
                  <a:pt x="66" y="469"/>
                  <a:pt x="73" y="460"/>
                </a:cubicBezTo>
                <a:cubicBezTo>
                  <a:pt x="77" y="455"/>
                  <a:pt x="80" y="450"/>
                  <a:pt x="81" y="447"/>
                </a:cubicBezTo>
                <a:cubicBezTo>
                  <a:pt x="81" y="447"/>
                  <a:pt x="81" y="447"/>
                  <a:pt x="81" y="447"/>
                </a:cubicBezTo>
                <a:cubicBezTo>
                  <a:pt x="80" y="445"/>
                  <a:pt x="78" y="443"/>
                  <a:pt x="77" y="442"/>
                </a:cubicBezTo>
                <a:cubicBezTo>
                  <a:pt x="74" y="442"/>
                  <a:pt x="68" y="443"/>
                  <a:pt x="63" y="446"/>
                </a:cubicBezTo>
                <a:cubicBezTo>
                  <a:pt x="60" y="447"/>
                  <a:pt x="58" y="448"/>
                  <a:pt x="55" y="448"/>
                </a:cubicBezTo>
                <a:cubicBezTo>
                  <a:pt x="50" y="448"/>
                  <a:pt x="48" y="444"/>
                  <a:pt x="47" y="442"/>
                </a:cubicBezTo>
                <a:cubicBezTo>
                  <a:pt x="46" y="441"/>
                  <a:pt x="46" y="441"/>
                  <a:pt x="46" y="441"/>
                </a:cubicBezTo>
                <a:cubicBezTo>
                  <a:pt x="44" y="438"/>
                  <a:pt x="40" y="432"/>
                  <a:pt x="49" y="424"/>
                </a:cubicBezTo>
                <a:cubicBezTo>
                  <a:pt x="53" y="420"/>
                  <a:pt x="57" y="416"/>
                  <a:pt x="58" y="413"/>
                </a:cubicBezTo>
                <a:cubicBezTo>
                  <a:pt x="57" y="411"/>
                  <a:pt x="56" y="409"/>
                  <a:pt x="55" y="407"/>
                </a:cubicBezTo>
                <a:cubicBezTo>
                  <a:pt x="52" y="407"/>
                  <a:pt x="46" y="407"/>
                  <a:pt x="40" y="409"/>
                </a:cubicBezTo>
                <a:cubicBezTo>
                  <a:pt x="38" y="409"/>
                  <a:pt x="36" y="410"/>
                  <a:pt x="35" y="410"/>
                </a:cubicBezTo>
                <a:cubicBezTo>
                  <a:pt x="28" y="410"/>
                  <a:pt x="26" y="405"/>
                  <a:pt x="25" y="402"/>
                </a:cubicBezTo>
                <a:cubicBezTo>
                  <a:pt x="25" y="401"/>
                  <a:pt x="25" y="401"/>
                  <a:pt x="25" y="401"/>
                </a:cubicBezTo>
                <a:cubicBezTo>
                  <a:pt x="23" y="398"/>
                  <a:pt x="20" y="392"/>
                  <a:pt x="30" y="386"/>
                </a:cubicBezTo>
                <a:cubicBezTo>
                  <a:pt x="35" y="382"/>
                  <a:pt x="39" y="378"/>
                  <a:pt x="41" y="376"/>
                </a:cubicBezTo>
                <a:cubicBezTo>
                  <a:pt x="41" y="374"/>
                  <a:pt x="40" y="372"/>
                  <a:pt x="39" y="370"/>
                </a:cubicBezTo>
                <a:cubicBezTo>
                  <a:pt x="37" y="369"/>
                  <a:pt x="34" y="369"/>
                  <a:pt x="30" y="369"/>
                </a:cubicBezTo>
                <a:cubicBezTo>
                  <a:pt x="28" y="369"/>
                  <a:pt x="26" y="369"/>
                  <a:pt x="24" y="369"/>
                </a:cubicBezTo>
                <a:cubicBezTo>
                  <a:pt x="23" y="369"/>
                  <a:pt x="22" y="369"/>
                  <a:pt x="21" y="369"/>
                </a:cubicBezTo>
                <a:cubicBezTo>
                  <a:pt x="12" y="369"/>
                  <a:pt x="11" y="363"/>
                  <a:pt x="10" y="360"/>
                </a:cubicBezTo>
                <a:cubicBezTo>
                  <a:pt x="10" y="359"/>
                  <a:pt x="10" y="359"/>
                  <a:pt x="10" y="359"/>
                </a:cubicBezTo>
                <a:cubicBezTo>
                  <a:pt x="9" y="355"/>
                  <a:pt x="7" y="349"/>
                  <a:pt x="18" y="344"/>
                </a:cubicBezTo>
                <a:cubicBezTo>
                  <a:pt x="23" y="342"/>
                  <a:pt x="28" y="339"/>
                  <a:pt x="30" y="336"/>
                </a:cubicBezTo>
                <a:cubicBezTo>
                  <a:pt x="30" y="334"/>
                  <a:pt x="30" y="332"/>
                  <a:pt x="29" y="330"/>
                </a:cubicBezTo>
                <a:cubicBezTo>
                  <a:pt x="26" y="329"/>
                  <a:pt x="20" y="327"/>
                  <a:pt x="14" y="327"/>
                </a:cubicBezTo>
                <a:cubicBezTo>
                  <a:pt x="3" y="327"/>
                  <a:pt x="2" y="320"/>
                  <a:pt x="2" y="316"/>
                </a:cubicBezTo>
                <a:cubicBezTo>
                  <a:pt x="2" y="315"/>
                  <a:pt x="2" y="315"/>
                  <a:pt x="2" y="315"/>
                </a:cubicBezTo>
                <a:cubicBezTo>
                  <a:pt x="1" y="311"/>
                  <a:pt x="0" y="304"/>
                  <a:pt x="12" y="302"/>
                </a:cubicBezTo>
                <a:cubicBezTo>
                  <a:pt x="17" y="300"/>
                  <a:pt x="23" y="298"/>
                  <a:pt x="26" y="295"/>
                </a:cubicBezTo>
                <a:cubicBezTo>
                  <a:pt x="26" y="293"/>
                  <a:pt x="25" y="291"/>
                  <a:pt x="25" y="289"/>
                </a:cubicBezTo>
                <a:cubicBezTo>
                  <a:pt x="23" y="287"/>
                  <a:pt x="17" y="285"/>
                  <a:pt x="11" y="284"/>
                </a:cubicBezTo>
                <a:cubicBezTo>
                  <a:pt x="0" y="282"/>
                  <a:pt x="0" y="275"/>
                  <a:pt x="1" y="271"/>
                </a:cubicBezTo>
                <a:cubicBezTo>
                  <a:pt x="1" y="270"/>
                  <a:pt x="1" y="270"/>
                  <a:pt x="1" y="270"/>
                </a:cubicBezTo>
                <a:cubicBezTo>
                  <a:pt x="1" y="266"/>
                  <a:pt x="1" y="259"/>
                  <a:pt x="13" y="259"/>
                </a:cubicBezTo>
                <a:cubicBezTo>
                  <a:pt x="19" y="258"/>
                  <a:pt x="24" y="256"/>
                  <a:pt x="27" y="255"/>
                </a:cubicBezTo>
                <a:cubicBezTo>
                  <a:pt x="28" y="253"/>
                  <a:pt x="28" y="251"/>
                  <a:pt x="28" y="249"/>
                </a:cubicBezTo>
                <a:cubicBezTo>
                  <a:pt x="26" y="246"/>
                  <a:pt x="20" y="243"/>
                  <a:pt x="15" y="241"/>
                </a:cubicBezTo>
                <a:cubicBezTo>
                  <a:pt x="4" y="237"/>
                  <a:pt x="6" y="230"/>
                  <a:pt x="6" y="227"/>
                </a:cubicBezTo>
                <a:cubicBezTo>
                  <a:pt x="7" y="226"/>
                  <a:pt x="7" y="226"/>
                  <a:pt x="7" y="226"/>
                </a:cubicBezTo>
                <a:cubicBezTo>
                  <a:pt x="7" y="222"/>
                  <a:pt x="9" y="216"/>
                  <a:pt x="18" y="216"/>
                </a:cubicBezTo>
                <a:cubicBezTo>
                  <a:pt x="19" y="216"/>
                  <a:pt x="20" y="216"/>
                  <a:pt x="20" y="216"/>
                </a:cubicBezTo>
                <a:cubicBezTo>
                  <a:pt x="21" y="216"/>
                  <a:pt x="22" y="216"/>
                  <a:pt x="23" y="216"/>
                </a:cubicBezTo>
                <a:cubicBezTo>
                  <a:pt x="28" y="216"/>
                  <a:pt x="33" y="216"/>
                  <a:pt x="35" y="215"/>
                </a:cubicBezTo>
                <a:cubicBezTo>
                  <a:pt x="36" y="213"/>
                  <a:pt x="36" y="211"/>
                  <a:pt x="37" y="209"/>
                </a:cubicBezTo>
                <a:cubicBezTo>
                  <a:pt x="35" y="206"/>
                  <a:pt x="30" y="202"/>
                  <a:pt x="25" y="199"/>
                </a:cubicBezTo>
                <a:cubicBezTo>
                  <a:pt x="15" y="194"/>
                  <a:pt x="18" y="187"/>
                  <a:pt x="19" y="184"/>
                </a:cubicBezTo>
                <a:cubicBezTo>
                  <a:pt x="20" y="183"/>
                  <a:pt x="20" y="183"/>
                  <a:pt x="20" y="183"/>
                </a:cubicBezTo>
                <a:cubicBezTo>
                  <a:pt x="21" y="180"/>
                  <a:pt x="22" y="175"/>
                  <a:pt x="30" y="175"/>
                </a:cubicBezTo>
                <a:cubicBezTo>
                  <a:pt x="31" y="175"/>
                  <a:pt x="33" y="175"/>
                  <a:pt x="34" y="175"/>
                </a:cubicBezTo>
                <a:cubicBezTo>
                  <a:pt x="40" y="177"/>
                  <a:pt x="46" y="177"/>
                  <a:pt x="50" y="176"/>
                </a:cubicBezTo>
                <a:cubicBezTo>
                  <a:pt x="50" y="174"/>
                  <a:pt x="51" y="173"/>
                  <a:pt x="52" y="171"/>
                </a:cubicBezTo>
                <a:cubicBezTo>
                  <a:pt x="52" y="171"/>
                  <a:pt x="52" y="171"/>
                  <a:pt x="52" y="171"/>
                </a:cubicBezTo>
                <a:cubicBezTo>
                  <a:pt x="51" y="168"/>
                  <a:pt x="47" y="163"/>
                  <a:pt x="42" y="159"/>
                </a:cubicBezTo>
                <a:cubicBezTo>
                  <a:pt x="33" y="152"/>
                  <a:pt x="36" y="146"/>
                  <a:pt x="38" y="143"/>
                </a:cubicBezTo>
                <a:cubicBezTo>
                  <a:pt x="39" y="142"/>
                  <a:pt x="39" y="142"/>
                  <a:pt x="39" y="142"/>
                </a:cubicBezTo>
                <a:cubicBezTo>
                  <a:pt x="40" y="140"/>
                  <a:pt x="43" y="136"/>
                  <a:pt x="48" y="136"/>
                </a:cubicBezTo>
                <a:cubicBezTo>
                  <a:pt x="50" y="136"/>
                  <a:pt x="52" y="136"/>
                  <a:pt x="55" y="137"/>
                </a:cubicBezTo>
                <a:cubicBezTo>
                  <a:pt x="60" y="139"/>
                  <a:pt x="66" y="141"/>
                  <a:pt x="70" y="141"/>
                </a:cubicBezTo>
                <a:cubicBezTo>
                  <a:pt x="71" y="139"/>
                  <a:pt x="72" y="137"/>
                  <a:pt x="73" y="136"/>
                </a:cubicBezTo>
                <a:cubicBezTo>
                  <a:pt x="72" y="132"/>
                  <a:pt x="69" y="127"/>
                  <a:pt x="65" y="123"/>
                </a:cubicBezTo>
                <a:cubicBezTo>
                  <a:pt x="57" y="114"/>
                  <a:pt x="61" y="109"/>
                  <a:pt x="64" y="106"/>
                </a:cubicBezTo>
                <a:cubicBezTo>
                  <a:pt x="64" y="105"/>
                  <a:pt x="64" y="105"/>
                  <a:pt x="64" y="105"/>
                </a:cubicBezTo>
                <a:cubicBezTo>
                  <a:pt x="66" y="103"/>
                  <a:pt x="68" y="100"/>
                  <a:pt x="73" y="100"/>
                </a:cubicBezTo>
                <a:cubicBezTo>
                  <a:pt x="75" y="100"/>
                  <a:pt x="78" y="101"/>
                  <a:pt x="81" y="103"/>
                </a:cubicBezTo>
                <a:cubicBezTo>
                  <a:pt x="86" y="106"/>
                  <a:pt x="92" y="108"/>
                  <a:pt x="95" y="108"/>
                </a:cubicBezTo>
                <a:cubicBezTo>
                  <a:pt x="96" y="107"/>
                  <a:pt x="98" y="106"/>
                  <a:pt x="99" y="104"/>
                </a:cubicBezTo>
                <a:cubicBezTo>
                  <a:pt x="99" y="101"/>
                  <a:pt x="96" y="95"/>
                  <a:pt x="93" y="90"/>
                </a:cubicBezTo>
                <a:cubicBezTo>
                  <a:pt x="87" y="81"/>
                  <a:pt x="92" y="76"/>
                  <a:pt x="95" y="74"/>
                </a:cubicBezTo>
                <a:cubicBezTo>
                  <a:pt x="95" y="73"/>
                  <a:pt x="95" y="73"/>
                  <a:pt x="95" y="73"/>
                </a:cubicBezTo>
                <a:cubicBezTo>
                  <a:pt x="97" y="71"/>
                  <a:pt x="99" y="69"/>
                  <a:pt x="103" y="69"/>
                </a:cubicBezTo>
                <a:cubicBezTo>
                  <a:pt x="106" y="69"/>
                  <a:pt x="109" y="70"/>
                  <a:pt x="112" y="73"/>
                </a:cubicBezTo>
                <a:cubicBezTo>
                  <a:pt x="117" y="77"/>
                  <a:pt x="122" y="80"/>
                  <a:pt x="125" y="81"/>
                </a:cubicBezTo>
                <a:cubicBezTo>
                  <a:pt x="127" y="79"/>
                  <a:pt x="128" y="78"/>
                  <a:pt x="130" y="77"/>
                </a:cubicBezTo>
                <a:cubicBezTo>
                  <a:pt x="130" y="73"/>
                  <a:pt x="128" y="68"/>
                  <a:pt x="126" y="62"/>
                </a:cubicBezTo>
                <a:cubicBezTo>
                  <a:pt x="121" y="52"/>
                  <a:pt x="127" y="48"/>
                  <a:pt x="130" y="46"/>
                </a:cubicBezTo>
                <a:cubicBezTo>
                  <a:pt x="131" y="46"/>
                  <a:pt x="131" y="46"/>
                  <a:pt x="131" y="46"/>
                </a:cubicBezTo>
                <a:cubicBezTo>
                  <a:pt x="133" y="45"/>
                  <a:pt x="135" y="43"/>
                  <a:pt x="138" y="43"/>
                </a:cubicBezTo>
                <a:cubicBezTo>
                  <a:pt x="141" y="43"/>
                  <a:pt x="144" y="45"/>
                  <a:pt x="147" y="49"/>
                </a:cubicBezTo>
                <a:cubicBezTo>
                  <a:pt x="151" y="53"/>
                  <a:pt x="156" y="57"/>
                  <a:pt x="159" y="58"/>
                </a:cubicBezTo>
                <a:cubicBezTo>
                  <a:pt x="161" y="57"/>
                  <a:pt x="163" y="56"/>
                  <a:pt x="165" y="55"/>
                </a:cubicBezTo>
                <a:cubicBezTo>
                  <a:pt x="165" y="52"/>
                  <a:pt x="165" y="46"/>
                  <a:pt x="163" y="40"/>
                </a:cubicBezTo>
                <a:cubicBezTo>
                  <a:pt x="160" y="29"/>
                  <a:pt x="166" y="26"/>
                  <a:pt x="170" y="25"/>
                </a:cubicBezTo>
                <a:cubicBezTo>
                  <a:pt x="171" y="24"/>
                  <a:pt x="171" y="24"/>
                  <a:pt x="171" y="24"/>
                </a:cubicBezTo>
                <a:cubicBezTo>
                  <a:pt x="172" y="24"/>
                  <a:pt x="174" y="23"/>
                  <a:pt x="176" y="23"/>
                </a:cubicBezTo>
                <a:cubicBezTo>
                  <a:pt x="180" y="23"/>
                  <a:pt x="183" y="25"/>
                  <a:pt x="186" y="30"/>
                </a:cubicBezTo>
                <a:cubicBezTo>
                  <a:pt x="189" y="35"/>
                  <a:pt x="193" y="39"/>
                  <a:pt x="196" y="41"/>
                </a:cubicBezTo>
                <a:cubicBezTo>
                  <a:pt x="198" y="40"/>
                  <a:pt x="200" y="40"/>
                  <a:pt x="202" y="39"/>
                </a:cubicBezTo>
                <a:cubicBezTo>
                  <a:pt x="203" y="36"/>
                  <a:pt x="204" y="30"/>
                  <a:pt x="203" y="24"/>
                </a:cubicBezTo>
                <a:cubicBezTo>
                  <a:pt x="201" y="12"/>
                  <a:pt x="208" y="11"/>
                  <a:pt x="212" y="10"/>
                </a:cubicBezTo>
                <a:cubicBezTo>
                  <a:pt x="213" y="10"/>
                  <a:pt x="213" y="10"/>
                  <a:pt x="213" y="10"/>
                </a:cubicBezTo>
                <a:cubicBezTo>
                  <a:pt x="214" y="9"/>
                  <a:pt x="216" y="9"/>
                  <a:pt x="217" y="9"/>
                </a:cubicBezTo>
                <a:cubicBezTo>
                  <a:pt x="222" y="9"/>
                  <a:pt x="225" y="12"/>
                  <a:pt x="227" y="17"/>
                </a:cubicBezTo>
                <a:cubicBezTo>
                  <a:pt x="230" y="23"/>
                  <a:pt x="233" y="28"/>
                  <a:pt x="236" y="30"/>
                </a:cubicBezTo>
                <a:cubicBezTo>
                  <a:pt x="238" y="30"/>
                  <a:pt x="240" y="29"/>
                  <a:pt x="241" y="29"/>
                </a:cubicBezTo>
                <a:cubicBezTo>
                  <a:pt x="242" y="29"/>
                  <a:pt x="242" y="29"/>
                  <a:pt x="242" y="29"/>
                </a:cubicBezTo>
                <a:cubicBezTo>
                  <a:pt x="243" y="26"/>
                  <a:pt x="245" y="20"/>
                  <a:pt x="245" y="14"/>
                </a:cubicBezTo>
                <a:cubicBezTo>
                  <a:pt x="245" y="3"/>
                  <a:pt x="252" y="2"/>
                  <a:pt x="256" y="2"/>
                </a:cubicBezTo>
                <a:cubicBezTo>
                  <a:pt x="257" y="2"/>
                  <a:pt x="257" y="2"/>
                  <a:pt x="257" y="2"/>
                </a:cubicBezTo>
                <a:cubicBezTo>
                  <a:pt x="258" y="1"/>
                  <a:pt x="259" y="1"/>
                  <a:pt x="260" y="1"/>
                </a:cubicBezTo>
                <a:cubicBezTo>
                  <a:pt x="265" y="1"/>
                  <a:pt x="269" y="5"/>
                  <a:pt x="270" y="11"/>
                </a:cubicBezTo>
                <a:cubicBezTo>
                  <a:pt x="272" y="17"/>
                  <a:pt x="274" y="23"/>
                  <a:pt x="276" y="25"/>
                </a:cubicBezTo>
                <a:cubicBezTo>
                  <a:pt x="278" y="25"/>
                  <a:pt x="280" y="25"/>
                  <a:pt x="283" y="25"/>
                </a:cubicBezTo>
                <a:cubicBezTo>
                  <a:pt x="285" y="22"/>
                  <a:pt x="287" y="17"/>
                  <a:pt x="288" y="11"/>
                </a:cubicBezTo>
                <a:cubicBezTo>
                  <a:pt x="289" y="4"/>
                  <a:pt x="293" y="0"/>
                  <a:pt x="299" y="0"/>
                </a:cubicBezTo>
                <a:cubicBezTo>
                  <a:pt x="299" y="0"/>
                  <a:pt x="300" y="0"/>
                  <a:pt x="301" y="0"/>
                </a:cubicBezTo>
                <a:cubicBezTo>
                  <a:pt x="302" y="0"/>
                  <a:pt x="302" y="0"/>
                  <a:pt x="302" y="0"/>
                </a:cubicBezTo>
                <a:cubicBezTo>
                  <a:pt x="305" y="1"/>
                  <a:pt x="312" y="1"/>
                  <a:pt x="313" y="12"/>
                </a:cubicBezTo>
                <a:cubicBezTo>
                  <a:pt x="314" y="18"/>
                  <a:pt x="316" y="24"/>
                  <a:pt x="317" y="27"/>
                </a:cubicBezTo>
                <a:cubicBezTo>
                  <a:pt x="319" y="27"/>
                  <a:pt x="321" y="28"/>
                  <a:pt x="323" y="28"/>
                </a:cubicBezTo>
                <a:cubicBezTo>
                  <a:pt x="326" y="25"/>
                  <a:pt x="329" y="20"/>
                  <a:pt x="331" y="15"/>
                </a:cubicBezTo>
                <a:cubicBezTo>
                  <a:pt x="333" y="9"/>
                  <a:pt x="336" y="6"/>
                  <a:pt x="341" y="6"/>
                </a:cubicBezTo>
                <a:cubicBezTo>
                  <a:pt x="343" y="6"/>
                  <a:pt x="344" y="6"/>
                  <a:pt x="345" y="6"/>
                </a:cubicBezTo>
                <a:cubicBezTo>
                  <a:pt x="346" y="6"/>
                  <a:pt x="346" y="6"/>
                  <a:pt x="346" y="6"/>
                </a:cubicBezTo>
                <a:cubicBezTo>
                  <a:pt x="350" y="7"/>
                  <a:pt x="357" y="8"/>
                  <a:pt x="356" y="20"/>
                </a:cubicBezTo>
                <a:cubicBezTo>
                  <a:pt x="355" y="26"/>
                  <a:pt x="356" y="32"/>
                  <a:pt x="357" y="35"/>
                </a:cubicBezTo>
                <a:cubicBezTo>
                  <a:pt x="359" y="36"/>
                  <a:pt x="361" y="36"/>
                  <a:pt x="363" y="37"/>
                </a:cubicBezTo>
                <a:cubicBezTo>
                  <a:pt x="366" y="35"/>
                  <a:pt x="370" y="30"/>
                  <a:pt x="373" y="25"/>
                </a:cubicBezTo>
                <a:cubicBezTo>
                  <a:pt x="376" y="20"/>
                  <a:pt x="379" y="18"/>
                  <a:pt x="383" y="18"/>
                </a:cubicBezTo>
                <a:cubicBezTo>
                  <a:pt x="385" y="18"/>
                  <a:pt x="387" y="18"/>
                  <a:pt x="388" y="19"/>
                </a:cubicBezTo>
                <a:cubicBezTo>
                  <a:pt x="389" y="19"/>
                  <a:pt x="389" y="19"/>
                  <a:pt x="389" y="19"/>
                </a:cubicBezTo>
                <a:cubicBezTo>
                  <a:pt x="393" y="21"/>
                  <a:pt x="399" y="23"/>
                  <a:pt x="396" y="34"/>
                </a:cubicBezTo>
                <a:cubicBezTo>
                  <a:pt x="395" y="40"/>
                  <a:pt x="395" y="46"/>
                  <a:pt x="396" y="49"/>
                </a:cubicBezTo>
                <a:cubicBezTo>
                  <a:pt x="397" y="50"/>
                  <a:pt x="399" y="51"/>
                  <a:pt x="401" y="52"/>
                </a:cubicBezTo>
                <a:cubicBezTo>
                  <a:pt x="401" y="52"/>
                  <a:pt x="401" y="52"/>
                  <a:pt x="401" y="52"/>
                </a:cubicBezTo>
                <a:cubicBezTo>
                  <a:pt x="404" y="50"/>
                  <a:pt x="409" y="46"/>
                  <a:pt x="413" y="42"/>
                </a:cubicBezTo>
                <a:cubicBezTo>
                  <a:pt x="416" y="38"/>
                  <a:pt x="419" y="36"/>
                  <a:pt x="422" y="36"/>
                </a:cubicBezTo>
                <a:cubicBezTo>
                  <a:pt x="425" y="36"/>
                  <a:pt x="427" y="37"/>
                  <a:pt x="429" y="38"/>
                </a:cubicBezTo>
                <a:cubicBezTo>
                  <a:pt x="430" y="39"/>
                  <a:pt x="430" y="39"/>
                  <a:pt x="430" y="39"/>
                </a:cubicBezTo>
                <a:cubicBezTo>
                  <a:pt x="433" y="41"/>
                  <a:pt x="439" y="44"/>
                  <a:pt x="434" y="55"/>
                </a:cubicBezTo>
                <a:cubicBezTo>
                  <a:pt x="432" y="60"/>
                  <a:pt x="431" y="66"/>
                  <a:pt x="431" y="69"/>
                </a:cubicBezTo>
                <a:cubicBezTo>
                  <a:pt x="433" y="71"/>
                  <a:pt x="435" y="72"/>
                  <a:pt x="436" y="73"/>
                </a:cubicBezTo>
                <a:cubicBezTo>
                  <a:pt x="440" y="72"/>
                  <a:pt x="445" y="69"/>
                  <a:pt x="449" y="65"/>
                </a:cubicBezTo>
                <a:cubicBezTo>
                  <a:pt x="452" y="62"/>
                  <a:pt x="455" y="60"/>
                  <a:pt x="458" y="60"/>
                </a:cubicBezTo>
                <a:cubicBezTo>
                  <a:pt x="462" y="60"/>
                  <a:pt x="464" y="62"/>
                  <a:pt x="466" y="64"/>
                </a:cubicBezTo>
                <a:cubicBezTo>
                  <a:pt x="466" y="64"/>
                  <a:pt x="466" y="64"/>
                  <a:pt x="466" y="64"/>
                </a:cubicBezTo>
                <a:cubicBezTo>
                  <a:pt x="469" y="66"/>
                  <a:pt x="475" y="71"/>
                  <a:pt x="469" y="81"/>
                </a:cubicBezTo>
                <a:cubicBezTo>
                  <a:pt x="466" y="86"/>
                  <a:pt x="464" y="91"/>
                  <a:pt x="463" y="95"/>
                </a:cubicBezTo>
                <a:cubicBezTo>
                  <a:pt x="465" y="96"/>
                  <a:pt x="466" y="98"/>
                  <a:pt x="468" y="99"/>
                </a:cubicBezTo>
                <a:cubicBezTo>
                  <a:pt x="471" y="98"/>
                  <a:pt x="477" y="96"/>
                  <a:pt x="482" y="93"/>
                </a:cubicBezTo>
                <a:cubicBezTo>
                  <a:pt x="485" y="91"/>
                  <a:pt x="488" y="90"/>
                  <a:pt x="490" y="90"/>
                </a:cubicBezTo>
                <a:cubicBezTo>
                  <a:pt x="494" y="90"/>
                  <a:pt x="497" y="93"/>
                  <a:pt x="498" y="94"/>
                </a:cubicBezTo>
                <a:cubicBezTo>
                  <a:pt x="499" y="95"/>
                  <a:pt x="499" y="95"/>
                  <a:pt x="499" y="95"/>
                </a:cubicBezTo>
                <a:cubicBezTo>
                  <a:pt x="502" y="98"/>
                  <a:pt x="506" y="103"/>
                  <a:pt x="499" y="112"/>
                </a:cubicBezTo>
                <a:cubicBezTo>
                  <a:pt x="495" y="116"/>
                  <a:pt x="492" y="121"/>
                  <a:pt x="491" y="125"/>
                </a:cubicBezTo>
                <a:cubicBezTo>
                  <a:pt x="491" y="125"/>
                  <a:pt x="491" y="125"/>
                  <a:pt x="491" y="125"/>
                </a:cubicBezTo>
                <a:cubicBezTo>
                  <a:pt x="493" y="127"/>
                  <a:pt x="494" y="128"/>
                  <a:pt x="495" y="130"/>
                </a:cubicBezTo>
                <a:cubicBezTo>
                  <a:pt x="498" y="130"/>
                  <a:pt x="504" y="128"/>
                  <a:pt x="510" y="126"/>
                </a:cubicBezTo>
                <a:cubicBezTo>
                  <a:pt x="512" y="125"/>
                  <a:pt x="515" y="124"/>
                  <a:pt x="517" y="124"/>
                </a:cubicBezTo>
                <a:cubicBezTo>
                  <a:pt x="522" y="124"/>
                  <a:pt x="524" y="128"/>
                  <a:pt x="526" y="130"/>
                </a:cubicBezTo>
                <a:cubicBezTo>
                  <a:pt x="526" y="131"/>
                  <a:pt x="526" y="131"/>
                  <a:pt x="526" y="131"/>
                </a:cubicBezTo>
                <a:cubicBezTo>
                  <a:pt x="528" y="134"/>
                  <a:pt x="532" y="140"/>
                  <a:pt x="523" y="147"/>
                </a:cubicBezTo>
                <a:cubicBezTo>
                  <a:pt x="519" y="151"/>
                  <a:pt x="515" y="156"/>
                  <a:pt x="514" y="159"/>
                </a:cubicBezTo>
                <a:cubicBezTo>
                  <a:pt x="515" y="161"/>
                  <a:pt x="516" y="163"/>
                  <a:pt x="517" y="164"/>
                </a:cubicBezTo>
                <a:cubicBezTo>
                  <a:pt x="520" y="165"/>
                  <a:pt x="526" y="164"/>
                  <a:pt x="532" y="163"/>
                </a:cubicBezTo>
                <a:cubicBezTo>
                  <a:pt x="534" y="162"/>
                  <a:pt x="536" y="162"/>
                  <a:pt x="537" y="162"/>
                </a:cubicBezTo>
                <a:cubicBezTo>
                  <a:pt x="544" y="162"/>
                  <a:pt x="546" y="167"/>
                  <a:pt x="547" y="169"/>
                </a:cubicBezTo>
                <a:cubicBezTo>
                  <a:pt x="547" y="170"/>
                  <a:pt x="547" y="170"/>
                  <a:pt x="547" y="170"/>
                </a:cubicBezTo>
                <a:cubicBezTo>
                  <a:pt x="549" y="174"/>
                  <a:pt x="552" y="180"/>
                  <a:pt x="542" y="186"/>
                </a:cubicBezTo>
                <a:cubicBezTo>
                  <a:pt x="537" y="189"/>
                  <a:pt x="533" y="193"/>
                  <a:pt x="531" y="196"/>
                </a:cubicBezTo>
                <a:cubicBezTo>
                  <a:pt x="531" y="198"/>
                  <a:pt x="532" y="200"/>
                  <a:pt x="533" y="202"/>
                </a:cubicBezTo>
                <a:cubicBezTo>
                  <a:pt x="536" y="203"/>
                  <a:pt x="542" y="203"/>
                  <a:pt x="548" y="203"/>
                </a:cubicBezTo>
                <a:cubicBezTo>
                  <a:pt x="549" y="203"/>
                  <a:pt x="550" y="203"/>
                  <a:pt x="551" y="203"/>
                </a:cubicBezTo>
                <a:cubicBezTo>
                  <a:pt x="560" y="203"/>
                  <a:pt x="561" y="208"/>
                  <a:pt x="562" y="212"/>
                </a:cubicBezTo>
                <a:cubicBezTo>
                  <a:pt x="562" y="213"/>
                  <a:pt x="562" y="213"/>
                  <a:pt x="562" y="213"/>
                </a:cubicBezTo>
                <a:cubicBezTo>
                  <a:pt x="563" y="216"/>
                  <a:pt x="565" y="223"/>
                  <a:pt x="555" y="227"/>
                </a:cubicBezTo>
                <a:cubicBezTo>
                  <a:pt x="549" y="230"/>
                  <a:pt x="544" y="233"/>
                  <a:pt x="542" y="236"/>
                </a:cubicBezTo>
                <a:cubicBezTo>
                  <a:pt x="542" y="237"/>
                  <a:pt x="542" y="239"/>
                  <a:pt x="543" y="241"/>
                </a:cubicBezTo>
                <a:cubicBezTo>
                  <a:pt x="543" y="241"/>
                  <a:pt x="543" y="241"/>
                  <a:pt x="543" y="241"/>
                </a:cubicBezTo>
                <a:cubicBezTo>
                  <a:pt x="546" y="243"/>
                  <a:pt x="552" y="244"/>
                  <a:pt x="558" y="245"/>
                </a:cubicBezTo>
                <a:cubicBezTo>
                  <a:pt x="569" y="245"/>
                  <a:pt x="570" y="252"/>
                  <a:pt x="570" y="256"/>
                </a:cubicBezTo>
                <a:cubicBezTo>
                  <a:pt x="570" y="257"/>
                  <a:pt x="570" y="257"/>
                  <a:pt x="570" y="257"/>
                </a:cubicBezTo>
                <a:cubicBezTo>
                  <a:pt x="571" y="260"/>
                  <a:pt x="572" y="267"/>
                  <a:pt x="560" y="270"/>
                </a:cubicBezTo>
                <a:cubicBezTo>
                  <a:pt x="555" y="272"/>
                  <a:pt x="549" y="274"/>
                  <a:pt x="546" y="276"/>
                </a:cubicBezTo>
                <a:cubicBezTo>
                  <a:pt x="547" y="278"/>
                  <a:pt x="547" y="280"/>
                  <a:pt x="547" y="282"/>
                </a:cubicBezTo>
                <a:cubicBezTo>
                  <a:pt x="550" y="284"/>
                  <a:pt x="555" y="286"/>
                  <a:pt x="561" y="288"/>
                </a:cubicBezTo>
                <a:cubicBezTo>
                  <a:pt x="572" y="290"/>
                  <a:pt x="572" y="297"/>
                  <a:pt x="571" y="301"/>
                </a:cubicBezTo>
                <a:cubicBezTo>
                  <a:pt x="571" y="302"/>
                  <a:pt x="571" y="302"/>
                  <a:pt x="571" y="302"/>
                </a:cubicBezTo>
                <a:cubicBezTo>
                  <a:pt x="571" y="305"/>
                  <a:pt x="571" y="312"/>
                  <a:pt x="559" y="313"/>
                </a:cubicBezTo>
                <a:cubicBezTo>
                  <a:pt x="554" y="314"/>
                  <a:pt x="548" y="315"/>
                  <a:pt x="545" y="317"/>
                </a:cubicBezTo>
                <a:cubicBezTo>
                  <a:pt x="545" y="319"/>
                  <a:pt x="544" y="321"/>
                  <a:pt x="544" y="323"/>
                </a:cubicBezTo>
                <a:cubicBezTo>
                  <a:pt x="547" y="326"/>
                  <a:pt x="552" y="329"/>
                  <a:pt x="557" y="331"/>
                </a:cubicBezTo>
                <a:cubicBezTo>
                  <a:pt x="568" y="335"/>
                  <a:pt x="567" y="341"/>
                  <a:pt x="566" y="345"/>
                </a:cubicBezTo>
                <a:cubicBezTo>
                  <a:pt x="565" y="346"/>
                  <a:pt x="565" y="346"/>
                  <a:pt x="565" y="346"/>
                </a:cubicBezTo>
                <a:cubicBezTo>
                  <a:pt x="565" y="349"/>
                  <a:pt x="564" y="356"/>
                  <a:pt x="554" y="356"/>
                </a:cubicBezTo>
                <a:cubicBezTo>
                  <a:pt x="553" y="356"/>
                  <a:pt x="553" y="356"/>
                  <a:pt x="552" y="356"/>
                </a:cubicBezTo>
                <a:cubicBezTo>
                  <a:pt x="551" y="355"/>
                  <a:pt x="550" y="355"/>
                  <a:pt x="549" y="355"/>
                </a:cubicBezTo>
                <a:cubicBezTo>
                  <a:pt x="544" y="355"/>
                  <a:pt x="540" y="356"/>
                  <a:pt x="537" y="357"/>
                </a:cubicBezTo>
                <a:cubicBezTo>
                  <a:pt x="536" y="359"/>
                  <a:pt x="536" y="361"/>
                  <a:pt x="535" y="363"/>
                </a:cubicBezTo>
                <a:cubicBezTo>
                  <a:pt x="535" y="363"/>
                  <a:pt x="535" y="363"/>
                  <a:pt x="535" y="363"/>
                </a:cubicBezTo>
                <a:cubicBezTo>
                  <a:pt x="537" y="366"/>
                  <a:pt x="542" y="370"/>
                  <a:pt x="547" y="373"/>
                </a:cubicBezTo>
                <a:cubicBezTo>
                  <a:pt x="557" y="378"/>
                  <a:pt x="554" y="385"/>
                  <a:pt x="553" y="388"/>
                </a:cubicBezTo>
                <a:cubicBezTo>
                  <a:pt x="553" y="389"/>
                  <a:pt x="553" y="389"/>
                  <a:pt x="553" y="389"/>
                </a:cubicBezTo>
                <a:cubicBezTo>
                  <a:pt x="552" y="392"/>
                  <a:pt x="550" y="397"/>
                  <a:pt x="543" y="397"/>
                </a:cubicBezTo>
                <a:cubicBezTo>
                  <a:pt x="541" y="397"/>
                  <a:pt x="539" y="397"/>
                  <a:pt x="538" y="396"/>
                </a:cubicBezTo>
                <a:cubicBezTo>
                  <a:pt x="532" y="395"/>
                  <a:pt x="526" y="395"/>
                  <a:pt x="523" y="395"/>
                </a:cubicBezTo>
                <a:cubicBezTo>
                  <a:pt x="522" y="397"/>
                  <a:pt x="521" y="399"/>
                  <a:pt x="520" y="400"/>
                </a:cubicBezTo>
                <a:cubicBezTo>
                  <a:pt x="520" y="401"/>
                  <a:pt x="520" y="401"/>
                  <a:pt x="520" y="401"/>
                </a:cubicBezTo>
                <a:cubicBezTo>
                  <a:pt x="522" y="404"/>
                  <a:pt x="525" y="409"/>
                  <a:pt x="530" y="412"/>
                </a:cubicBezTo>
                <a:cubicBezTo>
                  <a:pt x="539" y="419"/>
                  <a:pt x="536" y="425"/>
                  <a:pt x="534" y="428"/>
                </a:cubicBezTo>
                <a:cubicBezTo>
                  <a:pt x="533" y="429"/>
                  <a:pt x="533" y="429"/>
                  <a:pt x="533" y="429"/>
                </a:cubicBezTo>
                <a:cubicBezTo>
                  <a:pt x="532" y="432"/>
                  <a:pt x="530" y="436"/>
                  <a:pt x="524" y="436"/>
                </a:cubicBezTo>
                <a:cubicBezTo>
                  <a:pt x="522" y="436"/>
                  <a:pt x="520" y="435"/>
                  <a:pt x="517" y="434"/>
                </a:cubicBezTo>
                <a:cubicBezTo>
                  <a:pt x="512" y="432"/>
                  <a:pt x="506" y="431"/>
                  <a:pt x="502" y="431"/>
                </a:cubicBezTo>
                <a:cubicBezTo>
                  <a:pt x="501" y="433"/>
                  <a:pt x="500" y="434"/>
                  <a:pt x="499" y="436"/>
                </a:cubicBezTo>
                <a:cubicBezTo>
                  <a:pt x="500" y="439"/>
                  <a:pt x="503" y="444"/>
                  <a:pt x="507" y="449"/>
                </a:cubicBezTo>
                <a:cubicBezTo>
                  <a:pt x="515" y="457"/>
                  <a:pt x="511" y="463"/>
                  <a:pt x="508" y="465"/>
                </a:cubicBezTo>
                <a:cubicBezTo>
                  <a:pt x="508" y="466"/>
                  <a:pt x="508" y="466"/>
                  <a:pt x="508" y="466"/>
                </a:cubicBezTo>
                <a:cubicBezTo>
                  <a:pt x="506" y="468"/>
                  <a:pt x="504" y="471"/>
                  <a:pt x="499" y="471"/>
                </a:cubicBezTo>
                <a:cubicBezTo>
                  <a:pt x="497" y="471"/>
                  <a:pt x="494" y="470"/>
                  <a:pt x="491" y="469"/>
                </a:cubicBezTo>
                <a:cubicBezTo>
                  <a:pt x="486" y="466"/>
                  <a:pt x="481" y="464"/>
                  <a:pt x="477" y="463"/>
                </a:cubicBezTo>
                <a:cubicBezTo>
                  <a:pt x="476" y="465"/>
                  <a:pt x="474" y="466"/>
                  <a:pt x="473" y="468"/>
                </a:cubicBezTo>
                <a:cubicBezTo>
                  <a:pt x="473" y="471"/>
                  <a:pt x="476" y="476"/>
                  <a:pt x="479" y="482"/>
                </a:cubicBezTo>
                <a:cubicBezTo>
                  <a:pt x="486" y="491"/>
                  <a:pt x="480" y="496"/>
                  <a:pt x="478" y="498"/>
                </a:cubicBezTo>
                <a:cubicBezTo>
                  <a:pt x="477" y="499"/>
                  <a:pt x="477" y="499"/>
                  <a:pt x="477" y="499"/>
                </a:cubicBezTo>
                <a:cubicBezTo>
                  <a:pt x="475" y="500"/>
                  <a:pt x="473" y="503"/>
                  <a:pt x="469" y="503"/>
                </a:cubicBezTo>
                <a:cubicBezTo>
                  <a:pt x="466" y="503"/>
                  <a:pt x="463" y="501"/>
                  <a:pt x="460" y="498"/>
                </a:cubicBezTo>
                <a:cubicBezTo>
                  <a:pt x="456" y="495"/>
                  <a:pt x="450" y="492"/>
                  <a:pt x="447" y="491"/>
                </a:cubicBezTo>
                <a:cubicBezTo>
                  <a:pt x="445" y="492"/>
                  <a:pt x="444" y="493"/>
                  <a:pt x="442" y="495"/>
                </a:cubicBezTo>
                <a:cubicBezTo>
                  <a:pt x="442" y="498"/>
                  <a:pt x="444" y="504"/>
                  <a:pt x="446" y="509"/>
                </a:cubicBezTo>
                <a:cubicBezTo>
                  <a:pt x="451" y="520"/>
                  <a:pt x="445" y="523"/>
                  <a:pt x="442" y="525"/>
                </a:cubicBezTo>
                <a:cubicBezTo>
                  <a:pt x="441" y="526"/>
                  <a:pt x="441" y="526"/>
                  <a:pt x="441" y="526"/>
                </a:cubicBezTo>
                <a:cubicBezTo>
                  <a:pt x="439" y="527"/>
                  <a:pt x="437" y="529"/>
                  <a:pt x="434" y="529"/>
                </a:cubicBezTo>
                <a:cubicBezTo>
                  <a:pt x="431" y="529"/>
                  <a:pt x="428" y="527"/>
                  <a:pt x="425" y="523"/>
                </a:cubicBezTo>
                <a:cubicBezTo>
                  <a:pt x="421" y="519"/>
                  <a:pt x="416" y="515"/>
                  <a:pt x="413" y="513"/>
                </a:cubicBezTo>
                <a:cubicBezTo>
                  <a:pt x="411" y="514"/>
                  <a:pt x="409" y="515"/>
                  <a:pt x="408" y="516"/>
                </a:cubicBezTo>
                <a:cubicBezTo>
                  <a:pt x="407" y="520"/>
                  <a:pt x="408" y="526"/>
                  <a:pt x="409" y="532"/>
                </a:cubicBezTo>
                <a:cubicBezTo>
                  <a:pt x="412" y="543"/>
                  <a:pt x="406" y="545"/>
                  <a:pt x="403" y="547"/>
                </a:cubicBezTo>
                <a:cubicBezTo>
                  <a:pt x="402" y="547"/>
                  <a:pt x="402" y="547"/>
                  <a:pt x="402" y="547"/>
                </a:cubicBezTo>
                <a:cubicBezTo>
                  <a:pt x="400" y="548"/>
                  <a:pt x="398" y="549"/>
                  <a:pt x="396" y="549"/>
                </a:cubicBezTo>
                <a:cubicBezTo>
                  <a:pt x="392" y="549"/>
                  <a:pt x="389" y="547"/>
                  <a:pt x="386" y="542"/>
                </a:cubicBezTo>
                <a:cubicBezTo>
                  <a:pt x="383" y="537"/>
                  <a:pt x="379" y="532"/>
                  <a:pt x="376" y="531"/>
                </a:cubicBezTo>
                <a:cubicBezTo>
                  <a:pt x="374" y="531"/>
                  <a:pt x="372" y="532"/>
                  <a:pt x="370" y="533"/>
                </a:cubicBezTo>
                <a:cubicBezTo>
                  <a:pt x="369" y="536"/>
                  <a:pt x="369" y="542"/>
                  <a:pt x="369" y="548"/>
                </a:cubicBezTo>
                <a:cubicBezTo>
                  <a:pt x="371" y="559"/>
                  <a:pt x="364" y="561"/>
                  <a:pt x="360" y="562"/>
                </a:cubicBezTo>
                <a:cubicBezTo>
                  <a:pt x="359" y="562"/>
                  <a:pt x="359" y="562"/>
                  <a:pt x="359" y="562"/>
                </a:cubicBezTo>
                <a:cubicBezTo>
                  <a:pt x="358" y="562"/>
                  <a:pt x="356" y="563"/>
                  <a:pt x="355" y="563"/>
                </a:cubicBezTo>
                <a:cubicBezTo>
                  <a:pt x="350" y="563"/>
                  <a:pt x="347" y="560"/>
                  <a:pt x="345" y="554"/>
                </a:cubicBezTo>
                <a:cubicBezTo>
                  <a:pt x="342" y="549"/>
                  <a:pt x="339" y="544"/>
                  <a:pt x="336" y="542"/>
                </a:cubicBezTo>
                <a:cubicBezTo>
                  <a:pt x="334" y="542"/>
                  <a:pt x="332" y="542"/>
                  <a:pt x="330" y="543"/>
                </a:cubicBezTo>
                <a:cubicBezTo>
                  <a:pt x="329" y="546"/>
                  <a:pt x="327" y="552"/>
                  <a:pt x="327" y="558"/>
                </a:cubicBezTo>
                <a:cubicBezTo>
                  <a:pt x="327" y="569"/>
                  <a:pt x="320" y="570"/>
                  <a:pt x="316" y="570"/>
                </a:cubicBezTo>
                <a:cubicBezTo>
                  <a:pt x="315" y="570"/>
                  <a:pt x="315" y="570"/>
                  <a:pt x="315" y="570"/>
                </a:cubicBezTo>
                <a:cubicBezTo>
                  <a:pt x="314" y="570"/>
                  <a:pt x="313" y="570"/>
                  <a:pt x="312" y="570"/>
                </a:cubicBezTo>
                <a:cubicBezTo>
                  <a:pt x="307" y="570"/>
                  <a:pt x="304" y="567"/>
                  <a:pt x="302" y="560"/>
                </a:cubicBezTo>
                <a:cubicBezTo>
                  <a:pt x="300" y="554"/>
                  <a:pt x="298" y="549"/>
                  <a:pt x="296" y="546"/>
                </a:cubicBezTo>
                <a:cubicBezTo>
                  <a:pt x="294" y="546"/>
                  <a:pt x="292" y="546"/>
                  <a:pt x="290" y="546"/>
                </a:cubicBezTo>
                <a:cubicBezTo>
                  <a:pt x="288" y="549"/>
                  <a:pt x="285" y="555"/>
                  <a:pt x="284" y="561"/>
                </a:cubicBezTo>
                <a:cubicBezTo>
                  <a:pt x="283" y="568"/>
                  <a:pt x="279" y="571"/>
                  <a:pt x="274" y="571"/>
                </a:cubicBezTo>
                <a:close/>
                <a:moveTo>
                  <a:pt x="248" y="539"/>
                </a:moveTo>
                <a:cubicBezTo>
                  <a:pt x="248" y="539"/>
                  <a:pt x="248" y="539"/>
                  <a:pt x="248" y="539"/>
                </a:cubicBezTo>
                <a:cubicBezTo>
                  <a:pt x="251" y="539"/>
                  <a:pt x="254" y="539"/>
                  <a:pt x="257" y="540"/>
                </a:cubicBezTo>
                <a:cubicBezTo>
                  <a:pt x="257" y="540"/>
                  <a:pt x="258" y="540"/>
                  <a:pt x="258" y="541"/>
                </a:cubicBezTo>
                <a:cubicBezTo>
                  <a:pt x="261" y="545"/>
                  <a:pt x="263" y="553"/>
                  <a:pt x="264" y="559"/>
                </a:cubicBezTo>
                <a:cubicBezTo>
                  <a:pt x="264" y="566"/>
                  <a:pt x="267" y="566"/>
                  <a:pt x="271" y="566"/>
                </a:cubicBezTo>
                <a:cubicBezTo>
                  <a:pt x="272" y="566"/>
                  <a:pt x="272" y="566"/>
                  <a:pt x="272" y="566"/>
                </a:cubicBezTo>
                <a:cubicBezTo>
                  <a:pt x="272" y="566"/>
                  <a:pt x="273" y="566"/>
                  <a:pt x="274" y="566"/>
                </a:cubicBezTo>
                <a:cubicBezTo>
                  <a:pt x="275" y="566"/>
                  <a:pt x="278" y="566"/>
                  <a:pt x="279" y="560"/>
                </a:cubicBezTo>
                <a:cubicBezTo>
                  <a:pt x="281" y="554"/>
                  <a:pt x="283" y="546"/>
                  <a:pt x="287" y="542"/>
                </a:cubicBezTo>
                <a:cubicBezTo>
                  <a:pt x="287" y="542"/>
                  <a:pt x="288" y="541"/>
                  <a:pt x="288" y="541"/>
                </a:cubicBezTo>
                <a:cubicBezTo>
                  <a:pt x="291" y="541"/>
                  <a:pt x="294" y="541"/>
                  <a:pt x="296" y="541"/>
                </a:cubicBezTo>
                <a:cubicBezTo>
                  <a:pt x="297" y="541"/>
                  <a:pt x="297" y="541"/>
                  <a:pt x="297" y="541"/>
                </a:cubicBezTo>
                <a:cubicBezTo>
                  <a:pt x="297" y="541"/>
                  <a:pt x="298" y="541"/>
                  <a:pt x="299" y="542"/>
                </a:cubicBezTo>
                <a:cubicBezTo>
                  <a:pt x="302" y="546"/>
                  <a:pt x="305" y="553"/>
                  <a:pt x="307" y="559"/>
                </a:cubicBezTo>
                <a:cubicBezTo>
                  <a:pt x="308" y="565"/>
                  <a:pt x="311" y="565"/>
                  <a:pt x="312" y="565"/>
                </a:cubicBezTo>
                <a:cubicBezTo>
                  <a:pt x="313" y="565"/>
                  <a:pt x="314" y="565"/>
                  <a:pt x="315" y="565"/>
                </a:cubicBezTo>
                <a:cubicBezTo>
                  <a:pt x="316" y="565"/>
                  <a:pt x="316" y="565"/>
                  <a:pt x="316" y="565"/>
                </a:cubicBezTo>
                <a:cubicBezTo>
                  <a:pt x="319" y="565"/>
                  <a:pt x="322" y="564"/>
                  <a:pt x="322" y="557"/>
                </a:cubicBezTo>
                <a:cubicBezTo>
                  <a:pt x="322" y="551"/>
                  <a:pt x="324" y="543"/>
                  <a:pt x="327" y="539"/>
                </a:cubicBezTo>
                <a:cubicBezTo>
                  <a:pt x="327" y="538"/>
                  <a:pt x="328" y="538"/>
                  <a:pt x="328" y="538"/>
                </a:cubicBezTo>
                <a:cubicBezTo>
                  <a:pt x="329" y="538"/>
                  <a:pt x="329" y="538"/>
                  <a:pt x="329" y="538"/>
                </a:cubicBezTo>
                <a:cubicBezTo>
                  <a:pt x="332" y="537"/>
                  <a:pt x="334" y="537"/>
                  <a:pt x="337" y="536"/>
                </a:cubicBezTo>
                <a:cubicBezTo>
                  <a:pt x="337" y="536"/>
                  <a:pt x="338" y="536"/>
                  <a:pt x="339" y="537"/>
                </a:cubicBezTo>
                <a:cubicBezTo>
                  <a:pt x="343" y="540"/>
                  <a:pt x="347" y="547"/>
                  <a:pt x="349" y="552"/>
                </a:cubicBezTo>
                <a:cubicBezTo>
                  <a:pt x="352" y="558"/>
                  <a:pt x="354" y="558"/>
                  <a:pt x="355" y="558"/>
                </a:cubicBezTo>
                <a:cubicBezTo>
                  <a:pt x="356" y="558"/>
                  <a:pt x="357" y="558"/>
                  <a:pt x="358" y="557"/>
                </a:cubicBezTo>
                <a:cubicBezTo>
                  <a:pt x="359" y="557"/>
                  <a:pt x="359" y="557"/>
                  <a:pt x="359" y="557"/>
                </a:cubicBezTo>
                <a:cubicBezTo>
                  <a:pt x="363" y="556"/>
                  <a:pt x="365" y="555"/>
                  <a:pt x="364" y="548"/>
                </a:cubicBezTo>
                <a:cubicBezTo>
                  <a:pt x="364" y="542"/>
                  <a:pt x="364" y="534"/>
                  <a:pt x="366" y="530"/>
                </a:cubicBezTo>
                <a:cubicBezTo>
                  <a:pt x="366" y="529"/>
                  <a:pt x="367" y="528"/>
                  <a:pt x="367" y="528"/>
                </a:cubicBezTo>
                <a:cubicBezTo>
                  <a:pt x="370" y="527"/>
                  <a:pt x="373" y="526"/>
                  <a:pt x="375" y="525"/>
                </a:cubicBezTo>
                <a:cubicBezTo>
                  <a:pt x="376" y="525"/>
                  <a:pt x="377" y="525"/>
                  <a:pt x="377" y="526"/>
                </a:cubicBezTo>
                <a:cubicBezTo>
                  <a:pt x="382" y="528"/>
                  <a:pt x="387" y="534"/>
                  <a:pt x="390" y="539"/>
                </a:cubicBezTo>
                <a:cubicBezTo>
                  <a:pt x="393" y="544"/>
                  <a:pt x="395" y="544"/>
                  <a:pt x="396" y="544"/>
                </a:cubicBezTo>
                <a:cubicBezTo>
                  <a:pt x="397" y="544"/>
                  <a:pt x="398" y="543"/>
                  <a:pt x="399" y="543"/>
                </a:cubicBezTo>
                <a:cubicBezTo>
                  <a:pt x="401" y="542"/>
                  <a:pt x="401" y="542"/>
                  <a:pt x="401" y="542"/>
                </a:cubicBezTo>
                <a:cubicBezTo>
                  <a:pt x="404" y="541"/>
                  <a:pt x="406" y="540"/>
                  <a:pt x="404" y="533"/>
                </a:cubicBezTo>
                <a:cubicBezTo>
                  <a:pt x="403" y="527"/>
                  <a:pt x="402" y="519"/>
                  <a:pt x="403" y="514"/>
                </a:cubicBezTo>
                <a:cubicBezTo>
                  <a:pt x="403" y="513"/>
                  <a:pt x="404" y="513"/>
                  <a:pt x="404" y="513"/>
                </a:cubicBezTo>
                <a:cubicBezTo>
                  <a:pt x="407" y="511"/>
                  <a:pt x="409" y="510"/>
                  <a:pt x="412" y="509"/>
                </a:cubicBezTo>
                <a:cubicBezTo>
                  <a:pt x="412" y="508"/>
                  <a:pt x="413" y="508"/>
                  <a:pt x="414" y="508"/>
                </a:cubicBezTo>
                <a:cubicBezTo>
                  <a:pt x="418" y="510"/>
                  <a:pt x="424" y="515"/>
                  <a:pt x="428" y="520"/>
                </a:cubicBezTo>
                <a:cubicBezTo>
                  <a:pt x="431" y="522"/>
                  <a:pt x="433" y="524"/>
                  <a:pt x="434" y="524"/>
                </a:cubicBezTo>
                <a:cubicBezTo>
                  <a:pt x="436" y="524"/>
                  <a:pt x="437" y="523"/>
                  <a:pt x="438" y="522"/>
                </a:cubicBezTo>
                <a:cubicBezTo>
                  <a:pt x="439" y="521"/>
                  <a:pt x="439" y="521"/>
                  <a:pt x="439" y="521"/>
                </a:cubicBezTo>
                <a:cubicBezTo>
                  <a:pt x="442" y="519"/>
                  <a:pt x="445" y="518"/>
                  <a:pt x="441" y="511"/>
                </a:cubicBezTo>
                <a:cubicBezTo>
                  <a:pt x="440" y="509"/>
                  <a:pt x="437" y="500"/>
                  <a:pt x="437" y="493"/>
                </a:cubicBezTo>
                <a:cubicBezTo>
                  <a:pt x="437" y="492"/>
                  <a:pt x="438" y="492"/>
                  <a:pt x="438" y="491"/>
                </a:cubicBezTo>
                <a:cubicBezTo>
                  <a:pt x="440" y="490"/>
                  <a:pt x="443" y="488"/>
                  <a:pt x="445" y="486"/>
                </a:cubicBezTo>
                <a:cubicBezTo>
                  <a:pt x="445" y="486"/>
                  <a:pt x="446" y="486"/>
                  <a:pt x="447" y="486"/>
                </a:cubicBezTo>
                <a:cubicBezTo>
                  <a:pt x="452" y="487"/>
                  <a:pt x="459" y="491"/>
                  <a:pt x="463" y="495"/>
                </a:cubicBezTo>
                <a:cubicBezTo>
                  <a:pt x="466" y="497"/>
                  <a:pt x="467" y="498"/>
                  <a:pt x="469" y="498"/>
                </a:cubicBezTo>
                <a:cubicBezTo>
                  <a:pt x="471" y="498"/>
                  <a:pt x="472" y="496"/>
                  <a:pt x="473" y="495"/>
                </a:cubicBezTo>
                <a:cubicBezTo>
                  <a:pt x="474" y="494"/>
                  <a:pt x="474" y="494"/>
                  <a:pt x="474" y="494"/>
                </a:cubicBezTo>
                <a:cubicBezTo>
                  <a:pt x="477" y="492"/>
                  <a:pt x="479" y="490"/>
                  <a:pt x="475" y="484"/>
                </a:cubicBezTo>
                <a:cubicBezTo>
                  <a:pt x="472" y="479"/>
                  <a:pt x="468" y="472"/>
                  <a:pt x="468" y="467"/>
                </a:cubicBezTo>
                <a:cubicBezTo>
                  <a:pt x="468" y="466"/>
                  <a:pt x="468" y="465"/>
                  <a:pt x="468" y="465"/>
                </a:cubicBezTo>
                <a:cubicBezTo>
                  <a:pt x="470" y="463"/>
                  <a:pt x="472" y="461"/>
                  <a:pt x="474" y="459"/>
                </a:cubicBezTo>
                <a:cubicBezTo>
                  <a:pt x="475" y="458"/>
                  <a:pt x="475" y="458"/>
                  <a:pt x="476" y="458"/>
                </a:cubicBezTo>
                <a:cubicBezTo>
                  <a:pt x="481" y="458"/>
                  <a:pt x="489" y="461"/>
                  <a:pt x="494" y="464"/>
                </a:cubicBezTo>
                <a:cubicBezTo>
                  <a:pt x="496" y="466"/>
                  <a:pt x="498" y="466"/>
                  <a:pt x="499" y="466"/>
                </a:cubicBezTo>
                <a:cubicBezTo>
                  <a:pt x="501" y="466"/>
                  <a:pt x="502" y="465"/>
                  <a:pt x="504" y="463"/>
                </a:cubicBezTo>
                <a:cubicBezTo>
                  <a:pt x="505" y="462"/>
                  <a:pt x="505" y="462"/>
                  <a:pt x="505" y="462"/>
                </a:cubicBezTo>
                <a:cubicBezTo>
                  <a:pt x="507" y="460"/>
                  <a:pt x="509" y="457"/>
                  <a:pt x="504" y="452"/>
                </a:cubicBezTo>
                <a:cubicBezTo>
                  <a:pt x="500" y="448"/>
                  <a:pt x="495" y="441"/>
                  <a:pt x="494" y="436"/>
                </a:cubicBezTo>
                <a:cubicBezTo>
                  <a:pt x="494" y="435"/>
                  <a:pt x="494" y="435"/>
                  <a:pt x="494" y="434"/>
                </a:cubicBezTo>
                <a:cubicBezTo>
                  <a:pt x="496" y="432"/>
                  <a:pt x="497" y="430"/>
                  <a:pt x="499" y="427"/>
                </a:cubicBezTo>
                <a:cubicBezTo>
                  <a:pt x="499" y="427"/>
                  <a:pt x="500" y="426"/>
                  <a:pt x="501" y="426"/>
                </a:cubicBezTo>
                <a:cubicBezTo>
                  <a:pt x="505" y="426"/>
                  <a:pt x="512" y="427"/>
                  <a:pt x="519" y="430"/>
                </a:cubicBezTo>
                <a:cubicBezTo>
                  <a:pt x="521" y="430"/>
                  <a:pt x="523" y="431"/>
                  <a:pt x="524" y="431"/>
                </a:cubicBezTo>
                <a:cubicBezTo>
                  <a:pt x="527" y="431"/>
                  <a:pt x="527" y="429"/>
                  <a:pt x="529" y="427"/>
                </a:cubicBezTo>
                <a:cubicBezTo>
                  <a:pt x="529" y="426"/>
                  <a:pt x="529" y="426"/>
                  <a:pt x="529" y="426"/>
                </a:cubicBezTo>
                <a:cubicBezTo>
                  <a:pt x="531" y="423"/>
                  <a:pt x="533" y="421"/>
                  <a:pt x="527" y="416"/>
                </a:cubicBezTo>
                <a:cubicBezTo>
                  <a:pt x="522" y="412"/>
                  <a:pt x="517" y="407"/>
                  <a:pt x="515" y="402"/>
                </a:cubicBezTo>
                <a:cubicBezTo>
                  <a:pt x="515" y="401"/>
                  <a:pt x="515" y="400"/>
                  <a:pt x="515" y="400"/>
                </a:cubicBezTo>
                <a:cubicBezTo>
                  <a:pt x="516" y="398"/>
                  <a:pt x="516" y="398"/>
                  <a:pt x="516" y="398"/>
                </a:cubicBezTo>
                <a:cubicBezTo>
                  <a:pt x="517" y="396"/>
                  <a:pt x="518" y="394"/>
                  <a:pt x="519" y="392"/>
                </a:cubicBezTo>
                <a:cubicBezTo>
                  <a:pt x="519" y="392"/>
                  <a:pt x="519" y="391"/>
                  <a:pt x="520" y="391"/>
                </a:cubicBezTo>
                <a:cubicBezTo>
                  <a:pt x="524" y="390"/>
                  <a:pt x="532" y="390"/>
                  <a:pt x="539" y="391"/>
                </a:cubicBezTo>
                <a:cubicBezTo>
                  <a:pt x="540" y="392"/>
                  <a:pt x="542" y="392"/>
                  <a:pt x="543" y="392"/>
                </a:cubicBezTo>
                <a:cubicBezTo>
                  <a:pt x="546" y="392"/>
                  <a:pt x="547" y="390"/>
                  <a:pt x="548" y="387"/>
                </a:cubicBezTo>
                <a:cubicBezTo>
                  <a:pt x="548" y="386"/>
                  <a:pt x="548" y="386"/>
                  <a:pt x="548" y="386"/>
                </a:cubicBezTo>
                <a:cubicBezTo>
                  <a:pt x="550" y="383"/>
                  <a:pt x="551" y="380"/>
                  <a:pt x="544" y="377"/>
                </a:cubicBezTo>
                <a:cubicBezTo>
                  <a:pt x="539" y="374"/>
                  <a:pt x="533" y="369"/>
                  <a:pt x="530" y="365"/>
                </a:cubicBezTo>
                <a:cubicBezTo>
                  <a:pt x="530" y="364"/>
                  <a:pt x="530" y="363"/>
                  <a:pt x="530" y="363"/>
                </a:cubicBezTo>
                <a:cubicBezTo>
                  <a:pt x="530" y="361"/>
                  <a:pt x="530" y="361"/>
                  <a:pt x="530" y="361"/>
                </a:cubicBezTo>
                <a:cubicBezTo>
                  <a:pt x="531" y="359"/>
                  <a:pt x="532" y="357"/>
                  <a:pt x="532" y="355"/>
                </a:cubicBezTo>
                <a:cubicBezTo>
                  <a:pt x="532" y="354"/>
                  <a:pt x="533" y="353"/>
                  <a:pt x="534" y="353"/>
                </a:cubicBezTo>
                <a:cubicBezTo>
                  <a:pt x="538" y="351"/>
                  <a:pt x="546" y="350"/>
                  <a:pt x="549" y="350"/>
                </a:cubicBezTo>
                <a:cubicBezTo>
                  <a:pt x="550" y="350"/>
                  <a:pt x="551" y="350"/>
                  <a:pt x="552" y="351"/>
                </a:cubicBezTo>
                <a:cubicBezTo>
                  <a:pt x="553" y="351"/>
                  <a:pt x="553" y="351"/>
                  <a:pt x="554" y="351"/>
                </a:cubicBezTo>
                <a:cubicBezTo>
                  <a:pt x="559" y="351"/>
                  <a:pt x="560" y="348"/>
                  <a:pt x="561" y="345"/>
                </a:cubicBezTo>
                <a:cubicBezTo>
                  <a:pt x="561" y="344"/>
                  <a:pt x="561" y="344"/>
                  <a:pt x="561" y="344"/>
                </a:cubicBezTo>
                <a:cubicBezTo>
                  <a:pt x="562" y="340"/>
                  <a:pt x="562" y="338"/>
                  <a:pt x="555" y="335"/>
                </a:cubicBezTo>
                <a:cubicBezTo>
                  <a:pt x="550" y="333"/>
                  <a:pt x="543" y="329"/>
                  <a:pt x="539" y="325"/>
                </a:cubicBezTo>
                <a:cubicBezTo>
                  <a:pt x="539" y="325"/>
                  <a:pt x="539" y="324"/>
                  <a:pt x="539" y="324"/>
                </a:cubicBezTo>
                <a:cubicBezTo>
                  <a:pt x="539" y="321"/>
                  <a:pt x="540" y="318"/>
                  <a:pt x="540" y="315"/>
                </a:cubicBezTo>
                <a:cubicBezTo>
                  <a:pt x="540" y="315"/>
                  <a:pt x="540" y="314"/>
                  <a:pt x="541" y="314"/>
                </a:cubicBezTo>
                <a:cubicBezTo>
                  <a:pt x="545" y="311"/>
                  <a:pt x="553" y="309"/>
                  <a:pt x="559" y="308"/>
                </a:cubicBezTo>
                <a:cubicBezTo>
                  <a:pt x="566" y="308"/>
                  <a:pt x="566" y="305"/>
                  <a:pt x="566" y="301"/>
                </a:cubicBezTo>
                <a:cubicBezTo>
                  <a:pt x="566" y="300"/>
                  <a:pt x="566" y="300"/>
                  <a:pt x="566" y="300"/>
                </a:cubicBezTo>
                <a:cubicBezTo>
                  <a:pt x="567" y="297"/>
                  <a:pt x="567" y="294"/>
                  <a:pt x="560" y="293"/>
                </a:cubicBezTo>
                <a:cubicBezTo>
                  <a:pt x="554" y="291"/>
                  <a:pt x="546" y="289"/>
                  <a:pt x="543" y="285"/>
                </a:cubicBezTo>
                <a:cubicBezTo>
                  <a:pt x="542" y="285"/>
                  <a:pt x="542" y="284"/>
                  <a:pt x="542" y="283"/>
                </a:cubicBezTo>
                <a:cubicBezTo>
                  <a:pt x="542" y="281"/>
                  <a:pt x="542" y="278"/>
                  <a:pt x="541" y="275"/>
                </a:cubicBezTo>
                <a:cubicBezTo>
                  <a:pt x="541" y="275"/>
                  <a:pt x="542" y="274"/>
                  <a:pt x="542" y="273"/>
                </a:cubicBezTo>
                <a:cubicBezTo>
                  <a:pt x="546" y="270"/>
                  <a:pt x="553" y="267"/>
                  <a:pt x="559" y="265"/>
                </a:cubicBezTo>
                <a:cubicBezTo>
                  <a:pt x="566" y="263"/>
                  <a:pt x="566" y="261"/>
                  <a:pt x="565" y="257"/>
                </a:cubicBezTo>
                <a:cubicBezTo>
                  <a:pt x="565" y="256"/>
                  <a:pt x="565" y="256"/>
                  <a:pt x="565" y="256"/>
                </a:cubicBezTo>
                <a:cubicBezTo>
                  <a:pt x="565" y="252"/>
                  <a:pt x="565" y="250"/>
                  <a:pt x="558" y="250"/>
                </a:cubicBezTo>
                <a:cubicBezTo>
                  <a:pt x="552" y="249"/>
                  <a:pt x="544" y="248"/>
                  <a:pt x="539" y="245"/>
                </a:cubicBezTo>
                <a:cubicBezTo>
                  <a:pt x="539" y="245"/>
                  <a:pt x="538" y="244"/>
                  <a:pt x="538" y="244"/>
                </a:cubicBezTo>
                <a:cubicBezTo>
                  <a:pt x="538" y="241"/>
                  <a:pt x="538" y="241"/>
                  <a:pt x="538" y="241"/>
                </a:cubicBezTo>
                <a:cubicBezTo>
                  <a:pt x="537" y="239"/>
                  <a:pt x="537" y="237"/>
                  <a:pt x="537" y="235"/>
                </a:cubicBezTo>
                <a:cubicBezTo>
                  <a:pt x="537" y="235"/>
                  <a:pt x="537" y="234"/>
                  <a:pt x="537" y="233"/>
                </a:cubicBezTo>
                <a:cubicBezTo>
                  <a:pt x="540" y="229"/>
                  <a:pt x="547" y="225"/>
                  <a:pt x="553" y="223"/>
                </a:cubicBezTo>
                <a:cubicBezTo>
                  <a:pt x="559" y="220"/>
                  <a:pt x="558" y="217"/>
                  <a:pt x="557" y="214"/>
                </a:cubicBezTo>
                <a:cubicBezTo>
                  <a:pt x="557" y="213"/>
                  <a:pt x="557" y="213"/>
                  <a:pt x="557" y="213"/>
                </a:cubicBezTo>
                <a:cubicBezTo>
                  <a:pt x="556" y="210"/>
                  <a:pt x="556" y="208"/>
                  <a:pt x="551" y="208"/>
                </a:cubicBezTo>
                <a:cubicBezTo>
                  <a:pt x="550" y="208"/>
                  <a:pt x="550" y="208"/>
                  <a:pt x="549" y="208"/>
                </a:cubicBezTo>
                <a:cubicBezTo>
                  <a:pt x="546" y="208"/>
                  <a:pt x="544" y="208"/>
                  <a:pt x="542" y="208"/>
                </a:cubicBezTo>
                <a:cubicBezTo>
                  <a:pt x="538" y="208"/>
                  <a:pt x="533" y="208"/>
                  <a:pt x="530" y="206"/>
                </a:cubicBezTo>
                <a:cubicBezTo>
                  <a:pt x="529" y="206"/>
                  <a:pt x="529" y="205"/>
                  <a:pt x="528" y="205"/>
                </a:cubicBezTo>
                <a:cubicBezTo>
                  <a:pt x="528" y="202"/>
                  <a:pt x="527" y="199"/>
                  <a:pt x="526" y="197"/>
                </a:cubicBezTo>
                <a:cubicBezTo>
                  <a:pt x="525" y="196"/>
                  <a:pt x="525" y="195"/>
                  <a:pt x="526" y="195"/>
                </a:cubicBezTo>
                <a:cubicBezTo>
                  <a:pt x="528" y="190"/>
                  <a:pt x="534" y="185"/>
                  <a:pt x="539" y="182"/>
                </a:cubicBezTo>
                <a:cubicBezTo>
                  <a:pt x="546" y="178"/>
                  <a:pt x="544" y="176"/>
                  <a:pt x="543" y="172"/>
                </a:cubicBezTo>
                <a:cubicBezTo>
                  <a:pt x="542" y="171"/>
                  <a:pt x="542" y="171"/>
                  <a:pt x="542" y="171"/>
                </a:cubicBezTo>
                <a:cubicBezTo>
                  <a:pt x="541" y="168"/>
                  <a:pt x="540" y="167"/>
                  <a:pt x="537" y="167"/>
                </a:cubicBezTo>
                <a:cubicBezTo>
                  <a:pt x="536" y="167"/>
                  <a:pt x="535" y="167"/>
                  <a:pt x="533" y="168"/>
                </a:cubicBezTo>
                <a:cubicBezTo>
                  <a:pt x="528" y="169"/>
                  <a:pt x="523" y="170"/>
                  <a:pt x="520" y="170"/>
                </a:cubicBezTo>
                <a:cubicBezTo>
                  <a:pt x="518" y="170"/>
                  <a:pt x="516" y="169"/>
                  <a:pt x="514" y="169"/>
                </a:cubicBezTo>
                <a:cubicBezTo>
                  <a:pt x="514" y="169"/>
                  <a:pt x="513" y="168"/>
                  <a:pt x="513" y="168"/>
                </a:cubicBezTo>
                <a:cubicBezTo>
                  <a:pt x="512" y="165"/>
                  <a:pt x="510" y="163"/>
                  <a:pt x="509" y="160"/>
                </a:cubicBezTo>
                <a:cubicBezTo>
                  <a:pt x="508" y="160"/>
                  <a:pt x="508" y="159"/>
                  <a:pt x="509" y="158"/>
                </a:cubicBezTo>
                <a:cubicBezTo>
                  <a:pt x="510" y="153"/>
                  <a:pt x="516" y="147"/>
                  <a:pt x="520" y="143"/>
                </a:cubicBezTo>
                <a:cubicBezTo>
                  <a:pt x="525" y="139"/>
                  <a:pt x="524" y="136"/>
                  <a:pt x="522" y="134"/>
                </a:cubicBezTo>
                <a:cubicBezTo>
                  <a:pt x="521" y="133"/>
                  <a:pt x="521" y="133"/>
                  <a:pt x="521" y="133"/>
                </a:cubicBezTo>
                <a:cubicBezTo>
                  <a:pt x="520" y="130"/>
                  <a:pt x="519" y="129"/>
                  <a:pt x="517" y="129"/>
                </a:cubicBezTo>
                <a:cubicBezTo>
                  <a:pt x="515" y="129"/>
                  <a:pt x="514" y="129"/>
                  <a:pt x="512" y="130"/>
                </a:cubicBezTo>
                <a:cubicBezTo>
                  <a:pt x="505" y="133"/>
                  <a:pt x="498" y="135"/>
                  <a:pt x="493" y="135"/>
                </a:cubicBezTo>
                <a:cubicBezTo>
                  <a:pt x="493" y="135"/>
                  <a:pt x="492" y="134"/>
                  <a:pt x="492" y="134"/>
                </a:cubicBezTo>
                <a:cubicBezTo>
                  <a:pt x="490" y="132"/>
                  <a:pt x="489" y="130"/>
                  <a:pt x="487" y="128"/>
                </a:cubicBezTo>
                <a:cubicBezTo>
                  <a:pt x="486" y="127"/>
                  <a:pt x="486" y="127"/>
                  <a:pt x="486" y="127"/>
                </a:cubicBezTo>
                <a:cubicBezTo>
                  <a:pt x="486" y="127"/>
                  <a:pt x="486" y="126"/>
                  <a:pt x="486" y="125"/>
                </a:cubicBezTo>
                <a:cubicBezTo>
                  <a:pt x="487" y="120"/>
                  <a:pt x="491" y="113"/>
                  <a:pt x="495" y="109"/>
                </a:cubicBezTo>
                <a:cubicBezTo>
                  <a:pt x="500" y="103"/>
                  <a:pt x="498" y="101"/>
                  <a:pt x="495" y="99"/>
                </a:cubicBezTo>
                <a:cubicBezTo>
                  <a:pt x="494" y="98"/>
                  <a:pt x="494" y="98"/>
                  <a:pt x="494" y="98"/>
                </a:cubicBezTo>
                <a:cubicBezTo>
                  <a:pt x="493" y="96"/>
                  <a:pt x="492" y="95"/>
                  <a:pt x="490" y="95"/>
                </a:cubicBezTo>
                <a:cubicBezTo>
                  <a:pt x="489" y="95"/>
                  <a:pt x="487" y="95"/>
                  <a:pt x="485" y="97"/>
                </a:cubicBezTo>
                <a:cubicBezTo>
                  <a:pt x="479" y="100"/>
                  <a:pt x="472" y="104"/>
                  <a:pt x="467" y="104"/>
                </a:cubicBezTo>
                <a:cubicBezTo>
                  <a:pt x="466" y="104"/>
                  <a:pt x="466" y="104"/>
                  <a:pt x="465" y="103"/>
                </a:cubicBezTo>
                <a:cubicBezTo>
                  <a:pt x="463" y="102"/>
                  <a:pt x="461" y="100"/>
                  <a:pt x="459" y="98"/>
                </a:cubicBezTo>
                <a:cubicBezTo>
                  <a:pt x="459" y="97"/>
                  <a:pt x="458" y="97"/>
                  <a:pt x="458" y="96"/>
                </a:cubicBezTo>
                <a:cubicBezTo>
                  <a:pt x="458" y="91"/>
                  <a:pt x="462" y="83"/>
                  <a:pt x="465" y="78"/>
                </a:cubicBezTo>
                <a:cubicBezTo>
                  <a:pt x="468" y="72"/>
                  <a:pt x="466" y="70"/>
                  <a:pt x="463" y="68"/>
                </a:cubicBezTo>
                <a:cubicBezTo>
                  <a:pt x="462" y="67"/>
                  <a:pt x="462" y="67"/>
                  <a:pt x="462" y="67"/>
                </a:cubicBezTo>
                <a:cubicBezTo>
                  <a:pt x="461" y="66"/>
                  <a:pt x="460" y="65"/>
                  <a:pt x="458" y="65"/>
                </a:cubicBezTo>
                <a:cubicBezTo>
                  <a:pt x="457" y="65"/>
                  <a:pt x="455" y="66"/>
                  <a:pt x="453" y="68"/>
                </a:cubicBezTo>
                <a:cubicBezTo>
                  <a:pt x="448" y="72"/>
                  <a:pt x="441" y="77"/>
                  <a:pt x="436" y="78"/>
                </a:cubicBezTo>
                <a:cubicBezTo>
                  <a:pt x="436" y="78"/>
                  <a:pt x="435" y="78"/>
                  <a:pt x="434" y="78"/>
                </a:cubicBezTo>
                <a:cubicBezTo>
                  <a:pt x="432" y="76"/>
                  <a:pt x="430" y="74"/>
                  <a:pt x="428" y="73"/>
                </a:cubicBezTo>
                <a:cubicBezTo>
                  <a:pt x="427" y="73"/>
                  <a:pt x="427" y="72"/>
                  <a:pt x="426" y="71"/>
                </a:cubicBezTo>
                <a:cubicBezTo>
                  <a:pt x="426" y="66"/>
                  <a:pt x="428" y="58"/>
                  <a:pt x="430" y="53"/>
                </a:cubicBezTo>
                <a:cubicBezTo>
                  <a:pt x="433" y="46"/>
                  <a:pt x="430" y="45"/>
                  <a:pt x="427" y="43"/>
                </a:cubicBezTo>
                <a:cubicBezTo>
                  <a:pt x="426" y="42"/>
                  <a:pt x="426" y="42"/>
                  <a:pt x="426" y="42"/>
                </a:cubicBezTo>
                <a:cubicBezTo>
                  <a:pt x="425" y="42"/>
                  <a:pt x="423" y="41"/>
                  <a:pt x="422" y="41"/>
                </a:cubicBezTo>
                <a:cubicBezTo>
                  <a:pt x="420" y="41"/>
                  <a:pt x="419" y="42"/>
                  <a:pt x="416" y="45"/>
                </a:cubicBezTo>
                <a:cubicBezTo>
                  <a:pt x="413" y="50"/>
                  <a:pt x="407" y="55"/>
                  <a:pt x="402" y="57"/>
                </a:cubicBezTo>
                <a:cubicBezTo>
                  <a:pt x="401" y="57"/>
                  <a:pt x="401" y="57"/>
                  <a:pt x="400" y="57"/>
                </a:cubicBezTo>
                <a:cubicBezTo>
                  <a:pt x="399" y="56"/>
                  <a:pt x="399" y="56"/>
                  <a:pt x="399" y="56"/>
                </a:cubicBezTo>
                <a:cubicBezTo>
                  <a:pt x="397" y="55"/>
                  <a:pt x="395" y="54"/>
                  <a:pt x="392" y="53"/>
                </a:cubicBezTo>
                <a:cubicBezTo>
                  <a:pt x="392" y="53"/>
                  <a:pt x="391" y="52"/>
                  <a:pt x="391" y="52"/>
                </a:cubicBezTo>
                <a:cubicBezTo>
                  <a:pt x="390" y="47"/>
                  <a:pt x="390" y="39"/>
                  <a:pt x="392" y="33"/>
                </a:cubicBezTo>
                <a:cubicBezTo>
                  <a:pt x="393" y="26"/>
                  <a:pt x="391" y="25"/>
                  <a:pt x="387" y="24"/>
                </a:cubicBezTo>
                <a:cubicBezTo>
                  <a:pt x="386" y="24"/>
                  <a:pt x="386" y="24"/>
                  <a:pt x="386" y="24"/>
                </a:cubicBezTo>
                <a:cubicBezTo>
                  <a:pt x="385" y="23"/>
                  <a:pt x="384" y="23"/>
                  <a:pt x="383" y="23"/>
                </a:cubicBezTo>
                <a:cubicBezTo>
                  <a:pt x="382" y="23"/>
                  <a:pt x="380" y="23"/>
                  <a:pt x="377" y="27"/>
                </a:cubicBezTo>
                <a:cubicBezTo>
                  <a:pt x="374" y="33"/>
                  <a:pt x="369" y="39"/>
                  <a:pt x="365" y="42"/>
                </a:cubicBezTo>
                <a:cubicBezTo>
                  <a:pt x="364" y="42"/>
                  <a:pt x="364" y="42"/>
                  <a:pt x="363" y="42"/>
                </a:cubicBezTo>
                <a:cubicBezTo>
                  <a:pt x="360" y="41"/>
                  <a:pt x="358" y="40"/>
                  <a:pt x="355" y="40"/>
                </a:cubicBezTo>
                <a:cubicBezTo>
                  <a:pt x="354" y="39"/>
                  <a:pt x="354" y="39"/>
                  <a:pt x="353" y="38"/>
                </a:cubicBezTo>
                <a:cubicBezTo>
                  <a:pt x="351" y="34"/>
                  <a:pt x="350" y="26"/>
                  <a:pt x="351" y="20"/>
                </a:cubicBezTo>
                <a:cubicBezTo>
                  <a:pt x="351" y="13"/>
                  <a:pt x="349" y="12"/>
                  <a:pt x="345" y="11"/>
                </a:cubicBezTo>
                <a:cubicBezTo>
                  <a:pt x="344" y="11"/>
                  <a:pt x="344" y="11"/>
                  <a:pt x="344" y="11"/>
                </a:cubicBezTo>
                <a:cubicBezTo>
                  <a:pt x="343" y="11"/>
                  <a:pt x="342" y="11"/>
                  <a:pt x="341" y="11"/>
                </a:cubicBezTo>
                <a:cubicBezTo>
                  <a:pt x="340" y="11"/>
                  <a:pt x="338" y="11"/>
                  <a:pt x="336" y="16"/>
                </a:cubicBezTo>
                <a:cubicBezTo>
                  <a:pt x="333" y="22"/>
                  <a:pt x="330" y="29"/>
                  <a:pt x="326" y="32"/>
                </a:cubicBezTo>
                <a:cubicBezTo>
                  <a:pt x="325" y="33"/>
                  <a:pt x="324" y="33"/>
                  <a:pt x="324" y="33"/>
                </a:cubicBezTo>
                <a:cubicBezTo>
                  <a:pt x="321" y="33"/>
                  <a:pt x="318" y="32"/>
                  <a:pt x="316" y="32"/>
                </a:cubicBezTo>
                <a:cubicBezTo>
                  <a:pt x="315" y="32"/>
                  <a:pt x="314" y="31"/>
                  <a:pt x="314" y="31"/>
                </a:cubicBezTo>
                <a:cubicBezTo>
                  <a:pt x="311" y="27"/>
                  <a:pt x="309" y="19"/>
                  <a:pt x="308" y="13"/>
                </a:cubicBezTo>
                <a:cubicBezTo>
                  <a:pt x="308" y="6"/>
                  <a:pt x="305" y="6"/>
                  <a:pt x="302" y="5"/>
                </a:cubicBezTo>
                <a:cubicBezTo>
                  <a:pt x="300" y="5"/>
                  <a:pt x="300" y="5"/>
                  <a:pt x="300" y="5"/>
                </a:cubicBezTo>
                <a:cubicBezTo>
                  <a:pt x="300" y="5"/>
                  <a:pt x="299" y="5"/>
                  <a:pt x="299" y="5"/>
                </a:cubicBezTo>
                <a:cubicBezTo>
                  <a:pt x="297" y="5"/>
                  <a:pt x="294" y="5"/>
                  <a:pt x="293" y="12"/>
                </a:cubicBezTo>
                <a:cubicBezTo>
                  <a:pt x="292" y="18"/>
                  <a:pt x="289" y="26"/>
                  <a:pt x="286" y="29"/>
                </a:cubicBezTo>
                <a:cubicBezTo>
                  <a:pt x="285" y="30"/>
                  <a:pt x="284" y="30"/>
                  <a:pt x="284" y="30"/>
                </a:cubicBezTo>
                <a:cubicBezTo>
                  <a:pt x="281" y="30"/>
                  <a:pt x="278" y="30"/>
                  <a:pt x="276" y="30"/>
                </a:cubicBezTo>
                <a:cubicBezTo>
                  <a:pt x="275" y="30"/>
                  <a:pt x="274" y="30"/>
                  <a:pt x="274" y="30"/>
                </a:cubicBezTo>
                <a:cubicBezTo>
                  <a:pt x="270" y="26"/>
                  <a:pt x="267" y="19"/>
                  <a:pt x="265" y="13"/>
                </a:cubicBezTo>
                <a:cubicBezTo>
                  <a:pt x="264" y="6"/>
                  <a:pt x="261" y="6"/>
                  <a:pt x="260" y="6"/>
                </a:cubicBezTo>
                <a:cubicBezTo>
                  <a:pt x="259" y="6"/>
                  <a:pt x="258" y="6"/>
                  <a:pt x="258" y="6"/>
                </a:cubicBezTo>
                <a:cubicBezTo>
                  <a:pt x="256" y="7"/>
                  <a:pt x="256" y="7"/>
                  <a:pt x="256" y="7"/>
                </a:cubicBezTo>
                <a:cubicBezTo>
                  <a:pt x="253" y="7"/>
                  <a:pt x="250" y="7"/>
                  <a:pt x="250" y="14"/>
                </a:cubicBezTo>
                <a:cubicBezTo>
                  <a:pt x="250" y="20"/>
                  <a:pt x="248" y="28"/>
                  <a:pt x="245" y="33"/>
                </a:cubicBezTo>
                <a:cubicBezTo>
                  <a:pt x="245" y="33"/>
                  <a:pt x="244" y="34"/>
                  <a:pt x="244" y="34"/>
                </a:cubicBezTo>
                <a:cubicBezTo>
                  <a:pt x="242" y="34"/>
                  <a:pt x="242" y="34"/>
                  <a:pt x="242" y="34"/>
                </a:cubicBezTo>
                <a:cubicBezTo>
                  <a:pt x="240" y="34"/>
                  <a:pt x="238" y="35"/>
                  <a:pt x="236" y="35"/>
                </a:cubicBezTo>
                <a:cubicBezTo>
                  <a:pt x="235" y="35"/>
                  <a:pt x="234" y="35"/>
                  <a:pt x="234" y="35"/>
                </a:cubicBezTo>
                <a:cubicBezTo>
                  <a:pt x="229" y="32"/>
                  <a:pt x="225" y="25"/>
                  <a:pt x="223" y="19"/>
                </a:cubicBezTo>
                <a:cubicBezTo>
                  <a:pt x="221" y="14"/>
                  <a:pt x="218" y="14"/>
                  <a:pt x="217" y="14"/>
                </a:cubicBezTo>
                <a:cubicBezTo>
                  <a:pt x="216" y="14"/>
                  <a:pt x="215" y="14"/>
                  <a:pt x="214" y="14"/>
                </a:cubicBezTo>
                <a:cubicBezTo>
                  <a:pt x="213" y="15"/>
                  <a:pt x="213" y="15"/>
                  <a:pt x="213" y="15"/>
                </a:cubicBezTo>
                <a:cubicBezTo>
                  <a:pt x="210" y="16"/>
                  <a:pt x="207" y="16"/>
                  <a:pt x="208" y="23"/>
                </a:cubicBezTo>
                <a:cubicBezTo>
                  <a:pt x="209" y="29"/>
                  <a:pt x="208" y="37"/>
                  <a:pt x="206" y="42"/>
                </a:cubicBezTo>
                <a:cubicBezTo>
                  <a:pt x="206" y="43"/>
                  <a:pt x="206" y="43"/>
                  <a:pt x="205" y="43"/>
                </a:cubicBezTo>
                <a:cubicBezTo>
                  <a:pt x="202" y="44"/>
                  <a:pt x="200" y="45"/>
                  <a:pt x="197" y="46"/>
                </a:cubicBezTo>
                <a:cubicBezTo>
                  <a:pt x="196" y="46"/>
                  <a:pt x="196" y="46"/>
                  <a:pt x="195" y="46"/>
                </a:cubicBezTo>
                <a:cubicBezTo>
                  <a:pt x="190" y="44"/>
                  <a:pt x="185" y="38"/>
                  <a:pt x="182" y="32"/>
                </a:cubicBezTo>
                <a:cubicBezTo>
                  <a:pt x="179" y="28"/>
                  <a:pt x="177" y="28"/>
                  <a:pt x="176" y="28"/>
                </a:cubicBezTo>
                <a:cubicBezTo>
                  <a:pt x="175" y="28"/>
                  <a:pt x="174" y="28"/>
                  <a:pt x="173" y="29"/>
                </a:cubicBezTo>
                <a:cubicBezTo>
                  <a:pt x="172" y="29"/>
                  <a:pt x="172" y="29"/>
                  <a:pt x="172" y="29"/>
                </a:cubicBezTo>
                <a:cubicBezTo>
                  <a:pt x="168" y="31"/>
                  <a:pt x="166" y="32"/>
                  <a:pt x="168" y="39"/>
                </a:cubicBezTo>
                <a:cubicBezTo>
                  <a:pt x="169" y="45"/>
                  <a:pt x="171" y="52"/>
                  <a:pt x="169" y="57"/>
                </a:cubicBezTo>
                <a:cubicBezTo>
                  <a:pt x="169" y="58"/>
                  <a:pt x="169" y="59"/>
                  <a:pt x="168" y="59"/>
                </a:cubicBezTo>
                <a:cubicBezTo>
                  <a:pt x="165" y="60"/>
                  <a:pt x="163" y="62"/>
                  <a:pt x="161" y="63"/>
                </a:cubicBezTo>
                <a:cubicBezTo>
                  <a:pt x="160" y="63"/>
                  <a:pt x="159" y="64"/>
                  <a:pt x="159" y="63"/>
                </a:cubicBezTo>
                <a:cubicBezTo>
                  <a:pt x="154" y="62"/>
                  <a:pt x="148" y="56"/>
                  <a:pt x="144" y="52"/>
                </a:cubicBezTo>
                <a:cubicBezTo>
                  <a:pt x="141" y="49"/>
                  <a:pt x="140" y="48"/>
                  <a:pt x="138" y="48"/>
                </a:cubicBezTo>
                <a:cubicBezTo>
                  <a:pt x="137" y="48"/>
                  <a:pt x="135" y="49"/>
                  <a:pt x="134" y="50"/>
                </a:cubicBezTo>
                <a:cubicBezTo>
                  <a:pt x="133" y="51"/>
                  <a:pt x="133" y="51"/>
                  <a:pt x="133" y="51"/>
                </a:cubicBezTo>
                <a:cubicBezTo>
                  <a:pt x="130" y="52"/>
                  <a:pt x="128" y="54"/>
                  <a:pt x="131" y="60"/>
                </a:cubicBezTo>
                <a:cubicBezTo>
                  <a:pt x="133" y="66"/>
                  <a:pt x="135" y="73"/>
                  <a:pt x="135" y="78"/>
                </a:cubicBezTo>
                <a:cubicBezTo>
                  <a:pt x="135" y="79"/>
                  <a:pt x="135" y="80"/>
                  <a:pt x="134" y="80"/>
                </a:cubicBezTo>
                <a:cubicBezTo>
                  <a:pt x="132" y="82"/>
                  <a:pt x="130" y="83"/>
                  <a:pt x="128" y="85"/>
                </a:cubicBezTo>
                <a:cubicBezTo>
                  <a:pt x="127" y="85"/>
                  <a:pt x="127" y="85"/>
                  <a:pt x="127" y="85"/>
                </a:cubicBezTo>
                <a:cubicBezTo>
                  <a:pt x="127" y="86"/>
                  <a:pt x="126" y="86"/>
                  <a:pt x="125" y="86"/>
                </a:cubicBezTo>
                <a:cubicBezTo>
                  <a:pt x="120" y="85"/>
                  <a:pt x="113" y="81"/>
                  <a:pt x="109" y="77"/>
                </a:cubicBezTo>
                <a:cubicBezTo>
                  <a:pt x="107" y="75"/>
                  <a:pt x="105" y="74"/>
                  <a:pt x="103" y="74"/>
                </a:cubicBezTo>
                <a:cubicBezTo>
                  <a:pt x="101" y="74"/>
                  <a:pt x="100" y="75"/>
                  <a:pt x="99" y="77"/>
                </a:cubicBezTo>
                <a:cubicBezTo>
                  <a:pt x="98" y="77"/>
                  <a:pt x="98" y="77"/>
                  <a:pt x="98" y="77"/>
                </a:cubicBezTo>
                <a:cubicBezTo>
                  <a:pt x="95" y="80"/>
                  <a:pt x="93" y="81"/>
                  <a:pt x="97" y="87"/>
                </a:cubicBezTo>
                <a:cubicBezTo>
                  <a:pt x="101" y="92"/>
                  <a:pt x="104" y="100"/>
                  <a:pt x="104" y="105"/>
                </a:cubicBezTo>
                <a:cubicBezTo>
                  <a:pt x="104" y="106"/>
                  <a:pt x="104" y="106"/>
                  <a:pt x="104" y="107"/>
                </a:cubicBezTo>
                <a:cubicBezTo>
                  <a:pt x="102" y="109"/>
                  <a:pt x="100" y="111"/>
                  <a:pt x="98" y="113"/>
                </a:cubicBezTo>
                <a:cubicBezTo>
                  <a:pt x="97" y="113"/>
                  <a:pt x="97" y="114"/>
                  <a:pt x="96" y="114"/>
                </a:cubicBezTo>
                <a:cubicBezTo>
                  <a:pt x="96" y="114"/>
                  <a:pt x="96" y="114"/>
                  <a:pt x="96" y="114"/>
                </a:cubicBezTo>
                <a:cubicBezTo>
                  <a:pt x="91" y="114"/>
                  <a:pt x="84" y="110"/>
                  <a:pt x="78" y="107"/>
                </a:cubicBezTo>
                <a:cubicBezTo>
                  <a:pt x="76" y="106"/>
                  <a:pt x="74" y="105"/>
                  <a:pt x="73" y="105"/>
                </a:cubicBezTo>
                <a:cubicBezTo>
                  <a:pt x="71" y="105"/>
                  <a:pt x="70" y="106"/>
                  <a:pt x="68" y="108"/>
                </a:cubicBezTo>
                <a:cubicBezTo>
                  <a:pt x="68" y="109"/>
                  <a:pt x="68" y="109"/>
                  <a:pt x="68" y="109"/>
                </a:cubicBezTo>
                <a:cubicBezTo>
                  <a:pt x="65" y="112"/>
                  <a:pt x="64" y="114"/>
                  <a:pt x="69" y="119"/>
                </a:cubicBezTo>
                <a:cubicBezTo>
                  <a:pt x="73" y="124"/>
                  <a:pt x="77" y="130"/>
                  <a:pt x="78" y="136"/>
                </a:cubicBezTo>
                <a:cubicBezTo>
                  <a:pt x="78" y="136"/>
                  <a:pt x="78" y="137"/>
                  <a:pt x="78" y="137"/>
                </a:cubicBezTo>
                <a:cubicBezTo>
                  <a:pt x="76" y="140"/>
                  <a:pt x="75" y="142"/>
                  <a:pt x="73" y="144"/>
                </a:cubicBezTo>
                <a:cubicBezTo>
                  <a:pt x="73" y="145"/>
                  <a:pt x="72" y="145"/>
                  <a:pt x="71" y="145"/>
                </a:cubicBezTo>
                <a:cubicBezTo>
                  <a:pt x="67" y="146"/>
                  <a:pt x="60" y="145"/>
                  <a:pt x="53" y="142"/>
                </a:cubicBezTo>
                <a:cubicBezTo>
                  <a:pt x="51" y="141"/>
                  <a:pt x="49" y="141"/>
                  <a:pt x="48" y="141"/>
                </a:cubicBezTo>
                <a:cubicBezTo>
                  <a:pt x="46" y="141"/>
                  <a:pt x="45" y="142"/>
                  <a:pt x="43" y="145"/>
                </a:cubicBezTo>
                <a:cubicBezTo>
                  <a:pt x="43" y="146"/>
                  <a:pt x="43" y="146"/>
                  <a:pt x="43" y="146"/>
                </a:cubicBezTo>
                <a:cubicBezTo>
                  <a:pt x="41" y="149"/>
                  <a:pt x="40" y="151"/>
                  <a:pt x="45" y="155"/>
                </a:cubicBezTo>
                <a:cubicBezTo>
                  <a:pt x="50" y="159"/>
                  <a:pt x="55" y="165"/>
                  <a:pt x="57" y="170"/>
                </a:cubicBezTo>
                <a:cubicBezTo>
                  <a:pt x="58" y="170"/>
                  <a:pt x="58" y="171"/>
                  <a:pt x="57" y="172"/>
                </a:cubicBezTo>
                <a:cubicBezTo>
                  <a:pt x="57" y="173"/>
                  <a:pt x="57" y="173"/>
                  <a:pt x="57" y="173"/>
                </a:cubicBezTo>
                <a:cubicBezTo>
                  <a:pt x="56" y="175"/>
                  <a:pt x="55" y="177"/>
                  <a:pt x="54" y="179"/>
                </a:cubicBezTo>
                <a:cubicBezTo>
                  <a:pt x="53" y="180"/>
                  <a:pt x="53" y="181"/>
                  <a:pt x="52" y="181"/>
                </a:cubicBezTo>
                <a:cubicBezTo>
                  <a:pt x="48" y="182"/>
                  <a:pt x="41" y="182"/>
                  <a:pt x="33" y="180"/>
                </a:cubicBezTo>
                <a:cubicBezTo>
                  <a:pt x="32" y="180"/>
                  <a:pt x="31" y="180"/>
                  <a:pt x="30" y="180"/>
                </a:cubicBezTo>
                <a:cubicBezTo>
                  <a:pt x="26" y="180"/>
                  <a:pt x="25" y="181"/>
                  <a:pt x="24" y="184"/>
                </a:cubicBezTo>
                <a:cubicBezTo>
                  <a:pt x="24" y="186"/>
                  <a:pt x="24" y="186"/>
                  <a:pt x="24" y="186"/>
                </a:cubicBezTo>
                <a:cubicBezTo>
                  <a:pt x="22" y="189"/>
                  <a:pt x="21" y="191"/>
                  <a:pt x="28" y="195"/>
                </a:cubicBezTo>
                <a:cubicBezTo>
                  <a:pt x="33" y="198"/>
                  <a:pt x="39" y="203"/>
                  <a:pt x="42" y="207"/>
                </a:cubicBezTo>
                <a:cubicBezTo>
                  <a:pt x="42" y="208"/>
                  <a:pt x="42" y="208"/>
                  <a:pt x="42" y="209"/>
                </a:cubicBezTo>
                <a:cubicBezTo>
                  <a:pt x="41" y="212"/>
                  <a:pt x="41" y="214"/>
                  <a:pt x="40" y="217"/>
                </a:cubicBezTo>
                <a:cubicBezTo>
                  <a:pt x="40" y="218"/>
                  <a:pt x="39" y="218"/>
                  <a:pt x="39" y="219"/>
                </a:cubicBezTo>
                <a:cubicBezTo>
                  <a:pt x="34" y="221"/>
                  <a:pt x="26" y="221"/>
                  <a:pt x="23" y="221"/>
                </a:cubicBezTo>
                <a:cubicBezTo>
                  <a:pt x="22" y="221"/>
                  <a:pt x="21" y="221"/>
                  <a:pt x="20" y="221"/>
                </a:cubicBezTo>
                <a:cubicBezTo>
                  <a:pt x="19" y="221"/>
                  <a:pt x="19" y="221"/>
                  <a:pt x="18" y="221"/>
                </a:cubicBezTo>
                <a:cubicBezTo>
                  <a:pt x="13" y="221"/>
                  <a:pt x="12" y="223"/>
                  <a:pt x="12" y="227"/>
                </a:cubicBezTo>
                <a:cubicBezTo>
                  <a:pt x="11" y="228"/>
                  <a:pt x="11" y="228"/>
                  <a:pt x="11" y="228"/>
                </a:cubicBezTo>
                <a:cubicBezTo>
                  <a:pt x="11" y="231"/>
                  <a:pt x="10" y="234"/>
                  <a:pt x="17" y="236"/>
                </a:cubicBezTo>
                <a:cubicBezTo>
                  <a:pt x="22" y="238"/>
                  <a:pt x="29" y="242"/>
                  <a:pt x="33" y="246"/>
                </a:cubicBezTo>
                <a:cubicBezTo>
                  <a:pt x="33" y="247"/>
                  <a:pt x="33" y="247"/>
                  <a:pt x="33" y="248"/>
                </a:cubicBezTo>
                <a:cubicBezTo>
                  <a:pt x="33" y="251"/>
                  <a:pt x="32" y="254"/>
                  <a:pt x="32" y="256"/>
                </a:cubicBezTo>
                <a:cubicBezTo>
                  <a:pt x="32" y="257"/>
                  <a:pt x="32" y="258"/>
                  <a:pt x="31" y="258"/>
                </a:cubicBezTo>
                <a:cubicBezTo>
                  <a:pt x="27" y="261"/>
                  <a:pt x="19" y="263"/>
                  <a:pt x="13" y="264"/>
                </a:cubicBezTo>
                <a:cubicBezTo>
                  <a:pt x="6" y="264"/>
                  <a:pt x="6" y="267"/>
                  <a:pt x="6" y="270"/>
                </a:cubicBezTo>
                <a:cubicBezTo>
                  <a:pt x="6" y="272"/>
                  <a:pt x="6" y="272"/>
                  <a:pt x="6" y="272"/>
                </a:cubicBezTo>
                <a:cubicBezTo>
                  <a:pt x="5" y="275"/>
                  <a:pt x="5" y="278"/>
                  <a:pt x="12" y="279"/>
                </a:cubicBezTo>
                <a:cubicBezTo>
                  <a:pt x="18" y="280"/>
                  <a:pt x="26" y="283"/>
                  <a:pt x="30" y="286"/>
                </a:cubicBezTo>
                <a:cubicBezTo>
                  <a:pt x="30" y="287"/>
                  <a:pt x="30" y="287"/>
                  <a:pt x="30" y="288"/>
                </a:cubicBezTo>
                <a:cubicBezTo>
                  <a:pt x="30" y="291"/>
                  <a:pt x="31" y="294"/>
                  <a:pt x="31" y="296"/>
                </a:cubicBezTo>
                <a:cubicBezTo>
                  <a:pt x="31" y="297"/>
                  <a:pt x="30" y="298"/>
                  <a:pt x="30" y="298"/>
                </a:cubicBezTo>
                <a:cubicBezTo>
                  <a:pt x="26" y="302"/>
                  <a:pt x="19" y="305"/>
                  <a:pt x="13" y="307"/>
                </a:cubicBezTo>
                <a:cubicBezTo>
                  <a:pt x="6" y="308"/>
                  <a:pt x="6" y="311"/>
                  <a:pt x="7" y="314"/>
                </a:cubicBezTo>
                <a:cubicBezTo>
                  <a:pt x="7" y="316"/>
                  <a:pt x="7" y="316"/>
                  <a:pt x="7" y="316"/>
                </a:cubicBezTo>
                <a:cubicBezTo>
                  <a:pt x="7" y="319"/>
                  <a:pt x="7" y="322"/>
                  <a:pt x="14" y="322"/>
                </a:cubicBezTo>
                <a:cubicBezTo>
                  <a:pt x="21" y="322"/>
                  <a:pt x="29" y="324"/>
                  <a:pt x="33" y="326"/>
                </a:cubicBezTo>
                <a:cubicBezTo>
                  <a:pt x="33" y="327"/>
                  <a:pt x="34" y="327"/>
                  <a:pt x="34" y="328"/>
                </a:cubicBezTo>
                <a:cubicBezTo>
                  <a:pt x="34" y="329"/>
                  <a:pt x="34" y="329"/>
                  <a:pt x="34" y="329"/>
                </a:cubicBezTo>
                <a:cubicBezTo>
                  <a:pt x="35" y="331"/>
                  <a:pt x="35" y="334"/>
                  <a:pt x="35" y="336"/>
                </a:cubicBezTo>
                <a:cubicBezTo>
                  <a:pt x="36" y="337"/>
                  <a:pt x="35" y="338"/>
                  <a:pt x="35" y="338"/>
                </a:cubicBezTo>
                <a:cubicBezTo>
                  <a:pt x="32" y="342"/>
                  <a:pt x="25" y="347"/>
                  <a:pt x="20" y="349"/>
                </a:cubicBezTo>
                <a:cubicBezTo>
                  <a:pt x="13" y="352"/>
                  <a:pt x="14" y="354"/>
                  <a:pt x="15" y="358"/>
                </a:cubicBezTo>
                <a:cubicBezTo>
                  <a:pt x="15" y="359"/>
                  <a:pt x="15" y="359"/>
                  <a:pt x="15" y="359"/>
                </a:cubicBezTo>
                <a:cubicBezTo>
                  <a:pt x="16" y="362"/>
                  <a:pt x="16" y="364"/>
                  <a:pt x="21" y="364"/>
                </a:cubicBezTo>
                <a:cubicBezTo>
                  <a:pt x="22" y="364"/>
                  <a:pt x="23" y="364"/>
                  <a:pt x="23" y="364"/>
                </a:cubicBezTo>
                <a:cubicBezTo>
                  <a:pt x="26" y="364"/>
                  <a:pt x="28" y="364"/>
                  <a:pt x="30" y="364"/>
                </a:cubicBezTo>
                <a:cubicBezTo>
                  <a:pt x="34" y="364"/>
                  <a:pt x="39" y="364"/>
                  <a:pt x="42" y="366"/>
                </a:cubicBezTo>
                <a:cubicBezTo>
                  <a:pt x="43" y="366"/>
                  <a:pt x="43" y="366"/>
                  <a:pt x="44" y="367"/>
                </a:cubicBezTo>
                <a:cubicBezTo>
                  <a:pt x="45" y="370"/>
                  <a:pt x="45" y="372"/>
                  <a:pt x="46" y="375"/>
                </a:cubicBezTo>
                <a:cubicBezTo>
                  <a:pt x="47" y="376"/>
                  <a:pt x="47" y="376"/>
                  <a:pt x="46" y="377"/>
                </a:cubicBezTo>
                <a:cubicBezTo>
                  <a:pt x="44" y="381"/>
                  <a:pt x="38" y="387"/>
                  <a:pt x="33" y="390"/>
                </a:cubicBezTo>
                <a:cubicBezTo>
                  <a:pt x="27" y="394"/>
                  <a:pt x="28" y="396"/>
                  <a:pt x="29" y="399"/>
                </a:cubicBezTo>
                <a:cubicBezTo>
                  <a:pt x="30" y="400"/>
                  <a:pt x="30" y="400"/>
                  <a:pt x="30" y="400"/>
                </a:cubicBezTo>
                <a:cubicBezTo>
                  <a:pt x="31" y="403"/>
                  <a:pt x="32" y="405"/>
                  <a:pt x="35" y="405"/>
                </a:cubicBezTo>
                <a:cubicBezTo>
                  <a:pt x="36" y="405"/>
                  <a:pt x="37" y="405"/>
                  <a:pt x="39" y="404"/>
                </a:cubicBezTo>
                <a:cubicBezTo>
                  <a:pt x="44" y="403"/>
                  <a:pt x="49" y="402"/>
                  <a:pt x="53" y="402"/>
                </a:cubicBezTo>
                <a:cubicBezTo>
                  <a:pt x="55" y="402"/>
                  <a:pt x="56" y="402"/>
                  <a:pt x="58" y="403"/>
                </a:cubicBezTo>
                <a:cubicBezTo>
                  <a:pt x="58" y="403"/>
                  <a:pt x="59" y="403"/>
                  <a:pt x="59" y="404"/>
                </a:cubicBezTo>
                <a:cubicBezTo>
                  <a:pt x="61" y="406"/>
                  <a:pt x="62" y="409"/>
                  <a:pt x="63" y="411"/>
                </a:cubicBezTo>
                <a:cubicBezTo>
                  <a:pt x="64" y="412"/>
                  <a:pt x="64" y="413"/>
                  <a:pt x="64" y="413"/>
                </a:cubicBezTo>
                <a:cubicBezTo>
                  <a:pt x="62" y="418"/>
                  <a:pt x="57" y="424"/>
                  <a:pt x="52" y="428"/>
                </a:cubicBezTo>
                <a:cubicBezTo>
                  <a:pt x="47" y="433"/>
                  <a:pt x="48" y="435"/>
                  <a:pt x="50" y="438"/>
                </a:cubicBezTo>
                <a:cubicBezTo>
                  <a:pt x="51" y="439"/>
                  <a:pt x="51" y="439"/>
                  <a:pt x="51" y="439"/>
                </a:cubicBezTo>
                <a:cubicBezTo>
                  <a:pt x="52" y="441"/>
                  <a:pt x="53" y="443"/>
                  <a:pt x="55" y="443"/>
                </a:cubicBezTo>
                <a:cubicBezTo>
                  <a:pt x="57" y="443"/>
                  <a:pt x="58" y="442"/>
                  <a:pt x="60" y="441"/>
                </a:cubicBezTo>
                <a:cubicBezTo>
                  <a:pt x="67" y="438"/>
                  <a:pt x="74" y="437"/>
                  <a:pt x="79" y="437"/>
                </a:cubicBezTo>
                <a:cubicBezTo>
                  <a:pt x="79" y="437"/>
                  <a:pt x="80" y="437"/>
                  <a:pt x="81" y="438"/>
                </a:cubicBezTo>
                <a:cubicBezTo>
                  <a:pt x="82" y="440"/>
                  <a:pt x="83" y="442"/>
                  <a:pt x="85" y="443"/>
                </a:cubicBezTo>
                <a:cubicBezTo>
                  <a:pt x="86" y="445"/>
                  <a:pt x="86" y="445"/>
                  <a:pt x="86" y="445"/>
                </a:cubicBezTo>
                <a:cubicBezTo>
                  <a:pt x="86" y="445"/>
                  <a:pt x="86" y="446"/>
                  <a:pt x="86" y="447"/>
                </a:cubicBezTo>
                <a:cubicBezTo>
                  <a:pt x="85" y="452"/>
                  <a:pt x="81" y="458"/>
                  <a:pt x="77" y="463"/>
                </a:cubicBezTo>
                <a:cubicBezTo>
                  <a:pt x="73" y="469"/>
                  <a:pt x="74" y="471"/>
                  <a:pt x="77" y="473"/>
                </a:cubicBezTo>
                <a:cubicBezTo>
                  <a:pt x="78" y="474"/>
                  <a:pt x="78" y="474"/>
                  <a:pt x="78" y="474"/>
                </a:cubicBezTo>
                <a:cubicBezTo>
                  <a:pt x="79" y="476"/>
                  <a:pt x="80" y="477"/>
                  <a:pt x="82" y="477"/>
                </a:cubicBezTo>
                <a:cubicBezTo>
                  <a:pt x="84" y="477"/>
                  <a:pt x="85" y="476"/>
                  <a:pt x="88" y="475"/>
                </a:cubicBezTo>
                <a:cubicBezTo>
                  <a:pt x="93" y="471"/>
                  <a:pt x="100" y="468"/>
                  <a:pt x="105" y="467"/>
                </a:cubicBezTo>
                <a:cubicBezTo>
                  <a:pt x="106" y="467"/>
                  <a:pt x="106" y="468"/>
                  <a:pt x="107" y="468"/>
                </a:cubicBezTo>
                <a:cubicBezTo>
                  <a:pt x="109" y="470"/>
                  <a:pt x="111" y="472"/>
                  <a:pt x="113" y="474"/>
                </a:cubicBezTo>
                <a:cubicBezTo>
                  <a:pt x="114" y="474"/>
                  <a:pt x="114" y="475"/>
                  <a:pt x="114" y="476"/>
                </a:cubicBezTo>
                <a:cubicBezTo>
                  <a:pt x="114" y="481"/>
                  <a:pt x="111" y="488"/>
                  <a:pt x="108" y="494"/>
                </a:cubicBezTo>
                <a:cubicBezTo>
                  <a:pt x="104" y="500"/>
                  <a:pt x="106" y="501"/>
                  <a:pt x="109" y="503"/>
                </a:cubicBezTo>
                <a:cubicBezTo>
                  <a:pt x="110" y="504"/>
                  <a:pt x="110" y="504"/>
                  <a:pt x="110" y="504"/>
                </a:cubicBezTo>
                <a:cubicBezTo>
                  <a:pt x="111" y="505"/>
                  <a:pt x="112" y="507"/>
                  <a:pt x="114" y="507"/>
                </a:cubicBezTo>
                <a:cubicBezTo>
                  <a:pt x="114" y="507"/>
                  <a:pt x="114" y="507"/>
                  <a:pt x="114" y="507"/>
                </a:cubicBezTo>
                <a:cubicBezTo>
                  <a:pt x="115" y="507"/>
                  <a:pt x="117" y="505"/>
                  <a:pt x="120" y="503"/>
                </a:cubicBezTo>
                <a:cubicBezTo>
                  <a:pt x="124" y="499"/>
                  <a:pt x="131" y="495"/>
                  <a:pt x="136" y="494"/>
                </a:cubicBezTo>
                <a:cubicBezTo>
                  <a:pt x="136" y="493"/>
                  <a:pt x="137" y="494"/>
                  <a:pt x="138" y="494"/>
                </a:cubicBezTo>
                <a:cubicBezTo>
                  <a:pt x="140" y="496"/>
                  <a:pt x="142" y="497"/>
                  <a:pt x="145" y="499"/>
                </a:cubicBezTo>
                <a:cubicBezTo>
                  <a:pt x="145" y="499"/>
                  <a:pt x="146" y="500"/>
                  <a:pt x="146" y="500"/>
                </a:cubicBezTo>
                <a:cubicBezTo>
                  <a:pt x="146" y="506"/>
                  <a:pt x="144" y="513"/>
                  <a:pt x="142" y="519"/>
                </a:cubicBezTo>
                <a:cubicBezTo>
                  <a:pt x="140" y="526"/>
                  <a:pt x="142" y="527"/>
                  <a:pt x="145" y="529"/>
                </a:cubicBezTo>
                <a:cubicBezTo>
                  <a:pt x="146" y="529"/>
                  <a:pt x="146" y="529"/>
                  <a:pt x="146" y="529"/>
                </a:cubicBezTo>
                <a:cubicBezTo>
                  <a:pt x="147" y="530"/>
                  <a:pt x="149" y="531"/>
                  <a:pt x="150" y="531"/>
                </a:cubicBezTo>
                <a:cubicBezTo>
                  <a:pt x="152" y="531"/>
                  <a:pt x="154" y="529"/>
                  <a:pt x="156" y="527"/>
                </a:cubicBezTo>
                <a:cubicBezTo>
                  <a:pt x="159" y="522"/>
                  <a:pt x="165" y="516"/>
                  <a:pt x="170" y="515"/>
                </a:cubicBezTo>
                <a:cubicBezTo>
                  <a:pt x="171" y="514"/>
                  <a:pt x="171" y="514"/>
                  <a:pt x="172" y="515"/>
                </a:cubicBezTo>
                <a:cubicBezTo>
                  <a:pt x="173" y="515"/>
                  <a:pt x="173" y="515"/>
                  <a:pt x="173" y="515"/>
                </a:cubicBezTo>
                <a:cubicBezTo>
                  <a:pt x="175" y="516"/>
                  <a:pt x="177" y="517"/>
                  <a:pt x="180" y="518"/>
                </a:cubicBezTo>
                <a:cubicBezTo>
                  <a:pt x="180" y="519"/>
                  <a:pt x="181" y="519"/>
                  <a:pt x="181" y="520"/>
                </a:cubicBezTo>
                <a:cubicBezTo>
                  <a:pt x="183" y="525"/>
                  <a:pt x="182" y="533"/>
                  <a:pt x="181" y="539"/>
                </a:cubicBezTo>
                <a:cubicBezTo>
                  <a:pt x="179" y="546"/>
                  <a:pt x="181" y="546"/>
                  <a:pt x="185" y="548"/>
                </a:cubicBezTo>
                <a:cubicBezTo>
                  <a:pt x="186" y="548"/>
                  <a:pt x="186" y="548"/>
                  <a:pt x="186" y="548"/>
                </a:cubicBezTo>
                <a:cubicBezTo>
                  <a:pt x="187" y="549"/>
                  <a:pt x="188" y="549"/>
                  <a:pt x="189" y="549"/>
                </a:cubicBezTo>
                <a:cubicBezTo>
                  <a:pt x="190" y="549"/>
                  <a:pt x="192" y="549"/>
                  <a:pt x="195" y="544"/>
                </a:cubicBezTo>
                <a:cubicBezTo>
                  <a:pt x="198" y="539"/>
                  <a:pt x="203" y="532"/>
                  <a:pt x="207" y="530"/>
                </a:cubicBezTo>
                <a:cubicBezTo>
                  <a:pt x="208" y="530"/>
                  <a:pt x="209" y="529"/>
                  <a:pt x="209" y="530"/>
                </a:cubicBezTo>
                <a:cubicBezTo>
                  <a:pt x="212" y="530"/>
                  <a:pt x="215" y="531"/>
                  <a:pt x="217" y="532"/>
                </a:cubicBezTo>
                <a:cubicBezTo>
                  <a:pt x="218" y="532"/>
                  <a:pt x="219" y="533"/>
                  <a:pt x="219" y="533"/>
                </a:cubicBezTo>
                <a:cubicBezTo>
                  <a:pt x="221" y="538"/>
                  <a:pt x="222" y="546"/>
                  <a:pt x="221" y="552"/>
                </a:cubicBezTo>
                <a:cubicBezTo>
                  <a:pt x="221" y="559"/>
                  <a:pt x="223" y="560"/>
                  <a:pt x="227" y="560"/>
                </a:cubicBezTo>
                <a:cubicBezTo>
                  <a:pt x="228" y="561"/>
                  <a:pt x="228" y="561"/>
                  <a:pt x="228" y="561"/>
                </a:cubicBezTo>
                <a:cubicBezTo>
                  <a:pt x="229" y="561"/>
                  <a:pt x="230" y="561"/>
                  <a:pt x="231" y="561"/>
                </a:cubicBezTo>
                <a:cubicBezTo>
                  <a:pt x="232" y="561"/>
                  <a:pt x="234" y="561"/>
                  <a:pt x="236" y="555"/>
                </a:cubicBezTo>
                <a:cubicBezTo>
                  <a:pt x="239" y="550"/>
                  <a:pt x="242" y="542"/>
                  <a:pt x="246" y="539"/>
                </a:cubicBezTo>
                <a:cubicBezTo>
                  <a:pt x="247" y="539"/>
                  <a:pt x="247" y="539"/>
                  <a:pt x="248" y="539"/>
                </a:cubicBezTo>
                <a:close/>
                <a:moveTo>
                  <a:pt x="286" y="521"/>
                </a:moveTo>
                <a:cubicBezTo>
                  <a:pt x="232" y="521"/>
                  <a:pt x="180" y="502"/>
                  <a:pt x="138" y="468"/>
                </a:cubicBezTo>
                <a:cubicBezTo>
                  <a:pt x="38" y="387"/>
                  <a:pt x="22" y="238"/>
                  <a:pt x="104" y="138"/>
                </a:cubicBezTo>
                <a:cubicBezTo>
                  <a:pt x="148" y="83"/>
                  <a:pt x="215" y="51"/>
                  <a:pt x="286" y="51"/>
                </a:cubicBezTo>
                <a:cubicBezTo>
                  <a:pt x="340" y="51"/>
                  <a:pt x="392" y="70"/>
                  <a:pt x="434" y="103"/>
                </a:cubicBezTo>
                <a:cubicBezTo>
                  <a:pt x="483" y="143"/>
                  <a:pt x="513" y="199"/>
                  <a:pt x="520" y="261"/>
                </a:cubicBezTo>
                <a:cubicBezTo>
                  <a:pt x="526" y="324"/>
                  <a:pt x="508" y="385"/>
                  <a:pt x="468" y="434"/>
                </a:cubicBezTo>
                <a:cubicBezTo>
                  <a:pt x="424" y="489"/>
                  <a:pt x="357" y="521"/>
                  <a:pt x="286" y="521"/>
                </a:cubicBezTo>
                <a:close/>
                <a:moveTo>
                  <a:pt x="286" y="56"/>
                </a:moveTo>
                <a:cubicBezTo>
                  <a:pt x="217" y="56"/>
                  <a:pt x="151" y="87"/>
                  <a:pt x="108" y="141"/>
                </a:cubicBezTo>
                <a:cubicBezTo>
                  <a:pt x="28" y="239"/>
                  <a:pt x="43" y="384"/>
                  <a:pt x="141" y="464"/>
                </a:cubicBezTo>
                <a:cubicBezTo>
                  <a:pt x="182" y="497"/>
                  <a:pt x="233" y="516"/>
                  <a:pt x="286" y="516"/>
                </a:cubicBezTo>
                <a:cubicBezTo>
                  <a:pt x="356" y="516"/>
                  <a:pt x="421" y="485"/>
                  <a:pt x="465" y="431"/>
                </a:cubicBezTo>
                <a:cubicBezTo>
                  <a:pt x="503" y="383"/>
                  <a:pt x="521" y="323"/>
                  <a:pt x="515" y="262"/>
                </a:cubicBezTo>
                <a:cubicBezTo>
                  <a:pt x="508" y="201"/>
                  <a:pt x="479" y="146"/>
                  <a:pt x="431" y="107"/>
                </a:cubicBezTo>
                <a:cubicBezTo>
                  <a:pt x="390" y="74"/>
                  <a:pt x="339" y="56"/>
                  <a:pt x="286" y="5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5" name="Freeform 1382">
            <a:extLst>
              <a:ext uri="{FF2B5EF4-FFF2-40B4-BE49-F238E27FC236}">
                <a16:creationId xmlns:a16="http://schemas.microsoft.com/office/drawing/2014/main" id="{F390BE6F-ECBB-4C72-BB71-B394DCCBB2EF}"/>
              </a:ext>
            </a:extLst>
          </p:cNvPr>
          <p:cNvSpPr>
            <a:spLocks noEditPoints="1"/>
          </p:cNvSpPr>
          <p:nvPr/>
        </p:nvSpPr>
        <p:spPr bwMode="auto">
          <a:xfrm rot="7915163">
            <a:off x="2398714" y="2534932"/>
            <a:ext cx="357203" cy="353361"/>
          </a:xfrm>
          <a:custGeom>
            <a:avLst/>
            <a:gdLst>
              <a:gd name="T0" fmla="*/ 49 w 124"/>
              <a:gd name="T1" fmla="*/ 115 h 123"/>
              <a:gd name="T2" fmla="*/ 35 w 124"/>
              <a:gd name="T3" fmla="*/ 110 h 123"/>
              <a:gd name="T4" fmla="*/ 19 w 124"/>
              <a:gd name="T5" fmla="*/ 106 h 123"/>
              <a:gd name="T6" fmla="*/ 20 w 124"/>
              <a:gd name="T7" fmla="*/ 89 h 123"/>
              <a:gd name="T8" fmla="*/ 5 w 124"/>
              <a:gd name="T9" fmla="*/ 86 h 123"/>
              <a:gd name="T10" fmla="*/ 0 w 124"/>
              <a:gd name="T11" fmla="*/ 62 h 123"/>
              <a:gd name="T12" fmla="*/ 8 w 124"/>
              <a:gd name="T13" fmla="*/ 49 h 123"/>
              <a:gd name="T14" fmla="*/ 14 w 124"/>
              <a:gd name="T15" fmla="*/ 35 h 123"/>
              <a:gd name="T16" fmla="*/ 18 w 124"/>
              <a:gd name="T17" fmla="*/ 19 h 123"/>
              <a:gd name="T18" fmla="*/ 33 w 124"/>
              <a:gd name="T19" fmla="*/ 14 h 123"/>
              <a:gd name="T20" fmla="*/ 47 w 124"/>
              <a:gd name="T21" fmla="*/ 8 h 123"/>
              <a:gd name="T22" fmla="*/ 61 w 124"/>
              <a:gd name="T23" fmla="*/ 0 h 123"/>
              <a:gd name="T24" fmla="*/ 76 w 124"/>
              <a:gd name="T25" fmla="*/ 8 h 123"/>
              <a:gd name="T26" fmla="*/ 89 w 124"/>
              <a:gd name="T27" fmla="*/ 14 h 123"/>
              <a:gd name="T28" fmla="*/ 105 w 124"/>
              <a:gd name="T29" fmla="*/ 18 h 123"/>
              <a:gd name="T30" fmla="*/ 110 w 124"/>
              <a:gd name="T31" fmla="*/ 34 h 123"/>
              <a:gd name="T32" fmla="*/ 116 w 124"/>
              <a:gd name="T33" fmla="*/ 47 h 123"/>
              <a:gd name="T34" fmla="*/ 124 w 124"/>
              <a:gd name="T35" fmla="*/ 62 h 123"/>
              <a:gd name="T36" fmla="*/ 120 w 124"/>
              <a:gd name="T37" fmla="*/ 83 h 123"/>
              <a:gd name="T38" fmla="*/ 107 w 124"/>
              <a:gd name="T39" fmla="*/ 87 h 123"/>
              <a:gd name="T40" fmla="*/ 107 w 124"/>
              <a:gd name="T41" fmla="*/ 104 h 123"/>
              <a:gd name="T42" fmla="*/ 91 w 124"/>
              <a:gd name="T43" fmla="*/ 109 h 123"/>
              <a:gd name="T44" fmla="*/ 78 w 124"/>
              <a:gd name="T45" fmla="*/ 115 h 123"/>
              <a:gd name="T46" fmla="*/ 63 w 124"/>
              <a:gd name="T47" fmla="*/ 123 h 123"/>
              <a:gd name="T48" fmla="*/ 61 w 124"/>
              <a:gd name="T49" fmla="*/ 116 h 123"/>
              <a:gd name="T50" fmla="*/ 66 w 124"/>
              <a:gd name="T51" fmla="*/ 116 h 123"/>
              <a:gd name="T52" fmla="*/ 82 w 124"/>
              <a:gd name="T53" fmla="*/ 112 h 123"/>
              <a:gd name="T54" fmla="*/ 86 w 124"/>
              <a:gd name="T55" fmla="*/ 110 h 123"/>
              <a:gd name="T56" fmla="*/ 102 w 124"/>
              <a:gd name="T57" fmla="*/ 102 h 123"/>
              <a:gd name="T58" fmla="*/ 99 w 124"/>
              <a:gd name="T59" fmla="*/ 86 h 123"/>
              <a:gd name="T60" fmla="*/ 114 w 124"/>
              <a:gd name="T61" fmla="*/ 83 h 123"/>
              <a:gd name="T62" fmla="*/ 106 w 124"/>
              <a:gd name="T63" fmla="*/ 71 h 123"/>
              <a:gd name="T64" fmla="*/ 119 w 124"/>
              <a:gd name="T65" fmla="*/ 61 h 123"/>
              <a:gd name="T66" fmla="*/ 113 w 124"/>
              <a:gd name="T67" fmla="*/ 43 h 123"/>
              <a:gd name="T68" fmla="*/ 111 w 124"/>
              <a:gd name="T69" fmla="*/ 39 h 123"/>
              <a:gd name="T70" fmla="*/ 102 w 124"/>
              <a:gd name="T71" fmla="*/ 25 h 123"/>
              <a:gd name="T72" fmla="*/ 99 w 124"/>
              <a:gd name="T73" fmla="*/ 21 h 123"/>
              <a:gd name="T74" fmla="*/ 85 w 124"/>
              <a:gd name="T75" fmla="*/ 12 h 123"/>
              <a:gd name="T76" fmla="*/ 80 w 124"/>
              <a:gd name="T77" fmla="*/ 10 h 123"/>
              <a:gd name="T78" fmla="*/ 62 w 124"/>
              <a:gd name="T79" fmla="*/ 5 h 123"/>
              <a:gd name="T80" fmla="*/ 53 w 124"/>
              <a:gd name="T81" fmla="*/ 19 h 123"/>
              <a:gd name="T82" fmla="*/ 40 w 124"/>
              <a:gd name="T83" fmla="*/ 9 h 123"/>
              <a:gd name="T84" fmla="*/ 35 w 124"/>
              <a:gd name="T85" fmla="*/ 26 h 123"/>
              <a:gd name="T86" fmla="*/ 21 w 124"/>
              <a:gd name="T87" fmla="*/ 23 h 123"/>
              <a:gd name="T88" fmla="*/ 18 w 124"/>
              <a:gd name="T89" fmla="*/ 41 h 123"/>
              <a:gd name="T90" fmla="*/ 9 w 124"/>
              <a:gd name="T91" fmla="*/ 42 h 123"/>
              <a:gd name="T92" fmla="*/ 8 w 124"/>
              <a:gd name="T93" fmla="*/ 59 h 123"/>
              <a:gd name="T94" fmla="*/ 19 w 124"/>
              <a:gd name="T95" fmla="*/ 69 h 123"/>
              <a:gd name="T96" fmla="*/ 10 w 124"/>
              <a:gd name="T97" fmla="*/ 84 h 123"/>
              <a:gd name="T98" fmla="*/ 26 w 124"/>
              <a:gd name="T99" fmla="*/ 86 h 123"/>
              <a:gd name="T100" fmla="*/ 24 w 124"/>
              <a:gd name="T101" fmla="*/ 103 h 123"/>
              <a:gd name="T102" fmla="*/ 40 w 124"/>
              <a:gd name="T103" fmla="*/ 111 h 123"/>
              <a:gd name="T104" fmla="*/ 45 w 124"/>
              <a:gd name="T105"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3">
                <a:moveTo>
                  <a:pt x="62" y="123"/>
                </a:moveTo>
                <a:cubicBezTo>
                  <a:pt x="59" y="123"/>
                  <a:pt x="57" y="121"/>
                  <a:pt x="56" y="117"/>
                </a:cubicBezTo>
                <a:cubicBezTo>
                  <a:pt x="55" y="114"/>
                  <a:pt x="54" y="111"/>
                  <a:pt x="53" y="110"/>
                </a:cubicBezTo>
                <a:cubicBezTo>
                  <a:pt x="52" y="111"/>
                  <a:pt x="50" y="113"/>
                  <a:pt x="49" y="115"/>
                </a:cubicBezTo>
                <a:cubicBezTo>
                  <a:pt x="48" y="116"/>
                  <a:pt x="46" y="120"/>
                  <a:pt x="43" y="120"/>
                </a:cubicBezTo>
                <a:cubicBezTo>
                  <a:pt x="42" y="120"/>
                  <a:pt x="41" y="119"/>
                  <a:pt x="40" y="119"/>
                </a:cubicBezTo>
                <a:cubicBezTo>
                  <a:pt x="39" y="119"/>
                  <a:pt x="39" y="119"/>
                  <a:pt x="39" y="119"/>
                </a:cubicBezTo>
                <a:cubicBezTo>
                  <a:pt x="38" y="118"/>
                  <a:pt x="33" y="117"/>
                  <a:pt x="35" y="110"/>
                </a:cubicBezTo>
                <a:cubicBezTo>
                  <a:pt x="36" y="107"/>
                  <a:pt x="36" y="104"/>
                  <a:pt x="35" y="103"/>
                </a:cubicBezTo>
                <a:cubicBezTo>
                  <a:pt x="34" y="103"/>
                  <a:pt x="31" y="104"/>
                  <a:pt x="29" y="106"/>
                </a:cubicBezTo>
                <a:cubicBezTo>
                  <a:pt x="27" y="108"/>
                  <a:pt x="26" y="108"/>
                  <a:pt x="24" y="108"/>
                </a:cubicBezTo>
                <a:cubicBezTo>
                  <a:pt x="22" y="108"/>
                  <a:pt x="20" y="107"/>
                  <a:pt x="19" y="106"/>
                </a:cubicBezTo>
                <a:cubicBezTo>
                  <a:pt x="19" y="106"/>
                  <a:pt x="19" y="106"/>
                  <a:pt x="19" y="106"/>
                </a:cubicBezTo>
                <a:cubicBezTo>
                  <a:pt x="17" y="104"/>
                  <a:pt x="15" y="101"/>
                  <a:pt x="18" y="96"/>
                </a:cubicBezTo>
                <a:cubicBezTo>
                  <a:pt x="20" y="93"/>
                  <a:pt x="21" y="91"/>
                  <a:pt x="21" y="89"/>
                </a:cubicBezTo>
                <a:cubicBezTo>
                  <a:pt x="21" y="89"/>
                  <a:pt x="20" y="89"/>
                  <a:pt x="20" y="89"/>
                </a:cubicBezTo>
                <a:cubicBezTo>
                  <a:pt x="18" y="89"/>
                  <a:pt x="16" y="89"/>
                  <a:pt x="15" y="90"/>
                </a:cubicBezTo>
                <a:cubicBezTo>
                  <a:pt x="13" y="90"/>
                  <a:pt x="12" y="90"/>
                  <a:pt x="11" y="90"/>
                </a:cubicBezTo>
                <a:cubicBezTo>
                  <a:pt x="7" y="90"/>
                  <a:pt x="6" y="87"/>
                  <a:pt x="5" y="86"/>
                </a:cubicBezTo>
                <a:cubicBezTo>
                  <a:pt x="5" y="86"/>
                  <a:pt x="5" y="86"/>
                  <a:pt x="5" y="86"/>
                </a:cubicBezTo>
                <a:cubicBezTo>
                  <a:pt x="4" y="83"/>
                  <a:pt x="3" y="79"/>
                  <a:pt x="9" y="76"/>
                </a:cubicBezTo>
                <a:cubicBezTo>
                  <a:pt x="11" y="75"/>
                  <a:pt x="13" y="73"/>
                  <a:pt x="14" y="71"/>
                </a:cubicBezTo>
                <a:cubicBezTo>
                  <a:pt x="12" y="70"/>
                  <a:pt x="10" y="70"/>
                  <a:pt x="7" y="69"/>
                </a:cubicBezTo>
                <a:cubicBezTo>
                  <a:pt x="0" y="68"/>
                  <a:pt x="0" y="64"/>
                  <a:pt x="0" y="62"/>
                </a:cubicBezTo>
                <a:cubicBezTo>
                  <a:pt x="0" y="62"/>
                  <a:pt x="0" y="62"/>
                  <a:pt x="0" y="62"/>
                </a:cubicBezTo>
                <a:cubicBezTo>
                  <a:pt x="0" y="59"/>
                  <a:pt x="1" y="55"/>
                  <a:pt x="7" y="54"/>
                </a:cubicBezTo>
                <a:cubicBezTo>
                  <a:pt x="9" y="54"/>
                  <a:pt x="11" y="53"/>
                  <a:pt x="13" y="53"/>
                </a:cubicBezTo>
                <a:cubicBezTo>
                  <a:pt x="12" y="51"/>
                  <a:pt x="10" y="50"/>
                  <a:pt x="8" y="49"/>
                </a:cubicBezTo>
                <a:cubicBezTo>
                  <a:pt x="3" y="46"/>
                  <a:pt x="3" y="42"/>
                  <a:pt x="4" y="40"/>
                </a:cubicBezTo>
                <a:cubicBezTo>
                  <a:pt x="5" y="39"/>
                  <a:pt x="5" y="39"/>
                  <a:pt x="5" y="39"/>
                </a:cubicBezTo>
                <a:cubicBezTo>
                  <a:pt x="5" y="38"/>
                  <a:pt x="6" y="35"/>
                  <a:pt x="11" y="35"/>
                </a:cubicBezTo>
                <a:cubicBezTo>
                  <a:pt x="11" y="35"/>
                  <a:pt x="12" y="35"/>
                  <a:pt x="14" y="35"/>
                </a:cubicBezTo>
                <a:cubicBezTo>
                  <a:pt x="16" y="36"/>
                  <a:pt x="19" y="36"/>
                  <a:pt x="20" y="35"/>
                </a:cubicBezTo>
                <a:cubicBezTo>
                  <a:pt x="20" y="34"/>
                  <a:pt x="19" y="31"/>
                  <a:pt x="17" y="29"/>
                </a:cubicBezTo>
                <a:cubicBezTo>
                  <a:pt x="13" y="24"/>
                  <a:pt x="15" y="21"/>
                  <a:pt x="17" y="19"/>
                </a:cubicBezTo>
                <a:cubicBezTo>
                  <a:pt x="18" y="19"/>
                  <a:pt x="18" y="19"/>
                  <a:pt x="18" y="19"/>
                </a:cubicBezTo>
                <a:cubicBezTo>
                  <a:pt x="19" y="18"/>
                  <a:pt x="20" y="16"/>
                  <a:pt x="22" y="16"/>
                </a:cubicBezTo>
                <a:cubicBezTo>
                  <a:pt x="24" y="16"/>
                  <a:pt x="26" y="17"/>
                  <a:pt x="28" y="18"/>
                </a:cubicBezTo>
                <a:cubicBezTo>
                  <a:pt x="30" y="20"/>
                  <a:pt x="32" y="21"/>
                  <a:pt x="34" y="21"/>
                </a:cubicBezTo>
                <a:cubicBezTo>
                  <a:pt x="34" y="20"/>
                  <a:pt x="34" y="17"/>
                  <a:pt x="33" y="14"/>
                </a:cubicBezTo>
                <a:cubicBezTo>
                  <a:pt x="32" y="7"/>
                  <a:pt x="36" y="6"/>
                  <a:pt x="37" y="5"/>
                </a:cubicBezTo>
                <a:cubicBezTo>
                  <a:pt x="38" y="5"/>
                  <a:pt x="38" y="5"/>
                  <a:pt x="38" y="5"/>
                </a:cubicBezTo>
                <a:cubicBezTo>
                  <a:pt x="39" y="4"/>
                  <a:pt x="40" y="4"/>
                  <a:pt x="41" y="4"/>
                </a:cubicBezTo>
                <a:cubicBezTo>
                  <a:pt x="44" y="4"/>
                  <a:pt x="46" y="7"/>
                  <a:pt x="47" y="8"/>
                </a:cubicBezTo>
                <a:cubicBezTo>
                  <a:pt x="48" y="11"/>
                  <a:pt x="50" y="13"/>
                  <a:pt x="52" y="14"/>
                </a:cubicBezTo>
                <a:cubicBezTo>
                  <a:pt x="52" y="12"/>
                  <a:pt x="53" y="10"/>
                  <a:pt x="54" y="7"/>
                </a:cubicBezTo>
                <a:cubicBezTo>
                  <a:pt x="55" y="2"/>
                  <a:pt x="57" y="0"/>
                  <a:pt x="61" y="0"/>
                </a:cubicBezTo>
                <a:cubicBezTo>
                  <a:pt x="61" y="0"/>
                  <a:pt x="61" y="0"/>
                  <a:pt x="61" y="0"/>
                </a:cubicBezTo>
                <a:cubicBezTo>
                  <a:pt x="62" y="0"/>
                  <a:pt x="62" y="0"/>
                  <a:pt x="62" y="0"/>
                </a:cubicBezTo>
                <a:cubicBezTo>
                  <a:pt x="66" y="0"/>
                  <a:pt x="68" y="2"/>
                  <a:pt x="69" y="7"/>
                </a:cubicBezTo>
                <a:cubicBezTo>
                  <a:pt x="69" y="9"/>
                  <a:pt x="70" y="12"/>
                  <a:pt x="71" y="13"/>
                </a:cubicBezTo>
                <a:cubicBezTo>
                  <a:pt x="72" y="12"/>
                  <a:pt x="74" y="10"/>
                  <a:pt x="76" y="8"/>
                </a:cubicBezTo>
                <a:cubicBezTo>
                  <a:pt x="76" y="7"/>
                  <a:pt x="78" y="3"/>
                  <a:pt x="82" y="3"/>
                </a:cubicBezTo>
                <a:cubicBezTo>
                  <a:pt x="83" y="3"/>
                  <a:pt x="84" y="4"/>
                  <a:pt x="85" y="4"/>
                </a:cubicBezTo>
                <a:cubicBezTo>
                  <a:pt x="86" y="4"/>
                  <a:pt x="86" y="4"/>
                  <a:pt x="86" y="4"/>
                </a:cubicBezTo>
                <a:cubicBezTo>
                  <a:pt x="87" y="5"/>
                  <a:pt x="91" y="7"/>
                  <a:pt x="89" y="14"/>
                </a:cubicBezTo>
                <a:cubicBezTo>
                  <a:pt x="89" y="16"/>
                  <a:pt x="89" y="19"/>
                  <a:pt x="89" y="20"/>
                </a:cubicBezTo>
                <a:cubicBezTo>
                  <a:pt x="91" y="20"/>
                  <a:pt x="93" y="19"/>
                  <a:pt x="96" y="17"/>
                </a:cubicBezTo>
                <a:cubicBezTo>
                  <a:pt x="98" y="16"/>
                  <a:pt x="99" y="15"/>
                  <a:pt x="101" y="15"/>
                </a:cubicBezTo>
                <a:cubicBezTo>
                  <a:pt x="103" y="15"/>
                  <a:pt x="105" y="17"/>
                  <a:pt x="105" y="18"/>
                </a:cubicBezTo>
                <a:cubicBezTo>
                  <a:pt x="106" y="18"/>
                  <a:pt x="106" y="18"/>
                  <a:pt x="106" y="18"/>
                </a:cubicBezTo>
                <a:cubicBezTo>
                  <a:pt x="107" y="19"/>
                  <a:pt x="110" y="22"/>
                  <a:pt x="106" y="28"/>
                </a:cubicBezTo>
                <a:cubicBezTo>
                  <a:pt x="104" y="30"/>
                  <a:pt x="103" y="32"/>
                  <a:pt x="103" y="34"/>
                </a:cubicBezTo>
                <a:cubicBezTo>
                  <a:pt x="104" y="34"/>
                  <a:pt x="107" y="34"/>
                  <a:pt x="110" y="34"/>
                </a:cubicBezTo>
                <a:cubicBezTo>
                  <a:pt x="111" y="33"/>
                  <a:pt x="112" y="33"/>
                  <a:pt x="113" y="33"/>
                </a:cubicBezTo>
                <a:cubicBezTo>
                  <a:pt x="117" y="33"/>
                  <a:pt x="119" y="36"/>
                  <a:pt x="119" y="38"/>
                </a:cubicBezTo>
                <a:cubicBezTo>
                  <a:pt x="119" y="38"/>
                  <a:pt x="119" y="38"/>
                  <a:pt x="119" y="38"/>
                </a:cubicBezTo>
                <a:cubicBezTo>
                  <a:pt x="120" y="40"/>
                  <a:pt x="122" y="44"/>
                  <a:pt x="116" y="47"/>
                </a:cubicBezTo>
                <a:cubicBezTo>
                  <a:pt x="113" y="49"/>
                  <a:pt x="111" y="51"/>
                  <a:pt x="110" y="52"/>
                </a:cubicBezTo>
                <a:cubicBezTo>
                  <a:pt x="111" y="53"/>
                  <a:pt x="114" y="54"/>
                  <a:pt x="117" y="54"/>
                </a:cubicBezTo>
                <a:cubicBezTo>
                  <a:pt x="123" y="55"/>
                  <a:pt x="124" y="59"/>
                  <a:pt x="124" y="62"/>
                </a:cubicBezTo>
                <a:cubicBezTo>
                  <a:pt x="124" y="62"/>
                  <a:pt x="124" y="62"/>
                  <a:pt x="124" y="62"/>
                </a:cubicBezTo>
                <a:cubicBezTo>
                  <a:pt x="124" y="64"/>
                  <a:pt x="124" y="68"/>
                  <a:pt x="117" y="69"/>
                </a:cubicBezTo>
                <a:cubicBezTo>
                  <a:pt x="115" y="69"/>
                  <a:pt x="113" y="70"/>
                  <a:pt x="112" y="71"/>
                </a:cubicBezTo>
                <a:cubicBezTo>
                  <a:pt x="113" y="72"/>
                  <a:pt x="114" y="73"/>
                  <a:pt x="116" y="74"/>
                </a:cubicBezTo>
                <a:cubicBezTo>
                  <a:pt x="122" y="77"/>
                  <a:pt x="121" y="81"/>
                  <a:pt x="120" y="83"/>
                </a:cubicBezTo>
                <a:cubicBezTo>
                  <a:pt x="120" y="83"/>
                  <a:pt x="120" y="83"/>
                  <a:pt x="120" y="83"/>
                </a:cubicBezTo>
                <a:cubicBezTo>
                  <a:pt x="119" y="85"/>
                  <a:pt x="118" y="88"/>
                  <a:pt x="114" y="88"/>
                </a:cubicBezTo>
                <a:cubicBezTo>
                  <a:pt x="113" y="88"/>
                  <a:pt x="112" y="88"/>
                  <a:pt x="111" y="88"/>
                </a:cubicBezTo>
                <a:cubicBezTo>
                  <a:pt x="110" y="87"/>
                  <a:pt x="108" y="87"/>
                  <a:pt x="107" y="87"/>
                </a:cubicBezTo>
                <a:cubicBezTo>
                  <a:pt x="106" y="87"/>
                  <a:pt x="104" y="88"/>
                  <a:pt x="104" y="88"/>
                </a:cubicBezTo>
                <a:cubicBezTo>
                  <a:pt x="104" y="89"/>
                  <a:pt x="105" y="92"/>
                  <a:pt x="107" y="94"/>
                </a:cubicBezTo>
                <a:cubicBezTo>
                  <a:pt x="112" y="99"/>
                  <a:pt x="109" y="102"/>
                  <a:pt x="107" y="104"/>
                </a:cubicBezTo>
                <a:cubicBezTo>
                  <a:pt x="107" y="104"/>
                  <a:pt x="107" y="104"/>
                  <a:pt x="107" y="104"/>
                </a:cubicBezTo>
                <a:cubicBezTo>
                  <a:pt x="106" y="105"/>
                  <a:pt x="105" y="107"/>
                  <a:pt x="102" y="107"/>
                </a:cubicBezTo>
                <a:cubicBezTo>
                  <a:pt x="101" y="107"/>
                  <a:pt x="99" y="106"/>
                  <a:pt x="97" y="105"/>
                </a:cubicBezTo>
                <a:cubicBezTo>
                  <a:pt x="95" y="103"/>
                  <a:pt x="92" y="102"/>
                  <a:pt x="90" y="102"/>
                </a:cubicBezTo>
                <a:cubicBezTo>
                  <a:pt x="90" y="103"/>
                  <a:pt x="90" y="106"/>
                  <a:pt x="91" y="109"/>
                </a:cubicBezTo>
                <a:cubicBezTo>
                  <a:pt x="93" y="115"/>
                  <a:pt x="89" y="117"/>
                  <a:pt x="88" y="118"/>
                </a:cubicBezTo>
                <a:cubicBezTo>
                  <a:pt x="87" y="118"/>
                  <a:pt x="87" y="118"/>
                  <a:pt x="87" y="118"/>
                </a:cubicBezTo>
                <a:cubicBezTo>
                  <a:pt x="86" y="118"/>
                  <a:pt x="85" y="119"/>
                  <a:pt x="84" y="119"/>
                </a:cubicBezTo>
                <a:cubicBezTo>
                  <a:pt x="80" y="119"/>
                  <a:pt x="78" y="116"/>
                  <a:pt x="78" y="115"/>
                </a:cubicBezTo>
                <a:cubicBezTo>
                  <a:pt x="76" y="112"/>
                  <a:pt x="74" y="110"/>
                  <a:pt x="73" y="110"/>
                </a:cubicBezTo>
                <a:cubicBezTo>
                  <a:pt x="72" y="111"/>
                  <a:pt x="71" y="114"/>
                  <a:pt x="71" y="116"/>
                </a:cubicBezTo>
                <a:cubicBezTo>
                  <a:pt x="70" y="123"/>
                  <a:pt x="66" y="123"/>
                  <a:pt x="64" y="123"/>
                </a:cubicBezTo>
                <a:cubicBezTo>
                  <a:pt x="63" y="123"/>
                  <a:pt x="63" y="123"/>
                  <a:pt x="63" y="123"/>
                </a:cubicBezTo>
                <a:lnTo>
                  <a:pt x="62" y="123"/>
                </a:lnTo>
                <a:close/>
                <a:moveTo>
                  <a:pt x="53" y="104"/>
                </a:moveTo>
                <a:cubicBezTo>
                  <a:pt x="54" y="105"/>
                  <a:pt x="54" y="105"/>
                  <a:pt x="54" y="105"/>
                </a:cubicBezTo>
                <a:cubicBezTo>
                  <a:pt x="58" y="106"/>
                  <a:pt x="60" y="112"/>
                  <a:pt x="61" y="116"/>
                </a:cubicBezTo>
                <a:cubicBezTo>
                  <a:pt x="61" y="118"/>
                  <a:pt x="62" y="118"/>
                  <a:pt x="62" y="118"/>
                </a:cubicBezTo>
                <a:cubicBezTo>
                  <a:pt x="63" y="118"/>
                  <a:pt x="63" y="118"/>
                  <a:pt x="63" y="118"/>
                </a:cubicBezTo>
                <a:cubicBezTo>
                  <a:pt x="64" y="118"/>
                  <a:pt x="64" y="118"/>
                  <a:pt x="64" y="118"/>
                </a:cubicBezTo>
                <a:cubicBezTo>
                  <a:pt x="65" y="118"/>
                  <a:pt x="66" y="118"/>
                  <a:pt x="66" y="116"/>
                </a:cubicBezTo>
                <a:cubicBezTo>
                  <a:pt x="66" y="112"/>
                  <a:pt x="68" y="107"/>
                  <a:pt x="70" y="105"/>
                </a:cubicBezTo>
                <a:cubicBezTo>
                  <a:pt x="70" y="105"/>
                  <a:pt x="71" y="104"/>
                  <a:pt x="72" y="104"/>
                </a:cubicBezTo>
                <a:cubicBezTo>
                  <a:pt x="72" y="104"/>
                  <a:pt x="72" y="104"/>
                  <a:pt x="72" y="104"/>
                </a:cubicBezTo>
                <a:cubicBezTo>
                  <a:pt x="76" y="104"/>
                  <a:pt x="80" y="109"/>
                  <a:pt x="82" y="112"/>
                </a:cubicBezTo>
                <a:cubicBezTo>
                  <a:pt x="83" y="114"/>
                  <a:pt x="84" y="114"/>
                  <a:pt x="84" y="114"/>
                </a:cubicBezTo>
                <a:cubicBezTo>
                  <a:pt x="84" y="114"/>
                  <a:pt x="85" y="114"/>
                  <a:pt x="85" y="114"/>
                </a:cubicBezTo>
                <a:cubicBezTo>
                  <a:pt x="86" y="113"/>
                  <a:pt x="86" y="113"/>
                  <a:pt x="86" y="113"/>
                </a:cubicBezTo>
                <a:cubicBezTo>
                  <a:pt x="87" y="113"/>
                  <a:pt x="87" y="113"/>
                  <a:pt x="86" y="110"/>
                </a:cubicBezTo>
                <a:cubicBezTo>
                  <a:pt x="85" y="106"/>
                  <a:pt x="85" y="101"/>
                  <a:pt x="86" y="99"/>
                </a:cubicBezTo>
                <a:cubicBezTo>
                  <a:pt x="86" y="98"/>
                  <a:pt x="87" y="98"/>
                  <a:pt x="87" y="97"/>
                </a:cubicBezTo>
                <a:cubicBezTo>
                  <a:pt x="90" y="96"/>
                  <a:pt x="97" y="98"/>
                  <a:pt x="100" y="100"/>
                </a:cubicBezTo>
                <a:cubicBezTo>
                  <a:pt x="101" y="101"/>
                  <a:pt x="102" y="102"/>
                  <a:pt x="102" y="102"/>
                </a:cubicBezTo>
                <a:cubicBezTo>
                  <a:pt x="102" y="102"/>
                  <a:pt x="103" y="101"/>
                  <a:pt x="103" y="101"/>
                </a:cubicBezTo>
                <a:cubicBezTo>
                  <a:pt x="104" y="100"/>
                  <a:pt x="104" y="100"/>
                  <a:pt x="104" y="100"/>
                </a:cubicBezTo>
                <a:cubicBezTo>
                  <a:pt x="105" y="99"/>
                  <a:pt x="105" y="99"/>
                  <a:pt x="103" y="97"/>
                </a:cubicBezTo>
                <a:cubicBezTo>
                  <a:pt x="101" y="94"/>
                  <a:pt x="98" y="89"/>
                  <a:pt x="99" y="86"/>
                </a:cubicBezTo>
                <a:cubicBezTo>
                  <a:pt x="99" y="86"/>
                  <a:pt x="99" y="85"/>
                  <a:pt x="99" y="85"/>
                </a:cubicBezTo>
                <a:cubicBezTo>
                  <a:pt x="101" y="83"/>
                  <a:pt x="104" y="82"/>
                  <a:pt x="107" y="82"/>
                </a:cubicBezTo>
                <a:cubicBezTo>
                  <a:pt x="109" y="82"/>
                  <a:pt x="110" y="82"/>
                  <a:pt x="112" y="83"/>
                </a:cubicBezTo>
                <a:cubicBezTo>
                  <a:pt x="113" y="83"/>
                  <a:pt x="113" y="83"/>
                  <a:pt x="114" y="83"/>
                </a:cubicBezTo>
                <a:cubicBezTo>
                  <a:pt x="115" y="83"/>
                  <a:pt x="115" y="83"/>
                  <a:pt x="115" y="82"/>
                </a:cubicBezTo>
                <a:cubicBezTo>
                  <a:pt x="115" y="81"/>
                  <a:pt x="115" y="81"/>
                  <a:pt x="115" y="81"/>
                </a:cubicBezTo>
                <a:cubicBezTo>
                  <a:pt x="116" y="80"/>
                  <a:pt x="116" y="79"/>
                  <a:pt x="114" y="78"/>
                </a:cubicBezTo>
                <a:cubicBezTo>
                  <a:pt x="111" y="77"/>
                  <a:pt x="107" y="74"/>
                  <a:pt x="106" y="71"/>
                </a:cubicBezTo>
                <a:cubicBezTo>
                  <a:pt x="105" y="70"/>
                  <a:pt x="105" y="69"/>
                  <a:pt x="106" y="68"/>
                </a:cubicBezTo>
                <a:cubicBezTo>
                  <a:pt x="109" y="66"/>
                  <a:pt x="113" y="65"/>
                  <a:pt x="116" y="64"/>
                </a:cubicBezTo>
                <a:cubicBezTo>
                  <a:pt x="119" y="64"/>
                  <a:pt x="119" y="64"/>
                  <a:pt x="119" y="62"/>
                </a:cubicBezTo>
                <a:cubicBezTo>
                  <a:pt x="119" y="61"/>
                  <a:pt x="119" y="61"/>
                  <a:pt x="119" y="61"/>
                </a:cubicBezTo>
                <a:cubicBezTo>
                  <a:pt x="119" y="60"/>
                  <a:pt x="119" y="60"/>
                  <a:pt x="116" y="59"/>
                </a:cubicBezTo>
                <a:cubicBezTo>
                  <a:pt x="113" y="59"/>
                  <a:pt x="106" y="57"/>
                  <a:pt x="105" y="53"/>
                </a:cubicBezTo>
                <a:cubicBezTo>
                  <a:pt x="105" y="52"/>
                  <a:pt x="105" y="52"/>
                  <a:pt x="105" y="51"/>
                </a:cubicBezTo>
                <a:cubicBezTo>
                  <a:pt x="106" y="48"/>
                  <a:pt x="110" y="45"/>
                  <a:pt x="113" y="43"/>
                </a:cubicBezTo>
                <a:cubicBezTo>
                  <a:pt x="115" y="42"/>
                  <a:pt x="115" y="42"/>
                  <a:pt x="115" y="40"/>
                </a:cubicBezTo>
                <a:cubicBezTo>
                  <a:pt x="114" y="40"/>
                  <a:pt x="114" y="40"/>
                  <a:pt x="114" y="40"/>
                </a:cubicBezTo>
                <a:cubicBezTo>
                  <a:pt x="114" y="38"/>
                  <a:pt x="114" y="38"/>
                  <a:pt x="113" y="38"/>
                </a:cubicBezTo>
                <a:cubicBezTo>
                  <a:pt x="113" y="38"/>
                  <a:pt x="112" y="38"/>
                  <a:pt x="111" y="39"/>
                </a:cubicBezTo>
                <a:cubicBezTo>
                  <a:pt x="109" y="39"/>
                  <a:pt x="107" y="39"/>
                  <a:pt x="106" y="39"/>
                </a:cubicBezTo>
                <a:cubicBezTo>
                  <a:pt x="102" y="39"/>
                  <a:pt x="100" y="39"/>
                  <a:pt x="98" y="37"/>
                </a:cubicBezTo>
                <a:cubicBezTo>
                  <a:pt x="98" y="37"/>
                  <a:pt x="98" y="36"/>
                  <a:pt x="98" y="35"/>
                </a:cubicBezTo>
                <a:cubicBezTo>
                  <a:pt x="97" y="32"/>
                  <a:pt x="100" y="28"/>
                  <a:pt x="102" y="25"/>
                </a:cubicBezTo>
                <a:cubicBezTo>
                  <a:pt x="104" y="23"/>
                  <a:pt x="103" y="23"/>
                  <a:pt x="102" y="21"/>
                </a:cubicBezTo>
                <a:cubicBezTo>
                  <a:pt x="102" y="21"/>
                  <a:pt x="102" y="21"/>
                  <a:pt x="102" y="21"/>
                </a:cubicBezTo>
                <a:cubicBezTo>
                  <a:pt x="101" y="21"/>
                  <a:pt x="101" y="20"/>
                  <a:pt x="101" y="20"/>
                </a:cubicBezTo>
                <a:cubicBezTo>
                  <a:pt x="101" y="20"/>
                  <a:pt x="100" y="20"/>
                  <a:pt x="99" y="21"/>
                </a:cubicBezTo>
                <a:cubicBezTo>
                  <a:pt x="96" y="23"/>
                  <a:pt x="91" y="25"/>
                  <a:pt x="88" y="25"/>
                </a:cubicBezTo>
                <a:cubicBezTo>
                  <a:pt x="87" y="25"/>
                  <a:pt x="87" y="25"/>
                  <a:pt x="86" y="25"/>
                </a:cubicBezTo>
                <a:cubicBezTo>
                  <a:pt x="85" y="25"/>
                  <a:pt x="85" y="24"/>
                  <a:pt x="85" y="24"/>
                </a:cubicBezTo>
                <a:cubicBezTo>
                  <a:pt x="83" y="21"/>
                  <a:pt x="84" y="16"/>
                  <a:pt x="85" y="12"/>
                </a:cubicBezTo>
                <a:cubicBezTo>
                  <a:pt x="85" y="10"/>
                  <a:pt x="85" y="10"/>
                  <a:pt x="84" y="9"/>
                </a:cubicBezTo>
                <a:cubicBezTo>
                  <a:pt x="83" y="9"/>
                  <a:pt x="83" y="9"/>
                  <a:pt x="83" y="9"/>
                </a:cubicBezTo>
                <a:cubicBezTo>
                  <a:pt x="83" y="9"/>
                  <a:pt x="82" y="8"/>
                  <a:pt x="82" y="8"/>
                </a:cubicBezTo>
                <a:cubicBezTo>
                  <a:pt x="82" y="8"/>
                  <a:pt x="81" y="9"/>
                  <a:pt x="80" y="10"/>
                </a:cubicBezTo>
                <a:cubicBezTo>
                  <a:pt x="78" y="13"/>
                  <a:pt x="74" y="19"/>
                  <a:pt x="70" y="19"/>
                </a:cubicBezTo>
                <a:cubicBezTo>
                  <a:pt x="70" y="19"/>
                  <a:pt x="69" y="18"/>
                  <a:pt x="68" y="18"/>
                </a:cubicBezTo>
                <a:cubicBezTo>
                  <a:pt x="66" y="16"/>
                  <a:pt x="64" y="11"/>
                  <a:pt x="64" y="7"/>
                </a:cubicBezTo>
                <a:cubicBezTo>
                  <a:pt x="63" y="5"/>
                  <a:pt x="63" y="5"/>
                  <a:pt x="62" y="5"/>
                </a:cubicBezTo>
                <a:cubicBezTo>
                  <a:pt x="61" y="5"/>
                  <a:pt x="61" y="5"/>
                  <a:pt x="61" y="5"/>
                </a:cubicBezTo>
                <a:cubicBezTo>
                  <a:pt x="61" y="5"/>
                  <a:pt x="61" y="5"/>
                  <a:pt x="61" y="5"/>
                </a:cubicBezTo>
                <a:cubicBezTo>
                  <a:pt x="60" y="5"/>
                  <a:pt x="59" y="5"/>
                  <a:pt x="59" y="7"/>
                </a:cubicBezTo>
                <a:cubicBezTo>
                  <a:pt x="58" y="11"/>
                  <a:pt x="56" y="17"/>
                  <a:pt x="53" y="19"/>
                </a:cubicBezTo>
                <a:cubicBezTo>
                  <a:pt x="52" y="19"/>
                  <a:pt x="52" y="19"/>
                  <a:pt x="51" y="19"/>
                </a:cubicBezTo>
                <a:cubicBezTo>
                  <a:pt x="48" y="18"/>
                  <a:pt x="45" y="14"/>
                  <a:pt x="43" y="11"/>
                </a:cubicBezTo>
                <a:cubicBezTo>
                  <a:pt x="42" y="9"/>
                  <a:pt x="41" y="9"/>
                  <a:pt x="41" y="9"/>
                </a:cubicBezTo>
                <a:cubicBezTo>
                  <a:pt x="41" y="9"/>
                  <a:pt x="40" y="9"/>
                  <a:pt x="40" y="9"/>
                </a:cubicBezTo>
                <a:cubicBezTo>
                  <a:pt x="39" y="10"/>
                  <a:pt x="39" y="10"/>
                  <a:pt x="39" y="10"/>
                </a:cubicBezTo>
                <a:cubicBezTo>
                  <a:pt x="38" y="10"/>
                  <a:pt x="38" y="10"/>
                  <a:pt x="38" y="13"/>
                </a:cubicBezTo>
                <a:cubicBezTo>
                  <a:pt x="39" y="16"/>
                  <a:pt x="40" y="23"/>
                  <a:pt x="37" y="26"/>
                </a:cubicBezTo>
                <a:cubicBezTo>
                  <a:pt x="37" y="26"/>
                  <a:pt x="36" y="26"/>
                  <a:pt x="35" y="26"/>
                </a:cubicBezTo>
                <a:cubicBezTo>
                  <a:pt x="32" y="27"/>
                  <a:pt x="28" y="25"/>
                  <a:pt x="25" y="22"/>
                </a:cubicBezTo>
                <a:cubicBezTo>
                  <a:pt x="23" y="21"/>
                  <a:pt x="23" y="21"/>
                  <a:pt x="22" y="21"/>
                </a:cubicBezTo>
                <a:cubicBezTo>
                  <a:pt x="22" y="21"/>
                  <a:pt x="22" y="22"/>
                  <a:pt x="21" y="22"/>
                </a:cubicBezTo>
                <a:cubicBezTo>
                  <a:pt x="21" y="23"/>
                  <a:pt x="21" y="23"/>
                  <a:pt x="21" y="23"/>
                </a:cubicBezTo>
                <a:cubicBezTo>
                  <a:pt x="20" y="24"/>
                  <a:pt x="20" y="24"/>
                  <a:pt x="21" y="26"/>
                </a:cubicBezTo>
                <a:cubicBezTo>
                  <a:pt x="23" y="29"/>
                  <a:pt x="27" y="35"/>
                  <a:pt x="25" y="38"/>
                </a:cubicBezTo>
                <a:cubicBezTo>
                  <a:pt x="25" y="39"/>
                  <a:pt x="24" y="39"/>
                  <a:pt x="24" y="40"/>
                </a:cubicBezTo>
                <a:cubicBezTo>
                  <a:pt x="23" y="40"/>
                  <a:pt x="21" y="41"/>
                  <a:pt x="18" y="41"/>
                </a:cubicBezTo>
                <a:cubicBezTo>
                  <a:pt x="16" y="41"/>
                  <a:pt x="14" y="40"/>
                  <a:pt x="12" y="40"/>
                </a:cubicBezTo>
                <a:cubicBezTo>
                  <a:pt x="12" y="40"/>
                  <a:pt x="11" y="40"/>
                  <a:pt x="11" y="40"/>
                </a:cubicBezTo>
                <a:cubicBezTo>
                  <a:pt x="10" y="40"/>
                  <a:pt x="10" y="40"/>
                  <a:pt x="9" y="41"/>
                </a:cubicBezTo>
                <a:cubicBezTo>
                  <a:pt x="9" y="42"/>
                  <a:pt x="9" y="42"/>
                  <a:pt x="9" y="42"/>
                </a:cubicBezTo>
                <a:cubicBezTo>
                  <a:pt x="8" y="43"/>
                  <a:pt x="8" y="43"/>
                  <a:pt x="11" y="44"/>
                </a:cubicBezTo>
                <a:cubicBezTo>
                  <a:pt x="14" y="46"/>
                  <a:pt x="17" y="49"/>
                  <a:pt x="18" y="52"/>
                </a:cubicBezTo>
                <a:cubicBezTo>
                  <a:pt x="19" y="53"/>
                  <a:pt x="19" y="54"/>
                  <a:pt x="18" y="55"/>
                </a:cubicBezTo>
                <a:cubicBezTo>
                  <a:pt x="16" y="57"/>
                  <a:pt x="11" y="59"/>
                  <a:pt x="8" y="59"/>
                </a:cubicBezTo>
                <a:cubicBezTo>
                  <a:pt x="5" y="60"/>
                  <a:pt x="5" y="60"/>
                  <a:pt x="5" y="61"/>
                </a:cubicBezTo>
                <a:cubicBezTo>
                  <a:pt x="5" y="62"/>
                  <a:pt x="5" y="62"/>
                  <a:pt x="5" y="62"/>
                </a:cubicBezTo>
                <a:cubicBezTo>
                  <a:pt x="5" y="64"/>
                  <a:pt x="5" y="64"/>
                  <a:pt x="8" y="64"/>
                </a:cubicBezTo>
                <a:cubicBezTo>
                  <a:pt x="12" y="65"/>
                  <a:pt x="17" y="66"/>
                  <a:pt x="19" y="69"/>
                </a:cubicBezTo>
                <a:cubicBezTo>
                  <a:pt x="19" y="69"/>
                  <a:pt x="19" y="70"/>
                  <a:pt x="19" y="70"/>
                </a:cubicBezTo>
                <a:cubicBezTo>
                  <a:pt x="19" y="74"/>
                  <a:pt x="14" y="79"/>
                  <a:pt x="11" y="81"/>
                </a:cubicBezTo>
                <a:cubicBezTo>
                  <a:pt x="9" y="82"/>
                  <a:pt x="9" y="82"/>
                  <a:pt x="10" y="83"/>
                </a:cubicBezTo>
                <a:cubicBezTo>
                  <a:pt x="10" y="84"/>
                  <a:pt x="10" y="84"/>
                  <a:pt x="10" y="84"/>
                </a:cubicBezTo>
                <a:cubicBezTo>
                  <a:pt x="11" y="85"/>
                  <a:pt x="11" y="85"/>
                  <a:pt x="11" y="85"/>
                </a:cubicBezTo>
                <a:cubicBezTo>
                  <a:pt x="12" y="85"/>
                  <a:pt x="12" y="85"/>
                  <a:pt x="13" y="85"/>
                </a:cubicBezTo>
                <a:cubicBezTo>
                  <a:pt x="18" y="84"/>
                  <a:pt x="22" y="84"/>
                  <a:pt x="25" y="85"/>
                </a:cubicBezTo>
                <a:cubicBezTo>
                  <a:pt x="25" y="85"/>
                  <a:pt x="26" y="86"/>
                  <a:pt x="26" y="86"/>
                </a:cubicBezTo>
                <a:cubicBezTo>
                  <a:pt x="28" y="90"/>
                  <a:pt x="25" y="96"/>
                  <a:pt x="23" y="99"/>
                </a:cubicBezTo>
                <a:cubicBezTo>
                  <a:pt x="21" y="101"/>
                  <a:pt x="21" y="101"/>
                  <a:pt x="22" y="102"/>
                </a:cubicBezTo>
                <a:cubicBezTo>
                  <a:pt x="23" y="102"/>
                  <a:pt x="23" y="102"/>
                  <a:pt x="23" y="102"/>
                </a:cubicBezTo>
                <a:cubicBezTo>
                  <a:pt x="23" y="103"/>
                  <a:pt x="24" y="103"/>
                  <a:pt x="24" y="103"/>
                </a:cubicBezTo>
                <a:cubicBezTo>
                  <a:pt x="24" y="103"/>
                  <a:pt x="25" y="103"/>
                  <a:pt x="26" y="102"/>
                </a:cubicBezTo>
                <a:cubicBezTo>
                  <a:pt x="29" y="100"/>
                  <a:pt x="33" y="98"/>
                  <a:pt x="36" y="98"/>
                </a:cubicBezTo>
                <a:cubicBezTo>
                  <a:pt x="37" y="98"/>
                  <a:pt x="38" y="98"/>
                  <a:pt x="38" y="98"/>
                </a:cubicBezTo>
                <a:cubicBezTo>
                  <a:pt x="41" y="101"/>
                  <a:pt x="41" y="108"/>
                  <a:pt x="40" y="111"/>
                </a:cubicBezTo>
                <a:cubicBezTo>
                  <a:pt x="39" y="114"/>
                  <a:pt x="40" y="114"/>
                  <a:pt x="41" y="114"/>
                </a:cubicBezTo>
                <a:cubicBezTo>
                  <a:pt x="42" y="115"/>
                  <a:pt x="42" y="115"/>
                  <a:pt x="42" y="115"/>
                </a:cubicBezTo>
                <a:cubicBezTo>
                  <a:pt x="42" y="115"/>
                  <a:pt x="43" y="115"/>
                  <a:pt x="43" y="115"/>
                </a:cubicBezTo>
                <a:cubicBezTo>
                  <a:pt x="43" y="115"/>
                  <a:pt x="44" y="114"/>
                  <a:pt x="45" y="113"/>
                </a:cubicBezTo>
                <a:cubicBezTo>
                  <a:pt x="46" y="110"/>
                  <a:pt x="50" y="106"/>
                  <a:pt x="53" y="105"/>
                </a:cubicBezTo>
                <a:lnTo>
                  <a:pt x="53" y="10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6" name="Freeform 1383">
            <a:extLst>
              <a:ext uri="{FF2B5EF4-FFF2-40B4-BE49-F238E27FC236}">
                <a16:creationId xmlns:a16="http://schemas.microsoft.com/office/drawing/2014/main" id="{62C17392-E734-4EA0-B872-3CA3B4407380}"/>
              </a:ext>
            </a:extLst>
          </p:cNvPr>
          <p:cNvSpPr>
            <a:spLocks noEditPoints="1"/>
          </p:cNvSpPr>
          <p:nvPr/>
        </p:nvSpPr>
        <p:spPr bwMode="auto">
          <a:xfrm rot="7915163">
            <a:off x="2014843" y="2576140"/>
            <a:ext cx="230453" cy="226613"/>
          </a:xfrm>
          <a:custGeom>
            <a:avLst/>
            <a:gdLst>
              <a:gd name="T0" fmla="*/ 33 w 80"/>
              <a:gd name="T1" fmla="*/ 73 h 79"/>
              <a:gd name="T2" fmla="*/ 22 w 80"/>
              <a:gd name="T3" fmla="*/ 69 h 79"/>
              <a:gd name="T4" fmla="*/ 13 w 80"/>
              <a:gd name="T5" fmla="*/ 68 h 79"/>
              <a:gd name="T6" fmla="*/ 11 w 80"/>
              <a:gd name="T7" fmla="*/ 58 h 79"/>
              <a:gd name="T8" fmla="*/ 6 w 80"/>
              <a:gd name="T9" fmla="*/ 48 h 79"/>
              <a:gd name="T10" fmla="*/ 1 w 80"/>
              <a:gd name="T11" fmla="*/ 39 h 79"/>
              <a:gd name="T12" fmla="*/ 3 w 80"/>
              <a:gd name="T13" fmla="*/ 25 h 79"/>
              <a:gd name="T14" fmla="*/ 10 w 80"/>
              <a:gd name="T15" fmla="*/ 22 h 79"/>
              <a:gd name="T16" fmla="*/ 11 w 80"/>
              <a:gd name="T17" fmla="*/ 12 h 79"/>
              <a:gd name="T18" fmla="*/ 19 w 80"/>
              <a:gd name="T19" fmla="*/ 12 h 79"/>
              <a:gd name="T20" fmla="*/ 25 w 80"/>
              <a:gd name="T21" fmla="*/ 5 h 79"/>
              <a:gd name="T22" fmla="*/ 33 w 80"/>
              <a:gd name="T23" fmla="*/ 8 h 79"/>
              <a:gd name="T24" fmla="*/ 40 w 80"/>
              <a:gd name="T25" fmla="*/ 2 h 79"/>
              <a:gd name="T26" fmla="*/ 46 w 80"/>
              <a:gd name="T27" fmla="*/ 8 h 79"/>
              <a:gd name="T28" fmla="*/ 55 w 80"/>
              <a:gd name="T29" fmla="*/ 3 h 79"/>
              <a:gd name="T30" fmla="*/ 64 w 80"/>
              <a:gd name="T31" fmla="*/ 9 h 79"/>
              <a:gd name="T32" fmla="*/ 68 w 80"/>
              <a:gd name="T33" fmla="*/ 19 h 79"/>
              <a:gd name="T34" fmla="*/ 76 w 80"/>
              <a:gd name="T35" fmla="*/ 24 h 79"/>
              <a:gd name="T36" fmla="*/ 74 w 80"/>
              <a:gd name="T37" fmla="*/ 34 h 79"/>
              <a:gd name="T38" fmla="*/ 74 w 80"/>
              <a:gd name="T39" fmla="*/ 45 h 79"/>
              <a:gd name="T40" fmla="*/ 77 w 80"/>
              <a:gd name="T41" fmla="*/ 53 h 79"/>
              <a:gd name="T42" fmla="*/ 69 w 80"/>
              <a:gd name="T43" fmla="*/ 59 h 79"/>
              <a:gd name="T44" fmla="*/ 59 w 80"/>
              <a:gd name="T45" fmla="*/ 66 h 79"/>
              <a:gd name="T46" fmla="*/ 53 w 80"/>
              <a:gd name="T47" fmla="*/ 76 h 79"/>
              <a:gd name="T48" fmla="*/ 41 w 80"/>
              <a:gd name="T49" fmla="*/ 79 h 79"/>
              <a:gd name="T50" fmla="*/ 35 w 80"/>
              <a:gd name="T51" fmla="*/ 65 h 79"/>
              <a:gd name="T52" fmla="*/ 41 w 80"/>
              <a:gd name="T53" fmla="*/ 74 h 79"/>
              <a:gd name="T54" fmla="*/ 46 w 80"/>
              <a:gd name="T55" fmla="*/ 65 h 79"/>
              <a:gd name="T56" fmla="*/ 54 w 80"/>
              <a:gd name="T57" fmla="*/ 71 h 79"/>
              <a:gd name="T58" fmla="*/ 54 w 80"/>
              <a:gd name="T59" fmla="*/ 62 h 79"/>
              <a:gd name="T60" fmla="*/ 65 w 80"/>
              <a:gd name="T61" fmla="*/ 63 h 79"/>
              <a:gd name="T62" fmla="*/ 62 w 80"/>
              <a:gd name="T63" fmla="*/ 55 h 79"/>
              <a:gd name="T64" fmla="*/ 72 w 80"/>
              <a:gd name="T65" fmla="*/ 52 h 79"/>
              <a:gd name="T66" fmla="*/ 72 w 80"/>
              <a:gd name="T67" fmla="*/ 51 h 79"/>
              <a:gd name="T68" fmla="*/ 74 w 80"/>
              <a:gd name="T69" fmla="*/ 40 h 79"/>
              <a:gd name="T70" fmla="*/ 74 w 80"/>
              <a:gd name="T71" fmla="*/ 39 h 79"/>
              <a:gd name="T72" fmla="*/ 72 w 80"/>
              <a:gd name="T73" fmla="*/ 27 h 79"/>
              <a:gd name="T74" fmla="*/ 71 w 80"/>
              <a:gd name="T75" fmla="*/ 26 h 79"/>
              <a:gd name="T76" fmla="*/ 64 w 80"/>
              <a:gd name="T77" fmla="*/ 16 h 79"/>
              <a:gd name="T78" fmla="*/ 64 w 80"/>
              <a:gd name="T79" fmla="*/ 15 h 79"/>
              <a:gd name="T80" fmla="*/ 53 w 80"/>
              <a:gd name="T81" fmla="*/ 8 h 79"/>
              <a:gd name="T82" fmla="*/ 53 w 80"/>
              <a:gd name="T83" fmla="*/ 7 h 79"/>
              <a:gd name="T84" fmla="*/ 40 w 80"/>
              <a:gd name="T85" fmla="*/ 6 h 79"/>
              <a:gd name="T86" fmla="*/ 39 w 80"/>
              <a:gd name="T87" fmla="*/ 5 h 79"/>
              <a:gd name="T88" fmla="*/ 27 w 80"/>
              <a:gd name="T89" fmla="*/ 8 h 79"/>
              <a:gd name="T90" fmla="*/ 26 w 80"/>
              <a:gd name="T91" fmla="*/ 8 h 79"/>
              <a:gd name="T92" fmla="*/ 23 w 80"/>
              <a:gd name="T93" fmla="*/ 18 h 79"/>
              <a:gd name="T94" fmla="*/ 15 w 80"/>
              <a:gd name="T95" fmla="*/ 16 h 79"/>
              <a:gd name="T96" fmla="*/ 17 w 80"/>
              <a:gd name="T97" fmla="*/ 26 h 79"/>
              <a:gd name="T98" fmla="*/ 8 w 80"/>
              <a:gd name="T99" fmla="*/ 27 h 79"/>
              <a:gd name="T100" fmla="*/ 14 w 80"/>
              <a:gd name="T101" fmla="*/ 33 h 79"/>
              <a:gd name="T102" fmla="*/ 6 w 80"/>
              <a:gd name="T103" fmla="*/ 39 h 79"/>
              <a:gd name="T104" fmla="*/ 14 w 80"/>
              <a:gd name="T105" fmla="*/ 43 h 79"/>
              <a:gd name="T106" fmla="*/ 8 w 80"/>
              <a:gd name="T107" fmla="*/ 53 h 79"/>
              <a:gd name="T108" fmla="*/ 17 w 80"/>
              <a:gd name="T109" fmla="*/ 53 h 79"/>
              <a:gd name="T110" fmla="*/ 16 w 80"/>
              <a:gd name="T111" fmla="*/ 64 h 79"/>
              <a:gd name="T112" fmla="*/ 24 w 80"/>
              <a:gd name="T113" fmla="*/ 61 h 79"/>
              <a:gd name="T114" fmla="*/ 27 w 80"/>
              <a:gd name="T115" fmla="*/ 71 h 79"/>
              <a:gd name="T116" fmla="*/ 34 w 80"/>
              <a:gd name="T117" fmla="*/ 6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79">
                <a:moveTo>
                  <a:pt x="40" y="79"/>
                </a:moveTo>
                <a:cubicBezTo>
                  <a:pt x="38" y="79"/>
                  <a:pt x="36" y="78"/>
                  <a:pt x="35" y="74"/>
                </a:cubicBezTo>
                <a:cubicBezTo>
                  <a:pt x="35" y="73"/>
                  <a:pt x="35" y="72"/>
                  <a:pt x="34" y="71"/>
                </a:cubicBezTo>
                <a:cubicBezTo>
                  <a:pt x="34" y="71"/>
                  <a:pt x="33" y="72"/>
                  <a:pt x="33" y="73"/>
                </a:cubicBezTo>
                <a:cubicBezTo>
                  <a:pt x="31" y="75"/>
                  <a:pt x="30" y="77"/>
                  <a:pt x="28" y="77"/>
                </a:cubicBezTo>
                <a:cubicBezTo>
                  <a:pt x="27" y="77"/>
                  <a:pt x="26" y="76"/>
                  <a:pt x="26" y="76"/>
                </a:cubicBezTo>
                <a:cubicBezTo>
                  <a:pt x="26" y="76"/>
                  <a:pt x="26" y="76"/>
                  <a:pt x="26" y="76"/>
                </a:cubicBezTo>
                <a:cubicBezTo>
                  <a:pt x="24" y="76"/>
                  <a:pt x="21" y="74"/>
                  <a:pt x="22" y="69"/>
                </a:cubicBezTo>
                <a:cubicBezTo>
                  <a:pt x="23" y="68"/>
                  <a:pt x="23" y="67"/>
                  <a:pt x="23" y="66"/>
                </a:cubicBezTo>
                <a:cubicBezTo>
                  <a:pt x="22" y="67"/>
                  <a:pt x="21" y="67"/>
                  <a:pt x="20" y="68"/>
                </a:cubicBezTo>
                <a:cubicBezTo>
                  <a:pt x="19" y="69"/>
                  <a:pt x="17" y="69"/>
                  <a:pt x="16" y="69"/>
                </a:cubicBezTo>
                <a:cubicBezTo>
                  <a:pt x="14" y="69"/>
                  <a:pt x="13" y="68"/>
                  <a:pt x="13" y="68"/>
                </a:cubicBezTo>
                <a:cubicBezTo>
                  <a:pt x="12" y="67"/>
                  <a:pt x="12" y="67"/>
                  <a:pt x="12" y="67"/>
                </a:cubicBezTo>
                <a:cubicBezTo>
                  <a:pt x="12" y="67"/>
                  <a:pt x="9" y="64"/>
                  <a:pt x="12" y="60"/>
                </a:cubicBezTo>
                <a:cubicBezTo>
                  <a:pt x="13" y="59"/>
                  <a:pt x="13" y="58"/>
                  <a:pt x="13" y="57"/>
                </a:cubicBezTo>
                <a:cubicBezTo>
                  <a:pt x="13" y="57"/>
                  <a:pt x="12" y="58"/>
                  <a:pt x="11" y="58"/>
                </a:cubicBezTo>
                <a:cubicBezTo>
                  <a:pt x="10" y="58"/>
                  <a:pt x="9" y="58"/>
                  <a:pt x="8" y="58"/>
                </a:cubicBezTo>
                <a:cubicBezTo>
                  <a:pt x="5" y="58"/>
                  <a:pt x="4" y="56"/>
                  <a:pt x="4" y="55"/>
                </a:cubicBezTo>
                <a:cubicBezTo>
                  <a:pt x="4" y="55"/>
                  <a:pt x="4" y="55"/>
                  <a:pt x="4" y="55"/>
                </a:cubicBezTo>
                <a:cubicBezTo>
                  <a:pt x="3" y="54"/>
                  <a:pt x="2" y="50"/>
                  <a:pt x="6" y="48"/>
                </a:cubicBezTo>
                <a:cubicBezTo>
                  <a:pt x="7" y="47"/>
                  <a:pt x="8" y="46"/>
                  <a:pt x="9" y="46"/>
                </a:cubicBezTo>
                <a:cubicBezTo>
                  <a:pt x="8" y="45"/>
                  <a:pt x="7" y="45"/>
                  <a:pt x="6" y="45"/>
                </a:cubicBezTo>
                <a:cubicBezTo>
                  <a:pt x="1" y="44"/>
                  <a:pt x="1" y="41"/>
                  <a:pt x="1" y="40"/>
                </a:cubicBezTo>
                <a:cubicBezTo>
                  <a:pt x="1" y="39"/>
                  <a:pt x="1" y="39"/>
                  <a:pt x="1" y="39"/>
                </a:cubicBezTo>
                <a:cubicBezTo>
                  <a:pt x="1" y="38"/>
                  <a:pt x="0" y="35"/>
                  <a:pt x="6" y="34"/>
                </a:cubicBezTo>
                <a:cubicBezTo>
                  <a:pt x="6" y="34"/>
                  <a:pt x="7" y="34"/>
                  <a:pt x="8" y="33"/>
                </a:cubicBezTo>
                <a:cubicBezTo>
                  <a:pt x="7" y="33"/>
                  <a:pt x="7" y="33"/>
                  <a:pt x="6" y="32"/>
                </a:cubicBezTo>
                <a:cubicBezTo>
                  <a:pt x="1" y="30"/>
                  <a:pt x="3" y="26"/>
                  <a:pt x="3" y="25"/>
                </a:cubicBezTo>
                <a:cubicBezTo>
                  <a:pt x="6" y="26"/>
                  <a:pt x="6" y="26"/>
                  <a:pt x="6" y="26"/>
                </a:cubicBezTo>
                <a:cubicBezTo>
                  <a:pt x="3" y="25"/>
                  <a:pt x="3" y="25"/>
                  <a:pt x="3" y="25"/>
                </a:cubicBezTo>
                <a:cubicBezTo>
                  <a:pt x="4" y="24"/>
                  <a:pt x="5" y="22"/>
                  <a:pt x="8" y="22"/>
                </a:cubicBezTo>
                <a:cubicBezTo>
                  <a:pt x="9" y="22"/>
                  <a:pt x="9" y="22"/>
                  <a:pt x="10" y="22"/>
                </a:cubicBezTo>
                <a:cubicBezTo>
                  <a:pt x="11" y="22"/>
                  <a:pt x="12" y="22"/>
                  <a:pt x="13" y="22"/>
                </a:cubicBezTo>
                <a:cubicBezTo>
                  <a:pt x="13" y="22"/>
                  <a:pt x="13" y="22"/>
                  <a:pt x="13" y="22"/>
                </a:cubicBezTo>
                <a:cubicBezTo>
                  <a:pt x="13" y="21"/>
                  <a:pt x="12" y="20"/>
                  <a:pt x="11" y="19"/>
                </a:cubicBezTo>
                <a:cubicBezTo>
                  <a:pt x="8" y="15"/>
                  <a:pt x="11" y="13"/>
                  <a:pt x="11" y="12"/>
                </a:cubicBezTo>
                <a:cubicBezTo>
                  <a:pt x="13" y="14"/>
                  <a:pt x="13" y="14"/>
                  <a:pt x="13" y="14"/>
                </a:cubicBezTo>
                <a:cubicBezTo>
                  <a:pt x="12" y="12"/>
                  <a:pt x="12" y="12"/>
                  <a:pt x="12" y="12"/>
                </a:cubicBezTo>
                <a:cubicBezTo>
                  <a:pt x="12" y="11"/>
                  <a:pt x="13" y="10"/>
                  <a:pt x="15" y="10"/>
                </a:cubicBezTo>
                <a:cubicBezTo>
                  <a:pt x="17" y="10"/>
                  <a:pt x="18" y="11"/>
                  <a:pt x="19" y="12"/>
                </a:cubicBezTo>
                <a:cubicBezTo>
                  <a:pt x="20" y="12"/>
                  <a:pt x="21" y="13"/>
                  <a:pt x="22" y="13"/>
                </a:cubicBezTo>
                <a:cubicBezTo>
                  <a:pt x="22" y="12"/>
                  <a:pt x="21" y="11"/>
                  <a:pt x="21" y="10"/>
                </a:cubicBezTo>
                <a:cubicBezTo>
                  <a:pt x="20" y="5"/>
                  <a:pt x="23" y="4"/>
                  <a:pt x="24" y="3"/>
                </a:cubicBezTo>
                <a:cubicBezTo>
                  <a:pt x="25" y="5"/>
                  <a:pt x="25" y="5"/>
                  <a:pt x="25" y="5"/>
                </a:cubicBezTo>
                <a:cubicBezTo>
                  <a:pt x="24" y="3"/>
                  <a:pt x="24" y="3"/>
                  <a:pt x="24" y="3"/>
                </a:cubicBezTo>
                <a:cubicBezTo>
                  <a:pt x="25" y="3"/>
                  <a:pt x="26" y="2"/>
                  <a:pt x="27" y="2"/>
                </a:cubicBezTo>
                <a:cubicBezTo>
                  <a:pt x="29" y="2"/>
                  <a:pt x="30" y="4"/>
                  <a:pt x="31" y="6"/>
                </a:cubicBezTo>
                <a:cubicBezTo>
                  <a:pt x="32" y="7"/>
                  <a:pt x="33" y="7"/>
                  <a:pt x="33" y="8"/>
                </a:cubicBezTo>
                <a:cubicBezTo>
                  <a:pt x="33" y="7"/>
                  <a:pt x="34" y="6"/>
                  <a:pt x="34" y="5"/>
                </a:cubicBezTo>
                <a:cubicBezTo>
                  <a:pt x="34" y="2"/>
                  <a:pt x="36" y="0"/>
                  <a:pt x="39" y="0"/>
                </a:cubicBezTo>
                <a:cubicBezTo>
                  <a:pt x="39" y="0"/>
                  <a:pt x="39" y="0"/>
                  <a:pt x="39" y="0"/>
                </a:cubicBezTo>
                <a:cubicBezTo>
                  <a:pt x="40" y="2"/>
                  <a:pt x="40" y="2"/>
                  <a:pt x="40" y="2"/>
                </a:cubicBezTo>
                <a:cubicBezTo>
                  <a:pt x="40" y="0"/>
                  <a:pt x="40" y="0"/>
                  <a:pt x="40" y="0"/>
                </a:cubicBezTo>
                <a:cubicBezTo>
                  <a:pt x="40" y="0"/>
                  <a:pt x="40" y="0"/>
                  <a:pt x="40" y="0"/>
                </a:cubicBezTo>
                <a:cubicBezTo>
                  <a:pt x="43" y="0"/>
                  <a:pt x="45" y="2"/>
                  <a:pt x="45" y="5"/>
                </a:cubicBezTo>
                <a:cubicBezTo>
                  <a:pt x="45" y="6"/>
                  <a:pt x="46" y="7"/>
                  <a:pt x="46" y="8"/>
                </a:cubicBezTo>
                <a:cubicBezTo>
                  <a:pt x="46" y="7"/>
                  <a:pt x="47" y="6"/>
                  <a:pt x="48" y="5"/>
                </a:cubicBezTo>
                <a:cubicBezTo>
                  <a:pt x="48" y="5"/>
                  <a:pt x="50" y="2"/>
                  <a:pt x="52" y="2"/>
                </a:cubicBezTo>
                <a:cubicBezTo>
                  <a:pt x="53" y="2"/>
                  <a:pt x="54" y="3"/>
                  <a:pt x="55" y="3"/>
                </a:cubicBezTo>
                <a:cubicBezTo>
                  <a:pt x="55" y="3"/>
                  <a:pt x="55" y="3"/>
                  <a:pt x="55" y="3"/>
                </a:cubicBezTo>
                <a:cubicBezTo>
                  <a:pt x="56" y="3"/>
                  <a:pt x="59" y="5"/>
                  <a:pt x="58" y="10"/>
                </a:cubicBezTo>
                <a:cubicBezTo>
                  <a:pt x="58" y="11"/>
                  <a:pt x="58" y="12"/>
                  <a:pt x="58" y="12"/>
                </a:cubicBezTo>
                <a:cubicBezTo>
                  <a:pt x="58" y="12"/>
                  <a:pt x="59" y="12"/>
                  <a:pt x="60" y="11"/>
                </a:cubicBezTo>
                <a:cubicBezTo>
                  <a:pt x="62" y="10"/>
                  <a:pt x="63" y="9"/>
                  <a:pt x="64" y="9"/>
                </a:cubicBezTo>
                <a:cubicBezTo>
                  <a:pt x="66" y="9"/>
                  <a:pt x="67" y="11"/>
                  <a:pt x="68" y="11"/>
                </a:cubicBezTo>
                <a:cubicBezTo>
                  <a:pt x="66" y="13"/>
                  <a:pt x="66" y="13"/>
                  <a:pt x="66" y="13"/>
                </a:cubicBezTo>
                <a:cubicBezTo>
                  <a:pt x="68" y="11"/>
                  <a:pt x="68" y="11"/>
                  <a:pt x="68" y="11"/>
                </a:cubicBezTo>
                <a:cubicBezTo>
                  <a:pt x="69" y="12"/>
                  <a:pt x="71" y="15"/>
                  <a:pt x="68" y="19"/>
                </a:cubicBezTo>
                <a:cubicBezTo>
                  <a:pt x="67" y="20"/>
                  <a:pt x="67" y="21"/>
                  <a:pt x="67" y="21"/>
                </a:cubicBezTo>
                <a:cubicBezTo>
                  <a:pt x="68" y="21"/>
                  <a:pt x="69" y="21"/>
                  <a:pt x="70" y="21"/>
                </a:cubicBezTo>
                <a:cubicBezTo>
                  <a:pt x="70" y="21"/>
                  <a:pt x="71" y="21"/>
                  <a:pt x="72" y="21"/>
                </a:cubicBezTo>
                <a:cubicBezTo>
                  <a:pt x="75" y="21"/>
                  <a:pt x="76" y="23"/>
                  <a:pt x="76" y="24"/>
                </a:cubicBezTo>
                <a:cubicBezTo>
                  <a:pt x="76" y="24"/>
                  <a:pt x="76" y="24"/>
                  <a:pt x="76" y="24"/>
                </a:cubicBezTo>
                <a:cubicBezTo>
                  <a:pt x="77" y="25"/>
                  <a:pt x="78" y="29"/>
                  <a:pt x="74" y="31"/>
                </a:cubicBezTo>
                <a:cubicBezTo>
                  <a:pt x="73" y="32"/>
                  <a:pt x="72" y="32"/>
                  <a:pt x="72" y="33"/>
                </a:cubicBezTo>
                <a:cubicBezTo>
                  <a:pt x="72" y="33"/>
                  <a:pt x="73" y="34"/>
                  <a:pt x="74" y="34"/>
                </a:cubicBezTo>
                <a:cubicBezTo>
                  <a:pt x="80" y="35"/>
                  <a:pt x="79" y="38"/>
                  <a:pt x="79" y="39"/>
                </a:cubicBezTo>
                <a:cubicBezTo>
                  <a:pt x="77" y="40"/>
                  <a:pt x="77" y="40"/>
                  <a:pt x="77" y="40"/>
                </a:cubicBezTo>
                <a:cubicBezTo>
                  <a:pt x="79" y="40"/>
                  <a:pt x="79" y="40"/>
                  <a:pt x="79" y="40"/>
                </a:cubicBezTo>
                <a:cubicBezTo>
                  <a:pt x="79" y="41"/>
                  <a:pt x="79" y="44"/>
                  <a:pt x="74" y="45"/>
                </a:cubicBezTo>
                <a:cubicBezTo>
                  <a:pt x="74" y="45"/>
                  <a:pt x="73" y="45"/>
                  <a:pt x="73" y="45"/>
                </a:cubicBezTo>
                <a:cubicBezTo>
                  <a:pt x="73" y="46"/>
                  <a:pt x="74" y="46"/>
                  <a:pt x="74" y="46"/>
                </a:cubicBezTo>
                <a:cubicBezTo>
                  <a:pt x="79" y="48"/>
                  <a:pt x="77" y="52"/>
                  <a:pt x="77" y="53"/>
                </a:cubicBezTo>
                <a:cubicBezTo>
                  <a:pt x="77" y="53"/>
                  <a:pt x="77" y="53"/>
                  <a:pt x="77" y="53"/>
                </a:cubicBezTo>
                <a:cubicBezTo>
                  <a:pt x="77" y="54"/>
                  <a:pt x="76" y="57"/>
                  <a:pt x="72" y="57"/>
                </a:cubicBezTo>
                <a:cubicBezTo>
                  <a:pt x="72" y="57"/>
                  <a:pt x="71" y="57"/>
                  <a:pt x="70" y="56"/>
                </a:cubicBezTo>
                <a:cubicBezTo>
                  <a:pt x="69" y="56"/>
                  <a:pt x="68" y="56"/>
                  <a:pt x="67" y="56"/>
                </a:cubicBezTo>
                <a:cubicBezTo>
                  <a:pt x="68" y="57"/>
                  <a:pt x="68" y="58"/>
                  <a:pt x="69" y="59"/>
                </a:cubicBezTo>
                <a:cubicBezTo>
                  <a:pt x="72" y="63"/>
                  <a:pt x="70" y="65"/>
                  <a:pt x="69" y="66"/>
                </a:cubicBezTo>
                <a:cubicBezTo>
                  <a:pt x="68" y="67"/>
                  <a:pt x="67" y="68"/>
                  <a:pt x="65" y="68"/>
                </a:cubicBezTo>
                <a:cubicBezTo>
                  <a:pt x="64" y="68"/>
                  <a:pt x="63" y="68"/>
                  <a:pt x="61" y="67"/>
                </a:cubicBezTo>
                <a:cubicBezTo>
                  <a:pt x="60" y="66"/>
                  <a:pt x="59" y="66"/>
                  <a:pt x="59" y="66"/>
                </a:cubicBezTo>
                <a:cubicBezTo>
                  <a:pt x="59" y="66"/>
                  <a:pt x="59" y="67"/>
                  <a:pt x="59" y="68"/>
                </a:cubicBezTo>
                <a:cubicBezTo>
                  <a:pt x="61" y="73"/>
                  <a:pt x="57" y="75"/>
                  <a:pt x="56" y="75"/>
                </a:cubicBezTo>
                <a:cubicBezTo>
                  <a:pt x="56" y="75"/>
                  <a:pt x="56" y="75"/>
                  <a:pt x="56" y="75"/>
                </a:cubicBezTo>
                <a:cubicBezTo>
                  <a:pt x="55" y="76"/>
                  <a:pt x="55" y="76"/>
                  <a:pt x="53" y="76"/>
                </a:cubicBezTo>
                <a:cubicBezTo>
                  <a:pt x="51" y="76"/>
                  <a:pt x="49" y="74"/>
                  <a:pt x="49" y="73"/>
                </a:cubicBezTo>
                <a:cubicBezTo>
                  <a:pt x="48" y="72"/>
                  <a:pt x="48" y="71"/>
                  <a:pt x="47" y="71"/>
                </a:cubicBezTo>
                <a:cubicBezTo>
                  <a:pt x="47" y="71"/>
                  <a:pt x="46" y="72"/>
                  <a:pt x="46" y="73"/>
                </a:cubicBezTo>
                <a:cubicBezTo>
                  <a:pt x="46" y="79"/>
                  <a:pt x="42" y="79"/>
                  <a:pt x="41" y="79"/>
                </a:cubicBezTo>
                <a:cubicBezTo>
                  <a:pt x="41" y="79"/>
                  <a:pt x="41" y="79"/>
                  <a:pt x="41" y="79"/>
                </a:cubicBezTo>
                <a:lnTo>
                  <a:pt x="40" y="79"/>
                </a:lnTo>
                <a:close/>
                <a:moveTo>
                  <a:pt x="35" y="65"/>
                </a:moveTo>
                <a:cubicBezTo>
                  <a:pt x="35" y="65"/>
                  <a:pt x="35" y="65"/>
                  <a:pt x="35" y="65"/>
                </a:cubicBezTo>
                <a:cubicBezTo>
                  <a:pt x="39" y="66"/>
                  <a:pt x="40" y="72"/>
                  <a:pt x="40" y="73"/>
                </a:cubicBezTo>
                <a:cubicBezTo>
                  <a:pt x="40" y="73"/>
                  <a:pt x="40" y="74"/>
                  <a:pt x="40" y="74"/>
                </a:cubicBezTo>
                <a:cubicBezTo>
                  <a:pt x="41" y="74"/>
                  <a:pt x="41" y="74"/>
                  <a:pt x="41" y="74"/>
                </a:cubicBezTo>
                <a:cubicBezTo>
                  <a:pt x="41" y="74"/>
                  <a:pt x="41" y="74"/>
                  <a:pt x="41" y="74"/>
                </a:cubicBezTo>
                <a:cubicBezTo>
                  <a:pt x="41" y="74"/>
                  <a:pt x="41" y="74"/>
                  <a:pt x="41" y="74"/>
                </a:cubicBezTo>
                <a:cubicBezTo>
                  <a:pt x="41" y="74"/>
                  <a:pt x="41" y="73"/>
                  <a:pt x="41" y="73"/>
                </a:cubicBezTo>
                <a:cubicBezTo>
                  <a:pt x="42" y="71"/>
                  <a:pt x="43" y="67"/>
                  <a:pt x="44" y="66"/>
                </a:cubicBezTo>
                <a:cubicBezTo>
                  <a:pt x="45" y="65"/>
                  <a:pt x="45" y="65"/>
                  <a:pt x="46" y="65"/>
                </a:cubicBezTo>
                <a:cubicBezTo>
                  <a:pt x="46" y="65"/>
                  <a:pt x="46" y="65"/>
                  <a:pt x="46" y="65"/>
                </a:cubicBezTo>
                <a:cubicBezTo>
                  <a:pt x="49" y="65"/>
                  <a:pt x="53" y="70"/>
                  <a:pt x="53" y="70"/>
                </a:cubicBezTo>
                <a:cubicBezTo>
                  <a:pt x="54" y="71"/>
                  <a:pt x="54" y="71"/>
                  <a:pt x="54" y="71"/>
                </a:cubicBezTo>
                <a:cubicBezTo>
                  <a:pt x="54" y="71"/>
                  <a:pt x="54" y="71"/>
                  <a:pt x="54" y="71"/>
                </a:cubicBezTo>
                <a:cubicBezTo>
                  <a:pt x="54" y="71"/>
                  <a:pt x="54" y="71"/>
                  <a:pt x="54" y="71"/>
                </a:cubicBezTo>
                <a:cubicBezTo>
                  <a:pt x="54" y="71"/>
                  <a:pt x="54" y="71"/>
                  <a:pt x="54" y="71"/>
                </a:cubicBezTo>
                <a:cubicBezTo>
                  <a:pt x="54" y="70"/>
                  <a:pt x="54" y="70"/>
                  <a:pt x="54" y="70"/>
                </a:cubicBezTo>
                <a:cubicBezTo>
                  <a:pt x="54" y="67"/>
                  <a:pt x="53" y="64"/>
                  <a:pt x="54" y="62"/>
                </a:cubicBezTo>
                <a:cubicBezTo>
                  <a:pt x="54" y="61"/>
                  <a:pt x="55" y="61"/>
                  <a:pt x="55" y="61"/>
                </a:cubicBezTo>
                <a:cubicBezTo>
                  <a:pt x="58" y="60"/>
                  <a:pt x="62" y="61"/>
                  <a:pt x="64" y="63"/>
                </a:cubicBezTo>
                <a:cubicBezTo>
                  <a:pt x="65" y="63"/>
                  <a:pt x="65" y="63"/>
                  <a:pt x="65" y="63"/>
                </a:cubicBezTo>
                <a:cubicBezTo>
                  <a:pt x="65" y="63"/>
                  <a:pt x="65" y="63"/>
                  <a:pt x="65" y="63"/>
                </a:cubicBezTo>
                <a:cubicBezTo>
                  <a:pt x="65" y="63"/>
                  <a:pt x="65" y="63"/>
                  <a:pt x="65" y="63"/>
                </a:cubicBezTo>
                <a:cubicBezTo>
                  <a:pt x="65" y="63"/>
                  <a:pt x="65" y="63"/>
                  <a:pt x="65" y="63"/>
                </a:cubicBezTo>
                <a:cubicBezTo>
                  <a:pt x="65" y="62"/>
                  <a:pt x="65" y="62"/>
                  <a:pt x="65" y="62"/>
                </a:cubicBezTo>
                <a:cubicBezTo>
                  <a:pt x="63" y="60"/>
                  <a:pt x="62" y="57"/>
                  <a:pt x="62" y="55"/>
                </a:cubicBezTo>
                <a:cubicBezTo>
                  <a:pt x="62" y="54"/>
                  <a:pt x="62" y="54"/>
                  <a:pt x="62" y="53"/>
                </a:cubicBezTo>
                <a:cubicBezTo>
                  <a:pt x="63" y="52"/>
                  <a:pt x="65" y="51"/>
                  <a:pt x="68" y="51"/>
                </a:cubicBezTo>
                <a:cubicBezTo>
                  <a:pt x="69" y="51"/>
                  <a:pt x="70" y="51"/>
                  <a:pt x="71" y="52"/>
                </a:cubicBezTo>
                <a:cubicBezTo>
                  <a:pt x="72" y="52"/>
                  <a:pt x="72" y="52"/>
                  <a:pt x="72" y="52"/>
                </a:cubicBezTo>
                <a:cubicBezTo>
                  <a:pt x="72" y="52"/>
                  <a:pt x="72" y="52"/>
                  <a:pt x="72" y="52"/>
                </a:cubicBezTo>
                <a:cubicBezTo>
                  <a:pt x="72" y="51"/>
                  <a:pt x="72" y="51"/>
                  <a:pt x="72" y="51"/>
                </a:cubicBezTo>
                <a:cubicBezTo>
                  <a:pt x="72" y="51"/>
                  <a:pt x="72" y="51"/>
                  <a:pt x="72" y="51"/>
                </a:cubicBezTo>
                <a:cubicBezTo>
                  <a:pt x="72" y="51"/>
                  <a:pt x="72" y="51"/>
                  <a:pt x="72" y="51"/>
                </a:cubicBezTo>
                <a:cubicBezTo>
                  <a:pt x="70" y="49"/>
                  <a:pt x="67" y="48"/>
                  <a:pt x="66" y="46"/>
                </a:cubicBezTo>
                <a:cubicBezTo>
                  <a:pt x="66" y="45"/>
                  <a:pt x="66" y="43"/>
                  <a:pt x="67" y="43"/>
                </a:cubicBezTo>
                <a:cubicBezTo>
                  <a:pt x="69" y="41"/>
                  <a:pt x="72" y="40"/>
                  <a:pt x="74" y="40"/>
                </a:cubicBezTo>
                <a:cubicBezTo>
                  <a:pt x="74" y="40"/>
                  <a:pt x="74" y="40"/>
                  <a:pt x="74" y="40"/>
                </a:cubicBezTo>
                <a:cubicBezTo>
                  <a:pt x="74" y="40"/>
                  <a:pt x="74" y="40"/>
                  <a:pt x="74" y="40"/>
                </a:cubicBezTo>
                <a:cubicBezTo>
                  <a:pt x="74" y="39"/>
                  <a:pt x="74" y="39"/>
                  <a:pt x="74" y="39"/>
                </a:cubicBezTo>
                <a:cubicBezTo>
                  <a:pt x="74" y="39"/>
                  <a:pt x="74" y="39"/>
                  <a:pt x="74" y="39"/>
                </a:cubicBezTo>
                <a:cubicBezTo>
                  <a:pt x="74" y="39"/>
                  <a:pt x="74" y="39"/>
                  <a:pt x="74" y="39"/>
                </a:cubicBezTo>
                <a:cubicBezTo>
                  <a:pt x="73" y="39"/>
                  <a:pt x="67" y="38"/>
                  <a:pt x="66" y="34"/>
                </a:cubicBezTo>
                <a:cubicBezTo>
                  <a:pt x="66" y="34"/>
                  <a:pt x="66" y="33"/>
                  <a:pt x="66" y="33"/>
                </a:cubicBezTo>
                <a:cubicBezTo>
                  <a:pt x="67" y="30"/>
                  <a:pt x="70" y="27"/>
                  <a:pt x="71" y="27"/>
                </a:cubicBezTo>
                <a:cubicBezTo>
                  <a:pt x="72" y="27"/>
                  <a:pt x="72" y="27"/>
                  <a:pt x="72" y="27"/>
                </a:cubicBezTo>
                <a:cubicBezTo>
                  <a:pt x="72" y="26"/>
                  <a:pt x="72" y="26"/>
                  <a:pt x="72" y="26"/>
                </a:cubicBezTo>
                <a:cubicBezTo>
                  <a:pt x="72" y="26"/>
                  <a:pt x="72" y="26"/>
                  <a:pt x="72" y="26"/>
                </a:cubicBezTo>
                <a:cubicBezTo>
                  <a:pt x="72" y="26"/>
                  <a:pt x="72" y="26"/>
                  <a:pt x="72" y="26"/>
                </a:cubicBezTo>
                <a:cubicBezTo>
                  <a:pt x="71" y="26"/>
                  <a:pt x="71" y="26"/>
                  <a:pt x="71" y="26"/>
                </a:cubicBezTo>
                <a:cubicBezTo>
                  <a:pt x="70" y="26"/>
                  <a:pt x="68" y="26"/>
                  <a:pt x="67" y="26"/>
                </a:cubicBezTo>
                <a:cubicBezTo>
                  <a:pt x="65" y="26"/>
                  <a:pt x="63" y="26"/>
                  <a:pt x="62" y="25"/>
                </a:cubicBezTo>
                <a:cubicBezTo>
                  <a:pt x="61" y="24"/>
                  <a:pt x="61" y="24"/>
                  <a:pt x="61" y="23"/>
                </a:cubicBezTo>
                <a:cubicBezTo>
                  <a:pt x="61" y="21"/>
                  <a:pt x="63" y="18"/>
                  <a:pt x="64" y="16"/>
                </a:cubicBezTo>
                <a:cubicBezTo>
                  <a:pt x="65" y="15"/>
                  <a:pt x="65" y="15"/>
                  <a:pt x="65" y="15"/>
                </a:cubicBezTo>
                <a:cubicBezTo>
                  <a:pt x="64" y="15"/>
                  <a:pt x="64" y="15"/>
                  <a:pt x="64" y="15"/>
                </a:cubicBezTo>
                <a:cubicBezTo>
                  <a:pt x="64" y="15"/>
                  <a:pt x="64" y="15"/>
                  <a:pt x="64" y="15"/>
                </a:cubicBezTo>
                <a:cubicBezTo>
                  <a:pt x="64" y="15"/>
                  <a:pt x="64" y="15"/>
                  <a:pt x="64" y="15"/>
                </a:cubicBezTo>
                <a:cubicBezTo>
                  <a:pt x="63" y="15"/>
                  <a:pt x="63" y="15"/>
                  <a:pt x="63" y="15"/>
                </a:cubicBezTo>
                <a:cubicBezTo>
                  <a:pt x="61" y="17"/>
                  <a:pt x="57" y="18"/>
                  <a:pt x="55" y="17"/>
                </a:cubicBezTo>
                <a:cubicBezTo>
                  <a:pt x="54" y="17"/>
                  <a:pt x="54" y="17"/>
                  <a:pt x="53" y="16"/>
                </a:cubicBezTo>
                <a:cubicBezTo>
                  <a:pt x="52" y="14"/>
                  <a:pt x="53" y="11"/>
                  <a:pt x="53" y="8"/>
                </a:cubicBezTo>
                <a:cubicBezTo>
                  <a:pt x="53" y="8"/>
                  <a:pt x="53" y="8"/>
                  <a:pt x="53" y="8"/>
                </a:cubicBezTo>
                <a:cubicBezTo>
                  <a:pt x="53" y="8"/>
                  <a:pt x="53" y="8"/>
                  <a:pt x="53" y="8"/>
                </a:cubicBezTo>
                <a:cubicBezTo>
                  <a:pt x="53" y="7"/>
                  <a:pt x="53" y="7"/>
                  <a:pt x="53" y="7"/>
                </a:cubicBezTo>
                <a:cubicBezTo>
                  <a:pt x="53" y="7"/>
                  <a:pt x="53" y="7"/>
                  <a:pt x="53" y="7"/>
                </a:cubicBezTo>
                <a:cubicBezTo>
                  <a:pt x="52" y="8"/>
                  <a:pt x="52" y="8"/>
                  <a:pt x="52" y="8"/>
                </a:cubicBezTo>
                <a:cubicBezTo>
                  <a:pt x="52" y="9"/>
                  <a:pt x="48" y="14"/>
                  <a:pt x="45" y="14"/>
                </a:cubicBezTo>
                <a:cubicBezTo>
                  <a:pt x="44" y="14"/>
                  <a:pt x="44" y="13"/>
                  <a:pt x="43" y="13"/>
                </a:cubicBezTo>
                <a:cubicBezTo>
                  <a:pt x="42" y="11"/>
                  <a:pt x="41" y="8"/>
                  <a:pt x="40" y="6"/>
                </a:cubicBezTo>
                <a:cubicBezTo>
                  <a:pt x="40" y="5"/>
                  <a:pt x="40" y="5"/>
                  <a:pt x="40" y="5"/>
                </a:cubicBezTo>
                <a:cubicBezTo>
                  <a:pt x="40" y="5"/>
                  <a:pt x="40" y="5"/>
                  <a:pt x="40" y="5"/>
                </a:cubicBezTo>
                <a:cubicBezTo>
                  <a:pt x="39" y="5"/>
                  <a:pt x="39" y="5"/>
                  <a:pt x="39" y="5"/>
                </a:cubicBezTo>
                <a:cubicBezTo>
                  <a:pt x="39" y="5"/>
                  <a:pt x="39" y="5"/>
                  <a:pt x="39" y="5"/>
                </a:cubicBezTo>
                <a:cubicBezTo>
                  <a:pt x="39" y="6"/>
                  <a:pt x="39" y="6"/>
                  <a:pt x="39" y="6"/>
                </a:cubicBezTo>
                <a:cubicBezTo>
                  <a:pt x="39" y="6"/>
                  <a:pt x="38" y="12"/>
                  <a:pt x="35" y="14"/>
                </a:cubicBezTo>
                <a:cubicBezTo>
                  <a:pt x="34" y="14"/>
                  <a:pt x="33" y="14"/>
                  <a:pt x="33" y="14"/>
                </a:cubicBezTo>
                <a:cubicBezTo>
                  <a:pt x="31" y="13"/>
                  <a:pt x="28" y="10"/>
                  <a:pt x="27" y="8"/>
                </a:cubicBezTo>
                <a:cubicBezTo>
                  <a:pt x="27" y="8"/>
                  <a:pt x="27" y="8"/>
                  <a:pt x="27" y="8"/>
                </a:cubicBezTo>
                <a:cubicBezTo>
                  <a:pt x="26" y="8"/>
                  <a:pt x="26" y="8"/>
                  <a:pt x="26" y="8"/>
                </a:cubicBezTo>
                <a:cubicBezTo>
                  <a:pt x="26" y="8"/>
                  <a:pt x="26" y="8"/>
                  <a:pt x="26" y="8"/>
                </a:cubicBezTo>
                <a:cubicBezTo>
                  <a:pt x="26" y="8"/>
                  <a:pt x="26" y="8"/>
                  <a:pt x="26" y="8"/>
                </a:cubicBezTo>
                <a:cubicBezTo>
                  <a:pt x="26" y="9"/>
                  <a:pt x="26" y="9"/>
                  <a:pt x="26" y="9"/>
                </a:cubicBezTo>
                <a:cubicBezTo>
                  <a:pt x="26" y="9"/>
                  <a:pt x="28" y="15"/>
                  <a:pt x="25" y="18"/>
                </a:cubicBezTo>
                <a:cubicBezTo>
                  <a:pt x="25" y="18"/>
                  <a:pt x="24" y="18"/>
                  <a:pt x="23" y="18"/>
                </a:cubicBezTo>
                <a:cubicBezTo>
                  <a:pt x="23" y="18"/>
                  <a:pt x="23" y="18"/>
                  <a:pt x="23" y="18"/>
                </a:cubicBezTo>
                <a:cubicBezTo>
                  <a:pt x="21" y="18"/>
                  <a:pt x="18" y="17"/>
                  <a:pt x="16" y="16"/>
                </a:cubicBezTo>
                <a:cubicBezTo>
                  <a:pt x="15" y="15"/>
                  <a:pt x="15" y="15"/>
                  <a:pt x="15" y="15"/>
                </a:cubicBezTo>
                <a:cubicBezTo>
                  <a:pt x="15" y="15"/>
                  <a:pt x="15" y="15"/>
                  <a:pt x="15" y="15"/>
                </a:cubicBezTo>
                <a:cubicBezTo>
                  <a:pt x="15" y="16"/>
                  <a:pt x="15" y="16"/>
                  <a:pt x="15" y="16"/>
                </a:cubicBezTo>
                <a:cubicBezTo>
                  <a:pt x="15" y="16"/>
                  <a:pt x="15" y="16"/>
                  <a:pt x="15" y="16"/>
                </a:cubicBezTo>
                <a:cubicBezTo>
                  <a:pt x="15" y="16"/>
                  <a:pt x="15" y="16"/>
                  <a:pt x="15" y="16"/>
                </a:cubicBezTo>
                <a:cubicBezTo>
                  <a:pt x="16" y="17"/>
                  <a:pt x="19" y="22"/>
                  <a:pt x="18" y="25"/>
                </a:cubicBezTo>
                <a:cubicBezTo>
                  <a:pt x="18" y="26"/>
                  <a:pt x="17" y="26"/>
                  <a:pt x="17" y="26"/>
                </a:cubicBezTo>
                <a:cubicBezTo>
                  <a:pt x="16" y="27"/>
                  <a:pt x="14" y="27"/>
                  <a:pt x="13" y="27"/>
                </a:cubicBezTo>
                <a:cubicBezTo>
                  <a:pt x="12" y="27"/>
                  <a:pt x="10" y="27"/>
                  <a:pt x="9" y="27"/>
                </a:cubicBezTo>
                <a:cubicBezTo>
                  <a:pt x="8" y="27"/>
                  <a:pt x="8" y="27"/>
                  <a:pt x="8" y="27"/>
                </a:cubicBezTo>
                <a:cubicBezTo>
                  <a:pt x="8" y="27"/>
                  <a:pt x="8" y="27"/>
                  <a:pt x="8" y="27"/>
                </a:cubicBezTo>
                <a:cubicBezTo>
                  <a:pt x="8" y="27"/>
                  <a:pt x="8" y="27"/>
                  <a:pt x="8" y="27"/>
                </a:cubicBezTo>
                <a:cubicBezTo>
                  <a:pt x="8" y="27"/>
                  <a:pt x="8" y="27"/>
                  <a:pt x="8" y="27"/>
                </a:cubicBezTo>
                <a:cubicBezTo>
                  <a:pt x="8" y="28"/>
                  <a:pt x="8" y="28"/>
                  <a:pt x="8" y="28"/>
                </a:cubicBezTo>
                <a:cubicBezTo>
                  <a:pt x="10" y="29"/>
                  <a:pt x="13" y="31"/>
                  <a:pt x="14" y="33"/>
                </a:cubicBezTo>
                <a:cubicBezTo>
                  <a:pt x="14" y="34"/>
                  <a:pt x="14" y="35"/>
                  <a:pt x="13" y="36"/>
                </a:cubicBezTo>
                <a:cubicBezTo>
                  <a:pt x="12" y="37"/>
                  <a:pt x="9" y="38"/>
                  <a:pt x="6" y="39"/>
                </a:cubicBezTo>
                <a:cubicBezTo>
                  <a:pt x="6" y="39"/>
                  <a:pt x="6" y="39"/>
                  <a:pt x="6" y="39"/>
                </a:cubicBezTo>
                <a:cubicBezTo>
                  <a:pt x="6" y="39"/>
                  <a:pt x="6" y="39"/>
                  <a:pt x="6" y="39"/>
                </a:cubicBezTo>
                <a:cubicBezTo>
                  <a:pt x="6" y="39"/>
                  <a:pt x="6" y="39"/>
                  <a:pt x="6" y="39"/>
                </a:cubicBezTo>
                <a:cubicBezTo>
                  <a:pt x="6" y="40"/>
                  <a:pt x="6" y="40"/>
                  <a:pt x="6" y="40"/>
                </a:cubicBezTo>
                <a:cubicBezTo>
                  <a:pt x="6" y="40"/>
                  <a:pt x="6" y="40"/>
                  <a:pt x="6" y="40"/>
                </a:cubicBezTo>
                <a:cubicBezTo>
                  <a:pt x="9" y="40"/>
                  <a:pt x="12" y="41"/>
                  <a:pt x="14" y="43"/>
                </a:cubicBezTo>
                <a:cubicBezTo>
                  <a:pt x="14" y="44"/>
                  <a:pt x="14" y="44"/>
                  <a:pt x="14" y="45"/>
                </a:cubicBezTo>
                <a:cubicBezTo>
                  <a:pt x="14" y="48"/>
                  <a:pt x="9" y="52"/>
                  <a:pt x="9" y="52"/>
                </a:cubicBezTo>
                <a:cubicBezTo>
                  <a:pt x="8" y="52"/>
                  <a:pt x="8" y="52"/>
                  <a:pt x="8" y="52"/>
                </a:cubicBezTo>
                <a:cubicBezTo>
                  <a:pt x="8" y="53"/>
                  <a:pt x="8" y="53"/>
                  <a:pt x="8" y="53"/>
                </a:cubicBezTo>
                <a:cubicBezTo>
                  <a:pt x="8" y="53"/>
                  <a:pt x="8" y="53"/>
                  <a:pt x="8" y="53"/>
                </a:cubicBezTo>
                <a:cubicBezTo>
                  <a:pt x="9" y="53"/>
                  <a:pt x="9" y="53"/>
                  <a:pt x="9" y="53"/>
                </a:cubicBezTo>
                <a:cubicBezTo>
                  <a:pt x="9" y="53"/>
                  <a:pt x="9" y="53"/>
                  <a:pt x="9" y="53"/>
                </a:cubicBezTo>
                <a:cubicBezTo>
                  <a:pt x="12" y="52"/>
                  <a:pt x="15" y="52"/>
                  <a:pt x="17" y="53"/>
                </a:cubicBezTo>
                <a:cubicBezTo>
                  <a:pt x="18" y="53"/>
                  <a:pt x="18" y="54"/>
                  <a:pt x="18" y="54"/>
                </a:cubicBezTo>
                <a:cubicBezTo>
                  <a:pt x="20" y="57"/>
                  <a:pt x="17" y="62"/>
                  <a:pt x="16" y="63"/>
                </a:cubicBezTo>
                <a:cubicBezTo>
                  <a:pt x="16" y="64"/>
                  <a:pt x="16" y="64"/>
                  <a:pt x="16" y="64"/>
                </a:cubicBezTo>
                <a:cubicBezTo>
                  <a:pt x="16" y="64"/>
                  <a:pt x="16" y="64"/>
                  <a:pt x="16" y="64"/>
                </a:cubicBezTo>
                <a:cubicBezTo>
                  <a:pt x="16" y="64"/>
                  <a:pt x="16" y="64"/>
                  <a:pt x="16" y="64"/>
                </a:cubicBezTo>
                <a:cubicBezTo>
                  <a:pt x="16" y="64"/>
                  <a:pt x="16" y="64"/>
                  <a:pt x="16" y="64"/>
                </a:cubicBezTo>
                <a:cubicBezTo>
                  <a:pt x="17" y="64"/>
                  <a:pt x="17" y="64"/>
                  <a:pt x="17" y="64"/>
                </a:cubicBezTo>
                <a:cubicBezTo>
                  <a:pt x="19" y="62"/>
                  <a:pt x="22" y="61"/>
                  <a:pt x="24" y="61"/>
                </a:cubicBezTo>
                <a:cubicBezTo>
                  <a:pt x="25" y="61"/>
                  <a:pt x="25" y="61"/>
                  <a:pt x="26" y="61"/>
                </a:cubicBezTo>
                <a:cubicBezTo>
                  <a:pt x="28" y="64"/>
                  <a:pt x="27" y="70"/>
                  <a:pt x="27" y="70"/>
                </a:cubicBezTo>
                <a:cubicBezTo>
                  <a:pt x="27" y="71"/>
                  <a:pt x="27" y="71"/>
                  <a:pt x="27" y="71"/>
                </a:cubicBezTo>
                <a:cubicBezTo>
                  <a:pt x="27" y="71"/>
                  <a:pt x="27" y="71"/>
                  <a:pt x="27" y="71"/>
                </a:cubicBezTo>
                <a:cubicBezTo>
                  <a:pt x="27" y="71"/>
                  <a:pt x="27" y="71"/>
                  <a:pt x="27" y="71"/>
                </a:cubicBezTo>
                <a:cubicBezTo>
                  <a:pt x="28" y="71"/>
                  <a:pt x="28" y="71"/>
                  <a:pt x="28" y="71"/>
                </a:cubicBezTo>
                <a:cubicBezTo>
                  <a:pt x="28" y="71"/>
                  <a:pt x="28" y="71"/>
                  <a:pt x="28" y="71"/>
                </a:cubicBezTo>
                <a:cubicBezTo>
                  <a:pt x="29" y="69"/>
                  <a:pt x="32" y="66"/>
                  <a:pt x="34" y="65"/>
                </a:cubicBezTo>
                <a:lnTo>
                  <a:pt x="35" y="65"/>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1" name="Freeform 1388">
            <a:extLst>
              <a:ext uri="{FF2B5EF4-FFF2-40B4-BE49-F238E27FC236}">
                <a16:creationId xmlns:a16="http://schemas.microsoft.com/office/drawing/2014/main" id="{A54CEB4C-CCAC-40C8-9393-A4D1013638CC}"/>
              </a:ext>
            </a:extLst>
          </p:cNvPr>
          <p:cNvSpPr>
            <a:spLocks noEditPoints="1"/>
          </p:cNvSpPr>
          <p:nvPr/>
        </p:nvSpPr>
        <p:spPr bwMode="auto">
          <a:xfrm rot="7915163">
            <a:off x="6004260" y="89690"/>
            <a:ext cx="96024" cy="103704"/>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1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5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3"/>
                  <a:pt x="0" y="3"/>
                  <a:pt x="0" y="3"/>
                </a:cubicBezTo>
                <a:cubicBezTo>
                  <a:pt x="1" y="3"/>
                  <a:pt x="1" y="3"/>
                  <a:pt x="1" y="3"/>
                </a:cubicBezTo>
                <a:cubicBezTo>
                  <a:pt x="4" y="1"/>
                  <a:pt x="8" y="0"/>
                  <a:pt x="11" y="0"/>
                </a:cubicBezTo>
                <a:cubicBezTo>
                  <a:pt x="17" y="0"/>
                  <a:pt x="23" y="3"/>
                  <a:pt x="27" y="7"/>
                </a:cubicBezTo>
                <a:cubicBezTo>
                  <a:pt x="34" y="16"/>
                  <a:pt x="33" y="28"/>
                  <a:pt x="25" y="36"/>
                </a:cubicBezTo>
                <a:lnTo>
                  <a:pt x="24" y="36"/>
                </a:lnTo>
                <a:close/>
                <a:moveTo>
                  <a:pt x="3" y="4"/>
                </a:moveTo>
                <a:cubicBezTo>
                  <a:pt x="25" y="33"/>
                  <a:pt x="25" y="33"/>
                  <a:pt x="25" y="33"/>
                </a:cubicBezTo>
                <a:cubicBezTo>
                  <a:pt x="31" y="26"/>
                  <a:pt x="31" y="16"/>
                  <a:pt x="25" y="9"/>
                </a:cubicBezTo>
                <a:cubicBezTo>
                  <a:pt x="22" y="5"/>
                  <a:pt x="17" y="2"/>
                  <a:pt x="11" y="2"/>
                </a:cubicBezTo>
                <a:cubicBezTo>
                  <a:pt x="8" y="2"/>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2" name="Freeform 1389">
            <a:extLst>
              <a:ext uri="{FF2B5EF4-FFF2-40B4-BE49-F238E27FC236}">
                <a16:creationId xmlns:a16="http://schemas.microsoft.com/office/drawing/2014/main" id="{B8DBB1F8-958E-4ECA-8F8D-C563C2121581}"/>
              </a:ext>
            </a:extLst>
          </p:cNvPr>
          <p:cNvSpPr>
            <a:spLocks noEditPoints="1"/>
          </p:cNvSpPr>
          <p:nvPr/>
        </p:nvSpPr>
        <p:spPr bwMode="auto">
          <a:xfrm rot="7915163">
            <a:off x="6018780" y="56272"/>
            <a:ext cx="96024" cy="103704"/>
          </a:xfrm>
          <a:custGeom>
            <a:avLst/>
            <a:gdLst>
              <a:gd name="T0" fmla="*/ 23 w 34"/>
              <a:gd name="T1" fmla="*/ 36 h 36"/>
              <a:gd name="T2" fmla="*/ 7 w 34"/>
              <a:gd name="T3" fmla="*/ 29 h 36"/>
              <a:gd name="T4" fmla="*/ 9 w 34"/>
              <a:gd name="T5" fmla="*/ 0 h 36"/>
              <a:gd name="T6" fmla="*/ 10 w 34"/>
              <a:gd name="T7" fmla="*/ 0 h 36"/>
              <a:gd name="T8" fmla="*/ 11 w 34"/>
              <a:gd name="T9" fmla="*/ 1 h 36"/>
              <a:gd name="T10" fmla="*/ 34 w 34"/>
              <a:gd name="T11" fmla="*/ 32 h 36"/>
              <a:gd name="T12" fmla="*/ 34 w 34"/>
              <a:gd name="T13" fmla="*/ 33 h 36"/>
              <a:gd name="T14" fmla="*/ 34 w 34"/>
              <a:gd name="T15" fmla="*/ 34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4"/>
                  <a:pt x="7" y="29"/>
                </a:cubicBezTo>
                <a:cubicBezTo>
                  <a:pt x="0" y="20"/>
                  <a:pt x="1" y="8"/>
                  <a:pt x="9" y="0"/>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3" name="Freeform 1390">
            <a:extLst>
              <a:ext uri="{FF2B5EF4-FFF2-40B4-BE49-F238E27FC236}">
                <a16:creationId xmlns:a16="http://schemas.microsoft.com/office/drawing/2014/main" id="{5D57A79A-E36C-493D-8CEE-64785DFC3A5A}"/>
              </a:ext>
            </a:extLst>
          </p:cNvPr>
          <p:cNvSpPr>
            <a:spLocks noEditPoints="1"/>
          </p:cNvSpPr>
          <p:nvPr/>
        </p:nvSpPr>
        <p:spPr bwMode="auto">
          <a:xfrm rot="7915163">
            <a:off x="2422644" y="2873099"/>
            <a:ext cx="69136" cy="65296"/>
          </a:xfrm>
          <a:custGeom>
            <a:avLst/>
            <a:gdLst>
              <a:gd name="T0" fmla="*/ 12 w 23"/>
              <a:gd name="T1" fmla="*/ 24 h 24"/>
              <a:gd name="T2" fmla="*/ 0 w 23"/>
              <a:gd name="T3" fmla="*/ 12 h 24"/>
              <a:gd name="T4" fmla="*/ 12 w 23"/>
              <a:gd name="T5" fmla="*/ 0 h 24"/>
              <a:gd name="T6" fmla="*/ 23 w 23"/>
              <a:gd name="T7" fmla="*/ 12 h 24"/>
              <a:gd name="T8" fmla="*/ 12 w 23"/>
              <a:gd name="T9" fmla="*/ 24 h 24"/>
              <a:gd name="T10" fmla="*/ 12 w 23"/>
              <a:gd name="T11" fmla="*/ 5 h 24"/>
              <a:gd name="T12" fmla="*/ 5 w 23"/>
              <a:gd name="T13" fmla="*/ 12 h 24"/>
              <a:gd name="T14" fmla="*/ 12 w 23"/>
              <a:gd name="T15" fmla="*/ 19 h 24"/>
              <a:gd name="T16" fmla="*/ 19 w 23"/>
              <a:gd name="T17" fmla="*/ 12 h 24"/>
              <a:gd name="T18" fmla="*/ 12 w 23"/>
              <a:gd name="T1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2" y="24"/>
                </a:moveTo>
                <a:cubicBezTo>
                  <a:pt x="5" y="24"/>
                  <a:pt x="0" y="18"/>
                  <a:pt x="0" y="12"/>
                </a:cubicBezTo>
                <a:cubicBezTo>
                  <a:pt x="0" y="5"/>
                  <a:pt x="5" y="0"/>
                  <a:pt x="12" y="0"/>
                </a:cubicBezTo>
                <a:cubicBezTo>
                  <a:pt x="18" y="0"/>
                  <a:pt x="23" y="5"/>
                  <a:pt x="23" y="12"/>
                </a:cubicBezTo>
                <a:cubicBezTo>
                  <a:pt x="23" y="18"/>
                  <a:pt x="18" y="24"/>
                  <a:pt x="12" y="24"/>
                </a:cubicBezTo>
                <a:close/>
                <a:moveTo>
                  <a:pt x="12" y="5"/>
                </a:moveTo>
                <a:cubicBezTo>
                  <a:pt x="8" y="5"/>
                  <a:pt x="5" y="8"/>
                  <a:pt x="5" y="12"/>
                </a:cubicBezTo>
                <a:cubicBezTo>
                  <a:pt x="5" y="16"/>
                  <a:pt x="8" y="19"/>
                  <a:pt x="12" y="19"/>
                </a:cubicBezTo>
                <a:cubicBezTo>
                  <a:pt x="15" y="19"/>
                  <a:pt x="19" y="16"/>
                  <a:pt x="19" y="12"/>
                </a:cubicBezTo>
                <a:cubicBezTo>
                  <a:pt x="19" y="8"/>
                  <a:pt x="15" y="5"/>
                  <a:pt x="12"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5" name="Freeform 1392">
            <a:extLst>
              <a:ext uri="{FF2B5EF4-FFF2-40B4-BE49-F238E27FC236}">
                <a16:creationId xmlns:a16="http://schemas.microsoft.com/office/drawing/2014/main" id="{B89D9148-9B96-4EA5-816D-83623BC4A62D}"/>
              </a:ext>
            </a:extLst>
          </p:cNvPr>
          <p:cNvSpPr>
            <a:spLocks/>
          </p:cNvSpPr>
          <p:nvPr/>
        </p:nvSpPr>
        <p:spPr bwMode="auto">
          <a:xfrm rot="7915163">
            <a:off x="276892" y="2425716"/>
            <a:ext cx="265022" cy="261179"/>
          </a:xfrm>
          <a:custGeom>
            <a:avLst/>
            <a:gdLst>
              <a:gd name="T0" fmla="*/ 80 w 91"/>
              <a:gd name="T1" fmla="*/ 40 h 91"/>
              <a:gd name="T2" fmla="*/ 88 w 91"/>
              <a:gd name="T3" fmla="*/ 30 h 91"/>
              <a:gd name="T4" fmla="*/ 75 w 91"/>
              <a:gd name="T5" fmla="*/ 27 h 91"/>
              <a:gd name="T6" fmla="*/ 79 w 91"/>
              <a:gd name="T7" fmla="*/ 15 h 91"/>
              <a:gd name="T8" fmla="*/ 66 w 91"/>
              <a:gd name="T9" fmla="*/ 17 h 91"/>
              <a:gd name="T10" fmla="*/ 64 w 91"/>
              <a:gd name="T11" fmla="*/ 5 h 91"/>
              <a:gd name="T12" fmla="*/ 53 w 91"/>
              <a:gd name="T13" fmla="*/ 12 h 91"/>
              <a:gd name="T14" fmla="*/ 47 w 91"/>
              <a:gd name="T15" fmla="*/ 1 h 91"/>
              <a:gd name="T16" fmla="*/ 39 w 91"/>
              <a:gd name="T17" fmla="*/ 11 h 91"/>
              <a:gd name="T18" fmla="*/ 30 w 91"/>
              <a:gd name="T19" fmla="*/ 4 h 91"/>
              <a:gd name="T20" fmla="*/ 27 w 91"/>
              <a:gd name="T21" fmla="*/ 16 h 91"/>
              <a:gd name="T22" fmla="*/ 15 w 91"/>
              <a:gd name="T23" fmla="*/ 12 h 91"/>
              <a:gd name="T24" fmla="*/ 18 w 91"/>
              <a:gd name="T25" fmla="*/ 25 h 91"/>
              <a:gd name="T26" fmla="*/ 5 w 91"/>
              <a:gd name="T27" fmla="*/ 27 h 91"/>
              <a:gd name="T28" fmla="*/ 12 w 91"/>
              <a:gd name="T29" fmla="*/ 37 h 91"/>
              <a:gd name="T30" fmla="*/ 1 w 91"/>
              <a:gd name="T31" fmla="*/ 44 h 91"/>
              <a:gd name="T32" fmla="*/ 11 w 91"/>
              <a:gd name="T33" fmla="*/ 51 h 91"/>
              <a:gd name="T34" fmla="*/ 3 w 91"/>
              <a:gd name="T35" fmla="*/ 61 h 91"/>
              <a:gd name="T36" fmla="*/ 16 w 91"/>
              <a:gd name="T37" fmla="*/ 64 h 91"/>
              <a:gd name="T38" fmla="*/ 13 w 91"/>
              <a:gd name="T39" fmla="*/ 76 h 91"/>
              <a:gd name="T40" fmla="*/ 25 w 91"/>
              <a:gd name="T41" fmla="*/ 74 h 91"/>
              <a:gd name="T42" fmla="*/ 27 w 91"/>
              <a:gd name="T43" fmla="*/ 87 h 91"/>
              <a:gd name="T44" fmla="*/ 37 w 91"/>
              <a:gd name="T45" fmla="*/ 80 h 91"/>
              <a:gd name="T46" fmla="*/ 45 w 91"/>
              <a:gd name="T47" fmla="*/ 91 h 91"/>
              <a:gd name="T48" fmla="*/ 51 w 91"/>
              <a:gd name="T49" fmla="*/ 80 h 91"/>
              <a:gd name="T50" fmla="*/ 62 w 91"/>
              <a:gd name="T51" fmla="*/ 87 h 91"/>
              <a:gd name="T52" fmla="*/ 64 w 91"/>
              <a:gd name="T53" fmla="*/ 76 h 91"/>
              <a:gd name="T54" fmla="*/ 75 w 91"/>
              <a:gd name="T55" fmla="*/ 79 h 91"/>
              <a:gd name="T56" fmla="*/ 74 w 91"/>
              <a:gd name="T57" fmla="*/ 66 h 91"/>
              <a:gd name="T58" fmla="*/ 86 w 91"/>
              <a:gd name="T59" fmla="*/ 65 h 91"/>
              <a:gd name="T60" fmla="*/ 80 w 91"/>
              <a:gd name="T61" fmla="*/ 54 h 91"/>
              <a:gd name="T62" fmla="*/ 90 w 91"/>
              <a:gd name="T6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91">
                <a:moveTo>
                  <a:pt x="87" y="44"/>
                </a:moveTo>
                <a:cubicBezTo>
                  <a:pt x="84" y="43"/>
                  <a:pt x="81" y="42"/>
                  <a:pt x="80" y="40"/>
                </a:cubicBezTo>
                <a:cubicBezTo>
                  <a:pt x="81" y="39"/>
                  <a:pt x="83" y="36"/>
                  <a:pt x="86" y="35"/>
                </a:cubicBezTo>
                <a:cubicBezTo>
                  <a:pt x="89" y="33"/>
                  <a:pt x="88" y="32"/>
                  <a:pt x="88" y="30"/>
                </a:cubicBezTo>
                <a:cubicBezTo>
                  <a:pt x="87" y="29"/>
                  <a:pt x="87" y="27"/>
                  <a:pt x="83" y="28"/>
                </a:cubicBezTo>
                <a:cubicBezTo>
                  <a:pt x="80" y="29"/>
                  <a:pt x="76" y="28"/>
                  <a:pt x="75" y="27"/>
                </a:cubicBezTo>
                <a:cubicBezTo>
                  <a:pt x="75" y="26"/>
                  <a:pt x="77" y="23"/>
                  <a:pt x="78" y="21"/>
                </a:cubicBezTo>
                <a:cubicBezTo>
                  <a:pt x="81" y="18"/>
                  <a:pt x="80" y="16"/>
                  <a:pt x="79" y="15"/>
                </a:cubicBezTo>
                <a:cubicBezTo>
                  <a:pt x="78" y="14"/>
                  <a:pt x="77" y="13"/>
                  <a:pt x="74" y="15"/>
                </a:cubicBezTo>
                <a:cubicBezTo>
                  <a:pt x="71" y="17"/>
                  <a:pt x="67" y="18"/>
                  <a:pt x="66" y="17"/>
                </a:cubicBezTo>
                <a:cubicBezTo>
                  <a:pt x="65" y="16"/>
                  <a:pt x="65" y="12"/>
                  <a:pt x="66" y="10"/>
                </a:cubicBezTo>
                <a:cubicBezTo>
                  <a:pt x="67" y="6"/>
                  <a:pt x="66" y="6"/>
                  <a:pt x="64" y="5"/>
                </a:cubicBezTo>
                <a:cubicBezTo>
                  <a:pt x="63" y="4"/>
                  <a:pt x="62" y="3"/>
                  <a:pt x="59" y="7"/>
                </a:cubicBezTo>
                <a:cubicBezTo>
                  <a:pt x="58" y="9"/>
                  <a:pt x="55" y="12"/>
                  <a:pt x="53" y="12"/>
                </a:cubicBezTo>
                <a:cubicBezTo>
                  <a:pt x="52" y="10"/>
                  <a:pt x="51" y="7"/>
                  <a:pt x="51" y="5"/>
                </a:cubicBezTo>
                <a:cubicBezTo>
                  <a:pt x="50" y="1"/>
                  <a:pt x="49" y="1"/>
                  <a:pt x="47" y="1"/>
                </a:cubicBezTo>
                <a:cubicBezTo>
                  <a:pt x="46" y="1"/>
                  <a:pt x="44" y="0"/>
                  <a:pt x="43" y="4"/>
                </a:cubicBezTo>
                <a:cubicBezTo>
                  <a:pt x="43" y="7"/>
                  <a:pt x="41" y="11"/>
                  <a:pt x="39" y="11"/>
                </a:cubicBezTo>
                <a:cubicBezTo>
                  <a:pt x="38" y="11"/>
                  <a:pt x="36" y="8"/>
                  <a:pt x="34" y="6"/>
                </a:cubicBezTo>
                <a:cubicBezTo>
                  <a:pt x="33" y="2"/>
                  <a:pt x="31" y="3"/>
                  <a:pt x="30" y="4"/>
                </a:cubicBezTo>
                <a:cubicBezTo>
                  <a:pt x="28" y="4"/>
                  <a:pt x="27" y="5"/>
                  <a:pt x="27" y="8"/>
                </a:cubicBezTo>
                <a:cubicBezTo>
                  <a:pt x="28" y="11"/>
                  <a:pt x="28" y="14"/>
                  <a:pt x="27" y="16"/>
                </a:cubicBezTo>
                <a:cubicBezTo>
                  <a:pt x="25" y="15"/>
                  <a:pt x="23" y="14"/>
                  <a:pt x="21" y="12"/>
                </a:cubicBezTo>
                <a:cubicBezTo>
                  <a:pt x="18" y="10"/>
                  <a:pt x="17" y="11"/>
                  <a:pt x="15" y="12"/>
                </a:cubicBezTo>
                <a:cubicBezTo>
                  <a:pt x="14" y="13"/>
                  <a:pt x="13" y="14"/>
                  <a:pt x="15" y="18"/>
                </a:cubicBezTo>
                <a:cubicBezTo>
                  <a:pt x="17" y="20"/>
                  <a:pt x="18" y="23"/>
                  <a:pt x="18" y="25"/>
                </a:cubicBezTo>
                <a:cubicBezTo>
                  <a:pt x="17" y="26"/>
                  <a:pt x="13" y="26"/>
                  <a:pt x="10" y="25"/>
                </a:cubicBezTo>
                <a:cubicBezTo>
                  <a:pt x="6" y="24"/>
                  <a:pt x="6" y="25"/>
                  <a:pt x="5" y="27"/>
                </a:cubicBezTo>
                <a:cubicBezTo>
                  <a:pt x="4" y="28"/>
                  <a:pt x="3" y="29"/>
                  <a:pt x="7" y="32"/>
                </a:cubicBezTo>
                <a:cubicBezTo>
                  <a:pt x="9" y="33"/>
                  <a:pt x="11" y="35"/>
                  <a:pt x="12" y="37"/>
                </a:cubicBezTo>
                <a:cubicBezTo>
                  <a:pt x="11" y="38"/>
                  <a:pt x="8" y="40"/>
                  <a:pt x="4" y="40"/>
                </a:cubicBezTo>
                <a:cubicBezTo>
                  <a:pt x="1" y="41"/>
                  <a:pt x="1" y="42"/>
                  <a:pt x="1" y="44"/>
                </a:cubicBezTo>
                <a:cubicBezTo>
                  <a:pt x="1" y="45"/>
                  <a:pt x="0" y="47"/>
                  <a:pt x="4" y="48"/>
                </a:cubicBezTo>
                <a:cubicBezTo>
                  <a:pt x="7" y="48"/>
                  <a:pt x="10" y="49"/>
                  <a:pt x="11" y="51"/>
                </a:cubicBezTo>
                <a:cubicBezTo>
                  <a:pt x="11" y="52"/>
                  <a:pt x="8" y="55"/>
                  <a:pt x="5" y="57"/>
                </a:cubicBezTo>
                <a:cubicBezTo>
                  <a:pt x="2" y="58"/>
                  <a:pt x="3" y="60"/>
                  <a:pt x="3" y="61"/>
                </a:cubicBezTo>
                <a:cubicBezTo>
                  <a:pt x="4" y="63"/>
                  <a:pt x="4" y="64"/>
                  <a:pt x="8" y="64"/>
                </a:cubicBezTo>
                <a:cubicBezTo>
                  <a:pt x="11" y="63"/>
                  <a:pt x="14" y="63"/>
                  <a:pt x="16" y="64"/>
                </a:cubicBezTo>
                <a:cubicBezTo>
                  <a:pt x="16" y="65"/>
                  <a:pt x="15" y="69"/>
                  <a:pt x="13" y="71"/>
                </a:cubicBezTo>
                <a:cubicBezTo>
                  <a:pt x="10" y="74"/>
                  <a:pt x="12" y="75"/>
                  <a:pt x="13" y="76"/>
                </a:cubicBezTo>
                <a:cubicBezTo>
                  <a:pt x="14" y="77"/>
                  <a:pt x="15" y="79"/>
                  <a:pt x="18" y="77"/>
                </a:cubicBezTo>
                <a:cubicBezTo>
                  <a:pt x="20" y="75"/>
                  <a:pt x="23" y="74"/>
                  <a:pt x="25" y="74"/>
                </a:cubicBezTo>
                <a:cubicBezTo>
                  <a:pt x="26" y="75"/>
                  <a:pt x="26" y="79"/>
                  <a:pt x="25" y="82"/>
                </a:cubicBezTo>
                <a:cubicBezTo>
                  <a:pt x="24" y="86"/>
                  <a:pt x="26" y="86"/>
                  <a:pt x="27" y="87"/>
                </a:cubicBezTo>
                <a:cubicBezTo>
                  <a:pt x="29" y="87"/>
                  <a:pt x="30" y="88"/>
                  <a:pt x="32" y="85"/>
                </a:cubicBezTo>
                <a:cubicBezTo>
                  <a:pt x="34" y="83"/>
                  <a:pt x="36" y="80"/>
                  <a:pt x="37" y="80"/>
                </a:cubicBezTo>
                <a:cubicBezTo>
                  <a:pt x="39" y="80"/>
                  <a:pt x="40" y="84"/>
                  <a:pt x="41" y="87"/>
                </a:cubicBezTo>
                <a:cubicBezTo>
                  <a:pt x="41" y="91"/>
                  <a:pt x="43" y="91"/>
                  <a:pt x="45" y="91"/>
                </a:cubicBezTo>
                <a:cubicBezTo>
                  <a:pt x="46" y="91"/>
                  <a:pt x="48" y="91"/>
                  <a:pt x="48" y="87"/>
                </a:cubicBezTo>
                <a:cubicBezTo>
                  <a:pt x="49" y="84"/>
                  <a:pt x="50" y="81"/>
                  <a:pt x="51" y="80"/>
                </a:cubicBezTo>
                <a:cubicBezTo>
                  <a:pt x="53" y="80"/>
                  <a:pt x="56" y="83"/>
                  <a:pt x="57" y="86"/>
                </a:cubicBezTo>
                <a:cubicBezTo>
                  <a:pt x="59" y="89"/>
                  <a:pt x="61" y="88"/>
                  <a:pt x="62" y="87"/>
                </a:cubicBezTo>
                <a:cubicBezTo>
                  <a:pt x="63" y="87"/>
                  <a:pt x="65" y="86"/>
                  <a:pt x="64" y="83"/>
                </a:cubicBezTo>
                <a:cubicBezTo>
                  <a:pt x="64" y="80"/>
                  <a:pt x="63" y="77"/>
                  <a:pt x="64" y="76"/>
                </a:cubicBezTo>
                <a:cubicBezTo>
                  <a:pt x="66" y="76"/>
                  <a:pt x="68" y="77"/>
                  <a:pt x="70" y="79"/>
                </a:cubicBezTo>
                <a:cubicBezTo>
                  <a:pt x="73" y="82"/>
                  <a:pt x="74" y="80"/>
                  <a:pt x="75" y="79"/>
                </a:cubicBezTo>
                <a:cubicBezTo>
                  <a:pt x="76" y="78"/>
                  <a:pt x="78" y="77"/>
                  <a:pt x="76" y="74"/>
                </a:cubicBezTo>
                <a:cubicBezTo>
                  <a:pt x="74" y="72"/>
                  <a:pt x="73" y="68"/>
                  <a:pt x="74" y="66"/>
                </a:cubicBezTo>
                <a:cubicBezTo>
                  <a:pt x="75" y="66"/>
                  <a:pt x="79" y="66"/>
                  <a:pt x="81" y="67"/>
                </a:cubicBezTo>
                <a:cubicBezTo>
                  <a:pt x="85" y="68"/>
                  <a:pt x="85" y="66"/>
                  <a:pt x="86" y="65"/>
                </a:cubicBezTo>
                <a:cubicBezTo>
                  <a:pt x="87" y="64"/>
                  <a:pt x="88" y="62"/>
                  <a:pt x="84" y="60"/>
                </a:cubicBezTo>
                <a:cubicBezTo>
                  <a:pt x="82" y="58"/>
                  <a:pt x="79" y="56"/>
                  <a:pt x="80" y="54"/>
                </a:cubicBezTo>
                <a:cubicBezTo>
                  <a:pt x="81" y="53"/>
                  <a:pt x="84" y="52"/>
                  <a:pt x="87" y="52"/>
                </a:cubicBezTo>
                <a:cubicBezTo>
                  <a:pt x="90" y="51"/>
                  <a:pt x="90" y="49"/>
                  <a:pt x="90" y="48"/>
                </a:cubicBezTo>
                <a:cubicBezTo>
                  <a:pt x="91" y="47"/>
                  <a:pt x="91" y="45"/>
                  <a:pt x="87" y="4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6" name="Freeform 1393">
            <a:extLst>
              <a:ext uri="{FF2B5EF4-FFF2-40B4-BE49-F238E27FC236}">
                <a16:creationId xmlns:a16="http://schemas.microsoft.com/office/drawing/2014/main" id="{FB437C23-D3FF-425D-A764-A4BE1E9EE410}"/>
              </a:ext>
            </a:extLst>
          </p:cNvPr>
          <p:cNvSpPr>
            <a:spLocks noEditPoints="1"/>
          </p:cNvSpPr>
          <p:nvPr/>
        </p:nvSpPr>
        <p:spPr bwMode="auto">
          <a:xfrm rot="7915163">
            <a:off x="494247" y="2144964"/>
            <a:ext cx="449384" cy="449384"/>
          </a:xfrm>
          <a:custGeom>
            <a:avLst/>
            <a:gdLst>
              <a:gd name="T0" fmla="*/ 33 w 156"/>
              <a:gd name="T1" fmla="*/ 134 h 156"/>
              <a:gd name="T2" fmla="*/ 46 w 156"/>
              <a:gd name="T3" fmla="*/ 142 h 156"/>
              <a:gd name="T4" fmla="*/ 58 w 156"/>
              <a:gd name="T5" fmla="*/ 147 h 156"/>
              <a:gd name="T6" fmla="*/ 74 w 156"/>
              <a:gd name="T7" fmla="*/ 149 h 156"/>
              <a:gd name="T8" fmla="*/ 86 w 156"/>
              <a:gd name="T9" fmla="*/ 149 h 156"/>
              <a:gd name="T10" fmla="*/ 102 w 156"/>
              <a:gd name="T11" fmla="*/ 145 h 156"/>
              <a:gd name="T12" fmla="*/ 113 w 156"/>
              <a:gd name="T13" fmla="*/ 140 h 156"/>
              <a:gd name="T14" fmla="*/ 123 w 156"/>
              <a:gd name="T15" fmla="*/ 133 h 156"/>
              <a:gd name="T16" fmla="*/ 132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4 w 156"/>
              <a:gd name="T43" fmla="*/ 10 h 156"/>
              <a:gd name="T44" fmla="*/ 43 w 156"/>
              <a:gd name="T45" fmla="*/ 15 h 156"/>
              <a:gd name="T46" fmla="*/ 31 w 156"/>
              <a:gd name="T47" fmla="*/ 23 h 156"/>
              <a:gd name="T48" fmla="*/ 22 w 156"/>
              <a:gd name="T49" fmla="*/ 32 h 156"/>
              <a:gd name="T50" fmla="*/ 14 w 156"/>
              <a:gd name="T51" fmla="*/ 45 h 156"/>
              <a:gd name="T52" fmla="*/ 9 w 156"/>
              <a:gd name="T53" fmla="*/ 57 h 156"/>
              <a:gd name="T54" fmla="*/ 6 w 156"/>
              <a:gd name="T55" fmla="*/ 73 h 156"/>
              <a:gd name="T56" fmla="*/ 7 w 156"/>
              <a:gd name="T57" fmla="*/ 85 h 156"/>
              <a:gd name="T58" fmla="*/ 10 w 156"/>
              <a:gd name="T59" fmla="*/ 101 h 156"/>
              <a:gd name="T60" fmla="*/ 15 w 156"/>
              <a:gd name="T61" fmla="*/ 112 h 156"/>
              <a:gd name="T62" fmla="*/ 24 w 156"/>
              <a:gd name="T63" fmla="*/ 125 h 156"/>
              <a:gd name="T64" fmla="*/ 44 w 156"/>
              <a:gd name="T65" fmla="*/ 112 h 156"/>
              <a:gd name="T66" fmla="*/ 111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8"/>
                  <a:pt x="45" y="128"/>
                </a:cubicBezTo>
                <a:cubicBezTo>
                  <a:pt x="47" y="130"/>
                  <a:pt x="47" y="137"/>
                  <a:pt x="46" y="142"/>
                </a:cubicBezTo>
                <a:cubicBezTo>
                  <a:pt x="45" y="149"/>
                  <a:pt x="48" y="149"/>
                  <a:pt x="50" y="150"/>
                </a:cubicBezTo>
                <a:cubicBezTo>
                  <a:pt x="52" y="151"/>
                  <a:pt x="55" y="153"/>
                  <a:pt x="58" y="147"/>
                </a:cubicBezTo>
                <a:cubicBezTo>
                  <a:pt x="61" y="143"/>
                  <a:pt x="64" y="138"/>
                  <a:pt x="67" y="137"/>
                </a:cubicBezTo>
                <a:cubicBezTo>
                  <a:pt x="70" y="138"/>
                  <a:pt x="72" y="144"/>
                  <a:pt x="74" y="149"/>
                </a:cubicBezTo>
                <a:cubicBezTo>
                  <a:pt x="75" y="156"/>
                  <a:pt x="78" y="155"/>
                  <a:pt x="80" y="155"/>
                </a:cubicBezTo>
                <a:cubicBezTo>
                  <a:pt x="83" y="155"/>
                  <a:pt x="86" y="155"/>
                  <a:pt x="86" y="149"/>
                </a:cubicBezTo>
                <a:cubicBezTo>
                  <a:pt x="87" y="144"/>
                  <a:pt x="89" y="139"/>
                  <a:pt x="91" y="137"/>
                </a:cubicBezTo>
                <a:cubicBezTo>
                  <a:pt x="94" y="137"/>
                  <a:pt x="99" y="141"/>
                  <a:pt x="102" y="145"/>
                </a:cubicBezTo>
                <a:cubicBezTo>
                  <a:pt x="105" y="151"/>
                  <a:pt x="108" y="149"/>
                  <a:pt x="110" y="148"/>
                </a:cubicBezTo>
                <a:cubicBezTo>
                  <a:pt x="112" y="147"/>
                  <a:pt x="115" y="146"/>
                  <a:pt x="113" y="140"/>
                </a:cubicBezTo>
                <a:cubicBezTo>
                  <a:pt x="112" y="136"/>
                  <a:pt x="111" y="131"/>
                  <a:pt x="112" y="128"/>
                </a:cubicBezTo>
                <a:cubicBezTo>
                  <a:pt x="115" y="128"/>
                  <a:pt x="120" y="130"/>
                  <a:pt x="123" y="133"/>
                </a:cubicBezTo>
                <a:cubicBezTo>
                  <a:pt x="128" y="137"/>
                  <a:pt x="130" y="135"/>
                  <a:pt x="132" y="133"/>
                </a:cubicBezTo>
                <a:cubicBezTo>
                  <a:pt x="134" y="131"/>
                  <a:pt x="136" y="129"/>
                  <a:pt x="132" y="124"/>
                </a:cubicBezTo>
                <a:cubicBezTo>
                  <a:pt x="129" y="119"/>
                  <a:pt x="127" y="113"/>
                  <a:pt x="128" y="111"/>
                </a:cubicBezTo>
                <a:cubicBezTo>
                  <a:pt x="131" y="110"/>
                  <a:pt x="136" y="110"/>
                  <a:pt x="141" y="111"/>
                </a:cubicBezTo>
                <a:cubicBezTo>
                  <a:pt x="147" y="113"/>
                  <a:pt x="148" y="110"/>
                  <a:pt x="149" y="107"/>
                </a:cubicBezTo>
                <a:cubicBezTo>
                  <a:pt x="150" y="105"/>
                  <a:pt x="152" y="103"/>
                  <a:pt x="146" y="99"/>
                </a:cubicBezTo>
                <a:cubicBezTo>
                  <a:pt x="142" y="96"/>
                  <a:pt x="137" y="92"/>
                  <a:pt x="137" y="89"/>
                </a:cubicBezTo>
                <a:cubicBezTo>
                  <a:pt x="139" y="87"/>
                  <a:pt x="144" y="85"/>
                  <a:pt x="149" y="84"/>
                </a:cubicBezTo>
                <a:cubicBezTo>
                  <a:pt x="155" y="83"/>
                  <a:pt x="155" y="80"/>
                  <a:pt x="155" y="77"/>
                </a:cubicBezTo>
                <a:cubicBezTo>
                  <a:pt x="155" y="75"/>
                  <a:pt x="156" y="72"/>
                  <a:pt x="149" y="71"/>
                </a:cubicBezTo>
                <a:cubicBezTo>
                  <a:pt x="144" y="70"/>
                  <a:pt x="137" y="67"/>
                  <a:pt x="137" y="65"/>
                </a:cubicBezTo>
                <a:cubicBezTo>
                  <a:pt x="138" y="62"/>
                  <a:pt x="142" y="58"/>
                  <a:pt x="146" y="56"/>
                </a:cubicBezTo>
                <a:cubicBezTo>
                  <a:pt x="151" y="53"/>
                  <a:pt x="150" y="50"/>
                  <a:pt x="149" y="48"/>
                </a:cubicBezTo>
                <a:cubicBezTo>
                  <a:pt x="148" y="45"/>
                  <a:pt x="147" y="42"/>
                  <a:pt x="141" y="44"/>
                </a:cubicBezTo>
                <a:cubicBezTo>
                  <a:pt x="135" y="45"/>
                  <a:pt x="129" y="45"/>
                  <a:pt x="127" y="43"/>
                </a:cubicBezTo>
                <a:cubicBezTo>
                  <a:pt x="127" y="40"/>
                  <a:pt x="129" y="35"/>
                  <a:pt x="132" y="31"/>
                </a:cubicBezTo>
                <a:cubicBezTo>
                  <a:pt x="136" y="26"/>
                  <a:pt x="133" y="24"/>
                  <a:pt x="132" y="22"/>
                </a:cubicBezTo>
                <a:cubicBezTo>
                  <a:pt x="130" y="21"/>
                  <a:pt x="128" y="18"/>
                  <a:pt x="123" y="22"/>
                </a:cubicBezTo>
                <a:cubicBezTo>
                  <a:pt x="118" y="25"/>
                  <a:pt x="112" y="28"/>
                  <a:pt x="110" y="27"/>
                </a:cubicBezTo>
                <a:cubicBezTo>
                  <a:pt x="108" y="24"/>
                  <a:pt x="108" y="19"/>
                  <a:pt x="110" y="14"/>
                </a:cubicBezTo>
                <a:cubicBezTo>
                  <a:pt x="111" y="7"/>
                  <a:pt x="108" y="7"/>
                  <a:pt x="106" y="6"/>
                </a:cubicBezTo>
                <a:cubicBezTo>
                  <a:pt x="104" y="5"/>
                  <a:pt x="101" y="3"/>
                  <a:pt x="98" y="9"/>
                </a:cubicBezTo>
                <a:cubicBezTo>
                  <a:pt x="95" y="14"/>
                  <a:pt x="90" y="18"/>
                  <a:pt x="87" y="18"/>
                </a:cubicBezTo>
                <a:cubicBezTo>
                  <a:pt x="85" y="16"/>
                  <a:pt x="83" y="11"/>
                  <a:pt x="82" y="7"/>
                </a:cubicBezTo>
                <a:cubicBezTo>
                  <a:pt x="81" y="0"/>
                  <a:pt x="78" y="0"/>
                  <a:pt x="76" y="0"/>
                </a:cubicBezTo>
                <a:cubicBezTo>
                  <a:pt x="73" y="0"/>
                  <a:pt x="70" y="0"/>
                  <a:pt x="70" y="7"/>
                </a:cubicBezTo>
                <a:cubicBezTo>
                  <a:pt x="69" y="12"/>
                  <a:pt x="66" y="18"/>
                  <a:pt x="64" y="19"/>
                </a:cubicBezTo>
                <a:cubicBezTo>
                  <a:pt x="61" y="18"/>
                  <a:pt x="57" y="14"/>
                  <a:pt x="54"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2" y="23"/>
                </a:cubicBezTo>
                <a:cubicBezTo>
                  <a:pt x="21" y="25"/>
                  <a:pt x="18" y="27"/>
                  <a:pt x="22" y="32"/>
                </a:cubicBezTo>
                <a:cubicBezTo>
                  <a:pt x="25" y="36"/>
                  <a:pt x="28" y="41"/>
                  <a:pt x="28" y="44"/>
                </a:cubicBezTo>
                <a:cubicBezTo>
                  <a:pt x="26" y="46"/>
                  <a:pt x="19" y="46"/>
                  <a:pt x="14" y="45"/>
                </a:cubicBezTo>
                <a:cubicBezTo>
                  <a:pt x="7" y="44"/>
                  <a:pt x="7" y="47"/>
                  <a:pt x="6" y="49"/>
                </a:cubicBezTo>
                <a:cubicBezTo>
                  <a:pt x="5" y="51"/>
                  <a:pt x="3" y="54"/>
                  <a:pt x="9" y="57"/>
                </a:cubicBezTo>
                <a:cubicBezTo>
                  <a:pt x="13" y="60"/>
                  <a:pt x="17" y="63"/>
                  <a:pt x="18" y="66"/>
                </a:cubicBezTo>
                <a:cubicBezTo>
                  <a:pt x="18" y="69"/>
                  <a:pt x="12" y="72"/>
                  <a:pt x="6" y="73"/>
                </a:cubicBezTo>
                <a:cubicBezTo>
                  <a:pt x="0" y="74"/>
                  <a:pt x="0" y="77"/>
                  <a:pt x="0" y="79"/>
                </a:cubicBezTo>
                <a:cubicBezTo>
                  <a:pt x="0" y="82"/>
                  <a:pt x="0" y="85"/>
                  <a:pt x="7" y="85"/>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4"/>
                  <a:pt x="27" y="121"/>
                  <a:pt x="24" y="125"/>
                </a:cubicBezTo>
                <a:cubicBezTo>
                  <a:pt x="20" y="131"/>
                  <a:pt x="22" y="132"/>
                  <a:pt x="24" y="134"/>
                </a:cubicBezTo>
                <a:close/>
                <a:moveTo>
                  <a:pt x="44" y="112"/>
                </a:moveTo>
                <a:cubicBezTo>
                  <a:pt x="25" y="93"/>
                  <a:pt x="25" y="63"/>
                  <a:pt x="44" y="44"/>
                </a:cubicBezTo>
                <a:cubicBezTo>
                  <a:pt x="62" y="25"/>
                  <a:pt x="93" y="25"/>
                  <a:pt x="111" y="44"/>
                </a:cubicBezTo>
                <a:cubicBezTo>
                  <a:pt x="130" y="63"/>
                  <a:pt x="130" y="93"/>
                  <a:pt x="112" y="112"/>
                </a:cubicBezTo>
                <a:cubicBezTo>
                  <a:pt x="93" y="130"/>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7" name="Freeform 1394">
            <a:extLst>
              <a:ext uri="{FF2B5EF4-FFF2-40B4-BE49-F238E27FC236}">
                <a16:creationId xmlns:a16="http://schemas.microsoft.com/office/drawing/2014/main" id="{4138D79F-3D8B-48BE-A92C-72D2032BB834}"/>
              </a:ext>
            </a:extLst>
          </p:cNvPr>
          <p:cNvSpPr>
            <a:spLocks noEditPoints="1"/>
          </p:cNvSpPr>
          <p:nvPr/>
        </p:nvSpPr>
        <p:spPr bwMode="auto">
          <a:xfrm rot="7915163">
            <a:off x="6900908" y="784394"/>
            <a:ext cx="449384" cy="445542"/>
          </a:xfrm>
          <a:custGeom>
            <a:avLst/>
            <a:gdLst>
              <a:gd name="T0" fmla="*/ 34 w 156"/>
              <a:gd name="T1" fmla="*/ 134 h 156"/>
              <a:gd name="T2" fmla="*/ 47 w 156"/>
              <a:gd name="T3" fmla="*/ 142 h 156"/>
              <a:gd name="T4" fmla="*/ 59 w 156"/>
              <a:gd name="T5" fmla="*/ 147 h 156"/>
              <a:gd name="T6" fmla="*/ 74 w 156"/>
              <a:gd name="T7" fmla="*/ 149 h 156"/>
              <a:gd name="T8" fmla="*/ 87 w 156"/>
              <a:gd name="T9" fmla="*/ 149 h 156"/>
              <a:gd name="T10" fmla="*/ 102 w 156"/>
              <a:gd name="T11" fmla="*/ 145 h 156"/>
              <a:gd name="T12" fmla="*/ 114 w 156"/>
              <a:gd name="T13" fmla="*/ 140 h 156"/>
              <a:gd name="T14" fmla="*/ 124 w 156"/>
              <a:gd name="T15" fmla="*/ 133 h 156"/>
              <a:gd name="T16" fmla="*/ 133 w 156"/>
              <a:gd name="T17" fmla="*/ 124 h 156"/>
              <a:gd name="T18" fmla="*/ 141 w 156"/>
              <a:gd name="T19" fmla="*/ 111 h 156"/>
              <a:gd name="T20" fmla="*/ 147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3 w 156"/>
              <a:gd name="T39" fmla="*/ 7 h 156"/>
              <a:gd name="T40" fmla="*/ 70 w 156"/>
              <a:gd name="T41" fmla="*/ 7 h 156"/>
              <a:gd name="T42" fmla="*/ 55 w 156"/>
              <a:gd name="T43" fmla="*/ 10 h 156"/>
              <a:gd name="T44" fmla="*/ 43 w 156"/>
              <a:gd name="T45" fmla="*/ 15 h 156"/>
              <a:gd name="T46" fmla="*/ 32 w 156"/>
              <a:gd name="T47" fmla="*/ 23 h 156"/>
              <a:gd name="T48" fmla="*/ 23 w 156"/>
              <a:gd name="T49" fmla="*/ 32 h 156"/>
              <a:gd name="T50" fmla="*/ 14 w 156"/>
              <a:gd name="T51" fmla="*/ 45 h 156"/>
              <a:gd name="T52" fmla="*/ 10 w 156"/>
              <a:gd name="T53" fmla="*/ 57 h 156"/>
              <a:gd name="T54" fmla="*/ 7 w 156"/>
              <a:gd name="T55" fmla="*/ 73 h 156"/>
              <a:gd name="T56" fmla="*/ 7 w 156"/>
              <a:gd name="T57" fmla="*/ 85 h 156"/>
              <a:gd name="T58" fmla="*/ 10 w 156"/>
              <a:gd name="T59" fmla="*/ 101 h 156"/>
              <a:gd name="T60" fmla="*/ 16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5" y="134"/>
                </a:moveTo>
                <a:cubicBezTo>
                  <a:pt x="27" y="136"/>
                  <a:pt x="29" y="138"/>
                  <a:pt x="34" y="134"/>
                </a:cubicBezTo>
                <a:cubicBezTo>
                  <a:pt x="37" y="131"/>
                  <a:pt x="42" y="128"/>
                  <a:pt x="45" y="128"/>
                </a:cubicBezTo>
                <a:cubicBezTo>
                  <a:pt x="47" y="130"/>
                  <a:pt x="48" y="137"/>
                  <a:pt x="47" y="142"/>
                </a:cubicBezTo>
                <a:cubicBezTo>
                  <a:pt x="45" y="149"/>
                  <a:pt x="48" y="149"/>
                  <a:pt x="51" y="150"/>
                </a:cubicBezTo>
                <a:cubicBezTo>
                  <a:pt x="53" y="151"/>
                  <a:pt x="56" y="153"/>
                  <a:pt x="59" y="147"/>
                </a:cubicBezTo>
                <a:cubicBezTo>
                  <a:pt x="61" y="143"/>
                  <a:pt x="65" y="138"/>
                  <a:pt x="67" y="137"/>
                </a:cubicBezTo>
                <a:cubicBezTo>
                  <a:pt x="70" y="138"/>
                  <a:pt x="73" y="144"/>
                  <a:pt x="74" y="149"/>
                </a:cubicBezTo>
                <a:cubicBezTo>
                  <a:pt x="75" y="156"/>
                  <a:pt x="78" y="155"/>
                  <a:pt x="81" y="155"/>
                </a:cubicBezTo>
                <a:cubicBezTo>
                  <a:pt x="83" y="155"/>
                  <a:pt x="86" y="155"/>
                  <a:pt x="87" y="149"/>
                </a:cubicBezTo>
                <a:cubicBezTo>
                  <a:pt x="87" y="144"/>
                  <a:pt x="89" y="139"/>
                  <a:pt x="91" y="137"/>
                </a:cubicBezTo>
                <a:cubicBezTo>
                  <a:pt x="94" y="137"/>
                  <a:pt x="99" y="141"/>
                  <a:pt x="102" y="145"/>
                </a:cubicBezTo>
                <a:cubicBezTo>
                  <a:pt x="106" y="151"/>
                  <a:pt x="108" y="149"/>
                  <a:pt x="111" y="148"/>
                </a:cubicBezTo>
                <a:cubicBezTo>
                  <a:pt x="113" y="147"/>
                  <a:pt x="116" y="146"/>
                  <a:pt x="114" y="140"/>
                </a:cubicBezTo>
                <a:cubicBezTo>
                  <a:pt x="112" y="136"/>
                  <a:pt x="112" y="131"/>
                  <a:pt x="113" y="128"/>
                </a:cubicBezTo>
                <a:cubicBezTo>
                  <a:pt x="116" y="128"/>
                  <a:pt x="120" y="130"/>
                  <a:pt x="124" y="133"/>
                </a:cubicBezTo>
                <a:cubicBezTo>
                  <a:pt x="129" y="137"/>
                  <a:pt x="131" y="135"/>
                  <a:pt x="133" y="133"/>
                </a:cubicBezTo>
                <a:cubicBezTo>
                  <a:pt x="135" y="131"/>
                  <a:pt x="137" y="129"/>
                  <a:pt x="133" y="124"/>
                </a:cubicBezTo>
                <a:cubicBezTo>
                  <a:pt x="130" y="120"/>
                  <a:pt x="128" y="113"/>
                  <a:pt x="129" y="111"/>
                </a:cubicBezTo>
                <a:cubicBezTo>
                  <a:pt x="131" y="110"/>
                  <a:pt x="137" y="110"/>
                  <a:pt x="141" y="111"/>
                </a:cubicBezTo>
                <a:cubicBezTo>
                  <a:pt x="148" y="113"/>
                  <a:pt x="149" y="110"/>
                  <a:pt x="150" y="107"/>
                </a:cubicBezTo>
                <a:cubicBezTo>
                  <a:pt x="151" y="105"/>
                  <a:pt x="152" y="103"/>
                  <a:pt x="147" y="99"/>
                </a:cubicBezTo>
                <a:cubicBezTo>
                  <a:pt x="142" y="96"/>
                  <a:pt x="137" y="92"/>
                  <a:pt x="137" y="89"/>
                </a:cubicBezTo>
                <a:cubicBezTo>
                  <a:pt x="139" y="87"/>
                  <a:pt x="145" y="85"/>
                  <a:pt x="149" y="84"/>
                </a:cubicBezTo>
                <a:cubicBezTo>
                  <a:pt x="156" y="83"/>
                  <a:pt x="156" y="80"/>
                  <a:pt x="156" y="77"/>
                </a:cubicBezTo>
                <a:cubicBezTo>
                  <a:pt x="156" y="75"/>
                  <a:pt x="156" y="72"/>
                  <a:pt x="149" y="71"/>
                </a:cubicBezTo>
                <a:cubicBezTo>
                  <a:pt x="144" y="70"/>
                  <a:pt x="138" y="67"/>
                  <a:pt x="137" y="65"/>
                </a:cubicBezTo>
                <a:cubicBezTo>
                  <a:pt x="138" y="62"/>
                  <a:pt x="142" y="58"/>
                  <a:pt x="146" y="56"/>
                </a:cubicBezTo>
                <a:cubicBezTo>
                  <a:pt x="152" y="53"/>
                  <a:pt x="150" y="50"/>
                  <a:pt x="149" y="48"/>
                </a:cubicBezTo>
                <a:cubicBezTo>
                  <a:pt x="148" y="45"/>
                  <a:pt x="148" y="42"/>
                  <a:pt x="141" y="44"/>
                </a:cubicBezTo>
                <a:cubicBezTo>
                  <a:pt x="136" y="45"/>
                  <a:pt x="129" y="45"/>
                  <a:pt x="127" y="43"/>
                </a:cubicBezTo>
                <a:cubicBezTo>
                  <a:pt x="127" y="40"/>
                  <a:pt x="130" y="35"/>
                  <a:pt x="132" y="31"/>
                </a:cubicBezTo>
                <a:cubicBezTo>
                  <a:pt x="136" y="26"/>
                  <a:pt x="134" y="24"/>
                  <a:pt x="132" y="22"/>
                </a:cubicBezTo>
                <a:cubicBezTo>
                  <a:pt x="130" y="21"/>
                  <a:pt x="129" y="18"/>
                  <a:pt x="123" y="22"/>
                </a:cubicBezTo>
                <a:cubicBezTo>
                  <a:pt x="119" y="25"/>
                  <a:pt x="113" y="28"/>
                  <a:pt x="110" y="27"/>
                </a:cubicBezTo>
                <a:cubicBezTo>
                  <a:pt x="109" y="24"/>
                  <a:pt x="109" y="19"/>
                  <a:pt x="110" y="14"/>
                </a:cubicBezTo>
                <a:cubicBezTo>
                  <a:pt x="112" y="7"/>
                  <a:pt x="109" y="7"/>
                  <a:pt x="106" y="6"/>
                </a:cubicBezTo>
                <a:cubicBezTo>
                  <a:pt x="104" y="5"/>
                  <a:pt x="102" y="3"/>
                  <a:pt x="98" y="9"/>
                </a:cubicBezTo>
                <a:cubicBezTo>
                  <a:pt x="95" y="14"/>
                  <a:pt x="91" y="18"/>
                  <a:pt x="88" y="18"/>
                </a:cubicBezTo>
                <a:cubicBezTo>
                  <a:pt x="86" y="16"/>
                  <a:pt x="84" y="11"/>
                  <a:pt x="83" y="7"/>
                </a:cubicBezTo>
                <a:cubicBezTo>
                  <a:pt x="82" y="0"/>
                  <a:pt x="79" y="0"/>
                  <a:pt x="76" y="0"/>
                </a:cubicBezTo>
                <a:cubicBezTo>
                  <a:pt x="74" y="0"/>
                  <a:pt x="71" y="0"/>
                  <a:pt x="70" y="7"/>
                </a:cubicBezTo>
                <a:cubicBezTo>
                  <a:pt x="69" y="12"/>
                  <a:pt x="67" y="18"/>
                  <a:pt x="64" y="19"/>
                </a:cubicBezTo>
                <a:cubicBezTo>
                  <a:pt x="61" y="18"/>
                  <a:pt x="57" y="14"/>
                  <a:pt x="55" y="10"/>
                </a:cubicBezTo>
                <a:cubicBezTo>
                  <a:pt x="52" y="5"/>
                  <a:pt x="49" y="6"/>
                  <a:pt x="47" y="7"/>
                </a:cubicBezTo>
                <a:cubicBezTo>
                  <a:pt x="44" y="8"/>
                  <a:pt x="41" y="9"/>
                  <a:pt x="43" y="15"/>
                </a:cubicBezTo>
                <a:cubicBezTo>
                  <a:pt x="44" y="20"/>
                  <a:pt x="44" y="25"/>
                  <a:pt x="43" y="28"/>
                </a:cubicBezTo>
                <a:cubicBezTo>
                  <a:pt x="40" y="28"/>
                  <a:pt x="36" y="26"/>
                  <a:pt x="32" y="23"/>
                </a:cubicBezTo>
                <a:cubicBezTo>
                  <a:pt x="26" y="19"/>
                  <a:pt x="25" y="22"/>
                  <a:pt x="23" y="23"/>
                </a:cubicBezTo>
                <a:cubicBezTo>
                  <a:pt x="21" y="25"/>
                  <a:pt x="19" y="27"/>
                  <a:pt x="23" y="32"/>
                </a:cubicBezTo>
                <a:cubicBezTo>
                  <a:pt x="26" y="36"/>
                  <a:pt x="28" y="41"/>
                  <a:pt x="28" y="44"/>
                </a:cubicBezTo>
                <a:cubicBezTo>
                  <a:pt x="26" y="46"/>
                  <a:pt x="20" y="46"/>
                  <a:pt x="14" y="45"/>
                </a:cubicBezTo>
                <a:cubicBezTo>
                  <a:pt x="8" y="44"/>
                  <a:pt x="7" y="47"/>
                  <a:pt x="6" y="49"/>
                </a:cubicBezTo>
                <a:cubicBezTo>
                  <a:pt x="5" y="51"/>
                  <a:pt x="4" y="54"/>
                  <a:pt x="10" y="57"/>
                </a:cubicBezTo>
                <a:cubicBezTo>
                  <a:pt x="14" y="60"/>
                  <a:pt x="18" y="63"/>
                  <a:pt x="19" y="66"/>
                </a:cubicBezTo>
                <a:cubicBezTo>
                  <a:pt x="18" y="69"/>
                  <a:pt x="12" y="72"/>
                  <a:pt x="7" y="73"/>
                </a:cubicBezTo>
                <a:cubicBezTo>
                  <a:pt x="0" y="74"/>
                  <a:pt x="1" y="77"/>
                  <a:pt x="1" y="79"/>
                </a:cubicBezTo>
                <a:cubicBezTo>
                  <a:pt x="1" y="82"/>
                  <a:pt x="0" y="85"/>
                  <a:pt x="7" y="85"/>
                </a:cubicBezTo>
                <a:cubicBezTo>
                  <a:pt x="12" y="86"/>
                  <a:pt x="17" y="88"/>
                  <a:pt x="19" y="90"/>
                </a:cubicBezTo>
                <a:cubicBezTo>
                  <a:pt x="19" y="93"/>
                  <a:pt x="15" y="98"/>
                  <a:pt x="10" y="101"/>
                </a:cubicBezTo>
                <a:cubicBezTo>
                  <a:pt x="5" y="104"/>
                  <a:pt x="6" y="107"/>
                  <a:pt x="7" y="109"/>
                </a:cubicBezTo>
                <a:cubicBezTo>
                  <a:pt x="8" y="111"/>
                  <a:pt x="9" y="114"/>
                  <a:pt x="16" y="112"/>
                </a:cubicBezTo>
                <a:cubicBezTo>
                  <a:pt x="20" y="111"/>
                  <a:pt x="26" y="111"/>
                  <a:pt x="28" y="112"/>
                </a:cubicBezTo>
                <a:cubicBezTo>
                  <a:pt x="30" y="114"/>
                  <a:pt x="27" y="121"/>
                  <a:pt x="24" y="125"/>
                </a:cubicBezTo>
                <a:cubicBezTo>
                  <a:pt x="20" y="131"/>
                  <a:pt x="23" y="132"/>
                  <a:pt x="25" y="134"/>
                </a:cubicBezTo>
                <a:close/>
                <a:moveTo>
                  <a:pt x="44" y="112"/>
                </a:moveTo>
                <a:cubicBezTo>
                  <a:pt x="26" y="93"/>
                  <a:pt x="25" y="63"/>
                  <a:pt x="44" y="44"/>
                </a:cubicBezTo>
                <a:cubicBezTo>
                  <a:pt x="63" y="25"/>
                  <a:pt x="93" y="25"/>
                  <a:pt x="112" y="44"/>
                </a:cubicBezTo>
                <a:cubicBezTo>
                  <a:pt x="131" y="63"/>
                  <a:pt x="131" y="93"/>
                  <a:pt x="112" y="112"/>
                </a:cubicBezTo>
                <a:cubicBezTo>
                  <a:pt x="93" y="130"/>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8" name="Freeform 1395">
            <a:extLst>
              <a:ext uri="{FF2B5EF4-FFF2-40B4-BE49-F238E27FC236}">
                <a16:creationId xmlns:a16="http://schemas.microsoft.com/office/drawing/2014/main" id="{965EEC37-7A92-4B6D-84DB-A5988758C8B4}"/>
              </a:ext>
            </a:extLst>
          </p:cNvPr>
          <p:cNvSpPr>
            <a:spLocks noEditPoints="1"/>
          </p:cNvSpPr>
          <p:nvPr/>
        </p:nvSpPr>
        <p:spPr bwMode="auto">
          <a:xfrm rot="7915163">
            <a:off x="1854205" y="2044574"/>
            <a:ext cx="449384" cy="449384"/>
          </a:xfrm>
          <a:custGeom>
            <a:avLst/>
            <a:gdLst>
              <a:gd name="T0" fmla="*/ 33 w 156"/>
              <a:gd name="T1" fmla="*/ 134 h 156"/>
              <a:gd name="T2" fmla="*/ 46 w 156"/>
              <a:gd name="T3" fmla="*/ 142 h 156"/>
              <a:gd name="T4" fmla="*/ 58 w 156"/>
              <a:gd name="T5" fmla="*/ 147 h 156"/>
              <a:gd name="T6" fmla="*/ 74 w 156"/>
              <a:gd name="T7" fmla="*/ 150 h 156"/>
              <a:gd name="T8" fmla="*/ 87 w 156"/>
              <a:gd name="T9" fmla="*/ 149 h 156"/>
              <a:gd name="T10" fmla="*/ 102 w 156"/>
              <a:gd name="T11" fmla="*/ 146 h 156"/>
              <a:gd name="T12" fmla="*/ 113 w 156"/>
              <a:gd name="T13" fmla="*/ 140 h 156"/>
              <a:gd name="T14" fmla="*/ 123 w 156"/>
              <a:gd name="T15" fmla="*/ 133 h 156"/>
              <a:gd name="T16" fmla="*/ 133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5 w 156"/>
              <a:gd name="T43" fmla="*/ 10 h 156"/>
              <a:gd name="T44" fmla="*/ 43 w 156"/>
              <a:gd name="T45" fmla="*/ 15 h 156"/>
              <a:gd name="T46" fmla="*/ 31 w 156"/>
              <a:gd name="T47" fmla="*/ 23 h 156"/>
              <a:gd name="T48" fmla="*/ 23 w 156"/>
              <a:gd name="T49" fmla="*/ 33 h 156"/>
              <a:gd name="T50" fmla="*/ 14 w 156"/>
              <a:gd name="T51" fmla="*/ 45 h 156"/>
              <a:gd name="T52" fmla="*/ 9 w 156"/>
              <a:gd name="T53" fmla="*/ 57 h 156"/>
              <a:gd name="T54" fmla="*/ 6 w 156"/>
              <a:gd name="T55" fmla="*/ 73 h 156"/>
              <a:gd name="T56" fmla="*/ 7 w 156"/>
              <a:gd name="T57" fmla="*/ 86 h 156"/>
              <a:gd name="T58" fmla="*/ 10 w 156"/>
              <a:gd name="T59" fmla="*/ 101 h 156"/>
              <a:gd name="T60" fmla="*/ 15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9"/>
                  <a:pt x="45" y="129"/>
                </a:cubicBezTo>
                <a:cubicBezTo>
                  <a:pt x="47" y="130"/>
                  <a:pt x="47" y="137"/>
                  <a:pt x="46" y="142"/>
                </a:cubicBezTo>
                <a:cubicBezTo>
                  <a:pt x="45" y="149"/>
                  <a:pt x="48" y="150"/>
                  <a:pt x="50" y="150"/>
                </a:cubicBezTo>
                <a:cubicBezTo>
                  <a:pt x="53" y="151"/>
                  <a:pt x="55" y="153"/>
                  <a:pt x="58" y="147"/>
                </a:cubicBezTo>
                <a:cubicBezTo>
                  <a:pt x="61" y="143"/>
                  <a:pt x="64" y="138"/>
                  <a:pt x="67" y="137"/>
                </a:cubicBezTo>
                <a:cubicBezTo>
                  <a:pt x="70" y="138"/>
                  <a:pt x="73" y="144"/>
                  <a:pt x="74" y="150"/>
                </a:cubicBezTo>
                <a:cubicBezTo>
                  <a:pt x="75" y="156"/>
                  <a:pt x="78" y="156"/>
                  <a:pt x="80" y="155"/>
                </a:cubicBezTo>
                <a:cubicBezTo>
                  <a:pt x="83" y="155"/>
                  <a:pt x="86" y="156"/>
                  <a:pt x="87" y="149"/>
                </a:cubicBezTo>
                <a:cubicBezTo>
                  <a:pt x="87" y="144"/>
                  <a:pt x="89" y="139"/>
                  <a:pt x="91" y="137"/>
                </a:cubicBezTo>
                <a:cubicBezTo>
                  <a:pt x="94" y="137"/>
                  <a:pt x="99" y="141"/>
                  <a:pt x="102" y="146"/>
                </a:cubicBezTo>
                <a:cubicBezTo>
                  <a:pt x="105" y="151"/>
                  <a:pt x="108" y="149"/>
                  <a:pt x="110" y="148"/>
                </a:cubicBezTo>
                <a:cubicBezTo>
                  <a:pt x="112" y="147"/>
                  <a:pt x="115" y="146"/>
                  <a:pt x="113" y="140"/>
                </a:cubicBezTo>
                <a:cubicBezTo>
                  <a:pt x="112" y="136"/>
                  <a:pt x="112" y="131"/>
                  <a:pt x="112" y="128"/>
                </a:cubicBezTo>
                <a:cubicBezTo>
                  <a:pt x="115" y="128"/>
                  <a:pt x="120" y="130"/>
                  <a:pt x="123" y="133"/>
                </a:cubicBezTo>
                <a:cubicBezTo>
                  <a:pt x="129" y="137"/>
                  <a:pt x="131" y="135"/>
                  <a:pt x="132" y="133"/>
                </a:cubicBezTo>
                <a:cubicBezTo>
                  <a:pt x="134" y="131"/>
                  <a:pt x="137" y="129"/>
                  <a:pt x="133" y="124"/>
                </a:cubicBezTo>
                <a:cubicBezTo>
                  <a:pt x="130" y="120"/>
                  <a:pt x="127" y="113"/>
                  <a:pt x="128" y="111"/>
                </a:cubicBezTo>
                <a:cubicBezTo>
                  <a:pt x="131" y="110"/>
                  <a:pt x="136" y="110"/>
                  <a:pt x="141" y="111"/>
                </a:cubicBezTo>
                <a:cubicBezTo>
                  <a:pt x="147" y="113"/>
                  <a:pt x="148" y="110"/>
                  <a:pt x="149" y="108"/>
                </a:cubicBezTo>
                <a:cubicBezTo>
                  <a:pt x="150" y="105"/>
                  <a:pt x="152" y="103"/>
                  <a:pt x="146" y="99"/>
                </a:cubicBezTo>
                <a:cubicBezTo>
                  <a:pt x="142" y="96"/>
                  <a:pt x="137" y="92"/>
                  <a:pt x="137" y="89"/>
                </a:cubicBezTo>
                <a:cubicBezTo>
                  <a:pt x="139" y="87"/>
                  <a:pt x="144" y="85"/>
                  <a:pt x="149" y="84"/>
                </a:cubicBezTo>
                <a:cubicBezTo>
                  <a:pt x="156" y="83"/>
                  <a:pt x="155" y="80"/>
                  <a:pt x="155" y="78"/>
                </a:cubicBezTo>
                <a:cubicBezTo>
                  <a:pt x="155" y="75"/>
                  <a:pt x="156" y="72"/>
                  <a:pt x="149" y="71"/>
                </a:cubicBezTo>
                <a:cubicBezTo>
                  <a:pt x="144" y="70"/>
                  <a:pt x="138" y="68"/>
                  <a:pt x="137" y="65"/>
                </a:cubicBezTo>
                <a:cubicBezTo>
                  <a:pt x="138" y="62"/>
                  <a:pt x="142" y="58"/>
                  <a:pt x="146" y="56"/>
                </a:cubicBezTo>
                <a:cubicBezTo>
                  <a:pt x="152" y="53"/>
                  <a:pt x="150" y="50"/>
                  <a:pt x="149" y="48"/>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1"/>
                  <a:pt x="128" y="18"/>
                  <a:pt x="123" y="22"/>
                </a:cubicBezTo>
                <a:cubicBezTo>
                  <a:pt x="118" y="25"/>
                  <a:pt x="112" y="28"/>
                  <a:pt x="110" y="27"/>
                </a:cubicBezTo>
                <a:cubicBezTo>
                  <a:pt x="108" y="24"/>
                  <a:pt x="109" y="19"/>
                  <a:pt x="110" y="14"/>
                </a:cubicBezTo>
                <a:cubicBezTo>
                  <a:pt x="111" y="8"/>
                  <a:pt x="108" y="7"/>
                  <a:pt x="106" y="6"/>
                </a:cubicBezTo>
                <a:cubicBezTo>
                  <a:pt x="104" y="5"/>
                  <a:pt x="101" y="3"/>
                  <a:pt x="98" y="9"/>
                </a:cubicBezTo>
                <a:cubicBezTo>
                  <a:pt x="95" y="14"/>
                  <a:pt x="90" y="18"/>
                  <a:pt x="88" y="18"/>
                </a:cubicBezTo>
                <a:cubicBezTo>
                  <a:pt x="85" y="17"/>
                  <a:pt x="83" y="11"/>
                  <a:pt x="82" y="7"/>
                </a:cubicBezTo>
                <a:cubicBezTo>
                  <a:pt x="82" y="0"/>
                  <a:pt x="78" y="1"/>
                  <a:pt x="76" y="1"/>
                </a:cubicBezTo>
                <a:cubicBezTo>
                  <a:pt x="73" y="1"/>
                  <a:pt x="70" y="0"/>
                  <a:pt x="70" y="7"/>
                </a:cubicBezTo>
                <a:cubicBezTo>
                  <a:pt x="69" y="12"/>
                  <a:pt x="66" y="18"/>
                  <a:pt x="64" y="19"/>
                </a:cubicBezTo>
                <a:cubicBezTo>
                  <a:pt x="61" y="18"/>
                  <a:pt x="57" y="14"/>
                  <a:pt x="55"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3" y="24"/>
                </a:cubicBezTo>
                <a:cubicBezTo>
                  <a:pt x="21" y="25"/>
                  <a:pt x="18" y="27"/>
                  <a:pt x="23" y="33"/>
                </a:cubicBezTo>
                <a:cubicBezTo>
                  <a:pt x="25" y="36"/>
                  <a:pt x="28" y="41"/>
                  <a:pt x="28" y="44"/>
                </a:cubicBezTo>
                <a:cubicBezTo>
                  <a:pt x="26" y="46"/>
                  <a:pt x="19" y="47"/>
                  <a:pt x="14" y="45"/>
                </a:cubicBezTo>
                <a:cubicBezTo>
                  <a:pt x="7" y="44"/>
                  <a:pt x="7" y="47"/>
                  <a:pt x="6" y="49"/>
                </a:cubicBezTo>
                <a:cubicBezTo>
                  <a:pt x="5" y="52"/>
                  <a:pt x="3" y="54"/>
                  <a:pt x="9" y="57"/>
                </a:cubicBezTo>
                <a:cubicBezTo>
                  <a:pt x="13" y="60"/>
                  <a:pt x="17" y="63"/>
                  <a:pt x="19" y="66"/>
                </a:cubicBezTo>
                <a:cubicBezTo>
                  <a:pt x="18" y="69"/>
                  <a:pt x="12" y="72"/>
                  <a:pt x="6" y="73"/>
                </a:cubicBezTo>
                <a:cubicBezTo>
                  <a:pt x="0" y="74"/>
                  <a:pt x="0" y="77"/>
                  <a:pt x="0" y="79"/>
                </a:cubicBezTo>
                <a:cubicBezTo>
                  <a:pt x="0" y="82"/>
                  <a:pt x="0" y="85"/>
                  <a:pt x="7" y="86"/>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5"/>
                  <a:pt x="27" y="121"/>
                  <a:pt x="24" y="125"/>
                </a:cubicBezTo>
                <a:cubicBezTo>
                  <a:pt x="20" y="131"/>
                  <a:pt x="23" y="132"/>
                  <a:pt x="24" y="134"/>
                </a:cubicBezTo>
                <a:close/>
                <a:moveTo>
                  <a:pt x="44" y="112"/>
                </a:moveTo>
                <a:cubicBezTo>
                  <a:pt x="25" y="93"/>
                  <a:pt x="25" y="63"/>
                  <a:pt x="44" y="44"/>
                </a:cubicBezTo>
                <a:cubicBezTo>
                  <a:pt x="62" y="25"/>
                  <a:pt x="93" y="25"/>
                  <a:pt x="112" y="44"/>
                </a:cubicBezTo>
                <a:cubicBezTo>
                  <a:pt x="130" y="63"/>
                  <a:pt x="130" y="93"/>
                  <a:pt x="112" y="112"/>
                </a:cubicBezTo>
                <a:cubicBezTo>
                  <a:pt x="93" y="131"/>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1" name="Freeform 1398">
            <a:extLst>
              <a:ext uri="{FF2B5EF4-FFF2-40B4-BE49-F238E27FC236}">
                <a16:creationId xmlns:a16="http://schemas.microsoft.com/office/drawing/2014/main" id="{CC97BF16-4BD6-4753-83F7-1DA103766E2E}"/>
              </a:ext>
            </a:extLst>
          </p:cNvPr>
          <p:cNvSpPr>
            <a:spLocks noEditPoints="1"/>
          </p:cNvSpPr>
          <p:nvPr/>
        </p:nvSpPr>
        <p:spPr bwMode="auto">
          <a:xfrm rot="7915163">
            <a:off x="3996973" y="3779616"/>
            <a:ext cx="722632" cy="719252"/>
          </a:xfrm>
          <a:custGeom>
            <a:avLst/>
            <a:gdLst>
              <a:gd name="T0" fmla="*/ 87 w 356"/>
              <a:gd name="T1" fmla="*/ 319 h 356"/>
              <a:gd name="T2" fmla="*/ 108 w 356"/>
              <a:gd name="T3" fmla="*/ 331 h 356"/>
              <a:gd name="T4" fmla="*/ 127 w 356"/>
              <a:gd name="T5" fmla="*/ 338 h 356"/>
              <a:gd name="T6" fmla="*/ 149 w 356"/>
              <a:gd name="T7" fmla="*/ 344 h 356"/>
              <a:gd name="T8" fmla="*/ 170 w 356"/>
              <a:gd name="T9" fmla="*/ 346 h 356"/>
              <a:gd name="T10" fmla="*/ 193 w 356"/>
              <a:gd name="T11" fmla="*/ 345 h 356"/>
              <a:gd name="T12" fmla="*/ 214 w 356"/>
              <a:gd name="T13" fmla="*/ 342 h 356"/>
              <a:gd name="T14" fmla="*/ 236 w 356"/>
              <a:gd name="T15" fmla="*/ 336 h 356"/>
              <a:gd name="T16" fmla="*/ 255 w 356"/>
              <a:gd name="T17" fmla="*/ 327 h 356"/>
              <a:gd name="T18" fmla="*/ 275 w 356"/>
              <a:gd name="T19" fmla="*/ 315 h 356"/>
              <a:gd name="T20" fmla="*/ 291 w 356"/>
              <a:gd name="T21" fmla="*/ 302 h 356"/>
              <a:gd name="T22" fmla="*/ 306 w 356"/>
              <a:gd name="T23" fmla="*/ 286 h 356"/>
              <a:gd name="T24" fmla="*/ 319 w 356"/>
              <a:gd name="T25" fmla="*/ 270 h 356"/>
              <a:gd name="T26" fmla="*/ 330 w 356"/>
              <a:gd name="T27" fmla="*/ 249 h 356"/>
              <a:gd name="T28" fmla="*/ 338 w 356"/>
              <a:gd name="T29" fmla="*/ 230 h 356"/>
              <a:gd name="T30" fmla="*/ 343 w 356"/>
              <a:gd name="T31" fmla="*/ 208 h 356"/>
              <a:gd name="T32" fmla="*/ 346 w 356"/>
              <a:gd name="T33" fmla="*/ 187 h 356"/>
              <a:gd name="T34" fmla="*/ 345 w 356"/>
              <a:gd name="T35" fmla="*/ 164 h 356"/>
              <a:gd name="T36" fmla="*/ 342 w 356"/>
              <a:gd name="T37" fmla="*/ 143 h 356"/>
              <a:gd name="T38" fmla="*/ 335 w 356"/>
              <a:gd name="T39" fmla="*/ 121 h 356"/>
              <a:gd name="T40" fmla="*/ 328 w 356"/>
              <a:gd name="T41" fmla="*/ 102 h 356"/>
              <a:gd name="T42" fmla="*/ 315 w 356"/>
              <a:gd name="T43" fmla="*/ 82 h 356"/>
              <a:gd name="T44" fmla="*/ 303 w 356"/>
              <a:gd name="T45" fmla="*/ 66 h 356"/>
              <a:gd name="T46" fmla="*/ 286 w 356"/>
              <a:gd name="T47" fmla="*/ 50 h 356"/>
              <a:gd name="T48" fmla="*/ 269 w 356"/>
              <a:gd name="T49" fmla="*/ 37 h 356"/>
              <a:gd name="T50" fmla="*/ 249 w 356"/>
              <a:gd name="T51" fmla="*/ 26 h 356"/>
              <a:gd name="T52" fmla="*/ 230 w 356"/>
              <a:gd name="T53" fmla="*/ 18 h 356"/>
              <a:gd name="T54" fmla="*/ 207 w 356"/>
              <a:gd name="T55" fmla="*/ 13 h 356"/>
              <a:gd name="T56" fmla="*/ 187 w 356"/>
              <a:gd name="T57" fmla="*/ 10 h 356"/>
              <a:gd name="T58" fmla="*/ 163 w 356"/>
              <a:gd name="T59" fmla="*/ 11 h 356"/>
              <a:gd name="T60" fmla="*/ 143 w 356"/>
              <a:gd name="T61" fmla="*/ 14 h 356"/>
              <a:gd name="T62" fmla="*/ 121 w 356"/>
              <a:gd name="T63" fmla="*/ 21 h 356"/>
              <a:gd name="T64" fmla="*/ 102 w 356"/>
              <a:gd name="T65" fmla="*/ 28 h 356"/>
              <a:gd name="T66" fmla="*/ 82 w 356"/>
              <a:gd name="T67" fmla="*/ 41 h 356"/>
              <a:gd name="T68" fmla="*/ 65 w 356"/>
              <a:gd name="T69" fmla="*/ 53 h 356"/>
              <a:gd name="T70" fmla="*/ 49 w 356"/>
              <a:gd name="T71" fmla="*/ 71 h 356"/>
              <a:gd name="T72" fmla="*/ 37 w 356"/>
              <a:gd name="T73" fmla="*/ 88 h 356"/>
              <a:gd name="T74" fmla="*/ 25 w 356"/>
              <a:gd name="T75" fmla="*/ 108 h 356"/>
              <a:gd name="T76" fmla="*/ 18 w 356"/>
              <a:gd name="T77" fmla="*/ 127 h 356"/>
              <a:gd name="T78" fmla="*/ 12 w 356"/>
              <a:gd name="T79" fmla="*/ 150 h 356"/>
              <a:gd name="T80" fmla="*/ 10 w 356"/>
              <a:gd name="T81" fmla="*/ 170 h 356"/>
              <a:gd name="T82" fmla="*/ 11 w 356"/>
              <a:gd name="T83" fmla="*/ 194 h 356"/>
              <a:gd name="T84" fmla="*/ 14 w 356"/>
              <a:gd name="T85" fmla="*/ 214 h 356"/>
              <a:gd name="T86" fmla="*/ 20 w 356"/>
              <a:gd name="T87" fmla="*/ 236 h 356"/>
              <a:gd name="T88" fmla="*/ 29 w 356"/>
              <a:gd name="T89" fmla="*/ 255 h 356"/>
              <a:gd name="T90" fmla="*/ 41 w 356"/>
              <a:gd name="T91" fmla="*/ 275 h 356"/>
              <a:gd name="T92" fmla="*/ 54 w 356"/>
              <a:gd name="T93" fmla="*/ 291 h 356"/>
              <a:gd name="T94" fmla="*/ 70 w 356"/>
              <a:gd name="T95" fmla="*/ 307 h 356"/>
              <a:gd name="T96" fmla="*/ 105 w 356"/>
              <a:gd name="T97" fmla="*/ 277 h 356"/>
              <a:gd name="T98" fmla="*/ 250 w 356"/>
              <a:gd name="T99" fmla="*/ 80 h 356"/>
              <a:gd name="T100" fmla="*/ 105 w 356"/>
              <a:gd name="T101" fmla="*/ 2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356">
                <a:moveTo>
                  <a:pt x="73" y="321"/>
                </a:moveTo>
                <a:cubicBezTo>
                  <a:pt x="76" y="324"/>
                  <a:pt x="80" y="327"/>
                  <a:pt x="87" y="319"/>
                </a:cubicBezTo>
                <a:cubicBezTo>
                  <a:pt x="93" y="314"/>
                  <a:pt x="100" y="309"/>
                  <a:pt x="105" y="308"/>
                </a:cubicBezTo>
                <a:cubicBezTo>
                  <a:pt x="109" y="311"/>
                  <a:pt x="109" y="322"/>
                  <a:pt x="108" y="331"/>
                </a:cubicBezTo>
                <a:cubicBezTo>
                  <a:pt x="105" y="341"/>
                  <a:pt x="110" y="342"/>
                  <a:pt x="114" y="344"/>
                </a:cubicBezTo>
                <a:cubicBezTo>
                  <a:pt x="118" y="345"/>
                  <a:pt x="122" y="347"/>
                  <a:pt x="127" y="338"/>
                </a:cubicBezTo>
                <a:cubicBezTo>
                  <a:pt x="131" y="331"/>
                  <a:pt x="137" y="324"/>
                  <a:pt x="141" y="323"/>
                </a:cubicBezTo>
                <a:cubicBezTo>
                  <a:pt x="145" y="324"/>
                  <a:pt x="149" y="335"/>
                  <a:pt x="149" y="344"/>
                </a:cubicBezTo>
                <a:cubicBezTo>
                  <a:pt x="150" y="355"/>
                  <a:pt x="155" y="354"/>
                  <a:pt x="159" y="355"/>
                </a:cubicBezTo>
                <a:cubicBezTo>
                  <a:pt x="163" y="355"/>
                  <a:pt x="168" y="356"/>
                  <a:pt x="170" y="346"/>
                </a:cubicBezTo>
                <a:cubicBezTo>
                  <a:pt x="172" y="338"/>
                  <a:pt x="176" y="330"/>
                  <a:pt x="180" y="327"/>
                </a:cubicBezTo>
                <a:cubicBezTo>
                  <a:pt x="184" y="327"/>
                  <a:pt x="190" y="337"/>
                  <a:pt x="193" y="345"/>
                </a:cubicBezTo>
                <a:cubicBezTo>
                  <a:pt x="196" y="356"/>
                  <a:pt x="201" y="354"/>
                  <a:pt x="205" y="354"/>
                </a:cubicBezTo>
                <a:cubicBezTo>
                  <a:pt x="209" y="353"/>
                  <a:pt x="214" y="353"/>
                  <a:pt x="214" y="342"/>
                </a:cubicBezTo>
                <a:cubicBezTo>
                  <a:pt x="214" y="334"/>
                  <a:pt x="215" y="325"/>
                  <a:pt x="219" y="322"/>
                </a:cubicBezTo>
                <a:cubicBezTo>
                  <a:pt x="223" y="321"/>
                  <a:pt x="231" y="328"/>
                  <a:pt x="236" y="336"/>
                </a:cubicBezTo>
                <a:cubicBezTo>
                  <a:pt x="242" y="345"/>
                  <a:pt x="246" y="342"/>
                  <a:pt x="250" y="341"/>
                </a:cubicBezTo>
                <a:cubicBezTo>
                  <a:pt x="253" y="339"/>
                  <a:pt x="258" y="337"/>
                  <a:pt x="255" y="327"/>
                </a:cubicBezTo>
                <a:cubicBezTo>
                  <a:pt x="253" y="320"/>
                  <a:pt x="252" y="311"/>
                  <a:pt x="254" y="306"/>
                </a:cubicBezTo>
                <a:cubicBezTo>
                  <a:pt x="258" y="304"/>
                  <a:pt x="268" y="309"/>
                  <a:pt x="275" y="315"/>
                </a:cubicBezTo>
                <a:cubicBezTo>
                  <a:pt x="283" y="323"/>
                  <a:pt x="286" y="319"/>
                  <a:pt x="289" y="316"/>
                </a:cubicBezTo>
                <a:cubicBezTo>
                  <a:pt x="292" y="314"/>
                  <a:pt x="296" y="311"/>
                  <a:pt x="291" y="302"/>
                </a:cubicBezTo>
                <a:cubicBezTo>
                  <a:pt x="286" y="295"/>
                  <a:pt x="283" y="286"/>
                  <a:pt x="285" y="281"/>
                </a:cubicBezTo>
                <a:cubicBezTo>
                  <a:pt x="289" y="280"/>
                  <a:pt x="299" y="282"/>
                  <a:pt x="306" y="286"/>
                </a:cubicBezTo>
                <a:cubicBezTo>
                  <a:pt x="315" y="292"/>
                  <a:pt x="318" y="287"/>
                  <a:pt x="320" y="284"/>
                </a:cubicBezTo>
                <a:cubicBezTo>
                  <a:pt x="323" y="281"/>
                  <a:pt x="326" y="277"/>
                  <a:pt x="319" y="270"/>
                </a:cubicBezTo>
                <a:cubicBezTo>
                  <a:pt x="312" y="263"/>
                  <a:pt x="307" y="254"/>
                  <a:pt x="309" y="249"/>
                </a:cubicBezTo>
                <a:cubicBezTo>
                  <a:pt x="313" y="247"/>
                  <a:pt x="322" y="248"/>
                  <a:pt x="330" y="249"/>
                </a:cubicBezTo>
                <a:cubicBezTo>
                  <a:pt x="340" y="252"/>
                  <a:pt x="341" y="247"/>
                  <a:pt x="343" y="244"/>
                </a:cubicBezTo>
                <a:cubicBezTo>
                  <a:pt x="344" y="240"/>
                  <a:pt x="347" y="236"/>
                  <a:pt x="338" y="230"/>
                </a:cubicBezTo>
                <a:cubicBezTo>
                  <a:pt x="330" y="226"/>
                  <a:pt x="322" y="218"/>
                  <a:pt x="323" y="213"/>
                </a:cubicBezTo>
                <a:cubicBezTo>
                  <a:pt x="326" y="210"/>
                  <a:pt x="335" y="208"/>
                  <a:pt x="343" y="208"/>
                </a:cubicBezTo>
                <a:cubicBezTo>
                  <a:pt x="354" y="208"/>
                  <a:pt x="354" y="203"/>
                  <a:pt x="354" y="199"/>
                </a:cubicBezTo>
                <a:cubicBezTo>
                  <a:pt x="355" y="195"/>
                  <a:pt x="356" y="190"/>
                  <a:pt x="346" y="187"/>
                </a:cubicBezTo>
                <a:cubicBezTo>
                  <a:pt x="337" y="185"/>
                  <a:pt x="328" y="179"/>
                  <a:pt x="327" y="175"/>
                </a:cubicBezTo>
                <a:cubicBezTo>
                  <a:pt x="329" y="171"/>
                  <a:pt x="337" y="166"/>
                  <a:pt x="345" y="164"/>
                </a:cubicBezTo>
                <a:cubicBezTo>
                  <a:pt x="355" y="161"/>
                  <a:pt x="354" y="156"/>
                  <a:pt x="353" y="152"/>
                </a:cubicBezTo>
                <a:cubicBezTo>
                  <a:pt x="353" y="148"/>
                  <a:pt x="353" y="143"/>
                  <a:pt x="342" y="143"/>
                </a:cubicBezTo>
                <a:cubicBezTo>
                  <a:pt x="333" y="143"/>
                  <a:pt x="322" y="140"/>
                  <a:pt x="321" y="136"/>
                </a:cubicBezTo>
                <a:cubicBezTo>
                  <a:pt x="322" y="131"/>
                  <a:pt x="329" y="125"/>
                  <a:pt x="335" y="121"/>
                </a:cubicBezTo>
                <a:cubicBezTo>
                  <a:pt x="345" y="116"/>
                  <a:pt x="342" y="111"/>
                  <a:pt x="341" y="108"/>
                </a:cubicBezTo>
                <a:cubicBezTo>
                  <a:pt x="339" y="104"/>
                  <a:pt x="338" y="99"/>
                  <a:pt x="328" y="102"/>
                </a:cubicBezTo>
                <a:cubicBezTo>
                  <a:pt x="319" y="104"/>
                  <a:pt x="308" y="104"/>
                  <a:pt x="305" y="100"/>
                </a:cubicBezTo>
                <a:cubicBezTo>
                  <a:pt x="305" y="96"/>
                  <a:pt x="310" y="88"/>
                  <a:pt x="315" y="82"/>
                </a:cubicBezTo>
                <a:cubicBezTo>
                  <a:pt x="323" y="75"/>
                  <a:pt x="319" y="71"/>
                  <a:pt x="317" y="68"/>
                </a:cubicBezTo>
                <a:cubicBezTo>
                  <a:pt x="314" y="65"/>
                  <a:pt x="312" y="60"/>
                  <a:pt x="303" y="66"/>
                </a:cubicBezTo>
                <a:cubicBezTo>
                  <a:pt x="295" y="70"/>
                  <a:pt x="284" y="73"/>
                  <a:pt x="281" y="70"/>
                </a:cubicBezTo>
                <a:cubicBezTo>
                  <a:pt x="279" y="66"/>
                  <a:pt x="282" y="57"/>
                  <a:pt x="286" y="50"/>
                </a:cubicBezTo>
                <a:cubicBezTo>
                  <a:pt x="291" y="41"/>
                  <a:pt x="287" y="38"/>
                  <a:pt x="284" y="36"/>
                </a:cubicBezTo>
                <a:cubicBezTo>
                  <a:pt x="280" y="33"/>
                  <a:pt x="277" y="30"/>
                  <a:pt x="269" y="37"/>
                </a:cubicBezTo>
                <a:cubicBezTo>
                  <a:pt x="263" y="44"/>
                  <a:pt x="253" y="49"/>
                  <a:pt x="249" y="47"/>
                </a:cubicBezTo>
                <a:cubicBezTo>
                  <a:pt x="247" y="43"/>
                  <a:pt x="247" y="34"/>
                  <a:pt x="249" y="26"/>
                </a:cubicBezTo>
                <a:cubicBezTo>
                  <a:pt x="252" y="16"/>
                  <a:pt x="247" y="15"/>
                  <a:pt x="243" y="13"/>
                </a:cubicBezTo>
                <a:cubicBezTo>
                  <a:pt x="239" y="12"/>
                  <a:pt x="235" y="9"/>
                  <a:pt x="230" y="18"/>
                </a:cubicBezTo>
                <a:cubicBezTo>
                  <a:pt x="225" y="26"/>
                  <a:pt x="217" y="34"/>
                  <a:pt x="213" y="33"/>
                </a:cubicBezTo>
                <a:cubicBezTo>
                  <a:pt x="210" y="30"/>
                  <a:pt x="207" y="21"/>
                  <a:pt x="207" y="13"/>
                </a:cubicBezTo>
                <a:cubicBezTo>
                  <a:pt x="207" y="2"/>
                  <a:pt x="202" y="2"/>
                  <a:pt x="198" y="2"/>
                </a:cubicBezTo>
                <a:cubicBezTo>
                  <a:pt x="194" y="1"/>
                  <a:pt x="189" y="0"/>
                  <a:pt x="187" y="10"/>
                </a:cubicBezTo>
                <a:cubicBezTo>
                  <a:pt x="184" y="19"/>
                  <a:pt x="179" y="28"/>
                  <a:pt x="174" y="29"/>
                </a:cubicBezTo>
                <a:cubicBezTo>
                  <a:pt x="170" y="27"/>
                  <a:pt x="166" y="19"/>
                  <a:pt x="163" y="11"/>
                </a:cubicBezTo>
                <a:cubicBezTo>
                  <a:pt x="161" y="1"/>
                  <a:pt x="156" y="2"/>
                  <a:pt x="152" y="3"/>
                </a:cubicBezTo>
                <a:cubicBezTo>
                  <a:pt x="148" y="3"/>
                  <a:pt x="143" y="3"/>
                  <a:pt x="143" y="14"/>
                </a:cubicBezTo>
                <a:cubicBezTo>
                  <a:pt x="143" y="23"/>
                  <a:pt x="140" y="34"/>
                  <a:pt x="135" y="35"/>
                </a:cubicBezTo>
                <a:cubicBezTo>
                  <a:pt x="131" y="34"/>
                  <a:pt x="125" y="27"/>
                  <a:pt x="121" y="21"/>
                </a:cubicBezTo>
                <a:cubicBezTo>
                  <a:pt x="115" y="11"/>
                  <a:pt x="111" y="14"/>
                  <a:pt x="107" y="15"/>
                </a:cubicBezTo>
                <a:cubicBezTo>
                  <a:pt x="104" y="17"/>
                  <a:pt x="99" y="18"/>
                  <a:pt x="102" y="28"/>
                </a:cubicBezTo>
                <a:cubicBezTo>
                  <a:pt x="104" y="37"/>
                  <a:pt x="104" y="48"/>
                  <a:pt x="100" y="51"/>
                </a:cubicBezTo>
                <a:cubicBezTo>
                  <a:pt x="95" y="51"/>
                  <a:pt x="87" y="46"/>
                  <a:pt x="82" y="41"/>
                </a:cubicBezTo>
                <a:cubicBezTo>
                  <a:pt x="74" y="33"/>
                  <a:pt x="71" y="37"/>
                  <a:pt x="68" y="39"/>
                </a:cubicBezTo>
                <a:cubicBezTo>
                  <a:pt x="64" y="42"/>
                  <a:pt x="60" y="44"/>
                  <a:pt x="65" y="53"/>
                </a:cubicBezTo>
                <a:cubicBezTo>
                  <a:pt x="69" y="61"/>
                  <a:pt x="72" y="71"/>
                  <a:pt x="70" y="75"/>
                </a:cubicBezTo>
                <a:cubicBezTo>
                  <a:pt x="66" y="77"/>
                  <a:pt x="56" y="75"/>
                  <a:pt x="49" y="71"/>
                </a:cubicBezTo>
                <a:cubicBezTo>
                  <a:pt x="39" y="66"/>
                  <a:pt x="37" y="70"/>
                  <a:pt x="35" y="73"/>
                </a:cubicBezTo>
                <a:cubicBezTo>
                  <a:pt x="32" y="77"/>
                  <a:pt x="29" y="80"/>
                  <a:pt x="37" y="88"/>
                </a:cubicBezTo>
                <a:cubicBezTo>
                  <a:pt x="42" y="93"/>
                  <a:pt x="47" y="101"/>
                  <a:pt x="48" y="105"/>
                </a:cubicBezTo>
                <a:cubicBezTo>
                  <a:pt x="45" y="109"/>
                  <a:pt x="34" y="110"/>
                  <a:pt x="25" y="108"/>
                </a:cubicBezTo>
                <a:cubicBezTo>
                  <a:pt x="15" y="106"/>
                  <a:pt x="14" y="110"/>
                  <a:pt x="12" y="114"/>
                </a:cubicBezTo>
                <a:cubicBezTo>
                  <a:pt x="11" y="118"/>
                  <a:pt x="9" y="122"/>
                  <a:pt x="18" y="127"/>
                </a:cubicBezTo>
                <a:cubicBezTo>
                  <a:pt x="25" y="131"/>
                  <a:pt x="32" y="137"/>
                  <a:pt x="33" y="142"/>
                </a:cubicBezTo>
                <a:cubicBezTo>
                  <a:pt x="32" y="146"/>
                  <a:pt x="21" y="149"/>
                  <a:pt x="12" y="150"/>
                </a:cubicBezTo>
                <a:cubicBezTo>
                  <a:pt x="1" y="150"/>
                  <a:pt x="2" y="155"/>
                  <a:pt x="1" y="159"/>
                </a:cubicBezTo>
                <a:cubicBezTo>
                  <a:pt x="1" y="163"/>
                  <a:pt x="0" y="168"/>
                  <a:pt x="10" y="170"/>
                </a:cubicBezTo>
                <a:cubicBezTo>
                  <a:pt x="18" y="172"/>
                  <a:pt x="26" y="176"/>
                  <a:pt x="29" y="180"/>
                </a:cubicBezTo>
                <a:cubicBezTo>
                  <a:pt x="28" y="185"/>
                  <a:pt x="19" y="191"/>
                  <a:pt x="11" y="194"/>
                </a:cubicBezTo>
                <a:cubicBezTo>
                  <a:pt x="0" y="197"/>
                  <a:pt x="2" y="201"/>
                  <a:pt x="2" y="205"/>
                </a:cubicBezTo>
                <a:cubicBezTo>
                  <a:pt x="3" y="209"/>
                  <a:pt x="3" y="214"/>
                  <a:pt x="14" y="214"/>
                </a:cubicBezTo>
                <a:cubicBezTo>
                  <a:pt x="22" y="214"/>
                  <a:pt x="31" y="216"/>
                  <a:pt x="34" y="219"/>
                </a:cubicBezTo>
                <a:cubicBezTo>
                  <a:pt x="35" y="223"/>
                  <a:pt x="28" y="232"/>
                  <a:pt x="20" y="236"/>
                </a:cubicBezTo>
                <a:cubicBezTo>
                  <a:pt x="11" y="242"/>
                  <a:pt x="14" y="246"/>
                  <a:pt x="15" y="250"/>
                </a:cubicBezTo>
                <a:cubicBezTo>
                  <a:pt x="17" y="254"/>
                  <a:pt x="19" y="258"/>
                  <a:pt x="29" y="255"/>
                </a:cubicBezTo>
                <a:cubicBezTo>
                  <a:pt x="36" y="253"/>
                  <a:pt x="45" y="252"/>
                  <a:pt x="50" y="255"/>
                </a:cubicBezTo>
                <a:cubicBezTo>
                  <a:pt x="52" y="259"/>
                  <a:pt x="47" y="268"/>
                  <a:pt x="41" y="275"/>
                </a:cubicBezTo>
                <a:cubicBezTo>
                  <a:pt x="33" y="283"/>
                  <a:pt x="37" y="286"/>
                  <a:pt x="40" y="289"/>
                </a:cubicBezTo>
                <a:cubicBezTo>
                  <a:pt x="42" y="293"/>
                  <a:pt x="45" y="297"/>
                  <a:pt x="54" y="291"/>
                </a:cubicBezTo>
                <a:cubicBezTo>
                  <a:pt x="60" y="287"/>
                  <a:pt x="69" y="284"/>
                  <a:pt x="74" y="285"/>
                </a:cubicBezTo>
                <a:cubicBezTo>
                  <a:pt x="77" y="288"/>
                  <a:pt x="74" y="299"/>
                  <a:pt x="70" y="307"/>
                </a:cubicBezTo>
                <a:cubicBezTo>
                  <a:pt x="65" y="317"/>
                  <a:pt x="70" y="319"/>
                  <a:pt x="73" y="321"/>
                </a:cubicBezTo>
                <a:close/>
                <a:moveTo>
                  <a:pt x="105" y="277"/>
                </a:moveTo>
                <a:cubicBezTo>
                  <a:pt x="51" y="237"/>
                  <a:pt x="39" y="160"/>
                  <a:pt x="79" y="106"/>
                </a:cubicBezTo>
                <a:cubicBezTo>
                  <a:pt x="119" y="51"/>
                  <a:pt x="196" y="40"/>
                  <a:pt x="250" y="80"/>
                </a:cubicBezTo>
                <a:cubicBezTo>
                  <a:pt x="305" y="120"/>
                  <a:pt x="316" y="196"/>
                  <a:pt x="276" y="251"/>
                </a:cubicBezTo>
                <a:cubicBezTo>
                  <a:pt x="236" y="305"/>
                  <a:pt x="160" y="317"/>
                  <a:pt x="105" y="27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2" name="Freeform 1399">
            <a:extLst>
              <a:ext uri="{FF2B5EF4-FFF2-40B4-BE49-F238E27FC236}">
                <a16:creationId xmlns:a16="http://schemas.microsoft.com/office/drawing/2014/main" id="{886E84AA-3991-4467-8481-CB4E2C5F44B8}"/>
              </a:ext>
            </a:extLst>
          </p:cNvPr>
          <p:cNvSpPr>
            <a:spLocks noEditPoints="1"/>
          </p:cNvSpPr>
          <p:nvPr/>
        </p:nvSpPr>
        <p:spPr bwMode="auto">
          <a:xfrm rot="7915163">
            <a:off x="3750054" y="3510136"/>
            <a:ext cx="1285580" cy="1278970"/>
          </a:xfrm>
          <a:custGeom>
            <a:avLst/>
            <a:gdLst>
              <a:gd name="T0" fmla="*/ 240 w 634"/>
              <a:gd name="T1" fmla="*/ 611 h 632"/>
              <a:gd name="T2" fmla="*/ 177 w 634"/>
              <a:gd name="T3" fmla="*/ 586 h 632"/>
              <a:gd name="T4" fmla="*/ 115 w 634"/>
              <a:gd name="T5" fmla="*/ 544 h 632"/>
              <a:gd name="T6" fmla="*/ 69 w 634"/>
              <a:gd name="T7" fmla="*/ 493 h 632"/>
              <a:gd name="T8" fmla="*/ 34 w 634"/>
              <a:gd name="T9" fmla="*/ 427 h 632"/>
              <a:gd name="T10" fmla="*/ 16 w 634"/>
              <a:gd name="T11" fmla="*/ 361 h 632"/>
              <a:gd name="T12" fmla="*/ 32 w 634"/>
              <a:gd name="T13" fmla="*/ 275 h 632"/>
              <a:gd name="T14" fmla="*/ 22 w 634"/>
              <a:gd name="T15" fmla="*/ 202 h 632"/>
              <a:gd name="T16" fmla="*/ 81 w 634"/>
              <a:gd name="T17" fmla="*/ 150 h 632"/>
              <a:gd name="T18" fmla="*/ 114 w 634"/>
              <a:gd name="T19" fmla="*/ 76 h 632"/>
              <a:gd name="T20" fmla="*/ 183 w 634"/>
              <a:gd name="T21" fmla="*/ 61 h 632"/>
              <a:gd name="T22" fmla="*/ 241 w 634"/>
              <a:gd name="T23" fmla="*/ 9 h 632"/>
              <a:gd name="T24" fmla="*/ 313 w 634"/>
              <a:gd name="T25" fmla="*/ 28 h 632"/>
              <a:gd name="T26" fmla="*/ 384 w 634"/>
              <a:gd name="T27" fmla="*/ 7 h 632"/>
              <a:gd name="T28" fmla="*/ 445 w 634"/>
              <a:gd name="T29" fmla="*/ 57 h 632"/>
              <a:gd name="T30" fmla="*/ 517 w 634"/>
              <a:gd name="T31" fmla="*/ 71 h 632"/>
              <a:gd name="T32" fmla="*/ 548 w 634"/>
              <a:gd name="T33" fmla="*/ 144 h 632"/>
              <a:gd name="T34" fmla="*/ 606 w 634"/>
              <a:gd name="T35" fmla="*/ 188 h 632"/>
              <a:gd name="T36" fmla="*/ 618 w 634"/>
              <a:gd name="T37" fmla="*/ 271 h 632"/>
              <a:gd name="T38" fmla="*/ 603 w 634"/>
              <a:gd name="T39" fmla="*/ 358 h 632"/>
              <a:gd name="T40" fmla="*/ 612 w 634"/>
              <a:gd name="T41" fmla="*/ 430 h 632"/>
              <a:gd name="T42" fmla="*/ 553 w 634"/>
              <a:gd name="T43" fmla="*/ 483 h 632"/>
              <a:gd name="T44" fmla="*/ 520 w 634"/>
              <a:gd name="T45" fmla="*/ 556 h 632"/>
              <a:gd name="T46" fmla="*/ 453 w 634"/>
              <a:gd name="T47" fmla="*/ 589 h 632"/>
              <a:gd name="T48" fmla="*/ 382 w 634"/>
              <a:gd name="T49" fmla="*/ 614 h 632"/>
              <a:gd name="T50" fmla="*/ 315 w 634"/>
              <a:gd name="T51" fmla="*/ 621 h 632"/>
              <a:gd name="T52" fmla="*/ 318 w 634"/>
              <a:gd name="T53" fmla="*/ 601 h 632"/>
              <a:gd name="T54" fmla="*/ 364 w 634"/>
              <a:gd name="T55" fmla="*/ 596 h 632"/>
              <a:gd name="T56" fmla="*/ 416 w 634"/>
              <a:gd name="T57" fmla="*/ 582 h 632"/>
              <a:gd name="T58" fmla="*/ 475 w 634"/>
              <a:gd name="T59" fmla="*/ 576 h 632"/>
              <a:gd name="T60" fmla="*/ 520 w 634"/>
              <a:gd name="T61" fmla="*/ 551 h 632"/>
              <a:gd name="T62" fmla="*/ 559 w 634"/>
              <a:gd name="T63" fmla="*/ 512 h 632"/>
              <a:gd name="T64" fmla="*/ 571 w 634"/>
              <a:gd name="T65" fmla="*/ 445 h 632"/>
              <a:gd name="T66" fmla="*/ 590 w 634"/>
              <a:gd name="T67" fmla="*/ 392 h 632"/>
              <a:gd name="T68" fmla="*/ 600 w 634"/>
              <a:gd name="T69" fmla="*/ 347 h 632"/>
              <a:gd name="T70" fmla="*/ 627 w 634"/>
              <a:gd name="T71" fmla="*/ 285 h 632"/>
              <a:gd name="T72" fmla="*/ 611 w 634"/>
              <a:gd name="T73" fmla="*/ 229 h 632"/>
              <a:gd name="T74" fmla="*/ 591 w 634"/>
              <a:gd name="T75" fmla="*/ 185 h 632"/>
              <a:gd name="T76" fmla="*/ 547 w 634"/>
              <a:gd name="T77" fmla="*/ 149 h 632"/>
              <a:gd name="T78" fmla="*/ 516 w 634"/>
              <a:gd name="T79" fmla="*/ 114 h 632"/>
              <a:gd name="T80" fmla="*/ 473 w 634"/>
              <a:gd name="T81" fmla="*/ 78 h 632"/>
              <a:gd name="T82" fmla="*/ 434 w 634"/>
              <a:gd name="T83" fmla="*/ 36 h 632"/>
              <a:gd name="T84" fmla="*/ 381 w 634"/>
              <a:gd name="T85" fmla="*/ 12 h 632"/>
              <a:gd name="T86" fmla="*/ 324 w 634"/>
              <a:gd name="T87" fmla="*/ 13 h 632"/>
              <a:gd name="T88" fmla="*/ 270 w 634"/>
              <a:gd name="T89" fmla="*/ 37 h 632"/>
              <a:gd name="T90" fmla="*/ 218 w 634"/>
              <a:gd name="T91" fmla="*/ 50 h 632"/>
              <a:gd name="T92" fmla="*/ 159 w 634"/>
              <a:gd name="T93" fmla="*/ 57 h 632"/>
              <a:gd name="T94" fmla="*/ 114 w 634"/>
              <a:gd name="T95" fmla="*/ 81 h 632"/>
              <a:gd name="T96" fmla="*/ 76 w 634"/>
              <a:gd name="T97" fmla="*/ 120 h 632"/>
              <a:gd name="T98" fmla="*/ 50 w 634"/>
              <a:gd name="T99" fmla="*/ 172 h 632"/>
              <a:gd name="T100" fmla="*/ 46 w 634"/>
              <a:gd name="T101" fmla="*/ 229 h 632"/>
              <a:gd name="T102" fmla="*/ 37 w 634"/>
              <a:gd name="T103" fmla="*/ 274 h 632"/>
              <a:gd name="T104" fmla="*/ 33 w 634"/>
              <a:gd name="T105" fmla="*/ 330 h 632"/>
              <a:gd name="T106" fmla="*/ 16 w 634"/>
              <a:gd name="T107" fmla="*/ 396 h 632"/>
              <a:gd name="T108" fmla="*/ 33 w 634"/>
              <a:gd name="T109" fmla="*/ 443 h 632"/>
              <a:gd name="T110" fmla="*/ 62 w 634"/>
              <a:gd name="T111" fmla="*/ 490 h 632"/>
              <a:gd name="T112" fmla="*/ 97 w 634"/>
              <a:gd name="T113" fmla="*/ 526 h 632"/>
              <a:gd name="T114" fmla="*/ 153 w 634"/>
              <a:gd name="T115" fmla="*/ 547 h 632"/>
              <a:gd name="T116" fmla="*/ 199 w 634"/>
              <a:gd name="T117" fmla="*/ 574 h 632"/>
              <a:gd name="T118" fmla="*/ 245 w 634"/>
              <a:gd name="T119" fmla="*/ 611 h 632"/>
              <a:gd name="T120" fmla="*/ 481 w 634"/>
              <a:gd name="T121" fmla="*/ 114 h 632"/>
              <a:gd name="T122" fmla="*/ 317 w 634"/>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4" h="632">
                <a:moveTo>
                  <a:pt x="303" y="632"/>
                </a:moveTo>
                <a:cubicBezTo>
                  <a:pt x="302" y="632"/>
                  <a:pt x="302" y="632"/>
                  <a:pt x="301" y="632"/>
                </a:cubicBezTo>
                <a:cubicBezTo>
                  <a:pt x="300" y="632"/>
                  <a:pt x="300" y="632"/>
                  <a:pt x="300" y="632"/>
                </a:cubicBezTo>
                <a:cubicBezTo>
                  <a:pt x="296" y="632"/>
                  <a:pt x="288" y="632"/>
                  <a:pt x="287" y="619"/>
                </a:cubicBezTo>
                <a:cubicBezTo>
                  <a:pt x="286" y="612"/>
                  <a:pt x="285" y="606"/>
                  <a:pt x="283" y="603"/>
                </a:cubicBezTo>
                <a:cubicBezTo>
                  <a:pt x="280" y="602"/>
                  <a:pt x="278" y="602"/>
                  <a:pt x="276" y="602"/>
                </a:cubicBezTo>
                <a:cubicBezTo>
                  <a:pt x="273" y="605"/>
                  <a:pt x="270" y="610"/>
                  <a:pt x="267" y="617"/>
                </a:cubicBezTo>
                <a:cubicBezTo>
                  <a:pt x="265" y="623"/>
                  <a:pt x="261" y="626"/>
                  <a:pt x="256" y="626"/>
                </a:cubicBezTo>
                <a:cubicBezTo>
                  <a:pt x="255" y="626"/>
                  <a:pt x="253" y="626"/>
                  <a:pt x="252" y="626"/>
                </a:cubicBezTo>
                <a:cubicBezTo>
                  <a:pt x="251" y="626"/>
                  <a:pt x="251" y="626"/>
                  <a:pt x="251" y="626"/>
                </a:cubicBezTo>
                <a:cubicBezTo>
                  <a:pt x="247" y="625"/>
                  <a:pt x="239" y="623"/>
                  <a:pt x="240" y="611"/>
                </a:cubicBezTo>
                <a:cubicBezTo>
                  <a:pt x="240" y="604"/>
                  <a:pt x="240" y="597"/>
                  <a:pt x="238" y="594"/>
                </a:cubicBezTo>
                <a:cubicBezTo>
                  <a:pt x="236" y="593"/>
                  <a:pt x="234" y="592"/>
                  <a:pt x="232" y="592"/>
                </a:cubicBezTo>
                <a:cubicBezTo>
                  <a:pt x="228" y="594"/>
                  <a:pt x="224" y="599"/>
                  <a:pt x="221" y="605"/>
                </a:cubicBezTo>
                <a:cubicBezTo>
                  <a:pt x="218" y="611"/>
                  <a:pt x="214" y="613"/>
                  <a:pt x="210" y="613"/>
                </a:cubicBezTo>
                <a:cubicBezTo>
                  <a:pt x="208" y="613"/>
                  <a:pt x="206" y="612"/>
                  <a:pt x="204" y="612"/>
                </a:cubicBezTo>
                <a:cubicBezTo>
                  <a:pt x="203" y="611"/>
                  <a:pt x="203" y="611"/>
                  <a:pt x="203" y="611"/>
                </a:cubicBezTo>
                <a:cubicBezTo>
                  <a:pt x="199" y="610"/>
                  <a:pt x="192" y="607"/>
                  <a:pt x="195" y="595"/>
                </a:cubicBezTo>
                <a:cubicBezTo>
                  <a:pt x="196" y="588"/>
                  <a:pt x="197" y="582"/>
                  <a:pt x="196" y="578"/>
                </a:cubicBezTo>
                <a:cubicBezTo>
                  <a:pt x="194" y="577"/>
                  <a:pt x="192" y="576"/>
                  <a:pt x="190" y="575"/>
                </a:cubicBezTo>
                <a:cubicBezTo>
                  <a:pt x="189" y="575"/>
                  <a:pt x="189" y="575"/>
                  <a:pt x="189" y="575"/>
                </a:cubicBezTo>
                <a:cubicBezTo>
                  <a:pt x="186" y="577"/>
                  <a:pt x="181" y="581"/>
                  <a:pt x="177" y="586"/>
                </a:cubicBezTo>
                <a:cubicBezTo>
                  <a:pt x="173" y="591"/>
                  <a:pt x="170" y="593"/>
                  <a:pt x="166" y="593"/>
                </a:cubicBezTo>
                <a:cubicBezTo>
                  <a:pt x="163" y="593"/>
                  <a:pt x="161" y="591"/>
                  <a:pt x="159" y="590"/>
                </a:cubicBezTo>
                <a:cubicBezTo>
                  <a:pt x="158" y="590"/>
                  <a:pt x="158" y="590"/>
                  <a:pt x="158" y="590"/>
                </a:cubicBezTo>
                <a:cubicBezTo>
                  <a:pt x="155" y="588"/>
                  <a:pt x="148" y="584"/>
                  <a:pt x="153" y="573"/>
                </a:cubicBezTo>
                <a:cubicBezTo>
                  <a:pt x="155" y="566"/>
                  <a:pt x="157" y="560"/>
                  <a:pt x="156" y="556"/>
                </a:cubicBezTo>
                <a:cubicBezTo>
                  <a:pt x="154" y="555"/>
                  <a:pt x="153" y="553"/>
                  <a:pt x="151" y="552"/>
                </a:cubicBezTo>
                <a:cubicBezTo>
                  <a:pt x="147" y="553"/>
                  <a:pt x="141" y="557"/>
                  <a:pt x="136" y="561"/>
                </a:cubicBezTo>
                <a:cubicBezTo>
                  <a:pt x="133" y="564"/>
                  <a:pt x="129" y="566"/>
                  <a:pt x="126" y="566"/>
                </a:cubicBezTo>
                <a:cubicBezTo>
                  <a:pt x="123" y="566"/>
                  <a:pt x="120" y="564"/>
                  <a:pt x="118" y="562"/>
                </a:cubicBezTo>
                <a:cubicBezTo>
                  <a:pt x="117" y="562"/>
                  <a:pt x="117" y="562"/>
                  <a:pt x="117" y="562"/>
                </a:cubicBezTo>
                <a:cubicBezTo>
                  <a:pt x="114" y="559"/>
                  <a:pt x="108" y="554"/>
                  <a:pt x="115" y="544"/>
                </a:cubicBezTo>
                <a:cubicBezTo>
                  <a:pt x="118" y="538"/>
                  <a:pt x="121" y="532"/>
                  <a:pt x="121" y="528"/>
                </a:cubicBezTo>
                <a:cubicBezTo>
                  <a:pt x="119" y="526"/>
                  <a:pt x="117" y="525"/>
                  <a:pt x="116" y="523"/>
                </a:cubicBezTo>
                <a:cubicBezTo>
                  <a:pt x="112" y="523"/>
                  <a:pt x="106" y="526"/>
                  <a:pt x="100" y="530"/>
                </a:cubicBezTo>
                <a:cubicBezTo>
                  <a:pt x="97" y="532"/>
                  <a:pt x="94" y="533"/>
                  <a:pt x="91" y="533"/>
                </a:cubicBezTo>
                <a:cubicBezTo>
                  <a:pt x="87" y="533"/>
                  <a:pt x="84" y="530"/>
                  <a:pt x="82" y="528"/>
                </a:cubicBezTo>
                <a:cubicBezTo>
                  <a:pt x="81" y="527"/>
                  <a:pt x="81" y="527"/>
                  <a:pt x="81" y="527"/>
                </a:cubicBezTo>
                <a:cubicBezTo>
                  <a:pt x="79" y="524"/>
                  <a:pt x="73" y="519"/>
                  <a:pt x="82" y="509"/>
                </a:cubicBezTo>
                <a:cubicBezTo>
                  <a:pt x="86" y="504"/>
                  <a:pt x="89" y="498"/>
                  <a:pt x="90" y="494"/>
                </a:cubicBezTo>
                <a:cubicBezTo>
                  <a:pt x="90" y="494"/>
                  <a:pt x="90" y="494"/>
                  <a:pt x="90" y="494"/>
                </a:cubicBezTo>
                <a:cubicBezTo>
                  <a:pt x="88" y="492"/>
                  <a:pt x="87" y="491"/>
                  <a:pt x="86" y="489"/>
                </a:cubicBezTo>
                <a:cubicBezTo>
                  <a:pt x="82" y="489"/>
                  <a:pt x="76" y="491"/>
                  <a:pt x="69" y="493"/>
                </a:cubicBezTo>
                <a:cubicBezTo>
                  <a:pt x="66" y="495"/>
                  <a:pt x="64" y="495"/>
                  <a:pt x="62" y="495"/>
                </a:cubicBezTo>
                <a:cubicBezTo>
                  <a:pt x="56" y="495"/>
                  <a:pt x="54" y="491"/>
                  <a:pt x="52" y="489"/>
                </a:cubicBezTo>
                <a:cubicBezTo>
                  <a:pt x="51" y="488"/>
                  <a:pt x="51" y="488"/>
                  <a:pt x="51" y="488"/>
                </a:cubicBezTo>
                <a:cubicBezTo>
                  <a:pt x="49" y="484"/>
                  <a:pt x="45" y="478"/>
                  <a:pt x="54" y="470"/>
                </a:cubicBezTo>
                <a:cubicBezTo>
                  <a:pt x="59" y="466"/>
                  <a:pt x="64" y="460"/>
                  <a:pt x="65" y="457"/>
                </a:cubicBezTo>
                <a:cubicBezTo>
                  <a:pt x="64" y="455"/>
                  <a:pt x="63" y="453"/>
                  <a:pt x="62" y="451"/>
                </a:cubicBezTo>
                <a:cubicBezTo>
                  <a:pt x="58" y="450"/>
                  <a:pt x="51" y="451"/>
                  <a:pt x="45" y="452"/>
                </a:cubicBezTo>
                <a:cubicBezTo>
                  <a:pt x="42" y="453"/>
                  <a:pt x="40" y="453"/>
                  <a:pt x="39" y="453"/>
                </a:cubicBezTo>
                <a:cubicBezTo>
                  <a:pt x="32" y="453"/>
                  <a:pt x="29" y="448"/>
                  <a:pt x="28" y="445"/>
                </a:cubicBezTo>
                <a:cubicBezTo>
                  <a:pt x="28" y="444"/>
                  <a:pt x="28" y="444"/>
                  <a:pt x="28" y="444"/>
                </a:cubicBezTo>
                <a:cubicBezTo>
                  <a:pt x="26" y="440"/>
                  <a:pt x="23" y="434"/>
                  <a:pt x="34" y="427"/>
                </a:cubicBezTo>
                <a:cubicBezTo>
                  <a:pt x="39" y="423"/>
                  <a:pt x="44" y="419"/>
                  <a:pt x="46" y="416"/>
                </a:cubicBezTo>
                <a:cubicBezTo>
                  <a:pt x="45" y="413"/>
                  <a:pt x="45" y="411"/>
                  <a:pt x="44" y="409"/>
                </a:cubicBezTo>
                <a:cubicBezTo>
                  <a:pt x="41" y="408"/>
                  <a:pt x="38" y="408"/>
                  <a:pt x="33" y="408"/>
                </a:cubicBezTo>
                <a:cubicBezTo>
                  <a:pt x="31" y="408"/>
                  <a:pt x="29" y="408"/>
                  <a:pt x="27" y="408"/>
                </a:cubicBezTo>
                <a:cubicBezTo>
                  <a:pt x="26" y="408"/>
                  <a:pt x="24" y="408"/>
                  <a:pt x="23" y="408"/>
                </a:cubicBezTo>
                <a:cubicBezTo>
                  <a:pt x="14" y="408"/>
                  <a:pt x="12" y="402"/>
                  <a:pt x="12" y="398"/>
                </a:cubicBezTo>
                <a:cubicBezTo>
                  <a:pt x="11" y="397"/>
                  <a:pt x="11" y="397"/>
                  <a:pt x="11" y="397"/>
                </a:cubicBezTo>
                <a:cubicBezTo>
                  <a:pt x="10" y="393"/>
                  <a:pt x="8" y="386"/>
                  <a:pt x="20" y="381"/>
                </a:cubicBezTo>
                <a:cubicBezTo>
                  <a:pt x="26" y="379"/>
                  <a:pt x="31" y="375"/>
                  <a:pt x="34" y="372"/>
                </a:cubicBezTo>
                <a:cubicBezTo>
                  <a:pt x="34" y="370"/>
                  <a:pt x="33" y="367"/>
                  <a:pt x="33" y="365"/>
                </a:cubicBezTo>
                <a:cubicBezTo>
                  <a:pt x="29" y="363"/>
                  <a:pt x="23" y="362"/>
                  <a:pt x="16" y="361"/>
                </a:cubicBezTo>
                <a:cubicBezTo>
                  <a:pt x="3" y="361"/>
                  <a:pt x="3" y="354"/>
                  <a:pt x="2" y="350"/>
                </a:cubicBezTo>
                <a:cubicBezTo>
                  <a:pt x="2" y="348"/>
                  <a:pt x="2" y="348"/>
                  <a:pt x="2" y="348"/>
                </a:cubicBezTo>
                <a:cubicBezTo>
                  <a:pt x="2" y="344"/>
                  <a:pt x="1" y="337"/>
                  <a:pt x="13" y="334"/>
                </a:cubicBezTo>
                <a:cubicBezTo>
                  <a:pt x="20" y="332"/>
                  <a:pt x="26" y="330"/>
                  <a:pt x="29" y="327"/>
                </a:cubicBezTo>
                <a:cubicBezTo>
                  <a:pt x="29" y="325"/>
                  <a:pt x="29" y="322"/>
                  <a:pt x="29" y="320"/>
                </a:cubicBezTo>
                <a:cubicBezTo>
                  <a:pt x="25" y="318"/>
                  <a:pt x="19" y="315"/>
                  <a:pt x="13" y="314"/>
                </a:cubicBezTo>
                <a:cubicBezTo>
                  <a:pt x="0" y="312"/>
                  <a:pt x="1" y="304"/>
                  <a:pt x="1" y="300"/>
                </a:cubicBezTo>
                <a:cubicBezTo>
                  <a:pt x="1" y="299"/>
                  <a:pt x="1" y="299"/>
                  <a:pt x="1" y="299"/>
                </a:cubicBezTo>
                <a:cubicBezTo>
                  <a:pt x="1" y="295"/>
                  <a:pt x="2" y="287"/>
                  <a:pt x="14" y="286"/>
                </a:cubicBezTo>
                <a:cubicBezTo>
                  <a:pt x="21" y="286"/>
                  <a:pt x="27" y="284"/>
                  <a:pt x="31" y="282"/>
                </a:cubicBezTo>
                <a:cubicBezTo>
                  <a:pt x="31" y="279"/>
                  <a:pt x="31" y="277"/>
                  <a:pt x="32" y="275"/>
                </a:cubicBezTo>
                <a:cubicBezTo>
                  <a:pt x="29" y="272"/>
                  <a:pt x="23" y="269"/>
                  <a:pt x="17" y="266"/>
                </a:cubicBezTo>
                <a:cubicBezTo>
                  <a:pt x="5" y="262"/>
                  <a:pt x="7" y="255"/>
                  <a:pt x="8" y="251"/>
                </a:cubicBezTo>
                <a:cubicBezTo>
                  <a:pt x="8" y="250"/>
                  <a:pt x="8" y="250"/>
                  <a:pt x="8" y="250"/>
                </a:cubicBezTo>
                <a:cubicBezTo>
                  <a:pt x="9" y="246"/>
                  <a:pt x="10" y="239"/>
                  <a:pt x="20" y="239"/>
                </a:cubicBezTo>
                <a:cubicBezTo>
                  <a:pt x="21" y="239"/>
                  <a:pt x="22" y="239"/>
                  <a:pt x="23" y="239"/>
                </a:cubicBezTo>
                <a:cubicBezTo>
                  <a:pt x="24" y="239"/>
                  <a:pt x="25" y="239"/>
                  <a:pt x="26" y="239"/>
                </a:cubicBezTo>
                <a:cubicBezTo>
                  <a:pt x="31" y="239"/>
                  <a:pt x="36" y="239"/>
                  <a:pt x="40" y="237"/>
                </a:cubicBezTo>
                <a:cubicBezTo>
                  <a:pt x="40" y="235"/>
                  <a:pt x="41" y="233"/>
                  <a:pt x="42" y="231"/>
                </a:cubicBezTo>
                <a:cubicBezTo>
                  <a:pt x="39" y="227"/>
                  <a:pt x="34" y="223"/>
                  <a:pt x="28" y="220"/>
                </a:cubicBezTo>
                <a:cubicBezTo>
                  <a:pt x="17" y="214"/>
                  <a:pt x="20" y="207"/>
                  <a:pt x="22" y="203"/>
                </a:cubicBezTo>
                <a:cubicBezTo>
                  <a:pt x="22" y="202"/>
                  <a:pt x="22" y="202"/>
                  <a:pt x="22" y="202"/>
                </a:cubicBezTo>
                <a:cubicBezTo>
                  <a:pt x="23" y="199"/>
                  <a:pt x="25" y="193"/>
                  <a:pt x="33" y="193"/>
                </a:cubicBezTo>
                <a:cubicBezTo>
                  <a:pt x="34" y="193"/>
                  <a:pt x="36" y="194"/>
                  <a:pt x="38" y="194"/>
                </a:cubicBezTo>
                <a:cubicBezTo>
                  <a:pt x="45" y="195"/>
                  <a:pt x="51" y="196"/>
                  <a:pt x="55" y="195"/>
                </a:cubicBezTo>
                <a:cubicBezTo>
                  <a:pt x="56" y="193"/>
                  <a:pt x="57" y="191"/>
                  <a:pt x="58" y="189"/>
                </a:cubicBezTo>
                <a:cubicBezTo>
                  <a:pt x="57" y="185"/>
                  <a:pt x="52" y="180"/>
                  <a:pt x="47" y="176"/>
                </a:cubicBezTo>
                <a:cubicBezTo>
                  <a:pt x="37" y="168"/>
                  <a:pt x="41" y="162"/>
                  <a:pt x="43" y="158"/>
                </a:cubicBezTo>
                <a:cubicBezTo>
                  <a:pt x="44" y="157"/>
                  <a:pt x="44" y="157"/>
                  <a:pt x="44" y="157"/>
                </a:cubicBezTo>
                <a:cubicBezTo>
                  <a:pt x="45" y="155"/>
                  <a:pt x="47" y="150"/>
                  <a:pt x="53" y="150"/>
                </a:cubicBezTo>
                <a:cubicBezTo>
                  <a:pt x="56" y="150"/>
                  <a:pt x="58" y="151"/>
                  <a:pt x="61" y="152"/>
                </a:cubicBezTo>
                <a:cubicBezTo>
                  <a:pt x="67" y="154"/>
                  <a:pt x="74" y="156"/>
                  <a:pt x="77" y="156"/>
                </a:cubicBezTo>
                <a:cubicBezTo>
                  <a:pt x="79" y="154"/>
                  <a:pt x="80" y="152"/>
                  <a:pt x="81" y="150"/>
                </a:cubicBezTo>
                <a:cubicBezTo>
                  <a:pt x="80" y="146"/>
                  <a:pt x="77" y="140"/>
                  <a:pt x="72" y="135"/>
                </a:cubicBezTo>
                <a:cubicBezTo>
                  <a:pt x="64" y="126"/>
                  <a:pt x="68" y="120"/>
                  <a:pt x="71" y="117"/>
                </a:cubicBezTo>
                <a:cubicBezTo>
                  <a:pt x="72" y="116"/>
                  <a:pt x="72" y="116"/>
                  <a:pt x="72" y="116"/>
                </a:cubicBezTo>
                <a:cubicBezTo>
                  <a:pt x="73" y="114"/>
                  <a:pt x="76" y="111"/>
                  <a:pt x="81" y="111"/>
                </a:cubicBezTo>
                <a:cubicBezTo>
                  <a:pt x="83" y="111"/>
                  <a:pt x="86" y="112"/>
                  <a:pt x="90" y="114"/>
                </a:cubicBezTo>
                <a:cubicBezTo>
                  <a:pt x="95" y="117"/>
                  <a:pt x="102" y="120"/>
                  <a:pt x="106" y="120"/>
                </a:cubicBezTo>
                <a:cubicBezTo>
                  <a:pt x="107" y="118"/>
                  <a:pt x="109" y="117"/>
                  <a:pt x="110" y="115"/>
                </a:cubicBezTo>
                <a:cubicBezTo>
                  <a:pt x="110" y="111"/>
                  <a:pt x="107" y="105"/>
                  <a:pt x="103" y="99"/>
                </a:cubicBezTo>
                <a:cubicBezTo>
                  <a:pt x="96" y="89"/>
                  <a:pt x="102" y="84"/>
                  <a:pt x="105" y="81"/>
                </a:cubicBezTo>
                <a:cubicBezTo>
                  <a:pt x="106" y="80"/>
                  <a:pt x="106" y="80"/>
                  <a:pt x="106" y="80"/>
                </a:cubicBezTo>
                <a:cubicBezTo>
                  <a:pt x="108" y="79"/>
                  <a:pt x="110" y="76"/>
                  <a:pt x="114" y="76"/>
                </a:cubicBezTo>
                <a:cubicBezTo>
                  <a:pt x="117" y="76"/>
                  <a:pt x="121" y="78"/>
                  <a:pt x="124" y="81"/>
                </a:cubicBezTo>
                <a:cubicBezTo>
                  <a:pt x="129" y="85"/>
                  <a:pt x="135" y="88"/>
                  <a:pt x="139" y="89"/>
                </a:cubicBezTo>
                <a:cubicBezTo>
                  <a:pt x="139" y="89"/>
                  <a:pt x="139" y="89"/>
                  <a:pt x="139" y="89"/>
                </a:cubicBezTo>
                <a:cubicBezTo>
                  <a:pt x="141" y="88"/>
                  <a:pt x="143" y="86"/>
                  <a:pt x="144" y="85"/>
                </a:cubicBezTo>
                <a:cubicBezTo>
                  <a:pt x="144" y="81"/>
                  <a:pt x="143" y="75"/>
                  <a:pt x="140" y="68"/>
                </a:cubicBezTo>
                <a:cubicBezTo>
                  <a:pt x="135" y="57"/>
                  <a:pt x="141" y="53"/>
                  <a:pt x="145" y="51"/>
                </a:cubicBezTo>
                <a:cubicBezTo>
                  <a:pt x="146" y="50"/>
                  <a:pt x="146" y="50"/>
                  <a:pt x="146" y="50"/>
                </a:cubicBezTo>
                <a:cubicBezTo>
                  <a:pt x="147" y="49"/>
                  <a:pt x="150" y="47"/>
                  <a:pt x="153" y="47"/>
                </a:cubicBezTo>
                <a:cubicBezTo>
                  <a:pt x="156" y="47"/>
                  <a:pt x="160" y="49"/>
                  <a:pt x="163" y="54"/>
                </a:cubicBezTo>
                <a:cubicBezTo>
                  <a:pt x="168" y="58"/>
                  <a:pt x="173" y="63"/>
                  <a:pt x="177" y="64"/>
                </a:cubicBezTo>
                <a:cubicBezTo>
                  <a:pt x="179" y="63"/>
                  <a:pt x="181" y="62"/>
                  <a:pt x="183" y="61"/>
                </a:cubicBezTo>
                <a:cubicBezTo>
                  <a:pt x="183" y="57"/>
                  <a:pt x="183" y="50"/>
                  <a:pt x="181" y="44"/>
                </a:cubicBezTo>
                <a:cubicBezTo>
                  <a:pt x="177" y="32"/>
                  <a:pt x="184" y="29"/>
                  <a:pt x="188" y="27"/>
                </a:cubicBezTo>
                <a:cubicBezTo>
                  <a:pt x="189" y="27"/>
                  <a:pt x="189" y="27"/>
                  <a:pt x="189" y="27"/>
                </a:cubicBezTo>
                <a:cubicBezTo>
                  <a:pt x="191" y="26"/>
                  <a:pt x="193" y="25"/>
                  <a:pt x="196" y="25"/>
                </a:cubicBezTo>
                <a:cubicBezTo>
                  <a:pt x="200" y="25"/>
                  <a:pt x="203" y="28"/>
                  <a:pt x="206" y="33"/>
                </a:cubicBezTo>
                <a:cubicBezTo>
                  <a:pt x="210" y="38"/>
                  <a:pt x="214" y="43"/>
                  <a:pt x="218" y="45"/>
                </a:cubicBezTo>
                <a:cubicBezTo>
                  <a:pt x="220" y="45"/>
                  <a:pt x="222" y="44"/>
                  <a:pt x="224" y="43"/>
                </a:cubicBezTo>
                <a:cubicBezTo>
                  <a:pt x="226" y="39"/>
                  <a:pt x="226" y="33"/>
                  <a:pt x="225" y="26"/>
                </a:cubicBezTo>
                <a:cubicBezTo>
                  <a:pt x="224" y="13"/>
                  <a:pt x="231" y="12"/>
                  <a:pt x="235" y="11"/>
                </a:cubicBezTo>
                <a:cubicBezTo>
                  <a:pt x="236" y="10"/>
                  <a:pt x="236" y="10"/>
                  <a:pt x="236" y="10"/>
                </a:cubicBezTo>
                <a:cubicBezTo>
                  <a:pt x="237" y="10"/>
                  <a:pt x="239" y="9"/>
                  <a:pt x="241" y="9"/>
                </a:cubicBezTo>
                <a:cubicBezTo>
                  <a:pt x="246" y="9"/>
                  <a:pt x="249" y="13"/>
                  <a:pt x="252" y="19"/>
                </a:cubicBezTo>
                <a:cubicBezTo>
                  <a:pt x="255" y="25"/>
                  <a:pt x="258" y="30"/>
                  <a:pt x="261" y="33"/>
                </a:cubicBezTo>
                <a:cubicBezTo>
                  <a:pt x="263" y="33"/>
                  <a:pt x="266" y="32"/>
                  <a:pt x="268" y="32"/>
                </a:cubicBezTo>
                <a:cubicBezTo>
                  <a:pt x="268" y="32"/>
                  <a:pt x="268" y="32"/>
                  <a:pt x="268" y="32"/>
                </a:cubicBezTo>
                <a:cubicBezTo>
                  <a:pt x="270" y="28"/>
                  <a:pt x="271" y="22"/>
                  <a:pt x="272" y="15"/>
                </a:cubicBezTo>
                <a:cubicBezTo>
                  <a:pt x="272" y="3"/>
                  <a:pt x="280" y="2"/>
                  <a:pt x="284" y="2"/>
                </a:cubicBezTo>
                <a:cubicBezTo>
                  <a:pt x="285" y="1"/>
                  <a:pt x="285" y="1"/>
                  <a:pt x="285" y="1"/>
                </a:cubicBezTo>
                <a:cubicBezTo>
                  <a:pt x="286" y="1"/>
                  <a:pt x="287" y="1"/>
                  <a:pt x="288" y="1"/>
                </a:cubicBezTo>
                <a:cubicBezTo>
                  <a:pt x="294" y="1"/>
                  <a:pt x="298" y="5"/>
                  <a:pt x="299" y="12"/>
                </a:cubicBezTo>
                <a:cubicBezTo>
                  <a:pt x="301" y="19"/>
                  <a:pt x="304" y="25"/>
                  <a:pt x="306" y="28"/>
                </a:cubicBezTo>
                <a:cubicBezTo>
                  <a:pt x="309" y="28"/>
                  <a:pt x="311" y="28"/>
                  <a:pt x="313" y="28"/>
                </a:cubicBezTo>
                <a:cubicBezTo>
                  <a:pt x="316" y="25"/>
                  <a:pt x="318" y="18"/>
                  <a:pt x="320" y="12"/>
                </a:cubicBezTo>
                <a:cubicBezTo>
                  <a:pt x="321" y="4"/>
                  <a:pt x="325" y="0"/>
                  <a:pt x="331" y="0"/>
                </a:cubicBezTo>
                <a:cubicBezTo>
                  <a:pt x="332" y="0"/>
                  <a:pt x="333" y="0"/>
                  <a:pt x="333" y="0"/>
                </a:cubicBezTo>
                <a:cubicBezTo>
                  <a:pt x="335" y="0"/>
                  <a:pt x="335" y="0"/>
                  <a:pt x="335" y="0"/>
                </a:cubicBezTo>
                <a:cubicBezTo>
                  <a:pt x="339" y="0"/>
                  <a:pt x="346" y="1"/>
                  <a:pt x="347" y="13"/>
                </a:cubicBezTo>
                <a:cubicBezTo>
                  <a:pt x="348" y="20"/>
                  <a:pt x="350" y="26"/>
                  <a:pt x="352" y="30"/>
                </a:cubicBezTo>
                <a:cubicBezTo>
                  <a:pt x="354" y="30"/>
                  <a:pt x="356" y="30"/>
                  <a:pt x="358" y="31"/>
                </a:cubicBezTo>
                <a:cubicBezTo>
                  <a:pt x="361" y="28"/>
                  <a:pt x="365" y="22"/>
                  <a:pt x="367" y="16"/>
                </a:cubicBezTo>
                <a:cubicBezTo>
                  <a:pt x="369" y="9"/>
                  <a:pt x="373" y="6"/>
                  <a:pt x="378" y="6"/>
                </a:cubicBezTo>
                <a:cubicBezTo>
                  <a:pt x="380" y="6"/>
                  <a:pt x="381" y="6"/>
                  <a:pt x="383" y="7"/>
                </a:cubicBezTo>
                <a:cubicBezTo>
                  <a:pt x="384" y="7"/>
                  <a:pt x="384" y="7"/>
                  <a:pt x="384" y="7"/>
                </a:cubicBezTo>
                <a:cubicBezTo>
                  <a:pt x="388" y="8"/>
                  <a:pt x="395" y="9"/>
                  <a:pt x="394" y="22"/>
                </a:cubicBezTo>
                <a:cubicBezTo>
                  <a:pt x="394" y="28"/>
                  <a:pt x="394" y="35"/>
                  <a:pt x="396" y="39"/>
                </a:cubicBezTo>
                <a:cubicBezTo>
                  <a:pt x="398" y="39"/>
                  <a:pt x="400" y="40"/>
                  <a:pt x="403" y="41"/>
                </a:cubicBezTo>
                <a:cubicBezTo>
                  <a:pt x="406" y="38"/>
                  <a:pt x="410" y="33"/>
                  <a:pt x="413" y="27"/>
                </a:cubicBezTo>
                <a:cubicBezTo>
                  <a:pt x="416" y="22"/>
                  <a:pt x="420" y="19"/>
                  <a:pt x="424" y="19"/>
                </a:cubicBezTo>
                <a:cubicBezTo>
                  <a:pt x="426" y="19"/>
                  <a:pt x="429" y="20"/>
                  <a:pt x="430" y="21"/>
                </a:cubicBezTo>
                <a:cubicBezTo>
                  <a:pt x="431" y="21"/>
                  <a:pt x="431" y="21"/>
                  <a:pt x="431" y="21"/>
                </a:cubicBezTo>
                <a:cubicBezTo>
                  <a:pt x="435" y="23"/>
                  <a:pt x="442" y="25"/>
                  <a:pt x="439" y="37"/>
                </a:cubicBezTo>
                <a:cubicBezTo>
                  <a:pt x="438" y="44"/>
                  <a:pt x="438" y="50"/>
                  <a:pt x="438" y="54"/>
                </a:cubicBezTo>
                <a:cubicBezTo>
                  <a:pt x="440" y="55"/>
                  <a:pt x="442" y="56"/>
                  <a:pt x="444" y="57"/>
                </a:cubicBezTo>
                <a:cubicBezTo>
                  <a:pt x="445" y="57"/>
                  <a:pt x="445" y="57"/>
                  <a:pt x="445" y="57"/>
                </a:cubicBezTo>
                <a:cubicBezTo>
                  <a:pt x="448" y="56"/>
                  <a:pt x="453" y="51"/>
                  <a:pt x="457" y="46"/>
                </a:cubicBezTo>
                <a:cubicBezTo>
                  <a:pt x="461" y="42"/>
                  <a:pt x="464" y="39"/>
                  <a:pt x="468" y="39"/>
                </a:cubicBezTo>
                <a:cubicBezTo>
                  <a:pt x="471" y="39"/>
                  <a:pt x="473" y="41"/>
                  <a:pt x="475" y="42"/>
                </a:cubicBezTo>
                <a:cubicBezTo>
                  <a:pt x="476" y="43"/>
                  <a:pt x="476" y="43"/>
                  <a:pt x="476" y="43"/>
                </a:cubicBezTo>
                <a:cubicBezTo>
                  <a:pt x="480" y="45"/>
                  <a:pt x="486" y="48"/>
                  <a:pt x="481" y="60"/>
                </a:cubicBezTo>
                <a:cubicBezTo>
                  <a:pt x="479" y="66"/>
                  <a:pt x="478" y="73"/>
                  <a:pt x="478" y="77"/>
                </a:cubicBezTo>
                <a:cubicBezTo>
                  <a:pt x="480" y="78"/>
                  <a:pt x="482" y="79"/>
                  <a:pt x="484" y="81"/>
                </a:cubicBezTo>
                <a:cubicBezTo>
                  <a:pt x="487" y="79"/>
                  <a:pt x="493" y="76"/>
                  <a:pt x="498" y="71"/>
                </a:cubicBezTo>
                <a:cubicBezTo>
                  <a:pt x="501" y="68"/>
                  <a:pt x="505" y="66"/>
                  <a:pt x="508" y="66"/>
                </a:cubicBezTo>
                <a:cubicBezTo>
                  <a:pt x="512" y="66"/>
                  <a:pt x="514" y="69"/>
                  <a:pt x="516" y="70"/>
                </a:cubicBezTo>
                <a:cubicBezTo>
                  <a:pt x="517" y="71"/>
                  <a:pt x="517" y="71"/>
                  <a:pt x="517" y="71"/>
                </a:cubicBezTo>
                <a:cubicBezTo>
                  <a:pt x="520" y="73"/>
                  <a:pt x="526" y="78"/>
                  <a:pt x="519" y="89"/>
                </a:cubicBezTo>
                <a:cubicBezTo>
                  <a:pt x="516" y="95"/>
                  <a:pt x="514" y="101"/>
                  <a:pt x="513" y="105"/>
                </a:cubicBezTo>
                <a:cubicBezTo>
                  <a:pt x="515" y="106"/>
                  <a:pt x="517" y="108"/>
                  <a:pt x="518" y="110"/>
                </a:cubicBezTo>
                <a:cubicBezTo>
                  <a:pt x="522" y="109"/>
                  <a:pt x="528" y="106"/>
                  <a:pt x="534" y="103"/>
                </a:cubicBezTo>
                <a:cubicBezTo>
                  <a:pt x="537" y="100"/>
                  <a:pt x="540" y="99"/>
                  <a:pt x="543" y="99"/>
                </a:cubicBezTo>
                <a:cubicBezTo>
                  <a:pt x="548" y="99"/>
                  <a:pt x="550" y="102"/>
                  <a:pt x="552" y="104"/>
                </a:cubicBezTo>
                <a:cubicBezTo>
                  <a:pt x="553" y="105"/>
                  <a:pt x="553" y="105"/>
                  <a:pt x="553" y="105"/>
                </a:cubicBezTo>
                <a:cubicBezTo>
                  <a:pt x="556" y="108"/>
                  <a:pt x="561" y="114"/>
                  <a:pt x="552" y="123"/>
                </a:cubicBezTo>
                <a:cubicBezTo>
                  <a:pt x="548" y="128"/>
                  <a:pt x="545" y="134"/>
                  <a:pt x="544" y="138"/>
                </a:cubicBezTo>
                <a:cubicBezTo>
                  <a:pt x="544" y="138"/>
                  <a:pt x="544" y="138"/>
                  <a:pt x="544" y="138"/>
                </a:cubicBezTo>
                <a:cubicBezTo>
                  <a:pt x="546" y="140"/>
                  <a:pt x="547" y="142"/>
                  <a:pt x="548" y="144"/>
                </a:cubicBezTo>
                <a:cubicBezTo>
                  <a:pt x="552" y="144"/>
                  <a:pt x="559" y="142"/>
                  <a:pt x="565" y="139"/>
                </a:cubicBezTo>
                <a:cubicBezTo>
                  <a:pt x="568" y="138"/>
                  <a:pt x="570" y="137"/>
                  <a:pt x="573" y="137"/>
                </a:cubicBezTo>
                <a:cubicBezTo>
                  <a:pt x="578" y="137"/>
                  <a:pt x="581" y="141"/>
                  <a:pt x="582" y="144"/>
                </a:cubicBezTo>
                <a:cubicBezTo>
                  <a:pt x="583" y="145"/>
                  <a:pt x="583" y="145"/>
                  <a:pt x="583" y="145"/>
                </a:cubicBezTo>
                <a:cubicBezTo>
                  <a:pt x="585" y="148"/>
                  <a:pt x="589" y="154"/>
                  <a:pt x="580" y="162"/>
                </a:cubicBezTo>
                <a:cubicBezTo>
                  <a:pt x="575" y="167"/>
                  <a:pt x="571" y="172"/>
                  <a:pt x="569" y="176"/>
                </a:cubicBezTo>
                <a:cubicBezTo>
                  <a:pt x="570" y="178"/>
                  <a:pt x="571" y="180"/>
                  <a:pt x="572" y="182"/>
                </a:cubicBezTo>
                <a:cubicBezTo>
                  <a:pt x="576" y="182"/>
                  <a:pt x="583" y="182"/>
                  <a:pt x="589" y="180"/>
                </a:cubicBezTo>
                <a:cubicBezTo>
                  <a:pt x="592" y="179"/>
                  <a:pt x="594" y="179"/>
                  <a:pt x="596" y="179"/>
                </a:cubicBezTo>
                <a:cubicBezTo>
                  <a:pt x="603" y="179"/>
                  <a:pt x="605" y="184"/>
                  <a:pt x="606" y="187"/>
                </a:cubicBezTo>
                <a:cubicBezTo>
                  <a:pt x="606" y="188"/>
                  <a:pt x="606" y="188"/>
                  <a:pt x="606" y="188"/>
                </a:cubicBezTo>
                <a:cubicBezTo>
                  <a:pt x="608" y="192"/>
                  <a:pt x="611" y="199"/>
                  <a:pt x="601" y="205"/>
                </a:cubicBezTo>
                <a:cubicBezTo>
                  <a:pt x="595" y="209"/>
                  <a:pt x="590" y="213"/>
                  <a:pt x="588" y="217"/>
                </a:cubicBezTo>
                <a:cubicBezTo>
                  <a:pt x="589" y="219"/>
                  <a:pt x="590" y="221"/>
                  <a:pt x="590" y="223"/>
                </a:cubicBezTo>
                <a:cubicBezTo>
                  <a:pt x="594" y="225"/>
                  <a:pt x="601" y="225"/>
                  <a:pt x="607" y="224"/>
                </a:cubicBezTo>
                <a:cubicBezTo>
                  <a:pt x="609" y="224"/>
                  <a:pt x="610" y="224"/>
                  <a:pt x="611" y="224"/>
                </a:cubicBezTo>
                <a:cubicBezTo>
                  <a:pt x="620" y="224"/>
                  <a:pt x="622" y="231"/>
                  <a:pt x="623" y="234"/>
                </a:cubicBezTo>
                <a:cubicBezTo>
                  <a:pt x="623" y="235"/>
                  <a:pt x="623" y="235"/>
                  <a:pt x="623" y="235"/>
                </a:cubicBezTo>
                <a:cubicBezTo>
                  <a:pt x="624" y="239"/>
                  <a:pt x="626" y="246"/>
                  <a:pt x="614" y="251"/>
                </a:cubicBezTo>
                <a:cubicBezTo>
                  <a:pt x="608" y="254"/>
                  <a:pt x="603" y="257"/>
                  <a:pt x="600" y="260"/>
                </a:cubicBezTo>
                <a:cubicBezTo>
                  <a:pt x="601" y="263"/>
                  <a:pt x="601" y="265"/>
                  <a:pt x="601" y="267"/>
                </a:cubicBezTo>
                <a:cubicBezTo>
                  <a:pt x="605" y="269"/>
                  <a:pt x="611" y="271"/>
                  <a:pt x="618" y="271"/>
                </a:cubicBezTo>
                <a:cubicBezTo>
                  <a:pt x="631" y="271"/>
                  <a:pt x="631" y="279"/>
                  <a:pt x="632" y="283"/>
                </a:cubicBezTo>
                <a:cubicBezTo>
                  <a:pt x="632" y="284"/>
                  <a:pt x="632" y="284"/>
                  <a:pt x="632" y="284"/>
                </a:cubicBezTo>
                <a:cubicBezTo>
                  <a:pt x="632" y="288"/>
                  <a:pt x="633" y="295"/>
                  <a:pt x="621" y="298"/>
                </a:cubicBezTo>
                <a:cubicBezTo>
                  <a:pt x="615" y="300"/>
                  <a:pt x="608" y="303"/>
                  <a:pt x="605" y="305"/>
                </a:cubicBezTo>
                <a:cubicBezTo>
                  <a:pt x="605" y="308"/>
                  <a:pt x="606" y="310"/>
                  <a:pt x="606" y="312"/>
                </a:cubicBezTo>
                <a:cubicBezTo>
                  <a:pt x="609" y="315"/>
                  <a:pt x="615" y="317"/>
                  <a:pt x="622" y="319"/>
                </a:cubicBezTo>
                <a:cubicBezTo>
                  <a:pt x="634" y="321"/>
                  <a:pt x="633" y="328"/>
                  <a:pt x="633" y="332"/>
                </a:cubicBezTo>
                <a:cubicBezTo>
                  <a:pt x="633" y="334"/>
                  <a:pt x="633" y="334"/>
                  <a:pt x="633" y="334"/>
                </a:cubicBezTo>
                <a:cubicBezTo>
                  <a:pt x="633" y="338"/>
                  <a:pt x="633" y="345"/>
                  <a:pt x="620" y="346"/>
                </a:cubicBezTo>
                <a:cubicBezTo>
                  <a:pt x="613" y="347"/>
                  <a:pt x="607" y="349"/>
                  <a:pt x="604" y="351"/>
                </a:cubicBezTo>
                <a:cubicBezTo>
                  <a:pt x="603" y="353"/>
                  <a:pt x="603" y="355"/>
                  <a:pt x="603" y="358"/>
                </a:cubicBezTo>
                <a:cubicBezTo>
                  <a:pt x="605" y="360"/>
                  <a:pt x="611" y="364"/>
                  <a:pt x="617" y="366"/>
                </a:cubicBezTo>
                <a:cubicBezTo>
                  <a:pt x="629" y="370"/>
                  <a:pt x="628" y="378"/>
                  <a:pt x="627" y="382"/>
                </a:cubicBezTo>
                <a:cubicBezTo>
                  <a:pt x="626" y="383"/>
                  <a:pt x="626" y="383"/>
                  <a:pt x="626" y="383"/>
                </a:cubicBezTo>
                <a:cubicBezTo>
                  <a:pt x="626" y="386"/>
                  <a:pt x="624" y="393"/>
                  <a:pt x="614" y="393"/>
                </a:cubicBezTo>
                <a:cubicBezTo>
                  <a:pt x="613" y="393"/>
                  <a:pt x="612" y="393"/>
                  <a:pt x="612" y="393"/>
                </a:cubicBezTo>
                <a:cubicBezTo>
                  <a:pt x="611" y="393"/>
                  <a:pt x="610" y="393"/>
                  <a:pt x="608" y="393"/>
                </a:cubicBezTo>
                <a:cubicBezTo>
                  <a:pt x="603" y="393"/>
                  <a:pt x="598" y="394"/>
                  <a:pt x="595" y="395"/>
                </a:cubicBezTo>
                <a:cubicBezTo>
                  <a:pt x="594" y="397"/>
                  <a:pt x="593" y="399"/>
                  <a:pt x="593" y="402"/>
                </a:cubicBezTo>
                <a:cubicBezTo>
                  <a:pt x="595" y="405"/>
                  <a:pt x="600" y="409"/>
                  <a:pt x="606" y="413"/>
                </a:cubicBezTo>
                <a:cubicBezTo>
                  <a:pt x="617" y="419"/>
                  <a:pt x="614" y="426"/>
                  <a:pt x="613" y="429"/>
                </a:cubicBezTo>
                <a:cubicBezTo>
                  <a:pt x="612" y="430"/>
                  <a:pt x="612" y="430"/>
                  <a:pt x="612" y="430"/>
                </a:cubicBezTo>
                <a:cubicBezTo>
                  <a:pt x="611" y="434"/>
                  <a:pt x="609" y="439"/>
                  <a:pt x="601" y="439"/>
                </a:cubicBezTo>
                <a:cubicBezTo>
                  <a:pt x="600" y="439"/>
                  <a:pt x="598" y="439"/>
                  <a:pt x="596" y="438"/>
                </a:cubicBezTo>
                <a:cubicBezTo>
                  <a:pt x="590" y="437"/>
                  <a:pt x="583" y="437"/>
                  <a:pt x="579" y="437"/>
                </a:cubicBezTo>
                <a:cubicBezTo>
                  <a:pt x="578" y="440"/>
                  <a:pt x="577" y="442"/>
                  <a:pt x="576" y="444"/>
                </a:cubicBezTo>
                <a:cubicBezTo>
                  <a:pt x="578" y="447"/>
                  <a:pt x="582" y="452"/>
                  <a:pt x="587" y="457"/>
                </a:cubicBezTo>
                <a:cubicBezTo>
                  <a:pt x="597" y="464"/>
                  <a:pt x="593" y="471"/>
                  <a:pt x="591" y="474"/>
                </a:cubicBezTo>
                <a:cubicBezTo>
                  <a:pt x="591" y="475"/>
                  <a:pt x="591" y="475"/>
                  <a:pt x="591" y="475"/>
                </a:cubicBezTo>
                <a:cubicBezTo>
                  <a:pt x="589" y="478"/>
                  <a:pt x="587" y="482"/>
                  <a:pt x="581" y="482"/>
                </a:cubicBezTo>
                <a:cubicBezTo>
                  <a:pt x="579" y="482"/>
                  <a:pt x="576" y="482"/>
                  <a:pt x="573" y="480"/>
                </a:cubicBezTo>
                <a:cubicBezTo>
                  <a:pt x="567" y="478"/>
                  <a:pt x="561" y="477"/>
                  <a:pt x="557" y="477"/>
                </a:cubicBezTo>
                <a:cubicBezTo>
                  <a:pt x="555" y="479"/>
                  <a:pt x="554" y="481"/>
                  <a:pt x="553" y="483"/>
                </a:cubicBezTo>
                <a:cubicBezTo>
                  <a:pt x="554" y="486"/>
                  <a:pt x="558" y="492"/>
                  <a:pt x="562" y="497"/>
                </a:cubicBezTo>
                <a:cubicBezTo>
                  <a:pt x="571" y="506"/>
                  <a:pt x="566" y="512"/>
                  <a:pt x="563" y="515"/>
                </a:cubicBezTo>
                <a:cubicBezTo>
                  <a:pt x="562" y="516"/>
                  <a:pt x="562" y="516"/>
                  <a:pt x="562" y="516"/>
                </a:cubicBezTo>
                <a:cubicBezTo>
                  <a:pt x="561" y="518"/>
                  <a:pt x="558" y="521"/>
                  <a:pt x="553" y="521"/>
                </a:cubicBezTo>
                <a:cubicBezTo>
                  <a:pt x="551" y="521"/>
                  <a:pt x="548" y="521"/>
                  <a:pt x="545" y="518"/>
                </a:cubicBezTo>
                <a:cubicBezTo>
                  <a:pt x="539" y="515"/>
                  <a:pt x="533" y="513"/>
                  <a:pt x="529" y="512"/>
                </a:cubicBezTo>
                <a:cubicBezTo>
                  <a:pt x="527" y="514"/>
                  <a:pt x="525" y="516"/>
                  <a:pt x="524" y="518"/>
                </a:cubicBezTo>
                <a:cubicBezTo>
                  <a:pt x="524" y="521"/>
                  <a:pt x="527" y="528"/>
                  <a:pt x="531" y="533"/>
                </a:cubicBezTo>
                <a:cubicBezTo>
                  <a:pt x="538" y="543"/>
                  <a:pt x="532" y="548"/>
                  <a:pt x="529" y="551"/>
                </a:cubicBezTo>
                <a:cubicBezTo>
                  <a:pt x="528" y="552"/>
                  <a:pt x="528" y="552"/>
                  <a:pt x="528" y="552"/>
                </a:cubicBezTo>
                <a:cubicBezTo>
                  <a:pt x="526" y="554"/>
                  <a:pt x="524" y="556"/>
                  <a:pt x="520" y="556"/>
                </a:cubicBezTo>
                <a:cubicBezTo>
                  <a:pt x="517" y="556"/>
                  <a:pt x="514" y="555"/>
                  <a:pt x="510" y="552"/>
                </a:cubicBezTo>
                <a:cubicBezTo>
                  <a:pt x="505" y="547"/>
                  <a:pt x="499" y="544"/>
                  <a:pt x="495" y="543"/>
                </a:cubicBezTo>
                <a:cubicBezTo>
                  <a:pt x="494" y="545"/>
                  <a:pt x="492" y="546"/>
                  <a:pt x="490" y="547"/>
                </a:cubicBezTo>
                <a:cubicBezTo>
                  <a:pt x="490" y="551"/>
                  <a:pt x="491" y="558"/>
                  <a:pt x="494" y="564"/>
                </a:cubicBezTo>
                <a:cubicBezTo>
                  <a:pt x="500" y="575"/>
                  <a:pt x="493" y="579"/>
                  <a:pt x="490" y="581"/>
                </a:cubicBezTo>
                <a:cubicBezTo>
                  <a:pt x="489" y="582"/>
                  <a:pt x="489" y="582"/>
                  <a:pt x="489" y="582"/>
                </a:cubicBezTo>
                <a:cubicBezTo>
                  <a:pt x="487" y="583"/>
                  <a:pt x="484" y="585"/>
                  <a:pt x="481" y="585"/>
                </a:cubicBezTo>
                <a:cubicBezTo>
                  <a:pt x="478" y="585"/>
                  <a:pt x="474" y="583"/>
                  <a:pt x="471" y="579"/>
                </a:cubicBezTo>
                <a:cubicBezTo>
                  <a:pt x="466" y="574"/>
                  <a:pt x="461" y="570"/>
                  <a:pt x="458" y="568"/>
                </a:cubicBezTo>
                <a:cubicBezTo>
                  <a:pt x="456" y="569"/>
                  <a:pt x="454" y="570"/>
                  <a:pt x="451" y="572"/>
                </a:cubicBezTo>
                <a:cubicBezTo>
                  <a:pt x="451" y="575"/>
                  <a:pt x="451" y="582"/>
                  <a:pt x="453" y="589"/>
                </a:cubicBezTo>
                <a:cubicBezTo>
                  <a:pt x="457" y="601"/>
                  <a:pt x="450" y="604"/>
                  <a:pt x="446" y="605"/>
                </a:cubicBezTo>
                <a:cubicBezTo>
                  <a:pt x="445" y="606"/>
                  <a:pt x="445" y="606"/>
                  <a:pt x="445" y="606"/>
                </a:cubicBezTo>
                <a:cubicBezTo>
                  <a:pt x="443" y="606"/>
                  <a:pt x="441" y="607"/>
                  <a:pt x="439" y="607"/>
                </a:cubicBezTo>
                <a:cubicBezTo>
                  <a:pt x="435" y="607"/>
                  <a:pt x="431" y="605"/>
                  <a:pt x="428" y="600"/>
                </a:cubicBezTo>
                <a:cubicBezTo>
                  <a:pt x="424" y="594"/>
                  <a:pt x="420" y="589"/>
                  <a:pt x="417" y="587"/>
                </a:cubicBezTo>
                <a:cubicBezTo>
                  <a:pt x="414" y="588"/>
                  <a:pt x="412" y="589"/>
                  <a:pt x="410" y="589"/>
                </a:cubicBezTo>
                <a:cubicBezTo>
                  <a:pt x="409" y="593"/>
                  <a:pt x="408" y="600"/>
                  <a:pt x="409" y="607"/>
                </a:cubicBezTo>
                <a:cubicBezTo>
                  <a:pt x="411" y="619"/>
                  <a:pt x="403" y="621"/>
                  <a:pt x="399" y="622"/>
                </a:cubicBezTo>
                <a:cubicBezTo>
                  <a:pt x="398" y="622"/>
                  <a:pt x="398" y="622"/>
                  <a:pt x="398" y="622"/>
                </a:cubicBezTo>
                <a:cubicBezTo>
                  <a:pt x="397" y="622"/>
                  <a:pt x="395" y="623"/>
                  <a:pt x="393" y="623"/>
                </a:cubicBezTo>
                <a:cubicBezTo>
                  <a:pt x="388" y="623"/>
                  <a:pt x="385" y="620"/>
                  <a:pt x="382" y="614"/>
                </a:cubicBezTo>
                <a:cubicBezTo>
                  <a:pt x="380" y="607"/>
                  <a:pt x="376" y="602"/>
                  <a:pt x="373" y="599"/>
                </a:cubicBezTo>
                <a:cubicBezTo>
                  <a:pt x="371" y="600"/>
                  <a:pt x="368" y="600"/>
                  <a:pt x="366" y="600"/>
                </a:cubicBezTo>
                <a:cubicBezTo>
                  <a:pt x="366" y="600"/>
                  <a:pt x="366" y="600"/>
                  <a:pt x="366" y="600"/>
                </a:cubicBezTo>
                <a:cubicBezTo>
                  <a:pt x="364" y="604"/>
                  <a:pt x="363" y="611"/>
                  <a:pt x="362" y="617"/>
                </a:cubicBezTo>
                <a:cubicBezTo>
                  <a:pt x="362" y="630"/>
                  <a:pt x="355" y="630"/>
                  <a:pt x="350" y="631"/>
                </a:cubicBezTo>
                <a:cubicBezTo>
                  <a:pt x="349" y="631"/>
                  <a:pt x="349" y="631"/>
                  <a:pt x="349" y="631"/>
                </a:cubicBezTo>
                <a:cubicBezTo>
                  <a:pt x="348" y="631"/>
                  <a:pt x="347" y="631"/>
                  <a:pt x="346" y="631"/>
                </a:cubicBezTo>
                <a:cubicBezTo>
                  <a:pt x="340" y="631"/>
                  <a:pt x="337" y="628"/>
                  <a:pt x="335" y="620"/>
                </a:cubicBezTo>
                <a:cubicBezTo>
                  <a:pt x="333" y="613"/>
                  <a:pt x="330" y="608"/>
                  <a:pt x="328" y="604"/>
                </a:cubicBezTo>
                <a:cubicBezTo>
                  <a:pt x="326" y="605"/>
                  <a:pt x="323" y="605"/>
                  <a:pt x="321" y="605"/>
                </a:cubicBezTo>
                <a:cubicBezTo>
                  <a:pt x="319" y="608"/>
                  <a:pt x="316" y="614"/>
                  <a:pt x="315" y="621"/>
                </a:cubicBezTo>
                <a:cubicBezTo>
                  <a:pt x="313" y="629"/>
                  <a:pt x="310" y="632"/>
                  <a:pt x="303" y="632"/>
                </a:cubicBezTo>
                <a:close/>
                <a:moveTo>
                  <a:pt x="275" y="597"/>
                </a:moveTo>
                <a:cubicBezTo>
                  <a:pt x="275" y="597"/>
                  <a:pt x="275" y="597"/>
                  <a:pt x="275" y="597"/>
                </a:cubicBezTo>
                <a:cubicBezTo>
                  <a:pt x="278" y="597"/>
                  <a:pt x="281" y="597"/>
                  <a:pt x="284" y="598"/>
                </a:cubicBezTo>
                <a:cubicBezTo>
                  <a:pt x="285" y="598"/>
                  <a:pt x="286" y="598"/>
                  <a:pt x="286" y="599"/>
                </a:cubicBezTo>
                <a:cubicBezTo>
                  <a:pt x="289" y="603"/>
                  <a:pt x="291" y="612"/>
                  <a:pt x="292" y="619"/>
                </a:cubicBezTo>
                <a:cubicBezTo>
                  <a:pt x="293" y="627"/>
                  <a:pt x="296" y="627"/>
                  <a:pt x="300" y="627"/>
                </a:cubicBezTo>
                <a:cubicBezTo>
                  <a:pt x="301" y="627"/>
                  <a:pt x="301" y="627"/>
                  <a:pt x="301" y="627"/>
                </a:cubicBezTo>
                <a:cubicBezTo>
                  <a:pt x="302" y="627"/>
                  <a:pt x="303" y="627"/>
                  <a:pt x="303" y="627"/>
                </a:cubicBezTo>
                <a:cubicBezTo>
                  <a:pt x="305" y="627"/>
                  <a:pt x="308" y="627"/>
                  <a:pt x="310" y="620"/>
                </a:cubicBezTo>
                <a:cubicBezTo>
                  <a:pt x="311" y="613"/>
                  <a:pt x="314" y="605"/>
                  <a:pt x="318" y="601"/>
                </a:cubicBezTo>
                <a:cubicBezTo>
                  <a:pt x="318" y="600"/>
                  <a:pt x="319" y="600"/>
                  <a:pt x="320" y="600"/>
                </a:cubicBezTo>
                <a:cubicBezTo>
                  <a:pt x="323" y="600"/>
                  <a:pt x="325" y="600"/>
                  <a:pt x="328" y="599"/>
                </a:cubicBezTo>
                <a:cubicBezTo>
                  <a:pt x="329" y="599"/>
                  <a:pt x="329" y="599"/>
                  <a:pt x="329" y="599"/>
                </a:cubicBezTo>
                <a:cubicBezTo>
                  <a:pt x="330" y="599"/>
                  <a:pt x="330" y="600"/>
                  <a:pt x="331" y="600"/>
                </a:cubicBezTo>
                <a:cubicBezTo>
                  <a:pt x="335" y="604"/>
                  <a:pt x="338" y="612"/>
                  <a:pt x="340" y="619"/>
                </a:cubicBezTo>
                <a:cubicBezTo>
                  <a:pt x="342" y="626"/>
                  <a:pt x="345" y="626"/>
                  <a:pt x="346" y="626"/>
                </a:cubicBezTo>
                <a:cubicBezTo>
                  <a:pt x="347" y="626"/>
                  <a:pt x="348" y="626"/>
                  <a:pt x="349" y="626"/>
                </a:cubicBezTo>
                <a:cubicBezTo>
                  <a:pt x="350" y="626"/>
                  <a:pt x="350" y="626"/>
                  <a:pt x="350" y="626"/>
                </a:cubicBezTo>
                <a:cubicBezTo>
                  <a:pt x="354" y="626"/>
                  <a:pt x="357" y="625"/>
                  <a:pt x="357" y="617"/>
                </a:cubicBezTo>
                <a:cubicBezTo>
                  <a:pt x="358" y="610"/>
                  <a:pt x="359" y="602"/>
                  <a:pt x="362" y="597"/>
                </a:cubicBezTo>
                <a:cubicBezTo>
                  <a:pt x="363" y="596"/>
                  <a:pt x="363" y="596"/>
                  <a:pt x="364" y="596"/>
                </a:cubicBezTo>
                <a:cubicBezTo>
                  <a:pt x="365" y="596"/>
                  <a:pt x="365" y="596"/>
                  <a:pt x="365" y="596"/>
                </a:cubicBezTo>
                <a:cubicBezTo>
                  <a:pt x="368" y="595"/>
                  <a:pt x="371" y="595"/>
                  <a:pt x="373" y="594"/>
                </a:cubicBezTo>
                <a:cubicBezTo>
                  <a:pt x="374" y="594"/>
                  <a:pt x="374" y="594"/>
                  <a:pt x="375" y="595"/>
                </a:cubicBezTo>
                <a:cubicBezTo>
                  <a:pt x="380" y="598"/>
                  <a:pt x="384" y="606"/>
                  <a:pt x="387" y="612"/>
                </a:cubicBezTo>
                <a:cubicBezTo>
                  <a:pt x="389" y="618"/>
                  <a:pt x="392" y="618"/>
                  <a:pt x="393" y="618"/>
                </a:cubicBezTo>
                <a:cubicBezTo>
                  <a:pt x="394" y="618"/>
                  <a:pt x="396" y="618"/>
                  <a:pt x="397" y="617"/>
                </a:cubicBezTo>
                <a:cubicBezTo>
                  <a:pt x="398" y="617"/>
                  <a:pt x="398" y="617"/>
                  <a:pt x="398" y="617"/>
                </a:cubicBezTo>
                <a:cubicBezTo>
                  <a:pt x="402" y="616"/>
                  <a:pt x="405" y="615"/>
                  <a:pt x="404" y="607"/>
                </a:cubicBezTo>
                <a:cubicBezTo>
                  <a:pt x="403" y="600"/>
                  <a:pt x="403" y="591"/>
                  <a:pt x="406" y="586"/>
                </a:cubicBezTo>
                <a:cubicBezTo>
                  <a:pt x="406" y="586"/>
                  <a:pt x="406" y="585"/>
                  <a:pt x="407" y="585"/>
                </a:cubicBezTo>
                <a:cubicBezTo>
                  <a:pt x="410" y="584"/>
                  <a:pt x="413" y="583"/>
                  <a:pt x="416" y="582"/>
                </a:cubicBezTo>
                <a:cubicBezTo>
                  <a:pt x="417" y="582"/>
                  <a:pt x="417" y="582"/>
                  <a:pt x="418" y="582"/>
                </a:cubicBezTo>
                <a:cubicBezTo>
                  <a:pt x="423" y="585"/>
                  <a:pt x="429" y="592"/>
                  <a:pt x="432" y="597"/>
                </a:cubicBezTo>
                <a:cubicBezTo>
                  <a:pt x="435" y="602"/>
                  <a:pt x="438" y="602"/>
                  <a:pt x="439" y="602"/>
                </a:cubicBezTo>
                <a:cubicBezTo>
                  <a:pt x="440" y="602"/>
                  <a:pt x="441" y="602"/>
                  <a:pt x="443" y="601"/>
                </a:cubicBezTo>
                <a:cubicBezTo>
                  <a:pt x="444" y="600"/>
                  <a:pt x="444" y="600"/>
                  <a:pt x="444" y="600"/>
                </a:cubicBezTo>
                <a:cubicBezTo>
                  <a:pt x="448" y="599"/>
                  <a:pt x="451" y="598"/>
                  <a:pt x="448" y="590"/>
                </a:cubicBezTo>
                <a:cubicBezTo>
                  <a:pt x="447" y="583"/>
                  <a:pt x="445" y="575"/>
                  <a:pt x="447" y="569"/>
                </a:cubicBezTo>
                <a:cubicBezTo>
                  <a:pt x="447" y="569"/>
                  <a:pt x="447" y="568"/>
                  <a:pt x="448" y="568"/>
                </a:cubicBezTo>
                <a:cubicBezTo>
                  <a:pt x="451" y="566"/>
                  <a:pt x="453" y="565"/>
                  <a:pt x="456" y="563"/>
                </a:cubicBezTo>
                <a:cubicBezTo>
                  <a:pt x="457" y="563"/>
                  <a:pt x="458" y="563"/>
                  <a:pt x="458" y="563"/>
                </a:cubicBezTo>
                <a:cubicBezTo>
                  <a:pt x="464" y="565"/>
                  <a:pt x="470" y="571"/>
                  <a:pt x="475" y="576"/>
                </a:cubicBezTo>
                <a:cubicBezTo>
                  <a:pt x="477" y="578"/>
                  <a:pt x="479" y="580"/>
                  <a:pt x="481" y="580"/>
                </a:cubicBezTo>
                <a:cubicBezTo>
                  <a:pt x="483" y="580"/>
                  <a:pt x="484" y="579"/>
                  <a:pt x="486" y="578"/>
                </a:cubicBezTo>
                <a:cubicBezTo>
                  <a:pt x="487" y="577"/>
                  <a:pt x="487" y="577"/>
                  <a:pt x="487" y="577"/>
                </a:cubicBezTo>
                <a:cubicBezTo>
                  <a:pt x="490" y="575"/>
                  <a:pt x="493" y="573"/>
                  <a:pt x="490" y="566"/>
                </a:cubicBezTo>
                <a:cubicBezTo>
                  <a:pt x="487" y="560"/>
                  <a:pt x="484" y="552"/>
                  <a:pt x="485" y="546"/>
                </a:cubicBezTo>
                <a:cubicBezTo>
                  <a:pt x="485" y="545"/>
                  <a:pt x="485" y="545"/>
                  <a:pt x="486" y="544"/>
                </a:cubicBezTo>
                <a:cubicBezTo>
                  <a:pt x="488" y="542"/>
                  <a:pt x="491" y="541"/>
                  <a:pt x="493" y="539"/>
                </a:cubicBezTo>
                <a:cubicBezTo>
                  <a:pt x="493" y="538"/>
                  <a:pt x="493" y="538"/>
                  <a:pt x="493" y="538"/>
                </a:cubicBezTo>
                <a:cubicBezTo>
                  <a:pt x="494" y="538"/>
                  <a:pt x="494" y="538"/>
                  <a:pt x="495" y="538"/>
                </a:cubicBezTo>
                <a:cubicBezTo>
                  <a:pt x="501" y="539"/>
                  <a:pt x="508" y="544"/>
                  <a:pt x="513" y="548"/>
                </a:cubicBezTo>
                <a:cubicBezTo>
                  <a:pt x="516" y="550"/>
                  <a:pt x="518" y="551"/>
                  <a:pt x="520" y="551"/>
                </a:cubicBezTo>
                <a:cubicBezTo>
                  <a:pt x="522" y="551"/>
                  <a:pt x="523" y="550"/>
                  <a:pt x="525" y="548"/>
                </a:cubicBezTo>
                <a:cubicBezTo>
                  <a:pt x="526" y="547"/>
                  <a:pt x="526" y="547"/>
                  <a:pt x="526" y="547"/>
                </a:cubicBezTo>
                <a:cubicBezTo>
                  <a:pt x="529" y="545"/>
                  <a:pt x="531" y="543"/>
                  <a:pt x="527" y="536"/>
                </a:cubicBezTo>
                <a:cubicBezTo>
                  <a:pt x="523" y="530"/>
                  <a:pt x="519" y="522"/>
                  <a:pt x="519" y="517"/>
                </a:cubicBezTo>
                <a:cubicBezTo>
                  <a:pt x="519" y="516"/>
                  <a:pt x="519" y="515"/>
                  <a:pt x="519" y="515"/>
                </a:cubicBezTo>
                <a:cubicBezTo>
                  <a:pt x="522" y="513"/>
                  <a:pt x="524" y="510"/>
                  <a:pt x="526" y="508"/>
                </a:cubicBezTo>
                <a:cubicBezTo>
                  <a:pt x="526" y="508"/>
                  <a:pt x="527" y="507"/>
                  <a:pt x="528" y="507"/>
                </a:cubicBezTo>
                <a:cubicBezTo>
                  <a:pt x="533" y="507"/>
                  <a:pt x="541" y="511"/>
                  <a:pt x="547" y="514"/>
                </a:cubicBezTo>
                <a:cubicBezTo>
                  <a:pt x="550" y="516"/>
                  <a:pt x="552" y="516"/>
                  <a:pt x="553" y="516"/>
                </a:cubicBezTo>
                <a:cubicBezTo>
                  <a:pt x="556" y="516"/>
                  <a:pt x="557" y="515"/>
                  <a:pt x="559" y="513"/>
                </a:cubicBezTo>
                <a:cubicBezTo>
                  <a:pt x="559" y="512"/>
                  <a:pt x="559" y="512"/>
                  <a:pt x="559" y="512"/>
                </a:cubicBezTo>
                <a:cubicBezTo>
                  <a:pt x="562" y="509"/>
                  <a:pt x="564" y="506"/>
                  <a:pt x="558" y="501"/>
                </a:cubicBezTo>
                <a:cubicBezTo>
                  <a:pt x="554" y="495"/>
                  <a:pt x="549" y="488"/>
                  <a:pt x="548" y="483"/>
                </a:cubicBezTo>
                <a:cubicBezTo>
                  <a:pt x="547" y="482"/>
                  <a:pt x="548" y="481"/>
                  <a:pt x="548" y="481"/>
                </a:cubicBezTo>
                <a:cubicBezTo>
                  <a:pt x="550" y="478"/>
                  <a:pt x="552" y="476"/>
                  <a:pt x="553" y="473"/>
                </a:cubicBezTo>
                <a:cubicBezTo>
                  <a:pt x="554" y="473"/>
                  <a:pt x="554" y="472"/>
                  <a:pt x="555" y="472"/>
                </a:cubicBezTo>
                <a:cubicBezTo>
                  <a:pt x="560" y="471"/>
                  <a:pt x="568" y="473"/>
                  <a:pt x="575" y="476"/>
                </a:cubicBezTo>
                <a:cubicBezTo>
                  <a:pt x="578" y="477"/>
                  <a:pt x="579" y="477"/>
                  <a:pt x="581" y="477"/>
                </a:cubicBezTo>
                <a:cubicBezTo>
                  <a:pt x="584" y="477"/>
                  <a:pt x="585" y="475"/>
                  <a:pt x="586" y="473"/>
                </a:cubicBezTo>
                <a:cubicBezTo>
                  <a:pt x="587" y="472"/>
                  <a:pt x="587" y="472"/>
                  <a:pt x="587" y="472"/>
                </a:cubicBezTo>
                <a:cubicBezTo>
                  <a:pt x="589" y="468"/>
                  <a:pt x="591" y="465"/>
                  <a:pt x="584" y="461"/>
                </a:cubicBezTo>
                <a:cubicBezTo>
                  <a:pt x="579" y="456"/>
                  <a:pt x="573" y="450"/>
                  <a:pt x="571" y="445"/>
                </a:cubicBezTo>
                <a:cubicBezTo>
                  <a:pt x="571" y="444"/>
                  <a:pt x="571" y="443"/>
                  <a:pt x="571" y="443"/>
                </a:cubicBezTo>
                <a:cubicBezTo>
                  <a:pt x="572" y="440"/>
                  <a:pt x="574" y="437"/>
                  <a:pt x="575" y="434"/>
                </a:cubicBezTo>
                <a:cubicBezTo>
                  <a:pt x="575" y="434"/>
                  <a:pt x="576" y="433"/>
                  <a:pt x="577" y="433"/>
                </a:cubicBezTo>
                <a:cubicBezTo>
                  <a:pt x="581" y="431"/>
                  <a:pt x="589" y="432"/>
                  <a:pt x="597" y="433"/>
                </a:cubicBezTo>
                <a:cubicBezTo>
                  <a:pt x="599" y="434"/>
                  <a:pt x="600" y="434"/>
                  <a:pt x="601" y="434"/>
                </a:cubicBezTo>
                <a:cubicBezTo>
                  <a:pt x="605" y="434"/>
                  <a:pt x="606" y="432"/>
                  <a:pt x="607" y="429"/>
                </a:cubicBezTo>
                <a:cubicBezTo>
                  <a:pt x="608" y="427"/>
                  <a:pt x="608" y="427"/>
                  <a:pt x="608" y="427"/>
                </a:cubicBezTo>
                <a:cubicBezTo>
                  <a:pt x="609" y="424"/>
                  <a:pt x="611" y="421"/>
                  <a:pt x="603" y="417"/>
                </a:cubicBezTo>
                <a:cubicBezTo>
                  <a:pt x="598" y="414"/>
                  <a:pt x="591" y="408"/>
                  <a:pt x="588" y="403"/>
                </a:cubicBezTo>
                <a:cubicBezTo>
                  <a:pt x="587" y="403"/>
                  <a:pt x="587" y="402"/>
                  <a:pt x="588" y="401"/>
                </a:cubicBezTo>
                <a:cubicBezTo>
                  <a:pt x="588" y="398"/>
                  <a:pt x="589" y="395"/>
                  <a:pt x="590" y="392"/>
                </a:cubicBezTo>
                <a:cubicBezTo>
                  <a:pt x="590" y="392"/>
                  <a:pt x="591" y="391"/>
                  <a:pt x="592" y="391"/>
                </a:cubicBezTo>
                <a:cubicBezTo>
                  <a:pt x="597" y="388"/>
                  <a:pt x="605" y="388"/>
                  <a:pt x="608" y="388"/>
                </a:cubicBezTo>
                <a:cubicBezTo>
                  <a:pt x="610" y="388"/>
                  <a:pt x="611" y="388"/>
                  <a:pt x="612" y="388"/>
                </a:cubicBezTo>
                <a:cubicBezTo>
                  <a:pt x="613" y="388"/>
                  <a:pt x="613" y="388"/>
                  <a:pt x="614" y="388"/>
                </a:cubicBezTo>
                <a:cubicBezTo>
                  <a:pt x="620" y="388"/>
                  <a:pt x="621" y="385"/>
                  <a:pt x="621" y="382"/>
                </a:cubicBezTo>
                <a:cubicBezTo>
                  <a:pt x="622" y="381"/>
                  <a:pt x="622" y="381"/>
                  <a:pt x="622" y="381"/>
                </a:cubicBezTo>
                <a:cubicBezTo>
                  <a:pt x="623" y="377"/>
                  <a:pt x="623" y="374"/>
                  <a:pt x="616" y="371"/>
                </a:cubicBezTo>
                <a:cubicBezTo>
                  <a:pt x="609" y="368"/>
                  <a:pt x="602" y="364"/>
                  <a:pt x="598" y="360"/>
                </a:cubicBezTo>
                <a:cubicBezTo>
                  <a:pt x="598" y="359"/>
                  <a:pt x="597" y="359"/>
                  <a:pt x="598" y="358"/>
                </a:cubicBezTo>
                <a:cubicBezTo>
                  <a:pt x="598" y="355"/>
                  <a:pt x="598" y="352"/>
                  <a:pt x="599" y="349"/>
                </a:cubicBezTo>
                <a:cubicBezTo>
                  <a:pt x="599" y="348"/>
                  <a:pt x="599" y="348"/>
                  <a:pt x="600" y="347"/>
                </a:cubicBezTo>
                <a:cubicBezTo>
                  <a:pt x="604" y="344"/>
                  <a:pt x="613" y="342"/>
                  <a:pt x="620" y="341"/>
                </a:cubicBezTo>
                <a:cubicBezTo>
                  <a:pt x="628" y="341"/>
                  <a:pt x="628" y="337"/>
                  <a:pt x="628" y="333"/>
                </a:cubicBezTo>
                <a:cubicBezTo>
                  <a:pt x="628" y="332"/>
                  <a:pt x="628" y="332"/>
                  <a:pt x="628" y="332"/>
                </a:cubicBezTo>
                <a:cubicBezTo>
                  <a:pt x="628" y="328"/>
                  <a:pt x="629" y="325"/>
                  <a:pt x="621" y="324"/>
                </a:cubicBezTo>
                <a:cubicBezTo>
                  <a:pt x="614" y="322"/>
                  <a:pt x="606" y="319"/>
                  <a:pt x="601" y="315"/>
                </a:cubicBezTo>
                <a:cubicBezTo>
                  <a:pt x="601" y="315"/>
                  <a:pt x="601" y="314"/>
                  <a:pt x="601" y="314"/>
                </a:cubicBezTo>
                <a:cubicBezTo>
                  <a:pt x="601" y="311"/>
                  <a:pt x="600" y="308"/>
                  <a:pt x="600" y="305"/>
                </a:cubicBezTo>
                <a:cubicBezTo>
                  <a:pt x="600" y="304"/>
                  <a:pt x="600" y="304"/>
                  <a:pt x="600" y="304"/>
                </a:cubicBezTo>
                <a:cubicBezTo>
                  <a:pt x="600" y="304"/>
                  <a:pt x="601" y="303"/>
                  <a:pt x="601" y="303"/>
                </a:cubicBezTo>
                <a:cubicBezTo>
                  <a:pt x="605" y="299"/>
                  <a:pt x="613" y="295"/>
                  <a:pt x="620" y="294"/>
                </a:cubicBezTo>
                <a:cubicBezTo>
                  <a:pt x="628" y="292"/>
                  <a:pt x="627" y="289"/>
                  <a:pt x="627" y="285"/>
                </a:cubicBezTo>
                <a:cubicBezTo>
                  <a:pt x="627" y="283"/>
                  <a:pt x="627" y="283"/>
                  <a:pt x="627" y="283"/>
                </a:cubicBezTo>
                <a:cubicBezTo>
                  <a:pt x="626" y="279"/>
                  <a:pt x="626" y="276"/>
                  <a:pt x="618" y="276"/>
                </a:cubicBezTo>
                <a:cubicBezTo>
                  <a:pt x="611" y="276"/>
                  <a:pt x="602" y="274"/>
                  <a:pt x="598" y="271"/>
                </a:cubicBezTo>
                <a:cubicBezTo>
                  <a:pt x="597" y="271"/>
                  <a:pt x="597" y="270"/>
                  <a:pt x="597" y="269"/>
                </a:cubicBezTo>
                <a:cubicBezTo>
                  <a:pt x="597" y="268"/>
                  <a:pt x="597" y="268"/>
                  <a:pt x="597" y="268"/>
                </a:cubicBezTo>
                <a:cubicBezTo>
                  <a:pt x="596" y="266"/>
                  <a:pt x="596" y="263"/>
                  <a:pt x="595" y="260"/>
                </a:cubicBezTo>
                <a:cubicBezTo>
                  <a:pt x="595" y="260"/>
                  <a:pt x="595" y="259"/>
                  <a:pt x="595" y="258"/>
                </a:cubicBezTo>
                <a:cubicBezTo>
                  <a:pt x="599" y="254"/>
                  <a:pt x="606" y="249"/>
                  <a:pt x="612" y="246"/>
                </a:cubicBezTo>
                <a:cubicBezTo>
                  <a:pt x="620" y="243"/>
                  <a:pt x="619" y="240"/>
                  <a:pt x="618" y="237"/>
                </a:cubicBezTo>
                <a:cubicBezTo>
                  <a:pt x="618" y="235"/>
                  <a:pt x="618" y="235"/>
                  <a:pt x="618" y="235"/>
                </a:cubicBezTo>
                <a:cubicBezTo>
                  <a:pt x="617" y="232"/>
                  <a:pt x="616" y="229"/>
                  <a:pt x="611" y="229"/>
                </a:cubicBezTo>
                <a:cubicBezTo>
                  <a:pt x="610" y="229"/>
                  <a:pt x="609" y="229"/>
                  <a:pt x="608" y="229"/>
                </a:cubicBezTo>
                <a:cubicBezTo>
                  <a:pt x="606" y="230"/>
                  <a:pt x="603" y="230"/>
                  <a:pt x="601" y="230"/>
                </a:cubicBezTo>
                <a:cubicBezTo>
                  <a:pt x="597" y="230"/>
                  <a:pt x="591" y="229"/>
                  <a:pt x="587" y="228"/>
                </a:cubicBezTo>
                <a:cubicBezTo>
                  <a:pt x="587" y="227"/>
                  <a:pt x="586" y="227"/>
                  <a:pt x="586" y="226"/>
                </a:cubicBezTo>
                <a:cubicBezTo>
                  <a:pt x="585" y="223"/>
                  <a:pt x="584" y="220"/>
                  <a:pt x="583" y="217"/>
                </a:cubicBezTo>
                <a:cubicBezTo>
                  <a:pt x="583" y="217"/>
                  <a:pt x="583" y="216"/>
                  <a:pt x="583" y="215"/>
                </a:cubicBezTo>
                <a:cubicBezTo>
                  <a:pt x="586" y="210"/>
                  <a:pt x="592" y="205"/>
                  <a:pt x="598" y="201"/>
                </a:cubicBezTo>
                <a:cubicBezTo>
                  <a:pt x="605" y="197"/>
                  <a:pt x="604" y="194"/>
                  <a:pt x="602" y="190"/>
                </a:cubicBezTo>
                <a:cubicBezTo>
                  <a:pt x="601" y="189"/>
                  <a:pt x="601" y="189"/>
                  <a:pt x="601" y="189"/>
                </a:cubicBezTo>
                <a:cubicBezTo>
                  <a:pt x="600" y="186"/>
                  <a:pt x="599" y="184"/>
                  <a:pt x="596" y="184"/>
                </a:cubicBezTo>
                <a:cubicBezTo>
                  <a:pt x="594" y="184"/>
                  <a:pt x="593" y="184"/>
                  <a:pt x="591" y="185"/>
                </a:cubicBezTo>
                <a:cubicBezTo>
                  <a:pt x="586" y="186"/>
                  <a:pt x="580" y="187"/>
                  <a:pt x="576" y="187"/>
                </a:cubicBezTo>
                <a:cubicBezTo>
                  <a:pt x="574" y="187"/>
                  <a:pt x="572" y="187"/>
                  <a:pt x="570" y="186"/>
                </a:cubicBezTo>
                <a:cubicBezTo>
                  <a:pt x="570" y="186"/>
                  <a:pt x="569" y="186"/>
                  <a:pt x="569" y="185"/>
                </a:cubicBezTo>
                <a:cubicBezTo>
                  <a:pt x="567" y="182"/>
                  <a:pt x="566" y="180"/>
                  <a:pt x="564" y="177"/>
                </a:cubicBezTo>
                <a:cubicBezTo>
                  <a:pt x="564" y="176"/>
                  <a:pt x="564" y="176"/>
                  <a:pt x="564" y="175"/>
                </a:cubicBezTo>
                <a:cubicBezTo>
                  <a:pt x="566" y="170"/>
                  <a:pt x="572" y="163"/>
                  <a:pt x="576" y="159"/>
                </a:cubicBezTo>
                <a:cubicBezTo>
                  <a:pt x="583" y="153"/>
                  <a:pt x="581" y="151"/>
                  <a:pt x="579" y="147"/>
                </a:cubicBezTo>
                <a:cubicBezTo>
                  <a:pt x="578" y="146"/>
                  <a:pt x="578" y="146"/>
                  <a:pt x="578" y="146"/>
                </a:cubicBezTo>
                <a:cubicBezTo>
                  <a:pt x="576" y="144"/>
                  <a:pt x="575" y="142"/>
                  <a:pt x="573" y="142"/>
                </a:cubicBezTo>
                <a:cubicBezTo>
                  <a:pt x="571" y="142"/>
                  <a:pt x="569" y="143"/>
                  <a:pt x="567" y="144"/>
                </a:cubicBezTo>
                <a:cubicBezTo>
                  <a:pt x="559" y="147"/>
                  <a:pt x="552" y="149"/>
                  <a:pt x="547" y="149"/>
                </a:cubicBezTo>
                <a:cubicBezTo>
                  <a:pt x="546" y="148"/>
                  <a:pt x="545" y="148"/>
                  <a:pt x="545" y="148"/>
                </a:cubicBezTo>
                <a:cubicBezTo>
                  <a:pt x="544" y="145"/>
                  <a:pt x="542" y="143"/>
                  <a:pt x="540" y="141"/>
                </a:cubicBezTo>
                <a:cubicBezTo>
                  <a:pt x="539" y="140"/>
                  <a:pt x="539" y="140"/>
                  <a:pt x="539" y="140"/>
                </a:cubicBezTo>
                <a:cubicBezTo>
                  <a:pt x="539" y="140"/>
                  <a:pt x="539" y="139"/>
                  <a:pt x="539" y="138"/>
                </a:cubicBezTo>
                <a:cubicBezTo>
                  <a:pt x="540" y="133"/>
                  <a:pt x="544" y="125"/>
                  <a:pt x="549" y="120"/>
                </a:cubicBezTo>
                <a:cubicBezTo>
                  <a:pt x="554" y="114"/>
                  <a:pt x="552" y="111"/>
                  <a:pt x="549" y="109"/>
                </a:cubicBezTo>
                <a:cubicBezTo>
                  <a:pt x="548" y="108"/>
                  <a:pt x="548" y="108"/>
                  <a:pt x="548" y="108"/>
                </a:cubicBezTo>
                <a:cubicBezTo>
                  <a:pt x="546" y="106"/>
                  <a:pt x="545" y="104"/>
                  <a:pt x="543" y="104"/>
                </a:cubicBezTo>
                <a:cubicBezTo>
                  <a:pt x="541" y="104"/>
                  <a:pt x="539" y="105"/>
                  <a:pt x="537" y="107"/>
                </a:cubicBezTo>
                <a:cubicBezTo>
                  <a:pt x="531" y="110"/>
                  <a:pt x="523" y="114"/>
                  <a:pt x="518" y="115"/>
                </a:cubicBezTo>
                <a:cubicBezTo>
                  <a:pt x="517" y="115"/>
                  <a:pt x="516" y="114"/>
                  <a:pt x="516" y="114"/>
                </a:cubicBezTo>
                <a:cubicBezTo>
                  <a:pt x="514" y="112"/>
                  <a:pt x="511" y="110"/>
                  <a:pt x="509" y="108"/>
                </a:cubicBezTo>
                <a:cubicBezTo>
                  <a:pt x="509" y="107"/>
                  <a:pt x="508" y="106"/>
                  <a:pt x="508" y="106"/>
                </a:cubicBezTo>
                <a:cubicBezTo>
                  <a:pt x="508" y="100"/>
                  <a:pt x="512" y="92"/>
                  <a:pt x="515" y="86"/>
                </a:cubicBezTo>
                <a:cubicBezTo>
                  <a:pt x="519" y="79"/>
                  <a:pt x="517" y="77"/>
                  <a:pt x="514" y="75"/>
                </a:cubicBezTo>
                <a:cubicBezTo>
                  <a:pt x="513" y="74"/>
                  <a:pt x="513" y="74"/>
                  <a:pt x="513" y="74"/>
                </a:cubicBezTo>
                <a:cubicBezTo>
                  <a:pt x="511" y="73"/>
                  <a:pt x="510" y="71"/>
                  <a:pt x="508" y="71"/>
                </a:cubicBezTo>
                <a:cubicBezTo>
                  <a:pt x="506" y="71"/>
                  <a:pt x="504" y="73"/>
                  <a:pt x="501" y="75"/>
                </a:cubicBezTo>
                <a:cubicBezTo>
                  <a:pt x="496" y="79"/>
                  <a:pt x="489" y="85"/>
                  <a:pt x="484" y="86"/>
                </a:cubicBezTo>
                <a:cubicBezTo>
                  <a:pt x="483" y="86"/>
                  <a:pt x="482" y="86"/>
                  <a:pt x="482" y="85"/>
                </a:cubicBezTo>
                <a:cubicBezTo>
                  <a:pt x="479" y="84"/>
                  <a:pt x="477" y="82"/>
                  <a:pt x="474" y="80"/>
                </a:cubicBezTo>
                <a:cubicBezTo>
                  <a:pt x="473" y="80"/>
                  <a:pt x="473" y="79"/>
                  <a:pt x="473" y="78"/>
                </a:cubicBezTo>
                <a:cubicBezTo>
                  <a:pt x="472" y="73"/>
                  <a:pt x="474" y="64"/>
                  <a:pt x="477" y="58"/>
                </a:cubicBezTo>
                <a:cubicBezTo>
                  <a:pt x="480" y="50"/>
                  <a:pt x="477" y="49"/>
                  <a:pt x="474" y="47"/>
                </a:cubicBezTo>
                <a:cubicBezTo>
                  <a:pt x="472" y="46"/>
                  <a:pt x="472" y="46"/>
                  <a:pt x="472" y="46"/>
                </a:cubicBezTo>
                <a:cubicBezTo>
                  <a:pt x="471" y="45"/>
                  <a:pt x="469" y="45"/>
                  <a:pt x="468" y="45"/>
                </a:cubicBezTo>
                <a:cubicBezTo>
                  <a:pt x="466" y="45"/>
                  <a:pt x="464" y="46"/>
                  <a:pt x="461" y="49"/>
                </a:cubicBezTo>
                <a:cubicBezTo>
                  <a:pt x="457" y="54"/>
                  <a:pt x="451" y="60"/>
                  <a:pt x="446" y="63"/>
                </a:cubicBezTo>
                <a:cubicBezTo>
                  <a:pt x="445" y="63"/>
                  <a:pt x="444" y="63"/>
                  <a:pt x="444" y="62"/>
                </a:cubicBezTo>
                <a:cubicBezTo>
                  <a:pt x="442" y="62"/>
                  <a:pt x="442" y="62"/>
                  <a:pt x="442" y="62"/>
                </a:cubicBezTo>
                <a:cubicBezTo>
                  <a:pt x="440" y="60"/>
                  <a:pt x="437" y="59"/>
                  <a:pt x="435" y="58"/>
                </a:cubicBezTo>
                <a:cubicBezTo>
                  <a:pt x="434" y="58"/>
                  <a:pt x="434" y="57"/>
                  <a:pt x="434" y="57"/>
                </a:cubicBezTo>
                <a:cubicBezTo>
                  <a:pt x="432" y="51"/>
                  <a:pt x="433" y="43"/>
                  <a:pt x="434" y="36"/>
                </a:cubicBezTo>
                <a:cubicBezTo>
                  <a:pt x="436" y="28"/>
                  <a:pt x="433" y="27"/>
                  <a:pt x="430" y="26"/>
                </a:cubicBezTo>
                <a:cubicBezTo>
                  <a:pt x="428" y="25"/>
                  <a:pt x="428" y="25"/>
                  <a:pt x="428" y="25"/>
                </a:cubicBezTo>
                <a:cubicBezTo>
                  <a:pt x="427" y="25"/>
                  <a:pt x="426" y="24"/>
                  <a:pt x="424" y="24"/>
                </a:cubicBezTo>
                <a:cubicBezTo>
                  <a:pt x="423" y="24"/>
                  <a:pt x="421" y="24"/>
                  <a:pt x="418" y="30"/>
                </a:cubicBezTo>
                <a:cubicBezTo>
                  <a:pt x="414" y="36"/>
                  <a:pt x="409" y="43"/>
                  <a:pt x="404" y="46"/>
                </a:cubicBezTo>
                <a:cubicBezTo>
                  <a:pt x="404" y="46"/>
                  <a:pt x="403" y="46"/>
                  <a:pt x="402" y="46"/>
                </a:cubicBezTo>
                <a:cubicBezTo>
                  <a:pt x="399" y="45"/>
                  <a:pt x="396" y="44"/>
                  <a:pt x="393" y="43"/>
                </a:cubicBezTo>
                <a:cubicBezTo>
                  <a:pt x="393" y="43"/>
                  <a:pt x="392" y="42"/>
                  <a:pt x="392" y="42"/>
                </a:cubicBezTo>
                <a:cubicBezTo>
                  <a:pt x="389" y="37"/>
                  <a:pt x="389" y="28"/>
                  <a:pt x="389" y="21"/>
                </a:cubicBezTo>
                <a:cubicBezTo>
                  <a:pt x="390" y="13"/>
                  <a:pt x="387" y="13"/>
                  <a:pt x="383" y="12"/>
                </a:cubicBezTo>
                <a:cubicBezTo>
                  <a:pt x="381" y="12"/>
                  <a:pt x="381" y="12"/>
                  <a:pt x="381" y="12"/>
                </a:cubicBezTo>
                <a:cubicBezTo>
                  <a:pt x="380" y="11"/>
                  <a:pt x="379" y="11"/>
                  <a:pt x="378" y="11"/>
                </a:cubicBezTo>
                <a:cubicBezTo>
                  <a:pt x="377" y="11"/>
                  <a:pt x="374" y="11"/>
                  <a:pt x="372" y="18"/>
                </a:cubicBezTo>
                <a:cubicBezTo>
                  <a:pt x="369" y="24"/>
                  <a:pt x="365" y="32"/>
                  <a:pt x="361" y="35"/>
                </a:cubicBezTo>
                <a:cubicBezTo>
                  <a:pt x="360" y="36"/>
                  <a:pt x="360" y="36"/>
                  <a:pt x="359" y="36"/>
                </a:cubicBezTo>
                <a:cubicBezTo>
                  <a:pt x="356" y="35"/>
                  <a:pt x="353" y="35"/>
                  <a:pt x="350" y="35"/>
                </a:cubicBezTo>
                <a:cubicBezTo>
                  <a:pt x="349" y="35"/>
                  <a:pt x="348" y="34"/>
                  <a:pt x="348" y="34"/>
                </a:cubicBezTo>
                <a:cubicBezTo>
                  <a:pt x="345" y="29"/>
                  <a:pt x="343" y="20"/>
                  <a:pt x="342" y="14"/>
                </a:cubicBezTo>
                <a:cubicBezTo>
                  <a:pt x="341" y="6"/>
                  <a:pt x="338" y="5"/>
                  <a:pt x="334" y="5"/>
                </a:cubicBezTo>
                <a:cubicBezTo>
                  <a:pt x="333" y="5"/>
                  <a:pt x="333" y="5"/>
                  <a:pt x="333" y="5"/>
                </a:cubicBezTo>
                <a:cubicBezTo>
                  <a:pt x="332" y="5"/>
                  <a:pt x="332" y="5"/>
                  <a:pt x="331" y="5"/>
                </a:cubicBezTo>
                <a:cubicBezTo>
                  <a:pt x="329" y="5"/>
                  <a:pt x="326" y="5"/>
                  <a:pt x="324" y="13"/>
                </a:cubicBezTo>
                <a:cubicBezTo>
                  <a:pt x="323" y="19"/>
                  <a:pt x="320" y="28"/>
                  <a:pt x="316" y="32"/>
                </a:cubicBezTo>
                <a:cubicBezTo>
                  <a:pt x="316" y="32"/>
                  <a:pt x="315" y="33"/>
                  <a:pt x="315" y="33"/>
                </a:cubicBezTo>
                <a:cubicBezTo>
                  <a:pt x="311" y="33"/>
                  <a:pt x="308" y="33"/>
                  <a:pt x="305" y="33"/>
                </a:cubicBezTo>
                <a:cubicBezTo>
                  <a:pt x="305" y="33"/>
                  <a:pt x="304" y="33"/>
                  <a:pt x="303" y="32"/>
                </a:cubicBezTo>
                <a:cubicBezTo>
                  <a:pt x="299" y="28"/>
                  <a:pt x="296" y="20"/>
                  <a:pt x="294" y="14"/>
                </a:cubicBezTo>
                <a:cubicBezTo>
                  <a:pt x="293" y="6"/>
                  <a:pt x="290" y="6"/>
                  <a:pt x="288" y="6"/>
                </a:cubicBezTo>
                <a:cubicBezTo>
                  <a:pt x="287" y="6"/>
                  <a:pt x="286" y="6"/>
                  <a:pt x="285" y="6"/>
                </a:cubicBezTo>
                <a:cubicBezTo>
                  <a:pt x="284" y="7"/>
                  <a:pt x="284" y="7"/>
                  <a:pt x="284" y="7"/>
                </a:cubicBezTo>
                <a:cubicBezTo>
                  <a:pt x="280" y="7"/>
                  <a:pt x="277" y="7"/>
                  <a:pt x="277" y="15"/>
                </a:cubicBezTo>
                <a:cubicBezTo>
                  <a:pt x="276" y="22"/>
                  <a:pt x="275" y="31"/>
                  <a:pt x="272" y="36"/>
                </a:cubicBezTo>
                <a:cubicBezTo>
                  <a:pt x="271" y="36"/>
                  <a:pt x="271" y="37"/>
                  <a:pt x="270" y="37"/>
                </a:cubicBezTo>
                <a:cubicBezTo>
                  <a:pt x="268" y="37"/>
                  <a:pt x="268" y="37"/>
                  <a:pt x="268" y="37"/>
                </a:cubicBezTo>
                <a:cubicBezTo>
                  <a:pt x="266" y="37"/>
                  <a:pt x="264" y="38"/>
                  <a:pt x="261" y="38"/>
                </a:cubicBezTo>
                <a:cubicBezTo>
                  <a:pt x="260" y="38"/>
                  <a:pt x="260" y="38"/>
                  <a:pt x="259" y="38"/>
                </a:cubicBezTo>
                <a:cubicBezTo>
                  <a:pt x="255" y="34"/>
                  <a:pt x="250" y="27"/>
                  <a:pt x="247" y="21"/>
                </a:cubicBezTo>
                <a:cubicBezTo>
                  <a:pt x="245" y="14"/>
                  <a:pt x="242" y="14"/>
                  <a:pt x="241" y="14"/>
                </a:cubicBezTo>
                <a:cubicBezTo>
                  <a:pt x="240" y="14"/>
                  <a:pt x="239" y="15"/>
                  <a:pt x="237" y="15"/>
                </a:cubicBezTo>
                <a:cubicBezTo>
                  <a:pt x="236" y="16"/>
                  <a:pt x="236" y="16"/>
                  <a:pt x="236" y="16"/>
                </a:cubicBezTo>
                <a:cubicBezTo>
                  <a:pt x="232" y="16"/>
                  <a:pt x="229" y="17"/>
                  <a:pt x="230" y="25"/>
                </a:cubicBezTo>
                <a:cubicBezTo>
                  <a:pt x="231" y="32"/>
                  <a:pt x="231" y="41"/>
                  <a:pt x="229" y="46"/>
                </a:cubicBezTo>
                <a:cubicBezTo>
                  <a:pt x="228" y="47"/>
                  <a:pt x="228" y="47"/>
                  <a:pt x="227" y="47"/>
                </a:cubicBezTo>
                <a:cubicBezTo>
                  <a:pt x="224" y="48"/>
                  <a:pt x="221" y="49"/>
                  <a:pt x="218" y="50"/>
                </a:cubicBezTo>
                <a:cubicBezTo>
                  <a:pt x="218" y="51"/>
                  <a:pt x="217" y="51"/>
                  <a:pt x="216" y="50"/>
                </a:cubicBezTo>
                <a:cubicBezTo>
                  <a:pt x="211" y="48"/>
                  <a:pt x="206" y="41"/>
                  <a:pt x="202" y="35"/>
                </a:cubicBezTo>
                <a:cubicBezTo>
                  <a:pt x="199" y="30"/>
                  <a:pt x="196" y="30"/>
                  <a:pt x="196" y="30"/>
                </a:cubicBezTo>
                <a:cubicBezTo>
                  <a:pt x="194" y="30"/>
                  <a:pt x="193" y="31"/>
                  <a:pt x="191" y="31"/>
                </a:cubicBezTo>
                <a:cubicBezTo>
                  <a:pt x="190" y="32"/>
                  <a:pt x="190" y="32"/>
                  <a:pt x="190" y="32"/>
                </a:cubicBezTo>
                <a:cubicBezTo>
                  <a:pt x="186" y="33"/>
                  <a:pt x="184" y="35"/>
                  <a:pt x="186" y="42"/>
                </a:cubicBezTo>
                <a:cubicBezTo>
                  <a:pt x="188" y="49"/>
                  <a:pt x="189" y="58"/>
                  <a:pt x="187" y="63"/>
                </a:cubicBezTo>
                <a:cubicBezTo>
                  <a:pt x="187" y="64"/>
                  <a:pt x="187" y="64"/>
                  <a:pt x="186" y="65"/>
                </a:cubicBezTo>
                <a:cubicBezTo>
                  <a:pt x="183" y="66"/>
                  <a:pt x="181" y="68"/>
                  <a:pt x="178" y="69"/>
                </a:cubicBezTo>
                <a:cubicBezTo>
                  <a:pt x="177" y="70"/>
                  <a:pt x="177" y="70"/>
                  <a:pt x="176" y="69"/>
                </a:cubicBezTo>
                <a:cubicBezTo>
                  <a:pt x="171" y="68"/>
                  <a:pt x="164" y="62"/>
                  <a:pt x="159" y="57"/>
                </a:cubicBezTo>
                <a:cubicBezTo>
                  <a:pt x="157" y="54"/>
                  <a:pt x="155" y="52"/>
                  <a:pt x="153" y="52"/>
                </a:cubicBezTo>
                <a:cubicBezTo>
                  <a:pt x="151" y="52"/>
                  <a:pt x="150" y="54"/>
                  <a:pt x="148" y="55"/>
                </a:cubicBezTo>
                <a:cubicBezTo>
                  <a:pt x="147" y="55"/>
                  <a:pt x="147" y="55"/>
                  <a:pt x="147" y="55"/>
                </a:cubicBezTo>
                <a:cubicBezTo>
                  <a:pt x="144" y="57"/>
                  <a:pt x="141" y="59"/>
                  <a:pt x="145" y="66"/>
                </a:cubicBezTo>
                <a:cubicBezTo>
                  <a:pt x="147" y="72"/>
                  <a:pt x="150" y="81"/>
                  <a:pt x="149" y="86"/>
                </a:cubicBezTo>
                <a:cubicBezTo>
                  <a:pt x="149" y="87"/>
                  <a:pt x="149" y="88"/>
                  <a:pt x="148" y="88"/>
                </a:cubicBezTo>
                <a:cubicBezTo>
                  <a:pt x="146" y="90"/>
                  <a:pt x="144" y="91"/>
                  <a:pt x="142" y="93"/>
                </a:cubicBezTo>
                <a:cubicBezTo>
                  <a:pt x="141" y="94"/>
                  <a:pt x="141" y="94"/>
                  <a:pt x="141" y="94"/>
                </a:cubicBezTo>
                <a:cubicBezTo>
                  <a:pt x="140" y="94"/>
                  <a:pt x="140" y="95"/>
                  <a:pt x="139" y="94"/>
                </a:cubicBezTo>
                <a:cubicBezTo>
                  <a:pt x="133" y="94"/>
                  <a:pt x="126" y="89"/>
                  <a:pt x="121" y="85"/>
                </a:cubicBezTo>
                <a:cubicBezTo>
                  <a:pt x="118" y="82"/>
                  <a:pt x="116" y="81"/>
                  <a:pt x="114" y="81"/>
                </a:cubicBezTo>
                <a:cubicBezTo>
                  <a:pt x="112" y="81"/>
                  <a:pt x="111" y="83"/>
                  <a:pt x="109" y="84"/>
                </a:cubicBezTo>
                <a:cubicBezTo>
                  <a:pt x="108" y="85"/>
                  <a:pt x="108" y="85"/>
                  <a:pt x="108" y="85"/>
                </a:cubicBezTo>
                <a:cubicBezTo>
                  <a:pt x="105" y="88"/>
                  <a:pt x="103" y="90"/>
                  <a:pt x="108" y="96"/>
                </a:cubicBezTo>
                <a:cubicBezTo>
                  <a:pt x="111" y="102"/>
                  <a:pt x="115" y="110"/>
                  <a:pt x="116" y="116"/>
                </a:cubicBezTo>
                <a:cubicBezTo>
                  <a:pt x="116" y="116"/>
                  <a:pt x="115" y="117"/>
                  <a:pt x="115" y="118"/>
                </a:cubicBezTo>
                <a:cubicBezTo>
                  <a:pt x="113" y="120"/>
                  <a:pt x="111" y="122"/>
                  <a:pt x="108" y="124"/>
                </a:cubicBezTo>
                <a:cubicBezTo>
                  <a:pt x="108" y="125"/>
                  <a:pt x="107" y="125"/>
                  <a:pt x="107" y="125"/>
                </a:cubicBezTo>
                <a:cubicBezTo>
                  <a:pt x="107" y="125"/>
                  <a:pt x="107" y="125"/>
                  <a:pt x="107" y="125"/>
                </a:cubicBezTo>
                <a:cubicBezTo>
                  <a:pt x="101" y="125"/>
                  <a:pt x="93" y="122"/>
                  <a:pt x="87" y="118"/>
                </a:cubicBezTo>
                <a:cubicBezTo>
                  <a:pt x="85" y="117"/>
                  <a:pt x="82" y="116"/>
                  <a:pt x="81" y="116"/>
                </a:cubicBezTo>
                <a:cubicBezTo>
                  <a:pt x="79" y="116"/>
                  <a:pt x="77" y="117"/>
                  <a:pt x="76" y="120"/>
                </a:cubicBezTo>
                <a:cubicBezTo>
                  <a:pt x="75" y="121"/>
                  <a:pt x="75" y="121"/>
                  <a:pt x="75" y="121"/>
                </a:cubicBezTo>
                <a:cubicBezTo>
                  <a:pt x="72" y="124"/>
                  <a:pt x="70" y="126"/>
                  <a:pt x="76" y="132"/>
                </a:cubicBezTo>
                <a:cubicBezTo>
                  <a:pt x="80" y="137"/>
                  <a:pt x="85" y="144"/>
                  <a:pt x="87" y="150"/>
                </a:cubicBezTo>
                <a:cubicBezTo>
                  <a:pt x="87" y="150"/>
                  <a:pt x="87" y="151"/>
                  <a:pt x="86" y="152"/>
                </a:cubicBezTo>
                <a:cubicBezTo>
                  <a:pt x="84" y="154"/>
                  <a:pt x="83" y="157"/>
                  <a:pt x="81" y="159"/>
                </a:cubicBezTo>
                <a:cubicBezTo>
                  <a:pt x="81" y="160"/>
                  <a:pt x="80" y="160"/>
                  <a:pt x="79" y="160"/>
                </a:cubicBezTo>
                <a:cubicBezTo>
                  <a:pt x="75" y="161"/>
                  <a:pt x="67" y="160"/>
                  <a:pt x="59" y="157"/>
                </a:cubicBezTo>
                <a:cubicBezTo>
                  <a:pt x="57" y="156"/>
                  <a:pt x="55" y="155"/>
                  <a:pt x="53" y="155"/>
                </a:cubicBezTo>
                <a:cubicBezTo>
                  <a:pt x="51" y="155"/>
                  <a:pt x="49" y="157"/>
                  <a:pt x="48" y="160"/>
                </a:cubicBezTo>
                <a:cubicBezTo>
                  <a:pt x="47" y="161"/>
                  <a:pt x="47" y="161"/>
                  <a:pt x="47" y="161"/>
                </a:cubicBezTo>
                <a:cubicBezTo>
                  <a:pt x="45" y="164"/>
                  <a:pt x="44" y="167"/>
                  <a:pt x="50" y="172"/>
                </a:cubicBezTo>
                <a:cubicBezTo>
                  <a:pt x="55" y="176"/>
                  <a:pt x="61" y="182"/>
                  <a:pt x="63" y="188"/>
                </a:cubicBezTo>
                <a:cubicBezTo>
                  <a:pt x="64" y="188"/>
                  <a:pt x="64" y="189"/>
                  <a:pt x="63" y="190"/>
                </a:cubicBezTo>
                <a:cubicBezTo>
                  <a:pt x="63" y="190"/>
                  <a:pt x="63" y="190"/>
                  <a:pt x="63" y="190"/>
                </a:cubicBezTo>
                <a:cubicBezTo>
                  <a:pt x="62" y="193"/>
                  <a:pt x="60" y="196"/>
                  <a:pt x="59" y="198"/>
                </a:cubicBezTo>
                <a:cubicBezTo>
                  <a:pt x="59" y="199"/>
                  <a:pt x="58" y="199"/>
                  <a:pt x="58" y="200"/>
                </a:cubicBezTo>
                <a:cubicBezTo>
                  <a:pt x="53" y="201"/>
                  <a:pt x="45" y="201"/>
                  <a:pt x="37" y="199"/>
                </a:cubicBezTo>
                <a:cubicBezTo>
                  <a:pt x="35" y="199"/>
                  <a:pt x="34" y="198"/>
                  <a:pt x="33" y="198"/>
                </a:cubicBezTo>
                <a:cubicBezTo>
                  <a:pt x="29" y="198"/>
                  <a:pt x="28" y="200"/>
                  <a:pt x="27" y="204"/>
                </a:cubicBezTo>
                <a:cubicBezTo>
                  <a:pt x="26" y="205"/>
                  <a:pt x="26" y="205"/>
                  <a:pt x="26" y="205"/>
                </a:cubicBezTo>
                <a:cubicBezTo>
                  <a:pt x="25" y="209"/>
                  <a:pt x="24" y="212"/>
                  <a:pt x="31" y="215"/>
                </a:cubicBezTo>
                <a:cubicBezTo>
                  <a:pt x="36" y="219"/>
                  <a:pt x="44" y="224"/>
                  <a:pt x="46" y="229"/>
                </a:cubicBezTo>
                <a:cubicBezTo>
                  <a:pt x="47" y="230"/>
                  <a:pt x="47" y="230"/>
                  <a:pt x="47" y="231"/>
                </a:cubicBezTo>
                <a:cubicBezTo>
                  <a:pt x="46" y="234"/>
                  <a:pt x="45" y="237"/>
                  <a:pt x="44" y="240"/>
                </a:cubicBezTo>
                <a:cubicBezTo>
                  <a:pt x="44" y="241"/>
                  <a:pt x="43" y="241"/>
                  <a:pt x="43" y="242"/>
                </a:cubicBezTo>
                <a:cubicBezTo>
                  <a:pt x="38" y="244"/>
                  <a:pt x="29" y="244"/>
                  <a:pt x="26" y="244"/>
                </a:cubicBezTo>
                <a:cubicBezTo>
                  <a:pt x="25" y="244"/>
                  <a:pt x="23" y="244"/>
                  <a:pt x="22" y="244"/>
                </a:cubicBezTo>
                <a:cubicBezTo>
                  <a:pt x="21" y="244"/>
                  <a:pt x="21" y="244"/>
                  <a:pt x="20" y="244"/>
                </a:cubicBezTo>
                <a:cubicBezTo>
                  <a:pt x="14" y="244"/>
                  <a:pt x="13" y="247"/>
                  <a:pt x="13" y="251"/>
                </a:cubicBezTo>
                <a:cubicBezTo>
                  <a:pt x="12" y="252"/>
                  <a:pt x="12" y="252"/>
                  <a:pt x="12" y="252"/>
                </a:cubicBezTo>
                <a:cubicBezTo>
                  <a:pt x="12" y="256"/>
                  <a:pt x="11" y="259"/>
                  <a:pt x="18" y="261"/>
                </a:cubicBezTo>
                <a:cubicBezTo>
                  <a:pt x="25" y="264"/>
                  <a:pt x="33" y="268"/>
                  <a:pt x="36" y="272"/>
                </a:cubicBezTo>
                <a:cubicBezTo>
                  <a:pt x="37" y="273"/>
                  <a:pt x="37" y="274"/>
                  <a:pt x="37" y="274"/>
                </a:cubicBezTo>
                <a:cubicBezTo>
                  <a:pt x="36" y="277"/>
                  <a:pt x="36" y="280"/>
                  <a:pt x="36" y="284"/>
                </a:cubicBezTo>
                <a:cubicBezTo>
                  <a:pt x="35" y="284"/>
                  <a:pt x="35" y="285"/>
                  <a:pt x="34" y="285"/>
                </a:cubicBezTo>
                <a:cubicBezTo>
                  <a:pt x="30" y="289"/>
                  <a:pt x="21" y="291"/>
                  <a:pt x="15" y="291"/>
                </a:cubicBezTo>
                <a:cubicBezTo>
                  <a:pt x="6" y="292"/>
                  <a:pt x="6" y="295"/>
                  <a:pt x="6" y="299"/>
                </a:cubicBezTo>
                <a:cubicBezTo>
                  <a:pt x="6" y="300"/>
                  <a:pt x="6" y="300"/>
                  <a:pt x="6" y="300"/>
                </a:cubicBezTo>
                <a:cubicBezTo>
                  <a:pt x="6" y="304"/>
                  <a:pt x="6" y="307"/>
                  <a:pt x="14" y="309"/>
                </a:cubicBezTo>
                <a:cubicBezTo>
                  <a:pt x="20" y="310"/>
                  <a:pt x="29" y="313"/>
                  <a:pt x="33" y="317"/>
                </a:cubicBezTo>
                <a:cubicBezTo>
                  <a:pt x="33" y="317"/>
                  <a:pt x="34" y="318"/>
                  <a:pt x="34" y="319"/>
                </a:cubicBezTo>
                <a:cubicBezTo>
                  <a:pt x="34" y="322"/>
                  <a:pt x="34" y="325"/>
                  <a:pt x="34" y="327"/>
                </a:cubicBezTo>
                <a:cubicBezTo>
                  <a:pt x="34" y="328"/>
                  <a:pt x="34" y="328"/>
                  <a:pt x="34" y="328"/>
                </a:cubicBezTo>
                <a:cubicBezTo>
                  <a:pt x="34" y="329"/>
                  <a:pt x="34" y="329"/>
                  <a:pt x="33" y="330"/>
                </a:cubicBezTo>
                <a:cubicBezTo>
                  <a:pt x="29" y="334"/>
                  <a:pt x="21" y="337"/>
                  <a:pt x="14" y="339"/>
                </a:cubicBezTo>
                <a:cubicBezTo>
                  <a:pt x="6" y="341"/>
                  <a:pt x="7" y="344"/>
                  <a:pt x="7" y="348"/>
                </a:cubicBezTo>
                <a:cubicBezTo>
                  <a:pt x="7" y="349"/>
                  <a:pt x="7" y="349"/>
                  <a:pt x="7" y="349"/>
                </a:cubicBezTo>
                <a:cubicBezTo>
                  <a:pt x="8" y="353"/>
                  <a:pt x="8" y="356"/>
                  <a:pt x="16" y="356"/>
                </a:cubicBezTo>
                <a:cubicBezTo>
                  <a:pt x="23" y="357"/>
                  <a:pt x="32" y="358"/>
                  <a:pt x="36" y="361"/>
                </a:cubicBezTo>
                <a:cubicBezTo>
                  <a:pt x="37" y="362"/>
                  <a:pt x="37" y="362"/>
                  <a:pt x="38" y="363"/>
                </a:cubicBezTo>
                <a:cubicBezTo>
                  <a:pt x="38" y="364"/>
                  <a:pt x="38" y="364"/>
                  <a:pt x="38" y="364"/>
                </a:cubicBezTo>
                <a:cubicBezTo>
                  <a:pt x="38" y="367"/>
                  <a:pt x="39" y="369"/>
                  <a:pt x="39" y="372"/>
                </a:cubicBezTo>
                <a:cubicBezTo>
                  <a:pt x="39" y="373"/>
                  <a:pt x="39" y="374"/>
                  <a:pt x="39" y="374"/>
                </a:cubicBezTo>
                <a:cubicBezTo>
                  <a:pt x="35" y="379"/>
                  <a:pt x="28" y="383"/>
                  <a:pt x="22" y="386"/>
                </a:cubicBezTo>
                <a:cubicBezTo>
                  <a:pt x="14" y="389"/>
                  <a:pt x="15" y="392"/>
                  <a:pt x="16" y="396"/>
                </a:cubicBezTo>
                <a:cubicBezTo>
                  <a:pt x="16" y="397"/>
                  <a:pt x="16" y="397"/>
                  <a:pt x="16" y="397"/>
                </a:cubicBezTo>
                <a:cubicBezTo>
                  <a:pt x="17" y="401"/>
                  <a:pt x="18" y="403"/>
                  <a:pt x="23" y="403"/>
                </a:cubicBezTo>
                <a:cubicBezTo>
                  <a:pt x="24" y="403"/>
                  <a:pt x="25" y="403"/>
                  <a:pt x="26" y="403"/>
                </a:cubicBezTo>
                <a:cubicBezTo>
                  <a:pt x="29" y="403"/>
                  <a:pt x="31" y="403"/>
                  <a:pt x="33" y="403"/>
                </a:cubicBezTo>
                <a:cubicBezTo>
                  <a:pt x="37" y="403"/>
                  <a:pt x="43" y="403"/>
                  <a:pt x="47" y="405"/>
                </a:cubicBezTo>
                <a:cubicBezTo>
                  <a:pt x="48" y="405"/>
                  <a:pt x="48" y="406"/>
                  <a:pt x="48" y="406"/>
                </a:cubicBezTo>
                <a:cubicBezTo>
                  <a:pt x="49" y="409"/>
                  <a:pt x="50" y="412"/>
                  <a:pt x="51" y="415"/>
                </a:cubicBezTo>
                <a:cubicBezTo>
                  <a:pt x="52" y="416"/>
                  <a:pt x="52" y="416"/>
                  <a:pt x="51" y="417"/>
                </a:cubicBezTo>
                <a:cubicBezTo>
                  <a:pt x="49" y="422"/>
                  <a:pt x="42" y="428"/>
                  <a:pt x="36" y="431"/>
                </a:cubicBezTo>
                <a:cubicBezTo>
                  <a:pt x="29" y="436"/>
                  <a:pt x="31" y="438"/>
                  <a:pt x="32" y="442"/>
                </a:cubicBezTo>
                <a:cubicBezTo>
                  <a:pt x="33" y="443"/>
                  <a:pt x="33" y="443"/>
                  <a:pt x="33" y="443"/>
                </a:cubicBezTo>
                <a:cubicBezTo>
                  <a:pt x="34" y="446"/>
                  <a:pt x="35" y="448"/>
                  <a:pt x="39" y="448"/>
                </a:cubicBezTo>
                <a:cubicBezTo>
                  <a:pt x="40" y="448"/>
                  <a:pt x="42" y="448"/>
                  <a:pt x="43" y="447"/>
                </a:cubicBezTo>
                <a:cubicBezTo>
                  <a:pt x="49" y="446"/>
                  <a:pt x="54" y="445"/>
                  <a:pt x="58" y="445"/>
                </a:cubicBezTo>
                <a:cubicBezTo>
                  <a:pt x="61" y="445"/>
                  <a:pt x="62" y="446"/>
                  <a:pt x="64" y="446"/>
                </a:cubicBezTo>
                <a:cubicBezTo>
                  <a:pt x="65" y="446"/>
                  <a:pt x="65" y="447"/>
                  <a:pt x="66" y="447"/>
                </a:cubicBezTo>
                <a:cubicBezTo>
                  <a:pt x="67" y="450"/>
                  <a:pt x="69" y="453"/>
                  <a:pt x="70" y="455"/>
                </a:cubicBezTo>
                <a:cubicBezTo>
                  <a:pt x="70" y="456"/>
                  <a:pt x="70" y="457"/>
                  <a:pt x="70" y="457"/>
                </a:cubicBezTo>
                <a:cubicBezTo>
                  <a:pt x="68" y="463"/>
                  <a:pt x="63" y="469"/>
                  <a:pt x="58" y="474"/>
                </a:cubicBezTo>
                <a:cubicBezTo>
                  <a:pt x="51" y="479"/>
                  <a:pt x="53" y="482"/>
                  <a:pt x="55" y="485"/>
                </a:cubicBezTo>
                <a:cubicBezTo>
                  <a:pt x="56" y="486"/>
                  <a:pt x="56" y="486"/>
                  <a:pt x="56" y="486"/>
                </a:cubicBezTo>
                <a:cubicBezTo>
                  <a:pt x="58" y="489"/>
                  <a:pt x="59" y="490"/>
                  <a:pt x="62" y="490"/>
                </a:cubicBezTo>
                <a:cubicBezTo>
                  <a:pt x="63" y="490"/>
                  <a:pt x="65" y="490"/>
                  <a:pt x="67" y="489"/>
                </a:cubicBezTo>
                <a:cubicBezTo>
                  <a:pt x="75" y="485"/>
                  <a:pt x="83" y="483"/>
                  <a:pt x="87" y="484"/>
                </a:cubicBezTo>
                <a:cubicBezTo>
                  <a:pt x="88" y="484"/>
                  <a:pt x="89" y="484"/>
                  <a:pt x="89" y="485"/>
                </a:cubicBezTo>
                <a:cubicBezTo>
                  <a:pt x="91" y="487"/>
                  <a:pt x="92" y="489"/>
                  <a:pt x="94" y="491"/>
                </a:cubicBezTo>
                <a:cubicBezTo>
                  <a:pt x="95" y="492"/>
                  <a:pt x="95" y="492"/>
                  <a:pt x="95" y="492"/>
                </a:cubicBezTo>
                <a:cubicBezTo>
                  <a:pt x="95" y="493"/>
                  <a:pt x="96" y="494"/>
                  <a:pt x="95" y="494"/>
                </a:cubicBezTo>
                <a:cubicBezTo>
                  <a:pt x="94" y="500"/>
                  <a:pt x="90" y="507"/>
                  <a:pt x="86" y="512"/>
                </a:cubicBezTo>
                <a:cubicBezTo>
                  <a:pt x="80" y="519"/>
                  <a:pt x="82" y="521"/>
                  <a:pt x="85" y="524"/>
                </a:cubicBezTo>
                <a:cubicBezTo>
                  <a:pt x="86" y="525"/>
                  <a:pt x="86" y="525"/>
                  <a:pt x="86" y="525"/>
                </a:cubicBezTo>
                <a:cubicBezTo>
                  <a:pt x="88" y="527"/>
                  <a:pt x="89" y="528"/>
                  <a:pt x="91" y="528"/>
                </a:cubicBezTo>
                <a:cubicBezTo>
                  <a:pt x="93" y="528"/>
                  <a:pt x="95" y="527"/>
                  <a:pt x="97" y="526"/>
                </a:cubicBezTo>
                <a:cubicBezTo>
                  <a:pt x="103" y="522"/>
                  <a:pt x="111" y="518"/>
                  <a:pt x="117" y="518"/>
                </a:cubicBezTo>
                <a:cubicBezTo>
                  <a:pt x="117" y="518"/>
                  <a:pt x="118" y="518"/>
                  <a:pt x="118" y="518"/>
                </a:cubicBezTo>
                <a:cubicBezTo>
                  <a:pt x="121" y="521"/>
                  <a:pt x="123" y="523"/>
                  <a:pt x="125" y="525"/>
                </a:cubicBezTo>
                <a:cubicBezTo>
                  <a:pt x="126" y="525"/>
                  <a:pt x="126" y="526"/>
                  <a:pt x="126" y="527"/>
                </a:cubicBezTo>
                <a:cubicBezTo>
                  <a:pt x="126" y="532"/>
                  <a:pt x="122" y="540"/>
                  <a:pt x="119" y="546"/>
                </a:cubicBezTo>
                <a:cubicBezTo>
                  <a:pt x="115" y="553"/>
                  <a:pt x="117" y="555"/>
                  <a:pt x="120" y="558"/>
                </a:cubicBezTo>
                <a:cubicBezTo>
                  <a:pt x="121" y="558"/>
                  <a:pt x="121" y="558"/>
                  <a:pt x="121" y="558"/>
                </a:cubicBezTo>
                <a:cubicBezTo>
                  <a:pt x="123" y="560"/>
                  <a:pt x="125" y="561"/>
                  <a:pt x="126" y="561"/>
                </a:cubicBezTo>
                <a:cubicBezTo>
                  <a:pt x="128" y="561"/>
                  <a:pt x="130" y="560"/>
                  <a:pt x="133" y="557"/>
                </a:cubicBezTo>
                <a:cubicBezTo>
                  <a:pt x="138" y="553"/>
                  <a:pt x="145" y="548"/>
                  <a:pt x="151" y="547"/>
                </a:cubicBezTo>
                <a:cubicBezTo>
                  <a:pt x="151" y="546"/>
                  <a:pt x="152" y="547"/>
                  <a:pt x="153" y="547"/>
                </a:cubicBezTo>
                <a:cubicBezTo>
                  <a:pt x="155" y="549"/>
                  <a:pt x="158" y="551"/>
                  <a:pt x="160" y="552"/>
                </a:cubicBezTo>
                <a:cubicBezTo>
                  <a:pt x="161" y="553"/>
                  <a:pt x="161" y="553"/>
                  <a:pt x="161" y="554"/>
                </a:cubicBezTo>
                <a:cubicBezTo>
                  <a:pt x="162" y="560"/>
                  <a:pt x="160" y="568"/>
                  <a:pt x="158" y="574"/>
                </a:cubicBezTo>
                <a:cubicBezTo>
                  <a:pt x="154" y="582"/>
                  <a:pt x="157" y="583"/>
                  <a:pt x="161" y="585"/>
                </a:cubicBezTo>
                <a:cubicBezTo>
                  <a:pt x="162" y="586"/>
                  <a:pt x="162" y="586"/>
                  <a:pt x="162" y="586"/>
                </a:cubicBezTo>
                <a:cubicBezTo>
                  <a:pt x="163" y="587"/>
                  <a:pt x="165" y="588"/>
                  <a:pt x="166" y="588"/>
                </a:cubicBezTo>
                <a:cubicBezTo>
                  <a:pt x="168" y="588"/>
                  <a:pt x="170" y="586"/>
                  <a:pt x="173" y="583"/>
                </a:cubicBezTo>
                <a:cubicBezTo>
                  <a:pt x="177" y="578"/>
                  <a:pt x="183" y="572"/>
                  <a:pt x="189" y="570"/>
                </a:cubicBezTo>
                <a:cubicBezTo>
                  <a:pt x="189" y="570"/>
                  <a:pt x="190" y="570"/>
                  <a:pt x="191" y="570"/>
                </a:cubicBezTo>
                <a:cubicBezTo>
                  <a:pt x="192" y="571"/>
                  <a:pt x="192" y="571"/>
                  <a:pt x="192" y="571"/>
                </a:cubicBezTo>
                <a:cubicBezTo>
                  <a:pt x="194" y="572"/>
                  <a:pt x="197" y="573"/>
                  <a:pt x="199" y="574"/>
                </a:cubicBezTo>
                <a:cubicBezTo>
                  <a:pt x="200" y="574"/>
                  <a:pt x="200" y="575"/>
                  <a:pt x="200" y="576"/>
                </a:cubicBezTo>
                <a:cubicBezTo>
                  <a:pt x="202" y="581"/>
                  <a:pt x="201" y="590"/>
                  <a:pt x="200" y="596"/>
                </a:cubicBezTo>
                <a:cubicBezTo>
                  <a:pt x="198" y="604"/>
                  <a:pt x="201" y="605"/>
                  <a:pt x="205" y="607"/>
                </a:cubicBezTo>
                <a:cubicBezTo>
                  <a:pt x="206" y="607"/>
                  <a:pt x="206" y="607"/>
                  <a:pt x="206" y="607"/>
                </a:cubicBezTo>
                <a:cubicBezTo>
                  <a:pt x="207" y="608"/>
                  <a:pt x="209" y="608"/>
                  <a:pt x="210" y="608"/>
                </a:cubicBezTo>
                <a:cubicBezTo>
                  <a:pt x="211" y="608"/>
                  <a:pt x="213" y="608"/>
                  <a:pt x="216" y="603"/>
                </a:cubicBezTo>
                <a:cubicBezTo>
                  <a:pt x="220" y="597"/>
                  <a:pt x="225" y="590"/>
                  <a:pt x="230" y="587"/>
                </a:cubicBezTo>
                <a:cubicBezTo>
                  <a:pt x="231" y="586"/>
                  <a:pt x="231" y="586"/>
                  <a:pt x="232" y="587"/>
                </a:cubicBezTo>
                <a:cubicBezTo>
                  <a:pt x="235" y="588"/>
                  <a:pt x="238" y="588"/>
                  <a:pt x="241" y="589"/>
                </a:cubicBezTo>
                <a:cubicBezTo>
                  <a:pt x="242" y="589"/>
                  <a:pt x="242" y="590"/>
                  <a:pt x="242" y="591"/>
                </a:cubicBezTo>
                <a:cubicBezTo>
                  <a:pt x="245" y="596"/>
                  <a:pt x="245" y="604"/>
                  <a:pt x="245" y="611"/>
                </a:cubicBezTo>
                <a:cubicBezTo>
                  <a:pt x="244" y="619"/>
                  <a:pt x="248" y="620"/>
                  <a:pt x="251" y="621"/>
                </a:cubicBezTo>
                <a:cubicBezTo>
                  <a:pt x="253" y="621"/>
                  <a:pt x="253" y="621"/>
                  <a:pt x="253" y="621"/>
                </a:cubicBezTo>
                <a:cubicBezTo>
                  <a:pt x="254" y="621"/>
                  <a:pt x="255" y="621"/>
                  <a:pt x="256" y="621"/>
                </a:cubicBezTo>
                <a:cubicBezTo>
                  <a:pt x="257" y="621"/>
                  <a:pt x="260" y="621"/>
                  <a:pt x="262" y="615"/>
                </a:cubicBezTo>
                <a:cubicBezTo>
                  <a:pt x="265" y="609"/>
                  <a:pt x="269" y="601"/>
                  <a:pt x="273" y="597"/>
                </a:cubicBezTo>
                <a:cubicBezTo>
                  <a:pt x="274" y="597"/>
                  <a:pt x="274" y="597"/>
                  <a:pt x="275" y="597"/>
                </a:cubicBezTo>
                <a:close/>
                <a:moveTo>
                  <a:pt x="317" y="576"/>
                </a:moveTo>
                <a:cubicBezTo>
                  <a:pt x="258" y="576"/>
                  <a:pt x="200" y="556"/>
                  <a:pt x="153" y="518"/>
                </a:cubicBezTo>
                <a:cubicBezTo>
                  <a:pt x="42" y="428"/>
                  <a:pt x="25" y="264"/>
                  <a:pt x="115" y="152"/>
                </a:cubicBezTo>
                <a:cubicBezTo>
                  <a:pt x="165" y="91"/>
                  <a:pt x="238" y="56"/>
                  <a:pt x="317" y="56"/>
                </a:cubicBezTo>
                <a:cubicBezTo>
                  <a:pt x="377" y="56"/>
                  <a:pt x="435" y="77"/>
                  <a:pt x="481" y="114"/>
                </a:cubicBezTo>
                <a:cubicBezTo>
                  <a:pt x="535" y="158"/>
                  <a:pt x="568" y="220"/>
                  <a:pt x="576" y="289"/>
                </a:cubicBezTo>
                <a:cubicBezTo>
                  <a:pt x="583" y="358"/>
                  <a:pt x="563" y="426"/>
                  <a:pt x="519" y="480"/>
                </a:cubicBezTo>
                <a:cubicBezTo>
                  <a:pt x="469" y="541"/>
                  <a:pt x="396" y="576"/>
                  <a:pt x="317" y="576"/>
                </a:cubicBezTo>
                <a:close/>
                <a:moveTo>
                  <a:pt x="317" y="61"/>
                </a:moveTo>
                <a:cubicBezTo>
                  <a:pt x="240" y="61"/>
                  <a:pt x="168" y="96"/>
                  <a:pt x="119" y="156"/>
                </a:cubicBezTo>
                <a:cubicBezTo>
                  <a:pt x="31" y="265"/>
                  <a:pt x="47" y="426"/>
                  <a:pt x="157" y="514"/>
                </a:cubicBezTo>
                <a:cubicBezTo>
                  <a:pt x="202" y="551"/>
                  <a:pt x="259" y="571"/>
                  <a:pt x="317" y="571"/>
                </a:cubicBezTo>
                <a:cubicBezTo>
                  <a:pt x="394" y="571"/>
                  <a:pt x="466" y="537"/>
                  <a:pt x="515" y="477"/>
                </a:cubicBezTo>
                <a:cubicBezTo>
                  <a:pt x="558" y="424"/>
                  <a:pt x="578" y="357"/>
                  <a:pt x="571" y="290"/>
                </a:cubicBezTo>
                <a:cubicBezTo>
                  <a:pt x="564" y="222"/>
                  <a:pt x="531" y="161"/>
                  <a:pt x="478" y="118"/>
                </a:cubicBezTo>
                <a:cubicBezTo>
                  <a:pt x="432" y="81"/>
                  <a:pt x="375" y="61"/>
                  <a:pt x="317" y="6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3" name="Freeform 1400">
            <a:extLst>
              <a:ext uri="{FF2B5EF4-FFF2-40B4-BE49-F238E27FC236}">
                <a16:creationId xmlns:a16="http://schemas.microsoft.com/office/drawing/2014/main" id="{B6E3ECF2-5D29-4DEF-BF4E-45F03897BC14}"/>
              </a:ext>
            </a:extLst>
          </p:cNvPr>
          <p:cNvSpPr>
            <a:spLocks noEditPoints="1"/>
          </p:cNvSpPr>
          <p:nvPr/>
        </p:nvSpPr>
        <p:spPr bwMode="auto">
          <a:xfrm rot="7915163">
            <a:off x="1055353" y="2316416"/>
            <a:ext cx="349521" cy="353361"/>
          </a:xfrm>
          <a:custGeom>
            <a:avLst/>
            <a:gdLst>
              <a:gd name="T0" fmla="*/ 111 w 121"/>
              <a:gd name="T1" fmla="*/ 98 h 124"/>
              <a:gd name="T2" fmla="*/ 121 w 121"/>
              <a:gd name="T3" fmla="*/ 51 h 124"/>
              <a:gd name="T4" fmla="*/ 96 w 121"/>
              <a:gd name="T5" fmla="*/ 10 h 124"/>
              <a:gd name="T6" fmla="*/ 50 w 121"/>
              <a:gd name="T7" fmla="*/ 0 h 124"/>
              <a:gd name="T8" fmla="*/ 10 w 121"/>
              <a:gd name="T9" fmla="*/ 25 h 124"/>
              <a:gd name="T10" fmla="*/ 0 w 121"/>
              <a:gd name="T11" fmla="*/ 72 h 124"/>
              <a:gd name="T12" fmla="*/ 25 w 121"/>
              <a:gd name="T13" fmla="*/ 113 h 124"/>
              <a:gd name="T14" fmla="*/ 71 w 121"/>
              <a:gd name="T15" fmla="*/ 124 h 124"/>
              <a:gd name="T16" fmla="*/ 69 w 121"/>
              <a:gd name="T17" fmla="*/ 97 h 124"/>
              <a:gd name="T18" fmla="*/ 66 w 121"/>
              <a:gd name="T19" fmla="*/ 98 h 124"/>
              <a:gd name="T20" fmla="*/ 62 w 121"/>
              <a:gd name="T21" fmla="*/ 98 h 124"/>
              <a:gd name="T22" fmla="*/ 57 w 121"/>
              <a:gd name="T23" fmla="*/ 98 h 124"/>
              <a:gd name="T24" fmla="*/ 54 w 121"/>
              <a:gd name="T25" fmla="*/ 97 h 124"/>
              <a:gd name="T26" fmla="*/ 50 w 121"/>
              <a:gd name="T27" fmla="*/ 97 h 124"/>
              <a:gd name="T28" fmla="*/ 43 w 121"/>
              <a:gd name="T29" fmla="*/ 93 h 124"/>
              <a:gd name="T30" fmla="*/ 38 w 121"/>
              <a:gd name="T31" fmla="*/ 90 h 124"/>
              <a:gd name="T32" fmla="*/ 34 w 121"/>
              <a:gd name="T33" fmla="*/ 85 h 124"/>
              <a:gd name="T34" fmla="*/ 30 w 121"/>
              <a:gd name="T35" fmla="*/ 81 h 124"/>
              <a:gd name="T36" fmla="*/ 27 w 121"/>
              <a:gd name="T37" fmla="*/ 72 h 124"/>
              <a:gd name="T38" fmla="*/ 26 w 121"/>
              <a:gd name="T39" fmla="*/ 69 h 124"/>
              <a:gd name="T40" fmla="*/ 25 w 121"/>
              <a:gd name="T41" fmla="*/ 66 h 124"/>
              <a:gd name="T42" fmla="*/ 25 w 121"/>
              <a:gd name="T43" fmla="*/ 62 h 124"/>
              <a:gd name="T44" fmla="*/ 25 w 121"/>
              <a:gd name="T45" fmla="*/ 58 h 124"/>
              <a:gd name="T46" fmla="*/ 26 w 121"/>
              <a:gd name="T47" fmla="*/ 54 h 124"/>
              <a:gd name="T48" fmla="*/ 29 w 121"/>
              <a:gd name="T49" fmla="*/ 45 h 124"/>
              <a:gd name="T50" fmla="*/ 30 w 121"/>
              <a:gd name="T51" fmla="*/ 42 h 124"/>
              <a:gd name="T52" fmla="*/ 34 w 121"/>
              <a:gd name="T53" fmla="*/ 38 h 124"/>
              <a:gd name="T54" fmla="*/ 38 w 121"/>
              <a:gd name="T55" fmla="*/ 33 h 124"/>
              <a:gd name="T56" fmla="*/ 43 w 121"/>
              <a:gd name="T57" fmla="*/ 30 h 124"/>
              <a:gd name="T58" fmla="*/ 50 w 121"/>
              <a:gd name="T59" fmla="*/ 27 h 124"/>
              <a:gd name="T60" fmla="*/ 54 w 121"/>
              <a:gd name="T61" fmla="*/ 26 h 124"/>
              <a:gd name="T62" fmla="*/ 57 w 121"/>
              <a:gd name="T63" fmla="*/ 25 h 124"/>
              <a:gd name="T64" fmla="*/ 62 w 121"/>
              <a:gd name="T65" fmla="*/ 25 h 124"/>
              <a:gd name="T66" fmla="*/ 66 w 121"/>
              <a:gd name="T67" fmla="*/ 26 h 124"/>
              <a:gd name="T68" fmla="*/ 69 w 121"/>
              <a:gd name="T69" fmla="*/ 26 h 124"/>
              <a:gd name="T70" fmla="*/ 78 w 121"/>
              <a:gd name="T71" fmla="*/ 30 h 124"/>
              <a:gd name="T72" fmla="*/ 83 w 121"/>
              <a:gd name="T73" fmla="*/ 33 h 124"/>
              <a:gd name="T74" fmla="*/ 87 w 121"/>
              <a:gd name="T75" fmla="*/ 38 h 124"/>
              <a:gd name="T76" fmla="*/ 91 w 121"/>
              <a:gd name="T77" fmla="*/ 42 h 124"/>
              <a:gd name="T78" fmla="*/ 94 w 121"/>
              <a:gd name="T79" fmla="*/ 51 h 124"/>
              <a:gd name="T80" fmla="*/ 95 w 121"/>
              <a:gd name="T81" fmla="*/ 55 h 124"/>
              <a:gd name="T82" fmla="*/ 96 w 121"/>
              <a:gd name="T83" fmla="*/ 58 h 124"/>
              <a:gd name="T84" fmla="*/ 96 w 121"/>
              <a:gd name="T85" fmla="*/ 63 h 124"/>
              <a:gd name="T86" fmla="*/ 96 w 121"/>
              <a:gd name="T87" fmla="*/ 67 h 124"/>
              <a:gd name="T88" fmla="*/ 95 w 121"/>
              <a:gd name="T89" fmla="*/ 70 h 124"/>
              <a:gd name="T90" fmla="*/ 92 w 121"/>
              <a:gd name="T91" fmla="*/ 79 h 124"/>
              <a:gd name="T92" fmla="*/ 90 w 121"/>
              <a:gd name="T93" fmla="*/ 81 h 124"/>
              <a:gd name="T94" fmla="*/ 87 w 121"/>
              <a:gd name="T95" fmla="*/ 86 h 124"/>
              <a:gd name="T96" fmla="*/ 82 w 121"/>
              <a:gd name="T97" fmla="*/ 90 h 124"/>
              <a:gd name="T98" fmla="*/ 78 w 121"/>
              <a:gd name="T99"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71" y="111"/>
                </a:moveTo>
                <a:cubicBezTo>
                  <a:pt x="77" y="110"/>
                  <a:pt x="82" y="108"/>
                  <a:pt x="87" y="104"/>
                </a:cubicBezTo>
                <a:cubicBezTo>
                  <a:pt x="96" y="113"/>
                  <a:pt x="96" y="113"/>
                  <a:pt x="96" y="113"/>
                </a:cubicBezTo>
                <a:cubicBezTo>
                  <a:pt x="111" y="98"/>
                  <a:pt x="111" y="98"/>
                  <a:pt x="111" y="98"/>
                </a:cubicBezTo>
                <a:cubicBezTo>
                  <a:pt x="102" y="89"/>
                  <a:pt x="102" y="89"/>
                  <a:pt x="102" y="89"/>
                </a:cubicBezTo>
                <a:cubicBezTo>
                  <a:pt x="105" y="84"/>
                  <a:pt x="107" y="78"/>
                  <a:pt x="109" y="72"/>
                </a:cubicBezTo>
                <a:cubicBezTo>
                  <a:pt x="121" y="72"/>
                  <a:pt x="121" y="72"/>
                  <a:pt x="121" y="72"/>
                </a:cubicBezTo>
                <a:cubicBezTo>
                  <a:pt x="121" y="51"/>
                  <a:pt x="121" y="51"/>
                  <a:pt x="121" y="51"/>
                </a:cubicBezTo>
                <a:cubicBezTo>
                  <a:pt x="109" y="51"/>
                  <a:pt x="109" y="51"/>
                  <a:pt x="109" y="51"/>
                </a:cubicBezTo>
                <a:cubicBezTo>
                  <a:pt x="107" y="45"/>
                  <a:pt x="105" y="39"/>
                  <a:pt x="102" y="34"/>
                </a:cubicBezTo>
                <a:cubicBezTo>
                  <a:pt x="111" y="25"/>
                  <a:pt x="111" y="25"/>
                  <a:pt x="111" y="25"/>
                </a:cubicBezTo>
                <a:cubicBezTo>
                  <a:pt x="96" y="10"/>
                  <a:pt x="96" y="10"/>
                  <a:pt x="96" y="10"/>
                </a:cubicBezTo>
                <a:cubicBezTo>
                  <a:pt x="87" y="19"/>
                  <a:pt x="87" y="19"/>
                  <a:pt x="87" y="19"/>
                </a:cubicBezTo>
                <a:cubicBezTo>
                  <a:pt x="82" y="16"/>
                  <a:pt x="77" y="13"/>
                  <a:pt x="71" y="12"/>
                </a:cubicBezTo>
                <a:cubicBezTo>
                  <a:pt x="71" y="0"/>
                  <a:pt x="71" y="0"/>
                  <a:pt x="71" y="0"/>
                </a:cubicBezTo>
                <a:cubicBezTo>
                  <a:pt x="50" y="0"/>
                  <a:pt x="50" y="0"/>
                  <a:pt x="50" y="0"/>
                </a:cubicBezTo>
                <a:cubicBezTo>
                  <a:pt x="50" y="12"/>
                  <a:pt x="50" y="12"/>
                  <a:pt x="50" y="12"/>
                </a:cubicBezTo>
                <a:cubicBezTo>
                  <a:pt x="44" y="13"/>
                  <a:pt x="39" y="16"/>
                  <a:pt x="34" y="19"/>
                </a:cubicBezTo>
                <a:cubicBezTo>
                  <a:pt x="25" y="10"/>
                  <a:pt x="25" y="10"/>
                  <a:pt x="25" y="10"/>
                </a:cubicBezTo>
                <a:cubicBezTo>
                  <a:pt x="10" y="25"/>
                  <a:pt x="10" y="25"/>
                  <a:pt x="10" y="25"/>
                </a:cubicBezTo>
                <a:cubicBezTo>
                  <a:pt x="19" y="34"/>
                  <a:pt x="19" y="34"/>
                  <a:pt x="19" y="34"/>
                </a:cubicBezTo>
                <a:cubicBezTo>
                  <a:pt x="16" y="39"/>
                  <a:pt x="14" y="45"/>
                  <a:pt x="12" y="51"/>
                </a:cubicBezTo>
                <a:cubicBezTo>
                  <a:pt x="0" y="51"/>
                  <a:pt x="0" y="51"/>
                  <a:pt x="0" y="51"/>
                </a:cubicBezTo>
                <a:cubicBezTo>
                  <a:pt x="0" y="72"/>
                  <a:pt x="0" y="72"/>
                  <a:pt x="0" y="72"/>
                </a:cubicBezTo>
                <a:cubicBezTo>
                  <a:pt x="12" y="72"/>
                  <a:pt x="12" y="72"/>
                  <a:pt x="12" y="72"/>
                </a:cubicBezTo>
                <a:cubicBezTo>
                  <a:pt x="14" y="78"/>
                  <a:pt x="16" y="84"/>
                  <a:pt x="19" y="89"/>
                </a:cubicBezTo>
                <a:cubicBezTo>
                  <a:pt x="10" y="98"/>
                  <a:pt x="10" y="98"/>
                  <a:pt x="10" y="98"/>
                </a:cubicBezTo>
                <a:cubicBezTo>
                  <a:pt x="25" y="113"/>
                  <a:pt x="25" y="113"/>
                  <a:pt x="25" y="113"/>
                </a:cubicBezTo>
                <a:cubicBezTo>
                  <a:pt x="34" y="104"/>
                  <a:pt x="34" y="104"/>
                  <a:pt x="34" y="104"/>
                </a:cubicBezTo>
                <a:cubicBezTo>
                  <a:pt x="39" y="108"/>
                  <a:pt x="44" y="110"/>
                  <a:pt x="50" y="111"/>
                </a:cubicBezTo>
                <a:cubicBezTo>
                  <a:pt x="50" y="124"/>
                  <a:pt x="50" y="124"/>
                  <a:pt x="50" y="124"/>
                </a:cubicBezTo>
                <a:cubicBezTo>
                  <a:pt x="71" y="124"/>
                  <a:pt x="71" y="124"/>
                  <a:pt x="71" y="124"/>
                </a:cubicBezTo>
                <a:lnTo>
                  <a:pt x="71" y="111"/>
                </a:lnTo>
                <a:close/>
                <a:moveTo>
                  <a:pt x="77" y="94"/>
                </a:moveTo>
                <a:cubicBezTo>
                  <a:pt x="75" y="95"/>
                  <a:pt x="72" y="96"/>
                  <a:pt x="70" y="97"/>
                </a:cubicBezTo>
                <a:cubicBezTo>
                  <a:pt x="69" y="97"/>
                  <a:pt x="69" y="97"/>
                  <a:pt x="69" y="97"/>
                </a:cubicBezTo>
                <a:cubicBezTo>
                  <a:pt x="69" y="97"/>
                  <a:pt x="68" y="97"/>
                  <a:pt x="68" y="97"/>
                </a:cubicBezTo>
                <a:cubicBezTo>
                  <a:pt x="67" y="97"/>
                  <a:pt x="67" y="97"/>
                  <a:pt x="67" y="97"/>
                </a:cubicBezTo>
                <a:cubicBezTo>
                  <a:pt x="67" y="98"/>
                  <a:pt x="66" y="98"/>
                  <a:pt x="66" y="98"/>
                </a:cubicBezTo>
                <a:cubicBezTo>
                  <a:pt x="66" y="98"/>
                  <a:pt x="66" y="98"/>
                  <a:pt x="66" y="98"/>
                </a:cubicBezTo>
                <a:cubicBezTo>
                  <a:pt x="65" y="98"/>
                  <a:pt x="65" y="98"/>
                  <a:pt x="64" y="98"/>
                </a:cubicBezTo>
                <a:cubicBezTo>
                  <a:pt x="64" y="98"/>
                  <a:pt x="64" y="98"/>
                  <a:pt x="64" y="98"/>
                </a:cubicBezTo>
                <a:cubicBezTo>
                  <a:pt x="63" y="98"/>
                  <a:pt x="63" y="98"/>
                  <a:pt x="63" y="98"/>
                </a:cubicBezTo>
                <a:cubicBezTo>
                  <a:pt x="62" y="98"/>
                  <a:pt x="62" y="98"/>
                  <a:pt x="62" y="98"/>
                </a:cubicBezTo>
                <a:cubicBezTo>
                  <a:pt x="62" y="98"/>
                  <a:pt x="61" y="98"/>
                  <a:pt x="60" y="98"/>
                </a:cubicBezTo>
                <a:cubicBezTo>
                  <a:pt x="60" y="98"/>
                  <a:pt x="59" y="98"/>
                  <a:pt x="59" y="98"/>
                </a:cubicBezTo>
                <a:cubicBezTo>
                  <a:pt x="58" y="98"/>
                  <a:pt x="58" y="98"/>
                  <a:pt x="58" y="98"/>
                </a:cubicBezTo>
                <a:cubicBezTo>
                  <a:pt x="58" y="98"/>
                  <a:pt x="58" y="98"/>
                  <a:pt x="57" y="98"/>
                </a:cubicBezTo>
                <a:cubicBezTo>
                  <a:pt x="57" y="98"/>
                  <a:pt x="57" y="98"/>
                  <a:pt x="57" y="98"/>
                </a:cubicBezTo>
                <a:cubicBezTo>
                  <a:pt x="56" y="98"/>
                  <a:pt x="56" y="98"/>
                  <a:pt x="55" y="98"/>
                </a:cubicBezTo>
                <a:cubicBezTo>
                  <a:pt x="55" y="98"/>
                  <a:pt x="55" y="98"/>
                  <a:pt x="55" y="98"/>
                </a:cubicBezTo>
                <a:cubicBezTo>
                  <a:pt x="54" y="98"/>
                  <a:pt x="54" y="98"/>
                  <a:pt x="54" y="97"/>
                </a:cubicBezTo>
                <a:cubicBezTo>
                  <a:pt x="53" y="97"/>
                  <a:pt x="53" y="97"/>
                  <a:pt x="53" y="97"/>
                </a:cubicBezTo>
                <a:cubicBezTo>
                  <a:pt x="52" y="97"/>
                  <a:pt x="52" y="97"/>
                  <a:pt x="52" y="97"/>
                </a:cubicBezTo>
                <a:cubicBezTo>
                  <a:pt x="51" y="97"/>
                  <a:pt x="51" y="97"/>
                  <a:pt x="51" y="97"/>
                </a:cubicBezTo>
                <a:cubicBezTo>
                  <a:pt x="51" y="97"/>
                  <a:pt x="50" y="97"/>
                  <a:pt x="50" y="97"/>
                </a:cubicBezTo>
                <a:cubicBezTo>
                  <a:pt x="50" y="97"/>
                  <a:pt x="50" y="97"/>
                  <a:pt x="50" y="97"/>
                </a:cubicBezTo>
                <a:cubicBezTo>
                  <a:pt x="48" y="96"/>
                  <a:pt x="46" y="95"/>
                  <a:pt x="44" y="94"/>
                </a:cubicBezTo>
                <a:cubicBezTo>
                  <a:pt x="43" y="93"/>
                  <a:pt x="43" y="93"/>
                  <a:pt x="43" y="93"/>
                </a:cubicBezTo>
                <a:cubicBezTo>
                  <a:pt x="43" y="93"/>
                  <a:pt x="43" y="93"/>
                  <a:pt x="43" y="93"/>
                </a:cubicBezTo>
                <a:cubicBezTo>
                  <a:pt x="42" y="93"/>
                  <a:pt x="42" y="93"/>
                  <a:pt x="42" y="93"/>
                </a:cubicBezTo>
                <a:cubicBezTo>
                  <a:pt x="42" y="93"/>
                  <a:pt x="42" y="93"/>
                  <a:pt x="42" y="93"/>
                </a:cubicBezTo>
                <a:cubicBezTo>
                  <a:pt x="40" y="92"/>
                  <a:pt x="39" y="91"/>
                  <a:pt x="38" y="90"/>
                </a:cubicBezTo>
                <a:cubicBezTo>
                  <a:pt x="38" y="90"/>
                  <a:pt x="38" y="90"/>
                  <a:pt x="38" y="90"/>
                </a:cubicBezTo>
                <a:cubicBezTo>
                  <a:pt x="37" y="89"/>
                  <a:pt x="37" y="89"/>
                  <a:pt x="37" y="89"/>
                </a:cubicBezTo>
                <a:cubicBezTo>
                  <a:pt x="37" y="89"/>
                  <a:pt x="37" y="89"/>
                  <a:pt x="37" y="89"/>
                </a:cubicBezTo>
                <a:cubicBezTo>
                  <a:pt x="36" y="88"/>
                  <a:pt x="35" y="87"/>
                  <a:pt x="34" y="86"/>
                </a:cubicBezTo>
                <a:cubicBezTo>
                  <a:pt x="34" y="85"/>
                  <a:pt x="34" y="85"/>
                  <a:pt x="34" y="85"/>
                </a:cubicBezTo>
                <a:cubicBezTo>
                  <a:pt x="33" y="84"/>
                  <a:pt x="33" y="84"/>
                  <a:pt x="33" y="84"/>
                </a:cubicBezTo>
                <a:cubicBezTo>
                  <a:pt x="33" y="84"/>
                  <a:pt x="33" y="84"/>
                  <a:pt x="33" y="84"/>
                </a:cubicBezTo>
                <a:cubicBezTo>
                  <a:pt x="32" y="83"/>
                  <a:pt x="31" y="82"/>
                  <a:pt x="31" y="81"/>
                </a:cubicBezTo>
                <a:cubicBezTo>
                  <a:pt x="30" y="81"/>
                  <a:pt x="30" y="81"/>
                  <a:pt x="30" y="81"/>
                </a:cubicBezTo>
                <a:cubicBezTo>
                  <a:pt x="30" y="80"/>
                  <a:pt x="30" y="80"/>
                  <a:pt x="30" y="80"/>
                </a:cubicBezTo>
                <a:cubicBezTo>
                  <a:pt x="30" y="80"/>
                  <a:pt x="30" y="80"/>
                  <a:pt x="30" y="80"/>
                </a:cubicBezTo>
                <a:cubicBezTo>
                  <a:pt x="30" y="79"/>
                  <a:pt x="29" y="79"/>
                  <a:pt x="29" y="79"/>
                </a:cubicBezTo>
                <a:cubicBezTo>
                  <a:pt x="28" y="77"/>
                  <a:pt x="27" y="75"/>
                  <a:pt x="27" y="72"/>
                </a:cubicBezTo>
                <a:cubicBezTo>
                  <a:pt x="27" y="72"/>
                  <a:pt x="27" y="72"/>
                  <a:pt x="27" y="72"/>
                </a:cubicBezTo>
                <a:cubicBezTo>
                  <a:pt x="26" y="72"/>
                  <a:pt x="26" y="71"/>
                  <a:pt x="26" y="71"/>
                </a:cubicBezTo>
                <a:cubicBezTo>
                  <a:pt x="26" y="70"/>
                  <a:pt x="26" y="70"/>
                  <a:pt x="26" y="70"/>
                </a:cubicBezTo>
                <a:cubicBezTo>
                  <a:pt x="26" y="69"/>
                  <a:pt x="26" y="69"/>
                  <a:pt x="26" y="69"/>
                </a:cubicBezTo>
                <a:cubicBezTo>
                  <a:pt x="26" y="69"/>
                  <a:pt x="26" y="69"/>
                  <a:pt x="26" y="69"/>
                </a:cubicBezTo>
                <a:cubicBezTo>
                  <a:pt x="26" y="68"/>
                  <a:pt x="26" y="68"/>
                  <a:pt x="25" y="67"/>
                </a:cubicBezTo>
                <a:cubicBezTo>
                  <a:pt x="25" y="67"/>
                  <a:pt x="25" y="67"/>
                  <a:pt x="25" y="67"/>
                </a:cubicBezTo>
                <a:cubicBezTo>
                  <a:pt x="25" y="67"/>
                  <a:pt x="25" y="66"/>
                  <a:pt x="25" y="66"/>
                </a:cubicBezTo>
                <a:cubicBezTo>
                  <a:pt x="25" y="65"/>
                  <a:pt x="25" y="65"/>
                  <a:pt x="25" y="65"/>
                </a:cubicBezTo>
                <a:cubicBezTo>
                  <a:pt x="25" y="65"/>
                  <a:pt x="25" y="64"/>
                  <a:pt x="25" y="64"/>
                </a:cubicBezTo>
                <a:cubicBezTo>
                  <a:pt x="25" y="63"/>
                  <a:pt x="25" y="63"/>
                  <a:pt x="25" y="63"/>
                </a:cubicBezTo>
                <a:cubicBezTo>
                  <a:pt x="25" y="63"/>
                  <a:pt x="25" y="62"/>
                  <a:pt x="25" y="62"/>
                </a:cubicBezTo>
                <a:cubicBezTo>
                  <a:pt x="25" y="61"/>
                  <a:pt x="25" y="61"/>
                  <a:pt x="25" y="60"/>
                </a:cubicBezTo>
                <a:cubicBezTo>
                  <a:pt x="25" y="59"/>
                  <a:pt x="25" y="59"/>
                  <a:pt x="25" y="59"/>
                </a:cubicBezTo>
                <a:cubicBezTo>
                  <a:pt x="25" y="59"/>
                  <a:pt x="25" y="59"/>
                  <a:pt x="25" y="58"/>
                </a:cubicBezTo>
                <a:cubicBezTo>
                  <a:pt x="25" y="58"/>
                  <a:pt x="25" y="58"/>
                  <a:pt x="25" y="58"/>
                </a:cubicBezTo>
                <a:cubicBezTo>
                  <a:pt x="25" y="57"/>
                  <a:pt x="25" y="57"/>
                  <a:pt x="25" y="56"/>
                </a:cubicBezTo>
                <a:cubicBezTo>
                  <a:pt x="25" y="56"/>
                  <a:pt x="25" y="56"/>
                  <a:pt x="25" y="56"/>
                </a:cubicBezTo>
                <a:cubicBezTo>
                  <a:pt x="26" y="55"/>
                  <a:pt x="26" y="55"/>
                  <a:pt x="26" y="55"/>
                </a:cubicBezTo>
                <a:cubicBezTo>
                  <a:pt x="26" y="54"/>
                  <a:pt x="26" y="54"/>
                  <a:pt x="26" y="54"/>
                </a:cubicBezTo>
                <a:cubicBezTo>
                  <a:pt x="26" y="53"/>
                  <a:pt x="26" y="53"/>
                  <a:pt x="26" y="53"/>
                </a:cubicBezTo>
                <a:cubicBezTo>
                  <a:pt x="26" y="52"/>
                  <a:pt x="26" y="52"/>
                  <a:pt x="26" y="52"/>
                </a:cubicBezTo>
                <a:cubicBezTo>
                  <a:pt x="26" y="52"/>
                  <a:pt x="26" y="51"/>
                  <a:pt x="27" y="51"/>
                </a:cubicBezTo>
                <a:cubicBezTo>
                  <a:pt x="27" y="49"/>
                  <a:pt x="28" y="47"/>
                  <a:pt x="29" y="45"/>
                </a:cubicBezTo>
                <a:cubicBezTo>
                  <a:pt x="29" y="44"/>
                  <a:pt x="30" y="44"/>
                  <a:pt x="30" y="44"/>
                </a:cubicBezTo>
                <a:cubicBezTo>
                  <a:pt x="30" y="43"/>
                  <a:pt x="30" y="43"/>
                  <a:pt x="30" y="43"/>
                </a:cubicBezTo>
                <a:cubicBezTo>
                  <a:pt x="30" y="42"/>
                  <a:pt x="30" y="42"/>
                  <a:pt x="30" y="42"/>
                </a:cubicBezTo>
                <a:cubicBezTo>
                  <a:pt x="30" y="42"/>
                  <a:pt x="30" y="42"/>
                  <a:pt x="30" y="42"/>
                </a:cubicBezTo>
                <a:cubicBezTo>
                  <a:pt x="31" y="41"/>
                  <a:pt x="32" y="40"/>
                  <a:pt x="33" y="39"/>
                </a:cubicBezTo>
                <a:cubicBezTo>
                  <a:pt x="33" y="39"/>
                  <a:pt x="33" y="39"/>
                  <a:pt x="33" y="39"/>
                </a:cubicBezTo>
                <a:cubicBezTo>
                  <a:pt x="34" y="38"/>
                  <a:pt x="34" y="38"/>
                  <a:pt x="34" y="38"/>
                </a:cubicBezTo>
                <a:cubicBezTo>
                  <a:pt x="34" y="38"/>
                  <a:pt x="34" y="38"/>
                  <a:pt x="34" y="38"/>
                </a:cubicBezTo>
                <a:cubicBezTo>
                  <a:pt x="35" y="36"/>
                  <a:pt x="36" y="35"/>
                  <a:pt x="37" y="34"/>
                </a:cubicBezTo>
                <a:cubicBezTo>
                  <a:pt x="37" y="34"/>
                  <a:pt x="37" y="34"/>
                  <a:pt x="37" y="34"/>
                </a:cubicBezTo>
                <a:cubicBezTo>
                  <a:pt x="38" y="33"/>
                  <a:pt x="38" y="33"/>
                  <a:pt x="38" y="33"/>
                </a:cubicBezTo>
                <a:cubicBezTo>
                  <a:pt x="38" y="33"/>
                  <a:pt x="38" y="33"/>
                  <a:pt x="38" y="33"/>
                </a:cubicBezTo>
                <a:cubicBezTo>
                  <a:pt x="39" y="32"/>
                  <a:pt x="40" y="32"/>
                  <a:pt x="42" y="31"/>
                </a:cubicBezTo>
                <a:cubicBezTo>
                  <a:pt x="42" y="31"/>
                  <a:pt x="42" y="31"/>
                  <a:pt x="42" y="31"/>
                </a:cubicBezTo>
                <a:cubicBezTo>
                  <a:pt x="43" y="30"/>
                  <a:pt x="43" y="30"/>
                  <a:pt x="43" y="30"/>
                </a:cubicBezTo>
                <a:cubicBezTo>
                  <a:pt x="43" y="30"/>
                  <a:pt x="43" y="30"/>
                  <a:pt x="43" y="30"/>
                </a:cubicBezTo>
                <a:cubicBezTo>
                  <a:pt x="44" y="29"/>
                  <a:pt x="44" y="29"/>
                  <a:pt x="44" y="29"/>
                </a:cubicBezTo>
                <a:cubicBezTo>
                  <a:pt x="46" y="28"/>
                  <a:pt x="48" y="27"/>
                  <a:pt x="50" y="27"/>
                </a:cubicBezTo>
                <a:cubicBezTo>
                  <a:pt x="50" y="27"/>
                  <a:pt x="50" y="27"/>
                  <a:pt x="50" y="27"/>
                </a:cubicBezTo>
                <a:cubicBezTo>
                  <a:pt x="50" y="27"/>
                  <a:pt x="50" y="27"/>
                  <a:pt x="50" y="27"/>
                </a:cubicBezTo>
                <a:cubicBezTo>
                  <a:pt x="50" y="27"/>
                  <a:pt x="51" y="26"/>
                  <a:pt x="51" y="26"/>
                </a:cubicBezTo>
                <a:cubicBezTo>
                  <a:pt x="52" y="26"/>
                  <a:pt x="52" y="26"/>
                  <a:pt x="52" y="26"/>
                </a:cubicBezTo>
                <a:cubicBezTo>
                  <a:pt x="53" y="26"/>
                  <a:pt x="53" y="26"/>
                  <a:pt x="53" y="26"/>
                </a:cubicBezTo>
                <a:cubicBezTo>
                  <a:pt x="54" y="26"/>
                  <a:pt x="54" y="26"/>
                  <a:pt x="54" y="26"/>
                </a:cubicBezTo>
                <a:cubicBezTo>
                  <a:pt x="54" y="26"/>
                  <a:pt x="54" y="26"/>
                  <a:pt x="55" y="26"/>
                </a:cubicBezTo>
                <a:cubicBezTo>
                  <a:pt x="55" y="26"/>
                  <a:pt x="55" y="26"/>
                  <a:pt x="55" y="26"/>
                </a:cubicBezTo>
                <a:cubicBezTo>
                  <a:pt x="56" y="25"/>
                  <a:pt x="56" y="25"/>
                  <a:pt x="57" y="25"/>
                </a:cubicBezTo>
                <a:cubicBezTo>
                  <a:pt x="57" y="25"/>
                  <a:pt x="57" y="25"/>
                  <a:pt x="57" y="25"/>
                </a:cubicBezTo>
                <a:cubicBezTo>
                  <a:pt x="58" y="25"/>
                  <a:pt x="58" y="25"/>
                  <a:pt x="58" y="25"/>
                </a:cubicBezTo>
                <a:cubicBezTo>
                  <a:pt x="59" y="25"/>
                  <a:pt x="59" y="25"/>
                  <a:pt x="59" y="25"/>
                </a:cubicBezTo>
                <a:cubicBezTo>
                  <a:pt x="59" y="25"/>
                  <a:pt x="60" y="25"/>
                  <a:pt x="60" y="25"/>
                </a:cubicBezTo>
                <a:cubicBezTo>
                  <a:pt x="61" y="25"/>
                  <a:pt x="62" y="25"/>
                  <a:pt x="62" y="25"/>
                </a:cubicBezTo>
                <a:cubicBezTo>
                  <a:pt x="63" y="25"/>
                  <a:pt x="63" y="25"/>
                  <a:pt x="63" y="25"/>
                </a:cubicBezTo>
                <a:cubicBezTo>
                  <a:pt x="63" y="25"/>
                  <a:pt x="63" y="25"/>
                  <a:pt x="64" y="25"/>
                </a:cubicBezTo>
                <a:cubicBezTo>
                  <a:pt x="64" y="25"/>
                  <a:pt x="64" y="25"/>
                  <a:pt x="64" y="25"/>
                </a:cubicBezTo>
                <a:cubicBezTo>
                  <a:pt x="65" y="25"/>
                  <a:pt x="65" y="25"/>
                  <a:pt x="66" y="26"/>
                </a:cubicBezTo>
                <a:cubicBezTo>
                  <a:pt x="66" y="26"/>
                  <a:pt x="66" y="26"/>
                  <a:pt x="66" y="26"/>
                </a:cubicBezTo>
                <a:cubicBezTo>
                  <a:pt x="66" y="26"/>
                  <a:pt x="67" y="26"/>
                  <a:pt x="67" y="26"/>
                </a:cubicBezTo>
                <a:cubicBezTo>
                  <a:pt x="68" y="26"/>
                  <a:pt x="68" y="26"/>
                  <a:pt x="68" y="26"/>
                </a:cubicBezTo>
                <a:cubicBezTo>
                  <a:pt x="68" y="26"/>
                  <a:pt x="69" y="26"/>
                  <a:pt x="69" y="26"/>
                </a:cubicBezTo>
                <a:cubicBezTo>
                  <a:pt x="70" y="26"/>
                  <a:pt x="70" y="26"/>
                  <a:pt x="70" y="26"/>
                </a:cubicBezTo>
                <a:cubicBezTo>
                  <a:pt x="72" y="27"/>
                  <a:pt x="75" y="28"/>
                  <a:pt x="77" y="29"/>
                </a:cubicBezTo>
                <a:cubicBezTo>
                  <a:pt x="78" y="30"/>
                  <a:pt x="78" y="30"/>
                  <a:pt x="78" y="30"/>
                </a:cubicBezTo>
                <a:cubicBezTo>
                  <a:pt x="78" y="30"/>
                  <a:pt x="78" y="30"/>
                  <a:pt x="78" y="30"/>
                </a:cubicBezTo>
                <a:cubicBezTo>
                  <a:pt x="79" y="31"/>
                  <a:pt x="79" y="31"/>
                  <a:pt x="79" y="31"/>
                </a:cubicBezTo>
                <a:cubicBezTo>
                  <a:pt x="79" y="31"/>
                  <a:pt x="79" y="31"/>
                  <a:pt x="79" y="31"/>
                </a:cubicBezTo>
                <a:cubicBezTo>
                  <a:pt x="80" y="32"/>
                  <a:pt x="81" y="32"/>
                  <a:pt x="82" y="33"/>
                </a:cubicBezTo>
                <a:cubicBezTo>
                  <a:pt x="83" y="33"/>
                  <a:pt x="83" y="33"/>
                  <a:pt x="83" y="33"/>
                </a:cubicBezTo>
                <a:cubicBezTo>
                  <a:pt x="83" y="34"/>
                  <a:pt x="83" y="34"/>
                  <a:pt x="83" y="34"/>
                </a:cubicBezTo>
                <a:cubicBezTo>
                  <a:pt x="84" y="34"/>
                  <a:pt x="84" y="34"/>
                  <a:pt x="84" y="34"/>
                </a:cubicBezTo>
                <a:cubicBezTo>
                  <a:pt x="85" y="35"/>
                  <a:pt x="86" y="36"/>
                  <a:pt x="87" y="38"/>
                </a:cubicBezTo>
                <a:cubicBezTo>
                  <a:pt x="87" y="38"/>
                  <a:pt x="87" y="38"/>
                  <a:pt x="87" y="38"/>
                </a:cubicBezTo>
                <a:cubicBezTo>
                  <a:pt x="88" y="39"/>
                  <a:pt x="88" y="39"/>
                  <a:pt x="88" y="39"/>
                </a:cubicBezTo>
                <a:cubicBezTo>
                  <a:pt x="88" y="39"/>
                  <a:pt x="88" y="39"/>
                  <a:pt x="88" y="39"/>
                </a:cubicBezTo>
                <a:cubicBezTo>
                  <a:pt x="89" y="40"/>
                  <a:pt x="90" y="41"/>
                  <a:pt x="90" y="42"/>
                </a:cubicBezTo>
                <a:cubicBezTo>
                  <a:pt x="91" y="42"/>
                  <a:pt x="91" y="42"/>
                  <a:pt x="91" y="42"/>
                </a:cubicBezTo>
                <a:cubicBezTo>
                  <a:pt x="91" y="43"/>
                  <a:pt x="91" y="43"/>
                  <a:pt x="91" y="43"/>
                </a:cubicBezTo>
                <a:cubicBezTo>
                  <a:pt x="91" y="44"/>
                  <a:pt x="91" y="44"/>
                  <a:pt x="91" y="44"/>
                </a:cubicBezTo>
                <a:cubicBezTo>
                  <a:pt x="92" y="45"/>
                  <a:pt x="92" y="45"/>
                  <a:pt x="92" y="45"/>
                </a:cubicBezTo>
                <a:cubicBezTo>
                  <a:pt x="93" y="47"/>
                  <a:pt x="94" y="49"/>
                  <a:pt x="94" y="51"/>
                </a:cubicBezTo>
                <a:cubicBezTo>
                  <a:pt x="94" y="51"/>
                  <a:pt x="95" y="52"/>
                  <a:pt x="95" y="52"/>
                </a:cubicBezTo>
                <a:cubicBezTo>
                  <a:pt x="95" y="53"/>
                  <a:pt x="95" y="53"/>
                  <a:pt x="95" y="53"/>
                </a:cubicBezTo>
                <a:cubicBezTo>
                  <a:pt x="95" y="53"/>
                  <a:pt x="95" y="54"/>
                  <a:pt x="95" y="54"/>
                </a:cubicBezTo>
                <a:cubicBezTo>
                  <a:pt x="95" y="55"/>
                  <a:pt x="95" y="55"/>
                  <a:pt x="95" y="55"/>
                </a:cubicBezTo>
                <a:cubicBezTo>
                  <a:pt x="95" y="55"/>
                  <a:pt x="95" y="55"/>
                  <a:pt x="95" y="56"/>
                </a:cubicBezTo>
                <a:cubicBezTo>
                  <a:pt x="96" y="56"/>
                  <a:pt x="96" y="56"/>
                  <a:pt x="96" y="56"/>
                </a:cubicBezTo>
                <a:cubicBezTo>
                  <a:pt x="96" y="57"/>
                  <a:pt x="96" y="57"/>
                  <a:pt x="96" y="58"/>
                </a:cubicBezTo>
                <a:cubicBezTo>
                  <a:pt x="96" y="58"/>
                  <a:pt x="96" y="58"/>
                  <a:pt x="96" y="58"/>
                </a:cubicBezTo>
                <a:cubicBezTo>
                  <a:pt x="96" y="59"/>
                  <a:pt x="96" y="59"/>
                  <a:pt x="96" y="59"/>
                </a:cubicBezTo>
                <a:cubicBezTo>
                  <a:pt x="96" y="60"/>
                  <a:pt x="96" y="60"/>
                  <a:pt x="96" y="60"/>
                </a:cubicBezTo>
                <a:cubicBezTo>
                  <a:pt x="96" y="61"/>
                  <a:pt x="96" y="61"/>
                  <a:pt x="96" y="62"/>
                </a:cubicBezTo>
                <a:cubicBezTo>
                  <a:pt x="96" y="62"/>
                  <a:pt x="96" y="63"/>
                  <a:pt x="96" y="63"/>
                </a:cubicBezTo>
                <a:cubicBezTo>
                  <a:pt x="96" y="64"/>
                  <a:pt x="96" y="64"/>
                  <a:pt x="96" y="64"/>
                </a:cubicBezTo>
                <a:cubicBezTo>
                  <a:pt x="96" y="64"/>
                  <a:pt x="96" y="65"/>
                  <a:pt x="96" y="65"/>
                </a:cubicBezTo>
                <a:cubicBezTo>
                  <a:pt x="96" y="66"/>
                  <a:pt x="96" y="66"/>
                  <a:pt x="96" y="66"/>
                </a:cubicBezTo>
                <a:cubicBezTo>
                  <a:pt x="96" y="66"/>
                  <a:pt x="96" y="67"/>
                  <a:pt x="96" y="67"/>
                </a:cubicBezTo>
                <a:cubicBezTo>
                  <a:pt x="95" y="67"/>
                  <a:pt x="95" y="67"/>
                  <a:pt x="95" y="67"/>
                </a:cubicBezTo>
                <a:cubicBezTo>
                  <a:pt x="95" y="68"/>
                  <a:pt x="95" y="68"/>
                  <a:pt x="95" y="69"/>
                </a:cubicBezTo>
                <a:cubicBezTo>
                  <a:pt x="95" y="69"/>
                  <a:pt x="95" y="69"/>
                  <a:pt x="95" y="69"/>
                </a:cubicBezTo>
                <a:cubicBezTo>
                  <a:pt x="95" y="70"/>
                  <a:pt x="95" y="70"/>
                  <a:pt x="95" y="70"/>
                </a:cubicBezTo>
                <a:cubicBezTo>
                  <a:pt x="95" y="71"/>
                  <a:pt x="95" y="71"/>
                  <a:pt x="95" y="71"/>
                </a:cubicBezTo>
                <a:cubicBezTo>
                  <a:pt x="95" y="71"/>
                  <a:pt x="94" y="72"/>
                  <a:pt x="94" y="72"/>
                </a:cubicBezTo>
                <a:cubicBezTo>
                  <a:pt x="94" y="72"/>
                  <a:pt x="94" y="72"/>
                  <a:pt x="94" y="72"/>
                </a:cubicBezTo>
                <a:cubicBezTo>
                  <a:pt x="94" y="75"/>
                  <a:pt x="93" y="77"/>
                  <a:pt x="92" y="79"/>
                </a:cubicBezTo>
                <a:cubicBezTo>
                  <a:pt x="91" y="80"/>
                  <a:pt x="91" y="80"/>
                  <a:pt x="91" y="80"/>
                </a:cubicBezTo>
                <a:cubicBezTo>
                  <a:pt x="91" y="80"/>
                  <a:pt x="91" y="80"/>
                  <a:pt x="91" y="80"/>
                </a:cubicBezTo>
                <a:cubicBezTo>
                  <a:pt x="91" y="81"/>
                  <a:pt x="91" y="81"/>
                  <a:pt x="91" y="81"/>
                </a:cubicBezTo>
                <a:cubicBezTo>
                  <a:pt x="90" y="81"/>
                  <a:pt x="90" y="81"/>
                  <a:pt x="90" y="81"/>
                </a:cubicBezTo>
                <a:cubicBezTo>
                  <a:pt x="90" y="82"/>
                  <a:pt x="89" y="83"/>
                  <a:pt x="88" y="84"/>
                </a:cubicBezTo>
                <a:cubicBezTo>
                  <a:pt x="88" y="84"/>
                  <a:pt x="88" y="84"/>
                  <a:pt x="88" y="84"/>
                </a:cubicBezTo>
                <a:cubicBezTo>
                  <a:pt x="87" y="85"/>
                  <a:pt x="87" y="85"/>
                  <a:pt x="87" y="85"/>
                </a:cubicBezTo>
                <a:cubicBezTo>
                  <a:pt x="87" y="86"/>
                  <a:pt x="87" y="86"/>
                  <a:pt x="87" y="86"/>
                </a:cubicBezTo>
                <a:cubicBezTo>
                  <a:pt x="86" y="87"/>
                  <a:pt x="85" y="88"/>
                  <a:pt x="84" y="89"/>
                </a:cubicBezTo>
                <a:cubicBezTo>
                  <a:pt x="83" y="89"/>
                  <a:pt x="83" y="89"/>
                  <a:pt x="83" y="89"/>
                </a:cubicBezTo>
                <a:cubicBezTo>
                  <a:pt x="83" y="90"/>
                  <a:pt x="83" y="90"/>
                  <a:pt x="83" y="90"/>
                </a:cubicBezTo>
                <a:cubicBezTo>
                  <a:pt x="82" y="90"/>
                  <a:pt x="82" y="90"/>
                  <a:pt x="82" y="90"/>
                </a:cubicBezTo>
                <a:cubicBezTo>
                  <a:pt x="81" y="91"/>
                  <a:pt x="80" y="92"/>
                  <a:pt x="79" y="93"/>
                </a:cubicBezTo>
                <a:cubicBezTo>
                  <a:pt x="79" y="93"/>
                  <a:pt x="79" y="93"/>
                  <a:pt x="79" y="93"/>
                </a:cubicBezTo>
                <a:cubicBezTo>
                  <a:pt x="78" y="93"/>
                  <a:pt x="78" y="93"/>
                  <a:pt x="78" y="93"/>
                </a:cubicBezTo>
                <a:cubicBezTo>
                  <a:pt x="78" y="93"/>
                  <a:pt x="78" y="93"/>
                  <a:pt x="78" y="93"/>
                </a:cubicBezTo>
                <a:cubicBezTo>
                  <a:pt x="78" y="94"/>
                  <a:pt x="77" y="94"/>
                  <a:pt x="77" y="9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4" name="Freeform 1401">
            <a:extLst>
              <a:ext uri="{FF2B5EF4-FFF2-40B4-BE49-F238E27FC236}">
                <a16:creationId xmlns:a16="http://schemas.microsoft.com/office/drawing/2014/main" id="{7CA21FE3-D577-4FC8-A46F-C694FFDCF3E7}"/>
              </a:ext>
            </a:extLst>
          </p:cNvPr>
          <p:cNvSpPr>
            <a:spLocks noEditPoints="1"/>
          </p:cNvSpPr>
          <p:nvPr/>
        </p:nvSpPr>
        <p:spPr bwMode="auto">
          <a:xfrm rot="7915163">
            <a:off x="6655576" y="679021"/>
            <a:ext cx="272703" cy="284225"/>
          </a:xfrm>
          <a:custGeom>
            <a:avLst/>
            <a:gdLst>
              <a:gd name="T0" fmla="*/ 87 w 95"/>
              <a:gd name="T1" fmla="*/ 78 h 98"/>
              <a:gd name="T2" fmla="*/ 95 w 95"/>
              <a:gd name="T3" fmla="*/ 41 h 98"/>
              <a:gd name="T4" fmla="*/ 75 w 95"/>
              <a:gd name="T5" fmla="*/ 9 h 98"/>
              <a:gd name="T6" fmla="*/ 39 w 95"/>
              <a:gd name="T7" fmla="*/ 0 h 98"/>
              <a:gd name="T8" fmla="*/ 8 w 95"/>
              <a:gd name="T9" fmla="*/ 21 h 98"/>
              <a:gd name="T10" fmla="*/ 0 w 95"/>
              <a:gd name="T11" fmla="*/ 58 h 98"/>
              <a:gd name="T12" fmla="*/ 19 w 95"/>
              <a:gd name="T13" fmla="*/ 90 h 98"/>
              <a:gd name="T14" fmla="*/ 55 w 95"/>
              <a:gd name="T15" fmla="*/ 98 h 98"/>
              <a:gd name="T16" fmla="*/ 54 w 95"/>
              <a:gd name="T17" fmla="*/ 77 h 98"/>
              <a:gd name="T18" fmla="*/ 51 w 95"/>
              <a:gd name="T19" fmla="*/ 78 h 98"/>
              <a:gd name="T20" fmla="*/ 49 w 95"/>
              <a:gd name="T21" fmla="*/ 78 h 98"/>
              <a:gd name="T22" fmla="*/ 45 w 95"/>
              <a:gd name="T23" fmla="*/ 78 h 98"/>
              <a:gd name="T24" fmla="*/ 42 w 95"/>
              <a:gd name="T25" fmla="*/ 77 h 98"/>
              <a:gd name="T26" fmla="*/ 39 w 95"/>
              <a:gd name="T27" fmla="*/ 77 h 98"/>
              <a:gd name="T28" fmla="*/ 33 w 95"/>
              <a:gd name="T29" fmla="*/ 74 h 98"/>
              <a:gd name="T30" fmla="*/ 30 w 95"/>
              <a:gd name="T31" fmla="*/ 72 h 98"/>
              <a:gd name="T32" fmla="*/ 26 w 95"/>
              <a:gd name="T33" fmla="*/ 68 h 98"/>
              <a:gd name="T34" fmla="*/ 24 w 95"/>
              <a:gd name="T35" fmla="*/ 64 h 98"/>
              <a:gd name="T36" fmla="*/ 21 w 95"/>
              <a:gd name="T37" fmla="*/ 58 h 98"/>
              <a:gd name="T38" fmla="*/ 20 w 95"/>
              <a:gd name="T39" fmla="*/ 55 h 98"/>
              <a:gd name="T40" fmla="*/ 19 w 95"/>
              <a:gd name="T41" fmla="*/ 52 h 98"/>
              <a:gd name="T42" fmla="*/ 19 w 95"/>
              <a:gd name="T43" fmla="*/ 48 h 98"/>
              <a:gd name="T44" fmla="*/ 20 w 95"/>
              <a:gd name="T45" fmla="*/ 45 h 98"/>
              <a:gd name="T46" fmla="*/ 20 w 95"/>
              <a:gd name="T47" fmla="*/ 42 h 98"/>
              <a:gd name="T48" fmla="*/ 23 w 95"/>
              <a:gd name="T49" fmla="*/ 35 h 98"/>
              <a:gd name="T50" fmla="*/ 25 w 95"/>
              <a:gd name="T51" fmla="*/ 31 h 98"/>
              <a:gd name="T52" fmla="*/ 29 w 95"/>
              <a:gd name="T53" fmla="*/ 27 h 98"/>
              <a:gd name="T54" fmla="*/ 32 w 95"/>
              <a:gd name="T55" fmla="*/ 25 h 98"/>
              <a:gd name="T56" fmla="*/ 34 w 95"/>
              <a:gd name="T57" fmla="*/ 24 h 98"/>
              <a:gd name="T58" fmla="*/ 40 w 95"/>
              <a:gd name="T59" fmla="*/ 21 h 98"/>
              <a:gd name="T60" fmla="*/ 43 w 95"/>
              <a:gd name="T61" fmla="*/ 21 h 98"/>
              <a:gd name="T62" fmla="*/ 46 w 95"/>
              <a:gd name="T63" fmla="*/ 21 h 98"/>
              <a:gd name="T64" fmla="*/ 49 w 95"/>
              <a:gd name="T65" fmla="*/ 21 h 98"/>
              <a:gd name="T66" fmla="*/ 52 w 95"/>
              <a:gd name="T67" fmla="*/ 21 h 98"/>
              <a:gd name="T68" fmla="*/ 54 w 95"/>
              <a:gd name="T69" fmla="*/ 21 h 98"/>
              <a:gd name="T70" fmla="*/ 62 w 95"/>
              <a:gd name="T71" fmla="*/ 25 h 98"/>
              <a:gd name="T72" fmla="*/ 65 w 95"/>
              <a:gd name="T73" fmla="*/ 27 h 98"/>
              <a:gd name="T74" fmla="*/ 69 w 95"/>
              <a:gd name="T75" fmla="*/ 31 h 98"/>
              <a:gd name="T76" fmla="*/ 71 w 95"/>
              <a:gd name="T77" fmla="*/ 35 h 98"/>
              <a:gd name="T78" fmla="*/ 74 w 95"/>
              <a:gd name="T79" fmla="*/ 42 h 98"/>
              <a:gd name="T80" fmla="*/ 75 w 95"/>
              <a:gd name="T81" fmla="*/ 45 h 98"/>
              <a:gd name="T82" fmla="*/ 75 w 95"/>
              <a:gd name="T83" fmla="*/ 47 h 98"/>
              <a:gd name="T84" fmla="*/ 75 w 95"/>
              <a:gd name="T85" fmla="*/ 51 h 98"/>
              <a:gd name="T86" fmla="*/ 75 w 95"/>
              <a:gd name="T87" fmla="*/ 54 h 98"/>
              <a:gd name="T88" fmla="*/ 74 w 95"/>
              <a:gd name="T89" fmla="*/ 57 h 98"/>
              <a:gd name="T90" fmla="*/ 71 w 95"/>
              <a:gd name="T91" fmla="*/ 64 h 98"/>
              <a:gd name="T92" fmla="*/ 69 w 95"/>
              <a:gd name="T93" fmla="*/ 67 h 98"/>
              <a:gd name="T94" fmla="*/ 65 w 95"/>
              <a:gd name="T95" fmla="*/ 71 h 98"/>
              <a:gd name="T96" fmla="*/ 62 w 95"/>
              <a:gd name="T97" fmla="*/ 7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55" y="88"/>
                </a:moveTo>
                <a:cubicBezTo>
                  <a:pt x="60" y="87"/>
                  <a:pt x="64" y="85"/>
                  <a:pt x="68" y="83"/>
                </a:cubicBezTo>
                <a:cubicBezTo>
                  <a:pt x="75" y="90"/>
                  <a:pt x="75" y="90"/>
                  <a:pt x="75" y="90"/>
                </a:cubicBezTo>
                <a:cubicBezTo>
                  <a:pt x="87" y="78"/>
                  <a:pt x="87" y="78"/>
                  <a:pt x="87" y="78"/>
                </a:cubicBezTo>
                <a:cubicBezTo>
                  <a:pt x="80" y="71"/>
                  <a:pt x="80" y="71"/>
                  <a:pt x="80" y="71"/>
                </a:cubicBezTo>
                <a:cubicBezTo>
                  <a:pt x="82" y="67"/>
                  <a:pt x="84" y="62"/>
                  <a:pt x="85" y="58"/>
                </a:cubicBezTo>
                <a:cubicBezTo>
                  <a:pt x="95" y="58"/>
                  <a:pt x="95" y="58"/>
                  <a:pt x="95" y="58"/>
                </a:cubicBezTo>
                <a:cubicBezTo>
                  <a:pt x="95" y="41"/>
                  <a:pt x="95" y="41"/>
                  <a:pt x="95" y="41"/>
                </a:cubicBezTo>
                <a:cubicBezTo>
                  <a:pt x="85" y="41"/>
                  <a:pt x="85" y="41"/>
                  <a:pt x="85" y="41"/>
                </a:cubicBezTo>
                <a:cubicBezTo>
                  <a:pt x="84" y="36"/>
                  <a:pt x="82" y="32"/>
                  <a:pt x="80" y="28"/>
                </a:cubicBezTo>
                <a:cubicBezTo>
                  <a:pt x="87" y="21"/>
                  <a:pt x="87" y="21"/>
                  <a:pt x="87" y="21"/>
                </a:cubicBezTo>
                <a:cubicBezTo>
                  <a:pt x="75" y="9"/>
                  <a:pt x="75" y="9"/>
                  <a:pt x="75" y="9"/>
                </a:cubicBezTo>
                <a:cubicBezTo>
                  <a:pt x="68" y="16"/>
                  <a:pt x="68" y="16"/>
                  <a:pt x="68" y="16"/>
                </a:cubicBezTo>
                <a:cubicBezTo>
                  <a:pt x="64" y="13"/>
                  <a:pt x="60" y="11"/>
                  <a:pt x="55" y="10"/>
                </a:cubicBezTo>
                <a:cubicBezTo>
                  <a:pt x="55" y="0"/>
                  <a:pt x="55" y="0"/>
                  <a:pt x="55" y="0"/>
                </a:cubicBezTo>
                <a:cubicBezTo>
                  <a:pt x="39" y="0"/>
                  <a:pt x="39" y="0"/>
                  <a:pt x="39" y="0"/>
                </a:cubicBezTo>
                <a:cubicBezTo>
                  <a:pt x="39" y="10"/>
                  <a:pt x="39" y="10"/>
                  <a:pt x="39" y="10"/>
                </a:cubicBezTo>
                <a:cubicBezTo>
                  <a:pt x="34" y="11"/>
                  <a:pt x="30" y="13"/>
                  <a:pt x="26" y="16"/>
                </a:cubicBezTo>
                <a:cubicBezTo>
                  <a:pt x="19" y="9"/>
                  <a:pt x="19" y="9"/>
                  <a:pt x="19" y="9"/>
                </a:cubicBezTo>
                <a:cubicBezTo>
                  <a:pt x="8" y="21"/>
                  <a:pt x="8" y="21"/>
                  <a:pt x="8" y="21"/>
                </a:cubicBezTo>
                <a:cubicBezTo>
                  <a:pt x="15" y="28"/>
                  <a:pt x="15" y="28"/>
                  <a:pt x="15" y="28"/>
                </a:cubicBezTo>
                <a:cubicBezTo>
                  <a:pt x="12" y="32"/>
                  <a:pt x="10" y="36"/>
                  <a:pt x="9" y="41"/>
                </a:cubicBezTo>
                <a:cubicBezTo>
                  <a:pt x="0" y="41"/>
                  <a:pt x="0" y="41"/>
                  <a:pt x="0" y="41"/>
                </a:cubicBezTo>
                <a:cubicBezTo>
                  <a:pt x="0" y="58"/>
                  <a:pt x="0" y="58"/>
                  <a:pt x="0" y="58"/>
                </a:cubicBezTo>
                <a:cubicBezTo>
                  <a:pt x="9" y="58"/>
                  <a:pt x="9" y="58"/>
                  <a:pt x="9" y="58"/>
                </a:cubicBezTo>
                <a:cubicBezTo>
                  <a:pt x="10" y="62"/>
                  <a:pt x="12" y="67"/>
                  <a:pt x="15" y="71"/>
                </a:cubicBezTo>
                <a:cubicBezTo>
                  <a:pt x="8" y="78"/>
                  <a:pt x="8" y="78"/>
                  <a:pt x="8" y="78"/>
                </a:cubicBezTo>
                <a:cubicBezTo>
                  <a:pt x="19" y="90"/>
                  <a:pt x="19" y="90"/>
                  <a:pt x="19" y="90"/>
                </a:cubicBezTo>
                <a:cubicBezTo>
                  <a:pt x="26" y="83"/>
                  <a:pt x="26" y="83"/>
                  <a:pt x="26" y="83"/>
                </a:cubicBezTo>
                <a:cubicBezTo>
                  <a:pt x="30" y="85"/>
                  <a:pt x="34" y="87"/>
                  <a:pt x="39" y="88"/>
                </a:cubicBezTo>
                <a:cubicBezTo>
                  <a:pt x="39" y="98"/>
                  <a:pt x="39" y="98"/>
                  <a:pt x="39" y="98"/>
                </a:cubicBezTo>
                <a:cubicBezTo>
                  <a:pt x="55" y="98"/>
                  <a:pt x="55" y="98"/>
                  <a:pt x="55" y="98"/>
                </a:cubicBezTo>
                <a:lnTo>
                  <a:pt x="55" y="88"/>
                </a:lnTo>
                <a:close/>
                <a:moveTo>
                  <a:pt x="60" y="75"/>
                </a:moveTo>
                <a:cubicBezTo>
                  <a:pt x="58" y="76"/>
                  <a:pt x="56" y="76"/>
                  <a:pt x="54" y="77"/>
                </a:cubicBezTo>
                <a:cubicBezTo>
                  <a:pt x="54" y="77"/>
                  <a:pt x="54" y="77"/>
                  <a:pt x="54" y="77"/>
                </a:cubicBezTo>
                <a:cubicBezTo>
                  <a:pt x="53" y="77"/>
                  <a:pt x="53" y="77"/>
                  <a:pt x="53" y="77"/>
                </a:cubicBezTo>
                <a:cubicBezTo>
                  <a:pt x="53" y="77"/>
                  <a:pt x="53" y="77"/>
                  <a:pt x="53" y="77"/>
                </a:cubicBezTo>
                <a:cubicBezTo>
                  <a:pt x="52" y="78"/>
                  <a:pt x="52" y="78"/>
                  <a:pt x="52" y="78"/>
                </a:cubicBezTo>
                <a:cubicBezTo>
                  <a:pt x="51" y="78"/>
                  <a:pt x="51" y="78"/>
                  <a:pt x="51" y="78"/>
                </a:cubicBezTo>
                <a:cubicBezTo>
                  <a:pt x="51" y="78"/>
                  <a:pt x="51" y="78"/>
                  <a:pt x="50" y="78"/>
                </a:cubicBezTo>
                <a:cubicBezTo>
                  <a:pt x="50" y="78"/>
                  <a:pt x="50" y="78"/>
                  <a:pt x="50" y="78"/>
                </a:cubicBezTo>
                <a:cubicBezTo>
                  <a:pt x="49" y="78"/>
                  <a:pt x="49" y="78"/>
                  <a:pt x="49" y="78"/>
                </a:cubicBezTo>
                <a:cubicBezTo>
                  <a:pt x="49" y="78"/>
                  <a:pt x="49" y="78"/>
                  <a:pt x="49" y="78"/>
                </a:cubicBezTo>
                <a:cubicBezTo>
                  <a:pt x="48" y="78"/>
                  <a:pt x="48" y="78"/>
                  <a:pt x="47" y="78"/>
                </a:cubicBezTo>
                <a:cubicBezTo>
                  <a:pt x="47" y="78"/>
                  <a:pt x="46" y="78"/>
                  <a:pt x="46" y="78"/>
                </a:cubicBezTo>
                <a:cubicBezTo>
                  <a:pt x="46" y="78"/>
                  <a:pt x="46" y="78"/>
                  <a:pt x="46" y="78"/>
                </a:cubicBezTo>
                <a:cubicBezTo>
                  <a:pt x="45" y="78"/>
                  <a:pt x="45" y="78"/>
                  <a:pt x="45" y="78"/>
                </a:cubicBezTo>
                <a:cubicBezTo>
                  <a:pt x="44" y="78"/>
                  <a:pt x="44" y="78"/>
                  <a:pt x="44" y="78"/>
                </a:cubicBezTo>
                <a:cubicBezTo>
                  <a:pt x="44" y="78"/>
                  <a:pt x="43" y="78"/>
                  <a:pt x="43" y="78"/>
                </a:cubicBezTo>
                <a:cubicBezTo>
                  <a:pt x="43" y="78"/>
                  <a:pt x="43" y="78"/>
                  <a:pt x="43" y="78"/>
                </a:cubicBezTo>
                <a:cubicBezTo>
                  <a:pt x="42" y="78"/>
                  <a:pt x="42" y="78"/>
                  <a:pt x="42" y="77"/>
                </a:cubicBezTo>
                <a:cubicBezTo>
                  <a:pt x="41" y="77"/>
                  <a:pt x="41" y="77"/>
                  <a:pt x="41" y="77"/>
                </a:cubicBezTo>
                <a:cubicBezTo>
                  <a:pt x="41" y="77"/>
                  <a:pt x="41" y="77"/>
                  <a:pt x="41" y="77"/>
                </a:cubicBezTo>
                <a:cubicBezTo>
                  <a:pt x="40" y="77"/>
                  <a:pt x="40" y="77"/>
                  <a:pt x="40" y="77"/>
                </a:cubicBezTo>
                <a:cubicBezTo>
                  <a:pt x="40" y="77"/>
                  <a:pt x="39" y="77"/>
                  <a:pt x="39" y="77"/>
                </a:cubicBezTo>
                <a:cubicBezTo>
                  <a:pt x="39" y="77"/>
                  <a:pt x="39" y="77"/>
                  <a:pt x="39" y="77"/>
                </a:cubicBezTo>
                <a:cubicBezTo>
                  <a:pt x="37" y="76"/>
                  <a:pt x="36" y="76"/>
                  <a:pt x="34" y="75"/>
                </a:cubicBezTo>
                <a:cubicBezTo>
                  <a:pt x="33" y="74"/>
                  <a:pt x="33" y="74"/>
                  <a:pt x="33" y="74"/>
                </a:cubicBezTo>
                <a:cubicBezTo>
                  <a:pt x="33" y="74"/>
                  <a:pt x="33" y="74"/>
                  <a:pt x="33" y="74"/>
                </a:cubicBezTo>
                <a:cubicBezTo>
                  <a:pt x="32" y="74"/>
                  <a:pt x="32" y="74"/>
                  <a:pt x="32" y="74"/>
                </a:cubicBezTo>
                <a:cubicBezTo>
                  <a:pt x="32" y="74"/>
                  <a:pt x="32" y="74"/>
                  <a:pt x="32" y="74"/>
                </a:cubicBezTo>
                <a:cubicBezTo>
                  <a:pt x="31" y="73"/>
                  <a:pt x="31" y="72"/>
                  <a:pt x="30" y="72"/>
                </a:cubicBezTo>
                <a:cubicBezTo>
                  <a:pt x="30" y="72"/>
                  <a:pt x="30" y="72"/>
                  <a:pt x="30" y="72"/>
                </a:cubicBezTo>
                <a:cubicBezTo>
                  <a:pt x="29" y="71"/>
                  <a:pt x="29" y="71"/>
                  <a:pt x="29" y="71"/>
                </a:cubicBezTo>
                <a:cubicBezTo>
                  <a:pt x="29" y="71"/>
                  <a:pt x="29" y="71"/>
                  <a:pt x="29" y="71"/>
                </a:cubicBezTo>
                <a:cubicBezTo>
                  <a:pt x="28" y="70"/>
                  <a:pt x="27" y="69"/>
                  <a:pt x="26" y="68"/>
                </a:cubicBezTo>
                <a:cubicBezTo>
                  <a:pt x="26" y="68"/>
                  <a:pt x="26" y="68"/>
                  <a:pt x="26" y="68"/>
                </a:cubicBezTo>
                <a:cubicBezTo>
                  <a:pt x="25" y="67"/>
                  <a:pt x="25" y="67"/>
                  <a:pt x="25" y="67"/>
                </a:cubicBezTo>
                <a:cubicBezTo>
                  <a:pt x="25" y="67"/>
                  <a:pt x="25" y="67"/>
                  <a:pt x="25" y="67"/>
                </a:cubicBezTo>
                <a:cubicBezTo>
                  <a:pt x="25" y="66"/>
                  <a:pt x="24" y="65"/>
                  <a:pt x="24" y="65"/>
                </a:cubicBezTo>
                <a:cubicBezTo>
                  <a:pt x="24" y="64"/>
                  <a:pt x="24" y="64"/>
                  <a:pt x="24" y="64"/>
                </a:cubicBezTo>
                <a:cubicBezTo>
                  <a:pt x="23" y="64"/>
                  <a:pt x="23" y="64"/>
                  <a:pt x="23" y="64"/>
                </a:cubicBezTo>
                <a:cubicBezTo>
                  <a:pt x="23" y="63"/>
                  <a:pt x="23" y="63"/>
                  <a:pt x="23" y="63"/>
                </a:cubicBezTo>
                <a:cubicBezTo>
                  <a:pt x="22" y="63"/>
                  <a:pt x="22" y="63"/>
                  <a:pt x="22" y="63"/>
                </a:cubicBezTo>
                <a:cubicBezTo>
                  <a:pt x="22" y="61"/>
                  <a:pt x="21" y="59"/>
                  <a:pt x="21" y="58"/>
                </a:cubicBezTo>
                <a:cubicBezTo>
                  <a:pt x="20" y="57"/>
                  <a:pt x="20" y="57"/>
                  <a:pt x="20" y="57"/>
                </a:cubicBezTo>
                <a:cubicBezTo>
                  <a:pt x="20" y="56"/>
                  <a:pt x="20" y="56"/>
                  <a:pt x="20" y="56"/>
                </a:cubicBezTo>
                <a:cubicBezTo>
                  <a:pt x="20" y="55"/>
                  <a:pt x="20" y="55"/>
                  <a:pt x="20" y="55"/>
                </a:cubicBezTo>
                <a:cubicBezTo>
                  <a:pt x="20" y="55"/>
                  <a:pt x="20" y="55"/>
                  <a:pt x="20" y="55"/>
                </a:cubicBezTo>
                <a:cubicBezTo>
                  <a:pt x="20" y="54"/>
                  <a:pt x="20" y="54"/>
                  <a:pt x="20" y="54"/>
                </a:cubicBezTo>
                <a:cubicBezTo>
                  <a:pt x="20" y="54"/>
                  <a:pt x="20" y="54"/>
                  <a:pt x="20" y="54"/>
                </a:cubicBezTo>
                <a:cubicBezTo>
                  <a:pt x="20" y="53"/>
                  <a:pt x="19" y="53"/>
                  <a:pt x="19" y="52"/>
                </a:cubicBezTo>
                <a:cubicBezTo>
                  <a:pt x="19" y="52"/>
                  <a:pt x="19" y="52"/>
                  <a:pt x="19" y="52"/>
                </a:cubicBezTo>
                <a:cubicBezTo>
                  <a:pt x="19" y="51"/>
                  <a:pt x="19" y="51"/>
                  <a:pt x="19" y="51"/>
                </a:cubicBezTo>
                <a:cubicBezTo>
                  <a:pt x="19" y="51"/>
                  <a:pt x="19" y="51"/>
                  <a:pt x="19" y="51"/>
                </a:cubicBezTo>
                <a:cubicBezTo>
                  <a:pt x="19" y="50"/>
                  <a:pt x="19" y="50"/>
                  <a:pt x="19" y="49"/>
                </a:cubicBezTo>
                <a:cubicBezTo>
                  <a:pt x="19" y="49"/>
                  <a:pt x="19" y="48"/>
                  <a:pt x="19" y="48"/>
                </a:cubicBezTo>
                <a:cubicBezTo>
                  <a:pt x="19" y="47"/>
                  <a:pt x="19" y="47"/>
                  <a:pt x="19" y="47"/>
                </a:cubicBezTo>
                <a:cubicBezTo>
                  <a:pt x="19" y="47"/>
                  <a:pt x="19" y="47"/>
                  <a:pt x="19" y="47"/>
                </a:cubicBezTo>
                <a:cubicBezTo>
                  <a:pt x="19" y="46"/>
                  <a:pt x="19" y="46"/>
                  <a:pt x="19" y="46"/>
                </a:cubicBezTo>
                <a:cubicBezTo>
                  <a:pt x="19" y="46"/>
                  <a:pt x="20" y="45"/>
                  <a:pt x="20" y="45"/>
                </a:cubicBezTo>
                <a:cubicBezTo>
                  <a:pt x="20" y="45"/>
                  <a:pt x="20" y="45"/>
                  <a:pt x="20" y="45"/>
                </a:cubicBezTo>
                <a:cubicBezTo>
                  <a:pt x="20" y="44"/>
                  <a:pt x="20" y="44"/>
                  <a:pt x="20" y="44"/>
                </a:cubicBezTo>
                <a:cubicBezTo>
                  <a:pt x="20" y="43"/>
                  <a:pt x="20" y="43"/>
                  <a:pt x="20" y="43"/>
                </a:cubicBezTo>
                <a:cubicBezTo>
                  <a:pt x="20" y="42"/>
                  <a:pt x="20" y="42"/>
                  <a:pt x="20" y="42"/>
                </a:cubicBezTo>
                <a:cubicBezTo>
                  <a:pt x="20" y="42"/>
                  <a:pt x="20" y="42"/>
                  <a:pt x="20" y="42"/>
                </a:cubicBezTo>
                <a:cubicBezTo>
                  <a:pt x="20" y="42"/>
                  <a:pt x="20" y="41"/>
                  <a:pt x="21" y="41"/>
                </a:cubicBezTo>
                <a:cubicBezTo>
                  <a:pt x="21" y="39"/>
                  <a:pt x="22" y="37"/>
                  <a:pt x="22" y="36"/>
                </a:cubicBezTo>
                <a:cubicBezTo>
                  <a:pt x="23" y="35"/>
                  <a:pt x="23" y="35"/>
                  <a:pt x="23" y="35"/>
                </a:cubicBezTo>
                <a:cubicBezTo>
                  <a:pt x="23" y="35"/>
                  <a:pt x="23" y="35"/>
                  <a:pt x="23" y="35"/>
                </a:cubicBezTo>
                <a:cubicBezTo>
                  <a:pt x="24" y="34"/>
                  <a:pt x="24" y="34"/>
                  <a:pt x="24" y="34"/>
                </a:cubicBezTo>
                <a:cubicBezTo>
                  <a:pt x="24" y="34"/>
                  <a:pt x="24" y="34"/>
                  <a:pt x="24" y="34"/>
                </a:cubicBezTo>
                <a:cubicBezTo>
                  <a:pt x="24" y="33"/>
                  <a:pt x="25" y="32"/>
                  <a:pt x="25" y="31"/>
                </a:cubicBezTo>
                <a:cubicBezTo>
                  <a:pt x="25" y="31"/>
                  <a:pt x="25" y="31"/>
                  <a:pt x="25" y="31"/>
                </a:cubicBezTo>
                <a:cubicBezTo>
                  <a:pt x="26" y="31"/>
                  <a:pt x="26" y="31"/>
                  <a:pt x="26" y="31"/>
                </a:cubicBezTo>
                <a:cubicBezTo>
                  <a:pt x="26" y="30"/>
                  <a:pt x="26" y="30"/>
                  <a:pt x="26" y="30"/>
                </a:cubicBezTo>
                <a:cubicBezTo>
                  <a:pt x="27" y="29"/>
                  <a:pt x="28" y="28"/>
                  <a:pt x="29" y="27"/>
                </a:cubicBezTo>
                <a:cubicBezTo>
                  <a:pt x="29" y="27"/>
                  <a:pt x="29" y="27"/>
                  <a:pt x="29" y="27"/>
                </a:cubicBezTo>
                <a:cubicBezTo>
                  <a:pt x="30" y="27"/>
                  <a:pt x="30" y="27"/>
                  <a:pt x="30" y="27"/>
                </a:cubicBezTo>
                <a:cubicBezTo>
                  <a:pt x="30" y="27"/>
                  <a:pt x="30" y="27"/>
                  <a:pt x="30" y="27"/>
                </a:cubicBezTo>
                <a:cubicBezTo>
                  <a:pt x="31" y="26"/>
                  <a:pt x="31" y="25"/>
                  <a:pt x="32" y="25"/>
                </a:cubicBezTo>
                <a:cubicBezTo>
                  <a:pt x="32" y="25"/>
                  <a:pt x="32" y="25"/>
                  <a:pt x="32" y="25"/>
                </a:cubicBezTo>
                <a:cubicBezTo>
                  <a:pt x="33" y="24"/>
                  <a:pt x="33" y="24"/>
                  <a:pt x="33" y="24"/>
                </a:cubicBezTo>
                <a:cubicBezTo>
                  <a:pt x="33" y="24"/>
                  <a:pt x="33" y="24"/>
                  <a:pt x="33" y="24"/>
                </a:cubicBezTo>
                <a:cubicBezTo>
                  <a:pt x="34" y="24"/>
                  <a:pt x="34" y="24"/>
                  <a:pt x="34" y="24"/>
                </a:cubicBezTo>
                <a:cubicBezTo>
                  <a:pt x="36" y="23"/>
                  <a:pt x="37" y="22"/>
                  <a:pt x="39" y="22"/>
                </a:cubicBezTo>
                <a:cubicBezTo>
                  <a:pt x="39" y="22"/>
                  <a:pt x="39" y="22"/>
                  <a:pt x="39" y="22"/>
                </a:cubicBezTo>
                <a:cubicBezTo>
                  <a:pt x="39" y="22"/>
                  <a:pt x="39" y="22"/>
                  <a:pt x="39" y="22"/>
                </a:cubicBezTo>
                <a:cubicBezTo>
                  <a:pt x="39" y="22"/>
                  <a:pt x="40" y="22"/>
                  <a:pt x="40" y="21"/>
                </a:cubicBezTo>
                <a:cubicBezTo>
                  <a:pt x="41" y="21"/>
                  <a:pt x="41" y="21"/>
                  <a:pt x="41" y="21"/>
                </a:cubicBezTo>
                <a:cubicBezTo>
                  <a:pt x="41" y="21"/>
                  <a:pt x="41" y="21"/>
                  <a:pt x="41" y="21"/>
                </a:cubicBezTo>
                <a:cubicBezTo>
                  <a:pt x="42" y="21"/>
                  <a:pt x="42" y="21"/>
                  <a:pt x="42" y="21"/>
                </a:cubicBezTo>
                <a:cubicBezTo>
                  <a:pt x="42" y="21"/>
                  <a:pt x="42" y="21"/>
                  <a:pt x="43" y="21"/>
                </a:cubicBezTo>
                <a:cubicBezTo>
                  <a:pt x="43" y="21"/>
                  <a:pt x="43" y="21"/>
                  <a:pt x="43" y="21"/>
                </a:cubicBezTo>
                <a:cubicBezTo>
                  <a:pt x="43" y="21"/>
                  <a:pt x="44" y="21"/>
                  <a:pt x="44" y="21"/>
                </a:cubicBezTo>
                <a:cubicBezTo>
                  <a:pt x="45" y="21"/>
                  <a:pt x="45" y="21"/>
                  <a:pt x="45" y="21"/>
                </a:cubicBezTo>
                <a:cubicBezTo>
                  <a:pt x="46" y="21"/>
                  <a:pt x="46" y="21"/>
                  <a:pt x="46" y="21"/>
                </a:cubicBezTo>
                <a:cubicBezTo>
                  <a:pt x="46" y="20"/>
                  <a:pt x="46" y="20"/>
                  <a:pt x="46" y="20"/>
                </a:cubicBezTo>
                <a:cubicBezTo>
                  <a:pt x="46" y="20"/>
                  <a:pt x="47" y="20"/>
                  <a:pt x="47" y="20"/>
                </a:cubicBezTo>
                <a:cubicBezTo>
                  <a:pt x="48" y="20"/>
                  <a:pt x="48" y="20"/>
                  <a:pt x="49" y="20"/>
                </a:cubicBezTo>
                <a:cubicBezTo>
                  <a:pt x="49" y="21"/>
                  <a:pt x="49" y="21"/>
                  <a:pt x="49" y="21"/>
                </a:cubicBezTo>
                <a:cubicBezTo>
                  <a:pt x="50" y="21"/>
                  <a:pt x="50" y="21"/>
                  <a:pt x="50" y="21"/>
                </a:cubicBezTo>
                <a:cubicBezTo>
                  <a:pt x="50" y="21"/>
                  <a:pt x="50" y="21"/>
                  <a:pt x="50" y="21"/>
                </a:cubicBezTo>
                <a:cubicBezTo>
                  <a:pt x="51" y="21"/>
                  <a:pt x="51" y="21"/>
                  <a:pt x="51" y="21"/>
                </a:cubicBezTo>
                <a:cubicBezTo>
                  <a:pt x="52" y="21"/>
                  <a:pt x="52" y="21"/>
                  <a:pt x="52" y="21"/>
                </a:cubicBezTo>
                <a:cubicBezTo>
                  <a:pt x="52" y="21"/>
                  <a:pt x="52" y="21"/>
                  <a:pt x="53" y="21"/>
                </a:cubicBezTo>
                <a:cubicBezTo>
                  <a:pt x="53" y="21"/>
                  <a:pt x="53" y="21"/>
                  <a:pt x="53" y="21"/>
                </a:cubicBezTo>
                <a:cubicBezTo>
                  <a:pt x="54" y="21"/>
                  <a:pt x="54" y="21"/>
                  <a:pt x="54" y="21"/>
                </a:cubicBezTo>
                <a:cubicBezTo>
                  <a:pt x="54" y="21"/>
                  <a:pt x="54" y="21"/>
                  <a:pt x="54" y="21"/>
                </a:cubicBezTo>
                <a:cubicBezTo>
                  <a:pt x="56" y="22"/>
                  <a:pt x="58" y="23"/>
                  <a:pt x="60" y="24"/>
                </a:cubicBezTo>
                <a:cubicBezTo>
                  <a:pt x="61" y="24"/>
                  <a:pt x="61" y="24"/>
                  <a:pt x="61" y="24"/>
                </a:cubicBezTo>
                <a:cubicBezTo>
                  <a:pt x="61" y="24"/>
                  <a:pt x="61" y="24"/>
                  <a:pt x="61" y="24"/>
                </a:cubicBezTo>
                <a:cubicBezTo>
                  <a:pt x="62" y="25"/>
                  <a:pt x="62" y="25"/>
                  <a:pt x="62" y="25"/>
                </a:cubicBezTo>
                <a:cubicBezTo>
                  <a:pt x="62" y="25"/>
                  <a:pt x="62" y="25"/>
                  <a:pt x="62" y="25"/>
                </a:cubicBezTo>
                <a:cubicBezTo>
                  <a:pt x="63" y="25"/>
                  <a:pt x="64" y="26"/>
                  <a:pt x="65" y="27"/>
                </a:cubicBezTo>
                <a:cubicBezTo>
                  <a:pt x="65" y="27"/>
                  <a:pt x="65" y="27"/>
                  <a:pt x="65" y="27"/>
                </a:cubicBezTo>
                <a:cubicBezTo>
                  <a:pt x="65" y="27"/>
                  <a:pt x="65" y="27"/>
                  <a:pt x="65" y="27"/>
                </a:cubicBezTo>
                <a:cubicBezTo>
                  <a:pt x="66" y="27"/>
                  <a:pt x="66" y="27"/>
                  <a:pt x="66" y="27"/>
                </a:cubicBezTo>
                <a:cubicBezTo>
                  <a:pt x="67" y="28"/>
                  <a:pt x="67" y="29"/>
                  <a:pt x="68" y="30"/>
                </a:cubicBezTo>
                <a:cubicBezTo>
                  <a:pt x="68" y="31"/>
                  <a:pt x="68" y="31"/>
                  <a:pt x="68" y="31"/>
                </a:cubicBezTo>
                <a:cubicBezTo>
                  <a:pt x="69" y="31"/>
                  <a:pt x="69" y="31"/>
                  <a:pt x="69" y="31"/>
                </a:cubicBezTo>
                <a:cubicBezTo>
                  <a:pt x="69" y="31"/>
                  <a:pt x="69" y="31"/>
                  <a:pt x="69" y="31"/>
                </a:cubicBezTo>
                <a:cubicBezTo>
                  <a:pt x="70" y="32"/>
                  <a:pt x="70" y="33"/>
                  <a:pt x="71" y="34"/>
                </a:cubicBezTo>
                <a:cubicBezTo>
                  <a:pt x="71" y="34"/>
                  <a:pt x="71" y="34"/>
                  <a:pt x="71" y="34"/>
                </a:cubicBezTo>
                <a:cubicBezTo>
                  <a:pt x="71" y="35"/>
                  <a:pt x="71" y="35"/>
                  <a:pt x="71" y="35"/>
                </a:cubicBezTo>
                <a:cubicBezTo>
                  <a:pt x="71" y="35"/>
                  <a:pt x="71" y="35"/>
                  <a:pt x="71" y="35"/>
                </a:cubicBezTo>
                <a:cubicBezTo>
                  <a:pt x="72" y="36"/>
                  <a:pt x="72" y="36"/>
                  <a:pt x="72" y="36"/>
                </a:cubicBezTo>
                <a:cubicBezTo>
                  <a:pt x="73" y="37"/>
                  <a:pt x="73" y="39"/>
                  <a:pt x="74" y="41"/>
                </a:cubicBezTo>
                <a:cubicBezTo>
                  <a:pt x="74" y="41"/>
                  <a:pt x="74" y="42"/>
                  <a:pt x="74" y="42"/>
                </a:cubicBezTo>
                <a:cubicBezTo>
                  <a:pt x="74" y="42"/>
                  <a:pt x="74" y="42"/>
                  <a:pt x="74" y="42"/>
                </a:cubicBezTo>
                <a:cubicBezTo>
                  <a:pt x="75" y="43"/>
                  <a:pt x="75" y="43"/>
                  <a:pt x="75" y="43"/>
                </a:cubicBezTo>
                <a:cubicBezTo>
                  <a:pt x="75" y="44"/>
                  <a:pt x="75" y="44"/>
                  <a:pt x="75" y="44"/>
                </a:cubicBezTo>
                <a:cubicBezTo>
                  <a:pt x="75" y="44"/>
                  <a:pt x="75" y="44"/>
                  <a:pt x="75" y="45"/>
                </a:cubicBezTo>
                <a:cubicBezTo>
                  <a:pt x="75" y="45"/>
                  <a:pt x="75" y="45"/>
                  <a:pt x="75" y="45"/>
                </a:cubicBezTo>
                <a:cubicBezTo>
                  <a:pt x="75" y="45"/>
                  <a:pt x="75" y="46"/>
                  <a:pt x="75" y="46"/>
                </a:cubicBezTo>
                <a:cubicBezTo>
                  <a:pt x="75" y="47"/>
                  <a:pt x="75" y="47"/>
                  <a:pt x="75" y="47"/>
                </a:cubicBezTo>
                <a:cubicBezTo>
                  <a:pt x="75" y="47"/>
                  <a:pt x="75" y="47"/>
                  <a:pt x="75" y="47"/>
                </a:cubicBezTo>
                <a:cubicBezTo>
                  <a:pt x="75" y="48"/>
                  <a:pt x="75" y="48"/>
                  <a:pt x="75" y="48"/>
                </a:cubicBezTo>
                <a:cubicBezTo>
                  <a:pt x="75" y="48"/>
                  <a:pt x="75" y="49"/>
                  <a:pt x="75" y="49"/>
                </a:cubicBezTo>
                <a:cubicBezTo>
                  <a:pt x="75" y="50"/>
                  <a:pt x="75" y="50"/>
                  <a:pt x="75" y="51"/>
                </a:cubicBezTo>
                <a:cubicBezTo>
                  <a:pt x="75" y="51"/>
                  <a:pt x="75" y="51"/>
                  <a:pt x="75" y="51"/>
                </a:cubicBezTo>
                <a:cubicBezTo>
                  <a:pt x="75" y="52"/>
                  <a:pt x="75" y="52"/>
                  <a:pt x="75" y="52"/>
                </a:cubicBezTo>
                <a:cubicBezTo>
                  <a:pt x="75" y="52"/>
                  <a:pt x="75" y="52"/>
                  <a:pt x="75" y="52"/>
                </a:cubicBezTo>
                <a:cubicBezTo>
                  <a:pt x="75" y="53"/>
                  <a:pt x="75" y="53"/>
                  <a:pt x="75" y="54"/>
                </a:cubicBezTo>
                <a:cubicBezTo>
                  <a:pt x="75" y="54"/>
                  <a:pt x="75" y="54"/>
                  <a:pt x="75" y="54"/>
                </a:cubicBezTo>
                <a:cubicBezTo>
                  <a:pt x="75" y="54"/>
                  <a:pt x="75" y="54"/>
                  <a:pt x="75" y="55"/>
                </a:cubicBezTo>
                <a:cubicBezTo>
                  <a:pt x="75" y="55"/>
                  <a:pt x="75" y="55"/>
                  <a:pt x="75" y="55"/>
                </a:cubicBezTo>
                <a:cubicBezTo>
                  <a:pt x="74" y="56"/>
                  <a:pt x="74" y="56"/>
                  <a:pt x="74" y="56"/>
                </a:cubicBezTo>
                <a:cubicBezTo>
                  <a:pt x="74" y="57"/>
                  <a:pt x="74" y="57"/>
                  <a:pt x="74" y="57"/>
                </a:cubicBezTo>
                <a:cubicBezTo>
                  <a:pt x="74" y="57"/>
                  <a:pt x="74" y="57"/>
                  <a:pt x="74" y="58"/>
                </a:cubicBezTo>
                <a:cubicBezTo>
                  <a:pt x="73" y="59"/>
                  <a:pt x="73" y="61"/>
                  <a:pt x="72" y="63"/>
                </a:cubicBezTo>
                <a:cubicBezTo>
                  <a:pt x="71" y="63"/>
                  <a:pt x="71" y="63"/>
                  <a:pt x="71" y="63"/>
                </a:cubicBezTo>
                <a:cubicBezTo>
                  <a:pt x="71" y="64"/>
                  <a:pt x="71" y="64"/>
                  <a:pt x="71" y="64"/>
                </a:cubicBezTo>
                <a:cubicBezTo>
                  <a:pt x="71" y="64"/>
                  <a:pt x="71" y="64"/>
                  <a:pt x="71" y="64"/>
                </a:cubicBezTo>
                <a:cubicBezTo>
                  <a:pt x="71" y="65"/>
                  <a:pt x="71" y="65"/>
                  <a:pt x="71" y="65"/>
                </a:cubicBezTo>
                <a:cubicBezTo>
                  <a:pt x="70" y="65"/>
                  <a:pt x="70" y="66"/>
                  <a:pt x="69" y="67"/>
                </a:cubicBezTo>
                <a:cubicBezTo>
                  <a:pt x="69" y="67"/>
                  <a:pt x="69" y="67"/>
                  <a:pt x="69" y="67"/>
                </a:cubicBezTo>
                <a:cubicBezTo>
                  <a:pt x="68" y="68"/>
                  <a:pt x="68" y="68"/>
                  <a:pt x="68" y="68"/>
                </a:cubicBezTo>
                <a:cubicBezTo>
                  <a:pt x="68" y="68"/>
                  <a:pt x="68" y="68"/>
                  <a:pt x="68" y="68"/>
                </a:cubicBezTo>
                <a:cubicBezTo>
                  <a:pt x="67" y="69"/>
                  <a:pt x="67" y="70"/>
                  <a:pt x="66" y="71"/>
                </a:cubicBezTo>
                <a:cubicBezTo>
                  <a:pt x="65" y="71"/>
                  <a:pt x="65" y="71"/>
                  <a:pt x="65" y="71"/>
                </a:cubicBezTo>
                <a:cubicBezTo>
                  <a:pt x="65" y="72"/>
                  <a:pt x="65" y="72"/>
                  <a:pt x="65" y="72"/>
                </a:cubicBezTo>
                <a:cubicBezTo>
                  <a:pt x="65" y="72"/>
                  <a:pt x="65" y="72"/>
                  <a:pt x="65" y="72"/>
                </a:cubicBezTo>
                <a:cubicBezTo>
                  <a:pt x="64" y="72"/>
                  <a:pt x="63" y="73"/>
                  <a:pt x="62" y="74"/>
                </a:cubicBezTo>
                <a:cubicBezTo>
                  <a:pt x="62" y="74"/>
                  <a:pt x="62" y="74"/>
                  <a:pt x="62" y="74"/>
                </a:cubicBezTo>
                <a:cubicBezTo>
                  <a:pt x="61" y="74"/>
                  <a:pt x="61" y="74"/>
                  <a:pt x="61" y="74"/>
                </a:cubicBezTo>
                <a:cubicBezTo>
                  <a:pt x="61" y="74"/>
                  <a:pt x="61" y="74"/>
                  <a:pt x="61" y="74"/>
                </a:cubicBezTo>
                <a:lnTo>
                  <a:pt x="60" y="75"/>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5" name="Freeform 1402">
            <a:extLst>
              <a:ext uri="{FF2B5EF4-FFF2-40B4-BE49-F238E27FC236}">
                <a16:creationId xmlns:a16="http://schemas.microsoft.com/office/drawing/2014/main" id="{53A6B651-AA29-4707-B7F7-EBCE1257921C}"/>
              </a:ext>
            </a:extLst>
          </p:cNvPr>
          <p:cNvSpPr>
            <a:spLocks noEditPoints="1"/>
          </p:cNvSpPr>
          <p:nvPr/>
        </p:nvSpPr>
        <p:spPr bwMode="auto">
          <a:xfrm rot="7915163">
            <a:off x="6200834" y="1925580"/>
            <a:ext cx="96024" cy="553086"/>
          </a:xfrm>
          <a:custGeom>
            <a:avLst/>
            <a:gdLst>
              <a:gd name="T0" fmla="*/ 11 w 25"/>
              <a:gd name="T1" fmla="*/ 27 h 144"/>
              <a:gd name="T2" fmla="*/ 14 w 25"/>
              <a:gd name="T3" fmla="*/ 31 h 144"/>
              <a:gd name="T4" fmla="*/ 14 w 25"/>
              <a:gd name="T5" fmla="*/ 40 h 144"/>
              <a:gd name="T6" fmla="*/ 11 w 25"/>
              <a:gd name="T7" fmla="*/ 36 h 144"/>
              <a:gd name="T8" fmla="*/ 14 w 25"/>
              <a:gd name="T9" fmla="*/ 40 h 144"/>
              <a:gd name="T10" fmla="*/ 14 w 25"/>
              <a:gd name="T11" fmla="*/ 45 h 144"/>
              <a:gd name="T12" fmla="*/ 11 w 25"/>
              <a:gd name="T13" fmla="*/ 49 h 144"/>
              <a:gd name="T14" fmla="*/ 14 w 25"/>
              <a:gd name="T15" fmla="*/ 58 h 144"/>
              <a:gd name="T16" fmla="*/ 11 w 25"/>
              <a:gd name="T17" fmla="*/ 53 h 144"/>
              <a:gd name="T18" fmla="*/ 14 w 25"/>
              <a:gd name="T19" fmla="*/ 58 h 144"/>
              <a:gd name="T20" fmla="*/ 14 w 25"/>
              <a:gd name="T21" fmla="*/ 62 h 144"/>
              <a:gd name="T22" fmla="*/ 11 w 25"/>
              <a:gd name="T23" fmla="*/ 67 h 144"/>
              <a:gd name="T24" fmla="*/ 14 w 25"/>
              <a:gd name="T25" fmla="*/ 75 h 144"/>
              <a:gd name="T26" fmla="*/ 11 w 25"/>
              <a:gd name="T27" fmla="*/ 71 h 144"/>
              <a:gd name="T28" fmla="*/ 14 w 25"/>
              <a:gd name="T29" fmla="*/ 75 h 144"/>
              <a:gd name="T30" fmla="*/ 14 w 25"/>
              <a:gd name="T31" fmla="*/ 79 h 144"/>
              <a:gd name="T32" fmla="*/ 11 w 25"/>
              <a:gd name="T33" fmla="*/ 84 h 144"/>
              <a:gd name="T34" fmla="*/ 14 w 25"/>
              <a:gd name="T35" fmla="*/ 93 h 144"/>
              <a:gd name="T36" fmla="*/ 11 w 25"/>
              <a:gd name="T37" fmla="*/ 88 h 144"/>
              <a:gd name="T38" fmla="*/ 14 w 25"/>
              <a:gd name="T39" fmla="*/ 93 h 144"/>
              <a:gd name="T40" fmla="*/ 14 w 25"/>
              <a:gd name="T41" fmla="*/ 96 h 144"/>
              <a:gd name="T42" fmla="*/ 11 w 25"/>
              <a:gd name="T43" fmla="*/ 101 h 144"/>
              <a:gd name="T44" fmla="*/ 14 w 25"/>
              <a:gd name="T45" fmla="*/ 110 h 144"/>
              <a:gd name="T46" fmla="*/ 11 w 25"/>
              <a:gd name="T47" fmla="*/ 105 h 144"/>
              <a:gd name="T48" fmla="*/ 14 w 25"/>
              <a:gd name="T49" fmla="*/ 110 h 144"/>
              <a:gd name="T50" fmla="*/ 14 w 25"/>
              <a:gd name="T51" fmla="*/ 114 h 144"/>
              <a:gd name="T52" fmla="*/ 11 w 25"/>
              <a:gd name="T53" fmla="*/ 119 h 144"/>
              <a:gd name="T54" fmla="*/ 14 w 25"/>
              <a:gd name="T55" fmla="*/ 127 h 144"/>
              <a:gd name="T56" fmla="*/ 11 w 25"/>
              <a:gd name="T57" fmla="*/ 123 h 144"/>
              <a:gd name="T58" fmla="*/ 14 w 25"/>
              <a:gd name="T59" fmla="*/ 127 h 144"/>
              <a:gd name="T60" fmla="*/ 14 w 25"/>
              <a:gd name="T61" fmla="*/ 132 h 144"/>
              <a:gd name="T62" fmla="*/ 11 w 25"/>
              <a:gd name="T63" fmla="*/ 136 h 144"/>
              <a:gd name="T64" fmla="*/ 14 w 25"/>
              <a:gd name="T65" fmla="*/ 144 h 144"/>
              <a:gd name="T66" fmla="*/ 11 w 25"/>
              <a:gd name="T67" fmla="*/ 141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7"/>
                </a:lnTo>
                <a:lnTo>
                  <a:pt x="14" y="27"/>
                </a:lnTo>
                <a:lnTo>
                  <a:pt x="14" y="31"/>
                </a:lnTo>
                <a:lnTo>
                  <a:pt x="11" y="31"/>
                </a:lnTo>
                <a:close/>
                <a:moveTo>
                  <a:pt x="14" y="40"/>
                </a:moveTo>
                <a:lnTo>
                  <a:pt x="14" y="36"/>
                </a:lnTo>
                <a:lnTo>
                  <a:pt x="11" y="36"/>
                </a:lnTo>
                <a:lnTo>
                  <a:pt x="11" y="40"/>
                </a:lnTo>
                <a:lnTo>
                  <a:pt x="14" y="40"/>
                </a:lnTo>
                <a:close/>
                <a:moveTo>
                  <a:pt x="14" y="49"/>
                </a:moveTo>
                <a:lnTo>
                  <a:pt x="14" y="45"/>
                </a:lnTo>
                <a:lnTo>
                  <a:pt x="11" y="45"/>
                </a:lnTo>
                <a:lnTo>
                  <a:pt x="11" y="49"/>
                </a:lnTo>
                <a:lnTo>
                  <a:pt x="14" y="49"/>
                </a:lnTo>
                <a:close/>
                <a:moveTo>
                  <a:pt x="14" y="58"/>
                </a:moveTo>
                <a:lnTo>
                  <a:pt x="14" y="53"/>
                </a:lnTo>
                <a:lnTo>
                  <a:pt x="11" y="53"/>
                </a:lnTo>
                <a:lnTo>
                  <a:pt x="11" y="58"/>
                </a:lnTo>
                <a:lnTo>
                  <a:pt x="14" y="58"/>
                </a:lnTo>
                <a:close/>
                <a:moveTo>
                  <a:pt x="14" y="67"/>
                </a:moveTo>
                <a:lnTo>
                  <a:pt x="14" y="62"/>
                </a:lnTo>
                <a:lnTo>
                  <a:pt x="11" y="62"/>
                </a:lnTo>
                <a:lnTo>
                  <a:pt x="11" y="67"/>
                </a:lnTo>
                <a:lnTo>
                  <a:pt x="14" y="67"/>
                </a:lnTo>
                <a:close/>
                <a:moveTo>
                  <a:pt x="14" y="75"/>
                </a:moveTo>
                <a:lnTo>
                  <a:pt x="14" y="71"/>
                </a:lnTo>
                <a:lnTo>
                  <a:pt x="11" y="71"/>
                </a:lnTo>
                <a:lnTo>
                  <a:pt x="11" y="75"/>
                </a:lnTo>
                <a:lnTo>
                  <a:pt x="14" y="75"/>
                </a:lnTo>
                <a:close/>
                <a:moveTo>
                  <a:pt x="14" y="84"/>
                </a:moveTo>
                <a:lnTo>
                  <a:pt x="14" y="79"/>
                </a:lnTo>
                <a:lnTo>
                  <a:pt x="11" y="79"/>
                </a:lnTo>
                <a:lnTo>
                  <a:pt x="11" y="84"/>
                </a:lnTo>
                <a:lnTo>
                  <a:pt x="14" y="84"/>
                </a:lnTo>
                <a:close/>
                <a:moveTo>
                  <a:pt x="14" y="93"/>
                </a:moveTo>
                <a:lnTo>
                  <a:pt x="14" y="88"/>
                </a:lnTo>
                <a:lnTo>
                  <a:pt x="11" y="88"/>
                </a:lnTo>
                <a:lnTo>
                  <a:pt x="11" y="93"/>
                </a:lnTo>
                <a:lnTo>
                  <a:pt x="14" y="93"/>
                </a:lnTo>
                <a:close/>
                <a:moveTo>
                  <a:pt x="14" y="101"/>
                </a:moveTo>
                <a:lnTo>
                  <a:pt x="14" y="96"/>
                </a:lnTo>
                <a:lnTo>
                  <a:pt x="11" y="96"/>
                </a:lnTo>
                <a:lnTo>
                  <a:pt x="11" y="101"/>
                </a:lnTo>
                <a:lnTo>
                  <a:pt x="14" y="101"/>
                </a:lnTo>
                <a:close/>
                <a:moveTo>
                  <a:pt x="14" y="110"/>
                </a:moveTo>
                <a:lnTo>
                  <a:pt x="14" y="105"/>
                </a:lnTo>
                <a:lnTo>
                  <a:pt x="11" y="105"/>
                </a:lnTo>
                <a:lnTo>
                  <a:pt x="11" y="110"/>
                </a:lnTo>
                <a:lnTo>
                  <a:pt x="14" y="110"/>
                </a:lnTo>
                <a:close/>
                <a:moveTo>
                  <a:pt x="14" y="119"/>
                </a:moveTo>
                <a:lnTo>
                  <a:pt x="14" y="114"/>
                </a:lnTo>
                <a:lnTo>
                  <a:pt x="11" y="114"/>
                </a:lnTo>
                <a:lnTo>
                  <a:pt x="11" y="119"/>
                </a:lnTo>
                <a:lnTo>
                  <a:pt x="14" y="119"/>
                </a:lnTo>
                <a:close/>
                <a:moveTo>
                  <a:pt x="14" y="127"/>
                </a:moveTo>
                <a:lnTo>
                  <a:pt x="14" y="123"/>
                </a:lnTo>
                <a:lnTo>
                  <a:pt x="11" y="123"/>
                </a:lnTo>
                <a:lnTo>
                  <a:pt x="11" y="127"/>
                </a:lnTo>
                <a:lnTo>
                  <a:pt x="14" y="127"/>
                </a:lnTo>
                <a:close/>
                <a:moveTo>
                  <a:pt x="14" y="136"/>
                </a:moveTo>
                <a:lnTo>
                  <a:pt x="14" y="132"/>
                </a:lnTo>
                <a:lnTo>
                  <a:pt x="11" y="132"/>
                </a:lnTo>
                <a:lnTo>
                  <a:pt x="11" y="136"/>
                </a:lnTo>
                <a:lnTo>
                  <a:pt x="14" y="136"/>
                </a:lnTo>
                <a:close/>
                <a:moveTo>
                  <a:pt x="14" y="144"/>
                </a:moveTo>
                <a:lnTo>
                  <a:pt x="14" y="141"/>
                </a:lnTo>
                <a:lnTo>
                  <a:pt x="11" y="141"/>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8" name="Freeform 1405">
            <a:extLst>
              <a:ext uri="{FF2B5EF4-FFF2-40B4-BE49-F238E27FC236}">
                <a16:creationId xmlns:a16="http://schemas.microsoft.com/office/drawing/2014/main" id="{FF7C8A3D-1A33-44B4-94E4-BD9ACB698892}"/>
              </a:ext>
            </a:extLst>
          </p:cNvPr>
          <p:cNvSpPr>
            <a:spLocks noEditPoints="1"/>
          </p:cNvSpPr>
          <p:nvPr/>
        </p:nvSpPr>
        <p:spPr bwMode="auto">
          <a:xfrm rot="7915163">
            <a:off x="7264540" y="548177"/>
            <a:ext cx="349521" cy="345679"/>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7 h 121"/>
              <a:gd name="T12" fmla="*/ 114 w 121"/>
              <a:gd name="T13" fmla="*/ 60 h 121"/>
              <a:gd name="T14" fmla="*/ 68 w 121"/>
              <a:gd name="T15" fmla="*/ 113 h 121"/>
              <a:gd name="T16" fmla="*/ 68 w 121"/>
              <a:gd name="T17" fmla="*/ 62 h 121"/>
              <a:gd name="T18" fmla="*/ 68 w 121"/>
              <a:gd name="T19" fmla="*/ 44 h 121"/>
              <a:gd name="T20" fmla="*/ 76 w 121"/>
              <a:gd name="T21" fmla="*/ 52 h 121"/>
              <a:gd name="T22" fmla="*/ 76 w 121"/>
              <a:gd name="T23" fmla="*/ 52 h 121"/>
              <a:gd name="T24" fmla="*/ 78 w 121"/>
              <a:gd name="T25" fmla="*/ 54 h 121"/>
              <a:gd name="T26" fmla="*/ 84 w 121"/>
              <a:gd name="T27" fmla="*/ 56 h 121"/>
              <a:gd name="T28" fmla="*/ 89 w 121"/>
              <a:gd name="T29" fmla="*/ 54 h 121"/>
              <a:gd name="T30" fmla="*/ 89 w 121"/>
              <a:gd name="T31" fmla="*/ 43 h 121"/>
              <a:gd name="T32" fmla="*/ 79 w 121"/>
              <a:gd name="T33" fmla="*/ 32 h 121"/>
              <a:gd name="T34" fmla="*/ 60 w 121"/>
              <a:gd name="T35" fmla="*/ 12 h 121"/>
              <a:gd name="T36" fmla="*/ 31 w 121"/>
              <a:gd name="T37" fmla="*/ 43 h 121"/>
              <a:gd name="T38" fmla="*/ 31 w 121"/>
              <a:gd name="T39" fmla="*/ 54 h 121"/>
              <a:gd name="T40" fmla="*/ 42 w 121"/>
              <a:gd name="T41" fmla="*/ 54 h 121"/>
              <a:gd name="T42" fmla="*/ 52 w 121"/>
              <a:gd name="T43" fmla="*/ 44 h 121"/>
              <a:gd name="T44" fmla="*/ 52 w 121"/>
              <a:gd name="T45" fmla="*/ 72 h 121"/>
              <a:gd name="T46" fmla="*/ 52 w 121"/>
              <a:gd name="T47" fmla="*/ 113 h 121"/>
              <a:gd name="T48" fmla="*/ 7 w 121"/>
              <a:gd name="T49" fmla="*/ 60 h 121"/>
              <a:gd name="T50" fmla="*/ 60 w 121"/>
              <a:gd name="T51" fmla="*/ 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1">
                <a:moveTo>
                  <a:pt x="60" y="0"/>
                </a:moveTo>
                <a:cubicBezTo>
                  <a:pt x="27" y="0"/>
                  <a:pt x="0" y="27"/>
                  <a:pt x="0" y="60"/>
                </a:cubicBezTo>
                <a:cubicBezTo>
                  <a:pt x="0" y="94"/>
                  <a:pt x="27" y="121"/>
                  <a:pt x="60" y="121"/>
                </a:cubicBezTo>
                <a:cubicBezTo>
                  <a:pt x="94" y="121"/>
                  <a:pt x="121" y="94"/>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79" y="55"/>
                  <a:pt x="82" y="56"/>
                  <a:pt x="84" y="56"/>
                </a:cubicBezTo>
                <a:cubicBezTo>
                  <a:pt x="86" y="56"/>
                  <a:pt x="88" y="56"/>
                  <a:pt x="89" y="54"/>
                </a:cubicBezTo>
                <a:cubicBezTo>
                  <a:pt x="92" y="51"/>
                  <a:pt x="92" y="46"/>
                  <a:pt x="89" y="43"/>
                </a:cubicBezTo>
                <a:cubicBezTo>
                  <a:pt x="79" y="32"/>
                  <a:pt x="79" y="32"/>
                  <a:pt x="79" y="32"/>
                </a:cubicBezTo>
                <a:cubicBezTo>
                  <a:pt x="60" y="12"/>
                  <a:pt x="60" y="12"/>
                  <a:pt x="60" y="12"/>
                </a:cubicBezTo>
                <a:cubicBezTo>
                  <a:pt x="31" y="43"/>
                  <a:pt x="31" y="43"/>
                  <a:pt x="31" y="43"/>
                </a:cubicBezTo>
                <a:cubicBezTo>
                  <a:pt x="28" y="46"/>
                  <a:pt x="28" y="51"/>
                  <a:pt x="31" y="54"/>
                </a:cubicBezTo>
                <a:cubicBezTo>
                  <a:pt x="34" y="57"/>
                  <a:pt x="39" y="57"/>
                  <a:pt x="42" y="54"/>
                </a:cubicBezTo>
                <a:cubicBezTo>
                  <a:pt x="52" y="44"/>
                  <a:pt x="52" y="44"/>
                  <a:pt x="52" y="44"/>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9" name="Freeform 1406">
            <a:extLst>
              <a:ext uri="{FF2B5EF4-FFF2-40B4-BE49-F238E27FC236}">
                <a16:creationId xmlns:a16="http://schemas.microsoft.com/office/drawing/2014/main" id="{A5E95F19-7AAD-4CC5-A120-4C0C6B6950D9}"/>
              </a:ext>
            </a:extLst>
          </p:cNvPr>
          <p:cNvSpPr>
            <a:spLocks noEditPoints="1"/>
          </p:cNvSpPr>
          <p:nvPr/>
        </p:nvSpPr>
        <p:spPr bwMode="auto">
          <a:xfrm rot="7915163">
            <a:off x="1842343" y="2892199"/>
            <a:ext cx="257340" cy="253498"/>
          </a:xfrm>
          <a:custGeom>
            <a:avLst/>
            <a:gdLst>
              <a:gd name="T0" fmla="*/ 0 w 89"/>
              <a:gd name="T1" fmla="*/ 45 h 89"/>
              <a:gd name="T2" fmla="*/ 45 w 89"/>
              <a:gd name="T3" fmla="*/ 89 h 89"/>
              <a:gd name="T4" fmla="*/ 89 w 89"/>
              <a:gd name="T5" fmla="*/ 45 h 89"/>
              <a:gd name="T6" fmla="*/ 45 w 89"/>
              <a:gd name="T7" fmla="*/ 0 h 89"/>
              <a:gd name="T8" fmla="*/ 0 w 89"/>
              <a:gd name="T9" fmla="*/ 45 h 89"/>
              <a:gd name="T10" fmla="*/ 84 w 89"/>
              <a:gd name="T11" fmla="*/ 45 h 89"/>
              <a:gd name="T12" fmla="*/ 51 w 89"/>
              <a:gd name="T13" fmla="*/ 84 h 89"/>
              <a:gd name="T14" fmla="*/ 51 w 89"/>
              <a:gd name="T15" fmla="*/ 53 h 89"/>
              <a:gd name="T16" fmla="*/ 51 w 89"/>
              <a:gd name="T17" fmla="*/ 32 h 89"/>
              <a:gd name="T18" fmla="*/ 58 w 89"/>
              <a:gd name="T19" fmla="*/ 40 h 89"/>
              <a:gd name="T20" fmla="*/ 67 w 89"/>
              <a:gd name="T21" fmla="*/ 40 h 89"/>
              <a:gd name="T22" fmla="*/ 67 w 89"/>
              <a:gd name="T23" fmla="*/ 32 h 89"/>
              <a:gd name="T24" fmla="*/ 45 w 89"/>
              <a:gd name="T25" fmla="*/ 9 h 89"/>
              <a:gd name="T26" fmla="*/ 31 w 89"/>
              <a:gd name="T27" fmla="*/ 24 h 89"/>
              <a:gd name="T28" fmla="*/ 23 w 89"/>
              <a:gd name="T29" fmla="*/ 32 h 89"/>
              <a:gd name="T30" fmla="*/ 24 w 89"/>
              <a:gd name="T31" fmla="*/ 40 h 89"/>
              <a:gd name="T32" fmla="*/ 28 w 89"/>
              <a:gd name="T33" fmla="*/ 42 h 89"/>
              <a:gd name="T34" fmla="*/ 32 w 89"/>
              <a:gd name="T35" fmla="*/ 40 h 89"/>
              <a:gd name="T36" fmla="*/ 34 w 89"/>
              <a:gd name="T37" fmla="*/ 38 h 89"/>
              <a:gd name="T38" fmla="*/ 39 w 89"/>
              <a:gd name="T39" fmla="*/ 32 h 89"/>
              <a:gd name="T40" fmla="*/ 39 w 89"/>
              <a:gd name="T41" fmla="*/ 46 h 89"/>
              <a:gd name="T42" fmla="*/ 39 w 89"/>
              <a:gd name="T43" fmla="*/ 84 h 89"/>
              <a:gd name="T44" fmla="*/ 5 w 89"/>
              <a:gd name="T45" fmla="*/ 45 h 89"/>
              <a:gd name="T46" fmla="*/ 45 w 89"/>
              <a:gd name="T47" fmla="*/ 5 h 89"/>
              <a:gd name="T48" fmla="*/ 84 w 89"/>
              <a:gd name="T4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89">
                <a:moveTo>
                  <a:pt x="0" y="45"/>
                </a:moveTo>
                <a:cubicBezTo>
                  <a:pt x="0" y="69"/>
                  <a:pt x="20" y="89"/>
                  <a:pt x="45" y="89"/>
                </a:cubicBezTo>
                <a:cubicBezTo>
                  <a:pt x="69" y="89"/>
                  <a:pt x="89" y="69"/>
                  <a:pt x="89" y="45"/>
                </a:cubicBezTo>
                <a:cubicBezTo>
                  <a:pt x="89" y="20"/>
                  <a:pt x="69" y="0"/>
                  <a:pt x="45" y="0"/>
                </a:cubicBezTo>
                <a:cubicBezTo>
                  <a:pt x="20" y="0"/>
                  <a:pt x="0" y="20"/>
                  <a:pt x="0" y="45"/>
                </a:cubicBezTo>
                <a:close/>
                <a:moveTo>
                  <a:pt x="84" y="45"/>
                </a:moveTo>
                <a:cubicBezTo>
                  <a:pt x="84" y="64"/>
                  <a:pt x="70" y="81"/>
                  <a:pt x="51" y="84"/>
                </a:cubicBezTo>
                <a:cubicBezTo>
                  <a:pt x="51" y="53"/>
                  <a:pt x="51" y="53"/>
                  <a:pt x="51" y="53"/>
                </a:cubicBezTo>
                <a:cubicBezTo>
                  <a:pt x="51" y="32"/>
                  <a:pt x="51" y="32"/>
                  <a:pt x="51" y="32"/>
                </a:cubicBezTo>
                <a:cubicBezTo>
                  <a:pt x="58" y="40"/>
                  <a:pt x="58" y="40"/>
                  <a:pt x="58" y="40"/>
                </a:cubicBezTo>
                <a:cubicBezTo>
                  <a:pt x="61" y="42"/>
                  <a:pt x="64" y="42"/>
                  <a:pt x="67" y="40"/>
                </a:cubicBezTo>
                <a:cubicBezTo>
                  <a:pt x="69" y="38"/>
                  <a:pt x="69" y="34"/>
                  <a:pt x="67" y="32"/>
                </a:cubicBezTo>
                <a:cubicBezTo>
                  <a:pt x="45" y="9"/>
                  <a:pt x="45" y="9"/>
                  <a:pt x="45" y="9"/>
                </a:cubicBezTo>
                <a:cubicBezTo>
                  <a:pt x="31" y="24"/>
                  <a:pt x="31" y="24"/>
                  <a:pt x="31" y="24"/>
                </a:cubicBezTo>
                <a:cubicBezTo>
                  <a:pt x="23" y="32"/>
                  <a:pt x="23" y="32"/>
                  <a:pt x="23" y="32"/>
                </a:cubicBezTo>
                <a:cubicBezTo>
                  <a:pt x="21" y="34"/>
                  <a:pt x="21" y="38"/>
                  <a:pt x="24" y="40"/>
                </a:cubicBezTo>
                <a:cubicBezTo>
                  <a:pt x="25" y="41"/>
                  <a:pt x="26" y="42"/>
                  <a:pt x="28" y="42"/>
                </a:cubicBezTo>
                <a:cubicBezTo>
                  <a:pt x="29" y="42"/>
                  <a:pt x="31" y="41"/>
                  <a:pt x="32" y="40"/>
                </a:cubicBezTo>
                <a:cubicBezTo>
                  <a:pt x="34" y="38"/>
                  <a:pt x="34" y="38"/>
                  <a:pt x="34" y="38"/>
                </a:cubicBezTo>
                <a:cubicBezTo>
                  <a:pt x="39" y="32"/>
                  <a:pt x="39" y="32"/>
                  <a:pt x="39" y="32"/>
                </a:cubicBezTo>
                <a:cubicBezTo>
                  <a:pt x="39" y="46"/>
                  <a:pt x="39" y="46"/>
                  <a:pt x="39" y="46"/>
                </a:cubicBezTo>
                <a:cubicBezTo>
                  <a:pt x="39" y="84"/>
                  <a:pt x="39" y="84"/>
                  <a:pt x="39" y="84"/>
                </a:cubicBezTo>
                <a:cubicBezTo>
                  <a:pt x="20" y="81"/>
                  <a:pt x="5" y="65"/>
                  <a:pt x="5" y="45"/>
                </a:cubicBezTo>
                <a:cubicBezTo>
                  <a:pt x="5" y="23"/>
                  <a:pt x="23" y="5"/>
                  <a:pt x="45" y="5"/>
                </a:cubicBezTo>
                <a:cubicBezTo>
                  <a:pt x="67" y="5"/>
                  <a:pt x="84" y="23"/>
                  <a:pt x="84" y="4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0" name="Freeform 1407">
            <a:extLst>
              <a:ext uri="{FF2B5EF4-FFF2-40B4-BE49-F238E27FC236}">
                <a16:creationId xmlns:a16="http://schemas.microsoft.com/office/drawing/2014/main" id="{24F2666A-1B1D-4D9E-A4DA-389DADFB2CAE}"/>
              </a:ext>
            </a:extLst>
          </p:cNvPr>
          <p:cNvSpPr>
            <a:spLocks noEditPoints="1"/>
          </p:cNvSpPr>
          <p:nvPr/>
        </p:nvSpPr>
        <p:spPr bwMode="auto">
          <a:xfrm rot="7915163">
            <a:off x="2187086" y="2817799"/>
            <a:ext cx="207407" cy="207407"/>
          </a:xfrm>
          <a:custGeom>
            <a:avLst/>
            <a:gdLst>
              <a:gd name="T0" fmla="*/ 0 w 72"/>
              <a:gd name="T1" fmla="*/ 36 h 72"/>
              <a:gd name="T2" fmla="*/ 36 w 72"/>
              <a:gd name="T3" fmla="*/ 72 h 72"/>
              <a:gd name="T4" fmla="*/ 72 w 72"/>
              <a:gd name="T5" fmla="*/ 36 h 72"/>
              <a:gd name="T6" fmla="*/ 36 w 72"/>
              <a:gd name="T7" fmla="*/ 0 h 72"/>
              <a:gd name="T8" fmla="*/ 0 w 72"/>
              <a:gd name="T9" fmla="*/ 36 h 72"/>
              <a:gd name="T10" fmla="*/ 68 w 72"/>
              <a:gd name="T11" fmla="*/ 36 h 72"/>
              <a:gd name="T12" fmla="*/ 41 w 72"/>
              <a:gd name="T13" fmla="*/ 68 h 72"/>
              <a:gd name="T14" fmla="*/ 41 w 72"/>
              <a:gd name="T15" fmla="*/ 43 h 72"/>
              <a:gd name="T16" fmla="*/ 41 w 72"/>
              <a:gd name="T17" fmla="*/ 26 h 72"/>
              <a:gd name="T18" fmla="*/ 47 w 72"/>
              <a:gd name="T19" fmla="*/ 32 h 72"/>
              <a:gd name="T20" fmla="*/ 53 w 72"/>
              <a:gd name="T21" fmla="*/ 33 h 72"/>
              <a:gd name="T22" fmla="*/ 54 w 72"/>
              <a:gd name="T23" fmla="*/ 26 h 72"/>
              <a:gd name="T24" fmla="*/ 36 w 72"/>
              <a:gd name="T25" fmla="*/ 8 h 72"/>
              <a:gd name="T26" fmla="*/ 24 w 72"/>
              <a:gd name="T27" fmla="*/ 20 h 72"/>
              <a:gd name="T28" fmla="*/ 18 w 72"/>
              <a:gd name="T29" fmla="*/ 26 h 72"/>
              <a:gd name="T30" fmla="*/ 19 w 72"/>
              <a:gd name="T31" fmla="*/ 33 h 72"/>
              <a:gd name="T32" fmla="*/ 22 w 72"/>
              <a:gd name="T33" fmla="*/ 34 h 72"/>
              <a:gd name="T34" fmla="*/ 25 w 72"/>
              <a:gd name="T35" fmla="*/ 32 h 72"/>
              <a:gd name="T36" fmla="*/ 27 w 72"/>
              <a:gd name="T37" fmla="*/ 31 h 72"/>
              <a:gd name="T38" fmla="*/ 31 w 72"/>
              <a:gd name="T39" fmla="*/ 26 h 72"/>
              <a:gd name="T40" fmla="*/ 31 w 72"/>
              <a:gd name="T41" fmla="*/ 38 h 72"/>
              <a:gd name="T42" fmla="*/ 31 w 72"/>
              <a:gd name="T43" fmla="*/ 68 h 72"/>
              <a:gd name="T44" fmla="*/ 4 w 72"/>
              <a:gd name="T45" fmla="*/ 36 h 72"/>
              <a:gd name="T46" fmla="*/ 36 w 72"/>
              <a:gd name="T47" fmla="*/ 4 h 72"/>
              <a:gd name="T48" fmla="*/ 68 w 72"/>
              <a:gd name="T49"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72">
                <a:moveTo>
                  <a:pt x="0" y="36"/>
                </a:moveTo>
                <a:cubicBezTo>
                  <a:pt x="0" y="56"/>
                  <a:pt x="16" y="72"/>
                  <a:pt x="36" y="72"/>
                </a:cubicBezTo>
                <a:cubicBezTo>
                  <a:pt x="56" y="72"/>
                  <a:pt x="72" y="56"/>
                  <a:pt x="72" y="36"/>
                </a:cubicBezTo>
                <a:cubicBezTo>
                  <a:pt x="72" y="17"/>
                  <a:pt x="56" y="0"/>
                  <a:pt x="36" y="0"/>
                </a:cubicBezTo>
                <a:cubicBezTo>
                  <a:pt x="16" y="0"/>
                  <a:pt x="0" y="17"/>
                  <a:pt x="0" y="36"/>
                </a:cubicBezTo>
                <a:close/>
                <a:moveTo>
                  <a:pt x="68" y="36"/>
                </a:moveTo>
                <a:cubicBezTo>
                  <a:pt x="68" y="52"/>
                  <a:pt x="56" y="65"/>
                  <a:pt x="41" y="68"/>
                </a:cubicBezTo>
                <a:cubicBezTo>
                  <a:pt x="41" y="43"/>
                  <a:pt x="41" y="43"/>
                  <a:pt x="41" y="43"/>
                </a:cubicBezTo>
                <a:cubicBezTo>
                  <a:pt x="41" y="26"/>
                  <a:pt x="41" y="26"/>
                  <a:pt x="41" y="26"/>
                </a:cubicBezTo>
                <a:cubicBezTo>
                  <a:pt x="47" y="32"/>
                  <a:pt x="47" y="32"/>
                  <a:pt x="47" y="32"/>
                </a:cubicBezTo>
                <a:cubicBezTo>
                  <a:pt x="48" y="34"/>
                  <a:pt x="51" y="34"/>
                  <a:pt x="53" y="33"/>
                </a:cubicBezTo>
                <a:cubicBezTo>
                  <a:pt x="55" y="31"/>
                  <a:pt x="55" y="28"/>
                  <a:pt x="54" y="26"/>
                </a:cubicBezTo>
                <a:cubicBezTo>
                  <a:pt x="36" y="8"/>
                  <a:pt x="36" y="8"/>
                  <a:pt x="36" y="8"/>
                </a:cubicBezTo>
                <a:cubicBezTo>
                  <a:pt x="24" y="20"/>
                  <a:pt x="24" y="20"/>
                  <a:pt x="24" y="20"/>
                </a:cubicBezTo>
                <a:cubicBezTo>
                  <a:pt x="18" y="26"/>
                  <a:pt x="18" y="26"/>
                  <a:pt x="18" y="26"/>
                </a:cubicBezTo>
                <a:cubicBezTo>
                  <a:pt x="17" y="28"/>
                  <a:pt x="17" y="31"/>
                  <a:pt x="19" y="33"/>
                </a:cubicBezTo>
                <a:cubicBezTo>
                  <a:pt x="20" y="33"/>
                  <a:pt x="21" y="34"/>
                  <a:pt x="22" y="34"/>
                </a:cubicBezTo>
                <a:cubicBezTo>
                  <a:pt x="23" y="34"/>
                  <a:pt x="24" y="33"/>
                  <a:pt x="25" y="32"/>
                </a:cubicBezTo>
                <a:cubicBezTo>
                  <a:pt x="27" y="31"/>
                  <a:pt x="27" y="31"/>
                  <a:pt x="27" y="31"/>
                </a:cubicBezTo>
                <a:cubicBezTo>
                  <a:pt x="31" y="26"/>
                  <a:pt x="31" y="26"/>
                  <a:pt x="31" y="26"/>
                </a:cubicBezTo>
                <a:cubicBezTo>
                  <a:pt x="31" y="38"/>
                  <a:pt x="31" y="38"/>
                  <a:pt x="31" y="38"/>
                </a:cubicBezTo>
                <a:cubicBezTo>
                  <a:pt x="31" y="68"/>
                  <a:pt x="31" y="68"/>
                  <a:pt x="31" y="68"/>
                </a:cubicBezTo>
                <a:cubicBezTo>
                  <a:pt x="16" y="66"/>
                  <a:pt x="4" y="52"/>
                  <a:pt x="4" y="36"/>
                </a:cubicBezTo>
                <a:cubicBezTo>
                  <a:pt x="4" y="19"/>
                  <a:pt x="18" y="4"/>
                  <a:pt x="36" y="4"/>
                </a:cubicBezTo>
                <a:cubicBezTo>
                  <a:pt x="53" y="4"/>
                  <a:pt x="68" y="19"/>
                  <a:pt x="68"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2" name="Freeform 1409">
            <a:extLst>
              <a:ext uri="{FF2B5EF4-FFF2-40B4-BE49-F238E27FC236}">
                <a16:creationId xmlns:a16="http://schemas.microsoft.com/office/drawing/2014/main" id="{AE0D8EB0-8480-4F4E-8283-00391A0F99EE}"/>
              </a:ext>
            </a:extLst>
          </p:cNvPr>
          <p:cNvSpPr>
            <a:spLocks noEditPoints="1"/>
          </p:cNvSpPr>
          <p:nvPr/>
        </p:nvSpPr>
        <p:spPr bwMode="auto">
          <a:xfrm rot="7915163">
            <a:off x="1596383" y="2942566"/>
            <a:ext cx="165159" cy="165159"/>
          </a:xfrm>
          <a:custGeom>
            <a:avLst/>
            <a:gdLst>
              <a:gd name="T0" fmla="*/ 0 w 58"/>
              <a:gd name="T1" fmla="*/ 29 h 58"/>
              <a:gd name="T2" fmla="*/ 29 w 58"/>
              <a:gd name="T3" fmla="*/ 58 h 58"/>
              <a:gd name="T4" fmla="*/ 58 w 58"/>
              <a:gd name="T5" fmla="*/ 29 h 58"/>
              <a:gd name="T6" fmla="*/ 29 w 58"/>
              <a:gd name="T7" fmla="*/ 0 h 58"/>
              <a:gd name="T8" fmla="*/ 0 w 58"/>
              <a:gd name="T9" fmla="*/ 29 h 58"/>
              <a:gd name="T10" fmla="*/ 55 w 58"/>
              <a:gd name="T11" fmla="*/ 29 h 58"/>
              <a:gd name="T12" fmla="*/ 33 w 58"/>
              <a:gd name="T13" fmla="*/ 55 h 58"/>
              <a:gd name="T14" fmla="*/ 33 w 58"/>
              <a:gd name="T15" fmla="*/ 35 h 58"/>
              <a:gd name="T16" fmla="*/ 33 w 58"/>
              <a:gd name="T17" fmla="*/ 21 h 58"/>
              <a:gd name="T18" fmla="*/ 38 w 58"/>
              <a:gd name="T19" fmla="*/ 26 h 58"/>
              <a:gd name="T20" fmla="*/ 44 w 58"/>
              <a:gd name="T21" fmla="*/ 26 h 58"/>
              <a:gd name="T22" fmla="*/ 44 w 58"/>
              <a:gd name="T23" fmla="*/ 21 h 58"/>
              <a:gd name="T24" fmla="*/ 30 w 58"/>
              <a:gd name="T25" fmla="*/ 6 h 58"/>
              <a:gd name="T26" fmla="*/ 20 w 58"/>
              <a:gd name="T27" fmla="*/ 16 h 58"/>
              <a:gd name="T28" fmla="*/ 15 w 58"/>
              <a:gd name="T29" fmla="*/ 21 h 58"/>
              <a:gd name="T30" fmla="*/ 16 w 58"/>
              <a:gd name="T31" fmla="*/ 26 h 58"/>
              <a:gd name="T32" fmla="*/ 18 w 58"/>
              <a:gd name="T33" fmla="*/ 27 h 58"/>
              <a:gd name="T34" fmla="*/ 21 w 58"/>
              <a:gd name="T35" fmla="*/ 26 h 58"/>
              <a:gd name="T36" fmla="*/ 22 w 58"/>
              <a:gd name="T37" fmla="*/ 25 h 58"/>
              <a:gd name="T38" fmla="*/ 26 w 58"/>
              <a:gd name="T39" fmla="*/ 21 h 58"/>
              <a:gd name="T40" fmla="*/ 26 w 58"/>
              <a:gd name="T41" fmla="*/ 30 h 58"/>
              <a:gd name="T42" fmla="*/ 26 w 58"/>
              <a:gd name="T43" fmla="*/ 55 h 58"/>
              <a:gd name="T44" fmla="*/ 4 w 58"/>
              <a:gd name="T45" fmla="*/ 29 h 58"/>
              <a:gd name="T46" fmla="*/ 29 w 58"/>
              <a:gd name="T47" fmla="*/ 4 h 58"/>
              <a:gd name="T48" fmla="*/ 55 w 58"/>
              <a:gd name="T4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58">
                <a:moveTo>
                  <a:pt x="0" y="29"/>
                </a:moveTo>
                <a:cubicBezTo>
                  <a:pt x="0" y="45"/>
                  <a:pt x="13" y="58"/>
                  <a:pt x="29" y="58"/>
                </a:cubicBezTo>
                <a:cubicBezTo>
                  <a:pt x="45" y="58"/>
                  <a:pt x="58" y="45"/>
                  <a:pt x="58" y="29"/>
                </a:cubicBezTo>
                <a:cubicBezTo>
                  <a:pt x="58" y="13"/>
                  <a:pt x="45" y="0"/>
                  <a:pt x="29" y="0"/>
                </a:cubicBezTo>
                <a:cubicBezTo>
                  <a:pt x="13" y="0"/>
                  <a:pt x="0" y="13"/>
                  <a:pt x="0" y="29"/>
                </a:cubicBezTo>
                <a:close/>
                <a:moveTo>
                  <a:pt x="55" y="29"/>
                </a:moveTo>
                <a:cubicBezTo>
                  <a:pt x="55" y="42"/>
                  <a:pt x="46" y="53"/>
                  <a:pt x="33" y="55"/>
                </a:cubicBezTo>
                <a:cubicBezTo>
                  <a:pt x="33" y="35"/>
                  <a:pt x="33" y="35"/>
                  <a:pt x="33" y="35"/>
                </a:cubicBezTo>
                <a:cubicBezTo>
                  <a:pt x="33" y="21"/>
                  <a:pt x="33" y="21"/>
                  <a:pt x="33" y="21"/>
                </a:cubicBezTo>
                <a:cubicBezTo>
                  <a:pt x="38" y="26"/>
                  <a:pt x="38" y="26"/>
                  <a:pt x="38" y="26"/>
                </a:cubicBezTo>
                <a:cubicBezTo>
                  <a:pt x="40" y="28"/>
                  <a:pt x="42" y="28"/>
                  <a:pt x="44" y="26"/>
                </a:cubicBezTo>
                <a:cubicBezTo>
                  <a:pt x="45" y="25"/>
                  <a:pt x="45" y="22"/>
                  <a:pt x="44" y="21"/>
                </a:cubicBezTo>
                <a:cubicBezTo>
                  <a:pt x="30" y="6"/>
                  <a:pt x="30" y="6"/>
                  <a:pt x="30" y="6"/>
                </a:cubicBezTo>
                <a:cubicBezTo>
                  <a:pt x="20" y="16"/>
                  <a:pt x="20" y="16"/>
                  <a:pt x="20" y="16"/>
                </a:cubicBezTo>
                <a:cubicBezTo>
                  <a:pt x="15" y="21"/>
                  <a:pt x="15" y="21"/>
                  <a:pt x="15" y="21"/>
                </a:cubicBezTo>
                <a:cubicBezTo>
                  <a:pt x="14" y="22"/>
                  <a:pt x="14" y="25"/>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5"/>
                  <a:pt x="26" y="55"/>
                  <a:pt x="26" y="55"/>
                </a:cubicBezTo>
                <a:cubicBezTo>
                  <a:pt x="13" y="53"/>
                  <a:pt x="4" y="42"/>
                  <a:pt x="4" y="29"/>
                </a:cubicBezTo>
                <a:cubicBezTo>
                  <a:pt x="4" y="15"/>
                  <a:pt x="15" y="4"/>
                  <a:pt x="29" y="4"/>
                </a:cubicBezTo>
                <a:cubicBezTo>
                  <a:pt x="44" y="4"/>
                  <a:pt x="55" y="15"/>
                  <a:pt x="55" y="2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4" name="Freeform 1411">
            <a:extLst>
              <a:ext uri="{FF2B5EF4-FFF2-40B4-BE49-F238E27FC236}">
                <a16:creationId xmlns:a16="http://schemas.microsoft.com/office/drawing/2014/main" id="{871DEE5B-9E22-442D-A05A-BF08ADD911E1}"/>
              </a:ext>
            </a:extLst>
          </p:cNvPr>
          <p:cNvSpPr>
            <a:spLocks noEditPoints="1"/>
          </p:cNvSpPr>
          <p:nvPr/>
        </p:nvSpPr>
        <p:spPr bwMode="auto">
          <a:xfrm rot="7915163">
            <a:off x="39422" y="1706366"/>
            <a:ext cx="472429" cy="468587"/>
          </a:xfrm>
          <a:custGeom>
            <a:avLst/>
            <a:gdLst>
              <a:gd name="T0" fmla="*/ 65 w 164"/>
              <a:gd name="T1" fmla="*/ 154 h 164"/>
              <a:gd name="T2" fmla="*/ 47 w 164"/>
              <a:gd name="T3" fmla="*/ 148 h 164"/>
              <a:gd name="T4" fmla="*/ 26 w 164"/>
              <a:gd name="T5" fmla="*/ 142 h 164"/>
              <a:gd name="T6" fmla="*/ 19 w 164"/>
              <a:gd name="T7" fmla="*/ 120 h 164"/>
              <a:gd name="T8" fmla="*/ 11 w 164"/>
              <a:gd name="T9" fmla="*/ 104 h 164"/>
              <a:gd name="T10" fmla="*/ 0 w 164"/>
              <a:gd name="T11" fmla="*/ 83 h 164"/>
              <a:gd name="T12" fmla="*/ 6 w 164"/>
              <a:gd name="T13" fmla="*/ 52 h 164"/>
              <a:gd name="T14" fmla="*/ 23 w 164"/>
              <a:gd name="T15" fmla="*/ 47 h 164"/>
              <a:gd name="T16" fmla="*/ 24 w 164"/>
              <a:gd name="T17" fmla="*/ 25 h 164"/>
              <a:gd name="T18" fmla="*/ 44 w 164"/>
              <a:gd name="T19" fmla="*/ 19 h 164"/>
              <a:gd name="T20" fmla="*/ 60 w 164"/>
              <a:gd name="T21" fmla="*/ 12 h 164"/>
              <a:gd name="T22" fmla="*/ 80 w 164"/>
              <a:gd name="T23" fmla="*/ 0 h 164"/>
              <a:gd name="T24" fmla="*/ 101 w 164"/>
              <a:gd name="T25" fmla="*/ 11 h 164"/>
              <a:gd name="T26" fmla="*/ 117 w 164"/>
              <a:gd name="T27" fmla="*/ 18 h 164"/>
              <a:gd name="T28" fmla="*/ 139 w 164"/>
              <a:gd name="T29" fmla="*/ 23 h 164"/>
              <a:gd name="T30" fmla="*/ 140 w 164"/>
              <a:gd name="T31" fmla="*/ 46 h 164"/>
              <a:gd name="T32" fmla="*/ 158 w 164"/>
              <a:gd name="T33" fmla="*/ 51 h 164"/>
              <a:gd name="T34" fmla="*/ 164 w 164"/>
              <a:gd name="T35" fmla="*/ 82 h 164"/>
              <a:gd name="T36" fmla="*/ 146 w 164"/>
              <a:gd name="T37" fmla="*/ 94 h 164"/>
              <a:gd name="T38" fmla="*/ 151 w 164"/>
              <a:gd name="T39" fmla="*/ 119 h 164"/>
              <a:gd name="T40" fmla="*/ 140 w 164"/>
              <a:gd name="T41" fmla="*/ 128 h 164"/>
              <a:gd name="T42" fmla="*/ 127 w 164"/>
              <a:gd name="T43" fmla="*/ 141 h 164"/>
              <a:gd name="T44" fmla="*/ 116 w 164"/>
              <a:gd name="T45" fmla="*/ 157 h 164"/>
              <a:gd name="T46" fmla="*/ 94 w 164"/>
              <a:gd name="T47" fmla="*/ 155 h 164"/>
              <a:gd name="T48" fmla="*/ 71 w 164"/>
              <a:gd name="T49" fmla="*/ 141 h 164"/>
              <a:gd name="T50" fmla="*/ 84 w 164"/>
              <a:gd name="T51" fmla="*/ 159 h 164"/>
              <a:gd name="T52" fmla="*/ 96 w 164"/>
              <a:gd name="T53" fmla="*/ 140 h 164"/>
              <a:gd name="T54" fmla="*/ 115 w 164"/>
              <a:gd name="T55" fmla="*/ 152 h 164"/>
              <a:gd name="T56" fmla="*/ 130 w 164"/>
              <a:gd name="T57" fmla="*/ 137 h 164"/>
              <a:gd name="T58" fmla="*/ 136 w 164"/>
              <a:gd name="T59" fmla="*/ 131 h 164"/>
              <a:gd name="T60" fmla="*/ 148 w 164"/>
              <a:gd name="T61" fmla="*/ 114 h 164"/>
              <a:gd name="T62" fmla="*/ 151 w 164"/>
              <a:gd name="T63" fmla="*/ 106 h 164"/>
              <a:gd name="T64" fmla="*/ 159 w 164"/>
              <a:gd name="T65" fmla="*/ 82 h 164"/>
              <a:gd name="T66" fmla="*/ 140 w 164"/>
              <a:gd name="T67" fmla="*/ 70 h 164"/>
              <a:gd name="T68" fmla="*/ 153 w 164"/>
              <a:gd name="T69" fmla="*/ 52 h 164"/>
              <a:gd name="T70" fmla="*/ 131 w 164"/>
              <a:gd name="T71" fmla="*/ 49 h 164"/>
              <a:gd name="T72" fmla="*/ 135 w 164"/>
              <a:gd name="T73" fmla="*/ 27 h 164"/>
              <a:gd name="T74" fmla="*/ 113 w 164"/>
              <a:gd name="T75" fmla="*/ 31 h 164"/>
              <a:gd name="T76" fmla="*/ 108 w 164"/>
              <a:gd name="T77" fmla="*/ 10 h 164"/>
              <a:gd name="T78" fmla="*/ 84 w 164"/>
              <a:gd name="T79" fmla="*/ 10 h 164"/>
              <a:gd name="T80" fmla="*/ 76 w 164"/>
              <a:gd name="T81" fmla="*/ 10 h 164"/>
              <a:gd name="T82" fmla="*/ 53 w 164"/>
              <a:gd name="T83" fmla="*/ 11 h 164"/>
              <a:gd name="T84" fmla="*/ 49 w 164"/>
              <a:gd name="T85" fmla="*/ 32 h 164"/>
              <a:gd name="T86" fmla="*/ 28 w 164"/>
              <a:gd name="T87" fmla="*/ 28 h 164"/>
              <a:gd name="T88" fmla="*/ 33 w 164"/>
              <a:gd name="T89" fmla="*/ 50 h 164"/>
              <a:gd name="T90" fmla="*/ 11 w 164"/>
              <a:gd name="T91" fmla="*/ 53 h 164"/>
              <a:gd name="T92" fmla="*/ 24 w 164"/>
              <a:gd name="T93" fmla="*/ 71 h 164"/>
              <a:gd name="T94" fmla="*/ 10 w 164"/>
              <a:gd name="T95" fmla="*/ 88 h 164"/>
              <a:gd name="T96" fmla="*/ 11 w 164"/>
              <a:gd name="T97" fmla="*/ 113 h 164"/>
              <a:gd name="T98" fmla="*/ 26 w 164"/>
              <a:gd name="T99" fmla="*/ 114 h 164"/>
              <a:gd name="T100" fmla="*/ 29 w 164"/>
              <a:gd name="T101" fmla="*/ 138 h 164"/>
              <a:gd name="T102" fmla="*/ 48 w 164"/>
              <a:gd name="T103" fmla="*/ 132 h 164"/>
              <a:gd name="T104" fmla="*/ 55 w 164"/>
              <a:gd name="T105" fmla="*/ 154 h 164"/>
              <a:gd name="T106" fmla="*/ 71 w 164"/>
              <a:gd name="T107" fmla="*/ 141 h 164"/>
              <a:gd name="T108" fmla="*/ 45 w 164"/>
              <a:gd name="T109" fmla="*/ 46 h 164"/>
              <a:gd name="T110" fmla="*/ 119 w 164"/>
              <a:gd name="T111" fmla="*/ 119 h 164"/>
              <a:gd name="T112" fmla="*/ 35 w 164"/>
              <a:gd name="T113" fmla="*/ 83 h 164"/>
              <a:gd name="T114" fmla="*/ 129 w 164"/>
              <a:gd name="T115"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2"/>
                  <a:pt x="76" y="156"/>
                </a:cubicBezTo>
                <a:cubicBezTo>
                  <a:pt x="75" y="151"/>
                  <a:pt x="72" y="148"/>
                  <a:pt x="71" y="146"/>
                </a:cubicBezTo>
                <a:cubicBezTo>
                  <a:pt x="69" y="148"/>
                  <a:pt x="66" y="151"/>
                  <a:pt x="65" y="154"/>
                </a:cubicBezTo>
                <a:cubicBezTo>
                  <a:pt x="62" y="158"/>
                  <a:pt x="60" y="160"/>
                  <a:pt x="57" y="160"/>
                </a:cubicBezTo>
                <a:cubicBezTo>
                  <a:pt x="56" y="160"/>
                  <a:pt x="54" y="160"/>
                  <a:pt x="53" y="159"/>
                </a:cubicBezTo>
                <a:cubicBezTo>
                  <a:pt x="53" y="159"/>
                  <a:pt x="53" y="159"/>
                  <a:pt x="53" y="159"/>
                </a:cubicBezTo>
                <a:cubicBezTo>
                  <a:pt x="50" y="158"/>
                  <a:pt x="46" y="156"/>
                  <a:pt x="47" y="148"/>
                </a:cubicBezTo>
                <a:cubicBezTo>
                  <a:pt x="48" y="143"/>
                  <a:pt x="48" y="139"/>
                  <a:pt x="47" y="137"/>
                </a:cubicBezTo>
                <a:cubicBezTo>
                  <a:pt x="45" y="137"/>
                  <a:pt x="41" y="139"/>
                  <a:pt x="38" y="142"/>
                </a:cubicBezTo>
                <a:cubicBezTo>
                  <a:pt x="36" y="144"/>
                  <a:pt x="34" y="145"/>
                  <a:pt x="31" y="145"/>
                </a:cubicBezTo>
                <a:cubicBezTo>
                  <a:pt x="29" y="145"/>
                  <a:pt x="27" y="143"/>
                  <a:pt x="26" y="142"/>
                </a:cubicBezTo>
                <a:cubicBezTo>
                  <a:pt x="25" y="142"/>
                  <a:pt x="25" y="142"/>
                  <a:pt x="25" y="142"/>
                </a:cubicBezTo>
                <a:cubicBezTo>
                  <a:pt x="22" y="139"/>
                  <a:pt x="20" y="136"/>
                  <a:pt x="25" y="129"/>
                </a:cubicBezTo>
                <a:cubicBezTo>
                  <a:pt x="28" y="125"/>
                  <a:pt x="29" y="121"/>
                  <a:pt x="29" y="119"/>
                </a:cubicBezTo>
                <a:cubicBezTo>
                  <a:pt x="26" y="119"/>
                  <a:pt x="22" y="119"/>
                  <a:pt x="19" y="120"/>
                </a:cubicBezTo>
                <a:cubicBezTo>
                  <a:pt x="17" y="121"/>
                  <a:pt x="16" y="121"/>
                  <a:pt x="14" y="121"/>
                </a:cubicBezTo>
                <a:cubicBezTo>
                  <a:pt x="9" y="121"/>
                  <a:pt x="8" y="117"/>
                  <a:pt x="7" y="116"/>
                </a:cubicBezTo>
                <a:cubicBezTo>
                  <a:pt x="7" y="115"/>
                  <a:pt x="7" y="115"/>
                  <a:pt x="7" y="115"/>
                </a:cubicBezTo>
                <a:cubicBezTo>
                  <a:pt x="6" y="113"/>
                  <a:pt x="4" y="108"/>
                  <a:pt x="11" y="104"/>
                </a:cubicBezTo>
                <a:cubicBezTo>
                  <a:pt x="15" y="101"/>
                  <a:pt x="18" y="98"/>
                  <a:pt x="19" y="96"/>
                </a:cubicBezTo>
                <a:cubicBezTo>
                  <a:pt x="17" y="95"/>
                  <a:pt x="13" y="93"/>
                  <a:pt x="9" y="93"/>
                </a:cubicBezTo>
                <a:cubicBezTo>
                  <a:pt x="0" y="92"/>
                  <a:pt x="0" y="87"/>
                  <a:pt x="0" y="84"/>
                </a:cubicBezTo>
                <a:cubicBezTo>
                  <a:pt x="0" y="83"/>
                  <a:pt x="0" y="83"/>
                  <a:pt x="0" y="83"/>
                </a:cubicBezTo>
                <a:cubicBezTo>
                  <a:pt x="0" y="81"/>
                  <a:pt x="0" y="76"/>
                  <a:pt x="8" y="74"/>
                </a:cubicBezTo>
                <a:cubicBezTo>
                  <a:pt x="13" y="74"/>
                  <a:pt x="17" y="72"/>
                  <a:pt x="19" y="70"/>
                </a:cubicBezTo>
                <a:cubicBezTo>
                  <a:pt x="17" y="68"/>
                  <a:pt x="14" y="65"/>
                  <a:pt x="11" y="63"/>
                </a:cubicBezTo>
                <a:cubicBezTo>
                  <a:pt x="3" y="59"/>
                  <a:pt x="5" y="55"/>
                  <a:pt x="6" y="52"/>
                </a:cubicBezTo>
                <a:cubicBezTo>
                  <a:pt x="6" y="52"/>
                  <a:pt x="6" y="52"/>
                  <a:pt x="6" y="52"/>
                </a:cubicBezTo>
                <a:cubicBezTo>
                  <a:pt x="7" y="50"/>
                  <a:pt x="8" y="46"/>
                  <a:pt x="13" y="46"/>
                </a:cubicBezTo>
                <a:cubicBezTo>
                  <a:pt x="15" y="46"/>
                  <a:pt x="16" y="46"/>
                  <a:pt x="17" y="47"/>
                </a:cubicBezTo>
                <a:cubicBezTo>
                  <a:pt x="19" y="47"/>
                  <a:pt x="21" y="47"/>
                  <a:pt x="23" y="47"/>
                </a:cubicBezTo>
                <a:cubicBezTo>
                  <a:pt x="26" y="47"/>
                  <a:pt x="27" y="47"/>
                  <a:pt x="28" y="47"/>
                </a:cubicBezTo>
                <a:cubicBezTo>
                  <a:pt x="28" y="44"/>
                  <a:pt x="26" y="40"/>
                  <a:pt x="24" y="37"/>
                </a:cubicBezTo>
                <a:cubicBezTo>
                  <a:pt x="18" y="31"/>
                  <a:pt x="22" y="27"/>
                  <a:pt x="23" y="25"/>
                </a:cubicBezTo>
                <a:cubicBezTo>
                  <a:pt x="24" y="25"/>
                  <a:pt x="24" y="25"/>
                  <a:pt x="24" y="25"/>
                </a:cubicBezTo>
                <a:cubicBezTo>
                  <a:pt x="25" y="23"/>
                  <a:pt x="27" y="22"/>
                  <a:pt x="30" y="22"/>
                </a:cubicBezTo>
                <a:cubicBezTo>
                  <a:pt x="32" y="22"/>
                  <a:pt x="34" y="23"/>
                  <a:pt x="36" y="24"/>
                </a:cubicBezTo>
                <a:cubicBezTo>
                  <a:pt x="39" y="26"/>
                  <a:pt x="42" y="28"/>
                  <a:pt x="45" y="28"/>
                </a:cubicBezTo>
                <a:cubicBezTo>
                  <a:pt x="45" y="26"/>
                  <a:pt x="45" y="22"/>
                  <a:pt x="44" y="19"/>
                </a:cubicBezTo>
                <a:cubicBezTo>
                  <a:pt x="41" y="11"/>
                  <a:pt x="46" y="9"/>
                  <a:pt x="48" y="8"/>
                </a:cubicBezTo>
                <a:cubicBezTo>
                  <a:pt x="49" y="7"/>
                  <a:pt x="49" y="7"/>
                  <a:pt x="49" y="7"/>
                </a:cubicBezTo>
                <a:cubicBezTo>
                  <a:pt x="50" y="7"/>
                  <a:pt x="51" y="6"/>
                  <a:pt x="53" y="6"/>
                </a:cubicBezTo>
                <a:cubicBezTo>
                  <a:pt x="56" y="6"/>
                  <a:pt x="58" y="8"/>
                  <a:pt x="60" y="12"/>
                </a:cubicBezTo>
                <a:cubicBezTo>
                  <a:pt x="62" y="15"/>
                  <a:pt x="65" y="18"/>
                  <a:pt x="67" y="19"/>
                </a:cubicBezTo>
                <a:cubicBezTo>
                  <a:pt x="69" y="18"/>
                  <a:pt x="71" y="14"/>
                  <a:pt x="71" y="9"/>
                </a:cubicBezTo>
                <a:cubicBezTo>
                  <a:pt x="72" y="1"/>
                  <a:pt x="76" y="0"/>
                  <a:pt x="79" y="0"/>
                </a:cubicBezTo>
                <a:cubicBezTo>
                  <a:pt x="80" y="0"/>
                  <a:pt x="80" y="0"/>
                  <a:pt x="80" y="0"/>
                </a:cubicBezTo>
                <a:cubicBezTo>
                  <a:pt x="81" y="0"/>
                  <a:pt x="81" y="0"/>
                  <a:pt x="81" y="0"/>
                </a:cubicBezTo>
                <a:cubicBezTo>
                  <a:pt x="86" y="0"/>
                  <a:pt x="89" y="3"/>
                  <a:pt x="89" y="9"/>
                </a:cubicBezTo>
                <a:cubicBezTo>
                  <a:pt x="90" y="13"/>
                  <a:pt x="92" y="17"/>
                  <a:pt x="93" y="19"/>
                </a:cubicBezTo>
                <a:cubicBezTo>
                  <a:pt x="95" y="18"/>
                  <a:pt x="98" y="15"/>
                  <a:pt x="101" y="11"/>
                </a:cubicBezTo>
                <a:cubicBezTo>
                  <a:pt x="103" y="7"/>
                  <a:pt x="105" y="5"/>
                  <a:pt x="108" y="5"/>
                </a:cubicBezTo>
                <a:cubicBezTo>
                  <a:pt x="109" y="5"/>
                  <a:pt x="111" y="6"/>
                  <a:pt x="112" y="6"/>
                </a:cubicBezTo>
                <a:cubicBezTo>
                  <a:pt x="112" y="6"/>
                  <a:pt x="112" y="6"/>
                  <a:pt x="112" y="6"/>
                </a:cubicBezTo>
                <a:cubicBezTo>
                  <a:pt x="115" y="7"/>
                  <a:pt x="120" y="9"/>
                  <a:pt x="117" y="18"/>
                </a:cubicBezTo>
                <a:cubicBezTo>
                  <a:pt x="116" y="22"/>
                  <a:pt x="116" y="26"/>
                  <a:pt x="117" y="28"/>
                </a:cubicBezTo>
                <a:cubicBezTo>
                  <a:pt x="119" y="28"/>
                  <a:pt x="124" y="26"/>
                  <a:pt x="127" y="23"/>
                </a:cubicBezTo>
                <a:cubicBezTo>
                  <a:pt x="129" y="21"/>
                  <a:pt x="131" y="21"/>
                  <a:pt x="133" y="21"/>
                </a:cubicBezTo>
                <a:cubicBezTo>
                  <a:pt x="136" y="21"/>
                  <a:pt x="138" y="22"/>
                  <a:pt x="139" y="23"/>
                </a:cubicBezTo>
                <a:cubicBezTo>
                  <a:pt x="140" y="24"/>
                  <a:pt x="140" y="24"/>
                  <a:pt x="140" y="24"/>
                </a:cubicBezTo>
                <a:cubicBezTo>
                  <a:pt x="141" y="26"/>
                  <a:pt x="145" y="29"/>
                  <a:pt x="140" y="36"/>
                </a:cubicBezTo>
                <a:cubicBezTo>
                  <a:pt x="137" y="39"/>
                  <a:pt x="136" y="43"/>
                  <a:pt x="135" y="45"/>
                </a:cubicBezTo>
                <a:cubicBezTo>
                  <a:pt x="136" y="46"/>
                  <a:pt x="137" y="46"/>
                  <a:pt x="140" y="46"/>
                </a:cubicBezTo>
                <a:cubicBezTo>
                  <a:pt x="142" y="46"/>
                  <a:pt x="144" y="46"/>
                  <a:pt x="146" y="45"/>
                </a:cubicBezTo>
                <a:cubicBezTo>
                  <a:pt x="148" y="45"/>
                  <a:pt x="149" y="45"/>
                  <a:pt x="150" y="45"/>
                </a:cubicBezTo>
                <a:cubicBezTo>
                  <a:pt x="155" y="45"/>
                  <a:pt x="157" y="48"/>
                  <a:pt x="157" y="50"/>
                </a:cubicBezTo>
                <a:cubicBezTo>
                  <a:pt x="158" y="51"/>
                  <a:pt x="158" y="51"/>
                  <a:pt x="158" y="51"/>
                </a:cubicBezTo>
                <a:cubicBezTo>
                  <a:pt x="159" y="53"/>
                  <a:pt x="161" y="58"/>
                  <a:pt x="153" y="62"/>
                </a:cubicBezTo>
                <a:cubicBezTo>
                  <a:pt x="150" y="64"/>
                  <a:pt x="147" y="67"/>
                  <a:pt x="145" y="69"/>
                </a:cubicBezTo>
                <a:cubicBezTo>
                  <a:pt x="147" y="70"/>
                  <a:pt x="151" y="72"/>
                  <a:pt x="156" y="73"/>
                </a:cubicBezTo>
                <a:cubicBezTo>
                  <a:pt x="164" y="74"/>
                  <a:pt x="164" y="79"/>
                  <a:pt x="164" y="82"/>
                </a:cubicBezTo>
                <a:cubicBezTo>
                  <a:pt x="164" y="82"/>
                  <a:pt x="164" y="82"/>
                  <a:pt x="164" y="82"/>
                </a:cubicBezTo>
                <a:cubicBezTo>
                  <a:pt x="164" y="82"/>
                  <a:pt x="164" y="82"/>
                  <a:pt x="164" y="82"/>
                </a:cubicBezTo>
                <a:cubicBezTo>
                  <a:pt x="164" y="85"/>
                  <a:pt x="164" y="90"/>
                  <a:pt x="155" y="91"/>
                </a:cubicBezTo>
                <a:cubicBezTo>
                  <a:pt x="152" y="92"/>
                  <a:pt x="148" y="93"/>
                  <a:pt x="146" y="94"/>
                </a:cubicBezTo>
                <a:cubicBezTo>
                  <a:pt x="147" y="96"/>
                  <a:pt x="150" y="100"/>
                  <a:pt x="154" y="102"/>
                </a:cubicBezTo>
                <a:cubicBezTo>
                  <a:pt x="161" y="107"/>
                  <a:pt x="159" y="111"/>
                  <a:pt x="158" y="113"/>
                </a:cubicBezTo>
                <a:cubicBezTo>
                  <a:pt x="158" y="114"/>
                  <a:pt x="158" y="114"/>
                  <a:pt x="158" y="114"/>
                </a:cubicBezTo>
                <a:cubicBezTo>
                  <a:pt x="157" y="116"/>
                  <a:pt x="156" y="119"/>
                  <a:pt x="151" y="119"/>
                </a:cubicBezTo>
                <a:cubicBezTo>
                  <a:pt x="149" y="119"/>
                  <a:pt x="148" y="119"/>
                  <a:pt x="146" y="119"/>
                </a:cubicBezTo>
                <a:cubicBezTo>
                  <a:pt x="144" y="118"/>
                  <a:pt x="142" y="118"/>
                  <a:pt x="139" y="118"/>
                </a:cubicBezTo>
                <a:cubicBezTo>
                  <a:pt x="138" y="118"/>
                  <a:pt x="137" y="118"/>
                  <a:pt x="136" y="118"/>
                </a:cubicBezTo>
                <a:cubicBezTo>
                  <a:pt x="136" y="120"/>
                  <a:pt x="138" y="124"/>
                  <a:pt x="140" y="128"/>
                </a:cubicBezTo>
                <a:cubicBezTo>
                  <a:pt x="145" y="134"/>
                  <a:pt x="143" y="138"/>
                  <a:pt x="140" y="140"/>
                </a:cubicBezTo>
                <a:cubicBezTo>
                  <a:pt x="140" y="141"/>
                  <a:pt x="140" y="141"/>
                  <a:pt x="140" y="141"/>
                </a:cubicBezTo>
                <a:cubicBezTo>
                  <a:pt x="138" y="142"/>
                  <a:pt x="137" y="144"/>
                  <a:pt x="134" y="144"/>
                </a:cubicBezTo>
                <a:cubicBezTo>
                  <a:pt x="132" y="144"/>
                  <a:pt x="130" y="143"/>
                  <a:pt x="127" y="141"/>
                </a:cubicBezTo>
                <a:cubicBezTo>
                  <a:pt x="125" y="139"/>
                  <a:pt x="122" y="137"/>
                  <a:pt x="120" y="137"/>
                </a:cubicBezTo>
                <a:cubicBezTo>
                  <a:pt x="120" y="139"/>
                  <a:pt x="120" y="142"/>
                  <a:pt x="121" y="145"/>
                </a:cubicBezTo>
                <a:cubicBezTo>
                  <a:pt x="124" y="154"/>
                  <a:pt x="119" y="156"/>
                  <a:pt x="117" y="157"/>
                </a:cubicBezTo>
                <a:cubicBezTo>
                  <a:pt x="116" y="157"/>
                  <a:pt x="116" y="157"/>
                  <a:pt x="116" y="157"/>
                </a:cubicBezTo>
                <a:cubicBezTo>
                  <a:pt x="115" y="158"/>
                  <a:pt x="114" y="158"/>
                  <a:pt x="112" y="158"/>
                </a:cubicBezTo>
                <a:cubicBezTo>
                  <a:pt x="109" y="158"/>
                  <a:pt x="107" y="157"/>
                  <a:pt x="105" y="153"/>
                </a:cubicBezTo>
                <a:cubicBezTo>
                  <a:pt x="102" y="149"/>
                  <a:pt x="98" y="146"/>
                  <a:pt x="97" y="146"/>
                </a:cubicBezTo>
                <a:cubicBezTo>
                  <a:pt x="95" y="147"/>
                  <a:pt x="94" y="151"/>
                  <a:pt x="94" y="155"/>
                </a:cubicBezTo>
                <a:cubicBezTo>
                  <a:pt x="93" y="164"/>
                  <a:pt x="88" y="164"/>
                  <a:pt x="85" y="164"/>
                </a:cubicBezTo>
                <a:cubicBezTo>
                  <a:pt x="85" y="164"/>
                  <a:pt x="85" y="164"/>
                  <a:pt x="85" y="164"/>
                </a:cubicBezTo>
                <a:cubicBezTo>
                  <a:pt x="84" y="164"/>
                  <a:pt x="84" y="164"/>
                  <a:pt x="83" y="164"/>
                </a:cubicBezTo>
                <a:close/>
                <a:moveTo>
                  <a:pt x="71" y="141"/>
                </a:moveTo>
                <a:cubicBezTo>
                  <a:pt x="72" y="141"/>
                  <a:pt x="72" y="141"/>
                  <a:pt x="72" y="141"/>
                </a:cubicBezTo>
                <a:cubicBezTo>
                  <a:pt x="77" y="142"/>
                  <a:pt x="80" y="151"/>
                  <a:pt x="80" y="155"/>
                </a:cubicBezTo>
                <a:cubicBezTo>
                  <a:pt x="81" y="159"/>
                  <a:pt x="82" y="159"/>
                  <a:pt x="83" y="159"/>
                </a:cubicBezTo>
                <a:cubicBezTo>
                  <a:pt x="84" y="159"/>
                  <a:pt x="84" y="159"/>
                  <a:pt x="84" y="159"/>
                </a:cubicBezTo>
                <a:cubicBezTo>
                  <a:pt x="85" y="159"/>
                  <a:pt x="85" y="159"/>
                  <a:pt x="85" y="159"/>
                </a:cubicBezTo>
                <a:cubicBezTo>
                  <a:pt x="87" y="159"/>
                  <a:pt x="88" y="159"/>
                  <a:pt x="89" y="155"/>
                </a:cubicBezTo>
                <a:cubicBezTo>
                  <a:pt x="89" y="150"/>
                  <a:pt x="91" y="144"/>
                  <a:pt x="94" y="141"/>
                </a:cubicBezTo>
                <a:cubicBezTo>
                  <a:pt x="94" y="141"/>
                  <a:pt x="95" y="140"/>
                  <a:pt x="96" y="140"/>
                </a:cubicBezTo>
                <a:cubicBezTo>
                  <a:pt x="101" y="140"/>
                  <a:pt x="106" y="147"/>
                  <a:pt x="109" y="150"/>
                </a:cubicBezTo>
                <a:cubicBezTo>
                  <a:pt x="110" y="152"/>
                  <a:pt x="111" y="153"/>
                  <a:pt x="112" y="153"/>
                </a:cubicBezTo>
                <a:cubicBezTo>
                  <a:pt x="112" y="153"/>
                  <a:pt x="113" y="153"/>
                  <a:pt x="114" y="153"/>
                </a:cubicBezTo>
                <a:cubicBezTo>
                  <a:pt x="115" y="152"/>
                  <a:pt x="115" y="152"/>
                  <a:pt x="115" y="152"/>
                </a:cubicBezTo>
                <a:cubicBezTo>
                  <a:pt x="117" y="151"/>
                  <a:pt x="117" y="151"/>
                  <a:pt x="116" y="147"/>
                </a:cubicBezTo>
                <a:cubicBezTo>
                  <a:pt x="115" y="143"/>
                  <a:pt x="114" y="137"/>
                  <a:pt x="115" y="133"/>
                </a:cubicBezTo>
                <a:cubicBezTo>
                  <a:pt x="116" y="132"/>
                  <a:pt x="117" y="131"/>
                  <a:pt x="118" y="131"/>
                </a:cubicBezTo>
                <a:cubicBezTo>
                  <a:pt x="122" y="131"/>
                  <a:pt x="127" y="134"/>
                  <a:pt x="130" y="137"/>
                </a:cubicBezTo>
                <a:cubicBezTo>
                  <a:pt x="132" y="138"/>
                  <a:pt x="134" y="139"/>
                  <a:pt x="134" y="139"/>
                </a:cubicBezTo>
                <a:cubicBezTo>
                  <a:pt x="135" y="139"/>
                  <a:pt x="135" y="138"/>
                  <a:pt x="136" y="137"/>
                </a:cubicBezTo>
                <a:cubicBezTo>
                  <a:pt x="137" y="137"/>
                  <a:pt x="137" y="137"/>
                  <a:pt x="137" y="137"/>
                </a:cubicBezTo>
                <a:cubicBezTo>
                  <a:pt x="138" y="135"/>
                  <a:pt x="139" y="135"/>
                  <a:pt x="136" y="131"/>
                </a:cubicBezTo>
                <a:cubicBezTo>
                  <a:pt x="134" y="128"/>
                  <a:pt x="130" y="120"/>
                  <a:pt x="132" y="115"/>
                </a:cubicBezTo>
                <a:cubicBezTo>
                  <a:pt x="132" y="115"/>
                  <a:pt x="132" y="114"/>
                  <a:pt x="133" y="114"/>
                </a:cubicBezTo>
                <a:cubicBezTo>
                  <a:pt x="134" y="113"/>
                  <a:pt x="137" y="113"/>
                  <a:pt x="139" y="113"/>
                </a:cubicBezTo>
                <a:cubicBezTo>
                  <a:pt x="142" y="113"/>
                  <a:pt x="145" y="113"/>
                  <a:pt x="148" y="114"/>
                </a:cubicBezTo>
                <a:cubicBezTo>
                  <a:pt x="149" y="114"/>
                  <a:pt x="150" y="114"/>
                  <a:pt x="151" y="114"/>
                </a:cubicBezTo>
                <a:cubicBezTo>
                  <a:pt x="152" y="114"/>
                  <a:pt x="152" y="114"/>
                  <a:pt x="153" y="112"/>
                </a:cubicBezTo>
                <a:cubicBezTo>
                  <a:pt x="153" y="111"/>
                  <a:pt x="153" y="111"/>
                  <a:pt x="153" y="111"/>
                </a:cubicBezTo>
                <a:cubicBezTo>
                  <a:pt x="154" y="109"/>
                  <a:pt x="155" y="109"/>
                  <a:pt x="151" y="106"/>
                </a:cubicBezTo>
                <a:cubicBezTo>
                  <a:pt x="147" y="104"/>
                  <a:pt x="140" y="98"/>
                  <a:pt x="140" y="94"/>
                </a:cubicBezTo>
                <a:cubicBezTo>
                  <a:pt x="140" y="93"/>
                  <a:pt x="141" y="92"/>
                  <a:pt x="141" y="92"/>
                </a:cubicBezTo>
                <a:cubicBezTo>
                  <a:pt x="144" y="89"/>
                  <a:pt x="150" y="87"/>
                  <a:pt x="155" y="86"/>
                </a:cubicBezTo>
                <a:cubicBezTo>
                  <a:pt x="159" y="86"/>
                  <a:pt x="159" y="85"/>
                  <a:pt x="159" y="82"/>
                </a:cubicBezTo>
                <a:cubicBezTo>
                  <a:pt x="159" y="82"/>
                  <a:pt x="159" y="82"/>
                  <a:pt x="159" y="82"/>
                </a:cubicBezTo>
                <a:cubicBezTo>
                  <a:pt x="159" y="81"/>
                  <a:pt x="159" y="81"/>
                  <a:pt x="159" y="81"/>
                </a:cubicBezTo>
                <a:cubicBezTo>
                  <a:pt x="159" y="79"/>
                  <a:pt x="159" y="78"/>
                  <a:pt x="155" y="78"/>
                </a:cubicBezTo>
                <a:cubicBezTo>
                  <a:pt x="151" y="77"/>
                  <a:pt x="142" y="74"/>
                  <a:pt x="140" y="70"/>
                </a:cubicBezTo>
                <a:cubicBezTo>
                  <a:pt x="140" y="69"/>
                  <a:pt x="140" y="69"/>
                  <a:pt x="140" y="68"/>
                </a:cubicBezTo>
                <a:cubicBezTo>
                  <a:pt x="142" y="64"/>
                  <a:pt x="146" y="60"/>
                  <a:pt x="151" y="58"/>
                </a:cubicBezTo>
                <a:cubicBezTo>
                  <a:pt x="154" y="56"/>
                  <a:pt x="154" y="55"/>
                  <a:pt x="153" y="53"/>
                </a:cubicBezTo>
                <a:cubicBezTo>
                  <a:pt x="153" y="52"/>
                  <a:pt x="153" y="52"/>
                  <a:pt x="153" y="52"/>
                </a:cubicBezTo>
                <a:cubicBezTo>
                  <a:pt x="152" y="50"/>
                  <a:pt x="152" y="50"/>
                  <a:pt x="150" y="50"/>
                </a:cubicBezTo>
                <a:cubicBezTo>
                  <a:pt x="150" y="50"/>
                  <a:pt x="149" y="50"/>
                  <a:pt x="148" y="50"/>
                </a:cubicBezTo>
                <a:cubicBezTo>
                  <a:pt x="145" y="51"/>
                  <a:pt x="142" y="51"/>
                  <a:pt x="140" y="51"/>
                </a:cubicBezTo>
                <a:cubicBezTo>
                  <a:pt x="135" y="51"/>
                  <a:pt x="132" y="50"/>
                  <a:pt x="131" y="49"/>
                </a:cubicBezTo>
                <a:cubicBezTo>
                  <a:pt x="130" y="48"/>
                  <a:pt x="130" y="48"/>
                  <a:pt x="130" y="47"/>
                </a:cubicBezTo>
                <a:cubicBezTo>
                  <a:pt x="130" y="43"/>
                  <a:pt x="133" y="37"/>
                  <a:pt x="136" y="33"/>
                </a:cubicBezTo>
                <a:cubicBezTo>
                  <a:pt x="138" y="30"/>
                  <a:pt x="138" y="29"/>
                  <a:pt x="136" y="28"/>
                </a:cubicBezTo>
                <a:cubicBezTo>
                  <a:pt x="135" y="27"/>
                  <a:pt x="135" y="27"/>
                  <a:pt x="135" y="27"/>
                </a:cubicBezTo>
                <a:cubicBezTo>
                  <a:pt x="134" y="26"/>
                  <a:pt x="134" y="26"/>
                  <a:pt x="133" y="26"/>
                </a:cubicBezTo>
                <a:cubicBezTo>
                  <a:pt x="133" y="26"/>
                  <a:pt x="132" y="26"/>
                  <a:pt x="130" y="27"/>
                </a:cubicBezTo>
                <a:cubicBezTo>
                  <a:pt x="125" y="31"/>
                  <a:pt x="118" y="34"/>
                  <a:pt x="114" y="32"/>
                </a:cubicBezTo>
                <a:cubicBezTo>
                  <a:pt x="113" y="32"/>
                  <a:pt x="113" y="32"/>
                  <a:pt x="113" y="31"/>
                </a:cubicBezTo>
                <a:cubicBezTo>
                  <a:pt x="111" y="28"/>
                  <a:pt x="111" y="21"/>
                  <a:pt x="112" y="16"/>
                </a:cubicBezTo>
                <a:cubicBezTo>
                  <a:pt x="114" y="12"/>
                  <a:pt x="113" y="12"/>
                  <a:pt x="111" y="11"/>
                </a:cubicBezTo>
                <a:cubicBezTo>
                  <a:pt x="110" y="11"/>
                  <a:pt x="110" y="11"/>
                  <a:pt x="110" y="11"/>
                </a:cubicBezTo>
                <a:cubicBezTo>
                  <a:pt x="109" y="10"/>
                  <a:pt x="108" y="10"/>
                  <a:pt x="108" y="10"/>
                </a:cubicBezTo>
                <a:cubicBezTo>
                  <a:pt x="107" y="10"/>
                  <a:pt x="106" y="12"/>
                  <a:pt x="105" y="13"/>
                </a:cubicBezTo>
                <a:cubicBezTo>
                  <a:pt x="103" y="17"/>
                  <a:pt x="97" y="24"/>
                  <a:pt x="92" y="24"/>
                </a:cubicBezTo>
                <a:cubicBezTo>
                  <a:pt x="92" y="24"/>
                  <a:pt x="91" y="24"/>
                  <a:pt x="91" y="23"/>
                </a:cubicBezTo>
                <a:cubicBezTo>
                  <a:pt x="88" y="21"/>
                  <a:pt x="85" y="15"/>
                  <a:pt x="84" y="10"/>
                </a:cubicBezTo>
                <a:cubicBezTo>
                  <a:pt x="84" y="5"/>
                  <a:pt x="83" y="5"/>
                  <a:pt x="81" y="5"/>
                </a:cubicBezTo>
                <a:cubicBezTo>
                  <a:pt x="80" y="6"/>
                  <a:pt x="80" y="6"/>
                  <a:pt x="80" y="6"/>
                </a:cubicBezTo>
                <a:cubicBezTo>
                  <a:pt x="79" y="5"/>
                  <a:pt x="79" y="5"/>
                  <a:pt x="79" y="5"/>
                </a:cubicBezTo>
                <a:cubicBezTo>
                  <a:pt x="78" y="5"/>
                  <a:pt x="77" y="5"/>
                  <a:pt x="76" y="10"/>
                </a:cubicBezTo>
                <a:cubicBezTo>
                  <a:pt x="76" y="14"/>
                  <a:pt x="73" y="23"/>
                  <a:pt x="69" y="25"/>
                </a:cubicBezTo>
                <a:cubicBezTo>
                  <a:pt x="68" y="25"/>
                  <a:pt x="67" y="25"/>
                  <a:pt x="67" y="25"/>
                </a:cubicBezTo>
                <a:cubicBezTo>
                  <a:pt x="63" y="23"/>
                  <a:pt x="59" y="19"/>
                  <a:pt x="56" y="14"/>
                </a:cubicBezTo>
                <a:cubicBezTo>
                  <a:pt x="55" y="13"/>
                  <a:pt x="54" y="11"/>
                  <a:pt x="53" y="11"/>
                </a:cubicBezTo>
                <a:cubicBezTo>
                  <a:pt x="53" y="11"/>
                  <a:pt x="52" y="12"/>
                  <a:pt x="51" y="12"/>
                </a:cubicBezTo>
                <a:cubicBezTo>
                  <a:pt x="50" y="12"/>
                  <a:pt x="50" y="12"/>
                  <a:pt x="50" y="12"/>
                </a:cubicBezTo>
                <a:cubicBezTo>
                  <a:pt x="48" y="13"/>
                  <a:pt x="47" y="14"/>
                  <a:pt x="49" y="18"/>
                </a:cubicBezTo>
                <a:cubicBezTo>
                  <a:pt x="50" y="22"/>
                  <a:pt x="50" y="28"/>
                  <a:pt x="49" y="32"/>
                </a:cubicBezTo>
                <a:cubicBezTo>
                  <a:pt x="48" y="33"/>
                  <a:pt x="48" y="34"/>
                  <a:pt x="47" y="34"/>
                </a:cubicBezTo>
                <a:cubicBezTo>
                  <a:pt x="43" y="34"/>
                  <a:pt x="37" y="31"/>
                  <a:pt x="33" y="28"/>
                </a:cubicBezTo>
                <a:cubicBezTo>
                  <a:pt x="31" y="27"/>
                  <a:pt x="30" y="27"/>
                  <a:pt x="30" y="27"/>
                </a:cubicBezTo>
                <a:cubicBezTo>
                  <a:pt x="29" y="27"/>
                  <a:pt x="29" y="27"/>
                  <a:pt x="28" y="28"/>
                </a:cubicBezTo>
                <a:cubicBezTo>
                  <a:pt x="27" y="29"/>
                  <a:pt x="27" y="29"/>
                  <a:pt x="27" y="29"/>
                </a:cubicBezTo>
                <a:cubicBezTo>
                  <a:pt x="25" y="30"/>
                  <a:pt x="25" y="31"/>
                  <a:pt x="28" y="34"/>
                </a:cubicBezTo>
                <a:cubicBezTo>
                  <a:pt x="31" y="38"/>
                  <a:pt x="33" y="44"/>
                  <a:pt x="33" y="48"/>
                </a:cubicBezTo>
                <a:cubicBezTo>
                  <a:pt x="33" y="49"/>
                  <a:pt x="33" y="49"/>
                  <a:pt x="33" y="50"/>
                </a:cubicBezTo>
                <a:cubicBezTo>
                  <a:pt x="31" y="52"/>
                  <a:pt x="26" y="52"/>
                  <a:pt x="23" y="52"/>
                </a:cubicBezTo>
                <a:cubicBezTo>
                  <a:pt x="21" y="52"/>
                  <a:pt x="18" y="52"/>
                  <a:pt x="16" y="52"/>
                </a:cubicBezTo>
                <a:cubicBezTo>
                  <a:pt x="15" y="51"/>
                  <a:pt x="14" y="51"/>
                  <a:pt x="13" y="51"/>
                </a:cubicBezTo>
                <a:cubicBezTo>
                  <a:pt x="12" y="51"/>
                  <a:pt x="12" y="51"/>
                  <a:pt x="11" y="53"/>
                </a:cubicBezTo>
                <a:cubicBezTo>
                  <a:pt x="11" y="54"/>
                  <a:pt x="11" y="54"/>
                  <a:pt x="11" y="54"/>
                </a:cubicBezTo>
                <a:cubicBezTo>
                  <a:pt x="10" y="56"/>
                  <a:pt x="9" y="57"/>
                  <a:pt x="13" y="59"/>
                </a:cubicBezTo>
                <a:cubicBezTo>
                  <a:pt x="17" y="62"/>
                  <a:pt x="22" y="66"/>
                  <a:pt x="24" y="69"/>
                </a:cubicBezTo>
                <a:cubicBezTo>
                  <a:pt x="24" y="70"/>
                  <a:pt x="24" y="71"/>
                  <a:pt x="24" y="71"/>
                </a:cubicBezTo>
                <a:cubicBezTo>
                  <a:pt x="22" y="76"/>
                  <a:pt x="14" y="79"/>
                  <a:pt x="9" y="79"/>
                </a:cubicBezTo>
                <a:cubicBezTo>
                  <a:pt x="5" y="80"/>
                  <a:pt x="5" y="81"/>
                  <a:pt x="5" y="83"/>
                </a:cubicBezTo>
                <a:cubicBezTo>
                  <a:pt x="5" y="84"/>
                  <a:pt x="5" y="84"/>
                  <a:pt x="5" y="84"/>
                </a:cubicBezTo>
                <a:cubicBezTo>
                  <a:pt x="5" y="86"/>
                  <a:pt x="5" y="87"/>
                  <a:pt x="10" y="88"/>
                </a:cubicBezTo>
                <a:cubicBezTo>
                  <a:pt x="15" y="88"/>
                  <a:pt x="21" y="90"/>
                  <a:pt x="23" y="93"/>
                </a:cubicBezTo>
                <a:cubicBezTo>
                  <a:pt x="24" y="94"/>
                  <a:pt x="24" y="94"/>
                  <a:pt x="24" y="95"/>
                </a:cubicBezTo>
                <a:cubicBezTo>
                  <a:pt x="24" y="100"/>
                  <a:pt x="17" y="105"/>
                  <a:pt x="14" y="108"/>
                </a:cubicBezTo>
                <a:cubicBezTo>
                  <a:pt x="10" y="110"/>
                  <a:pt x="11" y="111"/>
                  <a:pt x="11" y="113"/>
                </a:cubicBezTo>
                <a:cubicBezTo>
                  <a:pt x="12" y="114"/>
                  <a:pt x="12" y="114"/>
                  <a:pt x="12" y="114"/>
                </a:cubicBezTo>
                <a:cubicBezTo>
                  <a:pt x="13" y="115"/>
                  <a:pt x="13" y="116"/>
                  <a:pt x="14" y="116"/>
                </a:cubicBezTo>
                <a:cubicBezTo>
                  <a:pt x="15" y="116"/>
                  <a:pt x="16" y="116"/>
                  <a:pt x="17" y="115"/>
                </a:cubicBezTo>
                <a:cubicBezTo>
                  <a:pt x="20" y="114"/>
                  <a:pt x="23" y="114"/>
                  <a:pt x="26" y="114"/>
                </a:cubicBezTo>
                <a:cubicBezTo>
                  <a:pt x="29" y="114"/>
                  <a:pt x="31" y="114"/>
                  <a:pt x="32" y="115"/>
                </a:cubicBezTo>
                <a:cubicBezTo>
                  <a:pt x="33" y="115"/>
                  <a:pt x="33" y="116"/>
                  <a:pt x="33" y="116"/>
                </a:cubicBezTo>
                <a:cubicBezTo>
                  <a:pt x="35" y="121"/>
                  <a:pt x="31" y="129"/>
                  <a:pt x="29" y="132"/>
                </a:cubicBezTo>
                <a:cubicBezTo>
                  <a:pt x="26" y="136"/>
                  <a:pt x="27" y="136"/>
                  <a:pt x="29" y="138"/>
                </a:cubicBezTo>
                <a:cubicBezTo>
                  <a:pt x="29" y="138"/>
                  <a:pt x="29" y="138"/>
                  <a:pt x="29" y="138"/>
                </a:cubicBezTo>
                <a:cubicBezTo>
                  <a:pt x="30" y="139"/>
                  <a:pt x="31" y="140"/>
                  <a:pt x="31" y="140"/>
                </a:cubicBezTo>
                <a:cubicBezTo>
                  <a:pt x="32" y="140"/>
                  <a:pt x="33" y="140"/>
                  <a:pt x="35" y="138"/>
                </a:cubicBezTo>
                <a:cubicBezTo>
                  <a:pt x="39" y="135"/>
                  <a:pt x="44" y="132"/>
                  <a:pt x="48" y="132"/>
                </a:cubicBezTo>
                <a:cubicBezTo>
                  <a:pt x="49" y="132"/>
                  <a:pt x="50" y="132"/>
                  <a:pt x="50" y="132"/>
                </a:cubicBezTo>
                <a:cubicBezTo>
                  <a:pt x="54" y="136"/>
                  <a:pt x="53" y="145"/>
                  <a:pt x="52" y="149"/>
                </a:cubicBezTo>
                <a:cubicBezTo>
                  <a:pt x="51" y="153"/>
                  <a:pt x="52" y="153"/>
                  <a:pt x="54" y="154"/>
                </a:cubicBezTo>
                <a:cubicBezTo>
                  <a:pt x="55" y="154"/>
                  <a:pt x="55" y="154"/>
                  <a:pt x="55" y="154"/>
                </a:cubicBezTo>
                <a:cubicBezTo>
                  <a:pt x="56" y="155"/>
                  <a:pt x="57" y="155"/>
                  <a:pt x="57" y="155"/>
                </a:cubicBezTo>
                <a:cubicBezTo>
                  <a:pt x="58" y="155"/>
                  <a:pt x="59" y="153"/>
                  <a:pt x="60" y="152"/>
                </a:cubicBezTo>
                <a:cubicBezTo>
                  <a:pt x="63" y="147"/>
                  <a:pt x="67" y="142"/>
                  <a:pt x="70" y="141"/>
                </a:cubicBezTo>
                <a:lnTo>
                  <a:pt x="71" y="141"/>
                </a:lnTo>
                <a:close/>
                <a:moveTo>
                  <a:pt x="82" y="134"/>
                </a:moveTo>
                <a:cubicBezTo>
                  <a:pt x="68" y="134"/>
                  <a:pt x="55" y="129"/>
                  <a:pt x="46" y="119"/>
                </a:cubicBezTo>
                <a:cubicBezTo>
                  <a:pt x="36" y="109"/>
                  <a:pt x="30" y="96"/>
                  <a:pt x="30" y="83"/>
                </a:cubicBezTo>
                <a:cubicBezTo>
                  <a:pt x="30" y="69"/>
                  <a:pt x="36" y="56"/>
                  <a:pt x="45" y="46"/>
                </a:cubicBezTo>
                <a:cubicBezTo>
                  <a:pt x="55" y="36"/>
                  <a:pt x="68" y="31"/>
                  <a:pt x="82" y="31"/>
                </a:cubicBezTo>
                <a:cubicBezTo>
                  <a:pt x="96" y="31"/>
                  <a:pt x="109" y="36"/>
                  <a:pt x="119" y="46"/>
                </a:cubicBezTo>
                <a:cubicBezTo>
                  <a:pt x="128" y="56"/>
                  <a:pt x="134" y="69"/>
                  <a:pt x="134" y="82"/>
                </a:cubicBezTo>
                <a:cubicBezTo>
                  <a:pt x="134" y="96"/>
                  <a:pt x="128" y="109"/>
                  <a:pt x="119" y="119"/>
                </a:cubicBezTo>
                <a:cubicBezTo>
                  <a:pt x="109" y="129"/>
                  <a:pt x="96" y="134"/>
                  <a:pt x="82" y="134"/>
                </a:cubicBezTo>
                <a:close/>
                <a:moveTo>
                  <a:pt x="82" y="36"/>
                </a:moveTo>
                <a:cubicBezTo>
                  <a:pt x="70" y="36"/>
                  <a:pt x="58" y="41"/>
                  <a:pt x="49" y="49"/>
                </a:cubicBezTo>
                <a:cubicBezTo>
                  <a:pt x="40" y="58"/>
                  <a:pt x="35" y="70"/>
                  <a:pt x="35" y="83"/>
                </a:cubicBezTo>
                <a:cubicBezTo>
                  <a:pt x="35" y="95"/>
                  <a:pt x="40" y="107"/>
                  <a:pt x="49" y="115"/>
                </a:cubicBezTo>
                <a:cubicBezTo>
                  <a:pt x="58" y="124"/>
                  <a:pt x="70" y="129"/>
                  <a:pt x="82" y="129"/>
                </a:cubicBezTo>
                <a:cubicBezTo>
                  <a:pt x="95" y="129"/>
                  <a:pt x="106" y="124"/>
                  <a:pt x="115" y="115"/>
                </a:cubicBezTo>
                <a:cubicBezTo>
                  <a:pt x="124" y="107"/>
                  <a:pt x="129" y="95"/>
                  <a:pt x="129" y="82"/>
                </a:cubicBezTo>
                <a:cubicBezTo>
                  <a:pt x="129" y="70"/>
                  <a:pt x="124" y="58"/>
                  <a:pt x="115" y="49"/>
                </a:cubicBezTo>
                <a:cubicBezTo>
                  <a:pt x="106" y="41"/>
                  <a:pt x="95" y="36"/>
                  <a:pt x="82"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1" name="Freeform 1420">
            <a:extLst>
              <a:ext uri="{FF2B5EF4-FFF2-40B4-BE49-F238E27FC236}">
                <a16:creationId xmlns:a16="http://schemas.microsoft.com/office/drawing/2014/main" id="{8435B3B7-88E0-4741-BD52-FD109DCE948C}"/>
              </a:ext>
            </a:extLst>
          </p:cNvPr>
          <p:cNvSpPr>
            <a:spLocks noEditPoints="1"/>
          </p:cNvSpPr>
          <p:nvPr/>
        </p:nvSpPr>
        <p:spPr bwMode="auto">
          <a:xfrm rot="7915163">
            <a:off x="2517525" y="3251746"/>
            <a:ext cx="825790" cy="772018"/>
          </a:xfrm>
          <a:custGeom>
            <a:avLst/>
            <a:gdLst>
              <a:gd name="T0" fmla="*/ 136 w 287"/>
              <a:gd name="T1" fmla="*/ 268 h 268"/>
              <a:gd name="T2" fmla="*/ 136 w 287"/>
              <a:gd name="T3" fmla="*/ 268 h 268"/>
              <a:gd name="T4" fmla="*/ 52 w 287"/>
              <a:gd name="T5" fmla="*/ 238 h 268"/>
              <a:gd name="T6" fmla="*/ 3 w 287"/>
              <a:gd name="T7" fmla="*/ 148 h 268"/>
              <a:gd name="T8" fmla="*/ 32 w 287"/>
              <a:gd name="T9" fmla="*/ 49 h 268"/>
              <a:gd name="T10" fmla="*/ 137 w 287"/>
              <a:gd name="T11" fmla="*/ 0 h 268"/>
              <a:gd name="T12" fmla="*/ 221 w 287"/>
              <a:gd name="T13" fmla="*/ 30 h 268"/>
              <a:gd name="T14" fmla="*/ 240 w 287"/>
              <a:gd name="T15" fmla="*/ 218 h 268"/>
              <a:gd name="T16" fmla="*/ 136 w 287"/>
              <a:gd name="T17" fmla="*/ 268 h 268"/>
              <a:gd name="T18" fmla="*/ 137 w 287"/>
              <a:gd name="T19" fmla="*/ 5 h 268"/>
              <a:gd name="T20" fmla="*/ 36 w 287"/>
              <a:gd name="T21" fmla="*/ 52 h 268"/>
              <a:gd name="T22" fmla="*/ 8 w 287"/>
              <a:gd name="T23" fmla="*/ 147 h 268"/>
              <a:gd name="T24" fmla="*/ 55 w 287"/>
              <a:gd name="T25" fmla="*/ 234 h 268"/>
              <a:gd name="T26" fmla="*/ 136 w 287"/>
              <a:gd name="T27" fmla="*/ 263 h 268"/>
              <a:gd name="T28" fmla="*/ 136 w 287"/>
              <a:gd name="T29" fmla="*/ 263 h 268"/>
              <a:gd name="T30" fmla="*/ 237 w 287"/>
              <a:gd name="T31" fmla="*/ 215 h 268"/>
              <a:gd name="T32" fmla="*/ 218 w 287"/>
              <a:gd name="T33" fmla="*/ 34 h 268"/>
              <a:gd name="T34" fmla="*/ 137 w 287"/>
              <a:gd name="T35" fmla="*/ 5 h 268"/>
              <a:gd name="T36" fmla="*/ 136 w 287"/>
              <a:gd name="T37" fmla="*/ 184 h 268"/>
              <a:gd name="T38" fmla="*/ 105 w 287"/>
              <a:gd name="T39" fmla="*/ 172 h 268"/>
              <a:gd name="T40" fmla="*/ 98 w 287"/>
              <a:gd name="T41" fmla="*/ 102 h 268"/>
              <a:gd name="T42" fmla="*/ 136 w 287"/>
              <a:gd name="T43" fmla="*/ 84 h 268"/>
              <a:gd name="T44" fmla="*/ 168 w 287"/>
              <a:gd name="T45" fmla="*/ 95 h 268"/>
              <a:gd name="T46" fmla="*/ 175 w 287"/>
              <a:gd name="T47" fmla="*/ 165 h 268"/>
              <a:gd name="T48" fmla="*/ 136 w 287"/>
              <a:gd name="T49" fmla="*/ 184 h 268"/>
              <a:gd name="T50" fmla="*/ 136 w 287"/>
              <a:gd name="T51" fmla="*/ 89 h 268"/>
              <a:gd name="T52" fmla="*/ 102 w 287"/>
              <a:gd name="T53" fmla="*/ 105 h 268"/>
              <a:gd name="T54" fmla="*/ 108 w 287"/>
              <a:gd name="T55" fmla="*/ 169 h 268"/>
              <a:gd name="T56" fmla="*/ 136 w 287"/>
              <a:gd name="T57" fmla="*/ 179 h 268"/>
              <a:gd name="T58" fmla="*/ 171 w 287"/>
              <a:gd name="T59" fmla="*/ 162 h 268"/>
              <a:gd name="T60" fmla="*/ 165 w 287"/>
              <a:gd name="T61" fmla="*/ 99 h 268"/>
              <a:gd name="T62" fmla="*/ 136 w 287"/>
              <a:gd name="T63" fmla="*/ 8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6" y="268"/>
                </a:moveTo>
                <a:cubicBezTo>
                  <a:pt x="136" y="268"/>
                  <a:pt x="136" y="268"/>
                  <a:pt x="136" y="268"/>
                </a:cubicBezTo>
                <a:cubicBezTo>
                  <a:pt x="106" y="268"/>
                  <a:pt x="76" y="257"/>
                  <a:pt x="52" y="238"/>
                </a:cubicBezTo>
                <a:cubicBezTo>
                  <a:pt x="24" y="215"/>
                  <a:pt x="7" y="183"/>
                  <a:pt x="3" y="148"/>
                </a:cubicBezTo>
                <a:cubicBezTo>
                  <a:pt x="0" y="112"/>
                  <a:pt x="10" y="77"/>
                  <a:pt x="32" y="49"/>
                </a:cubicBezTo>
                <a:cubicBezTo>
                  <a:pt x="58" y="18"/>
                  <a:pt x="96" y="0"/>
                  <a:pt x="137" y="0"/>
                </a:cubicBezTo>
                <a:cubicBezTo>
                  <a:pt x="167" y="0"/>
                  <a:pt x="197" y="10"/>
                  <a:pt x="221" y="30"/>
                </a:cubicBezTo>
                <a:cubicBezTo>
                  <a:pt x="278" y="76"/>
                  <a:pt x="287" y="161"/>
                  <a:pt x="240" y="218"/>
                </a:cubicBezTo>
                <a:cubicBezTo>
                  <a:pt x="215" y="250"/>
                  <a:pt x="177" y="268"/>
                  <a:pt x="136" y="268"/>
                </a:cubicBezTo>
                <a:close/>
                <a:moveTo>
                  <a:pt x="137" y="5"/>
                </a:moveTo>
                <a:cubicBezTo>
                  <a:pt x="97" y="5"/>
                  <a:pt x="61" y="22"/>
                  <a:pt x="36" y="52"/>
                </a:cubicBezTo>
                <a:cubicBezTo>
                  <a:pt x="15" y="79"/>
                  <a:pt x="5" y="113"/>
                  <a:pt x="8" y="147"/>
                </a:cubicBezTo>
                <a:cubicBezTo>
                  <a:pt x="12" y="181"/>
                  <a:pt x="28" y="212"/>
                  <a:pt x="55" y="234"/>
                </a:cubicBezTo>
                <a:cubicBezTo>
                  <a:pt x="78" y="252"/>
                  <a:pt x="107" y="263"/>
                  <a:pt x="136" y="263"/>
                </a:cubicBezTo>
                <a:cubicBezTo>
                  <a:pt x="136" y="263"/>
                  <a:pt x="136" y="263"/>
                  <a:pt x="136" y="263"/>
                </a:cubicBezTo>
                <a:cubicBezTo>
                  <a:pt x="175" y="263"/>
                  <a:pt x="212" y="245"/>
                  <a:pt x="237" y="215"/>
                </a:cubicBezTo>
                <a:cubicBezTo>
                  <a:pt x="281" y="160"/>
                  <a:pt x="273" y="78"/>
                  <a:pt x="218" y="34"/>
                </a:cubicBezTo>
                <a:cubicBezTo>
                  <a:pt x="195" y="15"/>
                  <a:pt x="166" y="5"/>
                  <a:pt x="137" y="5"/>
                </a:cubicBezTo>
                <a:close/>
                <a:moveTo>
                  <a:pt x="136" y="184"/>
                </a:moveTo>
                <a:cubicBezTo>
                  <a:pt x="125" y="184"/>
                  <a:pt x="114" y="180"/>
                  <a:pt x="105" y="172"/>
                </a:cubicBezTo>
                <a:cubicBezTo>
                  <a:pt x="84" y="155"/>
                  <a:pt x="80" y="124"/>
                  <a:pt x="98" y="102"/>
                </a:cubicBezTo>
                <a:cubicBezTo>
                  <a:pt x="107" y="90"/>
                  <a:pt x="121" y="84"/>
                  <a:pt x="136" y="84"/>
                </a:cubicBezTo>
                <a:cubicBezTo>
                  <a:pt x="148" y="84"/>
                  <a:pt x="159" y="88"/>
                  <a:pt x="168" y="95"/>
                </a:cubicBezTo>
                <a:cubicBezTo>
                  <a:pt x="189" y="112"/>
                  <a:pt x="193" y="144"/>
                  <a:pt x="175" y="165"/>
                </a:cubicBezTo>
                <a:cubicBezTo>
                  <a:pt x="166" y="177"/>
                  <a:pt x="152" y="184"/>
                  <a:pt x="136" y="184"/>
                </a:cubicBezTo>
                <a:close/>
                <a:moveTo>
                  <a:pt x="136" y="89"/>
                </a:moveTo>
                <a:cubicBezTo>
                  <a:pt x="123" y="89"/>
                  <a:pt x="110" y="95"/>
                  <a:pt x="102" y="105"/>
                </a:cubicBezTo>
                <a:cubicBezTo>
                  <a:pt x="86" y="125"/>
                  <a:pt x="89" y="153"/>
                  <a:pt x="108" y="169"/>
                </a:cubicBezTo>
                <a:cubicBezTo>
                  <a:pt x="116" y="175"/>
                  <a:pt x="126" y="179"/>
                  <a:pt x="136" y="179"/>
                </a:cubicBezTo>
                <a:cubicBezTo>
                  <a:pt x="150" y="179"/>
                  <a:pt x="163" y="173"/>
                  <a:pt x="171" y="162"/>
                </a:cubicBezTo>
                <a:cubicBezTo>
                  <a:pt x="187" y="143"/>
                  <a:pt x="184" y="114"/>
                  <a:pt x="165" y="99"/>
                </a:cubicBezTo>
                <a:cubicBezTo>
                  <a:pt x="157" y="92"/>
                  <a:pt x="147" y="89"/>
                  <a:pt x="136" y="8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2" name="Freeform 1422">
            <a:extLst>
              <a:ext uri="{FF2B5EF4-FFF2-40B4-BE49-F238E27FC236}">
                <a16:creationId xmlns:a16="http://schemas.microsoft.com/office/drawing/2014/main" id="{01E624B7-3920-425A-9190-B44085CA7BCD}"/>
              </a:ext>
            </a:extLst>
          </p:cNvPr>
          <p:cNvSpPr>
            <a:spLocks noEditPoints="1"/>
          </p:cNvSpPr>
          <p:nvPr/>
        </p:nvSpPr>
        <p:spPr bwMode="auto">
          <a:xfrm rot="7915163">
            <a:off x="2430494" y="3110706"/>
            <a:ext cx="1025516" cy="1025516"/>
          </a:xfrm>
          <a:custGeom>
            <a:avLst/>
            <a:gdLst>
              <a:gd name="T0" fmla="*/ 145 w 357"/>
              <a:gd name="T1" fmla="*/ 320 h 356"/>
              <a:gd name="T2" fmla="*/ 103 w 357"/>
              <a:gd name="T3" fmla="*/ 325 h 356"/>
              <a:gd name="T4" fmla="*/ 64 w 357"/>
              <a:gd name="T5" fmla="*/ 314 h 356"/>
              <a:gd name="T6" fmla="*/ 29 w 357"/>
              <a:gd name="T7" fmla="*/ 274 h 356"/>
              <a:gd name="T8" fmla="*/ 23 w 357"/>
              <a:gd name="T9" fmla="*/ 233 h 356"/>
              <a:gd name="T10" fmla="*/ 33 w 357"/>
              <a:gd name="T11" fmla="*/ 191 h 356"/>
              <a:gd name="T12" fmla="*/ 36 w 357"/>
              <a:gd name="T13" fmla="*/ 146 h 356"/>
              <a:gd name="T14" fmla="*/ 30 w 357"/>
              <a:gd name="T15" fmla="*/ 105 h 356"/>
              <a:gd name="T16" fmla="*/ 40 w 357"/>
              <a:gd name="T17" fmla="*/ 66 h 356"/>
              <a:gd name="T18" fmla="*/ 83 w 357"/>
              <a:gd name="T19" fmla="*/ 68 h 356"/>
              <a:gd name="T20" fmla="*/ 87 w 357"/>
              <a:gd name="T21" fmla="*/ 25 h 356"/>
              <a:gd name="T22" fmla="*/ 137 w 357"/>
              <a:gd name="T23" fmla="*/ 4 h 356"/>
              <a:gd name="T24" fmla="*/ 177 w 357"/>
              <a:gd name="T25" fmla="*/ 12 h 356"/>
              <a:gd name="T26" fmla="*/ 212 w 357"/>
              <a:gd name="T27" fmla="*/ 36 h 356"/>
              <a:gd name="T28" fmla="*/ 254 w 357"/>
              <a:gd name="T29" fmla="*/ 32 h 356"/>
              <a:gd name="T30" fmla="*/ 294 w 357"/>
              <a:gd name="T31" fmla="*/ 42 h 356"/>
              <a:gd name="T32" fmla="*/ 319 w 357"/>
              <a:gd name="T33" fmla="*/ 76 h 356"/>
              <a:gd name="T34" fmla="*/ 331 w 357"/>
              <a:gd name="T35" fmla="*/ 123 h 356"/>
              <a:gd name="T36" fmla="*/ 341 w 357"/>
              <a:gd name="T37" fmla="*/ 152 h 356"/>
              <a:gd name="T38" fmla="*/ 341 w 357"/>
              <a:gd name="T39" fmla="*/ 203 h 356"/>
              <a:gd name="T40" fmla="*/ 333 w 357"/>
              <a:gd name="T41" fmla="*/ 252 h 356"/>
              <a:gd name="T42" fmla="*/ 316 w 357"/>
              <a:gd name="T43" fmla="*/ 291 h 356"/>
              <a:gd name="T44" fmla="*/ 277 w 357"/>
              <a:gd name="T45" fmla="*/ 310 h 356"/>
              <a:gd name="T46" fmla="*/ 234 w 357"/>
              <a:gd name="T47" fmla="*/ 313 h 356"/>
              <a:gd name="T48" fmla="*/ 203 w 357"/>
              <a:gd name="T49" fmla="*/ 341 h 356"/>
              <a:gd name="T50" fmla="*/ 146 w 357"/>
              <a:gd name="T51" fmla="*/ 315 h 356"/>
              <a:gd name="T52" fmla="*/ 176 w 357"/>
              <a:gd name="T53" fmla="*/ 341 h 356"/>
              <a:gd name="T54" fmla="*/ 219 w 357"/>
              <a:gd name="T55" fmla="*/ 346 h 356"/>
              <a:gd name="T56" fmla="*/ 256 w 357"/>
              <a:gd name="T57" fmla="*/ 322 h 356"/>
              <a:gd name="T58" fmla="*/ 270 w 357"/>
              <a:gd name="T59" fmla="*/ 282 h 356"/>
              <a:gd name="T60" fmla="*/ 313 w 357"/>
              <a:gd name="T61" fmla="*/ 287 h 356"/>
              <a:gd name="T62" fmla="*/ 327 w 357"/>
              <a:gd name="T63" fmla="*/ 246 h 356"/>
              <a:gd name="T64" fmla="*/ 316 w 357"/>
              <a:gd name="T65" fmla="*/ 208 h 356"/>
              <a:gd name="T66" fmla="*/ 342 w 357"/>
              <a:gd name="T67" fmla="*/ 178 h 356"/>
              <a:gd name="T68" fmla="*/ 346 w 357"/>
              <a:gd name="T69" fmla="*/ 135 h 356"/>
              <a:gd name="T70" fmla="*/ 307 w 357"/>
              <a:gd name="T71" fmla="*/ 120 h 356"/>
              <a:gd name="T72" fmla="*/ 312 w 357"/>
              <a:gd name="T73" fmla="*/ 83 h 356"/>
              <a:gd name="T74" fmla="*/ 291 w 357"/>
              <a:gd name="T75" fmla="*/ 46 h 356"/>
              <a:gd name="T76" fmla="*/ 251 w 357"/>
              <a:gd name="T77" fmla="*/ 57 h 356"/>
              <a:gd name="T78" fmla="*/ 239 w 357"/>
              <a:gd name="T79" fmla="*/ 16 h 356"/>
              <a:gd name="T80" fmla="*/ 193 w 357"/>
              <a:gd name="T81" fmla="*/ 5 h 356"/>
              <a:gd name="T82" fmla="*/ 165 w 357"/>
              <a:gd name="T83" fmla="*/ 37 h 356"/>
              <a:gd name="T84" fmla="*/ 132 w 357"/>
              <a:gd name="T85" fmla="*/ 20 h 356"/>
              <a:gd name="T86" fmla="*/ 90 w 357"/>
              <a:gd name="T87" fmla="*/ 29 h 356"/>
              <a:gd name="T88" fmla="*/ 86 w 357"/>
              <a:gd name="T89" fmla="*/ 72 h 356"/>
              <a:gd name="T90" fmla="*/ 44 w 357"/>
              <a:gd name="T91" fmla="*/ 69 h 356"/>
              <a:gd name="T92" fmla="*/ 41 w 357"/>
              <a:gd name="T93" fmla="*/ 111 h 356"/>
              <a:gd name="T94" fmla="*/ 22 w 357"/>
              <a:gd name="T95" fmla="*/ 128 h 356"/>
              <a:gd name="T96" fmla="*/ 6 w 357"/>
              <a:gd name="T97" fmla="*/ 169 h 356"/>
              <a:gd name="T98" fmla="*/ 11 w 357"/>
              <a:gd name="T99" fmla="*/ 221 h 356"/>
              <a:gd name="T100" fmla="*/ 48 w 357"/>
              <a:gd name="T101" fmla="*/ 232 h 356"/>
              <a:gd name="T102" fmla="*/ 38 w 357"/>
              <a:gd name="T103" fmla="*/ 276 h 356"/>
              <a:gd name="T104" fmla="*/ 67 w 357"/>
              <a:gd name="T105" fmla="*/ 310 h 356"/>
              <a:gd name="T106" fmla="*/ 106 w 357"/>
              <a:gd name="T107" fmla="*/ 298 h 356"/>
              <a:gd name="T108" fmla="*/ 126 w 357"/>
              <a:gd name="T109" fmla="*/ 333 h 356"/>
              <a:gd name="T110" fmla="*/ 88 w 357"/>
              <a:gd name="T111" fmla="*/ 104 h 356"/>
              <a:gd name="T112" fmla="*/ 178 w 357"/>
              <a:gd name="T113" fmla="*/ 294 h 356"/>
              <a:gd name="T114" fmla="*/ 265 w 357"/>
              <a:gd name="T115" fmla="*/ 24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169" y="356"/>
                </a:moveTo>
                <a:cubicBezTo>
                  <a:pt x="168" y="356"/>
                  <a:pt x="167" y="356"/>
                  <a:pt x="166" y="355"/>
                </a:cubicBezTo>
                <a:cubicBezTo>
                  <a:pt x="165" y="355"/>
                  <a:pt x="165" y="355"/>
                  <a:pt x="165" y="355"/>
                </a:cubicBezTo>
                <a:cubicBezTo>
                  <a:pt x="159" y="355"/>
                  <a:pt x="153" y="354"/>
                  <a:pt x="152" y="341"/>
                </a:cubicBezTo>
                <a:cubicBezTo>
                  <a:pt x="151" y="332"/>
                  <a:pt x="148" y="323"/>
                  <a:pt x="145" y="320"/>
                </a:cubicBezTo>
                <a:cubicBezTo>
                  <a:pt x="141" y="322"/>
                  <a:pt x="135" y="328"/>
                  <a:pt x="131" y="335"/>
                </a:cubicBezTo>
                <a:cubicBezTo>
                  <a:pt x="127" y="342"/>
                  <a:pt x="123" y="345"/>
                  <a:pt x="119" y="345"/>
                </a:cubicBezTo>
                <a:cubicBezTo>
                  <a:pt x="117" y="345"/>
                  <a:pt x="114" y="344"/>
                  <a:pt x="113" y="343"/>
                </a:cubicBezTo>
                <a:cubicBezTo>
                  <a:pt x="111" y="343"/>
                  <a:pt x="111" y="343"/>
                  <a:pt x="111" y="343"/>
                </a:cubicBezTo>
                <a:cubicBezTo>
                  <a:pt x="106" y="341"/>
                  <a:pt x="100" y="338"/>
                  <a:pt x="103" y="325"/>
                </a:cubicBezTo>
                <a:cubicBezTo>
                  <a:pt x="105" y="316"/>
                  <a:pt x="105" y="307"/>
                  <a:pt x="103" y="303"/>
                </a:cubicBezTo>
                <a:cubicBezTo>
                  <a:pt x="98" y="303"/>
                  <a:pt x="91" y="308"/>
                  <a:pt x="85" y="313"/>
                </a:cubicBezTo>
                <a:cubicBezTo>
                  <a:pt x="81" y="317"/>
                  <a:pt x="77" y="319"/>
                  <a:pt x="73" y="319"/>
                </a:cubicBezTo>
                <a:cubicBezTo>
                  <a:pt x="70" y="319"/>
                  <a:pt x="67" y="317"/>
                  <a:pt x="65" y="315"/>
                </a:cubicBezTo>
                <a:cubicBezTo>
                  <a:pt x="64" y="314"/>
                  <a:pt x="64" y="314"/>
                  <a:pt x="64" y="314"/>
                </a:cubicBezTo>
                <a:cubicBezTo>
                  <a:pt x="59" y="311"/>
                  <a:pt x="55" y="306"/>
                  <a:pt x="62" y="295"/>
                </a:cubicBezTo>
                <a:cubicBezTo>
                  <a:pt x="66" y="287"/>
                  <a:pt x="69" y="278"/>
                  <a:pt x="68" y="273"/>
                </a:cubicBezTo>
                <a:cubicBezTo>
                  <a:pt x="64" y="273"/>
                  <a:pt x="55" y="275"/>
                  <a:pt x="48" y="278"/>
                </a:cubicBezTo>
                <a:cubicBezTo>
                  <a:pt x="44" y="280"/>
                  <a:pt x="41" y="281"/>
                  <a:pt x="38" y="281"/>
                </a:cubicBezTo>
                <a:cubicBezTo>
                  <a:pt x="33" y="281"/>
                  <a:pt x="30" y="277"/>
                  <a:pt x="29" y="274"/>
                </a:cubicBezTo>
                <a:cubicBezTo>
                  <a:pt x="28" y="273"/>
                  <a:pt x="28" y="273"/>
                  <a:pt x="28" y="273"/>
                </a:cubicBezTo>
                <a:cubicBezTo>
                  <a:pt x="24" y="268"/>
                  <a:pt x="22" y="262"/>
                  <a:pt x="32" y="254"/>
                </a:cubicBezTo>
                <a:cubicBezTo>
                  <a:pt x="38" y="248"/>
                  <a:pt x="44" y="240"/>
                  <a:pt x="44" y="235"/>
                </a:cubicBezTo>
                <a:cubicBezTo>
                  <a:pt x="41" y="234"/>
                  <a:pt x="36" y="233"/>
                  <a:pt x="30" y="233"/>
                </a:cubicBezTo>
                <a:cubicBezTo>
                  <a:pt x="28" y="233"/>
                  <a:pt x="25" y="233"/>
                  <a:pt x="23" y="233"/>
                </a:cubicBezTo>
                <a:cubicBezTo>
                  <a:pt x="22" y="233"/>
                  <a:pt x="20" y="234"/>
                  <a:pt x="19" y="234"/>
                </a:cubicBezTo>
                <a:cubicBezTo>
                  <a:pt x="9" y="234"/>
                  <a:pt x="7" y="227"/>
                  <a:pt x="6" y="223"/>
                </a:cubicBezTo>
                <a:cubicBezTo>
                  <a:pt x="6" y="222"/>
                  <a:pt x="6" y="222"/>
                  <a:pt x="6" y="222"/>
                </a:cubicBezTo>
                <a:cubicBezTo>
                  <a:pt x="4" y="216"/>
                  <a:pt x="3" y="210"/>
                  <a:pt x="16" y="205"/>
                </a:cubicBezTo>
                <a:cubicBezTo>
                  <a:pt x="24" y="201"/>
                  <a:pt x="31" y="195"/>
                  <a:pt x="33" y="191"/>
                </a:cubicBezTo>
                <a:cubicBezTo>
                  <a:pt x="30" y="188"/>
                  <a:pt x="22" y="185"/>
                  <a:pt x="14" y="183"/>
                </a:cubicBezTo>
                <a:cubicBezTo>
                  <a:pt x="1" y="181"/>
                  <a:pt x="0" y="175"/>
                  <a:pt x="0" y="169"/>
                </a:cubicBezTo>
                <a:cubicBezTo>
                  <a:pt x="1" y="167"/>
                  <a:pt x="1" y="167"/>
                  <a:pt x="1" y="167"/>
                </a:cubicBezTo>
                <a:cubicBezTo>
                  <a:pt x="1" y="161"/>
                  <a:pt x="2" y="155"/>
                  <a:pt x="15" y="154"/>
                </a:cubicBezTo>
                <a:cubicBezTo>
                  <a:pt x="24" y="153"/>
                  <a:pt x="33" y="150"/>
                  <a:pt x="36" y="146"/>
                </a:cubicBezTo>
                <a:cubicBezTo>
                  <a:pt x="34" y="142"/>
                  <a:pt x="27" y="136"/>
                  <a:pt x="20" y="132"/>
                </a:cubicBezTo>
                <a:cubicBezTo>
                  <a:pt x="8" y="126"/>
                  <a:pt x="10" y="120"/>
                  <a:pt x="12" y="115"/>
                </a:cubicBezTo>
                <a:cubicBezTo>
                  <a:pt x="12" y="113"/>
                  <a:pt x="12" y="113"/>
                  <a:pt x="12" y="113"/>
                </a:cubicBezTo>
                <a:cubicBezTo>
                  <a:pt x="14" y="110"/>
                  <a:pt x="15" y="104"/>
                  <a:pt x="24" y="104"/>
                </a:cubicBezTo>
                <a:cubicBezTo>
                  <a:pt x="26" y="104"/>
                  <a:pt x="28" y="105"/>
                  <a:pt x="30" y="105"/>
                </a:cubicBezTo>
                <a:cubicBezTo>
                  <a:pt x="33" y="106"/>
                  <a:pt x="37" y="106"/>
                  <a:pt x="41" y="106"/>
                </a:cubicBezTo>
                <a:cubicBezTo>
                  <a:pt x="47" y="106"/>
                  <a:pt x="50" y="105"/>
                  <a:pt x="52" y="104"/>
                </a:cubicBezTo>
                <a:cubicBezTo>
                  <a:pt x="51" y="100"/>
                  <a:pt x="47" y="92"/>
                  <a:pt x="41" y="86"/>
                </a:cubicBezTo>
                <a:cubicBezTo>
                  <a:pt x="32" y="77"/>
                  <a:pt x="35" y="71"/>
                  <a:pt x="39" y="67"/>
                </a:cubicBezTo>
                <a:cubicBezTo>
                  <a:pt x="40" y="66"/>
                  <a:pt x="40" y="66"/>
                  <a:pt x="40" y="66"/>
                </a:cubicBezTo>
                <a:cubicBezTo>
                  <a:pt x="42" y="63"/>
                  <a:pt x="44" y="60"/>
                  <a:pt x="49" y="60"/>
                </a:cubicBezTo>
                <a:cubicBezTo>
                  <a:pt x="52" y="60"/>
                  <a:pt x="55" y="61"/>
                  <a:pt x="59" y="63"/>
                </a:cubicBezTo>
                <a:cubicBezTo>
                  <a:pt x="66" y="67"/>
                  <a:pt x="74" y="69"/>
                  <a:pt x="79" y="69"/>
                </a:cubicBezTo>
                <a:cubicBezTo>
                  <a:pt x="81" y="69"/>
                  <a:pt x="82" y="69"/>
                  <a:pt x="82" y="69"/>
                </a:cubicBezTo>
                <a:cubicBezTo>
                  <a:pt x="83" y="68"/>
                  <a:pt x="83" y="68"/>
                  <a:pt x="83" y="68"/>
                </a:cubicBezTo>
                <a:cubicBezTo>
                  <a:pt x="83" y="68"/>
                  <a:pt x="83" y="68"/>
                  <a:pt x="83" y="68"/>
                </a:cubicBezTo>
                <a:cubicBezTo>
                  <a:pt x="83" y="68"/>
                  <a:pt x="83" y="68"/>
                  <a:pt x="83" y="68"/>
                </a:cubicBezTo>
                <a:cubicBezTo>
                  <a:pt x="86" y="66"/>
                  <a:pt x="85" y="55"/>
                  <a:pt x="81" y="44"/>
                </a:cubicBezTo>
                <a:cubicBezTo>
                  <a:pt x="76" y="32"/>
                  <a:pt x="81" y="28"/>
                  <a:pt x="86" y="25"/>
                </a:cubicBezTo>
                <a:cubicBezTo>
                  <a:pt x="87" y="25"/>
                  <a:pt x="87" y="25"/>
                  <a:pt x="87" y="25"/>
                </a:cubicBezTo>
                <a:cubicBezTo>
                  <a:pt x="89" y="23"/>
                  <a:pt x="92" y="22"/>
                  <a:pt x="95" y="22"/>
                </a:cubicBezTo>
                <a:cubicBezTo>
                  <a:pt x="99" y="22"/>
                  <a:pt x="102" y="25"/>
                  <a:pt x="106" y="30"/>
                </a:cubicBezTo>
                <a:cubicBezTo>
                  <a:pt x="111" y="36"/>
                  <a:pt x="118" y="41"/>
                  <a:pt x="123" y="43"/>
                </a:cubicBezTo>
                <a:cubicBezTo>
                  <a:pt x="125" y="39"/>
                  <a:pt x="127" y="30"/>
                  <a:pt x="127" y="21"/>
                </a:cubicBezTo>
                <a:cubicBezTo>
                  <a:pt x="125" y="8"/>
                  <a:pt x="131" y="6"/>
                  <a:pt x="137" y="4"/>
                </a:cubicBezTo>
                <a:cubicBezTo>
                  <a:pt x="138" y="4"/>
                  <a:pt x="138" y="4"/>
                  <a:pt x="138" y="4"/>
                </a:cubicBezTo>
                <a:cubicBezTo>
                  <a:pt x="140" y="4"/>
                  <a:pt x="141" y="3"/>
                  <a:pt x="143" y="3"/>
                </a:cubicBezTo>
                <a:cubicBezTo>
                  <a:pt x="149" y="3"/>
                  <a:pt x="152" y="7"/>
                  <a:pt x="155" y="15"/>
                </a:cubicBezTo>
                <a:cubicBezTo>
                  <a:pt x="158" y="22"/>
                  <a:pt x="163" y="29"/>
                  <a:pt x="167" y="32"/>
                </a:cubicBezTo>
                <a:cubicBezTo>
                  <a:pt x="170" y="30"/>
                  <a:pt x="175" y="21"/>
                  <a:pt x="177" y="12"/>
                </a:cubicBezTo>
                <a:cubicBezTo>
                  <a:pt x="179" y="4"/>
                  <a:pt x="183" y="0"/>
                  <a:pt x="189" y="0"/>
                </a:cubicBezTo>
                <a:cubicBezTo>
                  <a:pt x="190" y="0"/>
                  <a:pt x="191" y="0"/>
                  <a:pt x="192" y="0"/>
                </a:cubicBezTo>
                <a:cubicBezTo>
                  <a:pt x="193" y="0"/>
                  <a:pt x="193" y="0"/>
                  <a:pt x="193" y="0"/>
                </a:cubicBezTo>
                <a:cubicBezTo>
                  <a:pt x="200" y="1"/>
                  <a:pt x="206" y="2"/>
                  <a:pt x="206" y="15"/>
                </a:cubicBezTo>
                <a:cubicBezTo>
                  <a:pt x="207" y="23"/>
                  <a:pt x="209" y="32"/>
                  <a:pt x="212" y="36"/>
                </a:cubicBezTo>
                <a:cubicBezTo>
                  <a:pt x="216" y="34"/>
                  <a:pt x="223" y="27"/>
                  <a:pt x="228" y="20"/>
                </a:cubicBezTo>
                <a:cubicBezTo>
                  <a:pt x="231" y="14"/>
                  <a:pt x="235" y="11"/>
                  <a:pt x="239" y="11"/>
                </a:cubicBezTo>
                <a:cubicBezTo>
                  <a:pt x="242" y="11"/>
                  <a:pt x="244" y="12"/>
                  <a:pt x="246" y="13"/>
                </a:cubicBezTo>
                <a:cubicBezTo>
                  <a:pt x="247" y="13"/>
                  <a:pt x="247" y="13"/>
                  <a:pt x="247" y="13"/>
                </a:cubicBezTo>
                <a:cubicBezTo>
                  <a:pt x="253" y="16"/>
                  <a:pt x="258" y="19"/>
                  <a:pt x="254" y="32"/>
                </a:cubicBezTo>
                <a:cubicBezTo>
                  <a:pt x="252" y="39"/>
                  <a:pt x="252" y="48"/>
                  <a:pt x="253" y="53"/>
                </a:cubicBezTo>
                <a:cubicBezTo>
                  <a:pt x="258" y="53"/>
                  <a:pt x="267" y="48"/>
                  <a:pt x="274" y="43"/>
                </a:cubicBezTo>
                <a:cubicBezTo>
                  <a:pt x="278" y="39"/>
                  <a:pt x="281" y="37"/>
                  <a:pt x="285" y="37"/>
                </a:cubicBezTo>
                <a:cubicBezTo>
                  <a:pt x="288" y="37"/>
                  <a:pt x="291" y="39"/>
                  <a:pt x="293" y="41"/>
                </a:cubicBezTo>
                <a:cubicBezTo>
                  <a:pt x="294" y="42"/>
                  <a:pt x="294" y="42"/>
                  <a:pt x="294" y="42"/>
                </a:cubicBezTo>
                <a:cubicBezTo>
                  <a:pt x="299" y="46"/>
                  <a:pt x="303" y="51"/>
                  <a:pt x="295" y="62"/>
                </a:cubicBezTo>
                <a:cubicBezTo>
                  <a:pt x="291" y="69"/>
                  <a:pt x="288" y="77"/>
                  <a:pt x="288" y="82"/>
                </a:cubicBezTo>
                <a:cubicBezTo>
                  <a:pt x="289" y="82"/>
                  <a:pt x="290" y="82"/>
                  <a:pt x="292" y="82"/>
                </a:cubicBezTo>
                <a:cubicBezTo>
                  <a:pt x="297" y="82"/>
                  <a:pt x="304" y="81"/>
                  <a:pt x="310" y="78"/>
                </a:cubicBezTo>
                <a:cubicBezTo>
                  <a:pt x="314" y="77"/>
                  <a:pt x="317" y="76"/>
                  <a:pt x="319" y="76"/>
                </a:cubicBezTo>
                <a:cubicBezTo>
                  <a:pt x="325" y="76"/>
                  <a:pt x="328" y="80"/>
                  <a:pt x="329" y="83"/>
                </a:cubicBezTo>
                <a:cubicBezTo>
                  <a:pt x="330" y="84"/>
                  <a:pt x="330" y="84"/>
                  <a:pt x="330" y="84"/>
                </a:cubicBezTo>
                <a:cubicBezTo>
                  <a:pt x="333" y="89"/>
                  <a:pt x="336" y="95"/>
                  <a:pt x="325" y="103"/>
                </a:cubicBezTo>
                <a:cubicBezTo>
                  <a:pt x="319" y="108"/>
                  <a:pt x="314" y="115"/>
                  <a:pt x="312" y="120"/>
                </a:cubicBezTo>
                <a:cubicBezTo>
                  <a:pt x="315" y="122"/>
                  <a:pt x="323" y="123"/>
                  <a:pt x="331" y="123"/>
                </a:cubicBezTo>
                <a:cubicBezTo>
                  <a:pt x="332" y="123"/>
                  <a:pt x="333" y="123"/>
                  <a:pt x="334" y="123"/>
                </a:cubicBezTo>
                <a:cubicBezTo>
                  <a:pt x="336" y="123"/>
                  <a:pt x="337" y="123"/>
                  <a:pt x="338" y="123"/>
                </a:cubicBezTo>
                <a:cubicBezTo>
                  <a:pt x="349" y="123"/>
                  <a:pt x="350" y="129"/>
                  <a:pt x="351" y="133"/>
                </a:cubicBezTo>
                <a:cubicBezTo>
                  <a:pt x="351" y="135"/>
                  <a:pt x="351" y="135"/>
                  <a:pt x="351" y="135"/>
                </a:cubicBezTo>
                <a:cubicBezTo>
                  <a:pt x="353" y="141"/>
                  <a:pt x="353" y="147"/>
                  <a:pt x="341" y="152"/>
                </a:cubicBezTo>
                <a:cubicBezTo>
                  <a:pt x="334" y="155"/>
                  <a:pt x="326" y="160"/>
                  <a:pt x="324" y="164"/>
                </a:cubicBezTo>
                <a:cubicBezTo>
                  <a:pt x="326" y="167"/>
                  <a:pt x="335" y="172"/>
                  <a:pt x="344" y="174"/>
                </a:cubicBezTo>
                <a:cubicBezTo>
                  <a:pt x="356" y="176"/>
                  <a:pt x="357" y="182"/>
                  <a:pt x="356" y="188"/>
                </a:cubicBezTo>
                <a:cubicBezTo>
                  <a:pt x="356" y="190"/>
                  <a:pt x="356" y="190"/>
                  <a:pt x="356" y="190"/>
                </a:cubicBezTo>
                <a:cubicBezTo>
                  <a:pt x="356" y="196"/>
                  <a:pt x="354" y="202"/>
                  <a:pt x="341" y="203"/>
                </a:cubicBezTo>
                <a:cubicBezTo>
                  <a:pt x="333" y="203"/>
                  <a:pt x="325" y="206"/>
                  <a:pt x="321" y="209"/>
                </a:cubicBezTo>
                <a:cubicBezTo>
                  <a:pt x="322" y="213"/>
                  <a:pt x="329" y="220"/>
                  <a:pt x="337" y="224"/>
                </a:cubicBezTo>
                <a:cubicBezTo>
                  <a:pt x="348" y="231"/>
                  <a:pt x="347" y="237"/>
                  <a:pt x="344" y="242"/>
                </a:cubicBezTo>
                <a:cubicBezTo>
                  <a:pt x="344" y="244"/>
                  <a:pt x="344" y="244"/>
                  <a:pt x="344" y="244"/>
                </a:cubicBezTo>
                <a:cubicBezTo>
                  <a:pt x="343" y="247"/>
                  <a:pt x="341" y="252"/>
                  <a:pt x="333" y="252"/>
                </a:cubicBezTo>
                <a:cubicBezTo>
                  <a:pt x="331" y="252"/>
                  <a:pt x="328" y="252"/>
                  <a:pt x="326" y="251"/>
                </a:cubicBezTo>
                <a:cubicBezTo>
                  <a:pt x="318" y="250"/>
                  <a:pt x="309" y="249"/>
                  <a:pt x="305" y="251"/>
                </a:cubicBezTo>
                <a:cubicBezTo>
                  <a:pt x="305" y="255"/>
                  <a:pt x="309" y="264"/>
                  <a:pt x="315" y="271"/>
                </a:cubicBezTo>
                <a:cubicBezTo>
                  <a:pt x="324" y="280"/>
                  <a:pt x="321" y="285"/>
                  <a:pt x="317" y="290"/>
                </a:cubicBezTo>
                <a:cubicBezTo>
                  <a:pt x="316" y="291"/>
                  <a:pt x="316" y="291"/>
                  <a:pt x="316" y="291"/>
                </a:cubicBezTo>
                <a:cubicBezTo>
                  <a:pt x="314" y="293"/>
                  <a:pt x="311" y="297"/>
                  <a:pt x="307" y="297"/>
                </a:cubicBezTo>
                <a:cubicBezTo>
                  <a:pt x="304" y="297"/>
                  <a:pt x="300" y="295"/>
                  <a:pt x="296" y="293"/>
                </a:cubicBezTo>
                <a:cubicBezTo>
                  <a:pt x="289" y="289"/>
                  <a:pt x="281" y="286"/>
                  <a:pt x="276" y="286"/>
                </a:cubicBezTo>
                <a:cubicBezTo>
                  <a:pt x="274" y="286"/>
                  <a:pt x="274" y="286"/>
                  <a:pt x="273" y="286"/>
                </a:cubicBezTo>
                <a:cubicBezTo>
                  <a:pt x="271" y="288"/>
                  <a:pt x="272" y="299"/>
                  <a:pt x="277" y="310"/>
                </a:cubicBezTo>
                <a:cubicBezTo>
                  <a:pt x="282" y="322"/>
                  <a:pt x="277" y="326"/>
                  <a:pt x="272" y="329"/>
                </a:cubicBezTo>
                <a:cubicBezTo>
                  <a:pt x="271" y="330"/>
                  <a:pt x="271" y="330"/>
                  <a:pt x="271" y="330"/>
                </a:cubicBezTo>
                <a:cubicBezTo>
                  <a:pt x="269" y="331"/>
                  <a:pt x="267" y="333"/>
                  <a:pt x="264" y="333"/>
                </a:cubicBezTo>
                <a:cubicBezTo>
                  <a:pt x="260" y="333"/>
                  <a:pt x="256" y="331"/>
                  <a:pt x="252" y="326"/>
                </a:cubicBezTo>
                <a:cubicBezTo>
                  <a:pt x="246" y="319"/>
                  <a:pt x="238" y="313"/>
                  <a:pt x="234" y="313"/>
                </a:cubicBezTo>
                <a:cubicBezTo>
                  <a:pt x="232" y="317"/>
                  <a:pt x="231" y="326"/>
                  <a:pt x="231" y="334"/>
                </a:cubicBezTo>
                <a:cubicBezTo>
                  <a:pt x="233" y="347"/>
                  <a:pt x="227" y="349"/>
                  <a:pt x="221" y="351"/>
                </a:cubicBezTo>
                <a:cubicBezTo>
                  <a:pt x="220" y="351"/>
                  <a:pt x="220" y="351"/>
                  <a:pt x="220" y="351"/>
                </a:cubicBezTo>
                <a:cubicBezTo>
                  <a:pt x="219" y="351"/>
                  <a:pt x="217" y="352"/>
                  <a:pt x="215" y="352"/>
                </a:cubicBezTo>
                <a:cubicBezTo>
                  <a:pt x="210" y="352"/>
                  <a:pt x="206" y="348"/>
                  <a:pt x="203" y="341"/>
                </a:cubicBezTo>
                <a:cubicBezTo>
                  <a:pt x="200" y="333"/>
                  <a:pt x="194" y="325"/>
                  <a:pt x="190" y="323"/>
                </a:cubicBezTo>
                <a:cubicBezTo>
                  <a:pt x="186" y="327"/>
                  <a:pt x="183" y="335"/>
                  <a:pt x="181" y="342"/>
                </a:cubicBezTo>
                <a:cubicBezTo>
                  <a:pt x="179" y="351"/>
                  <a:pt x="176" y="356"/>
                  <a:pt x="169" y="356"/>
                </a:cubicBezTo>
                <a:close/>
                <a:moveTo>
                  <a:pt x="145" y="314"/>
                </a:moveTo>
                <a:cubicBezTo>
                  <a:pt x="146" y="314"/>
                  <a:pt x="146" y="314"/>
                  <a:pt x="146" y="315"/>
                </a:cubicBezTo>
                <a:cubicBezTo>
                  <a:pt x="152" y="318"/>
                  <a:pt x="156" y="330"/>
                  <a:pt x="157" y="340"/>
                </a:cubicBezTo>
                <a:cubicBezTo>
                  <a:pt x="158" y="350"/>
                  <a:pt x="161" y="350"/>
                  <a:pt x="165" y="350"/>
                </a:cubicBezTo>
                <a:cubicBezTo>
                  <a:pt x="167" y="350"/>
                  <a:pt x="167" y="350"/>
                  <a:pt x="167" y="350"/>
                </a:cubicBezTo>
                <a:cubicBezTo>
                  <a:pt x="168" y="350"/>
                  <a:pt x="168" y="351"/>
                  <a:pt x="169" y="351"/>
                </a:cubicBezTo>
                <a:cubicBezTo>
                  <a:pt x="171" y="351"/>
                  <a:pt x="175" y="351"/>
                  <a:pt x="176" y="341"/>
                </a:cubicBezTo>
                <a:cubicBezTo>
                  <a:pt x="178" y="333"/>
                  <a:pt x="182" y="322"/>
                  <a:pt x="188" y="318"/>
                </a:cubicBezTo>
                <a:cubicBezTo>
                  <a:pt x="188" y="318"/>
                  <a:pt x="189" y="318"/>
                  <a:pt x="190" y="318"/>
                </a:cubicBezTo>
                <a:cubicBezTo>
                  <a:pt x="196" y="319"/>
                  <a:pt x="204" y="330"/>
                  <a:pt x="208" y="339"/>
                </a:cubicBezTo>
                <a:cubicBezTo>
                  <a:pt x="211" y="347"/>
                  <a:pt x="214" y="347"/>
                  <a:pt x="215" y="347"/>
                </a:cubicBezTo>
                <a:cubicBezTo>
                  <a:pt x="216" y="347"/>
                  <a:pt x="217" y="346"/>
                  <a:pt x="219" y="346"/>
                </a:cubicBezTo>
                <a:cubicBezTo>
                  <a:pt x="220" y="346"/>
                  <a:pt x="220" y="346"/>
                  <a:pt x="220" y="346"/>
                </a:cubicBezTo>
                <a:cubicBezTo>
                  <a:pt x="224" y="345"/>
                  <a:pt x="228" y="344"/>
                  <a:pt x="226" y="334"/>
                </a:cubicBezTo>
                <a:cubicBezTo>
                  <a:pt x="226" y="326"/>
                  <a:pt x="227" y="314"/>
                  <a:pt x="230" y="309"/>
                </a:cubicBezTo>
                <a:cubicBezTo>
                  <a:pt x="231" y="308"/>
                  <a:pt x="231" y="308"/>
                  <a:pt x="232" y="308"/>
                </a:cubicBezTo>
                <a:cubicBezTo>
                  <a:pt x="239" y="307"/>
                  <a:pt x="249" y="315"/>
                  <a:pt x="256" y="322"/>
                </a:cubicBezTo>
                <a:cubicBezTo>
                  <a:pt x="259" y="326"/>
                  <a:pt x="261" y="328"/>
                  <a:pt x="264" y="328"/>
                </a:cubicBezTo>
                <a:cubicBezTo>
                  <a:pt x="265" y="328"/>
                  <a:pt x="267" y="327"/>
                  <a:pt x="268" y="326"/>
                </a:cubicBezTo>
                <a:cubicBezTo>
                  <a:pt x="270" y="325"/>
                  <a:pt x="270" y="325"/>
                  <a:pt x="270" y="325"/>
                </a:cubicBezTo>
                <a:cubicBezTo>
                  <a:pt x="273" y="323"/>
                  <a:pt x="276" y="321"/>
                  <a:pt x="272" y="312"/>
                </a:cubicBezTo>
                <a:cubicBezTo>
                  <a:pt x="268" y="303"/>
                  <a:pt x="264" y="287"/>
                  <a:pt x="270" y="282"/>
                </a:cubicBezTo>
                <a:cubicBezTo>
                  <a:pt x="272" y="281"/>
                  <a:pt x="274" y="281"/>
                  <a:pt x="276" y="281"/>
                </a:cubicBezTo>
                <a:cubicBezTo>
                  <a:pt x="283" y="281"/>
                  <a:pt x="292" y="285"/>
                  <a:pt x="299" y="289"/>
                </a:cubicBezTo>
                <a:cubicBezTo>
                  <a:pt x="302" y="291"/>
                  <a:pt x="305" y="292"/>
                  <a:pt x="307" y="292"/>
                </a:cubicBezTo>
                <a:cubicBezTo>
                  <a:pt x="309" y="292"/>
                  <a:pt x="310" y="290"/>
                  <a:pt x="312" y="288"/>
                </a:cubicBezTo>
                <a:cubicBezTo>
                  <a:pt x="313" y="287"/>
                  <a:pt x="313" y="287"/>
                  <a:pt x="313" y="287"/>
                </a:cubicBezTo>
                <a:cubicBezTo>
                  <a:pt x="316" y="283"/>
                  <a:pt x="318" y="281"/>
                  <a:pt x="311" y="274"/>
                </a:cubicBezTo>
                <a:cubicBezTo>
                  <a:pt x="305" y="266"/>
                  <a:pt x="299" y="255"/>
                  <a:pt x="300" y="248"/>
                </a:cubicBezTo>
                <a:cubicBezTo>
                  <a:pt x="300" y="248"/>
                  <a:pt x="301" y="247"/>
                  <a:pt x="301" y="247"/>
                </a:cubicBezTo>
                <a:cubicBezTo>
                  <a:pt x="305" y="245"/>
                  <a:pt x="309" y="245"/>
                  <a:pt x="313" y="245"/>
                </a:cubicBezTo>
                <a:cubicBezTo>
                  <a:pt x="317" y="245"/>
                  <a:pt x="322" y="245"/>
                  <a:pt x="327" y="246"/>
                </a:cubicBezTo>
                <a:cubicBezTo>
                  <a:pt x="329" y="247"/>
                  <a:pt x="331" y="247"/>
                  <a:pt x="333" y="247"/>
                </a:cubicBezTo>
                <a:cubicBezTo>
                  <a:pt x="337" y="247"/>
                  <a:pt x="338" y="245"/>
                  <a:pt x="339" y="242"/>
                </a:cubicBezTo>
                <a:cubicBezTo>
                  <a:pt x="340" y="240"/>
                  <a:pt x="340" y="240"/>
                  <a:pt x="340" y="240"/>
                </a:cubicBezTo>
                <a:cubicBezTo>
                  <a:pt x="342" y="236"/>
                  <a:pt x="343" y="233"/>
                  <a:pt x="334" y="229"/>
                </a:cubicBezTo>
                <a:cubicBezTo>
                  <a:pt x="326" y="223"/>
                  <a:pt x="316" y="214"/>
                  <a:pt x="316" y="208"/>
                </a:cubicBezTo>
                <a:cubicBezTo>
                  <a:pt x="316" y="207"/>
                  <a:pt x="316" y="206"/>
                  <a:pt x="316" y="206"/>
                </a:cubicBezTo>
                <a:cubicBezTo>
                  <a:pt x="321" y="201"/>
                  <a:pt x="333" y="198"/>
                  <a:pt x="341" y="198"/>
                </a:cubicBezTo>
                <a:cubicBezTo>
                  <a:pt x="351" y="197"/>
                  <a:pt x="351" y="194"/>
                  <a:pt x="351" y="190"/>
                </a:cubicBezTo>
                <a:cubicBezTo>
                  <a:pt x="351" y="188"/>
                  <a:pt x="351" y="188"/>
                  <a:pt x="351" y="188"/>
                </a:cubicBezTo>
                <a:cubicBezTo>
                  <a:pt x="352" y="184"/>
                  <a:pt x="352" y="180"/>
                  <a:pt x="342" y="178"/>
                </a:cubicBezTo>
                <a:cubicBezTo>
                  <a:pt x="333" y="176"/>
                  <a:pt x="321" y="171"/>
                  <a:pt x="318" y="165"/>
                </a:cubicBezTo>
                <a:cubicBezTo>
                  <a:pt x="318" y="164"/>
                  <a:pt x="318" y="163"/>
                  <a:pt x="318" y="162"/>
                </a:cubicBezTo>
                <a:cubicBezTo>
                  <a:pt x="322" y="156"/>
                  <a:pt x="331" y="150"/>
                  <a:pt x="339" y="147"/>
                </a:cubicBezTo>
                <a:cubicBezTo>
                  <a:pt x="348" y="144"/>
                  <a:pt x="348" y="140"/>
                  <a:pt x="346" y="136"/>
                </a:cubicBezTo>
                <a:cubicBezTo>
                  <a:pt x="346" y="135"/>
                  <a:pt x="346" y="135"/>
                  <a:pt x="346" y="135"/>
                </a:cubicBezTo>
                <a:cubicBezTo>
                  <a:pt x="345" y="131"/>
                  <a:pt x="345" y="128"/>
                  <a:pt x="338" y="128"/>
                </a:cubicBezTo>
                <a:cubicBezTo>
                  <a:pt x="337" y="128"/>
                  <a:pt x="336" y="128"/>
                  <a:pt x="335" y="128"/>
                </a:cubicBezTo>
                <a:cubicBezTo>
                  <a:pt x="333" y="128"/>
                  <a:pt x="332" y="128"/>
                  <a:pt x="331" y="128"/>
                </a:cubicBezTo>
                <a:cubicBezTo>
                  <a:pt x="322" y="128"/>
                  <a:pt x="312" y="127"/>
                  <a:pt x="308" y="122"/>
                </a:cubicBezTo>
                <a:cubicBezTo>
                  <a:pt x="307" y="122"/>
                  <a:pt x="307" y="121"/>
                  <a:pt x="307" y="120"/>
                </a:cubicBezTo>
                <a:cubicBezTo>
                  <a:pt x="308" y="114"/>
                  <a:pt x="316" y="105"/>
                  <a:pt x="322" y="99"/>
                </a:cubicBezTo>
                <a:cubicBezTo>
                  <a:pt x="330" y="93"/>
                  <a:pt x="328" y="90"/>
                  <a:pt x="326" y="87"/>
                </a:cubicBezTo>
                <a:cubicBezTo>
                  <a:pt x="325" y="85"/>
                  <a:pt x="325" y="85"/>
                  <a:pt x="325" y="85"/>
                </a:cubicBezTo>
                <a:cubicBezTo>
                  <a:pt x="323" y="82"/>
                  <a:pt x="322" y="81"/>
                  <a:pt x="319" y="81"/>
                </a:cubicBezTo>
                <a:cubicBezTo>
                  <a:pt x="317" y="81"/>
                  <a:pt x="315" y="82"/>
                  <a:pt x="312" y="83"/>
                </a:cubicBezTo>
                <a:cubicBezTo>
                  <a:pt x="306" y="85"/>
                  <a:pt x="298" y="87"/>
                  <a:pt x="292" y="87"/>
                </a:cubicBezTo>
                <a:cubicBezTo>
                  <a:pt x="289" y="87"/>
                  <a:pt x="286" y="87"/>
                  <a:pt x="284" y="85"/>
                </a:cubicBezTo>
                <a:cubicBezTo>
                  <a:pt x="284" y="85"/>
                  <a:pt x="283" y="84"/>
                  <a:pt x="283" y="84"/>
                </a:cubicBezTo>
                <a:cubicBezTo>
                  <a:pt x="282" y="77"/>
                  <a:pt x="287" y="66"/>
                  <a:pt x="291" y="59"/>
                </a:cubicBezTo>
                <a:cubicBezTo>
                  <a:pt x="297" y="51"/>
                  <a:pt x="294" y="49"/>
                  <a:pt x="291" y="46"/>
                </a:cubicBezTo>
                <a:cubicBezTo>
                  <a:pt x="290" y="45"/>
                  <a:pt x="290" y="45"/>
                  <a:pt x="290" y="45"/>
                </a:cubicBezTo>
                <a:cubicBezTo>
                  <a:pt x="288" y="43"/>
                  <a:pt x="287" y="42"/>
                  <a:pt x="285" y="42"/>
                </a:cubicBezTo>
                <a:cubicBezTo>
                  <a:pt x="283" y="42"/>
                  <a:pt x="280" y="44"/>
                  <a:pt x="277" y="46"/>
                </a:cubicBezTo>
                <a:cubicBezTo>
                  <a:pt x="270" y="52"/>
                  <a:pt x="260" y="58"/>
                  <a:pt x="253" y="58"/>
                </a:cubicBezTo>
                <a:cubicBezTo>
                  <a:pt x="253" y="58"/>
                  <a:pt x="252" y="58"/>
                  <a:pt x="251" y="57"/>
                </a:cubicBezTo>
                <a:cubicBezTo>
                  <a:pt x="250" y="57"/>
                  <a:pt x="250" y="57"/>
                  <a:pt x="249" y="56"/>
                </a:cubicBezTo>
                <a:cubicBezTo>
                  <a:pt x="247" y="50"/>
                  <a:pt x="247" y="38"/>
                  <a:pt x="250" y="30"/>
                </a:cubicBezTo>
                <a:cubicBezTo>
                  <a:pt x="252" y="21"/>
                  <a:pt x="249" y="20"/>
                  <a:pt x="245" y="18"/>
                </a:cubicBezTo>
                <a:cubicBezTo>
                  <a:pt x="244" y="17"/>
                  <a:pt x="244" y="17"/>
                  <a:pt x="244" y="17"/>
                </a:cubicBezTo>
                <a:cubicBezTo>
                  <a:pt x="242" y="17"/>
                  <a:pt x="241" y="16"/>
                  <a:pt x="239" y="16"/>
                </a:cubicBezTo>
                <a:cubicBezTo>
                  <a:pt x="238" y="16"/>
                  <a:pt x="236" y="16"/>
                  <a:pt x="232" y="23"/>
                </a:cubicBezTo>
                <a:cubicBezTo>
                  <a:pt x="226" y="31"/>
                  <a:pt x="217" y="40"/>
                  <a:pt x="211" y="41"/>
                </a:cubicBezTo>
                <a:cubicBezTo>
                  <a:pt x="210" y="41"/>
                  <a:pt x="209" y="41"/>
                  <a:pt x="209" y="40"/>
                </a:cubicBezTo>
                <a:cubicBezTo>
                  <a:pt x="204" y="35"/>
                  <a:pt x="202" y="24"/>
                  <a:pt x="201" y="16"/>
                </a:cubicBezTo>
                <a:cubicBezTo>
                  <a:pt x="201" y="6"/>
                  <a:pt x="197" y="5"/>
                  <a:pt x="193" y="5"/>
                </a:cubicBezTo>
                <a:cubicBezTo>
                  <a:pt x="191" y="5"/>
                  <a:pt x="191" y="5"/>
                  <a:pt x="191" y="5"/>
                </a:cubicBezTo>
                <a:cubicBezTo>
                  <a:pt x="191" y="5"/>
                  <a:pt x="190" y="5"/>
                  <a:pt x="189" y="5"/>
                </a:cubicBezTo>
                <a:cubicBezTo>
                  <a:pt x="187" y="5"/>
                  <a:pt x="184" y="5"/>
                  <a:pt x="182" y="14"/>
                </a:cubicBezTo>
                <a:cubicBezTo>
                  <a:pt x="179" y="24"/>
                  <a:pt x="174" y="35"/>
                  <a:pt x="168" y="38"/>
                </a:cubicBezTo>
                <a:cubicBezTo>
                  <a:pt x="167" y="38"/>
                  <a:pt x="166" y="38"/>
                  <a:pt x="165" y="37"/>
                </a:cubicBezTo>
                <a:cubicBezTo>
                  <a:pt x="159" y="34"/>
                  <a:pt x="153" y="24"/>
                  <a:pt x="150" y="16"/>
                </a:cubicBezTo>
                <a:cubicBezTo>
                  <a:pt x="147" y="8"/>
                  <a:pt x="144" y="8"/>
                  <a:pt x="143" y="8"/>
                </a:cubicBezTo>
                <a:cubicBezTo>
                  <a:pt x="142" y="8"/>
                  <a:pt x="141" y="9"/>
                  <a:pt x="140" y="9"/>
                </a:cubicBezTo>
                <a:cubicBezTo>
                  <a:pt x="138" y="9"/>
                  <a:pt x="138" y="9"/>
                  <a:pt x="138" y="9"/>
                </a:cubicBezTo>
                <a:cubicBezTo>
                  <a:pt x="134" y="10"/>
                  <a:pt x="131" y="11"/>
                  <a:pt x="132" y="20"/>
                </a:cubicBezTo>
                <a:cubicBezTo>
                  <a:pt x="132" y="31"/>
                  <a:pt x="130" y="43"/>
                  <a:pt x="125" y="48"/>
                </a:cubicBezTo>
                <a:cubicBezTo>
                  <a:pt x="124" y="48"/>
                  <a:pt x="124" y="48"/>
                  <a:pt x="123" y="48"/>
                </a:cubicBezTo>
                <a:cubicBezTo>
                  <a:pt x="116" y="47"/>
                  <a:pt x="108" y="39"/>
                  <a:pt x="102" y="33"/>
                </a:cubicBezTo>
                <a:cubicBezTo>
                  <a:pt x="99" y="29"/>
                  <a:pt x="97" y="27"/>
                  <a:pt x="95" y="27"/>
                </a:cubicBezTo>
                <a:cubicBezTo>
                  <a:pt x="93" y="27"/>
                  <a:pt x="91" y="28"/>
                  <a:pt x="90" y="29"/>
                </a:cubicBezTo>
                <a:cubicBezTo>
                  <a:pt x="88" y="30"/>
                  <a:pt x="88" y="30"/>
                  <a:pt x="88" y="30"/>
                </a:cubicBezTo>
                <a:cubicBezTo>
                  <a:pt x="85" y="32"/>
                  <a:pt x="82" y="33"/>
                  <a:pt x="86" y="42"/>
                </a:cubicBezTo>
                <a:cubicBezTo>
                  <a:pt x="89" y="51"/>
                  <a:pt x="92" y="67"/>
                  <a:pt x="86" y="72"/>
                </a:cubicBezTo>
                <a:cubicBezTo>
                  <a:pt x="86" y="72"/>
                  <a:pt x="86" y="72"/>
                  <a:pt x="86" y="72"/>
                </a:cubicBezTo>
                <a:cubicBezTo>
                  <a:pt x="86" y="72"/>
                  <a:pt x="86" y="72"/>
                  <a:pt x="86" y="72"/>
                </a:cubicBezTo>
                <a:cubicBezTo>
                  <a:pt x="86" y="72"/>
                  <a:pt x="86" y="72"/>
                  <a:pt x="86" y="72"/>
                </a:cubicBezTo>
                <a:cubicBezTo>
                  <a:pt x="85" y="74"/>
                  <a:pt x="82" y="74"/>
                  <a:pt x="79" y="74"/>
                </a:cubicBezTo>
                <a:cubicBezTo>
                  <a:pt x="73" y="74"/>
                  <a:pt x="64" y="72"/>
                  <a:pt x="57" y="68"/>
                </a:cubicBezTo>
                <a:cubicBezTo>
                  <a:pt x="54" y="66"/>
                  <a:pt x="51" y="65"/>
                  <a:pt x="49" y="65"/>
                </a:cubicBezTo>
                <a:cubicBezTo>
                  <a:pt x="47" y="65"/>
                  <a:pt x="46" y="66"/>
                  <a:pt x="44" y="69"/>
                </a:cubicBezTo>
                <a:cubicBezTo>
                  <a:pt x="43" y="70"/>
                  <a:pt x="43" y="70"/>
                  <a:pt x="43" y="70"/>
                </a:cubicBezTo>
                <a:cubicBezTo>
                  <a:pt x="40" y="73"/>
                  <a:pt x="38" y="76"/>
                  <a:pt x="45" y="83"/>
                </a:cubicBezTo>
                <a:cubicBezTo>
                  <a:pt x="51" y="89"/>
                  <a:pt x="57" y="99"/>
                  <a:pt x="58" y="105"/>
                </a:cubicBezTo>
                <a:cubicBezTo>
                  <a:pt x="58" y="106"/>
                  <a:pt x="57" y="107"/>
                  <a:pt x="57" y="107"/>
                </a:cubicBezTo>
                <a:cubicBezTo>
                  <a:pt x="53" y="111"/>
                  <a:pt x="45" y="111"/>
                  <a:pt x="41" y="111"/>
                </a:cubicBezTo>
                <a:cubicBezTo>
                  <a:pt x="37" y="111"/>
                  <a:pt x="33" y="111"/>
                  <a:pt x="29" y="110"/>
                </a:cubicBezTo>
                <a:cubicBezTo>
                  <a:pt x="27" y="110"/>
                  <a:pt x="25" y="109"/>
                  <a:pt x="24" y="109"/>
                </a:cubicBezTo>
                <a:cubicBezTo>
                  <a:pt x="19" y="109"/>
                  <a:pt x="18" y="112"/>
                  <a:pt x="17" y="115"/>
                </a:cubicBezTo>
                <a:cubicBezTo>
                  <a:pt x="16" y="116"/>
                  <a:pt x="16" y="116"/>
                  <a:pt x="16" y="116"/>
                </a:cubicBezTo>
                <a:cubicBezTo>
                  <a:pt x="15" y="121"/>
                  <a:pt x="14" y="124"/>
                  <a:pt x="22" y="128"/>
                </a:cubicBezTo>
                <a:cubicBezTo>
                  <a:pt x="30" y="132"/>
                  <a:pt x="39" y="139"/>
                  <a:pt x="41" y="146"/>
                </a:cubicBezTo>
                <a:cubicBezTo>
                  <a:pt x="42" y="146"/>
                  <a:pt x="41" y="147"/>
                  <a:pt x="41" y="148"/>
                </a:cubicBezTo>
                <a:cubicBezTo>
                  <a:pt x="38" y="154"/>
                  <a:pt x="26" y="158"/>
                  <a:pt x="15" y="159"/>
                </a:cubicBezTo>
                <a:cubicBezTo>
                  <a:pt x="6" y="160"/>
                  <a:pt x="6" y="163"/>
                  <a:pt x="6" y="167"/>
                </a:cubicBezTo>
                <a:cubicBezTo>
                  <a:pt x="6" y="169"/>
                  <a:pt x="6" y="169"/>
                  <a:pt x="6" y="169"/>
                </a:cubicBezTo>
                <a:cubicBezTo>
                  <a:pt x="5" y="173"/>
                  <a:pt x="5" y="177"/>
                  <a:pt x="15" y="178"/>
                </a:cubicBezTo>
                <a:cubicBezTo>
                  <a:pt x="23" y="180"/>
                  <a:pt x="34" y="184"/>
                  <a:pt x="38" y="189"/>
                </a:cubicBezTo>
                <a:cubicBezTo>
                  <a:pt x="39" y="190"/>
                  <a:pt x="39" y="191"/>
                  <a:pt x="39" y="191"/>
                </a:cubicBezTo>
                <a:cubicBezTo>
                  <a:pt x="37" y="198"/>
                  <a:pt x="27" y="205"/>
                  <a:pt x="18" y="210"/>
                </a:cubicBezTo>
                <a:cubicBezTo>
                  <a:pt x="9" y="214"/>
                  <a:pt x="9" y="217"/>
                  <a:pt x="11" y="221"/>
                </a:cubicBezTo>
                <a:cubicBezTo>
                  <a:pt x="11" y="222"/>
                  <a:pt x="11" y="222"/>
                  <a:pt x="11" y="222"/>
                </a:cubicBezTo>
                <a:cubicBezTo>
                  <a:pt x="12" y="226"/>
                  <a:pt x="13" y="229"/>
                  <a:pt x="19" y="229"/>
                </a:cubicBezTo>
                <a:cubicBezTo>
                  <a:pt x="20" y="229"/>
                  <a:pt x="21" y="228"/>
                  <a:pt x="23" y="228"/>
                </a:cubicBezTo>
                <a:cubicBezTo>
                  <a:pt x="25" y="228"/>
                  <a:pt x="27" y="228"/>
                  <a:pt x="30" y="228"/>
                </a:cubicBezTo>
                <a:cubicBezTo>
                  <a:pt x="34" y="228"/>
                  <a:pt x="43" y="228"/>
                  <a:pt x="48" y="232"/>
                </a:cubicBezTo>
                <a:cubicBezTo>
                  <a:pt x="49" y="232"/>
                  <a:pt x="49" y="233"/>
                  <a:pt x="49" y="233"/>
                </a:cubicBezTo>
                <a:cubicBezTo>
                  <a:pt x="50" y="240"/>
                  <a:pt x="43" y="250"/>
                  <a:pt x="35" y="257"/>
                </a:cubicBezTo>
                <a:cubicBezTo>
                  <a:pt x="28" y="264"/>
                  <a:pt x="29" y="266"/>
                  <a:pt x="32" y="270"/>
                </a:cubicBezTo>
                <a:cubicBezTo>
                  <a:pt x="33" y="271"/>
                  <a:pt x="33" y="271"/>
                  <a:pt x="33" y="271"/>
                </a:cubicBezTo>
                <a:cubicBezTo>
                  <a:pt x="34" y="274"/>
                  <a:pt x="36" y="276"/>
                  <a:pt x="38" y="276"/>
                </a:cubicBezTo>
                <a:cubicBezTo>
                  <a:pt x="40" y="276"/>
                  <a:pt x="43" y="275"/>
                  <a:pt x="46" y="273"/>
                </a:cubicBezTo>
                <a:cubicBezTo>
                  <a:pt x="55" y="269"/>
                  <a:pt x="65" y="267"/>
                  <a:pt x="71" y="269"/>
                </a:cubicBezTo>
                <a:cubicBezTo>
                  <a:pt x="72" y="269"/>
                  <a:pt x="72" y="270"/>
                  <a:pt x="73" y="270"/>
                </a:cubicBezTo>
                <a:cubicBezTo>
                  <a:pt x="75" y="276"/>
                  <a:pt x="71" y="288"/>
                  <a:pt x="66" y="297"/>
                </a:cubicBezTo>
                <a:cubicBezTo>
                  <a:pt x="61" y="306"/>
                  <a:pt x="64" y="308"/>
                  <a:pt x="67" y="310"/>
                </a:cubicBezTo>
                <a:cubicBezTo>
                  <a:pt x="68" y="311"/>
                  <a:pt x="68" y="311"/>
                  <a:pt x="68" y="311"/>
                </a:cubicBezTo>
                <a:cubicBezTo>
                  <a:pt x="70" y="313"/>
                  <a:pt x="72" y="314"/>
                  <a:pt x="73" y="314"/>
                </a:cubicBezTo>
                <a:cubicBezTo>
                  <a:pt x="76" y="314"/>
                  <a:pt x="78" y="313"/>
                  <a:pt x="81" y="310"/>
                </a:cubicBezTo>
                <a:cubicBezTo>
                  <a:pt x="88" y="304"/>
                  <a:pt x="97" y="298"/>
                  <a:pt x="104" y="297"/>
                </a:cubicBezTo>
                <a:cubicBezTo>
                  <a:pt x="105" y="297"/>
                  <a:pt x="106" y="298"/>
                  <a:pt x="106" y="298"/>
                </a:cubicBezTo>
                <a:cubicBezTo>
                  <a:pt x="110" y="303"/>
                  <a:pt x="110" y="316"/>
                  <a:pt x="108" y="326"/>
                </a:cubicBezTo>
                <a:cubicBezTo>
                  <a:pt x="106" y="335"/>
                  <a:pt x="109" y="337"/>
                  <a:pt x="113" y="338"/>
                </a:cubicBezTo>
                <a:cubicBezTo>
                  <a:pt x="115" y="339"/>
                  <a:pt x="115" y="339"/>
                  <a:pt x="115" y="339"/>
                </a:cubicBezTo>
                <a:cubicBezTo>
                  <a:pt x="116" y="339"/>
                  <a:pt x="117" y="340"/>
                  <a:pt x="119" y="340"/>
                </a:cubicBezTo>
                <a:cubicBezTo>
                  <a:pt x="120" y="340"/>
                  <a:pt x="123" y="340"/>
                  <a:pt x="126" y="333"/>
                </a:cubicBezTo>
                <a:cubicBezTo>
                  <a:pt x="131" y="326"/>
                  <a:pt x="138" y="317"/>
                  <a:pt x="144" y="314"/>
                </a:cubicBezTo>
                <a:lnTo>
                  <a:pt x="145" y="314"/>
                </a:lnTo>
                <a:close/>
                <a:moveTo>
                  <a:pt x="178" y="294"/>
                </a:moveTo>
                <a:cubicBezTo>
                  <a:pt x="152" y="294"/>
                  <a:pt x="126" y="285"/>
                  <a:pt x="105" y="268"/>
                </a:cubicBezTo>
                <a:cubicBezTo>
                  <a:pt x="55" y="228"/>
                  <a:pt x="47" y="154"/>
                  <a:pt x="88" y="104"/>
                </a:cubicBezTo>
                <a:cubicBezTo>
                  <a:pt x="110" y="77"/>
                  <a:pt x="143" y="61"/>
                  <a:pt x="179" y="61"/>
                </a:cubicBezTo>
                <a:cubicBezTo>
                  <a:pt x="205" y="61"/>
                  <a:pt x="231" y="70"/>
                  <a:pt x="252" y="87"/>
                </a:cubicBezTo>
                <a:cubicBezTo>
                  <a:pt x="276" y="107"/>
                  <a:pt x="291" y="135"/>
                  <a:pt x="295" y="166"/>
                </a:cubicBezTo>
                <a:cubicBezTo>
                  <a:pt x="298" y="197"/>
                  <a:pt x="289" y="227"/>
                  <a:pt x="269" y="251"/>
                </a:cubicBezTo>
                <a:cubicBezTo>
                  <a:pt x="247" y="279"/>
                  <a:pt x="214" y="294"/>
                  <a:pt x="178" y="294"/>
                </a:cubicBezTo>
                <a:close/>
                <a:moveTo>
                  <a:pt x="179" y="66"/>
                </a:moveTo>
                <a:cubicBezTo>
                  <a:pt x="145" y="66"/>
                  <a:pt x="113" y="81"/>
                  <a:pt x="92" y="107"/>
                </a:cubicBezTo>
                <a:cubicBezTo>
                  <a:pt x="53" y="155"/>
                  <a:pt x="60" y="226"/>
                  <a:pt x="108" y="264"/>
                </a:cubicBezTo>
                <a:cubicBezTo>
                  <a:pt x="128" y="281"/>
                  <a:pt x="153" y="289"/>
                  <a:pt x="178" y="289"/>
                </a:cubicBezTo>
                <a:cubicBezTo>
                  <a:pt x="212" y="289"/>
                  <a:pt x="244" y="274"/>
                  <a:pt x="265" y="248"/>
                </a:cubicBezTo>
                <a:cubicBezTo>
                  <a:pt x="284" y="225"/>
                  <a:pt x="293" y="196"/>
                  <a:pt x="290" y="166"/>
                </a:cubicBezTo>
                <a:cubicBezTo>
                  <a:pt x="287" y="136"/>
                  <a:pt x="272" y="110"/>
                  <a:pt x="249" y="91"/>
                </a:cubicBezTo>
                <a:cubicBezTo>
                  <a:pt x="229" y="75"/>
                  <a:pt x="204" y="66"/>
                  <a:pt x="179" y="6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3" name="Freeform 1423">
            <a:extLst>
              <a:ext uri="{FF2B5EF4-FFF2-40B4-BE49-F238E27FC236}">
                <a16:creationId xmlns:a16="http://schemas.microsoft.com/office/drawing/2014/main" id="{0F276718-5F5F-46F5-9265-30079824A6D8}"/>
              </a:ext>
            </a:extLst>
          </p:cNvPr>
          <p:cNvSpPr>
            <a:spLocks noEditPoints="1"/>
          </p:cNvSpPr>
          <p:nvPr/>
        </p:nvSpPr>
        <p:spPr bwMode="auto">
          <a:xfrm rot="7915163">
            <a:off x="2743032" y="3444226"/>
            <a:ext cx="403293" cy="361043"/>
          </a:xfrm>
          <a:custGeom>
            <a:avLst/>
            <a:gdLst>
              <a:gd name="T0" fmla="*/ 70 w 141"/>
              <a:gd name="T1" fmla="*/ 125 h 125"/>
              <a:gd name="T2" fmla="*/ 70 w 141"/>
              <a:gd name="T3" fmla="*/ 125 h 125"/>
              <a:gd name="T4" fmla="*/ 31 w 141"/>
              <a:gd name="T5" fmla="*/ 111 h 125"/>
              <a:gd name="T6" fmla="*/ 22 w 141"/>
              <a:gd name="T7" fmla="*/ 23 h 125"/>
              <a:gd name="T8" fmla="*/ 70 w 141"/>
              <a:gd name="T9" fmla="*/ 0 h 125"/>
              <a:gd name="T10" fmla="*/ 110 w 141"/>
              <a:gd name="T11" fmla="*/ 14 h 125"/>
              <a:gd name="T12" fmla="*/ 119 w 141"/>
              <a:gd name="T13" fmla="*/ 102 h 125"/>
              <a:gd name="T14" fmla="*/ 70 w 141"/>
              <a:gd name="T15" fmla="*/ 125 h 125"/>
              <a:gd name="T16" fmla="*/ 70 w 141"/>
              <a:gd name="T17" fmla="*/ 5 h 125"/>
              <a:gd name="T18" fmla="*/ 26 w 141"/>
              <a:gd name="T19" fmla="*/ 26 h 125"/>
              <a:gd name="T20" fmla="*/ 34 w 141"/>
              <a:gd name="T21" fmla="*/ 107 h 125"/>
              <a:gd name="T22" fmla="*/ 70 w 141"/>
              <a:gd name="T23" fmla="*/ 120 h 125"/>
              <a:gd name="T24" fmla="*/ 70 w 141"/>
              <a:gd name="T25" fmla="*/ 120 h 125"/>
              <a:gd name="T26" fmla="*/ 115 w 141"/>
              <a:gd name="T27" fmla="*/ 99 h 125"/>
              <a:gd name="T28" fmla="*/ 107 w 141"/>
              <a:gd name="T29" fmla="*/ 18 h 125"/>
              <a:gd name="T30" fmla="*/ 70 w 141"/>
              <a:gd name="T31" fmla="*/ 5 h 125"/>
              <a:gd name="T32" fmla="*/ 70 w 141"/>
              <a:gd name="T33" fmla="*/ 103 h 125"/>
              <a:gd name="T34" fmla="*/ 45 w 141"/>
              <a:gd name="T35" fmla="*/ 94 h 125"/>
              <a:gd name="T36" fmla="*/ 39 w 141"/>
              <a:gd name="T37" fmla="*/ 38 h 125"/>
              <a:gd name="T38" fmla="*/ 70 w 141"/>
              <a:gd name="T39" fmla="*/ 23 h 125"/>
              <a:gd name="T40" fmla="*/ 96 w 141"/>
              <a:gd name="T41" fmla="*/ 32 h 125"/>
              <a:gd name="T42" fmla="*/ 101 w 141"/>
              <a:gd name="T43" fmla="*/ 88 h 125"/>
              <a:gd name="T44" fmla="*/ 70 w 141"/>
              <a:gd name="T45" fmla="*/ 103 h 125"/>
              <a:gd name="T46" fmla="*/ 70 w 141"/>
              <a:gd name="T47" fmla="*/ 28 h 125"/>
              <a:gd name="T48" fmla="*/ 43 w 141"/>
              <a:gd name="T49" fmla="*/ 41 h 125"/>
              <a:gd name="T50" fmla="*/ 48 w 141"/>
              <a:gd name="T51" fmla="*/ 90 h 125"/>
              <a:gd name="T52" fmla="*/ 70 w 141"/>
              <a:gd name="T53" fmla="*/ 98 h 125"/>
              <a:gd name="T54" fmla="*/ 98 w 141"/>
              <a:gd name="T55" fmla="*/ 85 h 125"/>
              <a:gd name="T56" fmla="*/ 92 w 141"/>
              <a:gd name="T57" fmla="*/ 36 h 125"/>
              <a:gd name="T58" fmla="*/ 70 w 141"/>
              <a:gd name="T59"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125"/>
                </a:moveTo>
                <a:cubicBezTo>
                  <a:pt x="70" y="125"/>
                  <a:pt x="70" y="125"/>
                  <a:pt x="70" y="125"/>
                </a:cubicBezTo>
                <a:cubicBezTo>
                  <a:pt x="56" y="125"/>
                  <a:pt x="42" y="120"/>
                  <a:pt x="31" y="111"/>
                </a:cubicBezTo>
                <a:cubicBezTo>
                  <a:pt x="4" y="90"/>
                  <a:pt x="0" y="50"/>
                  <a:pt x="22" y="23"/>
                </a:cubicBezTo>
                <a:cubicBezTo>
                  <a:pt x="34" y="8"/>
                  <a:pt x="51" y="0"/>
                  <a:pt x="70" y="0"/>
                </a:cubicBezTo>
                <a:cubicBezTo>
                  <a:pt x="85" y="0"/>
                  <a:pt x="99" y="5"/>
                  <a:pt x="110" y="14"/>
                </a:cubicBezTo>
                <a:cubicBezTo>
                  <a:pt x="137" y="36"/>
                  <a:pt x="141" y="75"/>
                  <a:pt x="119" y="102"/>
                </a:cubicBezTo>
                <a:cubicBezTo>
                  <a:pt x="107" y="117"/>
                  <a:pt x="89" y="125"/>
                  <a:pt x="70" y="125"/>
                </a:cubicBezTo>
                <a:close/>
                <a:moveTo>
                  <a:pt x="70" y="5"/>
                </a:moveTo>
                <a:cubicBezTo>
                  <a:pt x="53" y="5"/>
                  <a:pt x="37" y="13"/>
                  <a:pt x="26" y="26"/>
                </a:cubicBezTo>
                <a:cubicBezTo>
                  <a:pt x="6" y="51"/>
                  <a:pt x="9" y="87"/>
                  <a:pt x="34" y="107"/>
                </a:cubicBezTo>
                <a:cubicBezTo>
                  <a:pt x="44" y="116"/>
                  <a:pt x="57" y="120"/>
                  <a:pt x="70" y="120"/>
                </a:cubicBezTo>
                <a:cubicBezTo>
                  <a:pt x="70" y="120"/>
                  <a:pt x="70" y="120"/>
                  <a:pt x="70" y="120"/>
                </a:cubicBezTo>
                <a:cubicBezTo>
                  <a:pt x="88" y="120"/>
                  <a:pt x="104" y="113"/>
                  <a:pt x="115" y="99"/>
                </a:cubicBezTo>
                <a:cubicBezTo>
                  <a:pt x="135" y="74"/>
                  <a:pt x="131" y="38"/>
                  <a:pt x="107" y="18"/>
                </a:cubicBezTo>
                <a:cubicBezTo>
                  <a:pt x="97" y="10"/>
                  <a:pt x="84" y="5"/>
                  <a:pt x="70" y="5"/>
                </a:cubicBezTo>
                <a:close/>
                <a:moveTo>
                  <a:pt x="70" y="103"/>
                </a:moveTo>
                <a:cubicBezTo>
                  <a:pt x="61" y="103"/>
                  <a:pt x="52" y="99"/>
                  <a:pt x="45" y="94"/>
                </a:cubicBezTo>
                <a:cubicBezTo>
                  <a:pt x="28" y="80"/>
                  <a:pt x="26" y="55"/>
                  <a:pt x="39" y="38"/>
                </a:cubicBezTo>
                <a:cubicBezTo>
                  <a:pt x="47" y="28"/>
                  <a:pt x="58" y="23"/>
                  <a:pt x="70" y="23"/>
                </a:cubicBezTo>
                <a:cubicBezTo>
                  <a:pt x="80" y="23"/>
                  <a:pt x="88" y="26"/>
                  <a:pt x="96" y="32"/>
                </a:cubicBezTo>
                <a:cubicBezTo>
                  <a:pt x="113" y="46"/>
                  <a:pt x="115" y="71"/>
                  <a:pt x="101" y="88"/>
                </a:cubicBezTo>
                <a:cubicBezTo>
                  <a:pt x="94" y="97"/>
                  <a:pt x="83" y="103"/>
                  <a:pt x="70" y="103"/>
                </a:cubicBezTo>
                <a:close/>
                <a:moveTo>
                  <a:pt x="70" y="28"/>
                </a:moveTo>
                <a:cubicBezTo>
                  <a:pt x="60" y="28"/>
                  <a:pt x="50" y="33"/>
                  <a:pt x="43" y="41"/>
                </a:cubicBezTo>
                <a:cubicBezTo>
                  <a:pt x="31" y="56"/>
                  <a:pt x="34" y="78"/>
                  <a:pt x="48" y="90"/>
                </a:cubicBezTo>
                <a:cubicBezTo>
                  <a:pt x="55" y="95"/>
                  <a:pt x="62" y="98"/>
                  <a:pt x="70" y="98"/>
                </a:cubicBezTo>
                <a:cubicBezTo>
                  <a:pt x="81" y="98"/>
                  <a:pt x="91" y="93"/>
                  <a:pt x="98" y="85"/>
                </a:cubicBezTo>
                <a:cubicBezTo>
                  <a:pt x="110" y="70"/>
                  <a:pt x="107" y="48"/>
                  <a:pt x="92" y="36"/>
                </a:cubicBezTo>
                <a:cubicBezTo>
                  <a:pt x="86" y="31"/>
                  <a:pt x="78" y="28"/>
                  <a:pt x="70" y="2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4" name="Freeform 1424">
            <a:extLst>
              <a:ext uri="{FF2B5EF4-FFF2-40B4-BE49-F238E27FC236}">
                <a16:creationId xmlns:a16="http://schemas.microsoft.com/office/drawing/2014/main" id="{BA430D36-3EF3-403F-B011-EAEA64B7055D}"/>
              </a:ext>
            </a:extLst>
          </p:cNvPr>
          <p:cNvSpPr>
            <a:spLocks noEditPoints="1"/>
          </p:cNvSpPr>
          <p:nvPr/>
        </p:nvSpPr>
        <p:spPr bwMode="auto">
          <a:xfrm rot="7915163">
            <a:off x="415355" y="522694"/>
            <a:ext cx="1793691" cy="1786010"/>
          </a:xfrm>
          <a:custGeom>
            <a:avLst/>
            <a:gdLst>
              <a:gd name="T0" fmla="*/ 614 w 623"/>
              <a:gd name="T1" fmla="*/ 289 h 622"/>
              <a:gd name="T2" fmla="*/ 589 w 623"/>
              <a:gd name="T3" fmla="*/ 255 h 622"/>
              <a:gd name="T4" fmla="*/ 595 w 623"/>
              <a:gd name="T5" fmla="*/ 225 h 622"/>
              <a:gd name="T6" fmla="*/ 596 w 623"/>
              <a:gd name="T7" fmla="*/ 184 h 622"/>
              <a:gd name="T8" fmla="*/ 558 w 623"/>
              <a:gd name="T9" fmla="*/ 170 h 622"/>
              <a:gd name="T10" fmla="*/ 539 w 623"/>
              <a:gd name="T11" fmla="*/ 143 h 622"/>
              <a:gd name="T12" fmla="*/ 537 w 623"/>
              <a:gd name="T13" fmla="*/ 99 h 622"/>
              <a:gd name="T14" fmla="*/ 508 w 623"/>
              <a:gd name="T15" fmla="*/ 70 h 622"/>
              <a:gd name="T16" fmla="*/ 467 w 623"/>
              <a:gd name="T17" fmla="*/ 74 h 622"/>
              <a:gd name="T18" fmla="*/ 438 w 623"/>
              <a:gd name="T19" fmla="*/ 58 h 622"/>
              <a:gd name="T20" fmla="*/ 419 w 623"/>
              <a:gd name="T21" fmla="*/ 19 h 622"/>
              <a:gd name="T22" fmla="*/ 377 w 623"/>
              <a:gd name="T23" fmla="*/ 7 h 622"/>
              <a:gd name="T24" fmla="*/ 342 w 623"/>
              <a:gd name="T25" fmla="*/ 29 h 622"/>
              <a:gd name="T26" fmla="*/ 309 w 623"/>
              <a:gd name="T27" fmla="*/ 28 h 622"/>
              <a:gd name="T28" fmla="*/ 271 w 623"/>
              <a:gd name="T29" fmla="*/ 10 h 622"/>
              <a:gd name="T30" fmla="*/ 235 w 623"/>
              <a:gd name="T31" fmla="*/ 10 h 622"/>
              <a:gd name="T32" fmla="*/ 211 w 623"/>
              <a:gd name="T33" fmla="*/ 46 h 622"/>
              <a:gd name="T34" fmla="*/ 180 w 623"/>
              <a:gd name="T35" fmla="*/ 60 h 622"/>
              <a:gd name="T36" fmla="*/ 139 w 623"/>
              <a:gd name="T37" fmla="*/ 62 h 622"/>
              <a:gd name="T38" fmla="*/ 109 w 623"/>
              <a:gd name="T39" fmla="*/ 77 h 622"/>
              <a:gd name="T40" fmla="*/ 101 w 623"/>
              <a:gd name="T41" fmla="*/ 120 h 622"/>
              <a:gd name="T42" fmla="*/ 81 w 623"/>
              <a:gd name="T43" fmla="*/ 145 h 622"/>
              <a:gd name="T44" fmla="*/ 42 w 623"/>
              <a:gd name="T45" fmla="*/ 156 h 622"/>
              <a:gd name="T46" fmla="*/ 31 w 623"/>
              <a:gd name="T47" fmla="*/ 194 h 622"/>
              <a:gd name="T48" fmla="*/ 38 w 623"/>
              <a:gd name="T49" fmla="*/ 235 h 622"/>
              <a:gd name="T50" fmla="*/ 13 w 623"/>
              <a:gd name="T51" fmla="*/ 257 h 622"/>
              <a:gd name="T52" fmla="*/ 0 w 623"/>
              <a:gd name="T53" fmla="*/ 296 h 622"/>
              <a:gd name="T54" fmla="*/ 9 w 623"/>
              <a:gd name="T55" fmla="*/ 334 h 622"/>
              <a:gd name="T56" fmla="*/ 33 w 623"/>
              <a:gd name="T57" fmla="*/ 367 h 622"/>
              <a:gd name="T58" fmla="*/ 28 w 623"/>
              <a:gd name="T59" fmla="*/ 398 h 622"/>
              <a:gd name="T60" fmla="*/ 27 w 623"/>
              <a:gd name="T61" fmla="*/ 438 h 622"/>
              <a:gd name="T62" fmla="*/ 65 w 623"/>
              <a:gd name="T63" fmla="*/ 453 h 622"/>
              <a:gd name="T64" fmla="*/ 83 w 623"/>
              <a:gd name="T65" fmla="*/ 480 h 622"/>
              <a:gd name="T66" fmla="*/ 85 w 623"/>
              <a:gd name="T67" fmla="*/ 523 h 622"/>
              <a:gd name="T68" fmla="*/ 115 w 623"/>
              <a:gd name="T69" fmla="*/ 553 h 622"/>
              <a:gd name="T70" fmla="*/ 156 w 623"/>
              <a:gd name="T71" fmla="*/ 549 h 622"/>
              <a:gd name="T72" fmla="*/ 185 w 623"/>
              <a:gd name="T73" fmla="*/ 565 h 622"/>
              <a:gd name="T74" fmla="*/ 204 w 623"/>
              <a:gd name="T75" fmla="*/ 603 h 622"/>
              <a:gd name="T76" fmla="*/ 246 w 623"/>
              <a:gd name="T77" fmla="*/ 616 h 622"/>
              <a:gd name="T78" fmla="*/ 279 w 623"/>
              <a:gd name="T79" fmla="*/ 593 h 622"/>
              <a:gd name="T80" fmla="*/ 312 w 623"/>
              <a:gd name="T81" fmla="*/ 596 h 622"/>
              <a:gd name="T82" fmla="*/ 343 w 623"/>
              <a:gd name="T83" fmla="*/ 621 h 622"/>
              <a:gd name="T84" fmla="*/ 369 w 623"/>
              <a:gd name="T85" fmla="*/ 590 h 622"/>
              <a:gd name="T86" fmla="*/ 402 w 623"/>
              <a:gd name="T87" fmla="*/ 580 h 622"/>
              <a:gd name="T88" fmla="*/ 443 w 623"/>
              <a:gd name="T89" fmla="*/ 585 h 622"/>
              <a:gd name="T90" fmla="*/ 480 w 623"/>
              <a:gd name="T91" fmla="*/ 573 h 622"/>
              <a:gd name="T92" fmla="*/ 489 w 623"/>
              <a:gd name="T93" fmla="*/ 533 h 622"/>
              <a:gd name="T94" fmla="*/ 514 w 623"/>
              <a:gd name="T95" fmla="*/ 510 h 622"/>
              <a:gd name="T96" fmla="*/ 553 w 623"/>
              <a:gd name="T97" fmla="*/ 496 h 622"/>
              <a:gd name="T98" fmla="*/ 581 w 623"/>
              <a:gd name="T99" fmla="*/ 468 h 622"/>
              <a:gd name="T100" fmla="*/ 591 w 623"/>
              <a:gd name="T101" fmla="*/ 429 h 622"/>
              <a:gd name="T102" fmla="*/ 585 w 623"/>
              <a:gd name="T103" fmla="*/ 388 h 622"/>
              <a:gd name="T104" fmla="*/ 610 w 623"/>
              <a:gd name="T105" fmla="*/ 366 h 622"/>
              <a:gd name="T106" fmla="*/ 622 w 623"/>
              <a:gd name="T107" fmla="*/ 327 h 622"/>
              <a:gd name="T108" fmla="*/ 472 w 623"/>
              <a:gd name="T109" fmla="*/ 113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22">
                <a:moveTo>
                  <a:pt x="615" y="319"/>
                </a:moveTo>
                <a:cubicBezTo>
                  <a:pt x="608" y="317"/>
                  <a:pt x="600" y="314"/>
                  <a:pt x="596" y="311"/>
                </a:cubicBezTo>
                <a:cubicBezTo>
                  <a:pt x="595" y="310"/>
                  <a:pt x="595" y="310"/>
                  <a:pt x="595" y="309"/>
                </a:cubicBezTo>
                <a:cubicBezTo>
                  <a:pt x="595" y="306"/>
                  <a:pt x="595" y="303"/>
                  <a:pt x="595" y="300"/>
                </a:cubicBezTo>
                <a:cubicBezTo>
                  <a:pt x="595" y="300"/>
                  <a:pt x="595" y="300"/>
                  <a:pt x="595" y="300"/>
                </a:cubicBezTo>
                <a:cubicBezTo>
                  <a:pt x="595" y="299"/>
                  <a:pt x="595" y="298"/>
                  <a:pt x="595" y="298"/>
                </a:cubicBezTo>
                <a:cubicBezTo>
                  <a:pt x="599" y="294"/>
                  <a:pt x="608" y="290"/>
                  <a:pt x="614" y="289"/>
                </a:cubicBezTo>
                <a:cubicBezTo>
                  <a:pt x="622" y="287"/>
                  <a:pt x="622" y="284"/>
                  <a:pt x="621" y="280"/>
                </a:cubicBezTo>
                <a:cubicBezTo>
                  <a:pt x="621" y="278"/>
                  <a:pt x="621" y="278"/>
                  <a:pt x="621" y="278"/>
                </a:cubicBezTo>
                <a:cubicBezTo>
                  <a:pt x="621" y="274"/>
                  <a:pt x="620" y="271"/>
                  <a:pt x="612" y="271"/>
                </a:cubicBezTo>
                <a:cubicBezTo>
                  <a:pt x="606" y="271"/>
                  <a:pt x="597" y="269"/>
                  <a:pt x="592" y="266"/>
                </a:cubicBezTo>
                <a:cubicBezTo>
                  <a:pt x="592" y="266"/>
                  <a:pt x="591" y="265"/>
                  <a:pt x="591" y="264"/>
                </a:cubicBezTo>
                <a:cubicBezTo>
                  <a:pt x="591" y="264"/>
                  <a:pt x="591" y="264"/>
                  <a:pt x="591" y="264"/>
                </a:cubicBezTo>
                <a:cubicBezTo>
                  <a:pt x="590" y="261"/>
                  <a:pt x="590" y="258"/>
                  <a:pt x="589" y="255"/>
                </a:cubicBezTo>
                <a:cubicBezTo>
                  <a:pt x="589" y="255"/>
                  <a:pt x="589" y="254"/>
                  <a:pt x="590" y="253"/>
                </a:cubicBezTo>
                <a:cubicBezTo>
                  <a:pt x="593" y="249"/>
                  <a:pt x="601" y="244"/>
                  <a:pt x="607" y="242"/>
                </a:cubicBezTo>
                <a:cubicBezTo>
                  <a:pt x="614" y="239"/>
                  <a:pt x="614" y="236"/>
                  <a:pt x="612" y="232"/>
                </a:cubicBezTo>
                <a:cubicBezTo>
                  <a:pt x="612" y="230"/>
                  <a:pt x="612" y="230"/>
                  <a:pt x="612" y="230"/>
                </a:cubicBezTo>
                <a:cubicBezTo>
                  <a:pt x="611" y="227"/>
                  <a:pt x="611" y="224"/>
                  <a:pt x="605" y="224"/>
                </a:cubicBezTo>
                <a:cubicBezTo>
                  <a:pt x="604" y="224"/>
                  <a:pt x="603" y="224"/>
                  <a:pt x="602" y="225"/>
                </a:cubicBezTo>
                <a:cubicBezTo>
                  <a:pt x="600" y="225"/>
                  <a:pt x="598" y="225"/>
                  <a:pt x="595" y="225"/>
                </a:cubicBezTo>
                <a:cubicBezTo>
                  <a:pt x="591" y="225"/>
                  <a:pt x="586" y="225"/>
                  <a:pt x="582" y="223"/>
                </a:cubicBezTo>
                <a:cubicBezTo>
                  <a:pt x="581" y="223"/>
                  <a:pt x="580" y="222"/>
                  <a:pt x="580" y="221"/>
                </a:cubicBezTo>
                <a:cubicBezTo>
                  <a:pt x="579" y="218"/>
                  <a:pt x="578" y="216"/>
                  <a:pt x="577" y="213"/>
                </a:cubicBezTo>
                <a:cubicBezTo>
                  <a:pt x="577" y="212"/>
                  <a:pt x="577" y="211"/>
                  <a:pt x="577" y="211"/>
                </a:cubicBezTo>
                <a:cubicBezTo>
                  <a:pt x="580" y="206"/>
                  <a:pt x="587" y="200"/>
                  <a:pt x="592" y="196"/>
                </a:cubicBezTo>
                <a:cubicBezTo>
                  <a:pt x="599" y="192"/>
                  <a:pt x="598" y="189"/>
                  <a:pt x="596" y="186"/>
                </a:cubicBezTo>
                <a:cubicBezTo>
                  <a:pt x="596" y="184"/>
                  <a:pt x="596" y="184"/>
                  <a:pt x="596" y="184"/>
                </a:cubicBezTo>
                <a:cubicBezTo>
                  <a:pt x="594" y="181"/>
                  <a:pt x="593" y="179"/>
                  <a:pt x="590" y="179"/>
                </a:cubicBezTo>
                <a:cubicBezTo>
                  <a:pt x="589" y="179"/>
                  <a:pt x="587" y="180"/>
                  <a:pt x="585" y="180"/>
                </a:cubicBezTo>
                <a:cubicBezTo>
                  <a:pt x="580" y="182"/>
                  <a:pt x="575" y="182"/>
                  <a:pt x="570" y="182"/>
                </a:cubicBezTo>
                <a:cubicBezTo>
                  <a:pt x="568" y="182"/>
                  <a:pt x="566" y="182"/>
                  <a:pt x="565" y="182"/>
                </a:cubicBezTo>
                <a:cubicBezTo>
                  <a:pt x="564" y="181"/>
                  <a:pt x="563" y="181"/>
                  <a:pt x="563" y="180"/>
                </a:cubicBezTo>
                <a:cubicBezTo>
                  <a:pt x="562" y="178"/>
                  <a:pt x="560" y="175"/>
                  <a:pt x="558" y="172"/>
                </a:cubicBezTo>
                <a:cubicBezTo>
                  <a:pt x="558" y="172"/>
                  <a:pt x="558" y="171"/>
                  <a:pt x="558" y="170"/>
                </a:cubicBezTo>
                <a:cubicBezTo>
                  <a:pt x="560" y="165"/>
                  <a:pt x="566" y="158"/>
                  <a:pt x="571" y="154"/>
                </a:cubicBezTo>
                <a:cubicBezTo>
                  <a:pt x="577" y="148"/>
                  <a:pt x="575" y="146"/>
                  <a:pt x="573" y="143"/>
                </a:cubicBezTo>
                <a:cubicBezTo>
                  <a:pt x="572" y="141"/>
                  <a:pt x="572" y="141"/>
                  <a:pt x="572" y="141"/>
                </a:cubicBezTo>
                <a:cubicBezTo>
                  <a:pt x="571" y="139"/>
                  <a:pt x="570" y="137"/>
                  <a:pt x="567" y="137"/>
                </a:cubicBezTo>
                <a:cubicBezTo>
                  <a:pt x="565" y="137"/>
                  <a:pt x="564" y="138"/>
                  <a:pt x="561" y="139"/>
                </a:cubicBezTo>
                <a:cubicBezTo>
                  <a:pt x="554" y="142"/>
                  <a:pt x="546" y="144"/>
                  <a:pt x="541" y="144"/>
                </a:cubicBezTo>
                <a:cubicBezTo>
                  <a:pt x="540" y="144"/>
                  <a:pt x="540" y="143"/>
                  <a:pt x="539" y="143"/>
                </a:cubicBezTo>
                <a:cubicBezTo>
                  <a:pt x="538" y="141"/>
                  <a:pt x="536" y="138"/>
                  <a:pt x="535" y="136"/>
                </a:cubicBezTo>
                <a:cubicBezTo>
                  <a:pt x="534" y="135"/>
                  <a:pt x="534" y="135"/>
                  <a:pt x="534" y="135"/>
                </a:cubicBezTo>
                <a:cubicBezTo>
                  <a:pt x="533" y="135"/>
                  <a:pt x="533" y="134"/>
                  <a:pt x="533" y="133"/>
                </a:cubicBezTo>
                <a:cubicBezTo>
                  <a:pt x="534" y="128"/>
                  <a:pt x="539" y="120"/>
                  <a:pt x="543" y="115"/>
                </a:cubicBezTo>
                <a:cubicBezTo>
                  <a:pt x="548" y="109"/>
                  <a:pt x="546" y="107"/>
                  <a:pt x="543" y="104"/>
                </a:cubicBezTo>
                <a:cubicBezTo>
                  <a:pt x="543" y="103"/>
                  <a:pt x="543" y="103"/>
                  <a:pt x="543" y="103"/>
                </a:cubicBezTo>
                <a:cubicBezTo>
                  <a:pt x="541" y="101"/>
                  <a:pt x="540" y="99"/>
                  <a:pt x="537" y="99"/>
                </a:cubicBezTo>
                <a:cubicBezTo>
                  <a:pt x="536" y="99"/>
                  <a:pt x="534" y="100"/>
                  <a:pt x="531" y="102"/>
                </a:cubicBezTo>
                <a:cubicBezTo>
                  <a:pt x="526" y="106"/>
                  <a:pt x="518" y="110"/>
                  <a:pt x="512" y="110"/>
                </a:cubicBezTo>
                <a:cubicBezTo>
                  <a:pt x="511" y="110"/>
                  <a:pt x="511" y="110"/>
                  <a:pt x="510" y="109"/>
                </a:cubicBezTo>
                <a:cubicBezTo>
                  <a:pt x="508" y="107"/>
                  <a:pt x="506" y="105"/>
                  <a:pt x="503" y="103"/>
                </a:cubicBezTo>
                <a:cubicBezTo>
                  <a:pt x="503" y="102"/>
                  <a:pt x="503" y="102"/>
                  <a:pt x="503" y="101"/>
                </a:cubicBezTo>
                <a:cubicBezTo>
                  <a:pt x="503" y="95"/>
                  <a:pt x="506" y="87"/>
                  <a:pt x="509" y="81"/>
                </a:cubicBezTo>
                <a:cubicBezTo>
                  <a:pt x="514" y="74"/>
                  <a:pt x="511" y="72"/>
                  <a:pt x="508" y="70"/>
                </a:cubicBezTo>
                <a:cubicBezTo>
                  <a:pt x="507" y="69"/>
                  <a:pt x="507" y="69"/>
                  <a:pt x="507" y="69"/>
                </a:cubicBezTo>
                <a:cubicBezTo>
                  <a:pt x="506" y="68"/>
                  <a:pt x="504" y="67"/>
                  <a:pt x="502" y="67"/>
                </a:cubicBezTo>
                <a:cubicBezTo>
                  <a:pt x="500" y="67"/>
                  <a:pt x="498" y="68"/>
                  <a:pt x="496" y="70"/>
                </a:cubicBezTo>
                <a:cubicBezTo>
                  <a:pt x="491" y="75"/>
                  <a:pt x="483" y="80"/>
                  <a:pt x="478" y="81"/>
                </a:cubicBezTo>
                <a:cubicBezTo>
                  <a:pt x="477" y="81"/>
                  <a:pt x="477" y="81"/>
                  <a:pt x="476" y="81"/>
                </a:cubicBezTo>
                <a:cubicBezTo>
                  <a:pt x="473" y="79"/>
                  <a:pt x="471" y="77"/>
                  <a:pt x="468" y="75"/>
                </a:cubicBezTo>
                <a:cubicBezTo>
                  <a:pt x="468" y="75"/>
                  <a:pt x="467" y="74"/>
                  <a:pt x="467" y="74"/>
                </a:cubicBezTo>
                <a:cubicBezTo>
                  <a:pt x="466" y="68"/>
                  <a:pt x="469" y="59"/>
                  <a:pt x="471" y="53"/>
                </a:cubicBezTo>
                <a:cubicBezTo>
                  <a:pt x="474" y="46"/>
                  <a:pt x="471" y="44"/>
                  <a:pt x="468" y="42"/>
                </a:cubicBezTo>
                <a:cubicBezTo>
                  <a:pt x="467" y="41"/>
                  <a:pt x="467" y="41"/>
                  <a:pt x="467" y="41"/>
                </a:cubicBezTo>
                <a:cubicBezTo>
                  <a:pt x="465" y="41"/>
                  <a:pt x="464" y="40"/>
                  <a:pt x="462" y="40"/>
                </a:cubicBezTo>
                <a:cubicBezTo>
                  <a:pt x="460" y="40"/>
                  <a:pt x="458" y="41"/>
                  <a:pt x="456" y="44"/>
                </a:cubicBezTo>
                <a:cubicBezTo>
                  <a:pt x="452" y="49"/>
                  <a:pt x="445" y="56"/>
                  <a:pt x="440" y="58"/>
                </a:cubicBezTo>
                <a:cubicBezTo>
                  <a:pt x="439" y="58"/>
                  <a:pt x="439" y="58"/>
                  <a:pt x="438" y="58"/>
                </a:cubicBezTo>
                <a:cubicBezTo>
                  <a:pt x="436" y="57"/>
                  <a:pt x="436" y="57"/>
                  <a:pt x="436" y="57"/>
                </a:cubicBezTo>
                <a:cubicBezTo>
                  <a:pt x="434" y="56"/>
                  <a:pt x="432" y="55"/>
                  <a:pt x="429" y="54"/>
                </a:cubicBezTo>
                <a:cubicBezTo>
                  <a:pt x="429" y="53"/>
                  <a:pt x="428" y="53"/>
                  <a:pt x="428" y="52"/>
                </a:cubicBezTo>
                <a:cubicBezTo>
                  <a:pt x="426" y="47"/>
                  <a:pt x="427" y="38"/>
                  <a:pt x="429" y="31"/>
                </a:cubicBezTo>
                <a:cubicBezTo>
                  <a:pt x="431" y="23"/>
                  <a:pt x="428" y="22"/>
                  <a:pt x="424" y="21"/>
                </a:cubicBezTo>
                <a:cubicBezTo>
                  <a:pt x="423" y="21"/>
                  <a:pt x="423" y="21"/>
                  <a:pt x="423" y="21"/>
                </a:cubicBezTo>
                <a:cubicBezTo>
                  <a:pt x="421" y="20"/>
                  <a:pt x="420" y="19"/>
                  <a:pt x="419" y="19"/>
                </a:cubicBezTo>
                <a:cubicBezTo>
                  <a:pt x="418" y="19"/>
                  <a:pt x="415" y="19"/>
                  <a:pt x="412" y="25"/>
                </a:cubicBezTo>
                <a:cubicBezTo>
                  <a:pt x="409" y="31"/>
                  <a:pt x="404" y="38"/>
                  <a:pt x="399" y="41"/>
                </a:cubicBezTo>
                <a:cubicBezTo>
                  <a:pt x="398" y="41"/>
                  <a:pt x="397" y="41"/>
                  <a:pt x="397" y="41"/>
                </a:cubicBezTo>
                <a:cubicBezTo>
                  <a:pt x="394" y="40"/>
                  <a:pt x="391" y="39"/>
                  <a:pt x="388" y="38"/>
                </a:cubicBezTo>
                <a:cubicBezTo>
                  <a:pt x="387" y="38"/>
                  <a:pt x="386" y="38"/>
                  <a:pt x="386" y="37"/>
                </a:cubicBezTo>
                <a:cubicBezTo>
                  <a:pt x="384" y="32"/>
                  <a:pt x="383" y="23"/>
                  <a:pt x="383" y="17"/>
                </a:cubicBezTo>
                <a:cubicBezTo>
                  <a:pt x="384" y="8"/>
                  <a:pt x="381" y="8"/>
                  <a:pt x="377" y="7"/>
                </a:cubicBezTo>
                <a:cubicBezTo>
                  <a:pt x="376" y="7"/>
                  <a:pt x="376" y="7"/>
                  <a:pt x="376" y="7"/>
                </a:cubicBezTo>
                <a:cubicBezTo>
                  <a:pt x="375" y="6"/>
                  <a:pt x="373" y="6"/>
                  <a:pt x="372" y="6"/>
                </a:cubicBezTo>
                <a:cubicBezTo>
                  <a:pt x="371" y="6"/>
                  <a:pt x="368" y="6"/>
                  <a:pt x="366" y="13"/>
                </a:cubicBezTo>
                <a:cubicBezTo>
                  <a:pt x="364" y="19"/>
                  <a:pt x="360" y="27"/>
                  <a:pt x="355" y="30"/>
                </a:cubicBezTo>
                <a:cubicBezTo>
                  <a:pt x="355" y="31"/>
                  <a:pt x="354" y="31"/>
                  <a:pt x="353" y="31"/>
                </a:cubicBezTo>
                <a:cubicBezTo>
                  <a:pt x="350" y="31"/>
                  <a:pt x="347" y="30"/>
                  <a:pt x="344" y="30"/>
                </a:cubicBezTo>
                <a:cubicBezTo>
                  <a:pt x="343" y="30"/>
                  <a:pt x="343" y="29"/>
                  <a:pt x="342" y="29"/>
                </a:cubicBezTo>
                <a:cubicBezTo>
                  <a:pt x="339" y="24"/>
                  <a:pt x="337" y="16"/>
                  <a:pt x="336" y="9"/>
                </a:cubicBezTo>
                <a:cubicBezTo>
                  <a:pt x="336" y="1"/>
                  <a:pt x="333" y="1"/>
                  <a:pt x="329" y="0"/>
                </a:cubicBezTo>
                <a:cubicBezTo>
                  <a:pt x="327" y="0"/>
                  <a:pt x="327" y="0"/>
                  <a:pt x="327" y="0"/>
                </a:cubicBezTo>
                <a:cubicBezTo>
                  <a:pt x="327" y="0"/>
                  <a:pt x="326" y="0"/>
                  <a:pt x="325" y="0"/>
                </a:cubicBezTo>
                <a:cubicBezTo>
                  <a:pt x="323" y="0"/>
                  <a:pt x="320" y="0"/>
                  <a:pt x="319" y="8"/>
                </a:cubicBezTo>
                <a:cubicBezTo>
                  <a:pt x="317" y="14"/>
                  <a:pt x="314" y="23"/>
                  <a:pt x="311" y="27"/>
                </a:cubicBezTo>
                <a:cubicBezTo>
                  <a:pt x="310" y="28"/>
                  <a:pt x="310" y="28"/>
                  <a:pt x="309" y="28"/>
                </a:cubicBezTo>
                <a:cubicBezTo>
                  <a:pt x="306" y="28"/>
                  <a:pt x="303" y="28"/>
                  <a:pt x="300" y="28"/>
                </a:cubicBezTo>
                <a:cubicBezTo>
                  <a:pt x="299" y="28"/>
                  <a:pt x="298" y="28"/>
                  <a:pt x="298" y="27"/>
                </a:cubicBezTo>
                <a:cubicBezTo>
                  <a:pt x="294" y="23"/>
                  <a:pt x="291" y="15"/>
                  <a:pt x="289" y="9"/>
                </a:cubicBezTo>
                <a:cubicBezTo>
                  <a:pt x="287" y="1"/>
                  <a:pt x="284" y="1"/>
                  <a:pt x="282" y="1"/>
                </a:cubicBezTo>
                <a:cubicBezTo>
                  <a:pt x="282" y="1"/>
                  <a:pt x="281" y="2"/>
                  <a:pt x="280" y="2"/>
                </a:cubicBezTo>
                <a:cubicBezTo>
                  <a:pt x="278" y="2"/>
                  <a:pt x="278" y="2"/>
                  <a:pt x="278" y="2"/>
                </a:cubicBezTo>
                <a:cubicBezTo>
                  <a:pt x="275" y="2"/>
                  <a:pt x="271" y="2"/>
                  <a:pt x="271" y="10"/>
                </a:cubicBezTo>
                <a:cubicBezTo>
                  <a:pt x="271" y="17"/>
                  <a:pt x="269" y="26"/>
                  <a:pt x="266" y="31"/>
                </a:cubicBezTo>
                <a:cubicBezTo>
                  <a:pt x="266" y="31"/>
                  <a:pt x="265" y="32"/>
                  <a:pt x="265" y="32"/>
                </a:cubicBezTo>
                <a:cubicBezTo>
                  <a:pt x="263" y="32"/>
                  <a:pt x="263" y="32"/>
                  <a:pt x="263" y="32"/>
                </a:cubicBezTo>
                <a:cubicBezTo>
                  <a:pt x="260" y="33"/>
                  <a:pt x="258" y="33"/>
                  <a:pt x="255" y="33"/>
                </a:cubicBezTo>
                <a:cubicBezTo>
                  <a:pt x="255" y="34"/>
                  <a:pt x="254" y="33"/>
                  <a:pt x="253" y="33"/>
                </a:cubicBezTo>
                <a:cubicBezTo>
                  <a:pt x="249" y="30"/>
                  <a:pt x="244" y="22"/>
                  <a:pt x="242" y="16"/>
                </a:cubicBezTo>
                <a:cubicBezTo>
                  <a:pt x="239" y="10"/>
                  <a:pt x="236" y="10"/>
                  <a:pt x="235" y="10"/>
                </a:cubicBezTo>
                <a:cubicBezTo>
                  <a:pt x="234" y="10"/>
                  <a:pt x="233" y="10"/>
                  <a:pt x="232" y="10"/>
                </a:cubicBezTo>
                <a:cubicBezTo>
                  <a:pt x="230" y="11"/>
                  <a:pt x="230" y="11"/>
                  <a:pt x="230" y="11"/>
                </a:cubicBezTo>
                <a:cubicBezTo>
                  <a:pt x="227" y="12"/>
                  <a:pt x="224" y="12"/>
                  <a:pt x="225" y="20"/>
                </a:cubicBezTo>
                <a:cubicBezTo>
                  <a:pt x="225" y="27"/>
                  <a:pt x="225" y="36"/>
                  <a:pt x="223" y="41"/>
                </a:cubicBezTo>
                <a:cubicBezTo>
                  <a:pt x="223" y="42"/>
                  <a:pt x="222" y="42"/>
                  <a:pt x="221" y="43"/>
                </a:cubicBezTo>
                <a:cubicBezTo>
                  <a:pt x="218" y="44"/>
                  <a:pt x="215" y="45"/>
                  <a:pt x="213" y="46"/>
                </a:cubicBezTo>
                <a:cubicBezTo>
                  <a:pt x="212" y="46"/>
                  <a:pt x="211" y="46"/>
                  <a:pt x="211" y="46"/>
                </a:cubicBezTo>
                <a:cubicBezTo>
                  <a:pt x="206" y="43"/>
                  <a:pt x="200" y="36"/>
                  <a:pt x="196" y="31"/>
                </a:cubicBezTo>
                <a:cubicBezTo>
                  <a:pt x="193" y="25"/>
                  <a:pt x="191" y="25"/>
                  <a:pt x="190" y="25"/>
                </a:cubicBezTo>
                <a:cubicBezTo>
                  <a:pt x="189" y="25"/>
                  <a:pt x="187" y="26"/>
                  <a:pt x="186" y="27"/>
                </a:cubicBezTo>
                <a:cubicBezTo>
                  <a:pt x="184" y="27"/>
                  <a:pt x="184" y="27"/>
                  <a:pt x="184" y="27"/>
                </a:cubicBezTo>
                <a:cubicBezTo>
                  <a:pt x="181" y="29"/>
                  <a:pt x="178" y="30"/>
                  <a:pt x="180" y="38"/>
                </a:cubicBezTo>
                <a:cubicBezTo>
                  <a:pt x="182" y="44"/>
                  <a:pt x="183" y="53"/>
                  <a:pt x="182" y="58"/>
                </a:cubicBezTo>
                <a:cubicBezTo>
                  <a:pt x="182" y="59"/>
                  <a:pt x="181" y="60"/>
                  <a:pt x="180" y="60"/>
                </a:cubicBezTo>
                <a:cubicBezTo>
                  <a:pt x="178" y="61"/>
                  <a:pt x="175" y="63"/>
                  <a:pt x="172" y="64"/>
                </a:cubicBezTo>
                <a:cubicBezTo>
                  <a:pt x="172" y="65"/>
                  <a:pt x="171" y="65"/>
                  <a:pt x="170" y="65"/>
                </a:cubicBezTo>
                <a:cubicBezTo>
                  <a:pt x="165" y="63"/>
                  <a:pt x="158" y="57"/>
                  <a:pt x="154" y="52"/>
                </a:cubicBezTo>
                <a:cubicBezTo>
                  <a:pt x="151" y="49"/>
                  <a:pt x="149" y="48"/>
                  <a:pt x="147" y="48"/>
                </a:cubicBezTo>
                <a:cubicBezTo>
                  <a:pt x="146" y="48"/>
                  <a:pt x="144" y="49"/>
                  <a:pt x="143" y="50"/>
                </a:cubicBezTo>
                <a:cubicBezTo>
                  <a:pt x="142" y="50"/>
                  <a:pt x="142" y="50"/>
                  <a:pt x="142" y="50"/>
                </a:cubicBezTo>
                <a:cubicBezTo>
                  <a:pt x="138" y="53"/>
                  <a:pt x="135" y="54"/>
                  <a:pt x="139" y="62"/>
                </a:cubicBezTo>
                <a:cubicBezTo>
                  <a:pt x="142" y="68"/>
                  <a:pt x="144" y="76"/>
                  <a:pt x="144" y="82"/>
                </a:cubicBezTo>
                <a:cubicBezTo>
                  <a:pt x="144" y="82"/>
                  <a:pt x="143" y="83"/>
                  <a:pt x="143" y="83"/>
                </a:cubicBezTo>
                <a:cubicBezTo>
                  <a:pt x="141" y="85"/>
                  <a:pt x="139" y="87"/>
                  <a:pt x="137" y="88"/>
                </a:cubicBezTo>
                <a:cubicBezTo>
                  <a:pt x="135" y="89"/>
                  <a:pt x="135" y="89"/>
                  <a:pt x="135" y="89"/>
                </a:cubicBezTo>
                <a:cubicBezTo>
                  <a:pt x="135" y="90"/>
                  <a:pt x="134" y="90"/>
                  <a:pt x="133" y="90"/>
                </a:cubicBezTo>
                <a:cubicBezTo>
                  <a:pt x="128" y="89"/>
                  <a:pt x="120" y="84"/>
                  <a:pt x="115" y="80"/>
                </a:cubicBezTo>
                <a:cubicBezTo>
                  <a:pt x="113" y="78"/>
                  <a:pt x="110" y="77"/>
                  <a:pt x="109" y="77"/>
                </a:cubicBezTo>
                <a:cubicBezTo>
                  <a:pt x="107" y="77"/>
                  <a:pt x="105" y="78"/>
                  <a:pt x="104" y="79"/>
                </a:cubicBezTo>
                <a:cubicBezTo>
                  <a:pt x="103" y="80"/>
                  <a:pt x="103" y="80"/>
                  <a:pt x="103" y="80"/>
                </a:cubicBezTo>
                <a:cubicBezTo>
                  <a:pt x="100" y="83"/>
                  <a:pt x="97" y="85"/>
                  <a:pt x="102" y="92"/>
                </a:cubicBezTo>
                <a:cubicBezTo>
                  <a:pt x="106" y="97"/>
                  <a:pt x="110" y="105"/>
                  <a:pt x="110" y="111"/>
                </a:cubicBezTo>
                <a:cubicBezTo>
                  <a:pt x="110" y="112"/>
                  <a:pt x="110" y="112"/>
                  <a:pt x="109" y="113"/>
                </a:cubicBezTo>
                <a:cubicBezTo>
                  <a:pt x="107" y="115"/>
                  <a:pt x="105" y="117"/>
                  <a:pt x="103" y="119"/>
                </a:cubicBezTo>
                <a:cubicBezTo>
                  <a:pt x="102" y="120"/>
                  <a:pt x="102" y="120"/>
                  <a:pt x="101" y="120"/>
                </a:cubicBezTo>
                <a:cubicBezTo>
                  <a:pt x="101" y="120"/>
                  <a:pt x="101" y="120"/>
                  <a:pt x="101" y="120"/>
                </a:cubicBezTo>
                <a:cubicBezTo>
                  <a:pt x="95" y="120"/>
                  <a:pt x="87" y="117"/>
                  <a:pt x="81" y="113"/>
                </a:cubicBezTo>
                <a:cubicBezTo>
                  <a:pt x="79" y="112"/>
                  <a:pt x="77" y="111"/>
                  <a:pt x="75" y="111"/>
                </a:cubicBezTo>
                <a:cubicBezTo>
                  <a:pt x="73" y="111"/>
                  <a:pt x="72" y="113"/>
                  <a:pt x="70" y="115"/>
                </a:cubicBezTo>
                <a:cubicBezTo>
                  <a:pt x="69" y="116"/>
                  <a:pt x="69" y="116"/>
                  <a:pt x="69" y="116"/>
                </a:cubicBezTo>
                <a:cubicBezTo>
                  <a:pt x="67" y="119"/>
                  <a:pt x="65" y="121"/>
                  <a:pt x="70" y="127"/>
                </a:cubicBezTo>
                <a:cubicBezTo>
                  <a:pt x="75" y="132"/>
                  <a:pt x="80" y="139"/>
                  <a:pt x="81" y="145"/>
                </a:cubicBezTo>
                <a:cubicBezTo>
                  <a:pt x="81" y="146"/>
                  <a:pt x="81" y="146"/>
                  <a:pt x="81" y="147"/>
                </a:cubicBezTo>
                <a:cubicBezTo>
                  <a:pt x="79" y="149"/>
                  <a:pt x="77" y="152"/>
                  <a:pt x="75" y="154"/>
                </a:cubicBezTo>
                <a:cubicBezTo>
                  <a:pt x="75" y="155"/>
                  <a:pt x="74" y="155"/>
                  <a:pt x="74" y="156"/>
                </a:cubicBezTo>
                <a:cubicBezTo>
                  <a:pt x="69" y="156"/>
                  <a:pt x="61" y="155"/>
                  <a:pt x="53" y="152"/>
                </a:cubicBezTo>
                <a:cubicBezTo>
                  <a:pt x="51" y="151"/>
                  <a:pt x="49" y="150"/>
                  <a:pt x="48" y="150"/>
                </a:cubicBezTo>
                <a:cubicBezTo>
                  <a:pt x="45" y="150"/>
                  <a:pt x="44" y="152"/>
                  <a:pt x="42" y="155"/>
                </a:cubicBezTo>
                <a:cubicBezTo>
                  <a:pt x="42" y="156"/>
                  <a:pt x="42" y="156"/>
                  <a:pt x="42" y="156"/>
                </a:cubicBezTo>
                <a:cubicBezTo>
                  <a:pt x="40" y="159"/>
                  <a:pt x="38" y="162"/>
                  <a:pt x="44" y="167"/>
                </a:cubicBezTo>
                <a:cubicBezTo>
                  <a:pt x="50" y="171"/>
                  <a:pt x="56" y="178"/>
                  <a:pt x="58" y="183"/>
                </a:cubicBezTo>
                <a:cubicBezTo>
                  <a:pt x="58" y="184"/>
                  <a:pt x="58" y="184"/>
                  <a:pt x="58" y="185"/>
                </a:cubicBezTo>
                <a:cubicBezTo>
                  <a:pt x="57" y="186"/>
                  <a:pt x="57" y="186"/>
                  <a:pt x="57" y="186"/>
                </a:cubicBezTo>
                <a:cubicBezTo>
                  <a:pt x="56" y="188"/>
                  <a:pt x="55" y="191"/>
                  <a:pt x="54" y="193"/>
                </a:cubicBezTo>
                <a:cubicBezTo>
                  <a:pt x="53" y="194"/>
                  <a:pt x="53" y="194"/>
                  <a:pt x="52" y="195"/>
                </a:cubicBezTo>
                <a:cubicBezTo>
                  <a:pt x="48" y="196"/>
                  <a:pt x="39" y="196"/>
                  <a:pt x="31" y="194"/>
                </a:cubicBezTo>
                <a:cubicBezTo>
                  <a:pt x="30" y="194"/>
                  <a:pt x="28" y="194"/>
                  <a:pt x="27" y="194"/>
                </a:cubicBezTo>
                <a:cubicBezTo>
                  <a:pt x="23" y="194"/>
                  <a:pt x="22" y="196"/>
                  <a:pt x="21" y="199"/>
                </a:cubicBezTo>
                <a:cubicBezTo>
                  <a:pt x="21" y="200"/>
                  <a:pt x="21" y="200"/>
                  <a:pt x="21" y="200"/>
                </a:cubicBezTo>
                <a:cubicBezTo>
                  <a:pt x="19" y="204"/>
                  <a:pt x="18" y="207"/>
                  <a:pt x="25" y="211"/>
                </a:cubicBezTo>
                <a:cubicBezTo>
                  <a:pt x="31" y="214"/>
                  <a:pt x="38" y="219"/>
                  <a:pt x="41" y="224"/>
                </a:cubicBezTo>
                <a:cubicBezTo>
                  <a:pt x="41" y="225"/>
                  <a:pt x="41" y="226"/>
                  <a:pt x="41" y="226"/>
                </a:cubicBezTo>
                <a:cubicBezTo>
                  <a:pt x="40" y="229"/>
                  <a:pt x="39" y="232"/>
                  <a:pt x="38" y="235"/>
                </a:cubicBezTo>
                <a:cubicBezTo>
                  <a:pt x="38" y="236"/>
                  <a:pt x="38" y="236"/>
                  <a:pt x="37" y="237"/>
                </a:cubicBezTo>
                <a:cubicBezTo>
                  <a:pt x="32" y="239"/>
                  <a:pt x="24" y="240"/>
                  <a:pt x="20" y="240"/>
                </a:cubicBezTo>
                <a:cubicBezTo>
                  <a:pt x="19" y="240"/>
                  <a:pt x="18" y="239"/>
                  <a:pt x="17" y="239"/>
                </a:cubicBezTo>
                <a:cubicBezTo>
                  <a:pt x="16" y="239"/>
                  <a:pt x="15" y="239"/>
                  <a:pt x="15" y="239"/>
                </a:cubicBezTo>
                <a:cubicBezTo>
                  <a:pt x="8" y="239"/>
                  <a:pt x="8" y="242"/>
                  <a:pt x="7" y="246"/>
                </a:cubicBezTo>
                <a:cubicBezTo>
                  <a:pt x="7" y="247"/>
                  <a:pt x="7" y="247"/>
                  <a:pt x="7" y="247"/>
                </a:cubicBezTo>
                <a:cubicBezTo>
                  <a:pt x="6" y="251"/>
                  <a:pt x="5" y="254"/>
                  <a:pt x="13" y="257"/>
                </a:cubicBezTo>
                <a:cubicBezTo>
                  <a:pt x="19" y="259"/>
                  <a:pt x="27" y="263"/>
                  <a:pt x="31" y="268"/>
                </a:cubicBezTo>
                <a:cubicBezTo>
                  <a:pt x="31" y="268"/>
                  <a:pt x="31" y="269"/>
                  <a:pt x="31" y="270"/>
                </a:cubicBezTo>
                <a:cubicBezTo>
                  <a:pt x="31" y="273"/>
                  <a:pt x="30" y="276"/>
                  <a:pt x="30" y="279"/>
                </a:cubicBezTo>
                <a:cubicBezTo>
                  <a:pt x="30" y="279"/>
                  <a:pt x="29" y="280"/>
                  <a:pt x="29" y="280"/>
                </a:cubicBezTo>
                <a:cubicBezTo>
                  <a:pt x="24" y="284"/>
                  <a:pt x="16" y="286"/>
                  <a:pt x="9" y="286"/>
                </a:cubicBezTo>
                <a:cubicBezTo>
                  <a:pt x="1" y="287"/>
                  <a:pt x="1" y="290"/>
                  <a:pt x="1" y="294"/>
                </a:cubicBezTo>
                <a:cubicBezTo>
                  <a:pt x="0" y="296"/>
                  <a:pt x="0" y="296"/>
                  <a:pt x="0" y="296"/>
                </a:cubicBezTo>
                <a:cubicBezTo>
                  <a:pt x="0" y="299"/>
                  <a:pt x="0" y="303"/>
                  <a:pt x="8" y="304"/>
                </a:cubicBezTo>
                <a:cubicBezTo>
                  <a:pt x="14" y="305"/>
                  <a:pt x="23" y="308"/>
                  <a:pt x="27" y="312"/>
                </a:cubicBezTo>
                <a:cubicBezTo>
                  <a:pt x="28" y="313"/>
                  <a:pt x="28" y="313"/>
                  <a:pt x="28" y="314"/>
                </a:cubicBezTo>
                <a:cubicBezTo>
                  <a:pt x="28" y="317"/>
                  <a:pt x="28" y="320"/>
                  <a:pt x="28" y="323"/>
                </a:cubicBezTo>
                <a:cubicBezTo>
                  <a:pt x="28" y="323"/>
                  <a:pt x="28" y="323"/>
                  <a:pt x="28" y="323"/>
                </a:cubicBezTo>
                <a:cubicBezTo>
                  <a:pt x="28" y="324"/>
                  <a:pt x="28" y="325"/>
                  <a:pt x="28" y="325"/>
                </a:cubicBezTo>
                <a:cubicBezTo>
                  <a:pt x="23" y="329"/>
                  <a:pt x="15" y="332"/>
                  <a:pt x="9" y="334"/>
                </a:cubicBezTo>
                <a:cubicBezTo>
                  <a:pt x="1" y="336"/>
                  <a:pt x="1" y="339"/>
                  <a:pt x="2" y="343"/>
                </a:cubicBezTo>
                <a:cubicBezTo>
                  <a:pt x="2" y="344"/>
                  <a:pt x="2" y="344"/>
                  <a:pt x="2" y="344"/>
                </a:cubicBezTo>
                <a:cubicBezTo>
                  <a:pt x="2" y="348"/>
                  <a:pt x="2" y="351"/>
                  <a:pt x="11" y="352"/>
                </a:cubicBezTo>
                <a:cubicBezTo>
                  <a:pt x="17" y="352"/>
                  <a:pt x="26" y="354"/>
                  <a:pt x="31" y="357"/>
                </a:cubicBezTo>
                <a:cubicBezTo>
                  <a:pt x="31" y="357"/>
                  <a:pt x="32" y="358"/>
                  <a:pt x="32" y="358"/>
                </a:cubicBezTo>
                <a:cubicBezTo>
                  <a:pt x="32" y="359"/>
                  <a:pt x="32" y="359"/>
                  <a:pt x="32" y="359"/>
                </a:cubicBezTo>
                <a:cubicBezTo>
                  <a:pt x="32" y="362"/>
                  <a:pt x="33" y="365"/>
                  <a:pt x="33" y="367"/>
                </a:cubicBezTo>
                <a:cubicBezTo>
                  <a:pt x="34" y="368"/>
                  <a:pt x="33" y="369"/>
                  <a:pt x="33" y="369"/>
                </a:cubicBezTo>
                <a:cubicBezTo>
                  <a:pt x="30" y="374"/>
                  <a:pt x="22" y="378"/>
                  <a:pt x="16" y="381"/>
                </a:cubicBezTo>
                <a:cubicBezTo>
                  <a:pt x="8" y="384"/>
                  <a:pt x="9" y="387"/>
                  <a:pt x="10" y="391"/>
                </a:cubicBezTo>
                <a:cubicBezTo>
                  <a:pt x="11" y="392"/>
                  <a:pt x="11" y="392"/>
                  <a:pt x="11" y="392"/>
                </a:cubicBezTo>
                <a:cubicBezTo>
                  <a:pt x="12" y="396"/>
                  <a:pt x="12" y="398"/>
                  <a:pt x="18" y="398"/>
                </a:cubicBezTo>
                <a:cubicBezTo>
                  <a:pt x="19" y="398"/>
                  <a:pt x="20" y="398"/>
                  <a:pt x="21" y="398"/>
                </a:cubicBezTo>
                <a:cubicBezTo>
                  <a:pt x="23" y="398"/>
                  <a:pt x="25" y="398"/>
                  <a:pt x="28" y="398"/>
                </a:cubicBezTo>
                <a:cubicBezTo>
                  <a:pt x="32" y="398"/>
                  <a:pt x="37" y="398"/>
                  <a:pt x="41" y="400"/>
                </a:cubicBezTo>
                <a:cubicBezTo>
                  <a:pt x="42" y="400"/>
                  <a:pt x="42" y="401"/>
                  <a:pt x="43" y="401"/>
                </a:cubicBezTo>
                <a:cubicBezTo>
                  <a:pt x="44" y="404"/>
                  <a:pt x="45" y="407"/>
                  <a:pt x="46" y="410"/>
                </a:cubicBezTo>
                <a:cubicBezTo>
                  <a:pt x="46" y="411"/>
                  <a:pt x="46" y="412"/>
                  <a:pt x="46" y="412"/>
                </a:cubicBezTo>
                <a:cubicBezTo>
                  <a:pt x="43" y="417"/>
                  <a:pt x="36" y="423"/>
                  <a:pt x="31" y="426"/>
                </a:cubicBezTo>
                <a:cubicBezTo>
                  <a:pt x="24" y="431"/>
                  <a:pt x="25" y="434"/>
                  <a:pt x="27" y="437"/>
                </a:cubicBezTo>
                <a:cubicBezTo>
                  <a:pt x="27" y="438"/>
                  <a:pt x="27" y="438"/>
                  <a:pt x="27" y="438"/>
                </a:cubicBezTo>
                <a:cubicBezTo>
                  <a:pt x="28" y="442"/>
                  <a:pt x="29" y="443"/>
                  <a:pt x="33" y="443"/>
                </a:cubicBezTo>
                <a:cubicBezTo>
                  <a:pt x="34" y="443"/>
                  <a:pt x="36" y="443"/>
                  <a:pt x="38" y="443"/>
                </a:cubicBezTo>
                <a:cubicBezTo>
                  <a:pt x="43" y="441"/>
                  <a:pt x="48" y="440"/>
                  <a:pt x="53" y="440"/>
                </a:cubicBezTo>
                <a:cubicBezTo>
                  <a:pt x="55" y="440"/>
                  <a:pt x="57" y="441"/>
                  <a:pt x="58" y="441"/>
                </a:cubicBezTo>
                <a:cubicBezTo>
                  <a:pt x="59" y="441"/>
                  <a:pt x="60" y="442"/>
                  <a:pt x="60" y="442"/>
                </a:cubicBezTo>
                <a:cubicBezTo>
                  <a:pt x="61" y="445"/>
                  <a:pt x="63" y="448"/>
                  <a:pt x="64" y="451"/>
                </a:cubicBezTo>
                <a:cubicBezTo>
                  <a:pt x="65" y="451"/>
                  <a:pt x="65" y="452"/>
                  <a:pt x="65" y="453"/>
                </a:cubicBezTo>
                <a:cubicBezTo>
                  <a:pt x="63" y="458"/>
                  <a:pt x="57" y="465"/>
                  <a:pt x="52" y="469"/>
                </a:cubicBezTo>
                <a:cubicBezTo>
                  <a:pt x="46" y="474"/>
                  <a:pt x="48" y="477"/>
                  <a:pt x="50" y="480"/>
                </a:cubicBezTo>
                <a:cubicBezTo>
                  <a:pt x="51" y="481"/>
                  <a:pt x="51" y="481"/>
                  <a:pt x="51" y="481"/>
                </a:cubicBezTo>
                <a:cubicBezTo>
                  <a:pt x="52" y="484"/>
                  <a:pt x="53" y="485"/>
                  <a:pt x="56" y="485"/>
                </a:cubicBezTo>
                <a:cubicBezTo>
                  <a:pt x="57" y="485"/>
                  <a:pt x="59" y="485"/>
                  <a:pt x="62" y="484"/>
                </a:cubicBezTo>
                <a:cubicBezTo>
                  <a:pt x="69" y="480"/>
                  <a:pt x="77" y="479"/>
                  <a:pt x="82" y="479"/>
                </a:cubicBezTo>
                <a:cubicBezTo>
                  <a:pt x="82" y="479"/>
                  <a:pt x="83" y="480"/>
                  <a:pt x="83" y="480"/>
                </a:cubicBezTo>
                <a:cubicBezTo>
                  <a:pt x="85" y="482"/>
                  <a:pt x="87" y="484"/>
                  <a:pt x="88" y="486"/>
                </a:cubicBezTo>
                <a:cubicBezTo>
                  <a:pt x="89" y="487"/>
                  <a:pt x="89" y="487"/>
                  <a:pt x="89" y="487"/>
                </a:cubicBezTo>
                <a:cubicBezTo>
                  <a:pt x="90" y="488"/>
                  <a:pt x="90" y="489"/>
                  <a:pt x="90" y="489"/>
                </a:cubicBezTo>
                <a:cubicBezTo>
                  <a:pt x="89" y="495"/>
                  <a:pt x="84" y="502"/>
                  <a:pt x="80" y="508"/>
                </a:cubicBezTo>
                <a:cubicBezTo>
                  <a:pt x="75" y="514"/>
                  <a:pt x="77" y="516"/>
                  <a:pt x="79" y="519"/>
                </a:cubicBezTo>
                <a:cubicBezTo>
                  <a:pt x="80" y="520"/>
                  <a:pt x="80" y="520"/>
                  <a:pt x="80" y="520"/>
                </a:cubicBezTo>
                <a:cubicBezTo>
                  <a:pt x="82" y="522"/>
                  <a:pt x="83" y="523"/>
                  <a:pt x="85" y="523"/>
                </a:cubicBezTo>
                <a:cubicBezTo>
                  <a:pt x="87" y="523"/>
                  <a:pt x="89" y="523"/>
                  <a:pt x="92" y="521"/>
                </a:cubicBezTo>
                <a:cubicBezTo>
                  <a:pt x="97" y="517"/>
                  <a:pt x="105" y="513"/>
                  <a:pt x="111" y="513"/>
                </a:cubicBezTo>
                <a:cubicBezTo>
                  <a:pt x="112" y="513"/>
                  <a:pt x="112" y="513"/>
                  <a:pt x="113" y="514"/>
                </a:cubicBezTo>
                <a:cubicBezTo>
                  <a:pt x="115" y="516"/>
                  <a:pt x="117" y="518"/>
                  <a:pt x="120" y="520"/>
                </a:cubicBezTo>
                <a:cubicBezTo>
                  <a:pt x="120" y="520"/>
                  <a:pt x="120" y="521"/>
                  <a:pt x="120" y="522"/>
                </a:cubicBezTo>
                <a:cubicBezTo>
                  <a:pt x="120" y="528"/>
                  <a:pt x="117" y="536"/>
                  <a:pt x="113" y="541"/>
                </a:cubicBezTo>
                <a:cubicBezTo>
                  <a:pt x="109" y="548"/>
                  <a:pt x="112" y="550"/>
                  <a:pt x="115" y="553"/>
                </a:cubicBezTo>
                <a:cubicBezTo>
                  <a:pt x="116" y="554"/>
                  <a:pt x="116" y="554"/>
                  <a:pt x="116" y="554"/>
                </a:cubicBezTo>
                <a:cubicBezTo>
                  <a:pt x="117" y="555"/>
                  <a:pt x="119" y="556"/>
                  <a:pt x="121" y="556"/>
                </a:cubicBezTo>
                <a:cubicBezTo>
                  <a:pt x="122" y="556"/>
                  <a:pt x="125" y="555"/>
                  <a:pt x="127" y="553"/>
                </a:cubicBezTo>
                <a:cubicBezTo>
                  <a:pt x="132" y="548"/>
                  <a:pt x="139" y="543"/>
                  <a:pt x="145" y="542"/>
                </a:cubicBezTo>
                <a:cubicBezTo>
                  <a:pt x="146" y="542"/>
                  <a:pt x="146" y="542"/>
                  <a:pt x="147" y="542"/>
                </a:cubicBezTo>
                <a:cubicBezTo>
                  <a:pt x="149" y="544"/>
                  <a:pt x="152" y="546"/>
                  <a:pt x="155" y="547"/>
                </a:cubicBezTo>
                <a:cubicBezTo>
                  <a:pt x="155" y="548"/>
                  <a:pt x="156" y="549"/>
                  <a:pt x="156" y="549"/>
                </a:cubicBezTo>
                <a:cubicBezTo>
                  <a:pt x="156" y="555"/>
                  <a:pt x="154" y="563"/>
                  <a:pt x="152" y="570"/>
                </a:cubicBezTo>
                <a:cubicBezTo>
                  <a:pt x="149" y="577"/>
                  <a:pt x="151" y="579"/>
                  <a:pt x="155" y="581"/>
                </a:cubicBezTo>
                <a:cubicBezTo>
                  <a:pt x="156" y="581"/>
                  <a:pt x="156" y="581"/>
                  <a:pt x="156" y="581"/>
                </a:cubicBezTo>
                <a:cubicBezTo>
                  <a:pt x="158" y="582"/>
                  <a:pt x="159" y="583"/>
                  <a:pt x="161" y="583"/>
                </a:cubicBezTo>
                <a:cubicBezTo>
                  <a:pt x="163" y="583"/>
                  <a:pt x="165" y="582"/>
                  <a:pt x="167" y="578"/>
                </a:cubicBezTo>
                <a:cubicBezTo>
                  <a:pt x="171" y="573"/>
                  <a:pt x="178" y="567"/>
                  <a:pt x="183" y="565"/>
                </a:cubicBezTo>
                <a:cubicBezTo>
                  <a:pt x="184" y="565"/>
                  <a:pt x="184" y="565"/>
                  <a:pt x="185" y="565"/>
                </a:cubicBezTo>
                <a:cubicBezTo>
                  <a:pt x="186" y="566"/>
                  <a:pt x="186" y="566"/>
                  <a:pt x="186" y="566"/>
                </a:cubicBezTo>
                <a:cubicBezTo>
                  <a:pt x="189" y="567"/>
                  <a:pt x="191" y="568"/>
                  <a:pt x="193" y="569"/>
                </a:cubicBezTo>
                <a:cubicBezTo>
                  <a:pt x="194" y="570"/>
                  <a:pt x="195" y="570"/>
                  <a:pt x="195" y="571"/>
                </a:cubicBezTo>
                <a:cubicBezTo>
                  <a:pt x="196" y="576"/>
                  <a:pt x="196" y="585"/>
                  <a:pt x="194" y="591"/>
                </a:cubicBezTo>
                <a:cubicBezTo>
                  <a:pt x="192" y="599"/>
                  <a:pt x="195" y="600"/>
                  <a:pt x="199" y="602"/>
                </a:cubicBezTo>
                <a:cubicBezTo>
                  <a:pt x="200" y="602"/>
                  <a:pt x="200" y="602"/>
                  <a:pt x="200" y="602"/>
                </a:cubicBezTo>
                <a:cubicBezTo>
                  <a:pt x="202" y="603"/>
                  <a:pt x="203" y="603"/>
                  <a:pt x="204" y="603"/>
                </a:cubicBezTo>
                <a:cubicBezTo>
                  <a:pt x="205" y="603"/>
                  <a:pt x="208" y="603"/>
                  <a:pt x="211" y="598"/>
                </a:cubicBezTo>
                <a:cubicBezTo>
                  <a:pt x="214" y="592"/>
                  <a:pt x="219" y="585"/>
                  <a:pt x="224" y="582"/>
                </a:cubicBezTo>
                <a:cubicBezTo>
                  <a:pt x="225" y="582"/>
                  <a:pt x="226" y="582"/>
                  <a:pt x="226" y="582"/>
                </a:cubicBezTo>
                <a:cubicBezTo>
                  <a:pt x="229" y="583"/>
                  <a:pt x="232" y="584"/>
                  <a:pt x="235" y="584"/>
                </a:cubicBezTo>
                <a:cubicBezTo>
                  <a:pt x="236" y="585"/>
                  <a:pt x="236" y="585"/>
                  <a:pt x="237" y="586"/>
                </a:cubicBezTo>
                <a:cubicBezTo>
                  <a:pt x="239" y="591"/>
                  <a:pt x="240" y="600"/>
                  <a:pt x="239" y="606"/>
                </a:cubicBezTo>
                <a:cubicBezTo>
                  <a:pt x="239" y="614"/>
                  <a:pt x="242" y="615"/>
                  <a:pt x="246" y="616"/>
                </a:cubicBezTo>
                <a:cubicBezTo>
                  <a:pt x="247" y="616"/>
                  <a:pt x="247" y="616"/>
                  <a:pt x="247" y="616"/>
                </a:cubicBezTo>
                <a:cubicBezTo>
                  <a:pt x="248" y="616"/>
                  <a:pt x="249" y="617"/>
                  <a:pt x="251" y="617"/>
                </a:cubicBezTo>
                <a:cubicBezTo>
                  <a:pt x="252" y="617"/>
                  <a:pt x="254" y="617"/>
                  <a:pt x="257" y="610"/>
                </a:cubicBezTo>
                <a:cubicBezTo>
                  <a:pt x="259" y="604"/>
                  <a:pt x="263" y="596"/>
                  <a:pt x="268" y="592"/>
                </a:cubicBezTo>
                <a:cubicBezTo>
                  <a:pt x="268" y="592"/>
                  <a:pt x="269" y="592"/>
                  <a:pt x="269" y="592"/>
                </a:cubicBezTo>
                <a:cubicBezTo>
                  <a:pt x="270" y="592"/>
                  <a:pt x="270" y="592"/>
                  <a:pt x="270" y="592"/>
                </a:cubicBezTo>
                <a:cubicBezTo>
                  <a:pt x="273" y="592"/>
                  <a:pt x="276" y="593"/>
                  <a:pt x="279" y="593"/>
                </a:cubicBezTo>
                <a:cubicBezTo>
                  <a:pt x="279" y="593"/>
                  <a:pt x="280" y="593"/>
                  <a:pt x="281" y="594"/>
                </a:cubicBezTo>
                <a:cubicBezTo>
                  <a:pt x="284" y="599"/>
                  <a:pt x="286" y="607"/>
                  <a:pt x="287" y="614"/>
                </a:cubicBezTo>
                <a:cubicBezTo>
                  <a:pt x="287" y="622"/>
                  <a:pt x="290" y="622"/>
                  <a:pt x="294" y="622"/>
                </a:cubicBezTo>
                <a:cubicBezTo>
                  <a:pt x="296" y="622"/>
                  <a:pt x="296" y="622"/>
                  <a:pt x="296" y="622"/>
                </a:cubicBezTo>
                <a:cubicBezTo>
                  <a:pt x="296" y="622"/>
                  <a:pt x="297" y="622"/>
                  <a:pt x="298" y="622"/>
                </a:cubicBezTo>
                <a:cubicBezTo>
                  <a:pt x="300" y="622"/>
                  <a:pt x="303" y="622"/>
                  <a:pt x="304" y="615"/>
                </a:cubicBezTo>
                <a:cubicBezTo>
                  <a:pt x="306" y="608"/>
                  <a:pt x="308" y="600"/>
                  <a:pt x="312" y="596"/>
                </a:cubicBezTo>
                <a:cubicBezTo>
                  <a:pt x="313" y="595"/>
                  <a:pt x="313" y="595"/>
                  <a:pt x="314" y="595"/>
                </a:cubicBezTo>
                <a:cubicBezTo>
                  <a:pt x="317" y="595"/>
                  <a:pt x="320" y="595"/>
                  <a:pt x="322" y="595"/>
                </a:cubicBezTo>
                <a:cubicBezTo>
                  <a:pt x="323" y="595"/>
                  <a:pt x="323" y="595"/>
                  <a:pt x="323" y="595"/>
                </a:cubicBezTo>
                <a:cubicBezTo>
                  <a:pt x="324" y="595"/>
                  <a:pt x="325" y="595"/>
                  <a:pt x="325" y="595"/>
                </a:cubicBezTo>
                <a:cubicBezTo>
                  <a:pt x="329" y="599"/>
                  <a:pt x="332" y="608"/>
                  <a:pt x="334" y="614"/>
                </a:cubicBezTo>
                <a:cubicBezTo>
                  <a:pt x="336" y="621"/>
                  <a:pt x="339" y="621"/>
                  <a:pt x="340" y="621"/>
                </a:cubicBezTo>
                <a:cubicBezTo>
                  <a:pt x="341" y="621"/>
                  <a:pt x="342" y="621"/>
                  <a:pt x="343" y="621"/>
                </a:cubicBezTo>
                <a:cubicBezTo>
                  <a:pt x="344" y="621"/>
                  <a:pt x="344" y="621"/>
                  <a:pt x="344" y="621"/>
                </a:cubicBezTo>
                <a:cubicBezTo>
                  <a:pt x="348" y="621"/>
                  <a:pt x="352" y="620"/>
                  <a:pt x="352" y="612"/>
                </a:cubicBezTo>
                <a:cubicBezTo>
                  <a:pt x="352" y="606"/>
                  <a:pt x="354" y="597"/>
                  <a:pt x="357" y="592"/>
                </a:cubicBezTo>
                <a:cubicBezTo>
                  <a:pt x="357" y="591"/>
                  <a:pt x="358" y="591"/>
                  <a:pt x="358" y="591"/>
                </a:cubicBezTo>
                <a:cubicBezTo>
                  <a:pt x="360" y="591"/>
                  <a:pt x="360" y="591"/>
                  <a:pt x="360" y="591"/>
                </a:cubicBezTo>
                <a:cubicBezTo>
                  <a:pt x="362" y="590"/>
                  <a:pt x="365" y="590"/>
                  <a:pt x="367" y="589"/>
                </a:cubicBezTo>
                <a:cubicBezTo>
                  <a:pt x="368" y="589"/>
                  <a:pt x="369" y="589"/>
                  <a:pt x="369" y="590"/>
                </a:cubicBezTo>
                <a:cubicBezTo>
                  <a:pt x="374" y="593"/>
                  <a:pt x="378" y="601"/>
                  <a:pt x="381" y="607"/>
                </a:cubicBezTo>
                <a:cubicBezTo>
                  <a:pt x="384" y="613"/>
                  <a:pt x="386" y="613"/>
                  <a:pt x="387" y="613"/>
                </a:cubicBezTo>
                <a:cubicBezTo>
                  <a:pt x="389" y="613"/>
                  <a:pt x="390" y="613"/>
                  <a:pt x="391" y="612"/>
                </a:cubicBezTo>
                <a:cubicBezTo>
                  <a:pt x="392" y="612"/>
                  <a:pt x="392" y="612"/>
                  <a:pt x="392" y="612"/>
                </a:cubicBezTo>
                <a:cubicBezTo>
                  <a:pt x="396" y="611"/>
                  <a:pt x="399" y="610"/>
                  <a:pt x="398" y="602"/>
                </a:cubicBezTo>
                <a:cubicBezTo>
                  <a:pt x="398" y="596"/>
                  <a:pt x="398" y="587"/>
                  <a:pt x="400" y="582"/>
                </a:cubicBezTo>
                <a:cubicBezTo>
                  <a:pt x="400" y="581"/>
                  <a:pt x="401" y="580"/>
                  <a:pt x="402" y="580"/>
                </a:cubicBezTo>
                <a:cubicBezTo>
                  <a:pt x="404" y="579"/>
                  <a:pt x="407" y="578"/>
                  <a:pt x="410" y="577"/>
                </a:cubicBezTo>
                <a:cubicBezTo>
                  <a:pt x="411" y="577"/>
                  <a:pt x="412" y="577"/>
                  <a:pt x="412" y="577"/>
                </a:cubicBezTo>
                <a:cubicBezTo>
                  <a:pt x="417" y="580"/>
                  <a:pt x="423" y="587"/>
                  <a:pt x="427" y="592"/>
                </a:cubicBezTo>
                <a:cubicBezTo>
                  <a:pt x="430" y="598"/>
                  <a:pt x="432" y="598"/>
                  <a:pt x="433" y="598"/>
                </a:cubicBezTo>
                <a:cubicBezTo>
                  <a:pt x="434" y="598"/>
                  <a:pt x="436" y="597"/>
                  <a:pt x="437" y="596"/>
                </a:cubicBezTo>
                <a:cubicBezTo>
                  <a:pt x="438" y="596"/>
                  <a:pt x="438" y="596"/>
                  <a:pt x="438" y="596"/>
                </a:cubicBezTo>
                <a:cubicBezTo>
                  <a:pt x="442" y="594"/>
                  <a:pt x="445" y="593"/>
                  <a:pt x="443" y="585"/>
                </a:cubicBezTo>
                <a:cubicBezTo>
                  <a:pt x="441" y="579"/>
                  <a:pt x="440" y="570"/>
                  <a:pt x="441" y="564"/>
                </a:cubicBezTo>
                <a:cubicBezTo>
                  <a:pt x="441" y="564"/>
                  <a:pt x="442" y="563"/>
                  <a:pt x="442" y="563"/>
                </a:cubicBezTo>
                <a:cubicBezTo>
                  <a:pt x="445" y="561"/>
                  <a:pt x="448" y="560"/>
                  <a:pt x="451" y="558"/>
                </a:cubicBezTo>
                <a:cubicBezTo>
                  <a:pt x="451" y="558"/>
                  <a:pt x="452" y="558"/>
                  <a:pt x="453" y="558"/>
                </a:cubicBezTo>
                <a:cubicBezTo>
                  <a:pt x="458" y="560"/>
                  <a:pt x="465" y="566"/>
                  <a:pt x="469" y="571"/>
                </a:cubicBezTo>
                <a:cubicBezTo>
                  <a:pt x="472" y="574"/>
                  <a:pt x="474" y="575"/>
                  <a:pt x="476" y="575"/>
                </a:cubicBezTo>
                <a:cubicBezTo>
                  <a:pt x="477" y="575"/>
                  <a:pt x="479" y="574"/>
                  <a:pt x="480" y="573"/>
                </a:cubicBezTo>
                <a:cubicBezTo>
                  <a:pt x="481" y="572"/>
                  <a:pt x="481" y="572"/>
                  <a:pt x="481" y="572"/>
                </a:cubicBezTo>
                <a:cubicBezTo>
                  <a:pt x="485" y="570"/>
                  <a:pt x="487" y="569"/>
                  <a:pt x="484" y="561"/>
                </a:cubicBezTo>
                <a:cubicBezTo>
                  <a:pt x="481" y="555"/>
                  <a:pt x="479" y="547"/>
                  <a:pt x="479" y="541"/>
                </a:cubicBezTo>
                <a:cubicBezTo>
                  <a:pt x="479" y="540"/>
                  <a:pt x="480" y="540"/>
                  <a:pt x="480" y="539"/>
                </a:cubicBezTo>
                <a:cubicBezTo>
                  <a:pt x="483" y="538"/>
                  <a:pt x="485" y="536"/>
                  <a:pt x="487" y="534"/>
                </a:cubicBezTo>
                <a:cubicBezTo>
                  <a:pt x="488" y="534"/>
                  <a:pt x="488" y="534"/>
                  <a:pt x="488" y="534"/>
                </a:cubicBezTo>
                <a:cubicBezTo>
                  <a:pt x="488" y="533"/>
                  <a:pt x="489" y="533"/>
                  <a:pt x="489" y="533"/>
                </a:cubicBezTo>
                <a:cubicBezTo>
                  <a:pt x="495" y="534"/>
                  <a:pt x="503" y="539"/>
                  <a:pt x="508" y="543"/>
                </a:cubicBezTo>
                <a:cubicBezTo>
                  <a:pt x="510" y="545"/>
                  <a:pt x="512" y="546"/>
                  <a:pt x="514" y="546"/>
                </a:cubicBezTo>
                <a:cubicBezTo>
                  <a:pt x="516" y="546"/>
                  <a:pt x="518" y="545"/>
                  <a:pt x="519" y="543"/>
                </a:cubicBezTo>
                <a:cubicBezTo>
                  <a:pt x="520" y="542"/>
                  <a:pt x="520" y="542"/>
                  <a:pt x="520" y="542"/>
                </a:cubicBezTo>
                <a:cubicBezTo>
                  <a:pt x="523" y="540"/>
                  <a:pt x="525" y="538"/>
                  <a:pt x="521" y="531"/>
                </a:cubicBezTo>
                <a:cubicBezTo>
                  <a:pt x="517" y="526"/>
                  <a:pt x="513" y="518"/>
                  <a:pt x="513" y="512"/>
                </a:cubicBezTo>
                <a:cubicBezTo>
                  <a:pt x="513" y="511"/>
                  <a:pt x="513" y="511"/>
                  <a:pt x="514" y="510"/>
                </a:cubicBezTo>
                <a:cubicBezTo>
                  <a:pt x="516" y="508"/>
                  <a:pt x="518" y="506"/>
                  <a:pt x="520" y="503"/>
                </a:cubicBezTo>
                <a:cubicBezTo>
                  <a:pt x="521" y="503"/>
                  <a:pt x="521" y="503"/>
                  <a:pt x="522" y="503"/>
                </a:cubicBezTo>
                <a:cubicBezTo>
                  <a:pt x="528" y="503"/>
                  <a:pt x="536" y="506"/>
                  <a:pt x="541" y="509"/>
                </a:cubicBezTo>
                <a:cubicBezTo>
                  <a:pt x="544" y="511"/>
                  <a:pt x="546" y="512"/>
                  <a:pt x="548" y="512"/>
                </a:cubicBezTo>
                <a:cubicBezTo>
                  <a:pt x="550" y="512"/>
                  <a:pt x="551" y="510"/>
                  <a:pt x="553" y="508"/>
                </a:cubicBezTo>
                <a:cubicBezTo>
                  <a:pt x="554" y="507"/>
                  <a:pt x="554" y="507"/>
                  <a:pt x="554" y="507"/>
                </a:cubicBezTo>
                <a:cubicBezTo>
                  <a:pt x="556" y="504"/>
                  <a:pt x="558" y="502"/>
                  <a:pt x="553" y="496"/>
                </a:cubicBezTo>
                <a:cubicBezTo>
                  <a:pt x="548" y="491"/>
                  <a:pt x="543" y="483"/>
                  <a:pt x="542" y="478"/>
                </a:cubicBezTo>
                <a:cubicBezTo>
                  <a:pt x="542" y="477"/>
                  <a:pt x="542" y="476"/>
                  <a:pt x="542" y="476"/>
                </a:cubicBezTo>
                <a:cubicBezTo>
                  <a:pt x="544" y="473"/>
                  <a:pt x="546" y="471"/>
                  <a:pt x="548" y="468"/>
                </a:cubicBezTo>
                <a:cubicBezTo>
                  <a:pt x="548" y="468"/>
                  <a:pt x="549" y="467"/>
                  <a:pt x="549" y="467"/>
                </a:cubicBezTo>
                <a:cubicBezTo>
                  <a:pt x="554" y="467"/>
                  <a:pt x="562" y="468"/>
                  <a:pt x="570" y="471"/>
                </a:cubicBezTo>
                <a:cubicBezTo>
                  <a:pt x="572" y="472"/>
                  <a:pt x="574" y="472"/>
                  <a:pt x="575" y="472"/>
                </a:cubicBezTo>
                <a:cubicBezTo>
                  <a:pt x="578" y="472"/>
                  <a:pt x="579" y="471"/>
                  <a:pt x="581" y="468"/>
                </a:cubicBezTo>
                <a:cubicBezTo>
                  <a:pt x="581" y="467"/>
                  <a:pt x="581" y="467"/>
                  <a:pt x="581" y="467"/>
                </a:cubicBezTo>
                <a:cubicBezTo>
                  <a:pt x="583" y="463"/>
                  <a:pt x="585" y="461"/>
                  <a:pt x="579" y="456"/>
                </a:cubicBezTo>
                <a:cubicBezTo>
                  <a:pt x="573" y="451"/>
                  <a:pt x="567" y="445"/>
                  <a:pt x="565" y="440"/>
                </a:cubicBezTo>
                <a:cubicBezTo>
                  <a:pt x="565" y="439"/>
                  <a:pt x="565" y="438"/>
                  <a:pt x="565" y="438"/>
                </a:cubicBezTo>
                <a:cubicBezTo>
                  <a:pt x="567" y="435"/>
                  <a:pt x="568" y="432"/>
                  <a:pt x="569" y="429"/>
                </a:cubicBezTo>
                <a:cubicBezTo>
                  <a:pt x="570" y="429"/>
                  <a:pt x="570" y="428"/>
                  <a:pt x="571" y="428"/>
                </a:cubicBezTo>
                <a:cubicBezTo>
                  <a:pt x="575" y="427"/>
                  <a:pt x="584" y="427"/>
                  <a:pt x="591" y="429"/>
                </a:cubicBezTo>
                <a:cubicBezTo>
                  <a:pt x="593" y="429"/>
                  <a:pt x="594" y="429"/>
                  <a:pt x="596" y="429"/>
                </a:cubicBezTo>
                <a:cubicBezTo>
                  <a:pt x="600" y="429"/>
                  <a:pt x="601" y="427"/>
                  <a:pt x="602" y="424"/>
                </a:cubicBezTo>
                <a:cubicBezTo>
                  <a:pt x="602" y="423"/>
                  <a:pt x="602" y="423"/>
                  <a:pt x="602" y="423"/>
                </a:cubicBezTo>
                <a:cubicBezTo>
                  <a:pt x="604" y="419"/>
                  <a:pt x="605" y="416"/>
                  <a:pt x="598" y="412"/>
                </a:cubicBezTo>
                <a:cubicBezTo>
                  <a:pt x="592" y="409"/>
                  <a:pt x="585" y="403"/>
                  <a:pt x="582" y="399"/>
                </a:cubicBezTo>
                <a:cubicBezTo>
                  <a:pt x="582" y="398"/>
                  <a:pt x="582" y="397"/>
                  <a:pt x="582" y="397"/>
                </a:cubicBezTo>
                <a:cubicBezTo>
                  <a:pt x="583" y="394"/>
                  <a:pt x="584" y="391"/>
                  <a:pt x="585" y="388"/>
                </a:cubicBezTo>
                <a:cubicBezTo>
                  <a:pt x="585" y="387"/>
                  <a:pt x="585" y="386"/>
                  <a:pt x="586" y="386"/>
                </a:cubicBezTo>
                <a:cubicBezTo>
                  <a:pt x="591" y="384"/>
                  <a:pt x="599" y="383"/>
                  <a:pt x="603" y="383"/>
                </a:cubicBezTo>
                <a:cubicBezTo>
                  <a:pt x="604" y="383"/>
                  <a:pt x="605" y="383"/>
                  <a:pt x="606" y="383"/>
                </a:cubicBezTo>
                <a:cubicBezTo>
                  <a:pt x="607" y="383"/>
                  <a:pt x="608" y="383"/>
                  <a:pt x="608" y="383"/>
                </a:cubicBezTo>
                <a:cubicBezTo>
                  <a:pt x="615" y="383"/>
                  <a:pt x="615" y="381"/>
                  <a:pt x="616" y="377"/>
                </a:cubicBezTo>
                <a:cubicBezTo>
                  <a:pt x="616" y="376"/>
                  <a:pt x="616" y="376"/>
                  <a:pt x="616" y="376"/>
                </a:cubicBezTo>
                <a:cubicBezTo>
                  <a:pt x="617" y="372"/>
                  <a:pt x="618" y="369"/>
                  <a:pt x="610" y="366"/>
                </a:cubicBezTo>
                <a:cubicBezTo>
                  <a:pt x="604" y="364"/>
                  <a:pt x="596" y="360"/>
                  <a:pt x="592" y="355"/>
                </a:cubicBezTo>
                <a:cubicBezTo>
                  <a:pt x="592" y="355"/>
                  <a:pt x="592" y="354"/>
                  <a:pt x="592" y="353"/>
                </a:cubicBezTo>
                <a:cubicBezTo>
                  <a:pt x="592" y="350"/>
                  <a:pt x="593" y="347"/>
                  <a:pt x="593" y="344"/>
                </a:cubicBezTo>
                <a:cubicBezTo>
                  <a:pt x="593" y="343"/>
                  <a:pt x="594" y="343"/>
                  <a:pt x="594" y="342"/>
                </a:cubicBezTo>
                <a:cubicBezTo>
                  <a:pt x="599" y="339"/>
                  <a:pt x="607" y="337"/>
                  <a:pt x="614" y="336"/>
                </a:cubicBezTo>
                <a:cubicBezTo>
                  <a:pt x="622" y="336"/>
                  <a:pt x="622" y="333"/>
                  <a:pt x="622" y="329"/>
                </a:cubicBezTo>
                <a:cubicBezTo>
                  <a:pt x="622" y="327"/>
                  <a:pt x="622" y="327"/>
                  <a:pt x="622" y="327"/>
                </a:cubicBezTo>
                <a:cubicBezTo>
                  <a:pt x="623" y="323"/>
                  <a:pt x="623" y="320"/>
                  <a:pt x="615" y="319"/>
                </a:cubicBezTo>
                <a:close/>
                <a:moveTo>
                  <a:pt x="509" y="472"/>
                </a:moveTo>
                <a:cubicBezTo>
                  <a:pt x="461" y="532"/>
                  <a:pt x="389" y="566"/>
                  <a:pt x="311" y="566"/>
                </a:cubicBezTo>
                <a:cubicBezTo>
                  <a:pt x="253" y="566"/>
                  <a:pt x="196" y="546"/>
                  <a:pt x="151" y="509"/>
                </a:cubicBezTo>
                <a:cubicBezTo>
                  <a:pt x="42" y="421"/>
                  <a:pt x="25" y="260"/>
                  <a:pt x="113" y="151"/>
                </a:cubicBezTo>
                <a:cubicBezTo>
                  <a:pt x="162" y="91"/>
                  <a:pt x="234" y="56"/>
                  <a:pt x="312" y="56"/>
                </a:cubicBezTo>
                <a:cubicBezTo>
                  <a:pt x="370" y="56"/>
                  <a:pt x="427" y="77"/>
                  <a:pt x="472" y="113"/>
                </a:cubicBezTo>
                <a:cubicBezTo>
                  <a:pt x="525" y="156"/>
                  <a:pt x="558" y="217"/>
                  <a:pt x="565" y="285"/>
                </a:cubicBezTo>
                <a:cubicBezTo>
                  <a:pt x="572" y="353"/>
                  <a:pt x="552" y="419"/>
                  <a:pt x="509" y="47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8" name="Freeform 1458">
            <a:extLst>
              <a:ext uri="{FF2B5EF4-FFF2-40B4-BE49-F238E27FC236}">
                <a16:creationId xmlns:a16="http://schemas.microsoft.com/office/drawing/2014/main" id="{AFB56594-1334-4536-B09D-5073E87EEB0B}"/>
              </a:ext>
            </a:extLst>
          </p:cNvPr>
          <p:cNvSpPr>
            <a:spLocks noEditPoints="1"/>
          </p:cNvSpPr>
          <p:nvPr/>
        </p:nvSpPr>
        <p:spPr bwMode="auto">
          <a:xfrm rot="7915163">
            <a:off x="1676654" y="3231633"/>
            <a:ext cx="376406" cy="380249"/>
          </a:xfrm>
          <a:custGeom>
            <a:avLst/>
            <a:gdLst>
              <a:gd name="T0" fmla="*/ 66 w 131"/>
              <a:gd name="T1" fmla="*/ 0 h 132"/>
              <a:gd name="T2" fmla="*/ 0 w 131"/>
              <a:gd name="T3" fmla="*/ 66 h 132"/>
              <a:gd name="T4" fmla="*/ 66 w 131"/>
              <a:gd name="T5" fmla="*/ 132 h 132"/>
              <a:gd name="T6" fmla="*/ 131 w 131"/>
              <a:gd name="T7" fmla="*/ 66 h 132"/>
              <a:gd name="T8" fmla="*/ 66 w 131"/>
              <a:gd name="T9" fmla="*/ 0 h 132"/>
              <a:gd name="T10" fmla="*/ 66 w 131"/>
              <a:gd name="T11" fmla="*/ 8 h 132"/>
              <a:gd name="T12" fmla="*/ 124 w 131"/>
              <a:gd name="T13" fmla="*/ 66 h 132"/>
              <a:gd name="T14" fmla="*/ 74 w 131"/>
              <a:gd name="T15" fmla="*/ 123 h 132"/>
              <a:gd name="T16" fmla="*/ 74 w 131"/>
              <a:gd name="T17" fmla="*/ 68 h 132"/>
              <a:gd name="T18" fmla="*/ 74 w 131"/>
              <a:gd name="T19" fmla="*/ 47 h 132"/>
              <a:gd name="T20" fmla="*/ 82 w 131"/>
              <a:gd name="T21" fmla="*/ 56 h 132"/>
              <a:gd name="T22" fmla="*/ 82 w 131"/>
              <a:gd name="T23" fmla="*/ 56 h 132"/>
              <a:gd name="T24" fmla="*/ 85 w 131"/>
              <a:gd name="T25" fmla="*/ 59 h 132"/>
              <a:gd name="T26" fmla="*/ 91 w 131"/>
              <a:gd name="T27" fmla="*/ 61 h 132"/>
              <a:gd name="T28" fmla="*/ 97 w 131"/>
              <a:gd name="T29" fmla="*/ 59 h 132"/>
              <a:gd name="T30" fmla="*/ 97 w 131"/>
              <a:gd name="T31" fmla="*/ 47 h 132"/>
              <a:gd name="T32" fmla="*/ 86 w 131"/>
              <a:gd name="T33" fmla="*/ 35 h 132"/>
              <a:gd name="T34" fmla="*/ 65 w 131"/>
              <a:gd name="T35" fmla="*/ 13 h 132"/>
              <a:gd name="T36" fmla="*/ 33 w 131"/>
              <a:gd name="T37" fmla="*/ 47 h 132"/>
              <a:gd name="T38" fmla="*/ 33 w 131"/>
              <a:gd name="T39" fmla="*/ 59 h 132"/>
              <a:gd name="T40" fmla="*/ 46 w 131"/>
              <a:gd name="T41" fmla="*/ 59 h 132"/>
              <a:gd name="T42" fmla="*/ 56 w 131"/>
              <a:gd name="T43" fmla="*/ 47 h 132"/>
              <a:gd name="T44" fmla="*/ 56 w 131"/>
              <a:gd name="T45" fmla="*/ 78 h 132"/>
              <a:gd name="T46" fmla="*/ 56 w 131"/>
              <a:gd name="T47" fmla="*/ 123 h 132"/>
              <a:gd name="T48" fmla="*/ 7 w 131"/>
              <a:gd name="T49" fmla="*/ 66 h 132"/>
              <a:gd name="T50" fmla="*/ 66 w 131"/>
              <a:gd name="T51"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32">
                <a:moveTo>
                  <a:pt x="66" y="0"/>
                </a:moveTo>
                <a:cubicBezTo>
                  <a:pt x="29" y="0"/>
                  <a:pt x="0" y="30"/>
                  <a:pt x="0" y="66"/>
                </a:cubicBezTo>
                <a:cubicBezTo>
                  <a:pt x="0" y="102"/>
                  <a:pt x="29" y="132"/>
                  <a:pt x="66" y="132"/>
                </a:cubicBezTo>
                <a:cubicBezTo>
                  <a:pt x="102" y="132"/>
                  <a:pt x="131" y="102"/>
                  <a:pt x="131" y="66"/>
                </a:cubicBezTo>
                <a:cubicBezTo>
                  <a:pt x="131" y="30"/>
                  <a:pt x="102" y="0"/>
                  <a:pt x="66" y="0"/>
                </a:cubicBezTo>
                <a:close/>
                <a:moveTo>
                  <a:pt x="66" y="8"/>
                </a:moveTo>
                <a:cubicBezTo>
                  <a:pt x="98" y="8"/>
                  <a:pt x="124" y="34"/>
                  <a:pt x="124" y="66"/>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5" y="59"/>
                  <a:pt x="85" y="59"/>
                  <a:pt x="85" y="59"/>
                </a:cubicBezTo>
                <a:cubicBezTo>
                  <a:pt x="86" y="60"/>
                  <a:pt x="89" y="61"/>
                  <a:pt x="91" y="61"/>
                </a:cubicBezTo>
                <a:cubicBezTo>
                  <a:pt x="93" y="61"/>
                  <a:pt x="95" y="61"/>
                  <a:pt x="97" y="59"/>
                </a:cubicBezTo>
                <a:cubicBezTo>
                  <a:pt x="100" y="56"/>
                  <a:pt x="100" y="50"/>
                  <a:pt x="97" y="47"/>
                </a:cubicBezTo>
                <a:cubicBezTo>
                  <a:pt x="86" y="35"/>
                  <a:pt x="86" y="35"/>
                  <a:pt x="86" y="35"/>
                </a:cubicBezTo>
                <a:cubicBezTo>
                  <a:pt x="65" y="13"/>
                  <a:pt x="65" y="13"/>
                  <a:pt x="65" y="13"/>
                </a:cubicBezTo>
                <a:cubicBezTo>
                  <a:pt x="33" y="47"/>
                  <a:pt x="33" y="47"/>
                  <a:pt x="33" y="47"/>
                </a:cubicBezTo>
                <a:cubicBezTo>
                  <a:pt x="30" y="50"/>
                  <a:pt x="30" y="56"/>
                  <a:pt x="33" y="59"/>
                </a:cubicBezTo>
                <a:cubicBezTo>
                  <a:pt x="37" y="62"/>
                  <a:pt x="42" y="62"/>
                  <a:pt x="46" y="59"/>
                </a:cubicBezTo>
                <a:cubicBezTo>
                  <a:pt x="56" y="47"/>
                  <a:pt x="56" y="47"/>
                  <a:pt x="56" y="47"/>
                </a:cubicBezTo>
                <a:cubicBezTo>
                  <a:pt x="56" y="78"/>
                  <a:pt x="56" y="78"/>
                  <a:pt x="56" y="78"/>
                </a:cubicBezTo>
                <a:cubicBezTo>
                  <a:pt x="56" y="123"/>
                  <a:pt x="56" y="123"/>
                  <a:pt x="56" y="123"/>
                </a:cubicBezTo>
                <a:cubicBezTo>
                  <a:pt x="29" y="119"/>
                  <a:pt x="7" y="95"/>
                  <a:pt x="7" y="66"/>
                </a:cubicBezTo>
                <a:cubicBezTo>
                  <a:pt x="7" y="34"/>
                  <a:pt x="33" y="8"/>
                  <a:pt x="66"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7" name="Freeform 1384">
            <a:extLst>
              <a:ext uri="{FF2B5EF4-FFF2-40B4-BE49-F238E27FC236}">
                <a16:creationId xmlns:a16="http://schemas.microsoft.com/office/drawing/2014/main" id="{C38FAFB0-B2C6-491E-BE8E-B25E86E0EFD6}"/>
              </a:ext>
            </a:extLst>
          </p:cNvPr>
          <p:cNvSpPr>
            <a:spLocks noEditPoints="1"/>
          </p:cNvSpPr>
          <p:nvPr/>
        </p:nvSpPr>
        <p:spPr bwMode="auto">
          <a:xfrm rot="10800000">
            <a:off x="5013189" y="2642213"/>
            <a:ext cx="102225" cy="102225"/>
          </a:xfrm>
          <a:custGeom>
            <a:avLst/>
            <a:gdLst>
              <a:gd name="T0" fmla="*/ 25 w 34"/>
              <a:gd name="T1" fmla="*/ 36 h 36"/>
              <a:gd name="T2" fmla="*/ 25 w 34"/>
              <a:gd name="T3" fmla="*/ 36 h 36"/>
              <a:gd name="T4" fmla="*/ 24 w 34"/>
              <a:gd name="T5" fmla="*/ 35 h 36"/>
              <a:gd name="T6" fmla="*/ 1 w 34"/>
              <a:gd name="T7" fmla="*/ 4 h 36"/>
              <a:gd name="T8" fmla="*/ 0 w 34"/>
              <a:gd name="T9" fmla="*/ 3 h 36"/>
              <a:gd name="T10" fmla="*/ 1 w 34"/>
              <a:gd name="T11" fmla="*/ 2 h 36"/>
              <a:gd name="T12" fmla="*/ 11 w 34"/>
              <a:gd name="T13" fmla="*/ 0 h 36"/>
              <a:gd name="T14" fmla="*/ 27 w 34"/>
              <a:gd name="T15" fmla="*/ 7 h 36"/>
              <a:gd name="T16" fmla="*/ 25 w 34"/>
              <a:gd name="T17" fmla="*/ 36 h 36"/>
              <a:gd name="T18" fmla="*/ 3 w 34"/>
              <a:gd name="T19" fmla="*/ 4 h 36"/>
              <a:gd name="T20" fmla="*/ 25 w 34"/>
              <a:gd name="T21" fmla="*/ 33 h 36"/>
              <a:gd name="T22" fmla="*/ 25 w 34"/>
              <a:gd name="T23" fmla="*/ 9 h 36"/>
              <a:gd name="T24" fmla="*/ 11 w 34"/>
              <a:gd name="T25" fmla="*/ 2 h 36"/>
              <a:gd name="T26" fmla="*/ 3 w 34"/>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5" y="36"/>
                </a:moveTo>
                <a:cubicBezTo>
                  <a:pt x="25" y="36"/>
                  <a:pt x="25" y="36"/>
                  <a:pt x="25" y="36"/>
                </a:cubicBezTo>
                <a:cubicBezTo>
                  <a:pt x="24" y="35"/>
                  <a:pt x="24" y="35"/>
                  <a:pt x="24" y="35"/>
                </a:cubicBezTo>
                <a:cubicBezTo>
                  <a:pt x="1" y="4"/>
                  <a:pt x="1" y="4"/>
                  <a:pt x="1" y="4"/>
                </a:cubicBezTo>
                <a:cubicBezTo>
                  <a:pt x="0" y="3"/>
                  <a:pt x="0" y="3"/>
                  <a:pt x="0" y="3"/>
                </a:cubicBezTo>
                <a:cubicBezTo>
                  <a:pt x="1" y="2"/>
                  <a:pt x="1" y="2"/>
                  <a:pt x="1" y="2"/>
                </a:cubicBezTo>
                <a:cubicBezTo>
                  <a:pt x="4" y="1"/>
                  <a:pt x="8" y="0"/>
                  <a:pt x="11" y="0"/>
                </a:cubicBezTo>
                <a:cubicBezTo>
                  <a:pt x="18" y="0"/>
                  <a:pt x="23" y="2"/>
                  <a:pt x="27" y="7"/>
                </a:cubicBezTo>
                <a:cubicBezTo>
                  <a:pt x="34" y="16"/>
                  <a:pt x="34" y="28"/>
                  <a:pt x="25" y="36"/>
                </a:cubicBezTo>
                <a:close/>
                <a:moveTo>
                  <a:pt x="3" y="4"/>
                </a:moveTo>
                <a:cubicBezTo>
                  <a:pt x="25" y="33"/>
                  <a:pt x="25" y="33"/>
                  <a:pt x="25" y="33"/>
                </a:cubicBezTo>
                <a:cubicBezTo>
                  <a:pt x="31" y="26"/>
                  <a:pt x="31" y="16"/>
                  <a:pt x="25" y="9"/>
                </a:cubicBezTo>
                <a:cubicBezTo>
                  <a:pt x="22" y="5"/>
                  <a:pt x="17" y="2"/>
                  <a:pt x="11" y="2"/>
                </a:cubicBezTo>
                <a:cubicBezTo>
                  <a:pt x="9" y="2"/>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8" name="Freeform 1385">
            <a:extLst>
              <a:ext uri="{FF2B5EF4-FFF2-40B4-BE49-F238E27FC236}">
                <a16:creationId xmlns:a16="http://schemas.microsoft.com/office/drawing/2014/main" id="{FC0FDFC6-1CC8-49F6-918A-EFBC4ADEE319}"/>
              </a:ext>
            </a:extLst>
          </p:cNvPr>
          <p:cNvSpPr>
            <a:spLocks noEditPoints="1"/>
          </p:cNvSpPr>
          <p:nvPr/>
        </p:nvSpPr>
        <p:spPr bwMode="auto">
          <a:xfrm rot="10800000">
            <a:off x="5048575" y="2626486"/>
            <a:ext cx="102225" cy="106158"/>
          </a:xfrm>
          <a:custGeom>
            <a:avLst/>
            <a:gdLst>
              <a:gd name="T0" fmla="*/ 23 w 34"/>
              <a:gd name="T1" fmla="*/ 36 h 36"/>
              <a:gd name="T2" fmla="*/ 7 w 34"/>
              <a:gd name="T3" fmla="*/ 29 h 36"/>
              <a:gd name="T4" fmla="*/ 9 w 34"/>
              <a:gd name="T5" fmla="*/ 0 h 36"/>
              <a:gd name="T6" fmla="*/ 10 w 34"/>
              <a:gd name="T7" fmla="*/ 0 h 36"/>
              <a:gd name="T8" fmla="*/ 11 w 34"/>
              <a:gd name="T9" fmla="*/ 0 h 36"/>
              <a:gd name="T10" fmla="*/ 34 w 34"/>
              <a:gd name="T11" fmla="*/ 32 h 36"/>
              <a:gd name="T12" fmla="*/ 34 w 34"/>
              <a:gd name="T13" fmla="*/ 33 h 36"/>
              <a:gd name="T14" fmla="*/ 34 w 34"/>
              <a:gd name="T15" fmla="*/ 33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3"/>
                  <a:pt x="7" y="29"/>
                </a:cubicBezTo>
                <a:cubicBezTo>
                  <a:pt x="0" y="20"/>
                  <a:pt x="1" y="8"/>
                  <a:pt x="9" y="0"/>
                </a:cubicBezTo>
                <a:cubicBezTo>
                  <a:pt x="10" y="0"/>
                  <a:pt x="10" y="0"/>
                  <a:pt x="10" y="0"/>
                </a:cubicBezTo>
                <a:cubicBezTo>
                  <a:pt x="11" y="0"/>
                  <a:pt x="11" y="0"/>
                  <a:pt x="11" y="0"/>
                </a:cubicBezTo>
                <a:cubicBezTo>
                  <a:pt x="34" y="32"/>
                  <a:pt x="34" y="32"/>
                  <a:pt x="34" y="32"/>
                </a:cubicBezTo>
                <a:cubicBezTo>
                  <a:pt x="34" y="33"/>
                  <a:pt x="34" y="33"/>
                  <a:pt x="34" y="33"/>
                </a:cubicBezTo>
                <a:cubicBezTo>
                  <a:pt x="34" y="33"/>
                  <a:pt x="34" y="33"/>
                  <a:pt x="34" y="33"/>
                </a:cubicBezTo>
                <a:cubicBezTo>
                  <a:pt x="31"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9" name="Freeform 1396">
            <a:extLst>
              <a:ext uri="{FF2B5EF4-FFF2-40B4-BE49-F238E27FC236}">
                <a16:creationId xmlns:a16="http://schemas.microsoft.com/office/drawing/2014/main" id="{2A977B64-AC56-4CDF-9B71-4D830D8BB907}"/>
              </a:ext>
            </a:extLst>
          </p:cNvPr>
          <p:cNvSpPr>
            <a:spLocks noEditPoints="1"/>
          </p:cNvSpPr>
          <p:nvPr/>
        </p:nvSpPr>
        <p:spPr bwMode="auto">
          <a:xfrm rot="10800000">
            <a:off x="5461407" y="2500670"/>
            <a:ext cx="460015" cy="456082"/>
          </a:xfrm>
          <a:custGeom>
            <a:avLst/>
            <a:gdLst>
              <a:gd name="T0" fmla="*/ 33 w 156"/>
              <a:gd name="T1" fmla="*/ 133 h 156"/>
              <a:gd name="T2" fmla="*/ 46 w 156"/>
              <a:gd name="T3" fmla="*/ 142 h 156"/>
              <a:gd name="T4" fmla="*/ 58 w 156"/>
              <a:gd name="T5" fmla="*/ 146 h 156"/>
              <a:gd name="T6" fmla="*/ 74 w 156"/>
              <a:gd name="T7" fmla="*/ 149 h 156"/>
              <a:gd name="T8" fmla="*/ 87 w 156"/>
              <a:gd name="T9" fmla="*/ 148 h 156"/>
              <a:gd name="T10" fmla="*/ 102 w 156"/>
              <a:gd name="T11" fmla="*/ 145 h 156"/>
              <a:gd name="T12" fmla="*/ 113 w 156"/>
              <a:gd name="T13" fmla="*/ 139 h 156"/>
              <a:gd name="T14" fmla="*/ 123 w 156"/>
              <a:gd name="T15" fmla="*/ 132 h 156"/>
              <a:gd name="T16" fmla="*/ 133 w 156"/>
              <a:gd name="T17" fmla="*/ 123 h 156"/>
              <a:gd name="T18" fmla="*/ 141 w 156"/>
              <a:gd name="T19" fmla="*/ 110 h 156"/>
              <a:gd name="T20" fmla="*/ 146 w 156"/>
              <a:gd name="T21" fmla="*/ 99 h 156"/>
              <a:gd name="T22" fmla="*/ 149 w 156"/>
              <a:gd name="T23" fmla="*/ 83 h 156"/>
              <a:gd name="T24" fmla="*/ 149 w 156"/>
              <a:gd name="T25" fmla="*/ 71 h 156"/>
              <a:gd name="T26" fmla="*/ 146 w 156"/>
              <a:gd name="T27" fmla="*/ 55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6 h 156"/>
              <a:gd name="T40" fmla="*/ 70 w 156"/>
              <a:gd name="T41" fmla="*/ 6 h 156"/>
              <a:gd name="T42" fmla="*/ 55 w 156"/>
              <a:gd name="T43" fmla="*/ 10 h 156"/>
              <a:gd name="T44" fmla="*/ 43 w 156"/>
              <a:gd name="T45" fmla="*/ 15 h 156"/>
              <a:gd name="T46" fmla="*/ 31 w 156"/>
              <a:gd name="T47" fmla="*/ 23 h 156"/>
              <a:gd name="T48" fmla="*/ 23 w 156"/>
              <a:gd name="T49" fmla="*/ 32 h 156"/>
              <a:gd name="T50" fmla="*/ 14 w 156"/>
              <a:gd name="T51" fmla="*/ 45 h 156"/>
              <a:gd name="T52" fmla="*/ 9 w 156"/>
              <a:gd name="T53" fmla="*/ 57 h 156"/>
              <a:gd name="T54" fmla="*/ 6 w 156"/>
              <a:gd name="T55" fmla="*/ 72 h 156"/>
              <a:gd name="T56" fmla="*/ 7 w 156"/>
              <a:gd name="T57" fmla="*/ 85 h 156"/>
              <a:gd name="T58" fmla="*/ 10 w 156"/>
              <a:gd name="T59" fmla="*/ 100 h 156"/>
              <a:gd name="T60" fmla="*/ 15 w 156"/>
              <a:gd name="T61" fmla="*/ 112 h 156"/>
              <a:gd name="T62" fmla="*/ 24 w 156"/>
              <a:gd name="T63" fmla="*/ 125 h 156"/>
              <a:gd name="T64" fmla="*/ 44 w 156"/>
              <a:gd name="T65" fmla="*/ 111 h 156"/>
              <a:gd name="T66" fmla="*/ 112 w 156"/>
              <a:gd name="T67" fmla="*/ 43 h 156"/>
              <a:gd name="T68" fmla="*/ 44 w 156"/>
              <a:gd name="T69" fmla="*/ 11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5"/>
                  <a:pt x="28" y="138"/>
                  <a:pt x="33" y="133"/>
                </a:cubicBezTo>
                <a:cubicBezTo>
                  <a:pt x="37" y="130"/>
                  <a:pt x="42" y="128"/>
                  <a:pt x="45" y="128"/>
                </a:cubicBezTo>
                <a:cubicBezTo>
                  <a:pt x="47" y="130"/>
                  <a:pt x="47" y="137"/>
                  <a:pt x="46" y="142"/>
                </a:cubicBezTo>
                <a:cubicBezTo>
                  <a:pt x="45" y="148"/>
                  <a:pt x="48" y="149"/>
                  <a:pt x="50" y="150"/>
                </a:cubicBezTo>
                <a:cubicBezTo>
                  <a:pt x="53" y="151"/>
                  <a:pt x="55" y="152"/>
                  <a:pt x="58" y="146"/>
                </a:cubicBezTo>
                <a:cubicBezTo>
                  <a:pt x="61" y="142"/>
                  <a:pt x="64" y="138"/>
                  <a:pt x="67" y="137"/>
                </a:cubicBezTo>
                <a:cubicBezTo>
                  <a:pt x="70" y="138"/>
                  <a:pt x="73" y="144"/>
                  <a:pt x="74" y="149"/>
                </a:cubicBezTo>
                <a:cubicBezTo>
                  <a:pt x="75" y="156"/>
                  <a:pt x="78" y="155"/>
                  <a:pt x="80" y="155"/>
                </a:cubicBezTo>
                <a:cubicBezTo>
                  <a:pt x="83" y="155"/>
                  <a:pt x="86" y="155"/>
                  <a:pt x="87" y="148"/>
                </a:cubicBezTo>
                <a:cubicBezTo>
                  <a:pt x="87" y="144"/>
                  <a:pt x="89" y="138"/>
                  <a:pt x="91" y="136"/>
                </a:cubicBezTo>
                <a:cubicBezTo>
                  <a:pt x="94" y="136"/>
                  <a:pt x="99" y="141"/>
                  <a:pt x="102" y="145"/>
                </a:cubicBezTo>
                <a:cubicBezTo>
                  <a:pt x="105" y="151"/>
                  <a:pt x="108" y="149"/>
                  <a:pt x="110" y="148"/>
                </a:cubicBezTo>
                <a:cubicBezTo>
                  <a:pt x="112" y="147"/>
                  <a:pt x="115" y="146"/>
                  <a:pt x="113" y="139"/>
                </a:cubicBezTo>
                <a:cubicBezTo>
                  <a:pt x="112" y="135"/>
                  <a:pt x="112" y="130"/>
                  <a:pt x="112" y="127"/>
                </a:cubicBezTo>
                <a:cubicBezTo>
                  <a:pt x="115" y="128"/>
                  <a:pt x="120" y="130"/>
                  <a:pt x="123" y="132"/>
                </a:cubicBezTo>
                <a:cubicBezTo>
                  <a:pt x="129" y="137"/>
                  <a:pt x="131" y="134"/>
                  <a:pt x="132" y="132"/>
                </a:cubicBezTo>
                <a:cubicBezTo>
                  <a:pt x="134" y="131"/>
                  <a:pt x="137" y="129"/>
                  <a:pt x="133" y="123"/>
                </a:cubicBezTo>
                <a:cubicBezTo>
                  <a:pt x="130" y="119"/>
                  <a:pt x="127" y="113"/>
                  <a:pt x="128" y="110"/>
                </a:cubicBezTo>
                <a:cubicBezTo>
                  <a:pt x="131" y="109"/>
                  <a:pt x="137" y="109"/>
                  <a:pt x="141" y="110"/>
                </a:cubicBezTo>
                <a:cubicBezTo>
                  <a:pt x="148" y="112"/>
                  <a:pt x="148" y="109"/>
                  <a:pt x="149" y="107"/>
                </a:cubicBezTo>
                <a:cubicBezTo>
                  <a:pt x="150" y="105"/>
                  <a:pt x="152" y="102"/>
                  <a:pt x="146" y="99"/>
                </a:cubicBezTo>
                <a:cubicBezTo>
                  <a:pt x="142" y="96"/>
                  <a:pt x="137" y="91"/>
                  <a:pt x="137" y="88"/>
                </a:cubicBezTo>
                <a:cubicBezTo>
                  <a:pt x="139" y="86"/>
                  <a:pt x="144" y="84"/>
                  <a:pt x="149" y="83"/>
                </a:cubicBezTo>
                <a:cubicBezTo>
                  <a:pt x="156" y="83"/>
                  <a:pt x="155" y="80"/>
                  <a:pt x="155" y="77"/>
                </a:cubicBezTo>
                <a:cubicBezTo>
                  <a:pt x="155" y="74"/>
                  <a:pt x="156" y="71"/>
                  <a:pt x="149" y="71"/>
                </a:cubicBezTo>
                <a:cubicBezTo>
                  <a:pt x="144" y="70"/>
                  <a:pt x="138" y="67"/>
                  <a:pt x="137" y="64"/>
                </a:cubicBezTo>
                <a:cubicBezTo>
                  <a:pt x="138" y="62"/>
                  <a:pt x="142" y="58"/>
                  <a:pt x="146" y="55"/>
                </a:cubicBezTo>
                <a:cubicBezTo>
                  <a:pt x="152" y="52"/>
                  <a:pt x="150" y="49"/>
                  <a:pt x="149" y="47"/>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0"/>
                  <a:pt x="128" y="18"/>
                  <a:pt x="123" y="22"/>
                </a:cubicBezTo>
                <a:cubicBezTo>
                  <a:pt x="118" y="25"/>
                  <a:pt x="112" y="27"/>
                  <a:pt x="110" y="26"/>
                </a:cubicBezTo>
                <a:cubicBezTo>
                  <a:pt x="108" y="24"/>
                  <a:pt x="109" y="18"/>
                  <a:pt x="110" y="14"/>
                </a:cubicBezTo>
                <a:cubicBezTo>
                  <a:pt x="111" y="7"/>
                  <a:pt x="108" y="6"/>
                  <a:pt x="106" y="5"/>
                </a:cubicBezTo>
                <a:cubicBezTo>
                  <a:pt x="104" y="4"/>
                  <a:pt x="101" y="3"/>
                  <a:pt x="98" y="9"/>
                </a:cubicBezTo>
                <a:cubicBezTo>
                  <a:pt x="95" y="13"/>
                  <a:pt x="90" y="18"/>
                  <a:pt x="88" y="18"/>
                </a:cubicBezTo>
                <a:cubicBezTo>
                  <a:pt x="85" y="16"/>
                  <a:pt x="83" y="11"/>
                  <a:pt x="82" y="6"/>
                </a:cubicBezTo>
                <a:cubicBezTo>
                  <a:pt x="82" y="0"/>
                  <a:pt x="78" y="0"/>
                  <a:pt x="76" y="0"/>
                </a:cubicBezTo>
                <a:cubicBezTo>
                  <a:pt x="73" y="0"/>
                  <a:pt x="70" y="0"/>
                  <a:pt x="70" y="6"/>
                </a:cubicBezTo>
                <a:cubicBezTo>
                  <a:pt x="69" y="12"/>
                  <a:pt x="66" y="18"/>
                  <a:pt x="64" y="19"/>
                </a:cubicBezTo>
                <a:cubicBezTo>
                  <a:pt x="61" y="18"/>
                  <a:pt x="57" y="14"/>
                  <a:pt x="55" y="10"/>
                </a:cubicBezTo>
                <a:cubicBezTo>
                  <a:pt x="51" y="4"/>
                  <a:pt x="48" y="6"/>
                  <a:pt x="46" y="7"/>
                </a:cubicBezTo>
                <a:cubicBezTo>
                  <a:pt x="44" y="8"/>
                  <a:pt x="41" y="8"/>
                  <a:pt x="43" y="15"/>
                </a:cubicBezTo>
                <a:cubicBezTo>
                  <a:pt x="44" y="19"/>
                  <a:pt x="44" y="25"/>
                  <a:pt x="43" y="27"/>
                </a:cubicBezTo>
                <a:cubicBezTo>
                  <a:pt x="40" y="27"/>
                  <a:pt x="35" y="25"/>
                  <a:pt x="31" y="23"/>
                </a:cubicBezTo>
                <a:cubicBezTo>
                  <a:pt x="26" y="19"/>
                  <a:pt x="24" y="21"/>
                  <a:pt x="23" y="23"/>
                </a:cubicBezTo>
                <a:cubicBezTo>
                  <a:pt x="21" y="25"/>
                  <a:pt x="18" y="27"/>
                  <a:pt x="23" y="32"/>
                </a:cubicBezTo>
                <a:cubicBezTo>
                  <a:pt x="25" y="36"/>
                  <a:pt x="28" y="41"/>
                  <a:pt x="28" y="44"/>
                </a:cubicBezTo>
                <a:cubicBezTo>
                  <a:pt x="26" y="46"/>
                  <a:pt x="19" y="46"/>
                  <a:pt x="14" y="45"/>
                </a:cubicBezTo>
                <a:cubicBezTo>
                  <a:pt x="7" y="43"/>
                  <a:pt x="7" y="46"/>
                  <a:pt x="6" y="49"/>
                </a:cubicBezTo>
                <a:cubicBezTo>
                  <a:pt x="5" y="51"/>
                  <a:pt x="3" y="54"/>
                  <a:pt x="9" y="57"/>
                </a:cubicBezTo>
                <a:cubicBezTo>
                  <a:pt x="13" y="59"/>
                  <a:pt x="18" y="63"/>
                  <a:pt x="19" y="66"/>
                </a:cubicBezTo>
                <a:cubicBezTo>
                  <a:pt x="18" y="68"/>
                  <a:pt x="12" y="71"/>
                  <a:pt x="6" y="72"/>
                </a:cubicBezTo>
                <a:cubicBezTo>
                  <a:pt x="0" y="73"/>
                  <a:pt x="0" y="76"/>
                  <a:pt x="0" y="79"/>
                </a:cubicBezTo>
                <a:cubicBezTo>
                  <a:pt x="0" y="81"/>
                  <a:pt x="0" y="84"/>
                  <a:pt x="7" y="85"/>
                </a:cubicBezTo>
                <a:cubicBezTo>
                  <a:pt x="11" y="86"/>
                  <a:pt x="17" y="87"/>
                  <a:pt x="19" y="90"/>
                </a:cubicBezTo>
                <a:cubicBezTo>
                  <a:pt x="19" y="92"/>
                  <a:pt x="14" y="97"/>
                  <a:pt x="10" y="100"/>
                </a:cubicBezTo>
                <a:cubicBezTo>
                  <a:pt x="4" y="104"/>
                  <a:pt x="6" y="106"/>
                  <a:pt x="7" y="109"/>
                </a:cubicBezTo>
                <a:cubicBezTo>
                  <a:pt x="8" y="111"/>
                  <a:pt x="9" y="114"/>
                  <a:pt x="15" y="112"/>
                </a:cubicBezTo>
                <a:cubicBezTo>
                  <a:pt x="20" y="111"/>
                  <a:pt x="25" y="110"/>
                  <a:pt x="28" y="111"/>
                </a:cubicBezTo>
                <a:cubicBezTo>
                  <a:pt x="29" y="114"/>
                  <a:pt x="27" y="120"/>
                  <a:pt x="24" y="125"/>
                </a:cubicBezTo>
                <a:cubicBezTo>
                  <a:pt x="20" y="130"/>
                  <a:pt x="23" y="132"/>
                  <a:pt x="24" y="134"/>
                </a:cubicBezTo>
                <a:close/>
                <a:moveTo>
                  <a:pt x="44" y="111"/>
                </a:moveTo>
                <a:cubicBezTo>
                  <a:pt x="25" y="93"/>
                  <a:pt x="25" y="62"/>
                  <a:pt x="44" y="44"/>
                </a:cubicBezTo>
                <a:cubicBezTo>
                  <a:pt x="62" y="25"/>
                  <a:pt x="93" y="25"/>
                  <a:pt x="112" y="43"/>
                </a:cubicBezTo>
                <a:cubicBezTo>
                  <a:pt x="130" y="62"/>
                  <a:pt x="130" y="93"/>
                  <a:pt x="112" y="111"/>
                </a:cubicBezTo>
                <a:cubicBezTo>
                  <a:pt x="93" y="130"/>
                  <a:pt x="63" y="130"/>
                  <a:pt x="44" y="1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7" name="Freeform 1404">
            <a:extLst>
              <a:ext uri="{FF2B5EF4-FFF2-40B4-BE49-F238E27FC236}">
                <a16:creationId xmlns:a16="http://schemas.microsoft.com/office/drawing/2014/main" id="{FBA26F8B-AF8E-4902-A118-738B1193E028}"/>
              </a:ext>
            </a:extLst>
          </p:cNvPr>
          <p:cNvSpPr>
            <a:spLocks noEditPoints="1"/>
          </p:cNvSpPr>
          <p:nvPr/>
        </p:nvSpPr>
        <p:spPr bwMode="auto">
          <a:xfrm rot="10800000">
            <a:off x="5245162" y="2311947"/>
            <a:ext cx="102225" cy="566171"/>
          </a:xfrm>
          <a:custGeom>
            <a:avLst/>
            <a:gdLst>
              <a:gd name="T0" fmla="*/ 11 w 26"/>
              <a:gd name="T1" fmla="*/ 27 h 144"/>
              <a:gd name="T2" fmla="*/ 15 w 26"/>
              <a:gd name="T3" fmla="*/ 31 h 144"/>
              <a:gd name="T4" fmla="*/ 15 w 26"/>
              <a:gd name="T5" fmla="*/ 40 h 144"/>
              <a:gd name="T6" fmla="*/ 11 w 26"/>
              <a:gd name="T7" fmla="*/ 36 h 144"/>
              <a:gd name="T8" fmla="*/ 15 w 26"/>
              <a:gd name="T9" fmla="*/ 40 h 144"/>
              <a:gd name="T10" fmla="*/ 15 w 26"/>
              <a:gd name="T11" fmla="*/ 44 h 144"/>
              <a:gd name="T12" fmla="*/ 11 w 26"/>
              <a:gd name="T13" fmla="*/ 49 h 144"/>
              <a:gd name="T14" fmla="*/ 15 w 26"/>
              <a:gd name="T15" fmla="*/ 57 h 144"/>
              <a:gd name="T16" fmla="*/ 11 w 26"/>
              <a:gd name="T17" fmla="*/ 53 h 144"/>
              <a:gd name="T18" fmla="*/ 15 w 26"/>
              <a:gd name="T19" fmla="*/ 57 h 144"/>
              <a:gd name="T20" fmla="*/ 15 w 26"/>
              <a:gd name="T21" fmla="*/ 61 h 144"/>
              <a:gd name="T22" fmla="*/ 11 w 26"/>
              <a:gd name="T23" fmla="*/ 66 h 144"/>
              <a:gd name="T24" fmla="*/ 15 w 26"/>
              <a:gd name="T25" fmla="*/ 75 h 144"/>
              <a:gd name="T26" fmla="*/ 11 w 26"/>
              <a:gd name="T27" fmla="*/ 70 h 144"/>
              <a:gd name="T28" fmla="*/ 15 w 26"/>
              <a:gd name="T29" fmla="*/ 75 h 144"/>
              <a:gd name="T30" fmla="*/ 15 w 26"/>
              <a:gd name="T31" fmla="*/ 79 h 144"/>
              <a:gd name="T32" fmla="*/ 11 w 26"/>
              <a:gd name="T33" fmla="*/ 84 h 144"/>
              <a:gd name="T34" fmla="*/ 15 w 26"/>
              <a:gd name="T35" fmla="*/ 92 h 144"/>
              <a:gd name="T36" fmla="*/ 11 w 26"/>
              <a:gd name="T37" fmla="*/ 87 h 144"/>
              <a:gd name="T38" fmla="*/ 15 w 26"/>
              <a:gd name="T39" fmla="*/ 92 h 144"/>
              <a:gd name="T40" fmla="*/ 15 w 26"/>
              <a:gd name="T41" fmla="*/ 96 h 144"/>
              <a:gd name="T42" fmla="*/ 11 w 26"/>
              <a:gd name="T43" fmla="*/ 101 h 144"/>
              <a:gd name="T44" fmla="*/ 15 w 26"/>
              <a:gd name="T45" fmla="*/ 109 h 144"/>
              <a:gd name="T46" fmla="*/ 11 w 26"/>
              <a:gd name="T47" fmla="*/ 105 h 144"/>
              <a:gd name="T48" fmla="*/ 15 w 26"/>
              <a:gd name="T49" fmla="*/ 109 h 144"/>
              <a:gd name="T50" fmla="*/ 15 w 26"/>
              <a:gd name="T51" fmla="*/ 114 h 144"/>
              <a:gd name="T52" fmla="*/ 11 w 26"/>
              <a:gd name="T53" fmla="*/ 118 h 144"/>
              <a:gd name="T54" fmla="*/ 15 w 26"/>
              <a:gd name="T55" fmla="*/ 127 h 144"/>
              <a:gd name="T56" fmla="*/ 11 w 26"/>
              <a:gd name="T57" fmla="*/ 123 h 144"/>
              <a:gd name="T58" fmla="*/ 15 w 26"/>
              <a:gd name="T59" fmla="*/ 127 h 144"/>
              <a:gd name="T60" fmla="*/ 15 w 26"/>
              <a:gd name="T61" fmla="*/ 131 h 144"/>
              <a:gd name="T62" fmla="*/ 11 w 26"/>
              <a:gd name="T63" fmla="*/ 135 h 144"/>
              <a:gd name="T64" fmla="*/ 15 w 26"/>
              <a:gd name="T65" fmla="*/ 144 h 144"/>
              <a:gd name="T66" fmla="*/ 11 w 26"/>
              <a:gd name="T67" fmla="*/ 140 h 144"/>
              <a:gd name="T68" fmla="*/ 15 w 26"/>
              <a:gd name="T69" fmla="*/ 144 h 144"/>
              <a:gd name="T70" fmla="*/ 11 w 26"/>
              <a:gd name="T71" fmla="*/ 22 h 144"/>
              <a:gd name="T72" fmla="*/ 15 w 26"/>
              <a:gd name="T73" fmla="*/ 22 h 144"/>
              <a:gd name="T74" fmla="*/ 26 w 26"/>
              <a:gd name="T75" fmla="*/ 22 h 144"/>
              <a:gd name="T76" fmla="*/ 0 w 26"/>
              <a:gd name="T77" fmla="*/ 2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144">
                <a:moveTo>
                  <a:pt x="11" y="31"/>
                </a:moveTo>
                <a:lnTo>
                  <a:pt x="11" y="27"/>
                </a:lnTo>
                <a:lnTo>
                  <a:pt x="15" y="27"/>
                </a:lnTo>
                <a:lnTo>
                  <a:pt x="15" y="31"/>
                </a:lnTo>
                <a:lnTo>
                  <a:pt x="11" y="31"/>
                </a:lnTo>
                <a:close/>
                <a:moveTo>
                  <a:pt x="15" y="40"/>
                </a:moveTo>
                <a:lnTo>
                  <a:pt x="15" y="36"/>
                </a:lnTo>
                <a:lnTo>
                  <a:pt x="11" y="36"/>
                </a:lnTo>
                <a:lnTo>
                  <a:pt x="11" y="40"/>
                </a:lnTo>
                <a:lnTo>
                  <a:pt x="15" y="40"/>
                </a:lnTo>
                <a:close/>
                <a:moveTo>
                  <a:pt x="15" y="49"/>
                </a:moveTo>
                <a:lnTo>
                  <a:pt x="15" y="44"/>
                </a:lnTo>
                <a:lnTo>
                  <a:pt x="11" y="44"/>
                </a:lnTo>
                <a:lnTo>
                  <a:pt x="11" y="49"/>
                </a:lnTo>
                <a:lnTo>
                  <a:pt x="15" y="49"/>
                </a:lnTo>
                <a:close/>
                <a:moveTo>
                  <a:pt x="15" y="57"/>
                </a:moveTo>
                <a:lnTo>
                  <a:pt x="15" y="53"/>
                </a:lnTo>
                <a:lnTo>
                  <a:pt x="11" y="53"/>
                </a:lnTo>
                <a:lnTo>
                  <a:pt x="11" y="57"/>
                </a:lnTo>
                <a:lnTo>
                  <a:pt x="15" y="57"/>
                </a:lnTo>
                <a:close/>
                <a:moveTo>
                  <a:pt x="15" y="66"/>
                </a:moveTo>
                <a:lnTo>
                  <a:pt x="15" y="61"/>
                </a:lnTo>
                <a:lnTo>
                  <a:pt x="11" y="61"/>
                </a:lnTo>
                <a:lnTo>
                  <a:pt x="11" y="66"/>
                </a:lnTo>
                <a:lnTo>
                  <a:pt x="15" y="66"/>
                </a:lnTo>
                <a:close/>
                <a:moveTo>
                  <a:pt x="15" y="75"/>
                </a:moveTo>
                <a:lnTo>
                  <a:pt x="15" y="70"/>
                </a:lnTo>
                <a:lnTo>
                  <a:pt x="11" y="70"/>
                </a:lnTo>
                <a:lnTo>
                  <a:pt x="11" y="75"/>
                </a:lnTo>
                <a:lnTo>
                  <a:pt x="15" y="75"/>
                </a:lnTo>
                <a:close/>
                <a:moveTo>
                  <a:pt x="15" y="84"/>
                </a:moveTo>
                <a:lnTo>
                  <a:pt x="15" y="79"/>
                </a:lnTo>
                <a:lnTo>
                  <a:pt x="11" y="79"/>
                </a:lnTo>
                <a:lnTo>
                  <a:pt x="11" y="84"/>
                </a:lnTo>
                <a:lnTo>
                  <a:pt x="15" y="84"/>
                </a:lnTo>
                <a:close/>
                <a:moveTo>
                  <a:pt x="15" y="92"/>
                </a:moveTo>
                <a:lnTo>
                  <a:pt x="15" y="87"/>
                </a:lnTo>
                <a:lnTo>
                  <a:pt x="11" y="87"/>
                </a:lnTo>
                <a:lnTo>
                  <a:pt x="11" y="92"/>
                </a:lnTo>
                <a:lnTo>
                  <a:pt x="15" y="92"/>
                </a:lnTo>
                <a:close/>
                <a:moveTo>
                  <a:pt x="15" y="101"/>
                </a:moveTo>
                <a:lnTo>
                  <a:pt x="15" y="96"/>
                </a:lnTo>
                <a:lnTo>
                  <a:pt x="11" y="96"/>
                </a:lnTo>
                <a:lnTo>
                  <a:pt x="11" y="101"/>
                </a:lnTo>
                <a:lnTo>
                  <a:pt x="15" y="101"/>
                </a:lnTo>
                <a:close/>
                <a:moveTo>
                  <a:pt x="15" y="109"/>
                </a:moveTo>
                <a:lnTo>
                  <a:pt x="15" y="105"/>
                </a:lnTo>
                <a:lnTo>
                  <a:pt x="11" y="105"/>
                </a:lnTo>
                <a:lnTo>
                  <a:pt x="11" y="109"/>
                </a:lnTo>
                <a:lnTo>
                  <a:pt x="15" y="109"/>
                </a:lnTo>
                <a:close/>
                <a:moveTo>
                  <a:pt x="15" y="118"/>
                </a:moveTo>
                <a:lnTo>
                  <a:pt x="15" y="114"/>
                </a:lnTo>
                <a:lnTo>
                  <a:pt x="11" y="114"/>
                </a:lnTo>
                <a:lnTo>
                  <a:pt x="11" y="118"/>
                </a:lnTo>
                <a:lnTo>
                  <a:pt x="15" y="118"/>
                </a:lnTo>
                <a:close/>
                <a:moveTo>
                  <a:pt x="15" y="127"/>
                </a:moveTo>
                <a:lnTo>
                  <a:pt x="15" y="123"/>
                </a:lnTo>
                <a:lnTo>
                  <a:pt x="11" y="123"/>
                </a:lnTo>
                <a:lnTo>
                  <a:pt x="11" y="127"/>
                </a:lnTo>
                <a:lnTo>
                  <a:pt x="15" y="127"/>
                </a:lnTo>
                <a:close/>
                <a:moveTo>
                  <a:pt x="15" y="135"/>
                </a:moveTo>
                <a:lnTo>
                  <a:pt x="15" y="131"/>
                </a:lnTo>
                <a:lnTo>
                  <a:pt x="11" y="131"/>
                </a:lnTo>
                <a:lnTo>
                  <a:pt x="11" y="135"/>
                </a:lnTo>
                <a:lnTo>
                  <a:pt x="15" y="135"/>
                </a:lnTo>
                <a:close/>
                <a:moveTo>
                  <a:pt x="15" y="144"/>
                </a:moveTo>
                <a:lnTo>
                  <a:pt x="15" y="140"/>
                </a:lnTo>
                <a:lnTo>
                  <a:pt x="11" y="140"/>
                </a:lnTo>
                <a:lnTo>
                  <a:pt x="11" y="144"/>
                </a:lnTo>
                <a:lnTo>
                  <a:pt x="15" y="144"/>
                </a:lnTo>
                <a:close/>
                <a:moveTo>
                  <a:pt x="0" y="22"/>
                </a:moveTo>
                <a:lnTo>
                  <a:pt x="11" y="22"/>
                </a:lnTo>
                <a:lnTo>
                  <a:pt x="11" y="22"/>
                </a:lnTo>
                <a:lnTo>
                  <a:pt x="15" y="22"/>
                </a:lnTo>
                <a:lnTo>
                  <a:pt x="15" y="22"/>
                </a:lnTo>
                <a:lnTo>
                  <a:pt x="26" y="22"/>
                </a:lnTo>
                <a:lnTo>
                  <a:pt x="14" y="0"/>
                </a:lnTo>
                <a:lnTo>
                  <a:pt x="0" y="2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1" name="Freeform 1408">
            <a:extLst>
              <a:ext uri="{FF2B5EF4-FFF2-40B4-BE49-F238E27FC236}">
                <a16:creationId xmlns:a16="http://schemas.microsoft.com/office/drawing/2014/main" id="{28B2A149-667C-4138-A52F-9C3CEF155F28}"/>
              </a:ext>
            </a:extLst>
          </p:cNvPr>
          <p:cNvSpPr>
            <a:spLocks noEditPoints="1"/>
          </p:cNvSpPr>
          <p:nvPr/>
        </p:nvSpPr>
        <p:spPr bwMode="auto">
          <a:xfrm rot="10800000">
            <a:off x="4981734" y="2858460"/>
            <a:ext cx="145476" cy="141543"/>
          </a:xfrm>
          <a:custGeom>
            <a:avLst/>
            <a:gdLst>
              <a:gd name="T0" fmla="*/ 0 w 49"/>
              <a:gd name="T1" fmla="*/ 24 h 49"/>
              <a:gd name="T2" fmla="*/ 25 w 49"/>
              <a:gd name="T3" fmla="*/ 49 h 49"/>
              <a:gd name="T4" fmla="*/ 49 w 49"/>
              <a:gd name="T5" fmla="*/ 24 h 49"/>
              <a:gd name="T6" fmla="*/ 25 w 49"/>
              <a:gd name="T7" fmla="*/ 0 h 49"/>
              <a:gd name="T8" fmla="*/ 0 w 49"/>
              <a:gd name="T9" fmla="*/ 24 h 49"/>
              <a:gd name="T10" fmla="*/ 47 w 49"/>
              <a:gd name="T11" fmla="*/ 24 h 49"/>
              <a:gd name="T12" fmla="*/ 28 w 49"/>
              <a:gd name="T13" fmla="*/ 46 h 49"/>
              <a:gd name="T14" fmla="*/ 28 w 49"/>
              <a:gd name="T15" fmla="*/ 29 h 49"/>
              <a:gd name="T16" fmla="*/ 28 w 49"/>
              <a:gd name="T17" fmla="*/ 18 h 49"/>
              <a:gd name="T18" fmla="*/ 32 w 49"/>
              <a:gd name="T19" fmla="*/ 22 h 49"/>
              <a:gd name="T20" fmla="*/ 37 w 49"/>
              <a:gd name="T21" fmla="*/ 22 h 49"/>
              <a:gd name="T22" fmla="*/ 37 w 49"/>
              <a:gd name="T23" fmla="*/ 17 h 49"/>
              <a:gd name="T24" fmla="*/ 25 w 49"/>
              <a:gd name="T25" fmla="*/ 5 h 49"/>
              <a:gd name="T26" fmla="*/ 17 w 49"/>
              <a:gd name="T27" fmla="*/ 13 h 49"/>
              <a:gd name="T28" fmla="*/ 13 w 49"/>
              <a:gd name="T29" fmla="*/ 17 h 49"/>
              <a:gd name="T30" fmla="*/ 13 w 49"/>
              <a:gd name="T31" fmla="*/ 22 h 49"/>
              <a:gd name="T32" fmla="*/ 15 w 49"/>
              <a:gd name="T33" fmla="*/ 23 h 49"/>
              <a:gd name="T34" fmla="*/ 18 w 49"/>
              <a:gd name="T35" fmla="*/ 22 h 49"/>
              <a:gd name="T36" fmla="*/ 19 w 49"/>
              <a:gd name="T37" fmla="*/ 21 h 49"/>
              <a:gd name="T38" fmla="*/ 22 w 49"/>
              <a:gd name="T39" fmla="*/ 18 h 49"/>
              <a:gd name="T40" fmla="*/ 22 w 49"/>
              <a:gd name="T41" fmla="*/ 25 h 49"/>
              <a:gd name="T42" fmla="*/ 22 w 49"/>
              <a:gd name="T43" fmla="*/ 46 h 49"/>
              <a:gd name="T44" fmla="*/ 3 w 49"/>
              <a:gd name="T45" fmla="*/ 24 h 49"/>
              <a:gd name="T46" fmla="*/ 25 w 49"/>
              <a:gd name="T47" fmla="*/ 3 h 49"/>
              <a:gd name="T48" fmla="*/ 47 w 49"/>
              <a:gd name="T49"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49">
                <a:moveTo>
                  <a:pt x="0" y="24"/>
                </a:moveTo>
                <a:cubicBezTo>
                  <a:pt x="0" y="38"/>
                  <a:pt x="11" y="49"/>
                  <a:pt x="25" y="49"/>
                </a:cubicBezTo>
                <a:cubicBezTo>
                  <a:pt x="38" y="49"/>
                  <a:pt x="49" y="38"/>
                  <a:pt x="49" y="24"/>
                </a:cubicBezTo>
                <a:cubicBezTo>
                  <a:pt x="49" y="11"/>
                  <a:pt x="38" y="0"/>
                  <a:pt x="25" y="0"/>
                </a:cubicBezTo>
                <a:cubicBezTo>
                  <a:pt x="11" y="0"/>
                  <a:pt x="0" y="11"/>
                  <a:pt x="0" y="24"/>
                </a:cubicBezTo>
                <a:close/>
                <a:moveTo>
                  <a:pt x="47" y="24"/>
                </a:moveTo>
                <a:cubicBezTo>
                  <a:pt x="47" y="35"/>
                  <a:pt x="39" y="44"/>
                  <a:pt x="28" y="46"/>
                </a:cubicBezTo>
                <a:cubicBezTo>
                  <a:pt x="28" y="29"/>
                  <a:pt x="28" y="29"/>
                  <a:pt x="28" y="29"/>
                </a:cubicBezTo>
                <a:cubicBezTo>
                  <a:pt x="28" y="18"/>
                  <a:pt x="28" y="18"/>
                  <a:pt x="28" y="18"/>
                </a:cubicBezTo>
                <a:cubicBezTo>
                  <a:pt x="32" y="22"/>
                  <a:pt x="32" y="22"/>
                  <a:pt x="32" y="22"/>
                </a:cubicBezTo>
                <a:cubicBezTo>
                  <a:pt x="33" y="23"/>
                  <a:pt x="36" y="23"/>
                  <a:pt x="37" y="22"/>
                </a:cubicBezTo>
                <a:cubicBezTo>
                  <a:pt x="38" y="21"/>
                  <a:pt x="38" y="19"/>
                  <a:pt x="37" y="17"/>
                </a:cubicBezTo>
                <a:cubicBezTo>
                  <a:pt x="25" y="5"/>
                  <a:pt x="25" y="5"/>
                  <a:pt x="25" y="5"/>
                </a:cubicBezTo>
                <a:cubicBezTo>
                  <a:pt x="17" y="13"/>
                  <a:pt x="17" y="13"/>
                  <a:pt x="17" y="13"/>
                </a:cubicBezTo>
                <a:cubicBezTo>
                  <a:pt x="13" y="17"/>
                  <a:pt x="13" y="17"/>
                  <a:pt x="13" y="17"/>
                </a:cubicBezTo>
                <a:cubicBezTo>
                  <a:pt x="12" y="19"/>
                  <a:pt x="12" y="21"/>
                  <a:pt x="13" y="22"/>
                </a:cubicBezTo>
                <a:cubicBezTo>
                  <a:pt x="14" y="22"/>
                  <a:pt x="15" y="23"/>
                  <a:pt x="15" y="23"/>
                </a:cubicBezTo>
                <a:cubicBezTo>
                  <a:pt x="16" y="23"/>
                  <a:pt x="17" y="22"/>
                  <a:pt x="18" y="22"/>
                </a:cubicBezTo>
                <a:cubicBezTo>
                  <a:pt x="19" y="21"/>
                  <a:pt x="19" y="21"/>
                  <a:pt x="19" y="21"/>
                </a:cubicBezTo>
                <a:cubicBezTo>
                  <a:pt x="22" y="18"/>
                  <a:pt x="22" y="18"/>
                  <a:pt x="22" y="18"/>
                </a:cubicBezTo>
                <a:cubicBezTo>
                  <a:pt x="22" y="25"/>
                  <a:pt x="22" y="25"/>
                  <a:pt x="22" y="25"/>
                </a:cubicBezTo>
                <a:cubicBezTo>
                  <a:pt x="22" y="46"/>
                  <a:pt x="22" y="46"/>
                  <a:pt x="22" y="46"/>
                </a:cubicBezTo>
                <a:cubicBezTo>
                  <a:pt x="11" y="44"/>
                  <a:pt x="3" y="35"/>
                  <a:pt x="3" y="24"/>
                </a:cubicBezTo>
                <a:cubicBezTo>
                  <a:pt x="3" y="12"/>
                  <a:pt x="13" y="3"/>
                  <a:pt x="25" y="3"/>
                </a:cubicBezTo>
                <a:cubicBezTo>
                  <a:pt x="37" y="3"/>
                  <a:pt x="47" y="12"/>
                  <a:pt x="47" y="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3" name="Freeform 1410">
            <a:extLst>
              <a:ext uri="{FF2B5EF4-FFF2-40B4-BE49-F238E27FC236}">
                <a16:creationId xmlns:a16="http://schemas.microsoft.com/office/drawing/2014/main" id="{6F3160BD-4564-4F9B-91CA-6C1756E94920}"/>
              </a:ext>
            </a:extLst>
          </p:cNvPr>
          <p:cNvSpPr>
            <a:spLocks noEditPoints="1"/>
          </p:cNvSpPr>
          <p:nvPr/>
        </p:nvSpPr>
        <p:spPr bwMode="auto">
          <a:xfrm rot="10800000">
            <a:off x="4899166" y="2441696"/>
            <a:ext cx="570104" cy="102225"/>
          </a:xfrm>
          <a:custGeom>
            <a:avLst/>
            <a:gdLst>
              <a:gd name="T0" fmla="*/ 118 w 145"/>
              <a:gd name="T1" fmla="*/ 11 h 26"/>
              <a:gd name="T2" fmla="*/ 114 w 145"/>
              <a:gd name="T3" fmla="*/ 14 h 26"/>
              <a:gd name="T4" fmla="*/ 105 w 145"/>
              <a:gd name="T5" fmla="*/ 14 h 26"/>
              <a:gd name="T6" fmla="*/ 109 w 145"/>
              <a:gd name="T7" fmla="*/ 11 h 26"/>
              <a:gd name="T8" fmla="*/ 105 w 145"/>
              <a:gd name="T9" fmla="*/ 14 h 26"/>
              <a:gd name="T10" fmla="*/ 100 w 145"/>
              <a:gd name="T11" fmla="*/ 14 h 26"/>
              <a:gd name="T12" fmla="*/ 96 w 145"/>
              <a:gd name="T13" fmla="*/ 11 h 26"/>
              <a:gd name="T14" fmla="*/ 87 w 145"/>
              <a:gd name="T15" fmla="*/ 14 h 26"/>
              <a:gd name="T16" fmla="*/ 92 w 145"/>
              <a:gd name="T17" fmla="*/ 11 h 26"/>
              <a:gd name="T18" fmla="*/ 87 w 145"/>
              <a:gd name="T19" fmla="*/ 14 h 26"/>
              <a:gd name="T20" fmla="*/ 83 w 145"/>
              <a:gd name="T21" fmla="*/ 14 h 26"/>
              <a:gd name="T22" fmla="*/ 78 w 145"/>
              <a:gd name="T23" fmla="*/ 11 h 26"/>
              <a:gd name="T24" fmla="*/ 70 w 145"/>
              <a:gd name="T25" fmla="*/ 14 h 26"/>
              <a:gd name="T26" fmla="*/ 75 w 145"/>
              <a:gd name="T27" fmla="*/ 11 h 26"/>
              <a:gd name="T28" fmla="*/ 70 w 145"/>
              <a:gd name="T29" fmla="*/ 14 h 26"/>
              <a:gd name="T30" fmla="*/ 66 w 145"/>
              <a:gd name="T31" fmla="*/ 14 h 26"/>
              <a:gd name="T32" fmla="*/ 61 w 145"/>
              <a:gd name="T33" fmla="*/ 11 h 26"/>
              <a:gd name="T34" fmla="*/ 53 w 145"/>
              <a:gd name="T35" fmla="*/ 14 h 26"/>
              <a:gd name="T36" fmla="*/ 57 w 145"/>
              <a:gd name="T37" fmla="*/ 11 h 26"/>
              <a:gd name="T38" fmla="*/ 53 w 145"/>
              <a:gd name="T39" fmla="*/ 14 h 26"/>
              <a:gd name="T40" fmla="*/ 48 w 145"/>
              <a:gd name="T41" fmla="*/ 14 h 26"/>
              <a:gd name="T42" fmla="*/ 44 w 145"/>
              <a:gd name="T43" fmla="*/ 11 h 26"/>
              <a:gd name="T44" fmla="*/ 35 w 145"/>
              <a:gd name="T45" fmla="*/ 14 h 26"/>
              <a:gd name="T46" fmla="*/ 39 w 145"/>
              <a:gd name="T47" fmla="*/ 11 h 26"/>
              <a:gd name="T48" fmla="*/ 35 w 145"/>
              <a:gd name="T49" fmla="*/ 14 h 26"/>
              <a:gd name="T50" fmla="*/ 30 w 145"/>
              <a:gd name="T51" fmla="*/ 14 h 26"/>
              <a:gd name="T52" fmla="*/ 27 w 145"/>
              <a:gd name="T53" fmla="*/ 11 h 26"/>
              <a:gd name="T54" fmla="*/ 18 w 145"/>
              <a:gd name="T55" fmla="*/ 14 h 26"/>
              <a:gd name="T56" fmla="*/ 22 w 145"/>
              <a:gd name="T57" fmla="*/ 11 h 26"/>
              <a:gd name="T58" fmla="*/ 18 w 145"/>
              <a:gd name="T59" fmla="*/ 14 h 26"/>
              <a:gd name="T60" fmla="*/ 13 w 145"/>
              <a:gd name="T61" fmla="*/ 14 h 26"/>
              <a:gd name="T62" fmla="*/ 9 w 145"/>
              <a:gd name="T63" fmla="*/ 11 h 26"/>
              <a:gd name="T64" fmla="*/ 0 w 145"/>
              <a:gd name="T65" fmla="*/ 14 h 26"/>
              <a:gd name="T66" fmla="*/ 5 w 145"/>
              <a:gd name="T67" fmla="*/ 11 h 26"/>
              <a:gd name="T68" fmla="*/ 0 w 145"/>
              <a:gd name="T69" fmla="*/ 14 h 26"/>
              <a:gd name="T70" fmla="*/ 123 w 145"/>
              <a:gd name="T71" fmla="*/ 0 h 26"/>
              <a:gd name="T72" fmla="*/ 122 w 145"/>
              <a:gd name="T73" fmla="*/ 11 h 26"/>
              <a:gd name="T74" fmla="*/ 123 w 145"/>
              <a:gd name="T75" fmla="*/ 14 h 26"/>
              <a:gd name="T76" fmla="*/ 145 w 145"/>
              <a:gd name="T7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26">
                <a:moveTo>
                  <a:pt x="114" y="11"/>
                </a:moveTo>
                <a:lnTo>
                  <a:pt x="118" y="11"/>
                </a:lnTo>
                <a:lnTo>
                  <a:pt x="118" y="14"/>
                </a:lnTo>
                <a:lnTo>
                  <a:pt x="114" y="14"/>
                </a:lnTo>
                <a:lnTo>
                  <a:pt x="114" y="11"/>
                </a:lnTo>
                <a:close/>
                <a:moveTo>
                  <a:pt x="105" y="14"/>
                </a:moveTo>
                <a:lnTo>
                  <a:pt x="109" y="14"/>
                </a:lnTo>
                <a:lnTo>
                  <a:pt x="109" y="11"/>
                </a:lnTo>
                <a:lnTo>
                  <a:pt x="105" y="11"/>
                </a:lnTo>
                <a:lnTo>
                  <a:pt x="105" y="14"/>
                </a:lnTo>
                <a:close/>
                <a:moveTo>
                  <a:pt x="96" y="14"/>
                </a:moveTo>
                <a:lnTo>
                  <a:pt x="100" y="14"/>
                </a:lnTo>
                <a:lnTo>
                  <a:pt x="100" y="11"/>
                </a:lnTo>
                <a:lnTo>
                  <a:pt x="96" y="11"/>
                </a:lnTo>
                <a:lnTo>
                  <a:pt x="96" y="14"/>
                </a:lnTo>
                <a:close/>
                <a:moveTo>
                  <a:pt x="87" y="14"/>
                </a:moveTo>
                <a:lnTo>
                  <a:pt x="92" y="14"/>
                </a:lnTo>
                <a:lnTo>
                  <a:pt x="92" y="11"/>
                </a:lnTo>
                <a:lnTo>
                  <a:pt x="87" y="11"/>
                </a:lnTo>
                <a:lnTo>
                  <a:pt x="87" y="14"/>
                </a:lnTo>
                <a:close/>
                <a:moveTo>
                  <a:pt x="78" y="14"/>
                </a:moveTo>
                <a:lnTo>
                  <a:pt x="83" y="14"/>
                </a:lnTo>
                <a:lnTo>
                  <a:pt x="83" y="11"/>
                </a:lnTo>
                <a:lnTo>
                  <a:pt x="78" y="11"/>
                </a:lnTo>
                <a:lnTo>
                  <a:pt x="78" y="14"/>
                </a:lnTo>
                <a:close/>
                <a:moveTo>
                  <a:pt x="70" y="14"/>
                </a:moveTo>
                <a:lnTo>
                  <a:pt x="75" y="14"/>
                </a:lnTo>
                <a:lnTo>
                  <a:pt x="75" y="11"/>
                </a:lnTo>
                <a:lnTo>
                  <a:pt x="70" y="11"/>
                </a:lnTo>
                <a:lnTo>
                  <a:pt x="70" y="14"/>
                </a:lnTo>
                <a:close/>
                <a:moveTo>
                  <a:pt x="61" y="14"/>
                </a:moveTo>
                <a:lnTo>
                  <a:pt x="66" y="14"/>
                </a:lnTo>
                <a:lnTo>
                  <a:pt x="66" y="11"/>
                </a:lnTo>
                <a:lnTo>
                  <a:pt x="61" y="11"/>
                </a:lnTo>
                <a:lnTo>
                  <a:pt x="61" y="14"/>
                </a:lnTo>
                <a:close/>
                <a:moveTo>
                  <a:pt x="53" y="14"/>
                </a:moveTo>
                <a:lnTo>
                  <a:pt x="57" y="14"/>
                </a:lnTo>
                <a:lnTo>
                  <a:pt x="57" y="11"/>
                </a:lnTo>
                <a:lnTo>
                  <a:pt x="53" y="11"/>
                </a:lnTo>
                <a:lnTo>
                  <a:pt x="53" y="14"/>
                </a:lnTo>
                <a:close/>
                <a:moveTo>
                  <a:pt x="44" y="14"/>
                </a:moveTo>
                <a:lnTo>
                  <a:pt x="48" y="14"/>
                </a:lnTo>
                <a:lnTo>
                  <a:pt x="48" y="11"/>
                </a:lnTo>
                <a:lnTo>
                  <a:pt x="44" y="11"/>
                </a:lnTo>
                <a:lnTo>
                  <a:pt x="44" y="14"/>
                </a:lnTo>
                <a:close/>
                <a:moveTo>
                  <a:pt x="35" y="14"/>
                </a:moveTo>
                <a:lnTo>
                  <a:pt x="39" y="14"/>
                </a:lnTo>
                <a:lnTo>
                  <a:pt x="39" y="11"/>
                </a:lnTo>
                <a:lnTo>
                  <a:pt x="35" y="11"/>
                </a:lnTo>
                <a:lnTo>
                  <a:pt x="35" y="14"/>
                </a:lnTo>
                <a:close/>
                <a:moveTo>
                  <a:pt x="27" y="14"/>
                </a:moveTo>
                <a:lnTo>
                  <a:pt x="30" y="14"/>
                </a:lnTo>
                <a:lnTo>
                  <a:pt x="30" y="11"/>
                </a:lnTo>
                <a:lnTo>
                  <a:pt x="27" y="11"/>
                </a:lnTo>
                <a:lnTo>
                  <a:pt x="27" y="14"/>
                </a:lnTo>
                <a:close/>
                <a:moveTo>
                  <a:pt x="18" y="14"/>
                </a:moveTo>
                <a:lnTo>
                  <a:pt x="22" y="14"/>
                </a:lnTo>
                <a:lnTo>
                  <a:pt x="22" y="11"/>
                </a:lnTo>
                <a:lnTo>
                  <a:pt x="18" y="11"/>
                </a:lnTo>
                <a:lnTo>
                  <a:pt x="18" y="14"/>
                </a:lnTo>
                <a:close/>
                <a:moveTo>
                  <a:pt x="9" y="14"/>
                </a:moveTo>
                <a:lnTo>
                  <a:pt x="13" y="14"/>
                </a:lnTo>
                <a:lnTo>
                  <a:pt x="13" y="11"/>
                </a:lnTo>
                <a:lnTo>
                  <a:pt x="9" y="11"/>
                </a:lnTo>
                <a:lnTo>
                  <a:pt x="9" y="14"/>
                </a:lnTo>
                <a:close/>
                <a:moveTo>
                  <a:pt x="0" y="14"/>
                </a:moveTo>
                <a:lnTo>
                  <a:pt x="5" y="14"/>
                </a:lnTo>
                <a:lnTo>
                  <a:pt x="5" y="11"/>
                </a:lnTo>
                <a:lnTo>
                  <a:pt x="0" y="11"/>
                </a:lnTo>
                <a:lnTo>
                  <a:pt x="0" y="14"/>
                </a:lnTo>
                <a:close/>
                <a:moveTo>
                  <a:pt x="145" y="13"/>
                </a:moveTo>
                <a:lnTo>
                  <a:pt x="123" y="0"/>
                </a:lnTo>
                <a:lnTo>
                  <a:pt x="123" y="11"/>
                </a:lnTo>
                <a:lnTo>
                  <a:pt x="122" y="11"/>
                </a:lnTo>
                <a:lnTo>
                  <a:pt x="122" y="14"/>
                </a:lnTo>
                <a:lnTo>
                  <a:pt x="123" y="14"/>
                </a:lnTo>
                <a:lnTo>
                  <a:pt x="123" y="26"/>
                </a:lnTo>
                <a:lnTo>
                  <a:pt x="145" y="1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0" name="Freeform 1419">
            <a:extLst>
              <a:ext uri="{FF2B5EF4-FFF2-40B4-BE49-F238E27FC236}">
                <a16:creationId xmlns:a16="http://schemas.microsoft.com/office/drawing/2014/main" id="{561CCA8B-B57B-4F35-8E48-F73E270528DE}"/>
              </a:ext>
            </a:extLst>
          </p:cNvPr>
          <p:cNvSpPr>
            <a:spLocks noEditPoints="1"/>
          </p:cNvSpPr>
          <p:nvPr/>
        </p:nvSpPr>
        <p:spPr bwMode="auto">
          <a:xfrm rot="10800000">
            <a:off x="3707849" y="2197927"/>
            <a:ext cx="1230637" cy="1234567"/>
          </a:xfrm>
          <a:custGeom>
            <a:avLst/>
            <a:gdLst>
              <a:gd name="T0" fmla="*/ 102 w 418"/>
              <a:gd name="T1" fmla="*/ 376 h 419"/>
              <a:gd name="T2" fmla="*/ 126 w 418"/>
              <a:gd name="T3" fmla="*/ 389 h 419"/>
              <a:gd name="T4" fmla="*/ 149 w 418"/>
              <a:gd name="T5" fmla="*/ 397 h 419"/>
              <a:gd name="T6" fmla="*/ 175 w 418"/>
              <a:gd name="T7" fmla="*/ 404 h 419"/>
              <a:gd name="T8" fmla="*/ 199 w 418"/>
              <a:gd name="T9" fmla="*/ 407 h 419"/>
              <a:gd name="T10" fmla="*/ 227 w 418"/>
              <a:gd name="T11" fmla="*/ 406 h 419"/>
              <a:gd name="T12" fmla="*/ 251 w 418"/>
              <a:gd name="T13" fmla="*/ 402 h 419"/>
              <a:gd name="T14" fmla="*/ 277 w 418"/>
              <a:gd name="T15" fmla="*/ 395 h 419"/>
              <a:gd name="T16" fmla="*/ 299 w 418"/>
              <a:gd name="T17" fmla="*/ 385 h 419"/>
              <a:gd name="T18" fmla="*/ 323 w 418"/>
              <a:gd name="T19" fmla="*/ 371 h 419"/>
              <a:gd name="T20" fmla="*/ 341 w 418"/>
              <a:gd name="T21" fmla="*/ 355 h 419"/>
              <a:gd name="T22" fmla="*/ 359 w 418"/>
              <a:gd name="T23" fmla="*/ 337 h 419"/>
              <a:gd name="T24" fmla="*/ 374 w 418"/>
              <a:gd name="T25" fmla="*/ 317 h 419"/>
              <a:gd name="T26" fmla="*/ 387 w 418"/>
              <a:gd name="T27" fmla="*/ 293 h 419"/>
              <a:gd name="T28" fmla="*/ 396 w 418"/>
              <a:gd name="T29" fmla="*/ 271 h 419"/>
              <a:gd name="T30" fmla="*/ 403 w 418"/>
              <a:gd name="T31" fmla="*/ 244 h 419"/>
              <a:gd name="T32" fmla="*/ 406 w 418"/>
              <a:gd name="T33" fmla="*/ 220 h 419"/>
              <a:gd name="T34" fmla="*/ 405 w 418"/>
              <a:gd name="T35" fmla="*/ 193 h 419"/>
              <a:gd name="T36" fmla="*/ 402 w 418"/>
              <a:gd name="T37" fmla="*/ 169 h 419"/>
              <a:gd name="T38" fmla="*/ 394 w 418"/>
              <a:gd name="T39" fmla="*/ 143 h 419"/>
              <a:gd name="T40" fmla="*/ 385 w 418"/>
              <a:gd name="T41" fmla="*/ 120 h 419"/>
              <a:gd name="T42" fmla="*/ 370 w 418"/>
              <a:gd name="T43" fmla="*/ 97 h 419"/>
              <a:gd name="T44" fmla="*/ 355 w 418"/>
              <a:gd name="T45" fmla="*/ 78 h 419"/>
              <a:gd name="T46" fmla="*/ 336 w 418"/>
              <a:gd name="T47" fmla="*/ 59 h 419"/>
              <a:gd name="T48" fmla="*/ 316 w 418"/>
              <a:gd name="T49" fmla="*/ 44 h 419"/>
              <a:gd name="T50" fmla="*/ 292 w 418"/>
              <a:gd name="T51" fmla="*/ 31 h 419"/>
              <a:gd name="T52" fmla="*/ 270 w 418"/>
              <a:gd name="T53" fmla="*/ 22 h 419"/>
              <a:gd name="T54" fmla="*/ 243 w 418"/>
              <a:gd name="T55" fmla="*/ 16 h 419"/>
              <a:gd name="T56" fmla="*/ 219 w 418"/>
              <a:gd name="T57" fmla="*/ 13 h 419"/>
              <a:gd name="T58" fmla="*/ 192 w 418"/>
              <a:gd name="T59" fmla="*/ 13 h 419"/>
              <a:gd name="T60" fmla="*/ 168 w 418"/>
              <a:gd name="T61" fmla="*/ 17 h 419"/>
              <a:gd name="T62" fmla="*/ 142 w 418"/>
              <a:gd name="T63" fmla="*/ 25 h 419"/>
              <a:gd name="T64" fmla="*/ 119 w 418"/>
              <a:gd name="T65" fmla="*/ 34 h 419"/>
              <a:gd name="T66" fmla="*/ 96 w 418"/>
              <a:gd name="T67" fmla="*/ 48 h 419"/>
              <a:gd name="T68" fmla="*/ 77 w 418"/>
              <a:gd name="T69" fmla="*/ 63 h 419"/>
              <a:gd name="T70" fmla="*/ 57 w 418"/>
              <a:gd name="T71" fmla="*/ 84 h 419"/>
              <a:gd name="T72" fmla="*/ 43 w 418"/>
              <a:gd name="T73" fmla="*/ 103 h 419"/>
              <a:gd name="T74" fmla="*/ 29 w 418"/>
              <a:gd name="T75" fmla="*/ 127 h 419"/>
              <a:gd name="T76" fmla="*/ 21 w 418"/>
              <a:gd name="T77" fmla="*/ 150 h 419"/>
              <a:gd name="T78" fmla="*/ 14 w 418"/>
              <a:gd name="T79" fmla="*/ 176 h 419"/>
              <a:gd name="T80" fmla="*/ 12 w 418"/>
              <a:gd name="T81" fmla="*/ 201 h 419"/>
              <a:gd name="T82" fmla="*/ 12 w 418"/>
              <a:gd name="T83" fmla="*/ 228 h 419"/>
              <a:gd name="T84" fmla="*/ 16 w 418"/>
              <a:gd name="T85" fmla="*/ 252 h 419"/>
              <a:gd name="T86" fmla="*/ 24 w 418"/>
              <a:gd name="T87" fmla="*/ 278 h 419"/>
              <a:gd name="T88" fmla="*/ 34 w 418"/>
              <a:gd name="T89" fmla="*/ 300 h 419"/>
              <a:gd name="T90" fmla="*/ 48 w 418"/>
              <a:gd name="T91" fmla="*/ 324 h 419"/>
              <a:gd name="T92" fmla="*/ 63 w 418"/>
              <a:gd name="T93" fmla="*/ 342 h 419"/>
              <a:gd name="T94" fmla="*/ 83 w 418"/>
              <a:gd name="T95" fmla="*/ 362 h 419"/>
              <a:gd name="T96" fmla="*/ 124 w 418"/>
              <a:gd name="T97" fmla="*/ 325 h 419"/>
              <a:gd name="T98" fmla="*/ 294 w 418"/>
              <a:gd name="T99" fmla="*/ 94 h 419"/>
              <a:gd name="T100" fmla="*/ 124 w 418"/>
              <a:gd name="T101" fmla="*/ 32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419">
                <a:moveTo>
                  <a:pt x="86" y="378"/>
                </a:moveTo>
                <a:cubicBezTo>
                  <a:pt x="89" y="381"/>
                  <a:pt x="94" y="385"/>
                  <a:pt x="102" y="376"/>
                </a:cubicBezTo>
                <a:cubicBezTo>
                  <a:pt x="109" y="369"/>
                  <a:pt x="118" y="363"/>
                  <a:pt x="123" y="363"/>
                </a:cubicBezTo>
                <a:cubicBezTo>
                  <a:pt x="128" y="366"/>
                  <a:pt x="128" y="379"/>
                  <a:pt x="126" y="389"/>
                </a:cubicBezTo>
                <a:cubicBezTo>
                  <a:pt x="123" y="401"/>
                  <a:pt x="129" y="403"/>
                  <a:pt x="133" y="404"/>
                </a:cubicBezTo>
                <a:cubicBezTo>
                  <a:pt x="138" y="406"/>
                  <a:pt x="143" y="409"/>
                  <a:pt x="149" y="397"/>
                </a:cubicBezTo>
                <a:cubicBezTo>
                  <a:pt x="153" y="390"/>
                  <a:pt x="160" y="381"/>
                  <a:pt x="166" y="380"/>
                </a:cubicBezTo>
                <a:cubicBezTo>
                  <a:pt x="171" y="381"/>
                  <a:pt x="175" y="394"/>
                  <a:pt x="175" y="404"/>
                </a:cubicBezTo>
                <a:cubicBezTo>
                  <a:pt x="176" y="417"/>
                  <a:pt x="182" y="417"/>
                  <a:pt x="186" y="417"/>
                </a:cubicBezTo>
                <a:cubicBezTo>
                  <a:pt x="191" y="418"/>
                  <a:pt x="197" y="419"/>
                  <a:pt x="199" y="407"/>
                </a:cubicBezTo>
                <a:cubicBezTo>
                  <a:pt x="202" y="398"/>
                  <a:pt x="206" y="388"/>
                  <a:pt x="211" y="385"/>
                </a:cubicBezTo>
                <a:cubicBezTo>
                  <a:pt x="216" y="385"/>
                  <a:pt x="223" y="396"/>
                  <a:pt x="227" y="406"/>
                </a:cubicBezTo>
                <a:cubicBezTo>
                  <a:pt x="231" y="418"/>
                  <a:pt x="236" y="417"/>
                  <a:pt x="241" y="416"/>
                </a:cubicBezTo>
                <a:cubicBezTo>
                  <a:pt x="245" y="415"/>
                  <a:pt x="251" y="415"/>
                  <a:pt x="251" y="402"/>
                </a:cubicBezTo>
                <a:cubicBezTo>
                  <a:pt x="251" y="393"/>
                  <a:pt x="253" y="382"/>
                  <a:pt x="257" y="378"/>
                </a:cubicBezTo>
                <a:cubicBezTo>
                  <a:pt x="262" y="377"/>
                  <a:pt x="271" y="386"/>
                  <a:pt x="277" y="395"/>
                </a:cubicBezTo>
                <a:cubicBezTo>
                  <a:pt x="284" y="406"/>
                  <a:pt x="289" y="402"/>
                  <a:pt x="293" y="400"/>
                </a:cubicBezTo>
                <a:cubicBezTo>
                  <a:pt x="297" y="399"/>
                  <a:pt x="303" y="397"/>
                  <a:pt x="299" y="385"/>
                </a:cubicBezTo>
                <a:cubicBezTo>
                  <a:pt x="297" y="376"/>
                  <a:pt x="296" y="365"/>
                  <a:pt x="298" y="360"/>
                </a:cubicBezTo>
                <a:cubicBezTo>
                  <a:pt x="303" y="358"/>
                  <a:pt x="315" y="364"/>
                  <a:pt x="323" y="371"/>
                </a:cubicBezTo>
                <a:cubicBezTo>
                  <a:pt x="332" y="379"/>
                  <a:pt x="336" y="375"/>
                  <a:pt x="339" y="372"/>
                </a:cubicBezTo>
                <a:cubicBezTo>
                  <a:pt x="343" y="369"/>
                  <a:pt x="348" y="366"/>
                  <a:pt x="341" y="355"/>
                </a:cubicBezTo>
                <a:cubicBezTo>
                  <a:pt x="336" y="347"/>
                  <a:pt x="333" y="336"/>
                  <a:pt x="335" y="331"/>
                </a:cubicBezTo>
                <a:cubicBezTo>
                  <a:pt x="340" y="329"/>
                  <a:pt x="351" y="332"/>
                  <a:pt x="359" y="337"/>
                </a:cubicBezTo>
                <a:cubicBezTo>
                  <a:pt x="370" y="343"/>
                  <a:pt x="373" y="338"/>
                  <a:pt x="376" y="334"/>
                </a:cubicBezTo>
                <a:cubicBezTo>
                  <a:pt x="379" y="330"/>
                  <a:pt x="383" y="326"/>
                  <a:pt x="374" y="317"/>
                </a:cubicBezTo>
                <a:cubicBezTo>
                  <a:pt x="367" y="310"/>
                  <a:pt x="360" y="298"/>
                  <a:pt x="363" y="294"/>
                </a:cubicBezTo>
                <a:cubicBezTo>
                  <a:pt x="367" y="291"/>
                  <a:pt x="378" y="291"/>
                  <a:pt x="387" y="293"/>
                </a:cubicBezTo>
                <a:cubicBezTo>
                  <a:pt x="399" y="297"/>
                  <a:pt x="401" y="291"/>
                  <a:pt x="403" y="286"/>
                </a:cubicBezTo>
                <a:cubicBezTo>
                  <a:pt x="404" y="282"/>
                  <a:pt x="407" y="277"/>
                  <a:pt x="396" y="271"/>
                </a:cubicBezTo>
                <a:cubicBezTo>
                  <a:pt x="387" y="265"/>
                  <a:pt x="378" y="256"/>
                  <a:pt x="379" y="251"/>
                </a:cubicBezTo>
                <a:cubicBezTo>
                  <a:pt x="383" y="247"/>
                  <a:pt x="394" y="245"/>
                  <a:pt x="403" y="244"/>
                </a:cubicBezTo>
                <a:cubicBezTo>
                  <a:pt x="415" y="244"/>
                  <a:pt x="415" y="238"/>
                  <a:pt x="416" y="234"/>
                </a:cubicBezTo>
                <a:cubicBezTo>
                  <a:pt x="416" y="229"/>
                  <a:pt x="418" y="223"/>
                  <a:pt x="406" y="220"/>
                </a:cubicBezTo>
                <a:cubicBezTo>
                  <a:pt x="396" y="217"/>
                  <a:pt x="385" y="211"/>
                  <a:pt x="384" y="206"/>
                </a:cubicBezTo>
                <a:cubicBezTo>
                  <a:pt x="387" y="201"/>
                  <a:pt x="396" y="195"/>
                  <a:pt x="405" y="193"/>
                </a:cubicBezTo>
                <a:cubicBezTo>
                  <a:pt x="417" y="190"/>
                  <a:pt x="416" y="184"/>
                  <a:pt x="415" y="179"/>
                </a:cubicBezTo>
                <a:cubicBezTo>
                  <a:pt x="414" y="175"/>
                  <a:pt x="414" y="169"/>
                  <a:pt x="402" y="169"/>
                </a:cubicBezTo>
                <a:cubicBezTo>
                  <a:pt x="391" y="169"/>
                  <a:pt x="378" y="165"/>
                  <a:pt x="377" y="160"/>
                </a:cubicBezTo>
                <a:cubicBezTo>
                  <a:pt x="378" y="155"/>
                  <a:pt x="386" y="147"/>
                  <a:pt x="394" y="143"/>
                </a:cubicBezTo>
                <a:cubicBezTo>
                  <a:pt x="405" y="136"/>
                  <a:pt x="402" y="131"/>
                  <a:pt x="400" y="127"/>
                </a:cubicBezTo>
                <a:cubicBezTo>
                  <a:pt x="398" y="123"/>
                  <a:pt x="397" y="117"/>
                  <a:pt x="385" y="120"/>
                </a:cubicBezTo>
                <a:cubicBezTo>
                  <a:pt x="374" y="123"/>
                  <a:pt x="361" y="123"/>
                  <a:pt x="358" y="118"/>
                </a:cubicBezTo>
                <a:cubicBezTo>
                  <a:pt x="358" y="113"/>
                  <a:pt x="364" y="104"/>
                  <a:pt x="370" y="97"/>
                </a:cubicBezTo>
                <a:cubicBezTo>
                  <a:pt x="379" y="88"/>
                  <a:pt x="375" y="84"/>
                  <a:pt x="372" y="80"/>
                </a:cubicBezTo>
                <a:cubicBezTo>
                  <a:pt x="369" y="76"/>
                  <a:pt x="366" y="71"/>
                  <a:pt x="355" y="78"/>
                </a:cubicBezTo>
                <a:cubicBezTo>
                  <a:pt x="346" y="83"/>
                  <a:pt x="334" y="86"/>
                  <a:pt x="329" y="83"/>
                </a:cubicBezTo>
                <a:cubicBezTo>
                  <a:pt x="328" y="77"/>
                  <a:pt x="331" y="67"/>
                  <a:pt x="336" y="59"/>
                </a:cubicBezTo>
                <a:cubicBezTo>
                  <a:pt x="342" y="48"/>
                  <a:pt x="337" y="45"/>
                  <a:pt x="333" y="42"/>
                </a:cubicBezTo>
                <a:cubicBezTo>
                  <a:pt x="329" y="39"/>
                  <a:pt x="325" y="35"/>
                  <a:pt x="316" y="44"/>
                </a:cubicBezTo>
                <a:cubicBezTo>
                  <a:pt x="309" y="52"/>
                  <a:pt x="297" y="58"/>
                  <a:pt x="292" y="56"/>
                </a:cubicBezTo>
                <a:cubicBezTo>
                  <a:pt x="290" y="51"/>
                  <a:pt x="290" y="40"/>
                  <a:pt x="292" y="31"/>
                </a:cubicBezTo>
                <a:cubicBezTo>
                  <a:pt x="295" y="19"/>
                  <a:pt x="290" y="18"/>
                  <a:pt x="285" y="16"/>
                </a:cubicBezTo>
                <a:cubicBezTo>
                  <a:pt x="281" y="14"/>
                  <a:pt x="276" y="11"/>
                  <a:pt x="270" y="22"/>
                </a:cubicBezTo>
                <a:cubicBezTo>
                  <a:pt x="264" y="31"/>
                  <a:pt x="255" y="40"/>
                  <a:pt x="250" y="39"/>
                </a:cubicBezTo>
                <a:cubicBezTo>
                  <a:pt x="246" y="35"/>
                  <a:pt x="243" y="25"/>
                  <a:pt x="243" y="16"/>
                </a:cubicBezTo>
                <a:cubicBezTo>
                  <a:pt x="243" y="3"/>
                  <a:pt x="237" y="3"/>
                  <a:pt x="233" y="3"/>
                </a:cubicBezTo>
                <a:cubicBezTo>
                  <a:pt x="228" y="2"/>
                  <a:pt x="222" y="0"/>
                  <a:pt x="219" y="13"/>
                </a:cubicBezTo>
                <a:cubicBezTo>
                  <a:pt x="216" y="23"/>
                  <a:pt x="210" y="34"/>
                  <a:pt x="204" y="35"/>
                </a:cubicBezTo>
                <a:cubicBezTo>
                  <a:pt x="200" y="32"/>
                  <a:pt x="194" y="22"/>
                  <a:pt x="192" y="13"/>
                </a:cubicBezTo>
                <a:cubicBezTo>
                  <a:pt x="189" y="1"/>
                  <a:pt x="183" y="3"/>
                  <a:pt x="178" y="3"/>
                </a:cubicBezTo>
                <a:cubicBezTo>
                  <a:pt x="173" y="4"/>
                  <a:pt x="168" y="4"/>
                  <a:pt x="168" y="17"/>
                </a:cubicBezTo>
                <a:cubicBezTo>
                  <a:pt x="167" y="27"/>
                  <a:pt x="164" y="40"/>
                  <a:pt x="159" y="42"/>
                </a:cubicBezTo>
                <a:cubicBezTo>
                  <a:pt x="154" y="40"/>
                  <a:pt x="146" y="32"/>
                  <a:pt x="142" y="25"/>
                </a:cubicBezTo>
                <a:cubicBezTo>
                  <a:pt x="135" y="14"/>
                  <a:pt x="130" y="17"/>
                  <a:pt x="126" y="18"/>
                </a:cubicBezTo>
                <a:cubicBezTo>
                  <a:pt x="121" y="20"/>
                  <a:pt x="116" y="22"/>
                  <a:pt x="119" y="34"/>
                </a:cubicBezTo>
                <a:cubicBezTo>
                  <a:pt x="122" y="44"/>
                  <a:pt x="122" y="57"/>
                  <a:pt x="117" y="60"/>
                </a:cubicBezTo>
                <a:cubicBezTo>
                  <a:pt x="112" y="60"/>
                  <a:pt x="103" y="54"/>
                  <a:pt x="96" y="48"/>
                </a:cubicBezTo>
                <a:cubicBezTo>
                  <a:pt x="87" y="39"/>
                  <a:pt x="83" y="43"/>
                  <a:pt x="79" y="46"/>
                </a:cubicBezTo>
                <a:cubicBezTo>
                  <a:pt x="75" y="49"/>
                  <a:pt x="70" y="52"/>
                  <a:pt x="77" y="63"/>
                </a:cubicBezTo>
                <a:cubicBezTo>
                  <a:pt x="81" y="72"/>
                  <a:pt x="85" y="83"/>
                  <a:pt x="82" y="88"/>
                </a:cubicBezTo>
                <a:cubicBezTo>
                  <a:pt x="78" y="91"/>
                  <a:pt x="66" y="88"/>
                  <a:pt x="57" y="84"/>
                </a:cubicBezTo>
                <a:cubicBezTo>
                  <a:pt x="46" y="78"/>
                  <a:pt x="43" y="83"/>
                  <a:pt x="40" y="87"/>
                </a:cubicBezTo>
                <a:cubicBezTo>
                  <a:pt x="38" y="91"/>
                  <a:pt x="34" y="95"/>
                  <a:pt x="43" y="103"/>
                </a:cubicBezTo>
                <a:cubicBezTo>
                  <a:pt x="49" y="110"/>
                  <a:pt x="55" y="119"/>
                  <a:pt x="56" y="124"/>
                </a:cubicBezTo>
                <a:cubicBezTo>
                  <a:pt x="53" y="129"/>
                  <a:pt x="40" y="129"/>
                  <a:pt x="29" y="127"/>
                </a:cubicBezTo>
                <a:cubicBezTo>
                  <a:pt x="17" y="124"/>
                  <a:pt x="16" y="130"/>
                  <a:pt x="14" y="134"/>
                </a:cubicBezTo>
                <a:cubicBezTo>
                  <a:pt x="13" y="139"/>
                  <a:pt x="10" y="144"/>
                  <a:pt x="21" y="150"/>
                </a:cubicBezTo>
                <a:cubicBezTo>
                  <a:pt x="29" y="154"/>
                  <a:pt x="37" y="162"/>
                  <a:pt x="39" y="167"/>
                </a:cubicBezTo>
                <a:cubicBezTo>
                  <a:pt x="37" y="172"/>
                  <a:pt x="25" y="176"/>
                  <a:pt x="14" y="176"/>
                </a:cubicBezTo>
                <a:cubicBezTo>
                  <a:pt x="1" y="177"/>
                  <a:pt x="2" y="183"/>
                  <a:pt x="1" y="187"/>
                </a:cubicBezTo>
                <a:cubicBezTo>
                  <a:pt x="1" y="192"/>
                  <a:pt x="0" y="198"/>
                  <a:pt x="12" y="201"/>
                </a:cubicBezTo>
                <a:cubicBezTo>
                  <a:pt x="21" y="203"/>
                  <a:pt x="30" y="208"/>
                  <a:pt x="33" y="212"/>
                </a:cubicBezTo>
                <a:cubicBezTo>
                  <a:pt x="33" y="217"/>
                  <a:pt x="22" y="224"/>
                  <a:pt x="12" y="228"/>
                </a:cubicBezTo>
                <a:cubicBezTo>
                  <a:pt x="0" y="232"/>
                  <a:pt x="2" y="237"/>
                  <a:pt x="3" y="242"/>
                </a:cubicBezTo>
                <a:cubicBezTo>
                  <a:pt x="3" y="246"/>
                  <a:pt x="4" y="252"/>
                  <a:pt x="16" y="252"/>
                </a:cubicBezTo>
                <a:cubicBezTo>
                  <a:pt x="25" y="252"/>
                  <a:pt x="36" y="254"/>
                  <a:pt x="40" y="258"/>
                </a:cubicBezTo>
                <a:cubicBezTo>
                  <a:pt x="41" y="263"/>
                  <a:pt x="32" y="272"/>
                  <a:pt x="24" y="278"/>
                </a:cubicBezTo>
                <a:cubicBezTo>
                  <a:pt x="13" y="285"/>
                  <a:pt x="16" y="290"/>
                  <a:pt x="18" y="294"/>
                </a:cubicBezTo>
                <a:cubicBezTo>
                  <a:pt x="20" y="298"/>
                  <a:pt x="22" y="304"/>
                  <a:pt x="34" y="300"/>
                </a:cubicBezTo>
                <a:cubicBezTo>
                  <a:pt x="42" y="298"/>
                  <a:pt x="53" y="297"/>
                  <a:pt x="58" y="299"/>
                </a:cubicBezTo>
                <a:cubicBezTo>
                  <a:pt x="61" y="304"/>
                  <a:pt x="54" y="316"/>
                  <a:pt x="48" y="324"/>
                </a:cubicBezTo>
                <a:cubicBezTo>
                  <a:pt x="39" y="333"/>
                  <a:pt x="43" y="337"/>
                  <a:pt x="46" y="341"/>
                </a:cubicBezTo>
                <a:cubicBezTo>
                  <a:pt x="49" y="344"/>
                  <a:pt x="52" y="349"/>
                  <a:pt x="63" y="342"/>
                </a:cubicBezTo>
                <a:cubicBezTo>
                  <a:pt x="71" y="338"/>
                  <a:pt x="81" y="334"/>
                  <a:pt x="87" y="335"/>
                </a:cubicBezTo>
                <a:cubicBezTo>
                  <a:pt x="90" y="339"/>
                  <a:pt x="87" y="352"/>
                  <a:pt x="83" y="362"/>
                </a:cubicBezTo>
                <a:cubicBezTo>
                  <a:pt x="77" y="373"/>
                  <a:pt x="82" y="375"/>
                  <a:pt x="86" y="378"/>
                </a:cubicBezTo>
                <a:close/>
                <a:moveTo>
                  <a:pt x="124" y="325"/>
                </a:moveTo>
                <a:cubicBezTo>
                  <a:pt x="60" y="278"/>
                  <a:pt x="46" y="188"/>
                  <a:pt x="93" y="125"/>
                </a:cubicBezTo>
                <a:cubicBezTo>
                  <a:pt x="140" y="61"/>
                  <a:pt x="230" y="47"/>
                  <a:pt x="294" y="94"/>
                </a:cubicBezTo>
                <a:cubicBezTo>
                  <a:pt x="358" y="141"/>
                  <a:pt x="371" y="231"/>
                  <a:pt x="324" y="295"/>
                </a:cubicBezTo>
                <a:cubicBezTo>
                  <a:pt x="277" y="359"/>
                  <a:pt x="187" y="372"/>
                  <a:pt x="124" y="32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5" name="Freeform 1425">
            <a:extLst>
              <a:ext uri="{FF2B5EF4-FFF2-40B4-BE49-F238E27FC236}">
                <a16:creationId xmlns:a16="http://schemas.microsoft.com/office/drawing/2014/main" id="{D081F2BC-AD8D-4E96-A06D-46C6273A276C}"/>
              </a:ext>
            </a:extLst>
          </p:cNvPr>
          <p:cNvSpPr>
            <a:spLocks noEditPoints="1"/>
          </p:cNvSpPr>
          <p:nvPr/>
        </p:nvSpPr>
        <p:spPr bwMode="auto">
          <a:xfrm rot="10800000">
            <a:off x="4053842" y="2032791"/>
            <a:ext cx="149406" cy="153339"/>
          </a:xfrm>
          <a:custGeom>
            <a:avLst/>
            <a:gdLst>
              <a:gd name="T0" fmla="*/ 46 w 51"/>
              <a:gd name="T1" fmla="*/ 42 h 53"/>
              <a:gd name="T2" fmla="*/ 51 w 51"/>
              <a:gd name="T3" fmla="*/ 22 h 53"/>
              <a:gd name="T4" fmla="*/ 40 w 51"/>
              <a:gd name="T5" fmla="*/ 4 h 53"/>
              <a:gd name="T6" fmla="*/ 21 w 51"/>
              <a:gd name="T7" fmla="*/ 0 h 53"/>
              <a:gd name="T8" fmla="*/ 4 w 51"/>
              <a:gd name="T9" fmla="*/ 11 h 53"/>
              <a:gd name="T10" fmla="*/ 0 w 51"/>
              <a:gd name="T11" fmla="*/ 31 h 53"/>
              <a:gd name="T12" fmla="*/ 10 w 51"/>
              <a:gd name="T13" fmla="*/ 48 h 53"/>
              <a:gd name="T14" fmla="*/ 30 w 51"/>
              <a:gd name="T15" fmla="*/ 53 h 53"/>
              <a:gd name="T16" fmla="*/ 29 w 51"/>
              <a:gd name="T17" fmla="*/ 41 h 53"/>
              <a:gd name="T18" fmla="*/ 27 w 51"/>
              <a:gd name="T19" fmla="*/ 42 h 53"/>
              <a:gd name="T20" fmla="*/ 26 w 51"/>
              <a:gd name="T21" fmla="*/ 42 h 53"/>
              <a:gd name="T22" fmla="*/ 24 w 51"/>
              <a:gd name="T23" fmla="*/ 42 h 53"/>
              <a:gd name="T24" fmla="*/ 22 w 51"/>
              <a:gd name="T25" fmla="*/ 42 h 53"/>
              <a:gd name="T26" fmla="*/ 21 w 51"/>
              <a:gd name="T27" fmla="*/ 41 h 53"/>
              <a:gd name="T28" fmla="*/ 18 w 51"/>
              <a:gd name="T29" fmla="*/ 40 h 53"/>
              <a:gd name="T30" fmla="*/ 16 w 51"/>
              <a:gd name="T31" fmla="*/ 38 h 53"/>
              <a:gd name="T32" fmla="*/ 14 w 51"/>
              <a:gd name="T33" fmla="*/ 36 h 53"/>
              <a:gd name="T34" fmla="*/ 12 w 51"/>
              <a:gd name="T35" fmla="*/ 35 h 53"/>
              <a:gd name="T36" fmla="*/ 11 w 51"/>
              <a:gd name="T37" fmla="*/ 31 h 53"/>
              <a:gd name="T38" fmla="*/ 10 w 51"/>
              <a:gd name="T39" fmla="*/ 30 h 53"/>
              <a:gd name="T40" fmla="*/ 10 w 51"/>
              <a:gd name="T41" fmla="*/ 28 h 53"/>
              <a:gd name="T42" fmla="*/ 10 w 51"/>
              <a:gd name="T43" fmla="*/ 26 h 53"/>
              <a:gd name="T44" fmla="*/ 10 w 51"/>
              <a:gd name="T45" fmla="*/ 25 h 53"/>
              <a:gd name="T46" fmla="*/ 10 w 51"/>
              <a:gd name="T47" fmla="*/ 23 h 53"/>
              <a:gd name="T48" fmla="*/ 12 w 51"/>
              <a:gd name="T49" fmla="*/ 19 h 53"/>
              <a:gd name="T50" fmla="*/ 12 w 51"/>
              <a:gd name="T51" fmla="*/ 18 h 53"/>
              <a:gd name="T52" fmla="*/ 14 w 51"/>
              <a:gd name="T53" fmla="*/ 16 h 53"/>
              <a:gd name="T54" fmla="*/ 16 w 51"/>
              <a:gd name="T55" fmla="*/ 14 h 53"/>
              <a:gd name="T56" fmla="*/ 18 w 51"/>
              <a:gd name="T57" fmla="*/ 13 h 53"/>
              <a:gd name="T58" fmla="*/ 21 w 51"/>
              <a:gd name="T59" fmla="*/ 12 h 53"/>
              <a:gd name="T60" fmla="*/ 22 w 51"/>
              <a:gd name="T61" fmla="*/ 11 h 53"/>
              <a:gd name="T62" fmla="*/ 24 w 51"/>
              <a:gd name="T63" fmla="*/ 11 h 53"/>
              <a:gd name="T64" fmla="*/ 26 w 51"/>
              <a:gd name="T65" fmla="*/ 11 h 53"/>
              <a:gd name="T66" fmla="*/ 27 w 51"/>
              <a:gd name="T67" fmla="*/ 11 h 53"/>
              <a:gd name="T68" fmla="*/ 29 w 51"/>
              <a:gd name="T69" fmla="*/ 11 h 53"/>
              <a:gd name="T70" fmla="*/ 33 w 51"/>
              <a:gd name="T71" fmla="*/ 13 h 53"/>
              <a:gd name="T72" fmla="*/ 35 w 51"/>
              <a:gd name="T73" fmla="*/ 14 h 53"/>
              <a:gd name="T74" fmla="*/ 37 w 51"/>
              <a:gd name="T75" fmla="*/ 16 h 53"/>
              <a:gd name="T76" fmla="*/ 38 w 51"/>
              <a:gd name="T77" fmla="*/ 18 h 53"/>
              <a:gd name="T78" fmla="*/ 39 w 51"/>
              <a:gd name="T79" fmla="*/ 22 h 53"/>
              <a:gd name="T80" fmla="*/ 40 w 51"/>
              <a:gd name="T81" fmla="*/ 23 h 53"/>
              <a:gd name="T82" fmla="*/ 40 w 51"/>
              <a:gd name="T83" fmla="*/ 25 h 53"/>
              <a:gd name="T84" fmla="*/ 40 w 51"/>
              <a:gd name="T85" fmla="*/ 27 h 53"/>
              <a:gd name="T86" fmla="*/ 40 w 51"/>
              <a:gd name="T87" fmla="*/ 29 h 53"/>
              <a:gd name="T88" fmla="*/ 40 w 51"/>
              <a:gd name="T89" fmla="*/ 30 h 53"/>
              <a:gd name="T90" fmla="*/ 38 w 51"/>
              <a:gd name="T91" fmla="*/ 34 h 53"/>
              <a:gd name="T92" fmla="*/ 38 w 51"/>
              <a:gd name="T93" fmla="*/ 35 h 53"/>
              <a:gd name="T94" fmla="*/ 36 w 51"/>
              <a:gd name="T95" fmla="*/ 36 h 53"/>
              <a:gd name="T96" fmla="*/ 34 w 51"/>
              <a:gd name="T97" fmla="*/ 38 h 53"/>
              <a:gd name="T98" fmla="*/ 33 w 51"/>
              <a:gd name="T99"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 h="53">
                <a:moveTo>
                  <a:pt x="30" y="47"/>
                </a:moveTo>
                <a:cubicBezTo>
                  <a:pt x="32" y="47"/>
                  <a:pt x="34" y="46"/>
                  <a:pt x="36" y="44"/>
                </a:cubicBezTo>
                <a:cubicBezTo>
                  <a:pt x="40" y="48"/>
                  <a:pt x="40" y="48"/>
                  <a:pt x="40" y="48"/>
                </a:cubicBezTo>
                <a:cubicBezTo>
                  <a:pt x="46" y="42"/>
                  <a:pt x="46" y="42"/>
                  <a:pt x="46" y="42"/>
                </a:cubicBezTo>
                <a:cubicBezTo>
                  <a:pt x="43" y="38"/>
                  <a:pt x="43" y="38"/>
                  <a:pt x="43" y="38"/>
                </a:cubicBezTo>
                <a:cubicBezTo>
                  <a:pt x="44" y="36"/>
                  <a:pt x="45" y="33"/>
                  <a:pt x="46" y="31"/>
                </a:cubicBezTo>
                <a:cubicBezTo>
                  <a:pt x="51" y="31"/>
                  <a:pt x="51" y="31"/>
                  <a:pt x="51" y="31"/>
                </a:cubicBezTo>
                <a:cubicBezTo>
                  <a:pt x="51" y="22"/>
                  <a:pt x="51" y="22"/>
                  <a:pt x="51" y="22"/>
                </a:cubicBezTo>
                <a:cubicBezTo>
                  <a:pt x="46" y="22"/>
                  <a:pt x="46" y="22"/>
                  <a:pt x="46" y="22"/>
                </a:cubicBezTo>
                <a:cubicBezTo>
                  <a:pt x="45" y="19"/>
                  <a:pt x="44" y="17"/>
                  <a:pt x="43" y="15"/>
                </a:cubicBezTo>
                <a:cubicBezTo>
                  <a:pt x="46" y="11"/>
                  <a:pt x="46" y="11"/>
                  <a:pt x="46" y="11"/>
                </a:cubicBezTo>
                <a:cubicBezTo>
                  <a:pt x="40" y="4"/>
                  <a:pt x="40" y="4"/>
                  <a:pt x="40" y="4"/>
                </a:cubicBezTo>
                <a:cubicBezTo>
                  <a:pt x="36" y="8"/>
                  <a:pt x="36" y="8"/>
                  <a:pt x="36" y="8"/>
                </a:cubicBezTo>
                <a:cubicBezTo>
                  <a:pt x="34" y="7"/>
                  <a:pt x="32" y="6"/>
                  <a:pt x="30" y="5"/>
                </a:cubicBezTo>
                <a:cubicBezTo>
                  <a:pt x="30" y="0"/>
                  <a:pt x="30" y="0"/>
                  <a:pt x="30" y="0"/>
                </a:cubicBezTo>
                <a:cubicBezTo>
                  <a:pt x="21" y="0"/>
                  <a:pt x="21" y="0"/>
                  <a:pt x="21" y="0"/>
                </a:cubicBezTo>
                <a:cubicBezTo>
                  <a:pt x="21" y="5"/>
                  <a:pt x="21" y="5"/>
                  <a:pt x="21" y="5"/>
                </a:cubicBezTo>
                <a:cubicBezTo>
                  <a:pt x="18" y="6"/>
                  <a:pt x="16" y="7"/>
                  <a:pt x="14" y="8"/>
                </a:cubicBezTo>
                <a:cubicBezTo>
                  <a:pt x="10" y="4"/>
                  <a:pt x="10" y="4"/>
                  <a:pt x="10" y="4"/>
                </a:cubicBezTo>
                <a:cubicBezTo>
                  <a:pt x="4" y="11"/>
                  <a:pt x="4" y="11"/>
                  <a:pt x="4" y="11"/>
                </a:cubicBezTo>
                <a:cubicBezTo>
                  <a:pt x="8" y="15"/>
                  <a:pt x="8" y="15"/>
                  <a:pt x="8" y="15"/>
                </a:cubicBezTo>
                <a:cubicBezTo>
                  <a:pt x="6" y="17"/>
                  <a:pt x="5" y="19"/>
                  <a:pt x="5" y="22"/>
                </a:cubicBezTo>
                <a:cubicBezTo>
                  <a:pt x="0" y="22"/>
                  <a:pt x="0" y="22"/>
                  <a:pt x="0" y="22"/>
                </a:cubicBezTo>
                <a:cubicBezTo>
                  <a:pt x="0" y="31"/>
                  <a:pt x="0" y="31"/>
                  <a:pt x="0" y="31"/>
                </a:cubicBezTo>
                <a:cubicBezTo>
                  <a:pt x="5" y="31"/>
                  <a:pt x="5" y="31"/>
                  <a:pt x="5" y="31"/>
                </a:cubicBezTo>
                <a:cubicBezTo>
                  <a:pt x="5" y="33"/>
                  <a:pt x="6" y="36"/>
                  <a:pt x="8" y="38"/>
                </a:cubicBezTo>
                <a:cubicBezTo>
                  <a:pt x="4" y="42"/>
                  <a:pt x="4" y="42"/>
                  <a:pt x="4" y="42"/>
                </a:cubicBezTo>
                <a:cubicBezTo>
                  <a:pt x="10" y="48"/>
                  <a:pt x="10" y="48"/>
                  <a:pt x="10" y="48"/>
                </a:cubicBezTo>
                <a:cubicBezTo>
                  <a:pt x="14" y="44"/>
                  <a:pt x="14" y="44"/>
                  <a:pt x="14" y="44"/>
                </a:cubicBezTo>
                <a:cubicBezTo>
                  <a:pt x="16" y="46"/>
                  <a:pt x="18" y="47"/>
                  <a:pt x="21" y="47"/>
                </a:cubicBezTo>
                <a:cubicBezTo>
                  <a:pt x="21" y="53"/>
                  <a:pt x="21" y="53"/>
                  <a:pt x="21" y="53"/>
                </a:cubicBezTo>
                <a:cubicBezTo>
                  <a:pt x="30" y="53"/>
                  <a:pt x="30" y="53"/>
                  <a:pt x="30" y="53"/>
                </a:cubicBezTo>
                <a:lnTo>
                  <a:pt x="30" y="47"/>
                </a:lnTo>
                <a:close/>
                <a:moveTo>
                  <a:pt x="32" y="40"/>
                </a:moveTo>
                <a:cubicBezTo>
                  <a:pt x="31" y="41"/>
                  <a:pt x="30" y="41"/>
                  <a:pt x="29" y="41"/>
                </a:cubicBezTo>
                <a:cubicBezTo>
                  <a:pt x="29" y="41"/>
                  <a:pt x="29" y="41"/>
                  <a:pt x="29" y="41"/>
                </a:cubicBezTo>
                <a:cubicBezTo>
                  <a:pt x="28" y="41"/>
                  <a:pt x="28" y="41"/>
                  <a:pt x="28" y="41"/>
                </a:cubicBezTo>
                <a:cubicBezTo>
                  <a:pt x="28" y="42"/>
                  <a:pt x="28" y="42"/>
                  <a:pt x="28" y="42"/>
                </a:cubicBezTo>
                <a:cubicBezTo>
                  <a:pt x="27" y="42"/>
                  <a:pt x="27" y="42"/>
                  <a:pt x="27" y="42"/>
                </a:cubicBezTo>
                <a:cubicBezTo>
                  <a:pt x="27" y="42"/>
                  <a:pt x="27" y="42"/>
                  <a:pt x="27" y="42"/>
                </a:cubicBezTo>
                <a:cubicBezTo>
                  <a:pt x="27" y="42"/>
                  <a:pt x="27" y="42"/>
                  <a:pt x="27" y="42"/>
                </a:cubicBezTo>
                <a:cubicBezTo>
                  <a:pt x="27" y="42"/>
                  <a:pt x="27" y="42"/>
                  <a:pt x="27" y="42"/>
                </a:cubicBezTo>
                <a:cubicBezTo>
                  <a:pt x="26" y="42"/>
                  <a:pt x="26" y="42"/>
                  <a:pt x="26" y="42"/>
                </a:cubicBezTo>
                <a:cubicBezTo>
                  <a:pt x="26" y="42"/>
                  <a:pt x="26" y="42"/>
                  <a:pt x="26" y="42"/>
                </a:cubicBezTo>
                <a:cubicBezTo>
                  <a:pt x="25" y="42"/>
                  <a:pt x="25" y="42"/>
                  <a:pt x="25" y="42"/>
                </a:cubicBezTo>
                <a:cubicBezTo>
                  <a:pt x="24" y="42"/>
                  <a:pt x="24" y="42"/>
                  <a:pt x="24" y="42"/>
                </a:cubicBezTo>
                <a:cubicBezTo>
                  <a:pt x="24" y="42"/>
                  <a:pt x="24" y="42"/>
                  <a:pt x="24" y="42"/>
                </a:cubicBezTo>
                <a:cubicBezTo>
                  <a:pt x="24" y="42"/>
                  <a:pt x="24" y="42"/>
                  <a:pt x="24" y="42"/>
                </a:cubicBezTo>
                <a:cubicBezTo>
                  <a:pt x="24" y="42"/>
                  <a:pt x="24" y="42"/>
                  <a:pt x="24" y="42"/>
                </a:cubicBezTo>
                <a:cubicBezTo>
                  <a:pt x="23" y="42"/>
                  <a:pt x="23" y="42"/>
                  <a:pt x="23" y="42"/>
                </a:cubicBezTo>
                <a:cubicBezTo>
                  <a:pt x="23" y="42"/>
                  <a:pt x="23" y="42"/>
                  <a:pt x="23" y="42"/>
                </a:cubicBezTo>
                <a:cubicBezTo>
                  <a:pt x="22" y="42"/>
                  <a:pt x="22" y="42"/>
                  <a:pt x="22" y="42"/>
                </a:cubicBezTo>
                <a:cubicBezTo>
                  <a:pt x="22" y="41"/>
                  <a:pt x="22" y="41"/>
                  <a:pt x="22" y="41"/>
                </a:cubicBezTo>
                <a:cubicBezTo>
                  <a:pt x="22" y="41"/>
                  <a:pt x="22" y="41"/>
                  <a:pt x="22" y="41"/>
                </a:cubicBezTo>
                <a:cubicBezTo>
                  <a:pt x="21" y="41"/>
                  <a:pt x="21" y="41"/>
                  <a:pt x="21" y="41"/>
                </a:cubicBezTo>
                <a:cubicBezTo>
                  <a:pt x="21" y="41"/>
                  <a:pt x="21" y="41"/>
                  <a:pt x="21" y="41"/>
                </a:cubicBezTo>
                <a:cubicBezTo>
                  <a:pt x="21" y="41"/>
                  <a:pt x="21" y="41"/>
                  <a:pt x="21" y="41"/>
                </a:cubicBezTo>
                <a:cubicBezTo>
                  <a:pt x="20" y="41"/>
                  <a:pt x="19" y="40"/>
                  <a:pt x="18" y="40"/>
                </a:cubicBezTo>
                <a:cubicBezTo>
                  <a:pt x="18" y="40"/>
                  <a:pt x="18" y="40"/>
                  <a:pt x="18" y="40"/>
                </a:cubicBezTo>
                <a:cubicBezTo>
                  <a:pt x="18" y="40"/>
                  <a:pt x="18" y="40"/>
                  <a:pt x="18" y="40"/>
                </a:cubicBezTo>
                <a:cubicBezTo>
                  <a:pt x="17" y="39"/>
                  <a:pt x="17" y="39"/>
                  <a:pt x="17" y="39"/>
                </a:cubicBezTo>
                <a:cubicBezTo>
                  <a:pt x="17" y="39"/>
                  <a:pt x="17" y="39"/>
                  <a:pt x="17" y="39"/>
                </a:cubicBezTo>
                <a:cubicBezTo>
                  <a:pt x="17" y="39"/>
                  <a:pt x="16" y="39"/>
                  <a:pt x="16" y="38"/>
                </a:cubicBezTo>
                <a:cubicBezTo>
                  <a:pt x="16" y="38"/>
                  <a:pt x="16" y="38"/>
                  <a:pt x="16" y="38"/>
                </a:cubicBezTo>
                <a:cubicBezTo>
                  <a:pt x="15" y="38"/>
                  <a:pt x="15" y="38"/>
                  <a:pt x="15" y="38"/>
                </a:cubicBezTo>
                <a:cubicBezTo>
                  <a:pt x="15" y="38"/>
                  <a:pt x="15" y="38"/>
                  <a:pt x="15" y="38"/>
                </a:cubicBezTo>
                <a:cubicBezTo>
                  <a:pt x="15" y="38"/>
                  <a:pt x="14" y="37"/>
                  <a:pt x="14" y="36"/>
                </a:cubicBezTo>
                <a:cubicBezTo>
                  <a:pt x="14" y="36"/>
                  <a:pt x="14" y="36"/>
                  <a:pt x="14" y="36"/>
                </a:cubicBezTo>
                <a:cubicBezTo>
                  <a:pt x="13" y="36"/>
                  <a:pt x="13" y="36"/>
                  <a:pt x="13" y="36"/>
                </a:cubicBezTo>
                <a:cubicBezTo>
                  <a:pt x="13" y="36"/>
                  <a:pt x="13" y="36"/>
                  <a:pt x="13" y="36"/>
                </a:cubicBezTo>
                <a:cubicBezTo>
                  <a:pt x="13" y="36"/>
                  <a:pt x="13" y="35"/>
                  <a:pt x="12" y="35"/>
                </a:cubicBezTo>
                <a:cubicBezTo>
                  <a:pt x="12" y="35"/>
                  <a:pt x="12" y="35"/>
                  <a:pt x="12" y="35"/>
                </a:cubicBezTo>
                <a:cubicBezTo>
                  <a:pt x="12" y="34"/>
                  <a:pt x="12" y="34"/>
                  <a:pt x="12" y="34"/>
                </a:cubicBezTo>
                <a:cubicBezTo>
                  <a:pt x="12" y="34"/>
                  <a:pt x="12" y="34"/>
                  <a:pt x="12" y="34"/>
                </a:cubicBezTo>
                <a:cubicBezTo>
                  <a:pt x="12" y="34"/>
                  <a:pt x="12" y="34"/>
                  <a:pt x="12" y="34"/>
                </a:cubicBezTo>
                <a:cubicBezTo>
                  <a:pt x="11" y="33"/>
                  <a:pt x="11" y="32"/>
                  <a:pt x="11" y="31"/>
                </a:cubicBezTo>
                <a:cubicBezTo>
                  <a:pt x="11" y="31"/>
                  <a:pt x="11" y="31"/>
                  <a:pt x="11" y="31"/>
                </a:cubicBezTo>
                <a:cubicBezTo>
                  <a:pt x="11" y="30"/>
                  <a:pt x="11" y="30"/>
                  <a:pt x="11" y="30"/>
                </a:cubicBezTo>
                <a:cubicBezTo>
                  <a:pt x="11" y="30"/>
                  <a:pt x="11" y="30"/>
                  <a:pt x="11" y="30"/>
                </a:cubicBezTo>
                <a:cubicBezTo>
                  <a:pt x="10" y="30"/>
                  <a:pt x="10" y="30"/>
                  <a:pt x="10" y="30"/>
                </a:cubicBezTo>
                <a:cubicBezTo>
                  <a:pt x="10" y="29"/>
                  <a:pt x="10" y="29"/>
                  <a:pt x="10" y="29"/>
                </a:cubicBezTo>
                <a:cubicBezTo>
                  <a:pt x="10" y="29"/>
                  <a:pt x="10" y="29"/>
                  <a:pt x="10" y="29"/>
                </a:cubicBezTo>
                <a:cubicBezTo>
                  <a:pt x="10" y="29"/>
                  <a:pt x="10" y="29"/>
                  <a:pt x="10" y="29"/>
                </a:cubicBezTo>
                <a:cubicBezTo>
                  <a:pt x="10" y="28"/>
                  <a:pt x="10" y="28"/>
                  <a:pt x="10" y="28"/>
                </a:cubicBezTo>
                <a:cubicBezTo>
                  <a:pt x="10" y="28"/>
                  <a:pt x="10" y="28"/>
                  <a:pt x="10" y="28"/>
                </a:cubicBezTo>
                <a:cubicBezTo>
                  <a:pt x="10" y="27"/>
                  <a:pt x="10" y="27"/>
                  <a:pt x="10" y="27"/>
                </a:cubicBezTo>
                <a:cubicBezTo>
                  <a:pt x="10" y="27"/>
                  <a:pt x="10" y="27"/>
                  <a:pt x="10" y="27"/>
                </a:cubicBezTo>
                <a:cubicBezTo>
                  <a:pt x="10" y="26"/>
                  <a:pt x="10" y="26"/>
                  <a:pt x="10" y="26"/>
                </a:cubicBezTo>
                <a:cubicBezTo>
                  <a:pt x="10" y="26"/>
                  <a:pt x="10" y="26"/>
                  <a:pt x="10" y="26"/>
                </a:cubicBezTo>
                <a:cubicBezTo>
                  <a:pt x="10" y="25"/>
                  <a:pt x="10" y="25"/>
                  <a:pt x="10" y="25"/>
                </a:cubicBezTo>
                <a:cubicBezTo>
                  <a:pt x="10" y="25"/>
                  <a:pt x="10" y="25"/>
                  <a:pt x="10" y="25"/>
                </a:cubicBezTo>
                <a:cubicBezTo>
                  <a:pt x="10" y="25"/>
                  <a:pt x="10" y="25"/>
                  <a:pt x="10" y="25"/>
                </a:cubicBezTo>
                <a:cubicBezTo>
                  <a:pt x="10" y="24"/>
                  <a:pt x="10" y="24"/>
                  <a:pt x="10" y="24"/>
                </a:cubicBezTo>
                <a:cubicBezTo>
                  <a:pt x="10" y="24"/>
                  <a:pt x="10" y="24"/>
                  <a:pt x="10" y="24"/>
                </a:cubicBezTo>
                <a:cubicBezTo>
                  <a:pt x="10" y="23"/>
                  <a:pt x="10" y="23"/>
                  <a:pt x="10" y="23"/>
                </a:cubicBezTo>
                <a:cubicBezTo>
                  <a:pt x="10" y="23"/>
                  <a:pt x="10" y="23"/>
                  <a:pt x="10" y="23"/>
                </a:cubicBezTo>
                <a:cubicBezTo>
                  <a:pt x="11" y="23"/>
                  <a:pt x="11" y="23"/>
                  <a:pt x="11" y="23"/>
                </a:cubicBezTo>
                <a:cubicBezTo>
                  <a:pt x="11" y="22"/>
                  <a:pt x="11" y="22"/>
                  <a:pt x="11" y="22"/>
                </a:cubicBezTo>
                <a:cubicBezTo>
                  <a:pt x="11" y="22"/>
                  <a:pt x="11" y="22"/>
                  <a:pt x="11" y="22"/>
                </a:cubicBezTo>
                <a:cubicBezTo>
                  <a:pt x="11" y="21"/>
                  <a:pt x="11" y="20"/>
                  <a:pt x="12" y="19"/>
                </a:cubicBezTo>
                <a:cubicBezTo>
                  <a:pt x="12" y="19"/>
                  <a:pt x="12" y="19"/>
                  <a:pt x="12" y="19"/>
                </a:cubicBezTo>
                <a:cubicBezTo>
                  <a:pt x="12" y="19"/>
                  <a:pt x="12" y="19"/>
                  <a:pt x="12" y="19"/>
                </a:cubicBezTo>
                <a:cubicBezTo>
                  <a:pt x="12" y="18"/>
                  <a:pt x="12" y="18"/>
                  <a:pt x="12" y="18"/>
                </a:cubicBezTo>
                <a:cubicBezTo>
                  <a:pt x="12" y="18"/>
                  <a:pt x="12" y="18"/>
                  <a:pt x="12" y="18"/>
                </a:cubicBezTo>
                <a:cubicBezTo>
                  <a:pt x="13" y="18"/>
                  <a:pt x="13" y="17"/>
                  <a:pt x="13" y="17"/>
                </a:cubicBezTo>
                <a:cubicBezTo>
                  <a:pt x="13" y="17"/>
                  <a:pt x="13" y="17"/>
                  <a:pt x="13" y="17"/>
                </a:cubicBezTo>
                <a:cubicBezTo>
                  <a:pt x="14" y="16"/>
                  <a:pt x="14" y="16"/>
                  <a:pt x="14" y="16"/>
                </a:cubicBezTo>
                <a:cubicBezTo>
                  <a:pt x="14" y="16"/>
                  <a:pt x="14" y="16"/>
                  <a:pt x="14" y="16"/>
                </a:cubicBezTo>
                <a:cubicBezTo>
                  <a:pt x="14" y="16"/>
                  <a:pt x="15" y="15"/>
                  <a:pt x="15" y="15"/>
                </a:cubicBezTo>
                <a:cubicBezTo>
                  <a:pt x="15" y="15"/>
                  <a:pt x="15" y="15"/>
                  <a:pt x="15" y="15"/>
                </a:cubicBezTo>
                <a:cubicBezTo>
                  <a:pt x="16" y="14"/>
                  <a:pt x="16" y="14"/>
                  <a:pt x="16" y="14"/>
                </a:cubicBezTo>
                <a:cubicBezTo>
                  <a:pt x="16" y="14"/>
                  <a:pt x="16" y="14"/>
                  <a:pt x="16" y="14"/>
                </a:cubicBezTo>
                <a:cubicBezTo>
                  <a:pt x="16" y="14"/>
                  <a:pt x="17" y="14"/>
                  <a:pt x="17" y="13"/>
                </a:cubicBezTo>
                <a:cubicBezTo>
                  <a:pt x="17" y="13"/>
                  <a:pt x="17" y="13"/>
                  <a:pt x="17" y="13"/>
                </a:cubicBezTo>
                <a:cubicBezTo>
                  <a:pt x="18" y="13"/>
                  <a:pt x="18" y="13"/>
                  <a:pt x="18" y="13"/>
                </a:cubicBezTo>
                <a:cubicBezTo>
                  <a:pt x="18" y="13"/>
                  <a:pt x="18" y="13"/>
                  <a:pt x="18" y="13"/>
                </a:cubicBezTo>
                <a:cubicBezTo>
                  <a:pt x="18" y="13"/>
                  <a:pt x="18" y="13"/>
                  <a:pt x="18" y="13"/>
                </a:cubicBezTo>
                <a:cubicBezTo>
                  <a:pt x="19" y="12"/>
                  <a:pt x="20" y="12"/>
                  <a:pt x="21" y="12"/>
                </a:cubicBezTo>
                <a:cubicBezTo>
                  <a:pt x="21" y="12"/>
                  <a:pt x="21" y="12"/>
                  <a:pt x="21" y="12"/>
                </a:cubicBezTo>
                <a:cubicBezTo>
                  <a:pt x="21" y="12"/>
                  <a:pt x="21" y="12"/>
                  <a:pt x="21" y="12"/>
                </a:cubicBezTo>
                <a:cubicBezTo>
                  <a:pt x="21" y="11"/>
                  <a:pt x="21" y="11"/>
                  <a:pt x="21" y="11"/>
                </a:cubicBezTo>
                <a:cubicBezTo>
                  <a:pt x="22" y="11"/>
                  <a:pt x="22" y="11"/>
                  <a:pt x="22" y="11"/>
                </a:cubicBezTo>
                <a:cubicBezTo>
                  <a:pt x="22" y="11"/>
                  <a:pt x="22" y="11"/>
                  <a:pt x="22" y="11"/>
                </a:cubicBezTo>
                <a:cubicBezTo>
                  <a:pt x="22" y="11"/>
                  <a:pt x="22" y="11"/>
                  <a:pt x="22" y="11"/>
                </a:cubicBezTo>
                <a:cubicBezTo>
                  <a:pt x="23" y="11"/>
                  <a:pt x="23" y="11"/>
                  <a:pt x="23" y="11"/>
                </a:cubicBezTo>
                <a:cubicBezTo>
                  <a:pt x="23" y="11"/>
                  <a:pt x="23" y="11"/>
                  <a:pt x="23" y="11"/>
                </a:cubicBezTo>
                <a:cubicBezTo>
                  <a:pt x="24" y="11"/>
                  <a:pt x="24" y="11"/>
                  <a:pt x="24" y="11"/>
                </a:cubicBezTo>
                <a:cubicBezTo>
                  <a:pt x="24" y="11"/>
                  <a:pt x="24" y="11"/>
                  <a:pt x="24" y="11"/>
                </a:cubicBezTo>
                <a:cubicBezTo>
                  <a:pt x="24" y="11"/>
                  <a:pt x="24" y="11"/>
                  <a:pt x="24" y="11"/>
                </a:cubicBezTo>
                <a:cubicBezTo>
                  <a:pt x="24" y="11"/>
                  <a:pt x="24" y="11"/>
                  <a:pt x="24" y="11"/>
                </a:cubicBezTo>
                <a:cubicBezTo>
                  <a:pt x="25" y="11"/>
                  <a:pt x="25" y="11"/>
                  <a:pt x="25" y="11"/>
                </a:cubicBezTo>
                <a:cubicBezTo>
                  <a:pt x="26" y="11"/>
                  <a:pt x="26" y="11"/>
                  <a:pt x="26" y="11"/>
                </a:cubicBezTo>
                <a:cubicBezTo>
                  <a:pt x="26" y="11"/>
                  <a:pt x="26" y="11"/>
                  <a:pt x="26" y="11"/>
                </a:cubicBezTo>
                <a:cubicBezTo>
                  <a:pt x="27" y="11"/>
                  <a:pt x="27" y="11"/>
                  <a:pt x="27" y="11"/>
                </a:cubicBezTo>
                <a:cubicBezTo>
                  <a:pt x="27" y="11"/>
                  <a:pt x="27" y="11"/>
                  <a:pt x="27" y="11"/>
                </a:cubicBezTo>
                <a:cubicBezTo>
                  <a:pt x="27" y="11"/>
                  <a:pt x="27" y="11"/>
                  <a:pt x="27" y="11"/>
                </a:cubicBezTo>
                <a:cubicBezTo>
                  <a:pt x="27" y="11"/>
                  <a:pt x="27" y="11"/>
                  <a:pt x="27" y="11"/>
                </a:cubicBezTo>
                <a:cubicBezTo>
                  <a:pt x="28" y="11"/>
                  <a:pt x="28" y="11"/>
                  <a:pt x="28" y="11"/>
                </a:cubicBezTo>
                <a:cubicBezTo>
                  <a:pt x="28" y="11"/>
                  <a:pt x="28" y="11"/>
                  <a:pt x="28" y="11"/>
                </a:cubicBezTo>
                <a:cubicBezTo>
                  <a:pt x="29" y="11"/>
                  <a:pt x="29" y="11"/>
                  <a:pt x="29" y="11"/>
                </a:cubicBezTo>
                <a:cubicBezTo>
                  <a:pt x="29" y="11"/>
                  <a:pt x="29" y="11"/>
                  <a:pt x="29" y="11"/>
                </a:cubicBezTo>
                <a:cubicBezTo>
                  <a:pt x="30" y="12"/>
                  <a:pt x="31" y="12"/>
                  <a:pt x="32" y="13"/>
                </a:cubicBezTo>
                <a:cubicBezTo>
                  <a:pt x="33" y="13"/>
                  <a:pt x="33" y="13"/>
                  <a:pt x="33" y="13"/>
                </a:cubicBezTo>
                <a:cubicBezTo>
                  <a:pt x="33" y="13"/>
                  <a:pt x="33" y="13"/>
                  <a:pt x="33" y="13"/>
                </a:cubicBezTo>
                <a:cubicBezTo>
                  <a:pt x="33" y="13"/>
                  <a:pt x="33" y="13"/>
                  <a:pt x="33" y="13"/>
                </a:cubicBezTo>
                <a:cubicBezTo>
                  <a:pt x="33" y="13"/>
                  <a:pt x="33" y="13"/>
                  <a:pt x="33" y="13"/>
                </a:cubicBezTo>
                <a:cubicBezTo>
                  <a:pt x="34" y="14"/>
                  <a:pt x="34" y="14"/>
                  <a:pt x="34" y="14"/>
                </a:cubicBezTo>
                <a:cubicBezTo>
                  <a:pt x="35" y="14"/>
                  <a:pt x="35" y="14"/>
                  <a:pt x="35" y="14"/>
                </a:cubicBezTo>
                <a:cubicBezTo>
                  <a:pt x="35" y="15"/>
                  <a:pt x="35" y="15"/>
                  <a:pt x="35" y="15"/>
                </a:cubicBezTo>
                <a:cubicBezTo>
                  <a:pt x="35" y="15"/>
                  <a:pt x="35" y="15"/>
                  <a:pt x="35" y="15"/>
                </a:cubicBezTo>
                <a:cubicBezTo>
                  <a:pt x="36" y="15"/>
                  <a:pt x="36" y="16"/>
                  <a:pt x="36" y="16"/>
                </a:cubicBezTo>
                <a:cubicBezTo>
                  <a:pt x="37" y="16"/>
                  <a:pt x="37" y="16"/>
                  <a:pt x="37" y="16"/>
                </a:cubicBezTo>
                <a:cubicBezTo>
                  <a:pt x="37" y="17"/>
                  <a:pt x="37" y="17"/>
                  <a:pt x="37" y="17"/>
                </a:cubicBezTo>
                <a:cubicBezTo>
                  <a:pt x="37" y="17"/>
                  <a:pt x="37" y="17"/>
                  <a:pt x="37" y="17"/>
                </a:cubicBezTo>
                <a:cubicBezTo>
                  <a:pt x="37" y="17"/>
                  <a:pt x="38" y="18"/>
                  <a:pt x="38" y="18"/>
                </a:cubicBezTo>
                <a:cubicBezTo>
                  <a:pt x="38" y="18"/>
                  <a:pt x="38" y="18"/>
                  <a:pt x="38" y="18"/>
                </a:cubicBezTo>
                <a:cubicBezTo>
                  <a:pt x="38" y="19"/>
                  <a:pt x="38" y="19"/>
                  <a:pt x="38" y="19"/>
                </a:cubicBezTo>
                <a:cubicBezTo>
                  <a:pt x="38" y="19"/>
                  <a:pt x="38" y="19"/>
                  <a:pt x="38" y="19"/>
                </a:cubicBezTo>
                <a:cubicBezTo>
                  <a:pt x="38" y="19"/>
                  <a:pt x="38" y="19"/>
                  <a:pt x="38" y="19"/>
                </a:cubicBezTo>
                <a:cubicBezTo>
                  <a:pt x="39" y="20"/>
                  <a:pt x="39" y="21"/>
                  <a:pt x="39" y="22"/>
                </a:cubicBezTo>
                <a:cubicBezTo>
                  <a:pt x="40" y="22"/>
                  <a:pt x="40" y="22"/>
                  <a:pt x="40" y="22"/>
                </a:cubicBezTo>
                <a:cubicBezTo>
                  <a:pt x="40" y="23"/>
                  <a:pt x="40" y="23"/>
                  <a:pt x="40" y="23"/>
                </a:cubicBezTo>
                <a:cubicBezTo>
                  <a:pt x="40" y="23"/>
                  <a:pt x="40" y="23"/>
                  <a:pt x="40" y="23"/>
                </a:cubicBezTo>
                <a:cubicBezTo>
                  <a:pt x="40" y="23"/>
                  <a:pt x="40" y="23"/>
                  <a:pt x="40" y="23"/>
                </a:cubicBezTo>
                <a:cubicBezTo>
                  <a:pt x="40" y="24"/>
                  <a:pt x="40" y="24"/>
                  <a:pt x="40" y="24"/>
                </a:cubicBezTo>
                <a:cubicBezTo>
                  <a:pt x="40" y="24"/>
                  <a:pt x="40" y="24"/>
                  <a:pt x="40" y="24"/>
                </a:cubicBezTo>
                <a:cubicBezTo>
                  <a:pt x="40" y="25"/>
                  <a:pt x="40" y="25"/>
                  <a:pt x="40" y="25"/>
                </a:cubicBezTo>
                <a:cubicBezTo>
                  <a:pt x="40" y="25"/>
                  <a:pt x="40" y="25"/>
                  <a:pt x="40" y="25"/>
                </a:cubicBezTo>
                <a:cubicBezTo>
                  <a:pt x="40" y="25"/>
                  <a:pt x="40" y="25"/>
                  <a:pt x="40" y="25"/>
                </a:cubicBezTo>
                <a:cubicBezTo>
                  <a:pt x="40" y="26"/>
                  <a:pt x="40" y="26"/>
                  <a:pt x="40" y="26"/>
                </a:cubicBezTo>
                <a:cubicBezTo>
                  <a:pt x="40" y="26"/>
                  <a:pt x="40" y="26"/>
                  <a:pt x="40" y="26"/>
                </a:cubicBezTo>
                <a:cubicBezTo>
                  <a:pt x="40" y="27"/>
                  <a:pt x="40" y="27"/>
                  <a:pt x="40" y="27"/>
                </a:cubicBezTo>
                <a:cubicBezTo>
                  <a:pt x="40" y="27"/>
                  <a:pt x="40" y="27"/>
                  <a:pt x="40" y="27"/>
                </a:cubicBezTo>
                <a:cubicBezTo>
                  <a:pt x="40" y="28"/>
                  <a:pt x="40" y="28"/>
                  <a:pt x="40" y="28"/>
                </a:cubicBezTo>
                <a:cubicBezTo>
                  <a:pt x="40" y="28"/>
                  <a:pt x="40" y="28"/>
                  <a:pt x="40" y="28"/>
                </a:cubicBezTo>
                <a:cubicBezTo>
                  <a:pt x="40" y="29"/>
                  <a:pt x="40" y="29"/>
                  <a:pt x="40" y="29"/>
                </a:cubicBezTo>
                <a:cubicBezTo>
                  <a:pt x="40" y="29"/>
                  <a:pt x="40" y="29"/>
                  <a:pt x="40" y="29"/>
                </a:cubicBezTo>
                <a:cubicBezTo>
                  <a:pt x="40" y="29"/>
                  <a:pt x="40" y="29"/>
                  <a:pt x="40" y="29"/>
                </a:cubicBezTo>
                <a:cubicBezTo>
                  <a:pt x="40" y="30"/>
                  <a:pt x="40" y="30"/>
                  <a:pt x="40" y="30"/>
                </a:cubicBezTo>
                <a:cubicBezTo>
                  <a:pt x="40" y="30"/>
                  <a:pt x="40" y="30"/>
                  <a:pt x="40" y="30"/>
                </a:cubicBezTo>
                <a:cubicBezTo>
                  <a:pt x="40" y="30"/>
                  <a:pt x="40" y="30"/>
                  <a:pt x="40" y="30"/>
                </a:cubicBezTo>
                <a:cubicBezTo>
                  <a:pt x="39" y="31"/>
                  <a:pt x="39" y="31"/>
                  <a:pt x="39" y="31"/>
                </a:cubicBezTo>
                <a:cubicBezTo>
                  <a:pt x="39" y="31"/>
                  <a:pt x="39" y="31"/>
                  <a:pt x="39" y="31"/>
                </a:cubicBezTo>
                <a:cubicBezTo>
                  <a:pt x="39" y="32"/>
                  <a:pt x="39" y="33"/>
                  <a:pt x="38" y="34"/>
                </a:cubicBezTo>
                <a:cubicBezTo>
                  <a:pt x="38" y="34"/>
                  <a:pt x="38" y="34"/>
                  <a:pt x="38" y="34"/>
                </a:cubicBezTo>
                <a:cubicBezTo>
                  <a:pt x="38" y="34"/>
                  <a:pt x="38" y="34"/>
                  <a:pt x="38" y="34"/>
                </a:cubicBezTo>
                <a:cubicBezTo>
                  <a:pt x="38" y="35"/>
                  <a:pt x="38" y="35"/>
                  <a:pt x="38" y="35"/>
                </a:cubicBezTo>
                <a:cubicBezTo>
                  <a:pt x="38" y="35"/>
                  <a:pt x="38" y="35"/>
                  <a:pt x="38" y="35"/>
                </a:cubicBezTo>
                <a:cubicBezTo>
                  <a:pt x="38" y="35"/>
                  <a:pt x="37" y="36"/>
                  <a:pt x="37" y="36"/>
                </a:cubicBezTo>
                <a:cubicBezTo>
                  <a:pt x="37" y="36"/>
                  <a:pt x="37" y="36"/>
                  <a:pt x="37" y="36"/>
                </a:cubicBezTo>
                <a:cubicBezTo>
                  <a:pt x="37" y="36"/>
                  <a:pt x="37" y="36"/>
                  <a:pt x="37" y="36"/>
                </a:cubicBezTo>
                <a:cubicBezTo>
                  <a:pt x="36" y="36"/>
                  <a:pt x="36" y="36"/>
                  <a:pt x="36" y="36"/>
                </a:cubicBezTo>
                <a:cubicBezTo>
                  <a:pt x="36" y="37"/>
                  <a:pt x="36" y="38"/>
                  <a:pt x="35" y="38"/>
                </a:cubicBezTo>
                <a:cubicBezTo>
                  <a:pt x="35" y="38"/>
                  <a:pt x="35" y="38"/>
                  <a:pt x="35" y="38"/>
                </a:cubicBezTo>
                <a:cubicBezTo>
                  <a:pt x="35" y="38"/>
                  <a:pt x="35" y="38"/>
                  <a:pt x="35" y="38"/>
                </a:cubicBezTo>
                <a:cubicBezTo>
                  <a:pt x="34" y="38"/>
                  <a:pt x="34" y="38"/>
                  <a:pt x="34" y="38"/>
                </a:cubicBezTo>
                <a:cubicBezTo>
                  <a:pt x="34" y="39"/>
                  <a:pt x="34" y="39"/>
                  <a:pt x="33" y="39"/>
                </a:cubicBezTo>
                <a:cubicBezTo>
                  <a:pt x="33" y="39"/>
                  <a:pt x="33" y="39"/>
                  <a:pt x="33" y="39"/>
                </a:cubicBezTo>
                <a:cubicBezTo>
                  <a:pt x="33" y="40"/>
                  <a:pt x="33" y="40"/>
                  <a:pt x="33" y="40"/>
                </a:cubicBezTo>
                <a:cubicBezTo>
                  <a:pt x="33" y="40"/>
                  <a:pt x="33" y="40"/>
                  <a:pt x="33" y="40"/>
                </a:cubicBezTo>
                <a:lnTo>
                  <a:pt x="32" y="4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6" name="Freeform 1363">
            <a:extLst>
              <a:ext uri="{FF2B5EF4-FFF2-40B4-BE49-F238E27FC236}">
                <a16:creationId xmlns:a16="http://schemas.microsoft.com/office/drawing/2014/main" id="{77926F61-A671-467B-94A4-9101C17B7CAE}"/>
              </a:ext>
            </a:extLst>
          </p:cNvPr>
          <p:cNvSpPr>
            <a:spLocks noEditPoints="1"/>
          </p:cNvSpPr>
          <p:nvPr/>
        </p:nvSpPr>
        <p:spPr bwMode="auto">
          <a:xfrm>
            <a:off x="2453082" y="1002992"/>
            <a:ext cx="1195621" cy="1110975"/>
          </a:xfrm>
          <a:custGeom>
            <a:avLst/>
            <a:gdLst>
              <a:gd name="T0" fmla="*/ 144 w 301"/>
              <a:gd name="T1" fmla="*/ 281 h 281"/>
              <a:gd name="T2" fmla="*/ 144 w 301"/>
              <a:gd name="T3" fmla="*/ 281 h 281"/>
              <a:gd name="T4" fmla="*/ 55 w 301"/>
              <a:gd name="T5" fmla="*/ 250 h 281"/>
              <a:gd name="T6" fmla="*/ 4 w 301"/>
              <a:gd name="T7" fmla="*/ 155 h 281"/>
              <a:gd name="T8" fmla="*/ 35 w 301"/>
              <a:gd name="T9" fmla="*/ 52 h 281"/>
              <a:gd name="T10" fmla="*/ 144 w 301"/>
              <a:gd name="T11" fmla="*/ 0 h 281"/>
              <a:gd name="T12" fmla="*/ 232 w 301"/>
              <a:gd name="T13" fmla="*/ 32 h 281"/>
              <a:gd name="T14" fmla="*/ 253 w 301"/>
              <a:gd name="T15" fmla="*/ 229 h 281"/>
              <a:gd name="T16" fmla="*/ 144 w 301"/>
              <a:gd name="T17" fmla="*/ 281 h 281"/>
              <a:gd name="T18" fmla="*/ 144 w 301"/>
              <a:gd name="T19" fmla="*/ 6 h 281"/>
              <a:gd name="T20" fmla="*/ 39 w 301"/>
              <a:gd name="T21" fmla="*/ 56 h 281"/>
              <a:gd name="T22" fmla="*/ 9 w 301"/>
              <a:gd name="T23" fmla="*/ 155 h 281"/>
              <a:gd name="T24" fmla="*/ 58 w 301"/>
              <a:gd name="T25" fmla="*/ 246 h 281"/>
              <a:gd name="T26" fmla="*/ 144 w 301"/>
              <a:gd name="T27" fmla="*/ 276 h 281"/>
              <a:gd name="T28" fmla="*/ 144 w 301"/>
              <a:gd name="T29" fmla="*/ 276 h 281"/>
              <a:gd name="T30" fmla="*/ 249 w 301"/>
              <a:gd name="T31" fmla="*/ 226 h 281"/>
              <a:gd name="T32" fmla="*/ 229 w 301"/>
              <a:gd name="T33" fmla="*/ 36 h 281"/>
              <a:gd name="T34" fmla="*/ 144 w 301"/>
              <a:gd name="T35" fmla="*/ 6 h 281"/>
              <a:gd name="T36" fmla="*/ 144 w 301"/>
              <a:gd name="T37" fmla="*/ 193 h 281"/>
              <a:gd name="T38" fmla="*/ 111 w 301"/>
              <a:gd name="T39" fmla="*/ 181 h 281"/>
              <a:gd name="T40" fmla="*/ 103 w 301"/>
              <a:gd name="T41" fmla="*/ 108 h 281"/>
              <a:gd name="T42" fmla="*/ 144 w 301"/>
              <a:gd name="T43" fmla="*/ 88 h 281"/>
              <a:gd name="T44" fmla="*/ 177 w 301"/>
              <a:gd name="T45" fmla="*/ 100 h 281"/>
              <a:gd name="T46" fmla="*/ 184 w 301"/>
              <a:gd name="T47" fmla="*/ 174 h 281"/>
              <a:gd name="T48" fmla="*/ 144 w 301"/>
              <a:gd name="T49" fmla="*/ 193 h 281"/>
              <a:gd name="T50" fmla="*/ 144 w 301"/>
              <a:gd name="T51" fmla="*/ 94 h 281"/>
              <a:gd name="T52" fmla="*/ 107 w 301"/>
              <a:gd name="T53" fmla="*/ 111 h 281"/>
              <a:gd name="T54" fmla="*/ 114 w 301"/>
              <a:gd name="T55" fmla="*/ 177 h 281"/>
              <a:gd name="T56" fmla="*/ 144 w 301"/>
              <a:gd name="T57" fmla="*/ 188 h 281"/>
              <a:gd name="T58" fmla="*/ 180 w 301"/>
              <a:gd name="T59" fmla="*/ 170 h 281"/>
              <a:gd name="T60" fmla="*/ 173 w 301"/>
              <a:gd name="T61" fmla="*/ 104 h 281"/>
              <a:gd name="T62" fmla="*/ 144 w 301"/>
              <a:gd name="T63" fmla="*/ 9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1" h="281">
                <a:moveTo>
                  <a:pt x="144" y="281"/>
                </a:moveTo>
                <a:cubicBezTo>
                  <a:pt x="144" y="281"/>
                  <a:pt x="144" y="281"/>
                  <a:pt x="144" y="281"/>
                </a:cubicBezTo>
                <a:cubicBezTo>
                  <a:pt x="111" y="281"/>
                  <a:pt x="80" y="270"/>
                  <a:pt x="55" y="250"/>
                </a:cubicBezTo>
                <a:cubicBezTo>
                  <a:pt x="26" y="226"/>
                  <a:pt x="8" y="193"/>
                  <a:pt x="4" y="155"/>
                </a:cubicBezTo>
                <a:cubicBezTo>
                  <a:pt x="0" y="118"/>
                  <a:pt x="11" y="81"/>
                  <a:pt x="35" y="52"/>
                </a:cubicBezTo>
                <a:cubicBezTo>
                  <a:pt x="61" y="19"/>
                  <a:pt x="101" y="0"/>
                  <a:pt x="144" y="0"/>
                </a:cubicBezTo>
                <a:cubicBezTo>
                  <a:pt x="176" y="0"/>
                  <a:pt x="207" y="11"/>
                  <a:pt x="232" y="32"/>
                </a:cubicBezTo>
                <a:cubicBezTo>
                  <a:pt x="292" y="80"/>
                  <a:pt x="301" y="169"/>
                  <a:pt x="253" y="229"/>
                </a:cubicBezTo>
                <a:cubicBezTo>
                  <a:pt x="226" y="262"/>
                  <a:pt x="186" y="281"/>
                  <a:pt x="144" y="281"/>
                </a:cubicBezTo>
                <a:close/>
                <a:moveTo>
                  <a:pt x="144" y="6"/>
                </a:moveTo>
                <a:cubicBezTo>
                  <a:pt x="103" y="6"/>
                  <a:pt x="64" y="24"/>
                  <a:pt x="39" y="56"/>
                </a:cubicBezTo>
                <a:cubicBezTo>
                  <a:pt x="16" y="84"/>
                  <a:pt x="5" y="119"/>
                  <a:pt x="9" y="155"/>
                </a:cubicBezTo>
                <a:cubicBezTo>
                  <a:pt x="13" y="191"/>
                  <a:pt x="30" y="223"/>
                  <a:pt x="58" y="246"/>
                </a:cubicBezTo>
                <a:cubicBezTo>
                  <a:pt x="82" y="265"/>
                  <a:pt x="113" y="276"/>
                  <a:pt x="144" y="276"/>
                </a:cubicBezTo>
                <a:cubicBezTo>
                  <a:pt x="144" y="276"/>
                  <a:pt x="144" y="276"/>
                  <a:pt x="144" y="276"/>
                </a:cubicBezTo>
                <a:cubicBezTo>
                  <a:pt x="185" y="276"/>
                  <a:pt x="223" y="258"/>
                  <a:pt x="249" y="226"/>
                </a:cubicBezTo>
                <a:cubicBezTo>
                  <a:pt x="296" y="168"/>
                  <a:pt x="287" y="83"/>
                  <a:pt x="229" y="36"/>
                </a:cubicBezTo>
                <a:cubicBezTo>
                  <a:pt x="205" y="16"/>
                  <a:pt x="175" y="6"/>
                  <a:pt x="144" y="6"/>
                </a:cubicBezTo>
                <a:close/>
                <a:moveTo>
                  <a:pt x="144" y="193"/>
                </a:moveTo>
                <a:cubicBezTo>
                  <a:pt x="132" y="193"/>
                  <a:pt x="120" y="189"/>
                  <a:pt x="111" y="181"/>
                </a:cubicBezTo>
                <a:cubicBezTo>
                  <a:pt x="88" y="163"/>
                  <a:pt x="85" y="130"/>
                  <a:pt x="103" y="108"/>
                </a:cubicBezTo>
                <a:cubicBezTo>
                  <a:pt x="113" y="95"/>
                  <a:pt x="128" y="88"/>
                  <a:pt x="144" y="88"/>
                </a:cubicBezTo>
                <a:cubicBezTo>
                  <a:pt x="156" y="88"/>
                  <a:pt x="167" y="93"/>
                  <a:pt x="177" y="100"/>
                </a:cubicBezTo>
                <a:cubicBezTo>
                  <a:pt x="199" y="118"/>
                  <a:pt x="202" y="151"/>
                  <a:pt x="184" y="174"/>
                </a:cubicBezTo>
                <a:cubicBezTo>
                  <a:pt x="174" y="186"/>
                  <a:pt x="159" y="193"/>
                  <a:pt x="144" y="193"/>
                </a:cubicBezTo>
                <a:close/>
                <a:moveTo>
                  <a:pt x="144" y="94"/>
                </a:moveTo>
                <a:cubicBezTo>
                  <a:pt x="129" y="94"/>
                  <a:pt x="116" y="100"/>
                  <a:pt x="107" y="111"/>
                </a:cubicBezTo>
                <a:cubicBezTo>
                  <a:pt x="91" y="131"/>
                  <a:pt x="94" y="161"/>
                  <a:pt x="114" y="177"/>
                </a:cubicBezTo>
                <a:cubicBezTo>
                  <a:pt x="122" y="184"/>
                  <a:pt x="133" y="188"/>
                  <a:pt x="144" y="188"/>
                </a:cubicBezTo>
                <a:cubicBezTo>
                  <a:pt x="158" y="188"/>
                  <a:pt x="171" y="181"/>
                  <a:pt x="180" y="170"/>
                </a:cubicBezTo>
                <a:cubicBezTo>
                  <a:pt x="197" y="150"/>
                  <a:pt x="193" y="121"/>
                  <a:pt x="173" y="104"/>
                </a:cubicBezTo>
                <a:cubicBezTo>
                  <a:pt x="165" y="97"/>
                  <a:pt x="154" y="94"/>
                  <a:pt x="144" y="9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7" name="Freeform 1364">
            <a:extLst>
              <a:ext uri="{FF2B5EF4-FFF2-40B4-BE49-F238E27FC236}">
                <a16:creationId xmlns:a16="http://schemas.microsoft.com/office/drawing/2014/main" id="{E75E6D59-A64E-47B0-8EF9-B64BD90CBC22}"/>
              </a:ext>
            </a:extLst>
          </p:cNvPr>
          <p:cNvSpPr>
            <a:spLocks noEditPoints="1"/>
          </p:cNvSpPr>
          <p:nvPr/>
        </p:nvSpPr>
        <p:spPr bwMode="auto">
          <a:xfrm>
            <a:off x="2283790" y="823121"/>
            <a:ext cx="1481300" cy="1476011"/>
          </a:xfrm>
          <a:custGeom>
            <a:avLst/>
            <a:gdLst>
              <a:gd name="T0" fmla="*/ 151 w 374"/>
              <a:gd name="T1" fmla="*/ 336 h 373"/>
              <a:gd name="T2" fmla="*/ 108 w 374"/>
              <a:gd name="T3" fmla="*/ 341 h 373"/>
              <a:gd name="T4" fmla="*/ 67 w 374"/>
              <a:gd name="T5" fmla="*/ 330 h 373"/>
              <a:gd name="T6" fmla="*/ 29 w 374"/>
              <a:gd name="T7" fmla="*/ 288 h 373"/>
              <a:gd name="T8" fmla="*/ 24 w 374"/>
              <a:gd name="T9" fmla="*/ 245 h 373"/>
              <a:gd name="T10" fmla="*/ 34 w 374"/>
              <a:gd name="T11" fmla="*/ 201 h 373"/>
              <a:gd name="T12" fmla="*/ 37 w 374"/>
              <a:gd name="T13" fmla="*/ 154 h 373"/>
              <a:gd name="T14" fmla="*/ 31 w 374"/>
              <a:gd name="T15" fmla="*/ 111 h 373"/>
              <a:gd name="T16" fmla="*/ 41 w 374"/>
              <a:gd name="T17" fmla="*/ 69 h 373"/>
              <a:gd name="T18" fmla="*/ 86 w 374"/>
              <a:gd name="T19" fmla="*/ 72 h 373"/>
              <a:gd name="T20" fmla="*/ 91 w 374"/>
              <a:gd name="T21" fmla="*/ 26 h 373"/>
              <a:gd name="T22" fmla="*/ 143 w 374"/>
              <a:gd name="T23" fmla="*/ 5 h 373"/>
              <a:gd name="T24" fmla="*/ 185 w 374"/>
              <a:gd name="T25" fmla="*/ 13 h 373"/>
              <a:gd name="T26" fmla="*/ 221 w 374"/>
              <a:gd name="T27" fmla="*/ 38 h 373"/>
              <a:gd name="T28" fmla="*/ 266 w 374"/>
              <a:gd name="T29" fmla="*/ 34 h 373"/>
              <a:gd name="T30" fmla="*/ 308 w 374"/>
              <a:gd name="T31" fmla="*/ 45 h 373"/>
              <a:gd name="T32" fmla="*/ 334 w 374"/>
              <a:gd name="T33" fmla="*/ 80 h 373"/>
              <a:gd name="T34" fmla="*/ 346 w 374"/>
              <a:gd name="T35" fmla="*/ 130 h 373"/>
              <a:gd name="T36" fmla="*/ 357 w 374"/>
              <a:gd name="T37" fmla="*/ 159 h 373"/>
              <a:gd name="T38" fmla="*/ 357 w 374"/>
              <a:gd name="T39" fmla="*/ 213 h 373"/>
              <a:gd name="T40" fmla="*/ 348 w 374"/>
              <a:gd name="T41" fmla="*/ 265 h 373"/>
              <a:gd name="T42" fmla="*/ 331 w 374"/>
              <a:gd name="T43" fmla="*/ 306 h 373"/>
              <a:gd name="T44" fmla="*/ 290 w 374"/>
              <a:gd name="T45" fmla="*/ 325 h 373"/>
              <a:gd name="T46" fmla="*/ 245 w 374"/>
              <a:gd name="T47" fmla="*/ 328 h 373"/>
              <a:gd name="T48" fmla="*/ 213 w 374"/>
              <a:gd name="T49" fmla="*/ 358 h 373"/>
              <a:gd name="T50" fmla="*/ 153 w 374"/>
              <a:gd name="T51" fmla="*/ 330 h 373"/>
              <a:gd name="T52" fmla="*/ 184 w 374"/>
              <a:gd name="T53" fmla="*/ 358 h 373"/>
              <a:gd name="T54" fmla="*/ 229 w 374"/>
              <a:gd name="T55" fmla="*/ 363 h 373"/>
              <a:gd name="T56" fmla="*/ 268 w 374"/>
              <a:gd name="T57" fmla="*/ 338 h 373"/>
              <a:gd name="T58" fmla="*/ 283 w 374"/>
              <a:gd name="T59" fmla="*/ 296 h 373"/>
              <a:gd name="T60" fmla="*/ 328 w 374"/>
              <a:gd name="T61" fmla="*/ 301 h 373"/>
              <a:gd name="T62" fmla="*/ 342 w 374"/>
              <a:gd name="T63" fmla="*/ 259 h 373"/>
              <a:gd name="T64" fmla="*/ 331 w 374"/>
              <a:gd name="T65" fmla="*/ 218 h 373"/>
              <a:gd name="T66" fmla="*/ 359 w 374"/>
              <a:gd name="T67" fmla="*/ 188 h 373"/>
              <a:gd name="T68" fmla="*/ 362 w 374"/>
              <a:gd name="T69" fmla="*/ 142 h 373"/>
              <a:gd name="T70" fmla="*/ 321 w 374"/>
              <a:gd name="T71" fmla="*/ 126 h 373"/>
              <a:gd name="T72" fmla="*/ 327 w 374"/>
              <a:gd name="T73" fmla="*/ 87 h 373"/>
              <a:gd name="T74" fmla="*/ 304 w 374"/>
              <a:gd name="T75" fmla="*/ 49 h 373"/>
              <a:gd name="T76" fmla="*/ 263 w 374"/>
              <a:gd name="T77" fmla="*/ 61 h 373"/>
              <a:gd name="T78" fmla="*/ 250 w 374"/>
              <a:gd name="T79" fmla="*/ 17 h 373"/>
              <a:gd name="T80" fmla="*/ 202 w 374"/>
              <a:gd name="T81" fmla="*/ 6 h 373"/>
              <a:gd name="T82" fmla="*/ 173 w 374"/>
              <a:gd name="T83" fmla="*/ 40 h 373"/>
              <a:gd name="T84" fmla="*/ 137 w 374"/>
              <a:gd name="T85" fmla="*/ 22 h 373"/>
              <a:gd name="T86" fmla="*/ 94 w 374"/>
              <a:gd name="T87" fmla="*/ 31 h 373"/>
              <a:gd name="T88" fmla="*/ 90 w 374"/>
              <a:gd name="T89" fmla="*/ 76 h 373"/>
              <a:gd name="T90" fmla="*/ 46 w 374"/>
              <a:gd name="T91" fmla="*/ 72 h 373"/>
              <a:gd name="T92" fmla="*/ 42 w 374"/>
              <a:gd name="T93" fmla="*/ 117 h 373"/>
              <a:gd name="T94" fmla="*/ 23 w 374"/>
              <a:gd name="T95" fmla="*/ 135 h 373"/>
              <a:gd name="T96" fmla="*/ 5 w 374"/>
              <a:gd name="T97" fmla="*/ 178 h 373"/>
              <a:gd name="T98" fmla="*/ 11 w 374"/>
              <a:gd name="T99" fmla="*/ 232 h 373"/>
              <a:gd name="T100" fmla="*/ 50 w 374"/>
              <a:gd name="T101" fmla="*/ 243 h 373"/>
              <a:gd name="T102" fmla="*/ 40 w 374"/>
              <a:gd name="T103" fmla="*/ 289 h 373"/>
              <a:gd name="T104" fmla="*/ 70 w 374"/>
              <a:gd name="T105" fmla="*/ 326 h 373"/>
              <a:gd name="T106" fmla="*/ 111 w 374"/>
              <a:gd name="T107" fmla="*/ 313 h 373"/>
              <a:gd name="T108" fmla="*/ 132 w 374"/>
              <a:gd name="T109" fmla="*/ 350 h 373"/>
              <a:gd name="T110" fmla="*/ 91 w 374"/>
              <a:gd name="T111" fmla="*/ 110 h 373"/>
              <a:gd name="T112" fmla="*/ 187 w 374"/>
              <a:gd name="T113" fmla="*/ 309 h 373"/>
              <a:gd name="T114" fmla="*/ 278 w 374"/>
              <a:gd name="T115" fmla="*/ 261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4" h="373">
                <a:moveTo>
                  <a:pt x="177" y="373"/>
                </a:moveTo>
                <a:cubicBezTo>
                  <a:pt x="176" y="373"/>
                  <a:pt x="175" y="373"/>
                  <a:pt x="174" y="373"/>
                </a:cubicBezTo>
                <a:cubicBezTo>
                  <a:pt x="173" y="373"/>
                  <a:pt x="173" y="373"/>
                  <a:pt x="173" y="373"/>
                </a:cubicBezTo>
                <a:cubicBezTo>
                  <a:pt x="166" y="373"/>
                  <a:pt x="160" y="371"/>
                  <a:pt x="159" y="358"/>
                </a:cubicBezTo>
                <a:cubicBezTo>
                  <a:pt x="158" y="349"/>
                  <a:pt x="155" y="339"/>
                  <a:pt x="151" y="336"/>
                </a:cubicBezTo>
                <a:cubicBezTo>
                  <a:pt x="147" y="338"/>
                  <a:pt x="141" y="345"/>
                  <a:pt x="136" y="352"/>
                </a:cubicBezTo>
                <a:cubicBezTo>
                  <a:pt x="133" y="359"/>
                  <a:pt x="129" y="362"/>
                  <a:pt x="124" y="362"/>
                </a:cubicBezTo>
                <a:cubicBezTo>
                  <a:pt x="122" y="362"/>
                  <a:pt x="120" y="361"/>
                  <a:pt x="118" y="360"/>
                </a:cubicBezTo>
                <a:cubicBezTo>
                  <a:pt x="116" y="360"/>
                  <a:pt x="116" y="360"/>
                  <a:pt x="116" y="360"/>
                </a:cubicBezTo>
                <a:cubicBezTo>
                  <a:pt x="110" y="358"/>
                  <a:pt x="105" y="354"/>
                  <a:pt x="108" y="341"/>
                </a:cubicBezTo>
                <a:cubicBezTo>
                  <a:pt x="110" y="332"/>
                  <a:pt x="110" y="322"/>
                  <a:pt x="107" y="318"/>
                </a:cubicBezTo>
                <a:cubicBezTo>
                  <a:pt x="102" y="319"/>
                  <a:pt x="95" y="323"/>
                  <a:pt x="88" y="329"/>
                </a:cubicBezTo>
                <a:cubicBezTo>
                  <a:pt x="84" y="333"/>
                  <a:pt x="80" y="335"/>
                  <a:pt x="77" y="335"/>
                </a:cubicBezTo>
                <a:cubicBezTo>
                  <a:pt x="73" y="335"/>
                  <a:pt x="70" y="333"/>
                  <a:pt x="68" y="331"/>
                </a:cubicBezTo>
                <a:cubicBezTo>
                  <a:pt x="67" y="330"/>
                  <a:pt x="67" y="330"/>
                  <a:pt x="67" y="330"/>
                </a:cubicBezTo>
                <a:cubicBezTo>
                  <a:pt x="62" y="326"/>
                  <a:pt x="57" y="321"/>
                  <a:pt x="65" y="310"/>
                </a:cubicBezTo>
                <a:cubicBezTo>
                  <a:pt x="69" y="302"/>
                  <a:pt x="72" y="292"/>
                  <a:pt x="71" y="287"/>
                </a:cubicBezTo>
                <a:cubicBezTo>
                  <a:pt x="66" y="287"/>
                  <a:pt x="57" y="289"/>
                  <a:pt x="50" y="292"/>
                </a:cubicBezTo>
                <a:cubicBezTo>
                  <a:pt x="46" y="294"/>
                  <a:pt x="43" y="295"/>
                  <a:pt x="40" y="295"/>
                </a:cubicBezTo>
                <a:cubicBezTo>
                  <a:pt x="34" y="295"/>
                  <a:pt x="31" y="291"/>
                  <a:pt x="29" y="288"/>
                </a:cubicBezTo>
                <a:cubicBezTo>
                  <a:pt x="29" y="286"/>
                  <a:pt x="29" y="286"/>
                  <a:pt x="29" y="286"/>
                </a:cubicBezTo>
                <a:cubicBezTo>
                  <a:pt x="25" y="281"/>
                  <a:pt x="22" y="275"/>
                  <a:pt x="33" y="266"/>
                </a:cubicBezTo>
                <a:cubicBezTo>
                  <a:pt x="40" y="260"/>
                  <a:pt x="45" y="252"/>
                  <a:pt x="46" y="247"/>
                </a:cubicBezTo>
                <a:cubicBezTo>
                  <a:pt x="43" y="246"/>
                  <a:pt x="37" y="245"/>
                  <a:pt x="31" y="245"/>
                </a:cubicBezTo>
                <a:cubicBezTo>
                  <a:pt x="28" y="245"/>
                  <a:pt x="26" y="245"/>
                  <a:pt x="24" y="245"/>
                </a:cubicBezTo>
                <a:cubicBezTo>
                  <a:pt x="22" y="245"/>
                  <a:pt x="21" y="245"/>
                  <a:pt x="19" y="245"/>
                </a:cubicBezTo>
                <a:cubicBezTo>
                  <a:pt x="9" y="245"/>
                  <a:pt x="7" y="239"/>
                  <a:pt x="6" y="235"/>
                </a:cubicBezTo>
                <a:cubicBezTo>
                  <a:pt x="6" y="233"/>
                  <a:pt x="6" y="233"/>
                  <a:pt x="6" y="233"/>
                </a:cubicBezTo>
                <a:cubicBezTo>
                  <a:pt x="4" y="227"/>
                  <a:pt x="3" y="221"/>
                  <a:pt x="16" y="216"/>
                </a:cubicBezTo>
                <a:cubicBezTo>
                  <a:pt x="24" y="212"/>
                  <a:pt x="32" y="205"/>
                  <a:pt x="34" y="201"/>
                </a:cubicBezTo>
                <a:cubicBezTo>
                  <a:pt x="31" y="198"/>
                  <a:pt x="22" y="194"/>
                  <a:pt x="14" y="192"/>
                </a:cubicBezTo>
                <a:cubicBezTo>
                  <a:pt x="0" y="190"/>
                  <a:pt x="0" y="184"/>
                  <a:pt x="0" y="177"/>
                </a:cubicBezTo>
                <a:cubicBezTo>
                  <a:pt x="0" y="176"/>
                  <a:pt x="0" y="176"/>
                  <a:pt x="0" y="176"/>
                </a:cubicBezTo>
                <a:cubicBezTo>
                  <a:pt x="0" y="169"/>
                  <a:pt x="2" y="163"/>
                  <a:pt x="15" y="162"/>
                </a:cubicBezTo>
                <a:cubicBezTo>
                  <a:pt x="24" y="161"/>
                  <a:pt x="34" y="157"/>
                  <a:pt x="37" y="154"/>
                </a:cubicBezTo>
                <a:cubicBezTo>
                  <a:pt x="35" y="149"/>
                  <a:pt x="28" y="143"/>
                  <a:pt x="20" y="139"/>
                </a:cubicBezTo>
                <a:cubicBezTo>
                  <a:pt x="8" y="133"/>
                  <a:pt x="10" y="127"/>
                  <a:pt x="12" y="121"/>
                </a:cubicBezTo>
                <a:cubicBezTo>
                  <a:pt x="12" y="119"/>
                  <a:pt x="12" y="119"/>
                  <a:pt x="12" y="119"/>
                </a:cubicBezTo>
                <a:cubicBezTo>
                  <a:pt x="14" y="115"/>
                  <a:pt x="16" y="110"/>
                  <a:pt x="24" y="110"/>
                </a:cubicBezTo>
                <a:cubicBezTo>
                  <a:pt x="26" y="110"/>
                  <a:pt x="28" y="110"/>
                  <a:pt x="31" y="111"/>
                </a:cubicBezTo>
                <a:cubicBezTo>
                  <a:pt x="35" y="111"/>
                  <a:pt x="39" y="112"/>
                  <a:pt x="42" y="112"/>
                </a:cubicBezTo>
                <a:cubicBezTo>
                  <a:pt x="48" y="112"/>
                  <a:pt x="52" y="111"/>
                  <a:pt x="54" y="110"/>
                </a:cubicBezTo>
                <a:cubicBezTo>
                  <a:pt x="53" y="105"/>
                  <a:pt x="49" y="97"/>
                  <a:pt x="43" y="91"/>
                </a:cubicBezTo>
                <a:cubicBezTo>
                  <a:pt x="33" y="81"/>
                  <a:pt x="36" y="75"/>
                  <a:pt x="41" y="70"/>
                </a:cubicBezTo>
                <a:cubicBezTo>
                  <a:pt x="41" y="69"/>
                  <a:pt x="41" y="69"/>
                  <a:pt x="41" y="69"/>
                </a:cubicBezTo>
                <a:cubicBezTo>
                  <a:pt x="43" y="67"/>
                  <a:pt x="46" y="63"/>
                  <a:pt x="51" y="63"/>
                </a:cubicBezTo>
                <a:cubicBezTo>
                  <a:pt x="54" y="63"/>
                  <a:pt x="58" y="64"/>
                  <a:pt x="62" y="67"/>
                </a:cubicBezTo>
                <a:cubicBezTo>
                  <a:pt x="69" y="70"/>
                  <a:pt x="77" y="73"/>
                  <a:pt x="82" y="73"/>
                </a:cubicBezTo>
                <a:cubicBezTo>
                  <a:pt x="85" y="73"/>
                  <a:pt x="86" y="73"/>
                  <a:pt x="86" y="72"/>
                </a:cubicBezTo>
                <a:cubicBezTo>
                  <a:pt x="86" y="72"/>
                  <a:pt x="86" y="72"/>
                  <a:pt x="86" y="72"/>
                </a:cubicBezTo>
                <a:cubicBezTo>
                  <a:pt x="87" y="72"/>
                  <a:pt x="87" y="72"/>
                  <a:pt x="87" y="72"/>
                </a:cubicBezTo>
                <a:cubicBezTo>
                  <a:pt x="87" y="72"/>
                  <a:pt x="87" y="72"/>
                  <a:pt x="87" y="72"/>
                </a:cubicBezTo>
                <a:cubicBezTo>
                  <a:pt x="89" y="69"/>
                  <a:pt x="89" y="58"/>
                  <a:pt x="84" y="47"/>
                </a:cubicBezTo>
                <a:cubicBezTo>
                  <a:pt x="79" y="34"/>
                  <a:pt x="84" y="30"/>
                  <a:pt x="90" y="27"/>
                </a:cubicBezTo>
                <a:cubicBezTo>
                  <a:pt x="91" y="26"/>
                  <a:pt x="91" y="26"/>
                  <a:pt x="91" y="26"/>
                </a:cubicBezTo>
                <a:cubicBezTo>
                  <a:pt x="93" y="25"/>
                  <a:pt x="96" y="23"/>
                  <a:pt x="99" y="23"/>
                </a:cubicBezTo>
                <a:cubicBezTo>
                  <a:pt x="103" y="23"/>
                  <a:pt x="107" y="26"/>
                  <a:pt x="111" y="32"/>
                </a:cubicBezTo>
                <a:cubicBezTo>
                  <a:pt x="116" y="38"/>
                  <a:pt x="123" y="44"/>
                  <a:pt x="128" y="45"/>
                </a:cubicBezTo>
                <a:cubicBezTo>
                  <a:pt x="131" y="42"/>
                  <a:pt x="133" y="32"/>
                  <a:pt x="132" y="22"/>
                </a:cubicBezTo>
                <a:cubicBezTo>
                  <a:pt x="131" y="9"/>
                  <a:pt x="137" y="6"/>
                  <a:pt x="143" y="5"/>
                </a:cubicBezTo>
                <a:cubicBezTo>
                  <a:pt x="145" y="5"/>
                  <a:pt x="145" y="5"/>
                  <a:pt x="145" y="5"/>
                </a:cubicBezTo>
                <a:cubicBezTo>
                  <a:pt x="146" y="4"/>
                  <a:pt x="148" y="4"/>
                  <a:pt x="150" y="4"/>
                </a:cubicBezTo>
                <a:cubicBezTo>
                  <a:pt x="155" y="4"/>
                  <a:pt x="159" y="8"/>
                  <a:pt x="162" y="16"/>
                </a:cubicBezTo>
                <a:cubicBezTo>
                  <a:pt x="165" y="24"/>
                  <a:pt x="170" y="31"/>
                  <a:pt x="174" y="34"/>
                </a:cubicBezTo>
                <a:cubicBezTo>
                  <a:pt x="178" y="31"/>
                  <a:pt x="183" y="22"/>
                  <a:pt x="185" y="13"/>
                </a:cubicBezTo>
                <a:cubicBezTo>
                  <a:pt x="187" y="4"/>
                  <a:pt x="191" y="0"/>
                  <a:pt x="198" y="0"/>
                </a:cubicBezTo>
                <a:cubicBezTo>
                  <a:pt x="199" y="0"/>
                  <a:pt x="200" y="0"/>
                  <a:pt x="201" y="0"/>
                </a:cubicBezTo>
                <a:cubicBezTo>
                  <a:pt x="202" y="1"/>
                  <a:pt x="202" y="1"/>
                  <a:pt x="202" y="1"/>
                </a:cubicBezTo>
                <a:cubicBezTo>
                  <a:pt x="209" y="1"/>
                  <a:pt x="215" y="3"/>
                  <a:pt x="216" y="17"/>
                </a:cubicBezTo>
                <a:cubicBezTo>
                  <a:pt x="216" y="25"/>
                  <a:pt x="219" y="34"/>
                  <a:pt x="221" y="38"/>
                </a:cubicBezTo>
                <a:cubicBezTo>
                  <a:pt x="226" y="36"/>
                  <a:pt x="233" y="29"/>
                  <a:pt x="238" y="21"/>
                </a:cubicBezTo>
                <a:cubicBezTo>
                  <a:pt x="242" y="15"/>
                  <a:pt x="246" y="12"/>
                  <a:pt x="250" y="12"/>
                </a:cubicBezTo>
                <a:cubicBezTo>
                  <a:pt x="253" y="12"/>
                  <a:pt x="255" y="13"/>
                  <a:pt x="257" y="14"/>
                </a:cubicBezTo>
                <a:cubicBezTo>
                  <a:pt x="259" y="14"/>
                  <a:pt x="259" y="14"/>
                  <a:pt x="259" y="14"/>
                </a:cubicBezTo>
                <a:cubicBezTo>
                  <a:pt x="265" y="17"/>
                  <a:pt x="270" y="20"/>
                  <a:pt x="266" y="34"/>
                </a:cubicBezTo>
                <a:cubicBezTo>
                  <a:pt x="264" y="42"/>
                  <a:pt x="264" y="51"/>
                  <a:pt x="265" y="56"/>
                </a:cubicBezTo>
                <a:cubicBezTo>
                  <a:pt x="270" y="55"/>
                  <a:pt x="279" y="51"/>
                  <a:pt x="286" y="45"/>
                </a:cubicBezTo>
                <a:cubicBezTo>
                  <a:pt x="291" y="41"/>
                  <a:pt x="294" y="39"/>
                  <a:pt x="298" y="39"/>
                </a:cubicBezTo>
                <a:cubicBezTo>
                  <a:pt x="302" y="39"/>
                  <a:pt x="305" y="42"/>
                  <a:pt x="307" y="44"/>
                </a:cubicBezTo>
                <a:cubicBezTo>
                  <a:pt x="308" y="45"/>
                  <a:pt x="308" y="45"/>
                  <a:pt x="308" y="45"/>
                </a:cubicBezTo>
                <a:cubicBezTo>
                  <a:pt x="313" y="49"/>
                  <a:pt x="317" y="54"/>
                  <a:pt x="309" y="65"/>
                </a:cubicBezTo>
                <a:cubicBezTo>
                  <a:pt x="305" y="72"/>
                  <a:pt x="302" y="81"/>
                  <a:pt x="302" y="86"/>
                </a:cubicBezTo>
                <a:cubicBezTo>
                  <a:pt x="303" y="86"/>
                  <a:pt x="304" y="86"/>
                  <a:pt x="306" y="86"/>
                </a:cubicBezTo>
                <a:cubicBezTo>
                  <a:pt x="311" y="86"/>
                  <a:pt x="319" y="85"/>
                  <a:pt x="325" y="82"/>
                </a:cubicBezTo>
                <a:cubicBezTo>
                  <a:pt x="329" y="81"/>
                  <a:pt x="332" y="80"/>
                  <a:pt x="334" y="80"/>
                </a:cubicBezTo>
                <a:cubicBezTo>
                  <a:pt x="341" y="80"/>
                  <a:pt x="343" y="84"/>
                  <a:pt x="345" y="87"/>
                </a:cubicBezTo>
                <a:cubicBezTo>
                  <a:pt x="346" y="89"/>
                  <a:pt x="346" y="89"/>
                  <a:pt x="346" y="89"/>
                </a:cubicBezTo>
                <a:cubicBezTo>
                  <a:pt x="349" y="94"/>
                  <a:pt x="351" y="100"/>
                  <a:pt x="341" y="109"/>
                </a:cubicBezTo>
                <a:cubicBezTo>
                  <a:pt x="334" y="114"/>
                  <a:pt x="329" y="121"/>
                  <a:pt x="327" y="126"/>
                </a:cubicBezTo>
                <a:cubicBezTo>
                  <a:pt x="330" y="128"/>
                  <a:pt x="338" y="130"/>
                  <a:pt x="346" y="130"/>
                </a:cubicBezTo>
                <a:cubicBezTo>
                  <a:pt x="347" y="130"/>
                  <a:pt x="349" y="130"/>
                  <a:pt x="350" y="130"/>
                </a:cubicBezTo>
                <a:cubicBezTo>
                  <a:pt x="351" y="130"/>
                  <a:pt x="353" y="129"/>
                  <a:pt x="354" y="129"/>
                </a:cubicBezTo>
                <a:cubicBezTo>
                  <a:pt x="365" y="129"/>
                  <a:pt x="367" y="136"/>
                  <a:pt x="368" y="140"/>
                </a:cubicBezTo>
                <a:cubicBezTo>
                  <a:pt x="368" y="142"/>
                  <a:pt x="368" y="142"/>
                  <a:pt x="368" y="142"/>
                </a:cubicBezTo>
                <a:cubicBezTo>
                  <a:pt x="370" y="148"/>
                  <a:pt x="370" y="155"/>
                  <a:pt x="357" y="159"/>
                </a:cubicBezTo>
                <a:cubicBezTo>
                  <a:pt x="349" y="163"/>
                  <a:pt x="342" y="168"/>
                  <a:pt x="339" y="172"/>
                </a:cubicBezTo>
                <a:cubicBezTo>
                  <a:pt x="342" y="176"/>
                  <a:pt x="351" y="180"/>
                  <a:pt x="360" y="182"/>
                </a:cubicBezTo>
                <a:cubicBezTo>
                  <a:pt x="373" y="185"/>
                  <a:pt x="374" y="192"/>
                  <a:pt x="373" y="198"/>
                </a:cubicBezTo>
                <a:cubicBezTo>
                  <a:pt x="373" y="199"/>
                  <a:pt x="373" y="199"/>
                  <a:pt x="373" y="199"/>
                </a:cubicBezTo>
                <a:cubicBezTo>
                  <a:pt x="373" y="206"/>
                  <a:pt x="371" y="212"/>
                  <a:pt x="357" y="213"/>
                </a:cubicBezTo>
                <a:cubicBezTo>
                  <a:pt x="349" y="214"/>
                  <a:pt x="340" y="216"/>
                  <a:pt x="336" y="219"/>
                </a:cubicBezTo>
                <a:cubicBezTo>
                  <a:pt x="338" y="224"/>
                  <a:pt x="345" y="231"/>
                  <a:pt x="353" y="236"/>
                </a:cubicBezTo>
                <a:cubicBezTo>
                  <a:pt x="365" y="242"/>
                  <a:pt x="363" y="249"/>
                  <a:pt x="361" y="255"/>
                </a:cubicBezTo>
                <a:cubicBezTo>
                  <a:pt x="360" y="256"/>
                  <a:pt x="360" y="256"/>
                  <a:pt x="360" y="256"/>
                </a:cubicBezTo>
                <a:cubicBezTo>
                  <a:pt x="359" y="260"/>
                  <a:pt x="357" y="265"/>
                  <a:pt x="348" y="265"/>
                </a:cubicBezTo>
                <a:cubicBezTo>
                  <a:pt x="346" y="265"/>
                  <a:pt x="344" y="265"/>
                  <a:pt x="341" y="264"/>
                </a:cubicBezTo>
                <a:cubicBezTo>
                  <a:pt x="333" y="262"/>
                  <a:pt x="324" y="262"/>
                  <a:pt x="319" y="263"/>
                </a:cubicBezTo>
                <a:cubicBezTo>
                  <a:pt x="319" y="268"/>
                  <a:pt x="324" y="277"/>
                  <a:pt x="330" y="284"/>
                </a:cubicBezTo>
                <a:cubicBezTo>
                  <a:pt x="339" y="294"/>
                  <a:pt x="336" y="300"/>
                  <a:pt x="332" y="305"/>
                </a:cubicBezTo>
                <a:cubicBezTo>
                  <a:pt x="331" y="306"/>
                  <a:pt x="331" y="306"/>
                  <a:pt x="331" y="306"/>
                </a:cubicBezTo>
                <a:cubicBezTo>
                  <a:pt x="329" y="308"/>
                  <a:pt x="326" y="311"/>
                  <a:pt x="321" y="311"/>
                </a:cubicBezTo>
                <a:cubicBezTo>
                  <a:pt x="318" y="311"/>
                  <a:pt x="314" y="310"/>
                  <a:pt x="310" y="307"/>
                </a:cubicBezTo>
                <a:cubicBezTo>
                  <a:pt x="303" y="303"/>
                  <a:pt x="294" y="300"/>
                  <a:pt x="289" y="300"/>
                </a:cubicBezTo>
                <a:cubicBezTo>
                  <a:pt x="287" y="300"/>
                  <a:pt x="286" y="301"/>
                  <a:pt x="286" y="301"/>
                </a:cubicBezTo>
                <a:cubicBezTo>
                  <a:pt x="284" y="303"/>
                  <a:pt x="285" y="314"/>
                  <a:pt x="290" y="325"/>
                </a:cubicBezTo>
                <a:cubicBezTo>
                  <a:pt x="295" y="338"/>
                  <a:pt x="290" y="342"/>
                  <a:pt x="285" y="346"/>
                </a:cubicBezTo>
                <a:cubicBezTo>
                  <a:pt x="284" y="346"/>
                  <a:pt x="284" y="346"/>
                  <a:pt x="284" y="346"/>
                </a:cubicBezTo>
                <a:cubicBezTo>
                  <a:pt x="282" y="348"/>
                  <a:pt x="279" y="349"/>
                  <a:pt x="276" y="349"/>
                </a:cubicBezTo>
                <a:cubicBezTo>
                  <a:pt x="272" y="349"/>
                  <a:pt x="268" y="347"/>
                  <a:pt x="264" y="342"/>
                </a:cubicBezTo>
                <a:cubicBezTo>
                  <a:pt x="258" y="335"/>
                  <a:pt x="249" y="329"/>
                  <a:pt x="245" y="328"/>
                </a:cubicBezTo>
                <a:cubicBezTo>
                  <a:pt x="242" y="333"/>
                  <a:pt x="241" y="342"/>
                  <a:pt x="242" y="350"/>
                </a:cubicBezTo>
                <a:cubicBezTo>
                  <a:pt x="244" y="364"/>
                  <a:pt x="238" y="367"/>
                  <a:pt x="232" y="368"/>
                </a:cubicBezTo>
                <a:cubicBezTo>
                  <a:pt x="230" y="368"/>
                  <a:pt x="230" y="368"/>
                  <a:pt x="230" y="368"/>
                </a:cubicBezTo>
                <a:cubicBezTo>
                  <a:pt x="229" y="369"/>
                  <a:pt x="227" y="369"/>
                  <a:pt x="225" y="369"/>
                </a:cubicBezTo>
                <a:cubicBezTo>
                  <a:pt x="220" y="369"/>
                  <a:pt x="216" y="366"/>
                  <a:pt x="213" y="358"/>
                </a:cubicBezTo>
                <a:cubicBezTo>
                  <a:pt x="209" y="350"/>
                  <a:pt x="203" y="341"/>
                  <a:pt x="199" y="339"/>
                </a:cubicBezTo>
                <a:cubicBezTo>
                  <a:pt x="195" y="343"/>
                  <a:pt x="191" y="351"/>
                  <a:pt x="189" y="360"/>
                </a:cubicBezTo>
                <a:cubicBezTo>
                  <a:pt x="188" y="369"/>
                  <a:pt x="184" y="373"/>
                  <a:pt x="177" y="373"/>
                </a:cubicBezTo>
                <a:close/>
                <a:moveTo>
                  <a:pt x="152" y="330"/>
                </a:moveTo>
                <a:cubicBezTo>
                  <a:pt x="152" y="330"/>
                  <a:pt x="153" y="330"/>
                  <a:pt x="153" y="330"/>
                </a:cubicBezTo>
                <a:cubicBezTo>
                  <a:pt x="159" y="334"/>
                  <a:pt x="163" y="347"/>
                  <a:pt x="164" y="357"/>
                </a:cubicBezTo>
                <a:cubicBezTo>
                  <a:pt x="165" y="368"/>
                  <a:pt x="168" y="368"/>
                  <a:pt x="173" y="368"/>
                </a:cubicBezTo>
                <a:cubicBezTo>
                  <a:pt x="174" y="368"/>
                  <a:pt x="174" y="368"/>
                  <a:pt x="174" y="368"/>
                </a:cubicBezTo>
                <a:cubicBezTo>
                  <a:pt x="175" y="368"/>
                  <a:pt x="176" y="368"/>
                  <a:pt x="177" y="368"/>
                </a:cubicBezTo>
                <a:cubicBezTo>
                  <a:pt x="179" y="368"/>
                  <a:pt x="183" y="368"/>
                  <a:pt x="184" y="358"/>
                </a:cubicBezTo>
                <a:cubicBezTo>
                  <a:pt x="186" y="350"/>
                  <a:pt x="191" y="339"/>
                  <a:pt x="196" y="334"/>
                </a:cubicBezTo>
                <a:cubicBezTo>
                  <a:pt x="197" y="334"/>
                  <a:pt x="198" y="333"/>
                  <a:pt x="199" y="334"/>
                </a:cubicBezTo>
                <a:cubicBezTo>
                  <a:pt x="205" y="335"/>
                  <a:pt x="213" y="346"/>
                  <a:pt x="217" y="356"/>
                </a:cubicBezTo>
                <a:cubicBezTo>
                  <a:pt x="221" y="364"/>
                  <a:pt x="224" y="364"/>
                  <a:pt x="225" y="364"/>
                </a:cubicBezTo>
                <a:cubicBezTo>
                  <a:pt x="226" y="364"/>
                  <a:pt x="227" y="364"/>
                  <a:pt x="229" y="363"/>
                </a:cubicBezTo>
                <a:cubicBezTo>
                  <a:pt x="230" y="363"/>
                  <a:pt x="230" y="363"/>
                  <a:pt x="230" y="363"/>
                </a:cubicBezTo>
                <a:cubicBezTo>
                  <a:pt x="235" y="362"/>
                  <a:pt x="238" y="361"/>
                  <a:pt x="237" y="351"/>
                </a:cubicBezTo>
                <a:cubicBezTo>
                  <a:pt x="236" y="342"/>
                  <a:pt x="237" y="330"/>
                  <a:pt x="241" y="324"/>
                </a:cubicBezTo>
                <a:cubicBezTo>
                  <a:pt x="241" y="323"/>
                  <a:pt x="242" y="323"/>
                  <a:pt x="243" y="323"/>
                </a:cubicBezTo>
                <a:cubicBezTo>
                  <a:pt x="250" y="323"/>
                  <a:pt x="261" y="331"/>
                  <a:pt x="268" y="338"/>
                </a:cubicBezTo>
                <a:cubicBezTo>
                  <a:pt x="271" y="342"/>
                  <a:pt x="274" y="344"/>
                  <a:pt x="276" y="344"/>
                </a:cubicBezTo>
                <a:cubicBezTo>
                  <a:pt x="278" y="344"/>
                  <a:pt x="279" y="343"/>
                  <a:pt x="281" y="342"/>
                </a:cubicBezTo>
                <a:cubicBezTo>
                  <a:pt x="282" y="341"/>
                  <a:pt x="282" y="341"/>
                  <a:pt x="282" y="341"/>
                </a:cubicBezTo>
                <a:cubicBezTo>
                  <a:pt x="286" y="339"/>
                  <a:pt x="289" y="337"/>
                  <a:pt x="285" y="328"/>
                </a:cubicBezTo>
                <a:cubicBezTo>
                  <a:pt x="281" y="318"/>
                  <a:pt x="277" y="301"/>
                  <a:pt x="283" y="296"/>
                </a:cubicBezTo>
                <a:cubicBezTo>
                  <a:pt x="285" y="295"/>
                  <a:pt x="287" y="295"/>
                  <a:pt x="289" y="295"/>
                </a:cubicBezTo>
                <a:cubicBezTo>
                  <a:pt x="296" y="295"/>
                  <a:pt x="306" y="299"/>
                  <a:pt x="313" y="303"/>
                </a:cubicBezTo>
                <a:cubicBezTo>
                  <a:pt x="316" y="305"/>
                  <a:pt x="319" y="306"/>
                  <a:pt x="321" y="306"/>
                </a:cubicBezTo>
                <a:cubicBezTo>
                  <a:pt x="323" y="306"/>
                  <a:pt x="325" y="305"/>
                  <a:pt x="327" y="302"/>
                </a:cubicBezTo>
                <a:cubicBezTo>
                  <a:pt x="328" y="301"/>
                  <a:pt x="328" y="301"/>
                  <a:pt x="328" y="301"/>
                </a:cubicBezTo>
                <a:cubicBezTo>
                  <a:pt x="331" y="298"/>
                  <a:pt x="333" y="295"/>
                  <a:pt x="326" y="288"/>
                </a:cubicBezTo>
                <a:cubicBezTo>
                  <a:pt x="319" y="279"/>
                  <a:pt x="313" y="268"/>
                  <a:pt x="314" y="261"/>
                </a:cubicBezTo>
                <a:cubicBezTo>
                  <a:pt x="314" y="260"/>
                  <a:pt x="315" y="259"/>
                  <a:pt x="315" y="259"/>
                </a:cubicBezTo>
                <a:cubicBezTo>
                  <a:pt x="319" y="257"/>
                  <a:pt x="324" y="257"/>
                  <a:pt x="327" y="257"/>
                </a:cubicBezTo>
                <a:cubicBezTo>
                  <a:pt x="332" y="257"/>
                  <a:pt x="338" y="258"/>
                  <a:pt x="342" y="259"/>
                </a:cubicBezTo>
                <a:cubicBezTo>
                  <a:pt x="345" y="259"/>
                  <a:pt x="347" y="260"/>
                  <a:pt x="348" y="260"/>
                </a:cubicBezTo>
                <a:cubicBezTo>
                  <a:pt x="353" y="260"/>
                  <a:pt x="354" y="258"/>
                  <a:pt x="355" y="254"/>
                </a:cubicBezTo>
                <a:cubicBezTo>
                  <a:pt x="356" y="252"/>
                  <a:pt x="356" y="252"/>
                  <a:pt x="356" y="252"/>
                </a:cubicBezTo>
                <a:cubicBezTo>
                  <a:pt x="358" y="248"/>
                  <a:pt x="359" y="245"/>
                  <a:pt x="350" y="240"/>
                </a:cubicBezTo>
                <a:cubicBezTo>
                  <a:pt x="341" y="235"/>
                  <a:pt x="331" y="225"/>
                  <a:pt x="331" y="218"/>
                </a:cubicBezTo>
                <a:cubicBezTo>
                  <a:pt x="330" y="218"/>
                  <a:pt x="331" y="217"/>
                  <a:pt x="331" y="216"/>
                </a:cubicBezTo>
                <a:cubicBezTo>
                  <a:pt x="336" y="211"/>
                  <a:pt x="348" y="208"/>
                  <a:pt x="357" y="208"/>
                </a:cubicBezTo>
                <a:cubicBezTo>
                  <a:pt x="367" y="207"/>
                  <a:pt x="367" y="204"/>
                  <a:pt x="368" y="199"/>
                </a:cubicBezTo>
                <a:cubicBezTo>
                  <a:pt x="368" y="197"/>
                  <a:pt x="368" y="197"/>
                  <a:pt x="368" y="197"/>
                </a:cubicBezTo>
                <a:cubicBezTo>
                  <a:pt x="368" y="193"/>
                  <a:pt x="369" y="190"/>
                  <a:pt x="359" y="188"/>
                </a:cubicBezTo>
                <a:cubicBezTo>
                  <a:pt x="348" y="185"/>
                  <a:pt x="336" y="179"/>
                  <a:pt x="333" y="173"/>
                </a:cubicBezTo>
                <a:cubicBezTo>
                  <a:pt x="333" y="172"/>
                  <a:pt x="333" y="171"/>
                  <a:pt x="333" y="171"/>
                </a:cubicBezTo>
                <a:cubicBezTo>
                  <a:pt x="337" y="164"/>
                  <a:pt x="347" y="158"/>
                  <a:pt x="355" y="155"/>
                </a:cubicBezTo>
                <a:cubicBezTo>
                  <a:pt x="365" y="151"/>
                  <a:pt x="364" y="148"/>
                  <a:pt x="363" y="143"/>
                </a:cubicBezTo>
                <a:cubicBezTo>
                  <a:pt x="362" y="142"/>
                  <a:pt x="362" y="142"/>
                  <a:pt x="362" y="142"/>
                </a:cubicBezTo>
                <a:cubicBezTo>
                  <a:pt x="362" y="137"/>
                  <a:pt x="361" y="135"/>
                  <a:pt x="354" y="135"/>
                </a:cubicBezTo>
                <a:cubicBezTo>
                  <a:pt x="353" y="135"/>
                  <a:pt x="352" y="135"/>
                  <a:pt x="351" y="135"/>
                </a:cubicBezTo>
                <a:cubicBezTo>
                  <a:pt x="349" y="135"/>
                  <a:pt x="348" y="135"/>
                  <a:pt x="346" y="135"/>
                </a:cubicBezTo>
                <a:cubicBezTo>
                  <a:pt x="338" y="135"/>
                  <a:pt x="326" y="133"/>
                  <a:pt x="322" y="129"/>
                </a:cubicBezTo>
                <a:cubicBezTo>
                  <a:pt x="322" y="128"/>
                  <a:pt x="321" y="127"/>
                  <a:pt x="321" y="126"/>
                </a:cubicBezTo>
                <a:cubicBezTo>
                  <a:pt x="323" y="119"/>
                  <a:pt x="331" y="110"/>
                  <a:pt x="337" y="105"/>
                </a:cubicBezTo>
                <a:cubicBezTo>
                  <a:pt x="345" y="98"/>
                  <a:pt x="343" y="95"/>
                  <a:pt x="341" y="91"/>
                </a:cubicBezTo>
                <a:cubicBezTo>
                  <a:pt x="340" y="90"/>
                  <a:pt x="340" y="90"/>
                  <a:pt x="340" y="90"/>
                </a:cubicBezTo>
                <a:cubicBezTo>
                  <a:pt x="338" y="87"/>
                  <a:pt x="337" y="85"/>
                  <a:pt x="334" y="85"/>
                </a:cubicBezTo>
                <a:cubicBezTo>
                  <a:pt x="332" y="85"/>
                  <a:pt x="330" y="86"/>
                  <a:pt x="327" y="87"/>
                </a:cubicBezTo>
                <a:cubicBezTo>
                  <a:pt x="320" y="90"/>
                  <a:pt x="312" y="92"/>
                  <a:pt x="306" y="92"/>
                </a:cubicBezTo>
                <a:cubicBezTo>
                  <a:pt x="302" y="92"/>
                  <a:pt x="300" y="91"/>
                  <a:pt x="298" y="90"/>
                </a:cubicBezTo>
                <a:cubicBezTo>
                  <a:pt x="297" y="90"/>
                  <a:pt x="297" y="89"/>
                  <a:pt x="297" y="88"/>
                </a:cubicBezTo>
                <a:cubicBezTo>
                  <a:pt x="296" y="81"/>
                  <a:pt x="300" y="70"/>
                  <a:pt x="305" y="62"/>
                </a:cubicBezTo>
                <a:cubicBezTo>
                  <a:pt x="311" y="54"/>
                  <a:pt x="308" y="52"/>
                  <a:pt x="304" y="49"/>
                </a:cubicBezTo>
                <a:cubicBezTo>
                  <a:pt x="303" y="48"/>
                  <a:pt x="303" y="48"/>
                  <a:pt x="303" y="48"/>
                </a:cubicBezTo>
                <a:cubicBezTo>
                  <a:pt x="301" y="46"/>
                  <a:pt x="300" y="45"/>
                  <a:pt x="298" y="45"/>
                </a:cubicBezTo>
                <a:cubicBezTo>
                  <a:pt x="296" y="45"/>
                  <a:pt x="293" y="46"/>
                  <a:pt x="290" y="49"/>
                </a:cubicBezTo>
                <a:cubicBezTo>
                  <a:pt x="283" y="55"/>
                  <a:pt x="272" y="61"/>
                  <a:pt x="265" y="61"/>
                </a:cubicBezTo>
                <a:cubicBezTo>
                  <a:pt x="264" y="61"/>
                  <a:pt x="264" y="61"/>
                  <a:pt x="263" y="61"/>
                </a:cubicBezTo>
                <a:cubicBezTo>
                  <a:pt x="262" y="60"/>
                  <a:pt x="261" y="60"/>
                  <a:pt x="261" y="59"/>
                </a:cubicBezTo>
                <a:cubicBezTo>
                  <a:pt x="258" y="53"/>
                  <a:pt x="259" y="41"/>
                  <a:pt x="261" y="32"/>
                </a:cubicBezTo>
                <a:cubicBezTo>
                  <a:pt x="264" y="22"/>
                  <a:pt x="261" y="21"/>
                  <a:pt x="257" y="19"/>
                </a:cubicBezTo>
                <a:cubicBezTo>
                  <a:pt x="255" y="19"/>
                  <a:pt x="255" y="19"/>
                  <a:pt x="255" y="19"/>
                </a:cubicBezTo>
                <a:cubicBezTo>
                  <a:pt x="253" y="18"/>
                  <a:pt x="252" y="17"/>
                  <a:pt x="250" y="17"/>
                </a:cubicBezTo>
                <a:cubicBezTo>
                  <a:pt x="250" y="17"/>
                  <a:pt x="247" y="17"/>
                  <a:pt x="243" y="24"/>
                </a:cubicBezTo>
                <a:cubicBezTo>
                  <a:pt x="237" y="33"/>
                  <a:pt x="227" y="43"/>
                  <a:pt x="221" y="43"/>
                </a:cubicBezTo>
                <a:cubicBezTo>
                  <a:pt x="220" y="43"/>
                  <a:pt x="219" y="43"/>
                  <a:pt x="218" y="43"/>
                </a:cubicBezTo>
                <a:cubicBezTo>
                  <a:pt x="214" y="37"/>
                  <a:pt x="211" y="26"/>
                  <a:pt x="210" y="17"/>
                </a:cubicBezTo>
                <a:cubicBezTo>
                  <a:pt x="210" y="6"/>
                  <a:pt x="206" y="6"/>
                  <a:pt x="202" y="6"/>
                </a:cubicBezTo>
                <a:cubicBezTo>
                  <a:pt x="200" y="6"/>
                  <a:pt x="200" y="6"/>
                  <a:pt x="200" y="6"/>
                </a:cubicBezTo>
                <a:cubicBezTo>
                  <a:pt x="199" y="6"/>
                  <a:pt x="198" y="5"/>
                  <a:pt x="198" y="5"/>
                </a:cubicBezTo>
                <a:cubicBezTo>
                  <a:pt x="196" y="5"/>
                  <a:pt x="192" y="5"/>
                  <a:pt x="190" y="15"/>
                </a:cubicBezTo>
                <a:cubicBezTo>
                  <a:pt x="188" y="25"/>
                  <a:pt x="182" y="37"/>
                  <a:pt x="175" y="40"/>
                </a:cubicBezTo>
                <a:cubicBezTo>
                  <a:pt x="174" y="40"/>
                  <a:pt x="174" y="40"/>
                  <a:pt x="173" y="40"/>
                </a:cubicBezTo>
                <a:cubicBezTo>
                  <a:pt x="167" y="36"/>
                  <a:pt x="160" y="26"/>
                  <a:pt x="157" y="18"/>
                </a:cubicBezTo>
                <a:cubicBezTo>
                  <a:pt x="154" y="9"/>
                  <a:pt x="151" y="9"/>
                  <a:pt x="150" y="9"/>
                </a:cubicBezTo>
                <a:cubicBezTo>
                  <a:pt x="148" y="9"/>
                  <a:pt x="147" y="10"/>
                  <a:pt x="146" y="10"/>
                </a:cubicBezTo>
                <a:cubicBezTo>
                  <a:pt x="144" y="10"/>
                  <a:pt x="144" y="10"/>
                  <a:pt x="144" y="10"/>
                </a:cubicBezTo>
                <a:cubicBezTo>
                  <a:pt x="140" y="11"/>
                  <a:pt x="137" y="12"/>
                  <a:pt x="137" y="22"/>
                </a:cubicBezTo>
                <a:cubicBezTo>
                  <a:pt x="138" y="33"/>
                  <a:pt x="136" y="46"/>
                  <a:pt x="131" y="50"/>
                </a:cubicBezTo>
                <a:cubicBezTo>
                  <a:pt x="130" y="51"/>
                  <a:pt x="129" y="51"/>
                  <a:pt x="128" y="51"/>
                </a:cubicBezTo>
                <a:cubicBezTo>
                  <a:pt x="122" y="49"/>
                  <a:pt x="112" y="42"/>
                  <a:pt x="107" y="35"/>
                </a:cubicBezTo>
                <a:cubicBezTo>
                  <a:pt x="104" y="31"/>
                  <a:pt x="101" y="29"/>
                  <a:pt x="99" y="29"/>
                </a:cubicBezTo>
                <a:cubicBezTo>
                  <a:pt x="97" y="29"/>
                  <a:pt x="95" y="30"/>
                  <a:pt x="94" y="31"/>
                </a:cubicBezTo>
                <a:cubicBezTo>
                  <a:pt x="92" y="32"/>
                  <a:pt x="92" y="32"/>
                  <a:pt x="92" y="32"/>
                </a:cubicBezTo>
                <a:cubicBezTo>
                  <a:pt x="88" y="34"/>
                  <a:pt x="85" y="35"/>
                  <a:pt x="89" y="45"/>
                </a:cubicBezTo>
                <a:cubicBezTo>
                  <a:pt x="93" y="54"/>
                  <a:pt x="96" y="71"/>
                  <a:pt x="90" y="76"/>
                </a:cubicBezTo>
                <a:cubicBezTo>
                  <a:pt x="90" y="76"/>
                  <a:pt x="90" y="76"/>
                  <a:pt x="90" y="76"/>
                </a:cubicBezTo>
                <a:cubicBezTo>
                  <a:pt x="90" y="76"/>
                  <a:pt x="90" y="76"/>
                  <a:pt x="90" y="76"/>
                </a:cubicBezTo>
                <a:cubicBezTo>
                  <a:pt x="90" y="76"/>
                  <a:pt x="90" y="76"/>
                  <a:pt x="90" y="76"/>
                </a:cubicBezTo>
                <a:cubicBezTo>
                  <a:pt x="88" y="78"/>
                  <a:pt x="86" y="78"/>
                  <a:pt x="82" y="78"/>
                </a:cubicBezTo>
                <a:cubicBezTo>
                  <a:pt x="76" y="78"/>
                  <a:pt x="67" y="76"/>
                  <a:pt x="59" y="71"/>
                </a:cubicBezTo>
                <a:cubicBezTo>
                  <a:pt x="56" y="69"/>
                  <a:pt x="53" y="68"/>
                  <a:pt x="51" y="68"/>
                </a:cubicBezTo>
                <a:cubicBezTo>
                  <a:pt x="49" y="68"/>
                  <a:pt x="47" y="70"/>
                  <a:pt x="46" y="72"/>
                </a:cubicBezTo>
                <a:cubicBezTo>
                  <a:pt x="45" y="74"/>
                  <a:pt x="45" y="74"/>
                  <a:pt x="45" y="74"/>
                </a:cubicBezTo>
                <a:cubicBezTo>
                  <a:pt x="42" y="77"/>
                  <a:pt x="40" y="80"/>
                  <a:pt x="47" y="87"/>
                </a:cubicBezTo>
                <a:cubicBezTo>
                  <a:pt x="53" y="94"/>
                  <a:pt x="59" y="104"/>
                  <a:pt x="60" y="111"/>
                </a:cubicBezTo>
                <a:cubicBezTo>
                  <a:pt x="60" y="112"/>
                  <a:pt x="60" y="112"/>
                  <a:pt x="59" y="113"/>
                </a:cubicBezTo>
                <a:cubicBezTo>
                  <a:pt x="55" y="116"/>
                  <a:pt x="47" y="117"/>
                  <a:pt x="42" y="117"/>
                </a:cubicBezTo>
                <a:cubicBezTo>
                  <a:pt x="38" y="117"/>
                  <a:pt x="34" y="117"/>
                  <a:pt x="30" y="116"/>
                </a:cubicBezTo>
                <a:cubicBezTo>
                  <a:pt x="28" y="115"/>
                  <a:pt x="26" y="115"/>
                  <a:pt x="24" y="115"/>
                </a:cubicBezTo>
                <a:cubicBezTo>
                  <a:pt x="19" y="115"/>
                  <a:pt x="19" y="117"/>
                  <a:pt x="17" y="121"/>
                </a:cubicBezTo>
                <a:cubicBezTo>
                  <a:pt x="17" y="123"/>
                  <a:pt x="17" y="123"/>
                  <a:pt x="17" y="123"/>
                </a:cubicBezTo>
                <a:cubicBezTo>
                  <a:pt x="15" y="127"/>
                  <a:pt x="14" y="130"/>
                  <a:pt x="23" y="135"/>
                </a:cubicBezTo>
                <a:cubicBezTo>
                  <a:pt x="31" y="139"/>
                  <a:pt x="40" y="147"/>
                  <a:pt x="43" y="153"/>
                </a:cubicBezTo>
                <a:cubicBezTo>
                  <a:pt x="43" y="154"/>
                  <a:pt x="43" y="155"/>
                  <a:pt x="43" y="155"/>
                </a:cubicBezTo>
                <a:cubicBezTo>
                  <a:pt x="39" y="161"/>
                  <a:pt x="26" y="166"/>
                  <a:pt x="16" y="167"/>
                </a:cubicBezTo>
                <a:cubicBezTo>
                  <a:pt x="6" y="168"/>
                  <a:pt x="5" y="171"/>
                  <a:pt x="5" y="176"/>
                </a:cubicBezTo>
                <a:cubicBezTo>
                  <a:pt x="5" y="178"/>
                  <a:pt x="5" y="178"/>
                  <a:pt x="5" y="178"/>
                </a:cubicBezTo>
                <a:cubicBezTo>
                  <a:pt x="5" y="182"/>
                  <a:pt x="5" y="186"/>
                  <a:pt x="15" y="187"/>
                </a:cubicBezTo>
                <a:cubicBezTo>
                  <a:pt x="24" y="189"/>
                  <a:pt x="35" y="193"/>
                  <a:pt x="39" y="199"/>
                </a:cubicBezTo>
                <a:cubicBezTo>
                  <a:pt x="40" y="199"/>
                  <a:pt x="40" y="200"/>
                  <a:pt x="40" y="201"/>
                </a:cubicBezTo>
                <a:cubicBezTo>
                  <a:pt x="38" y="208"/>
                  <a:pt x="28" y="216"/>
                  <a:pt x="18" y="220"/>
                </a:cubicBezTo>
                <a:cubicBezTo>
                  <a:pt x="8" y="224"/>
                  <a:pt x="9" y="227"/>
                  <a:pt x="11" y="232"/>
                </a:cubicBezTo>
                <a:cubicBezTo>
                  <a:pt x="11" y="233"/>
                  <a:pt x="11" y="233"/>
                  <a:pt x="11" y="233"/>
                </a:cubicBezTo>
                <a:cubicBezTo>
                  <a:pt x="12" y="237"/>
                  <a:pt x="13" y="240"/>
                  <a:pt x="19" y="240"/>
                </a:cubicBezTo>
                <a:cubicBezTo>
                  <a:pt x="20" y="240"/>
                  <a:pt x="22" y="240"/>
                  <a:pt x="23" y="240"/>
                </a:cubicBezTo>
                <a:cubicBezTo>
                  <a:pt x="26" y="239"/>
                  <a:pt x="28" y="239"/>
                  <a:pt x="31" y="239"/>
                </a:cubicBezTo>
                <a:cubicBezTo>
                  <a:pt x="35" y="239"/>
                  <a:pt x="45" y="240"/>
                  <a:pt x="50" y="243"/>
                </a:cubicBezTo>
                <a:cubicBezTo>
                  <a:pt x="51" y="244"/>
                  <a:pt x="51" y="244"/>
                  <a:pt x="51" y="245"/>
                </a:cubicBezTo>
                <a:cubicBezTo>
                  <a:pt x="52" y="252"/>
                  <a:pt x="44" y="263"/>
                  <a:pt x="36" y="270"/>
                </a:cubicBezTo>
                <a:cubicBezTo>
                  <a:pt x="28" y="277"/>
                  <a:pt x="30" y="280"/>
                  <a:pt x="33" y="283"/>
                </a:cubicBezTo>
                <a:cubicBezTo>
                  <a:pt x="34" y="285"/>
                  <a:pt x="34" y="285"/>
                  <a:pt x="34" y="285"/>
                </a:cubicBezTo>
                <a:cubicBezTo>
                  <a:pt x="36" y="288"/>
                  <a:pt x="37" y="289"/>
                  <a:pt x="40" y="289"/>
                </a:cubicBezTo>
                <a:cubicBezTo>
                  <a:pt x="42" y="289"/>
                  <a:pt x="44" y="289"/>
                  <a:pt x="47" y="287"/>
                </a:cubicBezTo>
                <a:cubicBezTo>
                  <a:pt x="57" y="283"/>
                  <a:pt x="68" y="281"/>
                  <a:pt x="74" y="282"/>
                </a:cubicBezTo>
                <a:cubicBezTo>
                  <a:pt x="75" y="283"/>
                  <a:pt x="75" y="283"/>
                  <a:pt x="76" y="284"/>
                </a:cubicBezTo>
                <a:cubicBezTo>
                  <a:pt x="78" y="290"/>
                  <a:pt x="74" y="303"/>
                  <a:pt x="69" y="312"/>
                </a:cubicBezTo>
                <a:cubicBezTo>
                  <a:pt x="64" y="321"/>
                  <a:pt x="66" y="323"/>
                  <a:pt x="70" y="326"/>
                </a:cubicBezTo>
                <a:cubicBezTo>
                  <a:pt x="71" y="327"/>
                  <a:pt x="71" y="327"/>
                  <a:pt x="71" y="327"/>
                </a:cubicBezTo>
                <a:cubicBezTo>
                  <a:pt x="73" y="328"/>
                  <a:pt x="75" y="330"/>
                  <a:pt x="77" y="330"/>
                </a:cubicBezTo>
                <a:cubicBezTo>
                  <a:pt x="79" y="330"/>
                  <a:pt x="81" y="328"/>
                  <a:pt x="85" y="325"/>
                </a:cubicBezTo>
                <a:cubicBezTo>
                  <a:pt x="91" y="319"/>
                  <a:pt x="102" y="313"/>
                  <a:pt x="109" y="312"/>
                </a:cubicBezTo>
                <a:cubicBezTo>
                  <a:pt x="109" y="312"/>
                  <a:pt x="110" y="312"/>
                  <a:pt x="111" y="313"/>
                </a:cubicBezTo>
                <a:cubicBezTo>
                  <a:pt x="115" y="318"/>
                  <a:pt x="115" y="332"/>
                  <a:pt x="113" y="342"/>
                </a:cubicBezTo>
                <a:cubicBezTo>
                  <a:pt x="111" y="352"/>
                  <a:pt x="114" y="353"/>
                  <a:pt x="118" y="355"/>
                </a:cubicBezTo>
                <a:cubicBezTo>
                  <a:pt x="120" y="355"/>
                  <a:pt x="120" y="355"/>
                  <a:pt x="120" y="355"/>
                </a:cubicBezTo>
                <a:cubicBezTo>
                  <a:pt x="121" y="356"/>
                  <a:pt x="123" y="357"/>
                  <a:pt x="124" y="357"/>
                </a:cubicBezTo>
                <a:cubicBezTo>
                  <a:pt x="125" y="357"/>
                  <a:pt x="128" y="357"/>
                  <a:pt x="132" y="350"/>
                </a:cubicBezTo>
                <a:cubicBezTo>
                  <a:pt x="136" y="342"/>
                  <a:pt x="144" y="333"/>
                  <a:pt x="151" y="330"/>
                </a:cubicBezTo>
                <a:lnTo>
                  <a:pt x="152" y="330"/>
                </a:lnTo>
                <a:close/>
                <a:moveTo>
                  <a:pt x="187" y="309"/>
                </a:moveTo>
                <a:cubicBezTo>
                  <a:pt x="159" y="309"/>
                  <a:pt x="131" y="300"/>
                  <a:pt x="109" y="282"/>
                </a:cubicBezTo>
                <a:cubicBezTo>
                  <a:pt x="57" y="239"/>
                  <a:pt x="49" y="162"/>
                  <a:pt x="91" y="110"/>
                </a:cubicBezTo>
                <a:cubicBezTo>
                  <a:pt x="115" y="81"/>
                  <a:pt x="150" y="64"/>
                  <a:pt x="187" y="64"/>
                </a:cubicBezTo>
                <a:cubicBezTo>
                  <a:pt x="215" y="64"/>
                  <a:pt x="242" y="74"/>
                  <a:pt x="264" y="92"/>
                </a:cubicBezTo>
                <a:cubicBezTo>
                  <a:pt x="289" y="112"/>
                  <a:pt x="305" y="141"/>
                  <a:pt x="308" y="174"/>
                </a:cubicBezTo>
                <a:cubicBezTo>
                  <a:pt x="312" y="207"/>
                  <a:pt x="302" y="238"/>
                  <a:pt x="282" y="264"/>
                </a:cubicBezTo>
                <a:cubicBezTo>
                  <a:pt x="258" y="293"/>
                  <a:pt x="224" y="309"/>
                  <a:pt x="187" y="309"/>
                </a:cubicBezTo>
                <a:close/>
                <a:moveTo>
                  <a:pt x="187" y="70"/>
                </a:moveTo>
                <a:cubicBezTo>
                  <a:pt x="151" y="70"/>
                  <a:pt x="118" y="85"/>
                  <a:pt x="96" y="113"/>
                </a:cubicBezTo>
                <a:cubicBezTo>
                  <a:pt x="55" y="163"/>
                  <a:pt x="63" y="237"/>
                  <a:pt x="113" y="278"/>
                </a:cubicBezTo>
                <a:cubicBezTo>
                  <a:pt x="134" y="295"/>
                  <a:pt x="160" y="304"/>
                  <a:pt x="187" y="304"/>
                </a:cubicBezTo>
                <a:cubicBezTo>
                  <a:pt x="222" y="304"/>
                  <a:pt x="255" y="288"/>
                  <a:pt x="278" y="261"/>
                </a:cubicBezTo>
                <a:cubicBezTo>
                  <a:pt x="297" y="236"/>
                  <a:pt x="306" y="206"/>
                  <a:pt x="303" y="175"/>
                </a:cubicBezTo>
                <a:cubicBezTo>
                  <a:pt x="300" y="143"/>
                  <a:pt x="285" y="115"/>
                  <a:pt x="260" y="96"/>
                </a:cubicBezTo>
                <a:cubicBezTo>
                  <a:pt x="240" y="79"/>
                  <a:pt x="213" y="70"/>
                  <a:pt x="187" y="7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8" name="Freeform 1365">
            <a:extLst>
              <a:ext uri="{FF2B5EF4-FFF2-40B4-BE49-F238E27FC236}">
                <a16:creationId xmlns:a16="http://schemas.microsoft.com/office/drawing/2014/main" id="{B5FDF79A-77AD-4DD2-9EB1-C8D5381FD1F5}"/>
              </a:ext>
            </a:extLst>
          </p:cNvPr>
          <p:cNvSpPr>
            <a:spLocks noEditPoints="1"/>
          </p:cNvSpPr>
          <p:nvPr/>
        </p:nvSpPr>
        <p:spPr bwMode="auto">
          <a:xfrm>
            <a:off x="2733471" y="1299251"/>
            <a:ext cx="581939" cy="518454"/>
          </a:xfrm>
          <a:custGeom>
            <a:avLst/>
            <a:gdLst>
              <a:gd name="T0" fmla="*/ 74 w 147"/>
              <a:gd name="T1" fmla="*/ 131 h 131"/>
              <a:gd name="T2" fmla="*/ 74 w 147"/>
              <a:gd name="T3" fmla="*/ 131 h 131"/>
              <a:gd name="T4" fmla="*/ 32 w 147"/>
              <a:gd name="T5" fmla="*/ 117 h 131"/>
              <a:gd name="T6" fmla="*/ 23 w 147"/>
              <a:gd name="T7" fmla="*/ 24 h 131"/>
              <a:gd name="T8" fmla="*/ 74 w 147"/>
              <a:gd name="T9" fmla="*/ 0 h 131"/>
              <a:gd name="T10" fmla="*/ 115 w 147"/>
              <a:gd name="T11" fmla="*/ 15 h 131"/>
              <a:gd name="T12" fmla="*/ 125 w 147"/>
              <a:gd name="T13" fmla="*/ 107 h 131"/>
              <a:gd name="T14" fmla="*/ 74 w 147"/>
              <a:gd name="T15" fmla="*/ 131 h 131"/>
              <a:gd name="T16" fmla="*/ 74 w 147"/>
              <a:gd name="T17" fmla="*/ 5 h 131"/>
              <a:gd name="T18" fmla="*/ 27 w 147"/>
              <a:gd name="T19" fmla="*/ 28 h 131"/>
              <a:gd name="T20" fmla="*/ 36 w 147"/>
              <a:gd name="T21" fmla="*/ 113 h 131"/>
              <a:gd name="T22" fmla="*/ 74 w 147"/>
              <a:gd name="T23" fmla="*/ 126 h 131"/>
              <a:gd name="T24" fmla="*/ 74 w 147"/>
              <a:gd name="T25" fmla="*/ 126 h 131"/>
              <a:gd name="T26" fmla="*/ 121 w 147"/>
              <a:gd name="T27" fmla="*/ 104 h 131"/>
              <a:gd name="T28" fmla="*/ 112 w 147"/>
              <a:gd name="T29" fmla="*/ 19 h 131"/>
              <a:gd name="T30" fmla="*/ 74 w 147"/>
              <a:gd name="T31" fmla="*/ 5 h 131"/>
              <a:gd name="T32" fmla="*/ 74 w 147"/>
              <a:gd name="T33" fmla="*/ 108 h 131"/>
              <a:gd name="T34" fmla="*/ 47 w 147"/>
              <a:gd name="T35" fmla="*/ 98 h 131"/>
              <a:gd name="T36" fmla="*/ 41 w 147"/>
              <a:gd name="T37" fmla="*/ 39 h 131"/>
              <a:gd name="T38" fmla="*/ 74 w 147"/>
              <a:gd name="T39" fmla="*/ 24 h 131"/>
              <a:gd name="T40" fmla="*/ 100 w 147"/>
              <a:gd name="T41" fmla="*/ 33 h 131"/>
              <a:gd name="T42" fmla="*/ 106 w 147"/>
              <a:gd name="T43" fmla="*/ 92 h 131"/>
              <a:gd name="T44" fmla="*/ 74 w 147"/>
              <a:gd name="T45" fmla="*/ 108 h 131"/>
              <a:gd name="T46" fmla="*/ 74 w 147"/>
              <a:gd name="T47" fmla="*/ 29 h 131"/>
              <a:gd name="T48" fmla="*/ 45 w 147"/>
              <a:gd name="T49" fmla="*/ 43 h 131"/>
              <a:gd name="T50" fmla="*/ 51 w 147"/>
              <a:gd name="T51" fmla="*/ 94 h 131"/>
              <a:gd name="T52" fmla="*/ 74 w 147"/>
              <a:gd name="T53" fmla="*/ 102 h 131"/>
              <a:gd name="T54" fmla="*/ 102 w 147"/>
              <a:gd name="T55" fmla="*/ 89 h 131"/>
              <a:gd name="T56" fmla="*/ 97 w 147"/>
              <a:gd name="T57" fmla="*/ 37 h 131"/>
              <a:gd name="T58" fmla="*/ 74 w 147"/>
              <a:gd name="T59" fmla="*/ 2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7" h="131">
                <a:moveTo>
                  <a:pt x="74" y="131"/>
                </a:moveTo>
                <a:cubicBezTo>
                  <a:pt x="74" y="131"/>
                  <a:pt x="74" y="131"/>
                  <a:pt x="74" y="131"/>
                </a:cubicBezTo>
                <a:cubicBezTo>
                  <a:pt x="59" y="131"/>
                  <a:pt x="44" y="126"/>
                  <a:pt x="32" y="117"/>
                </a:cubicBezTo>
                <a:cubicBezTo>
                  <a:pt x="4" y="94"/>
                  <a:pt x="0" y="52"/>
                  <a:pt x="23" y="24"/>
                </a:cubicBezTo>
                <a:cubicBezTo>
                  <a:pt x="35" y="9"/>
                  <a:pt x="54" y="0"/>
                  <a:pt x="74" y="0"/>
                </a:cubicBezTo>
                <a:cubicBezTo>
                  <a:pt x="89" y="0"/>
                  <a:pt x="103" y="5"/>
                  <a:pt x="115" y="15"/>
                </a:cubicBezTo>
                <a:cubicBezTo>
                  <a:pt x="143" y="38"/>
                  <a:pt x="147" y="79"/>
                  <a:pt x="125" y="107"/>
                </a:cubicBezTo>
                <a:cubicBezTo>
                  <a:pt x="112" y="123"/>
                  <a:pt x="94" y="131"/>
                  <a:pt x="74" y="131"/>
                </a:cubicBezTo>
                <a:close/>
                <a:moveTo>
                  <a:pt x="74" y="5"/>
                </a:moveTo>
                <a:cubicBezTo>
                  <a:pt x="55" y="5"/>
                  <a:pt x="38" y="13"/>
                  <a:pt x="27" y="28"/>
                </a:cubicBezTo>
                <a:cubicBezTo>
                  <a:pt x="6" y="54"/>
                  <a:pt x="10" y="92"/>
                  <a:pt x="36" y="113"/>
                </a:cubicBezTo>
                <a:cubicBezTo>
                  <a:pt x="46" y="121"/>
                  <a:pt x="60" y="126"/>
                  <a:pt x="74" y="126"/>
                </a:cubicBezTo>
                <a:cubicBezTo>
                  <a:pt x="74" y="126"/>
                  <a:pt x="74" y="126"/>
                  <a:pt x="74" y="126"/>
                </a:cubicBezTo>
                <a:cubicBezTo>
                  <a:pt x="92" y="126"/>
                  <a:pt x="109" y="118"/>
                  <a:pt x="121" y="104"/>
                </a:cubicBezTo>
                <a:cubicBezTo>
                  <a:pt x="142" y="78"/>
                  <a:pt x="138" y="40"/>
                  <a:pt x="112" y="19"/>
                </a:cubicBezTo>
                <a:cubicBezTo>
                  <a:pt x="101" y="10"/>
                  <a:pt x="87" y="5"/>
                  <a:pt x="74" y="5"/>
                </a:cubicBezTo>
                <a:close/>
                <a:moveTo>
                  <a:pt x="74" y="108"/>
                </a:moveTo>
                <a:cubicBezTo>
                  <a:pt x="64" y="108"/>
                  <a:pt x="55" y="104"/>
                  <a:pt x="47" y="98"/>
                </a:cubicBezTo>
                <a:cubicBezTo>
                  <a:pt x="29" y="84"/>
                  <a:pt x="27" y="57"/>
                  <a:pt x="41" y="39"/>
                </a:cubicBezTo>
                <a:cubicBezTo>
                  <a:pt x="49" y="30"/>
                  <a:pt x="61" y="24"/>
                  <a:pt x="74" y="24"/>
                </a:cubicBezTo>
                <a:cubicBezTo>
                  <a:pt x="83" y="24"/>
                  <a:pt x="93" y="27"/>
                  <a:pt x="100" y="33"/>
                </a:cubicBezTo>
                <a:cubicBezTo>
                  <a:pt x="118" y="48"/>
                  <a:pt x="121" y="74"/>
                  <a:pt x="106" y="92"/>
                </a:cubicBezTo>
                <a:cubicBezTo>
                  <a:pt x="98" y="102"/>
                  <a:pt x="86" y="108"/>
                  <a:pt x="74" y="108"/>
                </a:cubicBezTo>
                <a:close/>
                <a:moveTo>
                  <a:pt x="74" y="29"/>
                </a:moveTo>
                <a:cubicBezTo>
                  <a:pt x="63" y="29"/>
                  <a:pt x="52" y="34"/>
                  <a:pt x="45" y="43"/>
                </a:cubicBezTo>
                <a:cubicBezTo>
                  <a:pt x="33" y="58"/>
                  <a:pt x="35" y="81"/>
                  <a:pt x="51" y="94"/>
                </a:cubicBezTo>
                <a:cubicBezTo>
                  <a:pt x="57" y="99"/>
                  <a:pt x="65" y="102"/>
                  <a:pt x="74" y="102"/>
                </a:cubicBezTo>
                <a:cubicBezTo>
                  <a:pt x="85" y="102"/>
                  <a:pt x="95" y="97"/>
                  <a:pt x="102" y="89"/>
                </a:cubicBezTo>
                <a:cubicBezTo>
                  <a:pt x="115" y="73"/>
                  <a:pt x="112" y="50"/>
                  <a:pt x="97" y="37"/>
                </a:cubicBezTo>
                <a:cubicBezTo>
                  <a:pt x="90" y="32"/>
                  <a:pt x="82" y="29"/>
                  <a:pt x="74" y="2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9" name="Freeform 1376">
            <a:extLst>
              <a:ext uri="{FF2B5EF4-FFF2-40B4-BE49-F238E27FC236}">
                <a16:creationId xmlns:a16="http://schemas.microsoft.com/office/drawing/2014/main" id="{1877A07A-B0E3-46E4-B8BE-7D9150AF685B}"/>
              </a:ext>
            </a:extLst>
          </p:cNvPr>
          <p:cNvSpPr>
            <a:spLocks noEditPoints="1"/>
          </p:cNvSpPr>
          <p:nvPr/>
        </p:nvSpPr>
        <p:spPr bwMode="auto">
          <a:xfrm>
            <a:off x="4140706" y="1494997"/>
            <a:ext cx="153422" cy="153422"/>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8 h 38"/>
              <a:gd name="T12" fmla="*/ 9 w 38"/>
              <a:gd name="T13" fmla="*/ 19 h 38"/>
              <a:gd name="T14" fmla="*/ 19 w 38"/>
              <a:gd name="T15" fmla="*/ 29 h 38"/>
              <a:gd name="T16" fmla="*/ 29 w 38"/>
              <a:gd name="T17" fmla="*/ 19 h 38"/>
              <a:gd name="T18" fmla="*/ 19 w 38"/>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29" y="0"/>
                  <a:pt x="38" y="8"/>
                  <a:pt x="38" y="19"/>
                </a:cubicBezTo>
                <a:cubicBezTo>
                  <a:pt x="38" y="29"/>
                  <a:pt x="29" y="38"/>
                  <a:pt x="19" y="38"/>
                </a:cubicBezTo>
                <a:close/>
                <a:moveTo>
                  <a:pt x="19" y="8"/>
                </a:moveTo>
                <a:cubicBezTo>
                  <a:pt x="14" y="8"/>
                  <a:pt x="9" y="13"/>
                  <a:pt x="9" y="19"/>
                </a:cubicBezTo>
                <a:cubicBezTo>
                  <a:pt x="9" y="24"/>
                  <a:pt x="14" y="29"/>
                  <a:pt x="19" y="29"/>
                </a:cubicBezTo>
                <a:cubicBezTo>
                  <a:pt x="25" y="29"/>
                  <a:pt x="29" y="24"/>
                  <a:pt x="29" y="19"/>
                </a:cubicBezTo>
                <a:cubicBezTo>
                  <a:pt x="29" y="13"/>
                  <a:pt x="25" y="8"/>
                  <a:pt x="19"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9" name="Freeform 1386">
            <a:extLst>
              <a:ext uri="{FF2B5EF4-FFF2-40B4-BE49-F238E27FC236}">
                <a16:creationId xmlns:a16="http://schemas.microsoft.com/office/drawing/2014/main" id="{4CB1D840-D29E-4D08-8C57-964890D4C91C}"/>
              </a:ext>
            </a:extLst>
          </p:cNvPr>
          <p:cNvSpPr>
            <a:spLocks noEditPoints="1"/>
          </p:cNvSpPr>
          <p:nvPr/>
        </p:nvSpPr>
        <p:spPr bwMode="auto">
          <a:xfrm>
            <a:off x="4727934" y="971250"/>
            <a:ext cx="132261" cy="142841"/>
          </a:xfrm>
          <a:custGeom>
            <a:avLst/>
            <a:gdLst>
              <a:gd name="T0" fmla="*/ 24 w 34"/>
              <a:gd name="T1" fmla="*/ 37 h 37"/>
              <a:gd name="T2" fmla="*/ 24 w 34"/>
              <a:gd name="T3" fmla="*/ 37 h 37"/>
              <a:gd name="T4" fmla="*/ 23 w 34"/>
              <a:gd name="T5" fmla="*/ 36 h 37"/>
              <a:gd name="T6" fmla="*/ 0 w 34"/>
              <a:gd name="T7" fmla="*/ 5 h 37"/>
              <a:gd name="T8" fmla="*/ 0 w 34"/>
              <a:gd name="T9" fmla="*/ 4 h 37"/>
              <a:gd name="T10" fmla="*/ 0 w 34"/>
              <a:gd name="T11" fmla="*/ 3 h 37"/>
              <a:gd name="T12" fmla="*/ 11 w 34"/>
              <a:gd name="T13" fmla="*/ 0 h 37"/>
              <a:gd name="T14" fmla="*/ 27 w 34"/>
              <a:gd name="T15" fmla="*/ 8 h 37"/>
              <a:gd name="T16" fmla="*/ 25 w 34"/>
              <a:gd name="T17" fmla="*/ 36 h 37"/>
              <a:gd name="T18" fmla="*/ 24 w 34"/>
              <a:gd name="T19" fmla="*/ 37 h 37"/>
              <a:gd name="T20" fmla="*/ 3 w 34"/>
              <a:gd name="T21" fmla="*/ 5 h 37"/>
              <a:gd name="T22" fmla="*/ 24 w 34"/>
              <a:gd name="T23" fmla="*/ 34 h 37"/>
              <a:gd name="T24" fmla="*/ 25 w 34"/>
              <a:gd name="T25" fmla="*/ 10 h 37"/>
              <a:gd name="T26" fmla="*/ 11 w 34"/>
              <a:gd name="T27" fmla="*/ 3 h 37"/>
              <a:gd name="T28" fmla="*/ 3 w 34"/>
              <a:gd name="T29"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7">
                <a:moveTo>
                  <a:pt x="24" y="37"/>
                </a:moveTo>
                <a:cubicBezTo>
                  <a:pt x="24" y="37"/>
                  <a:pt x="24" y="37"/>
                  <a:pt x="24" y="37"/>
                </a:cubicBezTo>
                <a:cubicBezTo>
                  <a:pt x="23" y="36"/>
                  <a:pt x="23" y="36"/>
                  <a:pt x="23" y="36"/>
                </a:cubicBezTo>
                <a:cubicBezTo>
                  <a:pt x="0" y="5"/>
                  <a:pt x="0" y="5"/>
                  <a:pt x="0" y="5"/>
                </a:cubicBezTo>
                <a:cubicBezTo>
                  <a:pt x="0" y="4"/>
                  <a:pt x="0" y="4"/>
                  <a:pt x="0" y="4"/>
                </a:cubicBezTo>
                <a:cubicBezTo>
                  <a:pt x="0" y="3"/>
                  <a:pt x="0" y="3"/>
                  <a:pt x="0" y="3"/>
                </a:cubicBezTo>
                <a:cubicBezTo>
                  <a:pt x="3" y="1"/>
                  <a:pt x="7" y="0"/>
                  <a:pt x="11" y="0"/>
                </a:cubicBezTo>
                <a:cubicBezTo>
                  <a:pt x="17" y="0"/>
                  <a:pt x="23" y="3"/>
                  <a:pt x="27" y="8"/>
                </a:cubicBezTo>
                <a:cubicBezTo>
                  <a:pt x="34" y="16"/>
                  <a:pt x="33" y="29"/>
                  <a:pt x="25" y="36"/>
                </a:cubicBezTo>
                <a:lnTo>
                  <a:pt x="24" y="37"/>
                </a:lnTo>
                <a:close/>
                <a:moveTo>
                  <a:pt x="3" y="5"/>
                </a:moveTo>
                <a:cubicBezTo>
                  <a:pt x="24" y="34"/>
                  <a:pt x="24" y="34"/>
                  <a:pt x="24" y="34"/>
                </a:cubicBezTo>
                <a:cubicBezTo>
                  <a:pt x="30" y="27"/>
                  <a:pt x="31" y="17"/>
                  <a:pt x="25" y="10"/>
                </a:cubicBezTo>
                <a:cubicBezTo>
                  <a:pt x="21" y="5"/>
                  <a:pt x="16" y="3"/>
                  <a:pt x="11" y="3"/>
                </a:cubicBezTo>
                <a:cubicBezTo>
                  <a:pt x="8" y="3"/>
                  <a:pt x="5" y="4"/>
                  <a:pt x="3"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0" name="Freeform 1387">
            <a:extLst>
              <a:ext uri="{FF2B5EF4-FFF2-40B4-BE49-F238E27FC236}">
                <a16:creationId xmlns:a16="http://schemas.microsoft.com/office/drawing/2014/main" id="{14EC0445-D02D-4D53-9FC4-DB7F7FF0A981}"/>
              </a:ext>
            </a:extLst>
          </p:cNvPr>
          <p:cNvSpPr>
            <a:spLocks noEditPoints="1"/>
          </p:cNvSpPr>
          <p:nvPr/>
        </p:nvSpPr>
        <p:spPr bwMode="auto">
          <a:xfrm>
            <a:off x="4680323" y="992411"/>
            <a:ext cx="132261" cy="142841"/>
          </a:xfrm>
          <a:custGeom>
            <a:avLst/>
            <a:gdLst>
              <a:gd name="T0" fmla="*/ 23 w 34"/>
              <a:gd name="T1" fmla="*/ 36 h 36"/>
              <a:gd name="T2" fmla="*/ 7 w 34"/>
              <a:gd name="T3" fmla="*/ 28 h 36"/>
              <a:gd name="T4" fmla="*/ 9 w 34"/>
              <a:gd name="T5" fmla="*/ 0 h 36"/>
              <a:gd name="T6" fmla="*/ 10 w 34"/>
              <a:gd name="T7" fmla="*/ 0 h 36"/>
              <a:gd name="T8" fmla="*/ 10 w 34"/>
              <a:gd name="T9" fmla="*/ 0 h 36"/>
              <a:gd name="T10" fmla="*/ 33 w 34"/>
              <a:gd name="T11" fmla="*/ 31 h 36"/>
              <a:gd name="T12" fmla="*/ 34 w 34"/>
              <a:gd name="T13" fmla="*/ 32 h 36"/>
              <a:gd name="T14" fmla="*/ 33 w 34"/>
              <a:gd name="T15" fmla="*/ 33 h 36"/>
              <a:gd name="T16" fmla="*/ 23 w 34"/>
              <a:gd name="T17" fmla="*/ 36 h 36"/>
              <a:gd name="T18" fmla="*/ 9 w 34"/>
              <a:gd name="T19" fmla="*/ 3 h 36"/>
              <a:gd name="T20" fmla="*/ 9 w 34"/>
              <a:gd name="T21" fmla="*/ 27 h 36"/>
              <a:gd name="T22" fmla="*/ 23 w 34"/>
              <a:gd name="T23" fmla="*/ 33 h 36"/>
              <a:gd name="T24" fmla="*/ 31 w 34"/>
              <a:gd name="T25" fmla="*/ 32 h 36"/>
              <a:gd name="T26" fmla="*/ 9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6" y="36"/>
                  <a:pt x="11" y="33"/>
                  <a:pt x="7" y="28"/>
                </a:cubicBezTo>
                <a:cubicBezTo>
                  <a:pt x="0" y="20"/>
                  <a:pt x="1" y="7"/>
                  <a:pt x="9" y="0"/>
                </a:cubicBezTo>
                <a:cubicBezTo>
                  <a:pt x="10" y="0"/>
                  <a:pt x="10" y="0"/>
                  <a:pt x="10" y="0"/>
                </a:cubicBezTo>
                <a:cubicBezTo>
                  <a:pt x="10" y="0"/>
                  <a:pt x="10" y="0"/>
                  <a:pt x="10" y="0"/>
                </a:cubicBezTo>
                <a:cubicBezTo>
                  <a:pt x="33" y="31"/>
                  <a:pt x="33" y="31"/>
                  <a:pt x="33" y="31"/>
                </a:cubicBezTo>
                <a:cubicBezTo>
                  <a:pt x="34" y="32"/>
                  <a:pt x="34" y="32"/>
                  <a:pt x="34" y="32"/>
                </a:cubicBezTo>
                <a:cubicBezTo>
                  <a:pt x="33" y="33"/>
                  <a:pt x="33" y="33"/>
                  <a:pt x="33" y="33"/>
                </a:cubicBezTo>
                <a:cubicBezTo>
                  <a:pt x="30" y="35"/>
                  <a:pt x="26" y="36"/>
                  <a:pt x="23" y="36"/>
                </a:cubicBezTo>
                <a:close/>
                <a:moveTo>
                  <a:pt x="9" y="3"/>
                </a:moveTo>
                <a:cubicBezTo>
                  <a:pt x="3" y="9"/>
                  <a:pt x="3" y="20"/>
                  <a:pt x="9" y="27"/>
                </a:cubicBezTo>
                <a:cubicBezTo>
                  <a:pt x="12" y="31"/>
                  <a:pt x="17" y="33"/>
                  <a:pt x="23" y="33"/>
                </a:cubicBezTo>
                <a:cubicBezTo>
                  <a:pt x="25" y="33"/>
                  <a:pt x="28" y="33"/>
                  <a:pt x="31" y="32"/>
                </a:cubicBezTo>
                <a:lnTo>
                  <a:pt x="9"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4" name="Freeform 1391">
            <a:extLst>
              <a:ext uri="{FF2B5EF4-FFF2-40B4-BE49-F238E27FC236}">
                <a16:creationId xmlns:a16="http://schemas.microsoft.com/office/drawing/2014/main" id="{BF9B4F2F-646B-4A37-B156-2F08291CD910}"/>
              </a:ext>
            </a:extLst>
          </p:cNvPr>
          <p:cNvSpPr>
            <a:spLocks noEditPoints="1"/>
          </p:cNvSpPr>
          <p:nvPr/>
        </p:nvSpPr>
        <p:spPr bwMode="auto">
          <a:xfrm>
            <a:off x="4865483" y="2600680"/>
            <a:ext cx="63484" cy="63484"/>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1"/>
                  <a:pt x="6" y="12"/>
                  <a:pt x="8" y="12"/>
                </a:cubicBezTo>
                <a:cubicBezTo>
                  <a:pt x="11" y="12"/>
                  <a:pt x="12" y="11"/>
                  <a:pt x="12" y="8"/>
                </a:cubicBezTo>
                <a:cubicBezTo>
                  <a:pt x="12" y="6"/>
                  <a:pt x="11" y="4"/>
                  <a:pt x="8"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0" name="Freeform 1397">
            <a:extLst>
              <a:ext uri="{FF2B5EF4-FFF2-40B4-BE49-F238E27FC236}">
                <a16:creationId xmlns:a16="http://schemas.microsoft.com/office/drawing/2014/main" id="{3B3686CA-0FCF-4BC6-9955-EBE7641400CE}"/>
              </a:ext>
            </a:extLst>
          </p:cNvPr>
          <p:cNvSpPr>
            <a:spLocks noEditPoints="1"/>
          </p:cNvSpPr>
          <p:nvPr/>
        </p:nvSpPr>
        <p:spPr bwMode="auto">
          <a:xfrm>
            <a:off x="3733347" y="1595512"/>
            <a:ext cx="534327" cy="529035"/>
          </a:xfrm>
          <a:custGeom>
            <a:avLst/>
            <a:gdLst>
              <a:gd name="T0" fmla="*/ 29 w 134"/>
              <a:gd name="T1" fmla="*/ 115 h 134"/>
              <a:gd name="T2" fmla="*/ 40 w 134"/>
              <a:gd name="T3" fmla="*/ 123 h 134"/>
              <a:gd name="T4" fmla="*/ 50 w 134"/>
              <a:gd name="T5" fmla="*/ 126 h 134"/>
              <a:gd name="T6" fmla="*/ 63 w 134"/>
              <a:gd name="T7" fmla="*/ 129 h 134"/>
              <a:gd name="T8" fmla="*/ 74 w 134"/>
              <a:gd name="T9" fmla="*/ 128 h 134"/>
              <a:gd name="T10" fmla="*/ 88 w 134"/>
              <a:gd name="T11" fmla="*/ 125 h 134"/>
              <a:gd name="T12" fmla="*/ 97 w 134"/>
              <a:gd name="T13" fmla="*/ 121 h 134"/>
              <a:gd name="T14" fmla="*/ 106 w 134"/>
              <a:gd name="T15" fmla="*/ 114 h 134"/>
              <a:gd name="T16" fmla="*/ 114 w 134"/>
              <a:gd name="T17" fmla="*/ 107 h 134"/>
              <a:gd name="T18" fmla="*/ 121 w 134"/>
              <a:gd name="T19" fmla="*/ 96 h 134"/>
              <a:gd name="T20" fmla="*/ 126 w 134"/>
              <a:gd name="T21" fmla="*/ 85 h 134"/>
              <a:gd name="T22" fmla="*/ 128 w 134"/>
              <a:gd name="T23" fmla="*/ 72 h 134"/>
              <a:gd name="T24" fmla="*/ 128 w 134"/>
              <a:gd name="T25" fmla="*/ 61 h 134"/>
              <a:gd name="T26" fmla="*/ 125 w 134"/>
              <a:gd name="T27" fmla="*/ 48 h 134"/>
              <a:gd name="T28" fmla="*/ 121 w 134"/>
              <a:gd name="T29" fmla="*/ 38 h 134"/>
              <a:gd name="T30" fmla="*/ 114 w 134"/>
              <a:gd name="T31" fmla="*/ 27 h 134"/>
              <a:gd name="T32" fmla="*/ 106 w 134"/>
              <a:gd name="T33" fmla="*/ 19 h 134"/>
              <a:gd name="T34" fmla="*/ 94 w 134"/>
              <a:gd name="T35" fmla="*/ 12 h 134"/>
              <a:gd name="T36" fmla="*/ 84 w 134"/>
              <a:gd name="T37" fmla="*/ 8 h 134"/>
              <a:gd name="T38" fmla="*/ 71 w 134"/>
              <a:gd name="T39" fmla="*/ 6 h 134"/>
              <a:gd name="T40" fmla="*/ 60 w 134"/>
              <a:gd name="T41" fmla="*/ 6 h 134"/>
              <a:gd name="T42" fmla="*/ 47 w 134"/>
              <a:gd name="T43" fmla="*/ 9 h 134"/>
              <a:gd name="T44" fmla="*/ 37 w 134"/>
              <a:gd name="T45" fmla="*/ 13 h 134"/>
              <a:gd name="T46" fmla="*/ 27 w 134"/>
              <a:gd name="T47" fmla="*/ 20 h 134"/>
              <a:gd name="T48" fmla="*/ 19 w 134"/>
              <a:gd name="T49" fmla="*/ 28 h 134"/>
              <a:gd name="T50" fmla="*/ 12 w 134"/>
              <a:gd name="T51" fmla="*/ 39 h 134"/>
              <a:gd name="T52" fmla="*/ 8 w 134"/>
              <a:gd name="T53" fmla="*/ 49 h 134"/>
              <a:gd name="T54" fmla="*/ 5 w 134"/>
              <a:gd name="T55" fmla="*/ 63 h 134"/>
              <a:gd name="T56" fmla="*/ 6 w 134"/>
              <a:gd name="T57" fmla="*/ 74 h 134"/>
              <a:gd name="T58" fmla="*/ 8 w 134"/>
              <a:gd name="T59" fmla="*/ 87 h 134"/>
              <a:gd name="T60" fmla="*/ 13 w 134"/>
              <a:gd name="T61" fmla="*/ 97 h 134"/>
              <a:gd name="T62" fmla="*/ 20 w 134"/>
              <a:gd name="T63" fmla="*/ 108 h 134"/>
              <a:gd name="T64" fmla="*/ 38 w 134"/>
              <a:gd name="T65" fmla="*/ 96 h 134"/>
              <a:gd name="T66" fmla="*/ 96 w 134"/>
              <a:gd name="T67" fmla="*/ 38 h 134"/>
              <a:gd name="T68" fmla="*/ 38 w 134"/>
              <a:gd name="T69" fmla="*/ 9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4">
                <a:moveTo>
                  <a:pt x="21" y="115"/>
                </a:moveTo>
                <a:cubicBezTo>
                  <a:pt x="22" y="117"/>
                  <a:pt x="24" y="119"/>
                  <a:pt x="29" y="115"/>
                </a:cubicBezTo>
                <a:cubicBezTo>
                  <a:pt x="32" y="113"/>
                  <a:pt x="36" y="111"/>
                  <a:pt x="39" y="111"/>
                </a:cubicBezTo>
                <a:cubicBezTo>
                  <a:pt x="40" y="112"/>
                  <a:pt x="41" y="118"/>
                  <a:pt x="40" y="123"/>
                </a:cubicBezTo>
                <a:cubicBezTo>
                  <a:pt x="39" y="128"/>
                  <a:pt x="41" y="129"/>
                  <a:pt x="43" y="130"/>
                </a:cubicBezTo>
                <a:cubicBezTo>
                  <a:pt x="45" y="130"/>
                  <a:pt x="48" y="132"/>
                  <a:pt x="50" y="126"/>
                </a:cubicBezTo>
                <a:cubicBezTo>
                  <a:pt x="52" y="123"/>
                  <a:pt x="55" y="119"/>
                  <a:pt x="58" y="118"/>
                </a:cubicBezTo>
                <a:cubicBezTo>
                  <a:pt x="60" y="119"/>
                  <a:pt x="62" y="124"/>
                  <a:pt x="63" y="129"/>
                </a:cubicBezTo>
                <a:cubicBezTo>
                  <a:pt x="64" y="134"/>
                  <a:pt x="67" y="134"/>
                  <a:pt x="69" y="134"/>
                </a:cubicBezTo>
                <a:cubicBezTo>
                  <a:pt x="71" y="134"/>
                  <a:pt x="74" y="134"/>
                  <a:pt x="74" y="128"/>
                </a:cubicBezTo>
                <a:cubicBezTo>
                  <a:pt x="75" y="124"/>
                  <a:pt x="76" y="120"/>
                  <a:pt x="78" y="118"/>
                </a:cubicBezTo>
                <a:cubicBezTo>
                  <a:pt x="81" y="118"/>
                  <a:pt x="85" y="122"/>
                  <a:pt x="88" y="125"/>
                </a:cubicBezTo>
                <a:cubicBezTo>
                  <a:pt x="91" y="130"/>
                  <a:pt x="93" y="129"/>
                  <a:pt x="95" y="128"/>
                </a:cubicBezTo>
                <a:cubicBezTo>
                  <a:pt x="97" y="127"/>
                  <a:pt x="99" y="126"/>
                  <a:pt x="97" y="121"/>
                </a:cubicBezTo>
                <a:cubicBezTo>
                  <a:pt x="96" y="117"/>
                  <a:pt x="96" y="113"/>
                  <a:pt x="97" y="110"/>
                </a:cubicBezTo>
                <a:cubicBezTo>
                  <a:pt x="99" y="110"/>
                  <a:pt x="103" y="112"/>
                  <a:pt x="106" y="114"/>
                </a:cubicBezTo>
                <a:cubicBezTo>
                  <a:pt x="111" y="118"/>
                  <a:pt x="112" y="116"/>
                  <a:pt x="114" y="114"/>
                </a:cubicBezTo>
                <a:cubicBezTo>
                  <a:pt x="115" y="113"/>
                  <a:pt x="118" y="111"/>
                  <a:pt x="114" y="107"/>
                </a:cubicBezTo>
                <a:cubicBezTo>
                  <a:pt x="112" y="103"/>
                  <a:pt x="109" y="98"/>
                  <a:pt x="110" y="95"/>
                </a:cubicBezTo>
                <a:cubicBezTo>
                  <a:pt x="113" y="94"/>
                  <a:pt x="118" y="95"/>
                  <a:pt x="121" y="96"/>
                </a:cubicBezTo>
                <a:cubicBezTo>
                  <a:pt x="127" y="97"/>
                  <a:pt x="128" y="95"/>
                  <a:pt x="129" y="93"/>
                </a:cubicBezTo>
                <a:cubicBezTo>
                  <a:pt x="129" y="91"/>
                  <a:pt x="131" y="88"/>
                  <a:pt x="126" y="85"/>
                </a:cubicBezTo>
                <a:cubicBezTo>
                  <a:pt x="122" y="83"/>
                  <a:pt x="118" y="79"/>
                  <a:pt x="118" y="76"/>
                </a:cubicBezTo>
                <a:cubicBezTo>
                  <a:pt x="120" y="75"/>
                  <a:pt x="124" y="73"/>
                  <a:pt x="128" y="72"/>
                </a:cubicBezTo>
                <a:cubicBezTo>
                  <a:pt x="134" y="72"/>
                  <a:pt x="134" y="69"/>
                  <a:pt x="134" y="67"/>
                </a:cubicBezTo>
                <a:cubicBezTo>
                  <a:pt x="134" y="65"/>
                  <a:pt x="134" y="62"/>
                  <a:pt x="128" y="61"/>
                </a:cubicBezTo>
                <a:cubicBezTo>
                  <a:pt x="124" y="60"/>
                  <a:pt x="118" y="58"/>
                  <a:pt x="118" y="56"/>
                </a:cubicBezTo>
                <a:cubicBezTo>
                  <a:pt x="119" y="53"/>
                  <a:pt x="122" y="50"/>
                  <a:pt x="125" y="48"/>
                </a:cubicBezTo>
                <a:cubicBezTo>
                  <a:pt x="130" y="45"/>
                  <a:pt x="129" y="43"/>
                  <a:pt x="128" y="41"/>
                </a:cubicBezTo>
                <a:cubicBezTo>
                  <a:pt x="128" y="39"/>
                  <a:pt x="127" y="36"/>
                  <a:pt x="121" y="38"/>
                </a:cubicBezTo>
                <a:cubicBezTo>
                  <a:pt x="117" y="39"/>
                  <a:pt x="111" y="39"/>
                  <a:pt x="109" y="37"/>
                </a:cubicBezTo>
                <a:cubicBezTo>
                  <a:pt x="109" y="35"/>
                  <a:pt x="111" y="30"/>
                  <a:pt x="114" y="27"/>
                </a:cubicBezTo>
                <a:cubicBezTo>
                  <a:pt x="117" y="22"/>
                  <a:pt x="115" y="21"/>
                  <a:pt x="113" y="19"/>
                </a:cubicBezTo>
                <a:cubicBezTo>
                  <a:pt x="112" y="18"/>
                  <a:pt x="110" y="16"/>
                  <a:pt x="106" y="19"/>
                </a:cubicBezTo>
                <a:cubicBezTo>
                  <a:pt x="102" y="22"/>
                  <a:pt x="97" y="24"/>
                  <a:pt x="94" y="23"/>
                </a:cubicBezTo>
                <a:cubicBezTo>
                  <a:pt x="93" y="21"/>
                  <a:pt x="93" y="16"/>
                  <a:pt x="94" y="12"/>
                </a:cubicBezTo>
                <a:cubicBezTo>
                  <a:pt x="96" y="6"/>
                  <a:pt x="93" y="6"/>
                  <a:pt x="91" y="5"/>
                </a:cubicBezTo>
                <a:cubicBezTo>
                  <a:pt x="89" y="4"/>
                  <a:pt x="87" y="3"/>
                  <a:pt x="84" y="8"/>
                </a:cubicBezTo>
                <a:cubicBezTo>
                  <a:pt x="82" y="12"/>
                  <a:pt x="78" y="16"/>
                  <a:pt x="75" y="16"/>
                </a:cubicBezTo>
                <a:cubicBezTo>
                  <a:pt x="73" y="14"/>
                  <a:pt x="72" y="10"/>
                  <a:pt x="71" y="6"/>
                </a:cubicBezTo>
                <a:cubicBezTo>
                  <a:pt x="70" y="0"/>
                  <a:pt x="67" y="0"/>
                  <a:pt x="65" y="0"/>
                </a:cubicBezTo>
                <a:cubicBezTo>
                  <a:pt x="63" y="0"/>
                  <a:pt x="61" y="0"/>
                  <a:pt x="60" y="6"/>
                </a:cubicBezTo>
                <a:cubicBezTo>
                  <a:pt x="59" y="10"/>
                  <a:pt x="57" y="16"/>
                  <a:pt x="55" y="16"/>
                </a:cubicBezTo>
                <a:cubicBezTo>
                  <a:pt x="52" y="16"/>
                  <a:pt x="49" y="12"/>
                  <a:pt x="47" y="9"/>
                </a:cubicBezTo>
                <a:cubicBezTo>
                  <a:pt x="44" y="4"/>
                  <a:pt x="42" y="5"/>
                  <a:pt x="40" y="6"/>
                </a:cubicBezTo>
                <a:cubicBezTo>
                  <a:pt x="38" y="7"/>
                  <a:pt x="35" y="8"/>
                  <a:pt x="37" y="13"/>
                </a:cubicBezTo>
                <a:cubicBezTo>
                  <a:pt x="38" y="17"/>
                  <a:pt x="38" y="21"/>
                  <a:pt x="37" y="24"/>
                </a:cubicBezTo>
                <a:cubicBezTo>
                  <a:pt x="34" y="24"/>
                  <a:pt x="30" y="22"/>
                  <a:pt x="27" y="20"/>
                </a:cubicBezTo>
                <a:cubicBezTo>
                  <a:pt x="22" y="17"/>
                  <a:pt x="21" y="19"/>
                  <a:pt x="19" y="20"/>
                </a:cubicBezTo>
                <a:cubicBezTo>
                  <a:pt x="18" y="22"/>
                  <a:pt x="16" y="23"/>
                  <a:pt x="19" y="28"/>
                </a:cubicBezTo>
                <a:cubicBezTo>
                  <a:pt x="22" y="31"/>
                  <a:pt x="24" y="36"/>
                  <a:pt x="24" y="38"/>
                </a:cubicBezTo>
                <a:cubicBezTo>
                  <a:pt x="22" y="40"/>
                  <a:pt x="16" y="40"/>
                  <a:pt x="12" y="39"/>
                </a:cubicBezTo>
                <a:cubicBezTo>
                  <a:pt x="6" y="38"/>
                  <a:pt x="6" y="40"/>
                  <a:pt x="5" y="42"/>
                </a:cubicBezTo>
                <a:cubicBezTo>
                  <a:pt x="4" y="44"/>
                  <a:pt x="3" y="47"/>
                  <a:pt x="8" y="49"/>
                </a:cubicBezTo>
                <a:cubicBezTo>
                  <a:pt x="11" y="51"/>
                  <a:pt x="15" y="55"/>
                  <a:pt x="16" y="57"/>
                </a:cubicBezTo>
                <a:cubicBezTo>
                  <a:pt x="15" y="59"/>
                  <a:pt x="10" y="62"/>
                  <a:pt x="5" y="63"/>
                </a:cubicBezTo>
                <a:cubicBezTo>
                  <a:pt x="0" y="63"/>
                  <a:pt x="0" y="66"/>
                  <a:pt x="0" y="68"/>
                </a:cubicBezTo>
                <a:cubicBezTo>
                  <a:pt x="0" y="70"/>
                  <a:pt x="0" y="73"/>
                  <a:pt x="6" y="74"/>
                </a:cubicBezTo>
                <a:cubicBezTo>
                  <a:pt x="10" y="74"/>
                  <a:pt x="14" y="76"/>
                  <a:pt x="16" y="78"/>
                </a:cubicBezTo>
                <a:cubicBezTo>
                  <a:pt x="16" y="80"/>
                  <a:pt x="12" y="84"/>
                  <a:pt x="8" y="87"/>
                </a:cubicBezTo>
                <a:cubicBezTo>
                  <a:pt x="3" y="90"/>
                  <a:pt x="5" y="92"/>
                  <a:pt x="6" y="94"/>
                </a:cubicBezTo>
                <a:cubicBezTo>
                  <a:pt x="7" y="96"/>
                  <a:pt x="7" y="98"/>
                  <a:pt x="13" y="97"/>
                </a:cubicBezTo>
                <a:cubicBezTo>
                  <a:pt x="17" y="96"/>
                  <a:pt x="22" y="95"/>
                  <a:pt x="24" y="96"/>
                </a:cubicBezTo>
                <a:cubicBezTo>
                  <a:pt x="25" y="99"/>
                  <a:pt x="23" y="104"/>
                  <a:pt x="20" y="108"/>
                </a:cubicBezTo>
                <a:cubicBezTo>
                  <a:pt x="17" y="113"/>
                  <a:pt x="19" y="114"/>
                  <a:pt x="21" y="115"/>
                </a:cubicBezTo>
                <a:close/>
                <a:moveTo>
                  <a:pt x="38" y="96"/>
                </a:moveTo>
                <a:cubicBezTo>
                  <a:pt x="21" y="80"/>
                  <a:pt x="21" y="54"/>
                  <a:pt x="38" y="38"/>
                </a:cubicBezTo>
                <a:cubicBezTo>
                  <a:pt x="54" y="22"/>
                  <a:pt x="80" y="22"/>
                  <a:pt x="96" y="38"/>
                </a:cubicBezTo>
                <a:cubicBezTo>
                  <a:pt x="112" y="54"/>
                  <a:pt x="112" y="80"/>
                  <a:pt x="96" y="96"/>
                </a:cubicBezTo>
                <a:cubicBezTo>
                  <a:pt x="80" y="112"/>
                  <a:pt x="54" y="113"/>
                  <a:pt x="38" y="9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6" name="Freeform 1403">
            <a:extLst>
              <a:ext uri="{FF2B5EF4-FFF2-40B4-BE49-F238E27FC236}">
                <a16:creationId xmlns:a16="http://schemas.microsoft.com/office/drawing/2014/main" id="{05F4D306-BA53-4058-AB23-57DF3C05E222}"/>
              </a:ext>
            </a:extLst>
          </p:cNvPr>
          <p:cNvSpPr>
            <a:spLocks noEditPoints="1"/>
          </p:cNvSpPr>
          <p:nvPr/>
        </p:nvSpPr>
        <p:spPr bwMode="auto">
          <a:xfrm>
            <a:off x="2902763" y="125879"/>
            <a:ext cx="132261" cy="761811"/>
          </a:xfrm>
          <a:custGeom>
            <a:avLst/>
            <a:gdLst>
              <a:gd name="T0" fmla="*/ 11 w 25"/>
              <a:gd name="T1" fmla="*/ 26 h 144"/>
              <a:gd name="T2" fmla="*/ 14 w 25"/>
              <a:gd name="T3" fmla="*/ 31 h 144"/>
              <a:gd name="T4" fmla="*/ 14 w 25"/>
              <a:gd name="T5" fmla="*/ 40 h 144"/>
              <a:gd name="T6" fmla="*/ 11 w 25"/>
              <a:gd name="T7" fmla="*/ 35 h 144"/>
              <a:gd name="T8" fmla="*/ 14 w 25"/>
              <a:gd name="T9" fmla="*/ 40 h 144"/>
              <a:gd name="T10" fmla="*/ 14 w 25"/>
              <a:gd name="T11" fmla="*/ 44 h 144"/>
              <a:gd name="T12" fmla="*/ 11 w 25"/>
              <a:gd name="T13" fmla="*/ 49 h 144"/>
              <a:gd name="T14" fmla="*/ 14 w 25"/>
              <a:gd name="T15" fmla="*/ 57 h 144"/>
              <a:gd name="T16" fmla="*/ 11 w 25"/>
              <a:gd name="T17" fmla="*/ 53 h 144"/>
              <a:gd name="T18" fmla="*/ 14 w 25"/>
              <a:gd name="T19" fmla="*/ 57 h 144"/>
              <a:gd name="T20" fmla="*/ 14 w 25"/>
              <a:gd name="T21" fmla="*/ 62 h 144"/>
              <a:gd name="T22" fmla="*/ 11 w 25"/>
              <a:gd name="T23" fmla="*/ 66 h 144"/>
              <a:gd name="T24" fmla="*/ 14 w 25"/>
              <a:gd name="T25" fmla="*/ 74 h 144"/>
              <a:gd name="T26" fmla="*/ 11 w 25"/>
              <a:gd name="T27" fmla="*/ 71 h 144"/>
              <a:gd name="T28" fmla="*/ 14 w 25"/>
              <a:gd name="T29" fmla="*/ 74 h 144"/>
              <a:gd name="T30" fmla="*/ 14 w 25"/>
              <a:gd name="T31" fmla="*/ 79 h 144"/>
              <a:gd name="T32" fmla="*/ 11 w 25"/>
              <a:gd name="T33" fmla="*/ 83 h 144"/>
              <a:gd name="T34" fmla="*/ 14 w 25"/>
              <a:gd name="T35" fmla="*/ 92 h 144"/>
              <a:gd name="T36" fmla="*/ 11 w 25"/>
              <a:gd name="T37" fmla="*/ 88 h 144"/>
              <a:gd name="T38" fmla="*/ 14 w 25"/>
              <a:gd name="T39" fmla="*/ 92 h 144"/>
              <a:gd name="T40" fmla="*/ 14 w 25"/>
              <a:gd name="T41" fmla="*/ 96 h 144"/>
              <a:gd name="T42" fmla="*/ 11 w 25"/>
              <a:gd name="T43" fmla="*/ 100 h 144"/>
              <a:gd name="T44" fmla="*/ 14 w 25"/>
              <a:gd name="T45" fmla="*/ 109 h 144"/>
              <a:gd name="T46" fmla="*/ 11 w 25"/>
              <a:gd name="T47" fmla="*/ 105 h 144"/>
              <a:gd name="T48" fmla="*/ 14 w 25"/>
              <a:gd name="T49" fmla="*/ 109 h 144"/>
              <a:gd name="T50" fmla="*/ 14 w 25"/>
              <a:gd name="T51" fmla="*/ 114 h 144"/>
              <a:gd name="T52" fmla="*/ 11 w 25"/>
              <a:gd name="T53" fmla="*/ 118 h 144"/>
              <a:gd name="T54" fmla="*/ 14 w 25"/>
              <a:gd name="T55" fmla="*/ 127 h 144"/>
              <a:gd name="T56" fmla="*/ 11 w 25"/>
              <a:gd name="T57" fmla="*/ 122 h 144"/>
              <a:gd name="T58" fmla="*/ 14 w 25"/>
              <a:gd name="T59" fmla="*/ 127 h 144"/>
              <a:gd name="T60" fmla="*/ 14 w 25"/>
              <a:gd name="T61" fmla="*/ 131 h 144"/>
              <a:gd name="T62" fmla="*/ 11 w 25"/>
              <a:gd name="T63" fmla="*/ 136 h 144"/>
              <a:gd name="T64" fmla="*/ 14 w 25"/>
              <a:gd name="T65" fmla="*/ 144 h 144"/>
              <a:gd name="T66" fmla="*/ 11 w 25"/>
              <a:gd name="T67" fmla="*/ 140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6"/>
                </a:lnTo>
                <a:lnTo>
                  <a:pt x="14" y="26"/>
                </a:lnTo>
                <a:lnTo>
                  <a:pt x="14" y="31"/>
                </a:lnTo>
                <a:lnTo>
                  <a:pt x="11" y="31"/>
                </a:lnTo>
                <a:close/>
                <a:moveTo>
                  <a:pt x="14" y="40"/>
                </a:moveTo>
                <a:lnTo>
                  <a:pt x="14" y="35"/>
                </a:lnTo>
                <a:lnTo>
                  <a:pt x="11" y="35"/>
                </a:lnTo>
                <a:lnTo>
                  <a:pt x="11" y="40"/>
                </a:lnTo>
                <a:lnTo>
                  <a:pt x="14" y="40"/>
                </a:lnTo>
                <a:close/>
                <a:moveTo>
                  <a:pt x="14" y="49"/>
                </a:moveTo>
                <a:lnTo>
                  <a:pt x="14" y="44"/>
                </a:lnTo>
                <a:lnTo>
                  <a:pt x="11" y="44"/>
                </a:lnTo>
                <a:lnTo>
                  <a:pt x="11" y="49"/>
                </a:lnTo>
                <a:lnTo>
                  <a:pt x="14" y="49"/>
                </a:lnTo>
                <a:close/>
                <a:moveTo>
                  <a:pt x="14" y="57"/>
                </a:moveTo>
                <a:lnTo>
                  <a:pt x="14" y="53"/>
                </a:lnTo>
                <a:lnTo>
                  <a:pt x="11" y="53"/>
                </a:lnTo>
                <a:lnTo>
                  <a:pt x="11" y="57"/>
                </a:lnTo>
                <a:lnTo>
                  <a:pt x="14" y="57"/>
                </a:lnTo>
                <a:close/>
                <a:moveTo>
                  <a:pt x="14" y="66"/>
                </a:moveTo>
                <a:lnTo>
                  <a:pt x="14" y="62"/>
                </a:lnTo>
                <a:lnTo>
                  <a:pt x="11" y="62"/>
                </a:lnTo>
                <a:lnTo>
                  <a:pt x="11" y="66"/>
                </a:lnTo>
                <a:lnTo>
                  <a:pt x="14" y="66"/>
                </a:lnTo>
                <a:close/>
                <a:moveTo>
                  <a:pt x="14" y="74"/>
                </a:moveTo>
                <a:lnTo>
                  <a:pt x="14" y="71"/>
                </a:lnTo>
                <a:lnTo>
                  <a:pt x="11" y="71"/>
                </a:lnTo>
                <a:lnTo>
                  <a:pt x="11" y="74"/>
                </a:lnTo>
                <a:lnTo>
                  <a:pt x="14" y="74"/>
                </a:lnTo>
                <a:close/>
                <a:moveTo>
                  <a:pt x="14" y="83"/>
                </a:moveTo>
                <a:lnTo>
                  <a:pt x="14" y="79"/>
                </a:lnTo>
                <a:lnTo>
                  <a:pt x="11" y="79"/>
                </a:lnTo>
                <a:lnTo>
                  <a:pt x="11" y="83"/>
                </a:lnTo>
                <a:lnTo>
                  <a:pt x="14" y="83"/>
                </a:lnTo>
                <a:close/>
                <a:moveTo>
                  <a:pt x="14" y="92"/>
                </a:moveTo>
                <a:lnTo>
                  <a:pt x="14" y="88"/>
                </a:lnTo>
                <a:lnTo>
                  <a:pt x="11" y="88"/>
                </a:lnTo>
                <a:lnTo>
                  <a:pt x="11" y="92"/>
                </a:lnTo>
                <a:lnTo>
                  <a:pt x="14" y="92"/>
                </a:lnTo>
                <a:close/>
                <a:moveTo>
                  <a:pt x="14" y="100"/>
                </a:moveTo>
                <a:lnTo>
                  <a:pt x="14" y="96"/>
                </a:lnTo>
                <a:lnTo>
                  <a:pt x="11" y="96"/>
                </a:lnTo>
                <a:lnTo>
                  <a:pt x="11" y="100"/>
                </a:lnTo>
                <a:lnTo>
                  <a:pt x="14" y="100"/>
                </a:lnTo>
                <a:close/>
                <a:moveTo>
                  <a:pt x="14" y="109"/>
                </a:moveTo>
                <a:lnTo>
                  <a:pt x="14" y="105"/>
                </a:lnTo>
                <a:lnTo>
                  <a:pt x="11" y="105"/>
                </a:lnTo>
                <a:lnTo>
                  <a:pt x="11" y="109"/>
                </a:lnTo>
                <a:lnTo>
                  <a:pt x="14" y="109"/>
                </a:lnTo>
                <a:close/>
                <a:moveTo>
                  <a:pt x="14" y="118"/>
                </a:moveTo>
                <a:lnTo>
                  <a:pt x="14" y="114"/>
                </a:lnTo>
                <a:lnTo>
                  <a:pt x="11" y="114"/>
                </a:lnTo>
                <a:lnTo>
                  <a:pt x="11" y="118"/>
                </a:lnTo>
                <a:lnTo>
                  <a:pt x="14" y="118"/>
                </a:lnTo>
                <a:close/>
                <a:moveTo>
                  <a:pt x="14" y="127"/>
                </a:moveTo>
                <a:lnTo>
                  <a:pt x="14" y="122"/>
                </a:lnTo>
                <a:lnTo>
                  <a:pt x="11" y="122"/>
                </a:lnTo>
                <a:lnTo>
                  <a:pt x="11" y="127"/>
                </a:lnTo>
                <a:lnTo>
                  <a:pt x="14" y="127"/>
                </a:lnTo>
                <a:close/>
                <a:moveTo>
                  <a:pt x="14" y="136"/>
                </a:moveTo>
                <a:lnTo>
                  <a:pt x="14" y="131"/>
                </a:lnTo>
                <a:lnTo>
                  <a:pt x="11" y="131"/>
                </a:lnTo>
                <a:lnTo>
                  <a:pt x="11" y="136"/>
                </a:lnTo>
                <a:lnTo>
                  <a:pt x="14" y="136"/>
                </a:lnTo>
                <a:close/>
                <a:moveTo>
                  <a:pt x="14" y="144"/>
                </a:moveTo>
                <a:lnTo>
                  <a:pt x="14" y="140"/>
                </a:lnTo>
                <a:lnTo>
                  <a:pt x="11" y="140"/>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5" name="Freeform 1413">
            <a:extLst>
              <a:ext uri="{FF2B5EF4-FFF2-40B4-BE49-F238E27FC236}">
                <a16:creationId xmlns:a16="http://schemas.microsoft.com/office/drawing/2014/main" id="{AAA2778F-8D2F-40EB-9A65-D9E22697F2DD}"/>
              </a:ext>
            </a:extLst>
          </p:cNvPr>
          <p:cNvSpPr>
            <a:spLocks noEditPoints="1"/>
          </p:cNvSpPr>
          <p:nvPr/>
        </p:nvSpPr>
        <p:spPr bwMode="auto">
          <a:xfrm>
            <a:off x="4246514" y="373442"/>
            <a:ext cx="132261" cy="142841"/>
          </a:xfrm>
          <a:custGeom>
            <a:avLst/>
            <a:gdLst>
              <a:gd name="T0" fmla="*/ 25 w 34"/>
              <a:gd name="T1" fmla="*/ 36 h 36"/>
              <a:gd name="T2" fmla="*/ 24 w 34"/>
              <a:gd name="T3" fmla="*/ 36 h 36"/>
              <a:gd name="T4" fmla="*/ 24 w 34"/>
              <a:gd name="T5" fmla="*/ 36 h 36"/>
              <a:gd name="T6" fmla="*/ 0 w 34"/>
              <a:gd name="T7" fmla="*/ 5 h 36"/>
              <a:gd name="T8" fmla="*/ 0 w 34"/>
              <a:gd name="T9" fmla="*/ 4 h 36"/>
              <a:gd name="T10" fmla="*/ 1 w 34"/>
              <a:gd name="T11" fmla="*/ 3 h 36"/>
              <a:gd name="T12" fmla="*/ 11 w 34"/>
              <a:gd name="T13" fmla="*/ 0 h 36"/>
              <a:gd name="T14" fmla="*/ 27 w 34"/>
              <a:gd name="T15" fmla="*/ 8 h 36"/>
              <a:gd name="T16" fmla="*/ 25 w 34"/>
              <a:gd name="T17" fmla="*/ 36 h 36"/>
              <a:gd name="T18" fmla="*/ 3 w 34"/>
              <a:gd name="T19" fmla="*/ 4 h 36"/>
              <a:gd name="T20" fmla="*/ 25 w 34"/>
              <a:gd name="T21" fmla="*/ 33 h 36"/>
              <a:gd name="T22" fmla="*/ 25 w 34"/>
              <a:gd name="T23" fmla="*/ 9 h 36"/>
              <a:gd name="T24" fmla="*/ 11 w 34"/>
              <a:gd name="T25" fmla="*/ 3 h 36"/>
              <a:gd name="T26" fmla="*/ 3 w 34"/>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5" y="36"/>
                </a:moveTo>
                <a:cubicBezTo>
                  <a:pt x="24" y="36"/>
                  <a:pt x="24" y="36"/>
                  <a:pt x="24" y="36"/>
                </a:cubicBezTo>
                <a:cubicBezTo>
                  <a:pt x="24" y="36"/>
                  <a:pt x="24" y="36"/>
                  <a:pt x="24" y="36"/>
                </a:cubicBezTo>
                <a:cubicBezTo>
                  <a:pt x="0" y="5"/>
                  <a:pt x="0" y="5"/>
                  <a:pt x="0" y="5"/>
                </a:cubicBezTo>
                <a:cubicBezTo>
                  <a:pt x="0" y="4"/>
                  <a:pt x="0" y="4"/>
                  <a:pt x="0" y="4"/>
                </a:cubicBezTo>
                <a:cubicBezTo>
                  <a:pt x="1" y="3"/>
                  <a:pt x="1" y="3"/>
                  <a:pt x="1" y="3"/>
                </a:cubicBezTo>
                <a:cubicBezTo>
                  <a:pt x="4" y="1"/>
                  <a:pt x="8" y="0"/>
                  <a:pt x="11" y="0"/>
                </a:cubicBezTo>
                <a:cubicBezTo>
                  <a:pt x="17" y="0"/>
                  <a:pt x="23" y="3"/>
                  <a:pt x="27" y="8"/>
                </a:cubicBezTo>
                <a:cubicBezTo>
                  <a:pt x="34" y="16"/>
                  <a:pt x="33" y="29"/>
                  <a:pt x="25" y="36"/>
                </a:cubicBezTo>
                <a:close/>
                <a:moveTo>
                  <a:pt x="3" y="4"/>
                </a:moveTo>
                <a:cubicBezTo>
                  <a:pt x="25" y="33"/>
                  <a:pt x="25" y="33"/>
                  <a:pt x="25" y="33"/>
                </a:cubicBezTo>
                <a:cubicBezTo>
                  <a:pt x="31" y="27"/>
                  <a:pt x="31" y="16"/>
                  <a:pt x="25" y="9"/>
                </a:cubicBezTo>
                <a:cubicBezTo>
                  <a:pt x="22" y="5"/>
                  <a:pt x="17" y="3"/>
                  <a:pt x="11" y="3"/>
                </a:cubicBezTo>
                <a:cubicBezTo>
                  <a:pt x="8" y="3"/>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6" name="Freeform 1414">
            <a:extLst>
              <a:ext uri="{FF2B5EF4-FFF2-40B4-BE49-F238E27FC236}">
                <a16:creationId xmlns:a16="http://schemas.microsoft.com/office/drawing/2014/main" id="{CB240A57-9E24-42E5-856A-9694CDE0FFC5}"/>
              </a:ext>
            </a:extLst>
          </p:cNvPr>
          <p:cNvSpPr>
            <a:spLocks noEditPoints="1"/>
          </p:cNvSpPr>
          <p:nvPr/>
        </p:nvSpPr>
        <p:spPr bwMode="auto">
          <a:xfrm>
            <a:off x="4198899" y="389311"/>
            <a:ext cx="132261" cy="148130"/>
          </a:xfrm>
          <a:custGeom>
            <a:avLst/>
            <a:gdLst>
              <a:gd name="T0" fmla="*/ 23 w 34"/>
              <a:gd name="T1" fmla="*/ 37 h 37"/>
              <a:gd name="T2" fmla="*/ 7 w 34"/>
              <a:gd name="T3" fmla="*/ 29 h 37"/>
              <a:gd name="T4" fmla="*/ 9 w 34"/>
              <a:gd name="T5" fmla="*/ 1 h 37"/>
              <a:gd name="T6" fmla="*/ 10 w 34"/>
              <a:gd name="T7" fmla="*/ 0 h 37"/>
              <a:gd name="T8" fmla="*/ 11 w 34"/>
              <a:gd name="T9" fmla="*/ 1 h 37"/>
              <a:gd name="T10" fmla="*/ 34 w 34"/>
              <a:gd name="T11" fmla="*/ 32 h 37"/>
              <a:gd name="T12" fmla="*/ 34 w 34"/>
              <a:gd name="T13" fmla="*/ 33 h 37"/>
              <a:gd name="T14" fmla="*/ 34 w 34"/>
              <a:gd name="T15" fmla="*/ 34 h 37"/>
              <a:gd name="T16" fmla="*/ 23 w 34"/>
              <a:gd name="T17" fmla="*/ 37 h 37"/>
              <a:gd name="T18" fmla="*/ 10 w 34"/>
              <a:gd name="T19" fmla="*/ 4 h 37"/>
              <a:gd name="T20" fmla="*/ 9 w 34"/>
              <a:gd name="T21" fmla="*/ 28 h 37"/>
              <a:gd name="T22" fmla="*/ 23 w 34"/>
              <a:gd name="T23" fmla="*/ 34 h 37"/>
              <a:gd name="T24" fmla="*/ 31 w 34"/>
              <a:gd name="T25" fmla="*/ 32 h 37"/>
              <a:gd name="T26" fmla="*/ 10 w 34"/>
              <a:gd name="T27"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7"/>
                </a:moveTo>
                <a:cubicBezTo>
                  <a:pt x="17" y="37"/>
                  <a:pt x="11" y="34"/>
                  <a:pt x="7" y="29"/>
                </a:cubicBezTo>
                <a:cubicBezTo>
                  <a:pt x="0" y="21"/>
                  <a:pt x="1" y="8"/>
                  <a:pt x="9" y="1"/>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6"/>
                  <a:pt x="27" y="37"/>
                  <a:pt x="23" y="37"/>
                </a:cubicBezTo>
                <a:close/>
                <a:moveTo>
                  <a:pt x="10" y="4"/>
                </a:moveTo>
                <a:cubicBezTo>
                  <a:pt x="4" y="10"/>
                  <a:pt x="3" y="20"/>
                  <a:pt x="9" y="28"/>
                </a:cubicBezTo>
                <a:cubicBezTo>
                  <a:pt x="13" y="32"/>
                  <a:pt x="18" y="34"/>
                  <a:pt x="23" y="34"/>
                </a:cubicBezTo>
                <a:cubicBezTo>
                  <a:pt x="26" y="34"/>
                  <a:pt x="29" y="34"/>
                  <a:pt x="31" y="32"/>
                </a:cubicBezTo>
                <a:lnTo>
                  <a:pt x="10" y="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7" name="Freeform 1416">
            <a:extLst>
              <a:ext uri="{FF2B5EF4-FFF2-40B4-BE49-F238E27FC236}">
                <a16:creationId xmlns:a16="http://schemas.microsoft.com/office/drawing/2014/main" id="{A809C719-44BB-4819-A467-0220735F0FB4}"/>
              </a:ext>
            </a:extLst>
          </p:cNvPr>
          <p:cNvSpPr>
            <a:spLocks noEditPoints="1"/>
          </p:cNvSpPr>
          <p:nvPr/>
        </p:nvSpPr>
        <p:spPr bwMode="auto">
          <a:xfrm>
            <a:off x="3812704" y="653829"/>
            <a:ext cx="745942" cy="724780"/>
          </a:xfrm>
          <a:custGeom>
            <a:avLst/>
            <a:gdLst>
              <a:gd name="T0" fmla="*/ 94 w 188"/>
              <a:gd name="T1" fmla="*/ 184 h 184"/>
              <a:gd name="T2" fmla="*/ 34 w 188"/>
              <a:gd name="T3" fmla="*/ 162 h 184"/>
              <a:gd name="T4" fmla="*/ 2 w 188"/>
              <a:gd name="T5" fmla="*/ 100 h 184"/>
              <a:gd name="T6" fmla="*/ 24 w 188"/>
              <a:gd name="T7" fmla="*/ 33 h 184"/>
              <a:gd name="T8" fmla="*/ 94 w 188"/>
              <a:gd name="T9" fmla="*/ 0 h 184"/>
              <a:gd name="T10" fmla="*/ 154 w 188"/>
              <a:gd name="T11" fmla="*/ 22 h 184"/>
              <a:gd name="T12" fmla="*/ 186 w 188"/>
              <a:gd name="T13" fmla="*/ 85 h 184"/>
              <a:gd name="T14" fmla="*/ 164 w 188"/>
              <a:gd name="T15" fmla="*/ 152 h 184"/>
              <a:gd name="T16" fmla="*/ 94 w 188"/>
              <a:gd name="T17" fmla="*/ 184 h 184"/>
              <a:gd name="T18" fmla="*/ 94 w 188"/>
              <a:gd name="T19" fmla="*/ 5 h 184"/>
              <a:gd name="T20" fmla="*/ 28 w 188"/>
              <a:gd name="T21" fmla="*/ 36 h 184"/>
              <a:gd name="T22" fmla="*/ 7 w 188"/>
              <a:gd name="T23" fmla="*/ 99 h 184"/>
              <a:gd name="T24" fmla="*/ 38 w 188"/>
              <a:gd name="T25" fmla="*/ 159 h 184"/>
              <a:gd name="T26" fmla="*/ 94 w 188"/>
              <a:gd name="T27" fmla="*/ 179 h 184"/>
              <a:gd name="T28" fmla="*/ 94 w 188"/>
              <a:gd name="T29" fmla="*/ 179 h 184"/>
              <a:gd name="T30" fmla="*/ 160 w 188"/>
              <a:gd name="T31" fmla="*/ 148 h 184"/>
              <a:gd name="T32" fmla="*/ 181 w 188"/>
              <a:gd name="T33" fmla="*/ 85 h 184"/>
              <a:gd name="T34" fmla="*/ 150 w 188"/>
              <a:gd name="T35" fmla="*/ 26 h 184"/>
              <a:gd name="T36" fmla="*/ 94 w 188"/>
              <a:gd name="T37" fmla="*/ 5 h 184"/>
              <a:gd name="T38" fmla="*/ 94 w 188"/>
              <a:gd name="T39" fmla="*/ 127 h 184"/>
              <a:gd name="T40" fmla="*/ 71 w 188"/>
              <a:gd name="T41" fmla="*/ 119 h 184"/>
              <a:gd name="T42" fmla="*/ 59 w 188"/>
              <a:gd name="T43" fmla="*/ 95 h 184"/>
              <a:gd name="T44" fmla="*/ 67 w 188"/>
              <a:gd name="T45" fmla="*/ 69 h 184"/>
              <a:gd name="T46" fmla="*/ 94 w 188"/>
              <a:gd name="T47" fmla="*/ 57 h 184"/>
              <a:gd name="T48" fmla="*/ 117 w 188"/>
              <a:gd name="T49" fmla="*/ 65 h 184"/>
              <a:gd name="T50" fmla="*/ 129 w 188"/>
              <a:gd name="T51" fmla="*/ 89 h 184"/>
              <a:gd name="T52" fmla="*/ 121 w 188"/>
              <a:gd name="T53" fmla="*/ 115 h 184"/>
              <a:gd name="T54" fmla="*/ 94 w 188"/>
              <a:gd name="T55" fmla="*/ 127 h 184"/>
              <a:gd name="T56" fmla="*/ 94 w 188"/>
              <a:gd name="T57" fmla="*/ 62 h 184"/>
              <a:gd name="T58" fmla="*/ 71 w 188"/>
              <a:gd name="T59" fmla="*/ 73 h 184"/>
              <a:gd name="T60" fmla="*/ 64 w 188"/>
              <a:gd name="T61" fmla="*/ 95 h 184"/>
              <a:gd name="T62" fmla="*/ 75 w 188"/>
              <a:gd name="T63" fmla="*/ 115 h 184"/>
              <a:gd name="T64" fmla="*/ 94 w 188"/>
              <a:gd name="T65" fmla="*/ 122 h 184"/>
              <a:gd name="T66" fmla="*/ 117 w 188"/>
              <a:gd name="T67" fmla="*/ 112 h 184"/>
              <a:gd name="T68" fmla="*/ 124 w 188"/>
              <a:gd name="T69" fmla="*/ 90 h 184"/>
              <a:gd name="T70" fmla="*/ 114 w 188"/>
              <a:gd name="T71" fmla="*/ 69 h 184"/>
              <a:gd name="T72" fmla="*/ 94 w 188"/>
              <a:gd name="T73"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84">
                <a:moveTo>
                  <a:pt x="94" y="184"/>
                </a:moveTo>
                <a:cubicBezTo>
                  <a:pt x="72" y="184"/>
                  <a:pt x="51" y="177"/>
                  <a:pt x="34" y="162"/>
                </a:cubicBezTo>
                <a:cubicBezTo>
                  <a:pt x="16" y="147"/>
                  <a:pt x="4" y="124"/>
                  <a:pt x="2" y="100"/>
                </a:cubicBezTo>
                <a:cubicBezTo>
                  <a:pt x="0" y="75"/>
                  <a:pt x="8" y="51"/>
                  <a:pt x="24" y="33"/>
                </a:cubicBezTo>
                <a:cubicBezTo>
                  <a:pt x="41" y="12"/>
                  <a:pt x="67" y="0"/>
                  <a:pt x="94" y="0"/>
                </a:cubicBezTo>
                <a:cubicBezTo>
                  <a:pt x="116" y="0"/>
                  <a:pt x="137" y="8"/>
                  <a:pt x="154" y="22"/>
                </a:cubicBezTo>
                <a:cubicBezTo>
                  <a:pt x="172" y="38"/>
                  <a:pt x="184" y="60"/>
                  <a:pt x="186" y="85"/>
                </a:cubicBezTo>
                <a:cubicBezTo>
                  <a:pt x="188" y="109"/>
                  <a:pt x="180" y="133"/>
                  <a:pt x="164" y="152"/>
                </a:cubicBezTo>
                <a:cubicBezTo>
                  <a:pt x="147" y="172"/>
                  <a:pt x="121" y="184"/>
                  <a:pt x="94" y="184"/>
                </a:cubicBezTo>
                <a:close/>
                <a:moveTo>
                  <a:pt x="94" y="5"/>
                </a:moveTo>
                <a:cubicBezTo>
                  <a:pt x="68" y="5"/>
                  <a:pt x="44" y="16"/>
                  <a:pt x="28" y="36"/>
                </a:cubicBezTo>
                <a:cubicBezTo>
                  <a:pt x="13" y="54"/>
                  <a:pt x="5" y="76"/>
                  <a:pt x="7" y="99"/>
                </a:cubicBezTo>
                <a:cubicBezTo>
                  <a:pt x="9" y="123"/>
                  <a:pt x="20" y="144"/>
                  <a:pt x="38" y="159"/>
                </a:cubicBezTo>
                <a:cubicBezTo>
                  <a:pt x="53" y="172"/>
                  <a:pt x="73" y="179"/>
                  <a:pt x="94" y="179"/>
                </a:cubicBezTo>
                <a:cubicBezTo>
                  <a:pt x="94" y="179"/>
                  <a:pt x="94" y="179"/>
                  <a:pt x="94" y="179"/>
                </a:cubicBezTo>
                <a:cubicBezTo>
                  <a:pt x="120" y="179"/>
                  <a:pt x="144" y="168"/>
                  <a:pt x="160" y="148"/>
                </a:cubicBezTo>
                <a:cubicBezTo>
                  <a:pt x="175" y="131"/>
                  <a:pt x="183" y="108"/>
                  <a:pt x="181" y="85"/>
                </a:cubicBezTo>
                <a:cubicBezTo>
                  <a:pt x="179" y="62"/>
                  <a:pt x="168" y="41"/>
                  <a:pt x="150" y="26"/>
                </a:cubicBezTo>
                <a:cubicBezTo>
                  <a:pt x="135" y="12"/>
                  <a:pt x="115" y="5"/>
                  <a:pt x="94" y="5"/>
                </a:cubicBezTo>
                <a:close/>
                <a:moveTo>
                  <a:pt x="94" y="127"/>
                </a:moveTo>
                <a:cubicBezTo>
                  <a:pt x="86" y="127"/>
                  <a:pt x="78" y="124"/>
                  <a:pt x="71" y="119"/>
                </a:cubicBezTo>
                <a:cubicBezTo>
                  <a:pt x="64" y="113"/>
                  <a:pt x="60" y="104"/>
                  <a:pt x="59" y="95"/>
                </a:cubicBezTo>
                <a:cubicBezTo>
                  <a:pt x="58" y="86"/>
                  <a:pt x="61" y="77"/>
                  <a:pt x="67" y="69"/>
                </a:cubicBezTo>
                <a:cubicBezTo>
                  <a:pt x="74" y="62"/>
                  <a:pt x="84" y="57"/>
                  <a:pt x="94" y="57"/>
                </a:cubicBezTo>
                <a:cubicBezTo>
                  <a:pt x="102" y="57"/>
                  <a:pt x="110" y="60"/>
                  <a:pt x="117" y="65"/>
                </a:cubicBezTo>
                <a:cubicBezTo>
                  <a:pt x="124" y="71"/>
                  <a:pt x="128" y="80"/>
                  <a:pt x="129" y="89"/>
                </a:cubicBezTo>
                <a:cubicBezTo>
                  <a:pt x="130" y="99"/>
                  <a:pt x="127" y="108"/>
                  <a:pt x="121" y="115"/>
                </a:cubicBezTo>
                <a:cubicBezTo>
                  <a:pt x="114" y="123"/>
                  <a:pt x="104" y="127"/>
                  <a:pt x="94" y="127"/>
                </a:cubicBezTo>
                <a:close/>
                <a:moveTo>
                  <a:pt x="94" y="62"/>
                </a:moveTo>
                <a:cubicBezTo>
                  <a:pt x="85" y="62"/>
                  <a:pt x="77" y="66"/>
                  <a:pt x="71" y="73"/>
                </a:cubicBezTo>
                <a:cubicBezTo>
                  <a:pt x="66" y="79"/>
                  <a:pt x="63" y="87"/>
                  <a:pt x="64" y="95"/>
                </a:cubicBezTo>
                <a:cubicBezTo>
                  <a:pt x="65" y="103"/>
                  <a:pt x="68" y="110"/>
                  <a:pt x="75" y="115"/>
                </a:cubicBezTo>
                <a:cubicBezTo>
                  <a:pt x="80" y="120"/>
                  <a:pt x="87" y="122"/>
                  <a:pt x="94" y="122"/>
                </a:cubicBezTo>
                <a:cubicBezTo>
                  <a:pt x="103" y="122"/>
                  <a:pt x="111" y="118"/>
                  <a:pt x="117" y="112"/>
                </a:cubicBezTo>
                <a:cubicBezTo>
                  <a:pt x="122" y="106"/>
                  <a:pt x="125" y="98"/>
                  <a:pt x="124" y="90"/>
                </a:cubicBezTo>
                <a:cubicBezTo>
                  <a:pt x="123" y="82"/>
                  <a:pt x="120" y="74"/>
                  <a:pt x="114" y="69"/>
                </a:cubicBezTo>
                <a:cubicBezTo>
                  <a:pt x="108" y="65"/>
                  <a:pt x="101" y="62"/>
                  <a:pt x="94" y="6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8" name="Freeform 1417">
            <a:extLst>
              <a:ext uri="{FF2B5EF4-FFF2-40B4-BE49-F238E27FC236}">
                <a16:creationId xmlns:a16="http://schemas.microsoft.com/office/drawing/2014/main" id="{557304A4-A1A1-4F6F-AA6D-F31BDF67CCF3}"/>
              </a:ext>
            </a:extLst>
          </p:cNvPr>
          <p:cNvSpPr>
            <a:spLocks noEditPoints="1"/>
          </p:cNvSpPr>
          <p:nvPr/>
        </p:nvSpPr>
        <p:spPr bwMode="auto">
          <a:xfrm>
            <a:off x="3733347" y="563894"/>
            <a:ext cx="909941" cy="909941"/>
          </a:xfrm>
          <a:custGeom>
            <a:avLst/>
            <a:gdLst>
              <a:gd name="T0" fmla="*/ 95 w 230"/>
              <a:gd name="T1" fmla="*/ 227 h 229"/>
              <a:gd name="T2" fmla="*/ 67 w 230"/>
              <a:gd name="T3" fmla="*/ 218 h 229"/>
              <a:gd name="T4" fmla="*/ 41 w 230"/>
              <a:gd name="T5" fmla="*/ 202 h 229"/>
              <a:gd name="T6" fmla="*/ 21 w 230"/>
              <a:gd name="T7" fmla="*/ 180 h 229"/>
              <a:gd name="T8" fmla="*/ 15 w 230"/>
              <a:gd name="T9" fmla="*/ 159 h 229"/>
              <a:gd name="T10" fmla="*/ 1 w 230"/>
              <a:gd name="T11" fmla="*/ 124 h 229"/>
              <a:gd name="T12" fmla="*/ 2 w 230"/>
              <a:gd name="T13" fmla="*/ 94 h 229"/>
              <a:gd name="T14" fmla="*/ 11 w 230"/>
              <a:gd name="T15" fmla="*/ 65 h 229"/>
              <a:gd name="T16" fmla="*/ 27 w 230"/>
              <a:gd name="T17" fmla="*/ 41 h 229"/>
              <a:gd name="T18" fmla="*/ 47 w 230"/>
              <a:gd name="T19" fmla="*/ 32 h 229"/>
              <a:gd name="T20" fmla="*/ 71 w 230"/>
              <a:gd name="T21" fmla="*/ 17 h 229"/>
              <a:gd name="T22" fmla="*/ 98 w 230"/>
              <a:gd name="T23" fmla="*/ 9 h 229"/>
              <a:gd name="T24" fmla="*/ 126 w 230"/>
              <a:gd name="T25" fmla="*/ 8 h 229"/>
              <a:gd name="T26" fmla="*/ 153 w 230"/>
              <a:gd name="T27" fmla="*/ 14 h 229"/>
              <a:gd name="T28" fmla="*/ 177 w 230"/>
              <a:gd name="T29" fmla="*/ 27 h 229"/>
              <a:gd name="T30" fmla="*/ 188 w 230"/>
              <a:gd name="T31" fmla="*/ 49 h 229"/>
              <a:gd name="T32" fmla="*/ 201 w 230"/>
              <a:gd name="T33" fmla="*/ 70 h 229"/>
              <a:gd name="T34" fmla="*/ 218 w 230"/>
              <a:gd name="T35" fmla="*/ 87 h 229"/>
              <a:gd name="T36" fmla="*/ 212 w 230"/>
              <a:gd name="T37" fmla="*/ 119 h 229"/>
              <a:gd name="T38" fmla="*/ 217 w 230"/>
              <a:gd name="T39" fmla="*/ 142 h 229"/>
              <a:gd name="T40" fmla="*/ 207 w 230"/>
              <a:gd name="T41" fmla="*/ 168 h 229"/>
              <a:gd name="T42" fmla="*/ 196 w 230"/>
              <a:gd name="T43" fmla="*/ 192 h 229"/>
              <a:gd name="T44" fmla="*/ 176 w 230"/>
              <a:gd name="T45" fmla="*/ 211 h 229"/>
              <a:gd name="T46" fmla="*/ 150 w 230"/>
              <a:gd name="T47" fmla="*/ 223 h 229"/>
              <a:gd name="T48" fmla="*/ 123 w 230"/>
              <a:gd name="T49" fmla="*/ 229 h 229"/>
              <a:gd name="T50" fmla="*/ 125 w 230"/>
              <a:gd name="T51" fmla="*/ 223 h 229"/>
              <a:gd name="T52" fmla="*/ 150 w 230"/>
              <a:gd name="T53" fmla="*/ 218 h 229"/>
              <a:gd name="T54" fmla="*/ 159 w 230"/>
              <a:gd name="T55" fmla="*/ 196 h 229"/>
              <a:gd name="T56" fmla="*/ 176 w 230"/>
              <a:gd name="T57" fmla="*/ 183 h 229"/>
              <a:gd name="T58" fmla="*/ 198 w 230"/>
              <a:gd name="T59" fmla="*/ 180 h 229"/>
              <a:gd name="T60" fmla="*/ 214 w 230"/>
              <a:gd name="T61" fmla="*/ 161 h 229"/>
              <a:gd name="T62" fmla="*/ 219 w 230"/>
              <a:gd name="T63" fmla="*/ 137 h 229"/>
              <a:gd name="T64" fmla="*/ 220 w 230"/>
              <a:gd name="T65" fmla="*/ 110 h 229"/>
              <a:gd name="T66" fmla="*/ 216 w 230"/>
              <a:gd name="T67" fmla="*/ 83 h 229"/>
              <a:gd name="T68" fmla="*/ 197 w 230"/>
              <a:gd name="T69" fmla="*/ 72 h 229"/>
              <a:gd name="T70" fmla="*/ 200 w 230"/>
              <a:gd name="T71" fmla="*/ 51 h 229"/>
              <a:gd name="T72" fmla="*/ 186 w 230"/>
              <a:gd name="T73" fmla="*/ 30 h 229"/>
              <a:gd name="T74" fmla="*/ 164 w 230"/>
              <a:gd name="T75" fmla="*/ 21 h 229"/>
              <a:gd name="T76" fmla="*/ 143 w 230"/>
              <a:gd name="T77" fmla="*/ 27 h 229"/>
              <a:gd name="T78" fmla="*/ 130 w 230"/>
              <a:gd name="T79" fmla="*/ 10 h 229"/>
              <a:gd name="T80" fmla="*/ 106 w 230"/>
              <a:gd name="T81" fmla="*/ 5 h 229"/>
              <a:gd name="T82" fmla="*/ 79 w 230"/>
              <a:gd name="T83" fmla="*/ 11 h 229"/>
              <a:gd name="T84" fmla="*/ 55 w 230"/>
              <a:gd name="T85" fmla="*/ 23 h 229"/>
              <a:gd name="T86" fmla="*/ 49 w 230"/>
              <a:gd name="T87" fmla="*/ 47 h 229"/>
              <a:gd name="T88" fmla="*/ 39 w 230"/>
              <a:gd name="T89" fmla="*/ 63 h 229"/>
              <a:gd name="T90" fmla="*/ 15 w 230"/>
              <a:gd name="T91" fmla="*/ 68 h 229"/>
              <a:gd name="T92" fmla="*/ 7 w 230"/>
              <a:gd name="T93" fmla="*/ 95 h 229"/>
              <a:gd name="T94" fmla="*/ 6 w 230"/>
              <a:gd name="T95" fmla="*/ 123 h 229"/>
              <a:gd name="T96" fmla="*/ 12 w 230"/>
              <a:gd name="T97" fmla="*/ 151 h 229"/>
              <a:gd name="T98" fmla="*/ 33 w 230"/>
              <a:gd name="T99" fmla="*/ 156 h 229"/>
              <a:gd name="T100" fmla="*/ 43 w 230"/>
              <a:gd name="T101" fmla="*/ 174 h 229"/>
              <a:gd name="T102" fmla="*/ 47 w 230"/>
              <a:gd name="T103" fmla="*/ 200 h 229"/>
              <a:gd name="T104" fmla="*/ 68 w 230"/>
              <a:gd name="T105" fmla="*/ 213 h 229"/>
              <a:gd name="T106" fmla="*/ 93 w 230"/>
              <a:gd name="T107" fmla="*/ 217 h 229"/>
              <a:gd name="T108" fmla="*/ 110 w 230"/>
              <a:gd name="T109" fmla="*/ 206 h 229"/>
              <a:gd name="T110" fmla="*/ 195 w 230"/>
              <a:gd name="T111" fmla="*/ 108 h 229"/>
              <a:gd name="T112" fmla="*/ 115 w 230"/>
              <a:gd name="T113" fmla="*/ 18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23" y="229"/>
                </a:moveTo>
                <a:cubicBezTo>
                  <a:pt x="119" y="229"/>
                  <a:pt x="116" y="226"/>
                  <a:pt x="115" y="221"/>
                </a:cubicBezTo>
                <a:cubicBezTo>
                  <a:pt x="114" y="216"/>
                  <a:pt x="112" y="213"/>
                  <a:pt x="110" y="211"/>
                </a:cubicBezTo>
                <a:cubicBezTo>
                  <a:pt x="109" y="213"/>
                  <a:pt x="107" y="216"/>
                  <a:pt x="105" y="220"/>
                </a:cubicBezTo>
                <a:cubicBezTo>
                  <a:pt x="105" y="222"/>
                  <a:pt x="103" y="228"/>
                  <a:pt x="98" y="228"/>
                </a:cubicBezTo>
                <a:cubicBezTo>
                  <a:pt x="97" y="228"/>
                  <a:pt x="96" y="227"/>
                  <a:pt x="95" y="227"/>
                </a:cubicBezTo>
                <a:cubicBezTo>
                  <a:pt x="95" y="227"/>
                  <a:pt x="95" y="227"/>
                  <a:pt x="95" y="227"/>
                </a:cubicBezTo>
                <a:cubicBezTo>
                  <a:pt x="91" y="227"/>
                  <a:pt x="87" y="225"/>
                  <a:pt x="88" y="217"/>
                </a:cubicBezTo>
                <a:cubicBezTo>
                  <a:pt x="88" y="212"/>
                  <a:pt x="86" y="208"/>
                  <a:pt x="85" y="207"/>
                </a:cubicBezTo>
                <a:cubicBezTo>
                  <a:pt x="83" y="208"/>
                  <a:pt x="80" y="211"/>
                  <a:pt x="78" y="214"/>
                </a:cubicBezTo>
                <a:cubicBezTo>
                  <a:pt x="76" y="218"/>
                  <a:pt x="74" y="219"/>
                  <a:pt x="71" y="219"/>
                </a:cubicBezTo>
                <a:cubicBezTo>
                  <a:pt x="69" y="219"/>
                  <a:pt x="68" y="219"/>
                  <a:pt x="67" y="218"/>
                </a:cubicBezTo>
                <a:cubicBezTo>
                  <a:pt x="66" y="218"/>
                  <a:pt x="66" y="218"/>
                  <a:pt x="66" y="218"/>
                </a:cubicBezTo>
                <a:cubicBezTo>
                  <a:pt x="63" y="216"/>
                  <a:pt x="60" y="214"/>
                  <a:pt x="62" y="207"/>
                </a:cubicBezTo>
                <a:cubicBezTo>
                  <a:pt x="63" y="202"/>
                  <a:pt x="63" y="198"/>
                  <a:pt x="62" y="196"/>
                </a:cubicBezTo>
                <a:cubicBezTo>
                  <a:pt x="60" y="196"/>
                  <a:pt x="57" y="198"/>
                  <a:pt x="53" y="201"/>
                </a:cubicBezTo>
                <a:cubicBezTo>
                  <a:pt x="51" y="203"/>
                  <a:pt x="49" y="205"/>
                  <a:pt x="47" y="205"/>
                </a:cubicBezTo>
                <a:cubicBezTo>
                  <a:pt x="44" y="205"/>
                  <a:pt x="43" y="203"/>
                  <a:pt x="41" y="202"/>
                </a:cubicBezTo>
                <a:cubicBezTo>
                  <a:pt x="41" y="202"/>
                  <a:pt x="41" y="202"/>
                  <a:pt x="41" y="202"/>
                </a:cubicBezTo>
                <a:cubicBezTo>
                  <a:pt x="38" y="199"/>
                  <a:pt x="36" y="196"/>
                  <a:pt x="40" y="190"/>
                </a:cubicBezTo>
                <a:cubicBezTo>
                  <a:pt x="42" y="186"/>
                  <a:pt x="43" y="181"/>
                  <a:pt x="43" y="179"/>
                </a:cubicBezTo>
                <a:cubicBezTo>
                  <a:pt x="40" y="179"/>
                  <a:pt x="36" y="181"/>
                  <a:pt x="33" y="182"/>
                </a:cubicBezTo>
                <a:cubicBezTo>
                  <a:pt x="31" y="184"/>
                  <a:pt x="29" y="184"/>
                  <a:pt x="27" y="184"/>
                </a:cubicBezTo>
                <a:cubicBezTo>
                  <a:pt x="24" y="184"/>
                  <a:pt x="22" y="182"/>
                  <a:pt x="21" y="180"/>
                </a:cubicBezTo>
                <a:cubicBezTo>
                  <a:pt x="21" y="180"/>
                  <a:pt x="21" y="180"/>
                  <a:pt x="21" y="180"/>
                </a:cubicBezTo>
                <a:cubicBezTo>
                  <a:pt x="19" y="178"/>
                  <a:pt x="16" y="174"/>
                  <a:pt x="23" y="168"/>
                </a:cubicBezTo>
                <a:cubicBezTo>
                  <a:pt x="26" y="164"/>
                  <a:pt x="28" y="160"/>
                  <a:pt x="29" y="159"/>
                </a:cubicBezTo>
                <a:cubicBezTo>
                  <a:pt x="28" y="158"/>
                  <a:pt x="26" y="158"/>
                  <a:pt x="24" y="158"/>
                </a:cubicBezTo>
                <a:cubicBezTo>
                  <a:pt x="22" y="158"/>
                  <a:pt x="20" y="158"/>
                  <a:pt x="18" y="159"/>
                </a:cubicBezTo>
                <a:cubicBezTo>
                  <a:pt x="17" y="159"/>
                  <a:pt x="16" y="159"/>
                  <a:pt x="15" y="159"/>
                </a:cubicBezTo>
                <a:cubicBezTo>
                  <a:pt x="9" y="159"/>
                  <a:pt x="8" y="156"/>
                  <a:pt x="7" y="154"/>
                </a:cubicBezTo>
                <a:cubicBezTo>
                  <a:pt x="7" y="153"/>
                  <a:pt x="7" y="153"/>
                  <a:pt x="7" y="153"/>
                </a:cubicBezTo>
                <a:cubicBezTo>
                  <a:pt x="6" y="149"/>
                  <a:pt x="5" y="146"/>
                  <a:pt x="12" y="142"/>
                </a:cubicBezTo>
                <a:cubicBezTo>
                  <a:pt x="16" y="140"/>
                  <a:pt x="19" y="136"/>
                  <a:pt x="20" y="135"/>
                </a:cubicBezTo>
                <a:cubicBezTo>
                  <a:pt x="18" y="134"/>
                  <a:pt x="14" y="132"/>
                  <a:pt x="10" y="132"/>
                </a:cubicBezTo>
                <a:cubicBezTo>
                  <a:pt x="1" y="132"/>
                  <a:pt x="1" y="127"/>
                  <a:pt x="1" y="124"/>
                </a:cubicBezTo>
                <a:cubicBezTo>
                  <a:pt x="1" y="124"/>
                  <a:pt x="1" y="124"/>
                  <a:pt x="1" y="124"/>
                </a:cubicBezTo>
                <a:cubicBezTo>
                  <a:pt x="0" y="120"/>
                  <a:pt x="1" y="116"/>
                  <a:pt x="8" y="114"/>
                </a:cubicBezTo>
                <a:cubicBezTo>
                  <a:pt x="13" y="113"/>
                  <a:pt x="17" y="111"/>
                  <a:pt x="18" y="109"/>
                </a:cubicBezTo>
                <a:cubicBezTo>
                  <a:pt x="16" y="108"/>
                  <a:pt x="13" y="106"/>
                  <a:pt x="9" y="104"/>
                </a:cubicBezTo>
                <a:cubicBezTo>
                  <a:pt x="1" y="102"/>
                  <a:pt x="1" y="97"/>
                  <a:pt x="2" y="95"/>
                </a:cubicBezTo>
                <a:cubicBezTo>
                  <a:pt x="2" y="94"/>
                  <a:pt x="2" y="94"/>
                  <a:pt x="2" y="94"/>
                </a:cubicBezTo>
                <a:cubicBezTo>
                  <a:pt x="2" y="91"/>
                  <a:pt x="3" y="87"/>
                  <a:pt x="11" y="87"/>
                </a:cubicBezTo>
                <a:cubicBezTo>
                  <a:pt x="12" y="87"/>
                  <a:pt x="12" y="87"/>
                  <a:pt x="12" y="87"/>
                </a:cubicBezTo>
                <a:cubicBezTo>
                  <a:pt x="17" y="87"/>
                  <a:pt x="21" y="85"/>
                  <a:pt x="22" y="84"/>
                </a:cubicBezTo>
                <a:cubicBezTo>
                  <a:pt x="21" y="83"/>
                  <a:pt x="19" y="80"/>
                  <a:pt x="15" y="77"/>
                </a:cubicBezTo>
                <a:cubicBezTo>
                  <a:pt x="8" y="73"/>
                  <a:pt x="10" y="68"/>
                  <a:pt x="11" y="66"/>
                </a:cubicBezTo>
                <a:cubicBezTo>
                  <a:pt x="11" y="65"/>
                  <a:pt x="11" y="65"/>
                  <a:pt x="11" y="65"/>
                </a:cubicBezTo>
                <a:cubicBezTo>
                  <a:pt x="12" y="63"/>
                  <a:pt x="13" y="60"/>
                  <a:pt x="18" y="60"/>
                </a:cubicBezTo>
                <a:cubicBezTo>
                  <a:pt x="19" y="60"/>
                  <a:pt x="21" y="60"/>
                  <a:pt x="22" y="61"/>
                </a:cubicBezTo>
                <a:cubicBezTo>
                  <a:pt x="25" y="62"/>
                  <a:pt x="27" y="62"/>
                  <a:pt x="30" y="62"/>
                </a:cubicBezTo>
                <a:cubicBezTo>
                  <a:pt x="32" y="62"/>
                  <a:pt x="33" y="62"/>
                  <a:pt x="33" y="61"/>
                </a:cubicBezTo>
                <a:cubicBezTo>
                  <a:pt x="33" y="59"/>
                  <a:pt x="31" y="56"/>
                  <a:pt x="28" y="53"/>
                </a:cubicBezTo>
                <a:cubicBezTo>
                  <a:pt x="22" y="46"/>
                  <a:pt x="25" y="43"/>
                  <a:pt x="27" y="41"/>
                </a:cubicBezTo>
                <a:cubicBezTo>
                  <a:pt x="27" y="40"/>
                  <a:pt x="27" y="40"/>
                  <a:pt x="27" y="40"/>
                </a:cubicBezTo>
                <a:cubicBezTo>
                  <a:pt x="28" y="39"/>
                  <a:pt x="30" y="37"/>
                  <a:pt x="33" y="37"/>
                </a:cubicBezTo>
                <a:cubicBezTo>
                  <a:pt x="35" y="37"/>
                  <a:pt x="37" y="37"/>
                  <a:pt x="39" y="39"/>
                </a:cubicBezTo>
                <a:cubicBezTo>
                  <a:pt x="43" y="41"/>
                  <a:pt x="47" y="42"/>
                  <a:pt x="49" y="42"/>
                </a:cubicBezTo>
                <a:cubicBezTo>
                  <a:pt x="50" y="42"/>
                  <a:pt x="50" y="42"/>
                  <a:pt x="50" y="42"/>
                </a:cubicBezTo>
                <a:cubicBezTo>
                  <a:pt x="50" y="40"/>
                  <a:pt x="49" y="36"/>
                  <a:pt x="47" y="32"/>
                </a:cubicBezTo>
                <a:cubicBezTo>
                  <a:pt x="44" y="25"/>
                  <a:pt x="46" y="22"/>
                  <a:pt x="50" y="20"/>
                </a:cubicBezTo>
                <a:cubicBezTo>
                  <a:pt x="50" y="19"/>
                  <a:pt x="50" y="19"/>
                  <a:pt x="50" y="19"/>
                </a:cubicBezTo>
                <a:cubicBezTo>
                  <a:pt x="51" y="19"/>
                  <a:pt x="53" y="18"/>
                  <a:pt x="55" y="18"/>
                </a:cubicBezTo>
                <a:cubicBezTo>
                  <a:pt x="58" y="18"/>
                  <a:pt x="60" y="19"/>
                  <a:pt x="62" y="22"/>
                </a:cubicBezTo>
                <a:cubicBezTo>
                  <a:pt x="65" y="25"/>
                  <a:pt x="68" y="27"/>
                  <a:pt x="70" y="28"/>
                </a:cubicBezTo>
                <a:cubicBezTo>
                  <a:pt x="71" y="26"/>
                  <a:pt x="72" y="22"/>
                  <a:pt x="71" y="17"/>
                </a:cubicBezTo>
                <a:cubicBezTo>
                  <a:pt x="69" y="9"/>
                  <a:pt x="73" y="7"/>
                  <a:pt x="76" y="6"/>
                </a:cubicBezTo>
                <a:cubicBezTo>
                  <a:pt x="77" y="6"/>
                  <a:pt x="77" y="6"/>
                  <a:pt x="77" y="6"/>
                </a:cubicBezTo>
                <a:cubicBezTo>
                  <a:pt x="78" y="6"/>
                  <a:pt x="79" y="5"/>
                  <a:pt x="81" y="5"/>
                </a:cubicBezTo>
                <a:cubicBezTo>
                  <a:pt x="84" y="5"/>
                  <a:pt x="86" y="7"/>
                  <a:pt x="88" y="11"/>
                </a:cubicBezTo>
                <a:cubicBezTo>
                  <a:pt x="90" y="15"/>
                  <a:pt x="93" y="18"/>
                  <a:pt x="94" y="19"/>
                </a:cubicBezTo>
                <a:cubicBezTo>
                  <a:pt x="95" y="18"/>
                  <a:pt x="97" y="14"/>
                  <a:pt x="98" y="9"/>
                </a:cubicBezTo>
                <a:cubicBezTo>
                  <a:pt x="98" y="1"/>
                  <a:pt x="102" y="0"/>
                  <a:pt x="106" y="0"/>
                </a:cubicBezTo>
                <a:cubicBezTo>
                  <a:pt x="106" y="0"/>
                  <a:pt x="106" y="0"/>
                  <a:pt x="106" y="0"/>
                </a:cubicBezTo>
                <a:cubicBezTo>
                  <a:pt x="107" y="0"/>
                  <a:pt x="107" y="0"/>
                  <a:pt x="108" y="0"/>
                </a:cubicBezTo>
                <a:cubicBezTo>
                  <a:pt x="112" y="0"/>
                  <a:pt x="115" y="2"/>
                  <a:pt x="116" y="8"/>
                </a:cubicBezTo>
                <a:cubicBezTo>
                  <a:pt x="117" y="12"/>
                  <a:pt x="118" y="15"/>
                  <a:pt x="120" y="17"/>
                </a:cubicBezTo>
                <a:cubicBezTo>
                  <a:pt x="121" y="16"/>
                  <a:pt x="124" y="13"/>
                  <a:pt x="126" y="8"/>
                </a:cubicBezTo>
                <a:cubicBezTo>
                  <a:pt x="126" y="6"/>
                  <a:pt x="128" y="1"/>
                  <a:pt x="133" y="1"/>
                </a:cubicBezTo>
                <a:cubicBezTo>
                  <a:pt x="134" y="1"/>
                  <a:pt x="135" y="1"/>
                  <a:pt x="136" y="1"/>
                </a:cubicBezTo>
                <a:cubicBezTo>
                  <a:pt x="136" y="1"/>
                  <a:pt x="136" y="1"/>
                  <a:pt x="136" y="1"/>
                </a:cubicBezTo>
                <a:cubicBezTo>
                  <a:pt x="139" y="2"/>
                  <a:pt x="144" y="3"/>
                  <a:pt x="143" y="11"/>
                </a:cubicBezTo>
                <a:cubicBezTo>
                  <a:pt x="143" y="16"/>
                  <a:pt x="144" y="20"/>
                  <a:pt x="145" y="22"/>
                </a:cubicBezTo>
                <a:cubicBezTo>
                  <a:pt x="146" y="21"/>
                  <a:pt x="150" y="18"/>
                  <a:pt x="153" y="14"/>
                </a:cubicBezTo>
                <a:cubicBezTo>
                  <a:pt x="155" y="11"/>
                  <a:pt x="157" y="9"/>
                  <a:pt x="160" y="9"/>
                </a:cubicBezTo>
                <a:cubicBezTo>
                  <a:pt x="162" y="9"/>
                  <a:pt x="163" y="10"/>
                  <a:pt x="164" y="10"/>
                </a:cubicBezTo>
                <a:cubicBezTo>
                  <a:pt x="165" y="11"/>
                  <a:pt x="165" y="11"/>
                  <a:pt x="165" y="11"/>
                </a:cubicBezTo>
                <a:cubicBezTo>
                  <a:pt x="167" y="12"/>
                  <a:pt x="172" y="14"/>
                  <a:pt x="169" y="22"/>
                </a:cubicBezTo>
                <a:cubicBezTo>
                  <a:pt x="168" y="26"/>
                  <a:pt x="167" y="30"/>
                  <a:pt x="168" y="32"/>
                </a:cubicBezTo>
                <a:cubicBezTo>
                  <a:pt x="170" y="32"/>
                  <a:pt x="174" y="30"/>
                  <a:pt x="177" y="27"/>
                </a:cubicBezTo>
                <a:cubicBezTo>
                  <a:pt x="180" y="25"/>
                  <a:pt x="182" y="24"/>
                  <a:pt x="184" y="24"/>
                </a:cubicBezTo>
                <a:cubicBezTo>
                  <a:pt x="187" y="24"/>
                  <a:pt x="188" y="26"/>
                  <a:pt x="189" y="27"/>
                </a:cubicBezTo>
                <a:cubicBezTo>
                  <a:pt x="190" y="27"/>
                  <a:pt x="190" y="27"/>
                  <a:pt x="190" y="27"/>
                </a:cubicBezTo>
                <a:cubicBezTo>
                  <a:pt x="192" y="29"/>
                  <a:pt x="196" y="32"/>
                  <a:pt x="191" y="39"/>
                </a:cubicBezTo>
                <a:cubicBezTo>
                  <a:pt x="189" y="43"/>
                  <a:pt x="187" y="47"/>
                  <a:pt x="187" y="49"/>
                </a:cubicBezTo>
                <a:cubicBezTo>
                  <a:pt x="187" y="49"/>
                  <a:pt x="188" y="49"/>
                  <a:pt x="188" y="49"/>
                </a:cubicBezTo>
                <a:cubicBezTo>
                  <a:pt x="191" y="49"/>
                  <a:pt x="194" y="48"/>
                  <a:pt x="198" y="46"/>
                </a:cubicBezTo>
                <a:cubicBezTo>
                  <a:pt x="200" y="45"/>
                  <a:pt x="202" y="45"/>
                  <a:pt x="203" y="45"/>
                </a:cubicBezTo>
                <a:cubicBezTo>
                  <a:pt x="207" y="45"/>
                  <a:pt x="208" y="47"/>
                  <a:pt x="209" y="49"/>
                </a:cubicBezTo>
                <a:cubicBezTo>
                  <a:pt x="210" y="50"/>
                  <a:pt x="210" y="50"/>
                  <a:pt x="210" y="50"/>
                </a:cubicBezTo>
                <a:cubicBezTo>
                  <a:pt x="211" y="52"/>
                  <a:pt x="214" y="56"/>
                  <a:pt x="208" y="61"/>
                </a:cubicBezTo>
                <a:cubicBezTo>
                  <a:pt x="204" y="64"/>
                  <a:pt x="202" y="68"/>
                  <a:pt x="201" y="70"/>
                </a:cubicBezTo>
                <a:cubicBezTo>
                  <a:pt x="202" y="70"/>
                  <a:pt x="204" y="71"/>
                  <a:pt x="207" y="71"/>
                </a:cubicBezTo>
                <a:cubicBezTo>
                  <a:pt x="209" y="71"/>
                  <a:pt x="211" y="70"/>
                  <a:pt x="212" y="70"/>
                </a:cubicBezTo>
                <a:cubicBezTo>
                  <a:pt x="214" y="70"/>
                  <a:pt x="215" y="70"/>
                  <a:pt x="216" y="70"/>
                </a:cubicBezTo>
                <a:cubicBezTo>
                  <a:pt x="221" y="70"/>
                  <a:pt x="222" y="74"/>
                  <a:pt x="223" y="76"/>
                </a:cubicBezTo>
                <a:cubicBezTo>
                  <a:pt x="223" y="76"/>
                  <a:pt x="223" y="76"/>
                  <a:pt x="223" y="76"/>
                </a:cubicBezTo>
                <a:cubicBezTo>
                  <a:pt x="224" y="79"/>
                  <a:pt x="226" y="83"/>
                  <a:pt x="218" y="87"/>
                </a:cubicBezTo>
                <a:cubicBezTo>
                  <a:pt x="214" y="89"/>
                  <a:pt x="211" y="92"/>
                  <a:pt x="210" y="94"/>
                </a:cubicBezTo>
                <a:cubicBezTo>
                  <a:pt x="211" y="95"/>
                  <a:pt x="215" y="96"/>
                  <a:pt x="220" y="97"/>
                </a:cubicBezTo>
                <a:cubicBezTo>
                  <a:pt x="228" y="97"/>
                  <a:pt x="229" y="101"/>
                  <a:pt x="229" y="105"/>
                </a:cubicBezTo>
                <a:cubicBezTo>
                  <a:pt x="229" y="106"/>
                  <a:pt x="229" y="106"/>
                  <a:pt x="229" y="106"/>
                </a:cubicBezTo>
                <a:cubicBezTo>
                  <a:pt x="230" y="108"/>
                  <a:pt x="230" y="113"/>
                  <a:pt x="221" y="115"/>
                </a:cubicBezTo>
                <a:cubicBezTo>
                  <a:pt x="218" y="116"/>
                  <a:pt x="214" y="117"/>
                  <a:pt x="212" y="119"/>
                </a:cubicBezTo>
                <a:cubicBezTo>
                  <a:pt x="213" y="120"/>
                  <a:pt x="217" y="123"/>
                  <a:pt x="221" y="125"/>
                </a:cubicBezTo>
                <a:cubicBezTo>
                  <a:pt x="229" y="127"/>
                  <a:pt x="229" y="131"/>
                  <a:pt x="228" y="135"/>
                </a:cubicBezTo>
                <a:cubicBezTo>
                  <a:pt x="228" y="135"/>
                  <a:pt x="228" y="135"/>
                  <a:pt x="228" y="135"/>
                </a:cubicBezTo>
                <a:cubicBezTo>
                  <a:pt x="227" y="138"/>
                  <a:pt x="226" y="142"/>
                  <a:pt x="219" y="142"/>
                </a:cubicBezTo>
                <a:cubicBezTo>
                  <a:pt x="219" y="142"/>
                  <a:pt x="218" y="142"/>
                  <a:pt x="218" y="142"/>
                </a:cubicBezTo>
                <a:cubicBezTo>
                  <a:pt x="217" y="142"/>
                  <a:pt x="217" y="142"/>
                  <a:pt x="217" y="142"/>
                </a:cubicBezTo>
                <a:cubicBezTo>
                  <a:pt x="213" y="142"/>
                  <a:pt x="209" y="143"/>
                  <a:pt x="208" y="144"/>
                </a:cubicBezTo>
                <a:cubicBezTo>
                  <a:pt x="208" y="146"/>
                  <a:pt x="211" y="149"/>
                  <a:pt x="215" y="152"/>
                </a:cubicBezTo>
                <a:cubicBezTo>
                  <a:pt x="221" y="156"/>
                  <a:pt x="221" y="160"/>
                  <a:pt x="219" y="163"/>
                </a:cubicBezTo>
                <a:cubicBezTo>
                  <a:pt x="218" y="164"/>
                  <a:pt x="218" y="164"/>
                  <a:pt x="218" y="164"/>
                </a:cubicBezTo>
                <a:cubicBezTo>
                  <a:pt x="218" y="166"/>
                  <a:pt x="216" y="169"/>
                  <a:pt x="212" y="169"/>
                </a:cubicBezTo>
                <a:cubicBezTo>
                  <a:pt x="210" y="169"/>
                  <a:pt x="209" y="169"/>
                  <a:pt x="207" y="168"/>
                </a:cubicBezTo>
                <a:cubicBezTo>
                  <a:pt x="204" y="167"/>
                  <a:pt x="201" y="167"/>
                  <a:pt x="199" y="167"/>
                </a:cubicBezTo>
                <a:cubicBezTo>
                  <a:pt x="198" y="167"/>
                  <a:pt x="197" y="167"/>
                  <a:pt x="197" y="167"/>
                </a:cubicBezTo>
                <a:cubicBezTo>
                  <a:pt x="197" y="169"/>
                  <a:pt x="199" y="173"/>
                  <a:pt x="202" y="176"/>
                </a:cubicBezTo>
                <a:cubicBezTo>
                  <a:pt x="207" y="182"/>
                  <a:pt x="205" y="186"/>
                  <a:pt x="203" y="188"/>
                </a:cubicBezTo>
                <a:cubicBezTo>
                  <a:pt x="202" y="189"/>
                  <a:pt x="202" y="189"/>
                  <a:pt x="202" y="189"/>
                </a:cubicBezTo>
                <a:cubicBezTo>
                  <a:pt x="201" y="190"/>
                  <a:pt x="199" y="192"/>
                  <a:pt x="196" y="192"/>
                </a:cubicBezTo>
                <a:cubicBezTo>
                  <a:pt x="194" y="192"/>
                  <a:pt x="192" y="192"/>
                  <a:pt x="190" y="190"/>
                </a:cubicBezTo>
                <a:cubicBezTo>
                  <a:pt x="187" y="188"/>
                  <a:pt x="183" y="186"/>
                  <a:pt x="180" y="186"/>
                </a:cubicBezTo>
                <a:cubicBezTo>
                  <a:pt x="180" y="188"/>
                  <a:pt x="181" y="192"/>
                  <a:pt x="183" y="196"/>
                </a:cubicBezTo>
                <a:cubicBezTo>
                  <a:pt x="187" y="204"/>
                  <a:pt x="183" y="207"/>
                  <a:pt x="181" y="208"/>
                </a:cubicBezTo>
                <a:cubicBezTo>
                  <a:pt x="180" y="208"/>
                  <a:pt x="180" y="208"/>
                  <a:pt x="180" y="208"/>
                </a:cubicBezTo>
                <a:cubicBezTo>
                  <a:pt x="179" y="209"/>
                  <a:pt x="178" y="211"/>
                  <a:pt x="176" y="211"/>
                </a:cubicBezTo>
                <a:cubicBezTo>
                  <a:pt x="173" y="211"/>
                  <a:pt x="171" y="209"/>
                  <a:pt x="169" y="207"/>
                </a:cubicBezTo>
                <a:cubicBezTo>
                  <a:pt x="165" y="203"/>
                  <a:pt x="161" y="201"/>
                  <a:pt x="159" y="201"/>
                </a:cubicBezTo>
                <a:cubicBezTo>
                  <a:pt x="159" y="203"/>
                  <a:pt x="159" y="207"/>
                  <a:pt x="160" y="211"/>
                </a:cubicBezTo>
                <a:cubicBezTo>
                  <a:pt x="162" y="219"/>
                  <a:pt x="157" y="221"/>
                  <a:pt x="154" y="222"/>
                </a:cubicBezTo>
                <a:cubicBezTo>
                  <a:pt x="154" y="222"/>
                  <a:pt x="154" y="222"/>
                  <a:pt x="154" y="222"/>
                </a:cubicBezTo>
                <a:cubicBezTo>
                  <a:pt x="153" y="223"/>
                  <a:pt x="152" y="223"/>
                  <a:pt x="150" y="223"/>
                </a:cubicBezTo>
                <a:cubicBezTo>
                  <a:pt x="147" y="223"/>
                  <a:pt x="145" y="221"/>
                  <a:pt x="143" y="217"/>
                </a:cubicBezTo>
                <a:cubicBezTo>
                  <a:pt x="140" y="213"/>
                  <a:pt x="137" y="210"/>
                  <a:pt x="136" y="209"/>
                </a:cubicBezTo>
                <a:cubicBezTo>
                  <a:pt x="134" y="211"/>
                  <a:pt x="133" y="215"/>
                  <a:pt x="133" y="219"/>
                </a:cubicBezTo>
                <a:cubicBezTo>
                  <a:pt x="133" y="228"/>
                  <a:pt x="128" y="228"/>
                  <a:pt x="125" y="228"/>
                </a:cubicBezTo>
                <a:cubicBezTo>
                  <a:pt x="125" y="229"/>
                  <a:pt x="125" y="229"/>
                  <a:pt x="125" y="229"/>
                </a:cubicBezTo>
                <a:cubicBezTo>
                  <a:pt x="124" y="229"/>
                  <a:pt x="123" y="229"/>
                  <a:pt x="123" y="229"/>
                </a:cubicBezTo>
                <a:close/>
                <a:moveTo>
                  <a:pt x="110" y="206"/>
                </a:moveTo>
                <a:cubicBezTo>
                  <a:pt x="110" y="206"/>
                  <a:pt x="110" y="206"/>
                  <a:pt x="110" y="206"/>
                </a:cubicBezTo>
                <a:cubicBezTo>
                  <a:pt x="115" y="206"/>
                  <a:pt x="119" y="215"/>
                  <a:pt x="120" y="220"/>
                </a:cubicBezTo>
                <a:cubicBezTo>
                  <a:pt x="121" y="224"/>
                  <a:pt x="122" y="224"/>
                  <a:pt x="123" y="224"/>
                </a:cubicBezTo>
                <a:cubicBezTo>
                  <a:pt x="123" y="224"/>
                  <a:pt x="124" y="224"/>
                  <a:pt x="124" y="224"/>
                </a:cubicBezTo>
                <a:cubicBezTo>
                  <a:pt x="125" y="223"/>
                  <a:pt x="125" y="223"/>
                  <a:pt x="125" y="223"/>
                </a:cubicBezTo>
                <a:cubicBezTo>
                  <a:pt x="127" y="223"/>
                  <a:pt x="128" y="223"/>
                  <a:pt x="128" y="219"/>
                </a:cubicBezTo>
                <a:cubicBezTo>
                  <a:pt x="128" y="214"/>
                  <a:pt x="130" y="207"/>
                  <a:pt x="133" y="205"/>
                </a:cubicBezTo>
                <a:cubicBezTo>
                  <a:pt x="133" y="204"/>
                  <a:pt x="134" y="204"/>
                  <a:pt x="134" y="204"/>
                </a:cubicBezTo>
                <a:cubicBezTo>
                  <a:pt x="135" y="204"/>
                  <a:pt x="135" y="204"/>
                  <a:pt x="135" y="204"/>
                </a:cubicBezTo>
                <a:cubicBezTo>
                  <a:pt x="140" y="204"/>
                  <a:pt x="145" y="211"/>
                  <a:pt x="147" y="215"/>
                </a:cubicBezTo>
                <a:cubicBezTo>
                  <a:pt x="148" y="216"/>
                  <a:pt x="149" y="218"/>
                  <a:pt x="150" y="218"/>
                </a:cubicBezTo>
                <a:cubicBezTo>
                  <a:pt x="151" y="218"/>
                  <a:pt x="151" y="218"/>
                  <a:pt x="152" y="218"/>
                </a:cubicBezTo>
                <a:cubicBezTo>
                  <a:pt x="153" y="217"/>
                  <a:pt x="153" y="217"/>
                  <a:pt x="153" y="217"/>
                </a:cubicBezTo>
                <a:cubicBezTo>
                  <a:pt x="155" y="216"/>
                  <a:pt x="156" y="216"/>
                  <a:pt x="155" y="212"/>
                </a:cubicBezTo>
                <a:cubicBezTo>
                  <a:pt x="154" y="207"/>
                  <a:pt x="154" y="200"/>
                  <a:pt x="156" y="197"/>
                </a:cubicBezTo>
                <a:cubicBezTo>
                  <a:pt x="156" y="197"/>
                  <a:pt x="156" y="196"/>
                  <a:pt x="157" y="196"/>
                </a:cubicBezTo>
                <a:cubicBezTo>
                  <a:pt x="157" y="196"/>
                  <a:pt x="158" y="196"/>
                  <a:pt x="159" y="196"/>
                </a:cubicBezTo>
                <a:cubicBezTo>
                  <a:pt x="163" y="196"/>
                  <a:pt x="168" y="200"/>
                  <a:pt x="172" y="203"/>
                </a:cubicBezTo>
                <a:cubicBezTo>
                  <a:pt x="174" y="205"/>
                  <a:pt x="175" y="205"/>
                  <a:pt x="176" y="205"/>
                </a:cubicBezTo>
                <a:cubicBezTo>
                  <a:pt x="176" y="205"/>
                  <a:pt x="177" y="205"/>
                  <a:pt x="177" y="204"/>
                </a:cubicBezTo>
                <a:cubicBezTo>
                  <a:pt x="178" y="204"/>
                  <a:pt x="178" y="204"/>
                  <a:pt x="178" y="204"/>
                </a:cubicBezTo>
                <a:cubicBezTo>
                  <a:pt x="180" y="203"/>
                  <a:pt x="181" y="202"/>
                  <a:pt x="179" y="198"/>
                </a:cubicBezTo>
                <a:cubicBezTo>
                  <a:pt x="177" y="195"/>
                  <a:pt x="174" y="187"/>
                  <a:pt x="176" y="183"/>
                </a:cubicBezTo>
                <a:cubicBezTo>
                  <a:pt x="176" y="182"/>
                  <a:pt x="177" y="182"/>
                  <a:pt x="177" y="181"/>
                </a:cubicBezTo>
                <a:cubicBezTo>
                  <a:pt x="181" y="180"/>
                  <a:pt x="189" y="183"/>
                  <a:pt x="193" y="186"/>
                </a:cubicBezTo>
                <a:cubicBezTo>
                  <a:pt x="195" y="187"/>
                  <a:pt x="196" y="187"/>
                  <a:pt x="196" y="187"/>
                </a:cubicBezTo>
                <a:cubicBezTo>
                  <a:pt x="197" y="187"/>
                  <a:pt x="197" y="187"/>
                  <a:pt x="198" y="186"/>
                </a:cubicBezTo>
                <a:cubicBezTo>
                  <a:pt x="199" y="185"/>
                  <a:pt x="199" y="185"/>
                  <a:pt x="199" y="185"/>
                </a:cubicBezTo>
                <a:cubicBezTo>
                  <a:pt x="200" y="184"/>
                  <a:pt x="201" y="183"/>
                  <a:pt x="198" y="180"/>
                </a:cubicBezTo>
                <a:cubicBezTo>
                  <a:pt x="195" y="176"/>
                  <a:pt x="190" y="168"/>
                  <a:pt x="192" y="164"/>
                </a:cubicBezTo>
                <a:cubicBezTo>
                  <a:pt x="193" y="163"/>
                  <a:pt x="193" y="163"/>
                  <a:pt x="194" y="163"/>
                </a:cubicBezTo>
                <a:cubicBezTo>
                  <a:pt x="197" y="161"/>
                  <a:pt x="203" y="161"/>
                  <a:pt x="208" y="163"/>
                </a:cubicBezTo>
                <a:cubicBezTo>
                  <a:pt x="210" y="164"/>
                  <a:pt x="211" y="164"/>
                  <a:pt x="212" y="164"/>
                </a:cubicBezTo>
                <a:cubicBezTo>
                  <a:pt x="213" y="164"/>
                  <a:pt x="213" y="164"/>
                  <a:pt x="214" y="162"/>
                </a:cubicBezTo>
                <a:cubicBezTo>
                  <a:pt x="214" y="161"/>
                  <a:pt x="214" y="161"/>
                  <a:pt x="214" y="161"/>
                </a:cubicBezTo>
                <a:cubicBezTo>
                  <a:pt x="215" y="159"/>
                  <a:pt x="216" y="158"/>
                  <a:pt x="212" y="156"/>
                </a:cubicBezTo>
                <a:cubicBezTo>
                  <a:pt x="208" y="153"/>
                  <a:pt x="202" y="146"/>
                  <a:pt x="203" y="142"/>
                </a:cubicBezTo>
                <a:cubicBezTo>
                  <a:pt x="203" y="141"/>
                  <a:pt x="203" y="141"/>
                  <a:pt x="203" y="141"/>
                </a:cubicBezTo>
                <a:cubicBezTo>
                  <a:pt x="206" y="138"/>
                  <a:pt x="212" y="137"/>
                  <a:pt x="217" y="137"/>
                </a:cubicBezTo>
                <a:cubicBezTo>
                  <a:pt x="217" y="137"/>
                  <a:pt x="218" y="137"/>
                  <a:pt x="218" y="137"/>
                </a:cubicBezTo>
                <a:cubicBezTo>
                  <a:pt x="218" y="137"/>
                  <a:pt x="219" y="137"/>
                  <a:pt x="219" y="137"/>
                </a:cubicBezTo>
                <a:cubicBezTo>
                  <a:pt x="222" y="137"/>
                  <a:pt x="222" y="137"/>
                  <a:pt x="223" y="135"/>
                </a:cubicBezTo>
                <a:cubicBezTo>
                  <a:pt x="223" y="134"/>
                  <a:pt x="223" y="134"/>
                  <a:pt x="223" y="134"/>
                </a:cubicBezTo>
                <a:cubicBezTo>
                  <a:pt x="223" y="132"/>
                  <a:pt x="224" y="131"/>
                  <a:pt x="220" y="129"/>
                </a:cubicBezTo>
                <a:cubicBezTo>
                  <a:pt x="215" y="128"/>
                  <a:pt x="207" y="123"/>
                  <a:pt x="207" y="119"/>
                </a:cubicBezTo>
                <a:cubicBezTo>
                  <a:pt x="207" y="118"/>
                  <a:pt x="207" y="117"/>
                  <a:pt x="207" y="117"/>
                </a:cubicBezTo>
                <a:cubicBezTo>
                  <a:pt x="209" y="114"/>
                  <a:pt x="215" y="111"/>
                  <a:pt x="220" y="110"/>
                </a:cubicBezTo>
                <a:cubicBezTo>
                  <a:pt x="225" y="109"/>
                  <a:pt x="225" y="108"/>
                  <a:pt x="224" y="106"/>
                </a:cubicBezTo>
                <a:cubicBezTo>
                  <a:pt x="224" y="105"/>
                  <a:pt x="224" y="105"/>
                  <a:pt x="224" y="105"/>
                </a:cubicBezTo>
                <a:cubicBezTo>
                  <a:pt x="224" y="103"/>
                  <a:pt x="224" y="102"/>
                  <a:pt x="220" y="102"/>
                </a:cubicBezTo>
                <a:cubicBezTo>
                  <a:pt x="215" y="101"/>
                  <a:pt x="206" y="99"/>
                  <a:pt x="205" y="94"/>
                </a:cubicBezTo>
                <a:cubicBezTo>
                  <a:pt x="205" y="94"/>
                  <a:pt x="205" y="93"/>
                  <a:pt x="205" y="93"/>
                </a:cubicBezTo>
                <a:cubicBezTo>
                  <a:pt x="206" y="89"/>
                  <a:pt x="211" y="85"/>
                  <a:pt x="216" y="83"/>
                </a:cubicBezTo>
                <a:cubicBezTo>
                  <a:pt x="220" y="81"/>
                  <a:pt x="219" y="80"/>
                  <a:pt x="219" y="78"/>
                </a:cubicBezTo>
                <a:cubicBezTo>
                  <a:pt x="218" y="77"/>
                  <a:pt x="218" y="77"/>
                  <a:pt x="218" y="77"/>
                </a:cubicBezTo>
                <a:cubicBezTo>
                  <a:pt x="218" y="75"/>
                  <a:pt x="218" y="75"/>
                  <a:pt x="216" y="75"/>
                </a:cubicBezTo>
                <a:cubicBezTo>
                  <a:pt x="215" y="75"/>
                  <a:pt x="214" y="75"/>
                  <a:pt x="213" y="75"/>
                </a:cubicBezTo>
                <a:cubicBezTo>
                  <a:pt x="211" y="75"/>
                  <a:pt x="209" y="76"/>
                  <a:pt x="207" y="76"/>
                </a:cubicBezTo>
                <a:cubicBezTo>
                  <a:pt x="204" y="76"/>
                  <a:pt x="198" y="75"/>
                  <a:pt x="197" y="72"/>
                </a:cubicBezTo>
                <a:cubicBezTo>
                  <a:pt x="196" y="71"/>
                  <a:pt x="196" y="71"/>
                  <a:pt x="196" y="70"/>
                </a:cubicBezTo>
                <a:cubicBezTo>
                  <a:pt x="197" y="66"/>
                  <a:pt x="200" y="61"/>
                  <a:pt x="204" y="58"/>
                </a:cubicBezTo>
                <a:cubicBezTo>
                  <a:pt x="207" y="55"/>
                  <a:pt x="207" y="54"/>
                  <a:pt x="206" y="52"/>
                </a:cubicBezTo>
                <a:cubicBezTo>
                  <a:pt x="205" y="52"/>
                  <a:pt x="205" y="52"/>
                  <a:pt x="205" y="52"/>
                </a:cubicBezTo>
                <a:cubicBezTo>
                  <a:pt x="204" y="50"/>
                  <a:pt x="204" y="50"/>
                  <a:pt x="203" y="50"/>
                </a:cubicBezTo>
                <a:cubicBezTo>
                  <a:pt x="203" y="50"/>
                  <a:pt x="202" y="50"/>
                  <a:pt x="200" y="51"/>
                </a:cubicBezTo>
                <a:cubicBezTo>
                  <a:pt x="196" y="53"/>
                  <a:pt x="191" y="54"/>
                  <a:pt x="188" y="54"/>
                </a:cubicBezTo>
                <a:cubicBezTo>
                  <a:pt x="186" y="54"/>
                  <a:pt x="184" y="53"/>
                  <a:pt x="183" y="52"/>
                </a:cubicBezTo>
                <a:cubicBezTo>
                  <a:pt x="182" y="52"/>
                  <a:pt x="182" y="51"/>
                  <a:pt x="182" y="51"/>
                </a:cubicBezTo>
                <a:cubicBezTo>
                  <a:pt x="181" y="47"/>
                  <a:pt x="184" y="41"/>
                  <a:pt x="187" y="37"/>
                </a:cubicBezTo>
                <a:cubicBezTo>
                  <a:pt x="189" y="33"/>
                  <a:pt x="188" y="32"/>
                  <a:pt x="187" y="31"/>
                </a:cubicBezTo>
                <a:cubicBezTo>
                  <a:pt x="186" y="30"/>
                  <a:pt x="186" y="30"/>
                  <a:pt x="186" y="30"/>
                </a:cubicBezTo>
                <a:cubicBezTo>
                  <a:pt x="185" y="30"/>
                  <a:pt x="185" y="29"/>
                  <a:pt x="184" y="29"/>
                </a:cubicBezTo>
                <a:cubicBezTo>
                  <a:pt x="184" y="29"/>
                  <a:pt x="182" y="29"/>
                  <a:pt x="181" y="31"/>
                </a:cubicBezTo>
                <a:cubicBezTo>
                  <a:pt x="177" y="34"/>
                  <a:pt x="171" y="37"/>
                  <a:pt x="167" y="37"/>
                </a:cubicBezTo>
                <a:cubicBezTo>
                  <a:pt x="166" y="37"/>
                  <a:pt x="165" y="37"/>
                  <a:pt x="164" y="37"/>
                </a:cubicBezTo>
                <a:cubicBezTo>
                  <a:pt x="164" y="37"/>
                  <a:pt x="164" y="36"/>
                  <a:pt x="163" y="36"/>
                </a:cubicBezTo>
                <a:cubicBezTo>
                  <a:pt x="162" y="32"/>
                  <a:pt x="162" y="26"/>
                  <a:pt x="164" y="21"/>
                </a:cubicBezTo>
                <a:cubicBezTo>
                  <a:pt x="165" y="17"/>
                  <a:pt x="165" y="16"/>
                  <a:pt x="163" y="15"/>
                </a:cubicBezTo>
                <a:cubicBezTo>
                  <a:pt x="162" y="15"/>
                  <a:pt x="162" y="15"/>
                  <a:pt x="162" y="15"/>
                </a:cubicBezTo>
                <a:cubicBezTo>
                  <a:pt x="161" y="15"/>
                  <a:pt x="160" y="14"/>
                  <a:pt x="160" y="14"/>
                </a:cubicBezTo>
                <a:cubicBezTo>
                  <a:pt x="159" y="14"/>
                  <a:pt x="158" y="15"/>
                  <a:pt x="157" y="17"/>
                </a:cubicBezTo>
                <a:cubicBezTo>
                  <a:pt x="154" y="20"/>
                  <a:pt x="149" y="27"/>
                  <a:pt x="144" y="27"/>
                </a:cubicBezTo>
                <a:cubicBezTo>
                  <a:pt x="143" y="27"/>
                  <a:pt x="143" y="27"/>
                  <a:pt x="143" y="27"/>
                </a:cubicBezTo>
                <a:cubicBezTo>
                  <a:pt x="142" y="27"/>
                  <a:pt x="142" y="26"/>
                  <a:pt x="141" y="26"/>
                </a:cubicBezTo>
                <a:cubicBezTo>
                  <a:pt x="139" y="23"/>
                  <a:pt x="138" y="16"/>
                  <a:pt x="138" y="11"/>
                </a:cubicBezTo>
                <a:cubicBezTo>
                  <a:pt x="138" y="7"/>
                  <a:pt x="138" y="7"/>
                  <a:pt x="135" y="6"/>
                </a:cubicBezTo>
                <a:cubicBezTo>
                  <a:pt x="135" y="6"/>
                  <a:pt x="135" y="6"/>
                  <a:pt x="135" y="6"/>
                </a:cubicBezTo>
                <a:cubicBezTo>
                  <a:pt x="134" y="6"/>
                  <a:pt x="133" y="6"/>
                  <a:pt x="133" y="6"/>
                </a:cubicBezTo>
                <a:cubicBezTo>
                  <a:pt x="133" y="6"/>
                  <a:pt x="131" y="6"/>
                  <a:pt x="130" y="10"/>
                </a:cubicBezTo>
                <a:cubicBezTo>
                  <a:pt x="129" y="14"/>
                  <a:pt x="124" y="22"/>
                  <a:pt x="119" y="22"/>
                </a:cubicBezTo>
                <a:cubicBezTo>
                  <a:pt x="119" y="23"/>
                  <a:pt x="118" y="22"/>
                  <a:pt x="118" y="22"/>
                </a:cubicBezTo>
                <a:cubicBezTo>
                  <a:pt x="114" y="20"/>
                  <a:pt x="112" y="14"/>
                  <a:pt x="111" y="9"/>
                </a:cubicBezTo>
                <a:cubicBezTo>
                  <a:pt x="110" y="5"/>
                  <a:pt x="109" y="5"/>
                  <a:pt x="108" y="5"/>
                </a:cubicBezTo>
                <a:cubicBezTo>
                  <a:pt x="108" y="5"/>
                  <a:pt x="107" y="5"/>
                  <a:pt x="107" y="5"/>
                </a:cubicBezTo>
                <a:cubicBezTo>
                  <a:pt x="106" y="5"/>
                  <a:pt x="106" y="5"/>
                  <a:pt x="106" y="5"/>
                </a:cubicBezTo>
                <a:cubicBezTo>
                  <a:pt x="104" y="5"/>
                  <a:pt x="103" y="5"/>
                  <a:pt x="103" y="9"/>
                </a:cubicBezTo>
                <a:cubicBezTo>
                  <a:pt x="102" y="14"/>
                  <a:pt x="100" y="23"/>
                  <a:pt x="95" y="25"/>
                </a:cubicBezTo>
                <a:cubicBezTo>
                  <a:pt x="95" y="25"/>
                  <a:pt x="94" y="25"/>
                  <a:pt x="94" y="24"/>
                </a:cubicBezTo>
                <a:cubicBezTo>
                  <a:pt x="90" y="23"/>
                  <a:pt x="86" y="18"/>
                  <a:pt x="84" y="13"/>
                </a:cubicBezTo>
                <a:cubicBezTo>
                  <a:pt x="83" y="12"/>
                  <a:pt x="82" y="10"/>
                  <a:pt x="81" y="10"/>
                </a:cubicBezTo>
                <a:cubicBezTo>
                  <a:pt x="80" y="10"/>
                  <a:pt x="79" y="10"/>
                  <a:pt x="79" y="11"/>
                </a:cubicBezTo>
                <a:cubicBezTo>
                  <a:pt x="78" y="11"/>
                  <a:pt x="78" y="11"/>
                  <a:pt x="78" y="11"/>
                </a:cubicBezTo>
                <a:cubicBezTo>
                  <a:pt x="76" y="12"/>
                  <a:pt x="75" y="12"/>
                  <a:pt x="76" y="16"/>
                </a:cubicBezTo>
                <a:cubicBezTo>
                  <a:pt x="77" y="21"/>
                  <a:pt x="77" y="30"/>
                  <a:pt x="73" y="33"/>
                </a:cubicBezTo>
                <a:cubicBezTo>
                  <a:pt x="72" y="33"/>
                  <a:pt x="72" y="33"/>
                  <a:pt x="71" y="33"/>
                </a:cubicBezTo>
                <a:cubicBezTo>
                  <a:pt x="67" y="33"/>
                  <a:pt x="62" y="29"/>
                  <a:pt x="59" y="25"/>
                </a:cubicBezTo>
                <a:cubicBezTo>
                  <a:pt x="57" y="23"/>
                  <a:pt x="56" y="23"/>
                  <a:pt x="55" y="23"/>
                </a:cubicBezTo>
                <a:cubicBezTo>
                  <a:pt x="55" y="23"/>
                  <a:pt x="54" y="23"/>
                  <a:pt x="53" y="24"/>
                </a:cubicBezTo>
                <a:cubicBezTo>
                  <a:pt x="52" y="24"/>
                  <a:pt x="52" y="24"/>
                  <a:pt x="52" y="24"/>
                </a:cubicBezTo>
                <a:cubicBezTo>
                  <a:pt x="51" y="25"/>
                  <a:pt x="50" y="26"/>
                  <a:pt x="52" y="29"/>
                </a:cubicBezTo>
                <a:cubicBezTo>
                  <a:pt x="54" y="33"/>
                  <a:pt x="56" y="41"/>
                  <a:pt x="54" y="46"/>
                </a:cubicBezTo>
                <a:cubicBezTo>
                  <a:pt x="53" y="46"/>
                  <a:pt x="53" y="46"/>
                  <a:pt x="53" y="47"/>
                </a:cubicBezTo>
                <a:cubicBezTo>
                  <a:pt x="52" y="47"/>
                  <a:pt x="51" y="47"/>
                  <a:pt x="49" y="47"/>
                </a:cubicBezTo>
                <a:cubicBezTo>
                  <a:pt x="46" y="47"/>
                  <a:pt x="41" y="46"/>
                  <a:pt x="37" y="43"/>
                </a:cubicBezTo>
                <a:cubicBezTo>
                  <a:pt x="35" y="42"/>
                  <a:pt x="34" y="42"/>
                  <a:pt x="33" y="42"/>
                </a:cubicBezTo>
                <a:cubicBezTo>
                  <a:pt x="33" y="42"/>
                  <a:pt x="32" y="42"/>
                  <a:pt x="31" y="43"/>
                </a:cubicBezTo>
                <a:cubicBezTo>
                  <a:pt x="31" y="44"/>
                  <a:pt x="31" y="44"/>
                  <a:pt x="31" y="44"/>
                </a:cubicBezTo>
                <a:cubicBezTo>
                  <a:pt x="29" y="46"/>
                  <a:pt x="29" y="46"/>
                  <a:pt x="32" y="49"/>
                </a:cubicBezTo>
                <a:cubicBezTo>
                  <a:pt x="35" y="53"/>
                  <a:pt x="39" y="59"/>
                  <a:pt x="39" y="63"/>
                </a:cubicBezTo>
                <a:cubicBezTo>
                  <a:pt x="39" y="63"/>
                  <a:pt x="38" y="64"/>
                  <a:pt x="38" y="64"/>
                </a:cubicBezTo>
                <a:cubicBezTo>
                  <a:pt x="37" y="66"/>
                  <a:pt x="34" y="67"/>
                  <a:pt x="30" y="67"/>
                </a:cubicBezTo>
                <a:cubicBezTo>
                  <a:pt x="27" y="67"/>
                  <a:pt x="24" y="66"/>
                  <a:pt x="21" y="66"/>
                </a:cubicBezTo>
                <a:cubicBezTo>
                  <a:pt x="20" y="65"/>
                  <a:pt x="19" y="65"/>
                  <a:pt x="18" y="65"/>
                </a:cubicBezTo>
                <a:cubicBezTo>
                  <a:pt x="17" y="65"/>
                  <a:pt x="17" y="65"/>
                  <a:pt x="16" y="67"/>
                </a:cubicBezTo>
                <a:cubicBezTo>
                  <a:pt x="15" y="68"/>
                  <a:pt x="15" y="68"/>
                  <a:pt x="15" y="68"/>
                </a:cubicBezTo>
                <a:cubicBezTo>
                  <a:pt x="15" y="70"/>
                  <a:pt x="14" y="71"/>
                  <a:pt x="18" y="73"/>
                </a:cubicBezTo>
                <a:cubicBezTo>
                  <a:pt x="22" y="76"/>
                  <a:pt x="27" y="80"/>
                  <a:pt x="28" y="84"/>
                </a:cubicBezTo>
                <a:cubicBezTo>
                  <a:pt x="28" y="85"/>
                  <a:pt x="28" y="85"/>
                  <a:pt x="28" y="86"/>
                </a:cubicBezTo>
                <a:cubicBezTo>
                  <a:pt x="26" y="90"/>
                  <a:pt x="16" y="92"/>
                  <a:pt x="12" y="92"/>
                </a:cubicBezTo>
                <a:cubicBezTo>
                  <a:pt x="11" y="92"/>
                  <a:pt x="11" y="92"/>
                  <a:pt x="11" y="92"/>
                </a:cubicBezTo>
                <a:cubicBezTo>
                  <a:pt x="7" y="92"/>
                  <a:pt x="7" y="92"/>
                  <a:pt x="7" y="95"/>
                </a:cubicBezTo>
                <a:cubicBezTo>
                  <a:pt x="7" y="95"/>
                  <a:pt x="7" y="95"/>
                  <a:pt x="7" y="95"/>
                </a:cubicBezTo>
                <a:cubicBezTo>
                  <a:pt x="7" y="98"/>
                  <a:pt x="6" y="98"/>
                  <a:pt x="10" y="100"/>
                </a:cubicBezTo>
                <a:cubicBezTo>
                  <a:pt x="15" y="101"/>
                  <a:pt x="21" y="104"/>
                  <a:pt x="23" y="108"/>
                </a:cubicBezTo>
                <a:cubicBezTo>
                  <a:pt x="23" y="108"/>
                  <a:pt x="23" y="109"/>
                  <a:pt x="23" y="109"/>
                </a:cubicBezTo>
                <a:cubicBezTo>
                  <a:pt x="23" y="114"/>
                  <a:pt x="14" y="118"/>
                  <a:pt x="9" y="119"/>
                </a:cubicBezTo>
                <a:cubicBezTo>
                  <a:pt x="5" y="120"/>
                  <a:pt x="5" y="121"/>
                  <a:pt x="6" y="123"/>
                </a:cubicBezTo>
                <a:cubicBezTo>
                  <a:pt x="6" y="124"/>
                  <a:pt x="6" y="124"/>
                  <a:pt x="6" y="124"/>
                </a:cubicBezTo>
                <a:cubicBezTo>
                  <a:pt x="6" y="126"/>
                  <a:pt x="6" y="127"/>
                  <a:pt x="10" y="127"/>
                </a:cubicBezTo>
                <a:cubicBezTo>
                  <a:pt x="15" y="128"/>
                  <a:pt x="22" y="129"/>
                  <a:pt x="25" y="132"/>
                </a:cubicBezTo>
                <a:cubicBezTo>
                  <a:pt x="25" y="132"/>
                  <a:pt x="25" y="133"/>
                  <a:pt x="25" y="134"/>
                </a:cubicBezTo>
                <a:cubicBezTo>
                  <a:pt x="26" y="138"/>
                  <a:pt x="18" y="144"/>
                  <a:pt x="14" y="146"/>
                </a:cubicBezTo>
                <a:cubicBezTo>
                  <a:pt x="11" y="148"/>
                  <a:pt x="11" y="149"/>
                  <a:pt x="12" y="151"/>
                </a:cubicBezTo>
                <a:cubicBezTo>
                  <a:pt x="12" y="152"/>
                  <a:pt x="12" y="152"/>
                  <a:pt x="12" y="152"/>
                </a:cubicBezTo>
                <a:cubicBezTo>
                  <a:pt x="13" y="154"/>
                  <a:pt x="13" y="154"/>
                  <a:pt x="15" y="154"/>
                </a:cubicBezTo>
                <a:cubicBezTo>
                  <a:pt x="15" y="154"/>
                  <a:pt x="16" y="154"/>
                  <a:pt x="17" y="154"/>
                </a:cubicBezTo>
                <a:cubicBezTo>
                  <a:pt x="20" y="153"/>
                  <a:pt x="22" y="153"/>
                  <a:pt x="24" y="153"/>
                </a:cubicBezTo>
                <a:cubicBezTo>
                  <a:pt x="27" y="153"/>
                  <a:pt x="30" y="153"/>
                  <a:pt x="32" y="155"/>
                </a:cubicBezTo>
                <a:cubicBezTo>
                  <a:pt x="33" y="155"/>
                  <a:pt x="33" y="155"/>
                  <a:pt x="33" y="156"/>
                </a:cubicBezTo>
                <a:cubicBezTo>
                  <a:pt x="35" y="161"/>
                  <a:pt x="29" y="168"/>
                  <a:pt x="26" y="171"/>
                </a:cubicBezTo>
                <a:cubicBezTo>
                  <a:pt x="23" y="174"/>
                  <a:pt x="23" y="175"/>
                  <a:pt x="25" y="177"/>
                </a:cubicBezTo>
                <a:cubicBezTo>
                  <a:pt x="25" y="177"/>
                  <a:pt x="25" y="177"/>
                  <a:pt x="25" y="177"/>
                </a:cubicBezTo>
                <a:cubicBezTo>
                  <a:pt x="26" y="179"/>
                  <a:pt x="27" y="179"/>
                  <a:pt x="27" y="179"/>
                </a:cubicBezTo>
                <a:cubicBezTo>
                  <a:pt x="28" y="179"/>
                  <a:pt x="29" y="179"/>
                  <a:pt x="31" y="178"/>
                </a:cubicBezTo>
                <a:cubicBezTo>
                  <a:pt x="35" y="176"/>
                  <a:pt x="40" y="174"/>
                  <a:pt x="43" y="174"/>
                </a:cubicBezTo>
                <a:cubicBezTo>
                  <a:pt x="44" y="174"/>
                  <a:pt x="45" y="175"/>
                  <a:pt x="45" y="175"/>
                </a:cubicBezTo>
                <a:cubicBezTo>
                  <a:pt x="46" y="175"/>
                  <a:pt x="46" y="175"/>
                  <a:pt x="47" y="176"/>
                </a:cubicBezTo>
                <a:cubicBezTo>
                  <a:pt x="50" y="180"/>
                  <a:pt x="46" y="188"/>
                  <a:pt x="44" y="192"/>
                </a:cubicBezTo>
                <a:cubicBezTo>
                  <a:pt x="42" y="196"/>
                  <a:pt x="42" y="197"/>
                  <a:pt x="44" y="198"/>
                </a:cubicBezTo>
                <a:cubicBezTo>
                  <a:pt x="45" y="198"/>
                  <a:pt x="45" y="198"/>
                  <a:pt x="45" y="198"/>
                </a:cubicBezTo>
                <a:cubicBezTo>
                  <a:pt x="46" y="199"/>
                  <a:pt x="46" y="200"/>
                  <a:pt x="47" y="200"/>
                </a:cubicBezTo>
                <a:cubicBezTo>
                  <a:pt x="47" y="200"/>
                  <a:pt x="48" y="199"/>
                  <a:pt x="50" y="198"/>
                </a:cubicBezTo>
                <a:cubicBezTo>
                  <a:pt x="54" y="194"/>
                  <a:pt x="60" y="191"/>
                  <a:pt x="63" y="191"/>
                </a:cubicBezTo>
                <a:cubicBezTo>
                  <a:pt x="64" y="191"/>
                  <a:pt x="64" y="191"/>
                  <a:pt x="64" y="191"/>
                </a:cubicBezTo>
                <a:cubicBezTo>
                  <a:pt x="64" y="191"/>
                  <a:pt x="65" y="191"/>
                  <a:pt x="65" y="191"/>
                </a:cubicBezTo>
                <a:cubicBezTo>
                  <a:pt x="69" y="194"/>
                  <a:pt x="68" y="204"/>
                  <a:pt x="67" y="208"/>
                </a:cubicBezTo>
                <a:cubicBezTo>
                  <a:pt x="65" y="212"/>
                  <a:pt x="66" y="213"/>
                  <a:pt x="68" y="213"/>
                </a:cubicBezTo>
                <a:cubicBezTo>
                  <a:pt x="69" y="214"/>
                  <a:pt x="69" y="214"/>
                  <a:pt x="69" y="214"/>
                </a:cubicBezTo>
                <a:cubicBezTo>
                  <a:pt x="70" y="214"/>
                  <a:pt x="70" y="214"/>
                  <a:pt x="71" y="214"/>
                </a:cubicBezTo>
                <a:cubicBezTo>
                  <a:pt x="72" y="214"/>
                  <a:pt x="73" y="213"/>
                  <a:pt x="74" y="211"/>
                </a:cubicBezTo>
                <a:cubicBezTo>
                  <a:pt x="77" y="207"/>
                  <a:pt x="81" y="202"/>
                  <a:pt x="85" y="201"/>
                </a:cubicBezTo>
                <a:cubicBezTo>
                  <a:pt x="86" y="201"/>
                  <a:pt x="86" y="201"/>
                  <a:pt x="87" y="202"/>
                </a:cubicBezTo>
                <a:cubicBezTo>
                  <a:pt x="91" y="203"/>
                  <a:pt x="93" y="213"/>
                  <a:pt x="93" y="217"/>
                </a:cubicBezTo>
                <a:cubicBezTo>
                  <a:pt x="92" y="222"/>
                  <a:pt x="93" y="222"/>
                  <a:pt x="95" y="222"/>
                </a:cubicBezTo>
                <a:cubicBezTo>
                  <a:pt x="96" y="222"/>
                  <a:pt x="96" y="222"/>
                  <a:pt x="96" y="222"/>
                </a:cubicBezTo>
                <a:cubicBezTo>
                  <a:pt x="97" y="222"/>
                  <a:pt x="97" y="223"/>
                  <a:pt x="98" y="223"/>
                </a:cubicBezTo>
                <a:cubicBezTo>
                  <a:pt x="98" y="223"/>
                  <a:pt x="99" y="223"/>
                  <a:pt x="100" y="219"/>
                </a:cubicBezTo>
                <a:cubicBezTo>
                  <a:pt x="102" y="214"/>
                  <a:pt x="105" y="208"/>
                  <a:pt x="109" y="206"/>
                </a:cubicBezTo>
                <a:cubicBezTo>
                  <a:pt x="109" y="206"/>
                  <a:pt x="109" y="206"/>
                  <a:pt x="110" y="206"/>
                </a:cubicBezTo>
                <a:close/>
                <a:moveTo>
                  <a:pt x="115" y="194"/>
                </a:moveTo>
                <a:cubicBezTo>
                  <a:pt x="96" y="194"/>
                  <a:pt x="78" y="187"/>
                  <a:pt x="63" y="175"/>
                </a:cubicBezTo>
                <a:cubicBezTo>
                  <a:pt x="30" y="147"/>
                  <a:pt x="26" y="96"/>
                  <a:pt x="54" y="63"/>
                </a:cubicBezTo>
                <a:cubicBezTo>
                  <a:pt x="69" y="45"/>
                  <a:pt x="92" y="34"/>
                  <a:pt x="115" y="34"/>
                </a:cubicBezTo>
                <a:cubicBezTo>
                  <a:pt x="134" y="34"/>
                  <a:pt x="152" y="41"/>
                  <a:pt x="167" y="53"/>
                </a:cubicBezTo>
                <a:cubicBezTo>
                  <a:pt x="183" y="67"/>
                  <a:pt x="193" y="86"/>
                  <a:pt x="195" y="108"/>
                </a:cubicBezTo>
                <a:cubicBezTo>
                  <a:pt x="196" y="129"/>
                  <a:pt x="190" y="150"/>
                  <a:pt x="176" y="166"/>
                </a:cubicBezTo>
                <a:cubicBezTo>
                  <a:pt x="161" y="184"/>
                  <a:pt x="138" y="194"/>
                  <a:pt x="115" y="194"/>
                </a:cubicBezTo>
                <a:close/>
                <a:moveTo>
                  <a:pt x="115" y="39"/>
                </a:moveTo>
                <a:cubicBezTo>
                  <a:pt x="93" y="39"/>
                  <a:pt x="72" y="49"/>
                  <a:pt x="58" y="66"/>
                </a:cubicBezTo>
                <a:cubicBezTo>
                  <a:pt x="31" y="97"/>
                  <a:pt x="35" y="145"/>
                  <a:pt x="67" y="171"/>
                </a:cubicBezTo>
                <a:cubicBezTo>
                  <a:pt x="80" y="183"/>
                  <a:pt x="97" y="189"/>
                  <a:pt x="115" y="189"/>
                </a:cubicBezTo>
                <a:cubicBezTo>
                  <a:pt x="137" y="189"/>
                  <a:pt x="158" y="179"/>
                  <a:pt x="172" y="163"/>
                </a:cubicBezTo>
                <a:cubicBezTo>
                  <a:pt x="185" y="147"/>
                  <a:pt x="191" y="128"/>
                  <a:pt x="190" y="108"/>
                </a:cubicBezTo>
                <a:cubicBezTo>
                  <a:pt x="188" y="88"/>
                  <a:pt x="179" y="70"/>
                  <a:pt x="163" y="57"/>
                </a:cubicBezTo>
                <a:cubicBezTo>
                  <a:pt x="150" y="46"/>
                  <a:pt x="133" y="39"/>
                  <a:pt x="115" y="3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9" name="Freeform 1418">
            <a:extLst>
              <a:ext uri="{FF2B5EF4-FFF2-40B4-BE49-F238E27FC236}">
                <a16:creationId xmlns:a16="http://schemas.microsoft.com/office/drawing/2014/main" id="{945DEFF6-3394-4E2E-BFCF-2B151A381676}"/>
              </a:ext>
            </a:extLst>
          </p:cNvPr>
          <p:cNvSpPr>
            <a:spLocks noEditPoints="1"/>
          </p:cNvSpPr>
          <p:nvPr/>
        </p:nvSpPr>
        <p:spPr bwMode="auto">
          <a:xfrm>
            <a:off x="4003157" y="838993"/>
            <a:ext cx="386197" cy="354456"/>
          </a:xfrm>
          <a:custGeom>
            <a:avLst/>
            <a:gdLst>
              <a:gd name="T0" fmla="*/ 46 w 97"/>
              <a:gd name="T1" fmla="*/ 90 h 90"/>
              <a:gd name="T2" fmla="*/ 46 w 97"/>
              <a:gd name="T3" fmla="*/ 90 h 90"/>
              <a:gd name="T4" fmla="*/ 17 w 97"/>
              <a:gd name="T5" fmla="*/ 80 h 90"/>
              <a:gd name="T6" fmla="*/ 1 w 97"/>
              <a:gd name="T7" fmla="*/ 49 h 90"/>
              <a:gd name="T8" fmla="*/ 12 w 97"/>
              <a:gd name="T9" fmla="*/ 16 h 90"/>
              <a:gd name="T10" fmla="*/ 46 w 97"/>
              <a:gd name="T11" fmla="*/ 0 h 90"/>
              <a:gd name="T12" fmla="*/ 75 w 97"/>
              <a:gd name="T13" fmla="*/ 11 h 90"/>
              <a:gd name="T14" fmla="*/ 80 w 97"/>
              <a:gd name="T15" fmla="*/ 74 h 90"/>
              <a:gd name="T16" fmla="*/ 46 w 97"/>
              <a:gd name="T17" fmla="*/ 90 h 90"/>
              <a:gd name="T18" fmla="*/ 46 w 97"/>
              <a:gd name="T19" fmla="*/ 5 h 90"/>
              <a:gd name="T20" fmla="*/ 15 w 97"/>
              <a:gd name="T21" fmla="*/ 19 h 90"/>
              <a:gd name="T22" fmla="*/ 6 w 97"/>
              <a:gd name="T23" fmla="*/ 49 h 90"/>
              <a:gd name="T24" fmla="*/ 20 w 97"/>
              <a:gd name="T25" fmla="*/ 76 h 90"/>
              <a:gd name="T26" fmla="*/ 46 w 97"/>
              <a:gd name="T27" fmla="*/ 85 h 90"/>
              <a:gd name="T28" fmla="*/ 77 w 97"/>
              <a:gd name="T29" fmla="*/ 71 h 90"/>
              <a:gd name="T30" fmla="*/ 72 w 97"/>
              <a:gd name="T31" fmla="*/ 15 h 90"/>
              <a:gd name="T32" fmla="*/ 46 w 97"/>
              <a:gd name="T33" fmla="*/ 5 h 90"/>
              <a:gd name="T34" fmla="*/ 46 w 97"/>
              <a:gd name="T35" fmla="*/ 74 h 90"/>
              <a:gd name="T36" fmla="*/ 27 w 97"/>
              <a:gd name="T37" fmla="*/ 67 h 90"/>
              <a:gd name="T38" fmla="*/ 24 w 97"/>
              <a:gd name="T39" fmla="*/ 26 h 90"/>
              <a:gd name="T40" fmla="*/ 46 w 97"/>
              <a:gd name="T41" fmla="*/ 16 h 90"/>
              <a:gd name="T42" fmla="*/ 65 w 97"/>
              <a:gd name="T43" fmla="*/ 23 h 90"/>
              <a:gd name="T44" fmla="*/ 68 w 97"/>
              <a:gd name="T45" fmla="*/ 64 h 90"/>
              <a:gd name="T46" fmla="*/ 46 w 97"/>
              <a:gd name="T47" fmla="*/ 74 h 90"/>
              <a:gd name="T48" fmla="*/ 46 w 97"/>
              <a:gd name="T49" fmla="*/ 21 h 90"/>
              <a:gd name="T50" fmla="*/ 28 w 97"/>
              <a:gd name="T51" fmla="*/ 30 h 90"/>
              <a:gd name="T52" fmla="*/ 31 w 97"/>
              <a:gd name="T53" fmla="*/ 63 h 90"/>
              <a:gd name="T54" fmla="*/ 46 w 97"/>
              <a:gd name="T55" fmla="*/ 69 h 90"/>
              <a:gd name="T56" fmla="*/ 64 w 97"/>
              <a:gd name="T57" fmla="*/ 61 h 90"/>
              <a:gd name="T58" fmla="*/ 61 w 97"/>
              <a:gd name="T59" fmla="*/ 27 h 90"/>
              <a:gd name="T60" fmla="*/ 46 w 97"/>
              <a:gd name="T61"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90">
                <a:moveTo>
                  <a:pt x="46" y="90"/>
                </a:moveTo>
                <a:cubicBezTo>
                  <a:pt x="46" y="90"/>
                  <a:pt x="46" y="90"/>
                  <a:pt x="46" y="90"/>
                </a:cubicBezTo>
                <a:cubicBezTo>
                  <a:pt x="35" y="90"/>
                  <a:pt x="25" y="87"/>
                  <a:pt x="17" y="80"/>
                </a:cubicBezTo>
                <a:cubicBezTo>
                  <a:pt x="8" y="72"/>
                  <a:pt x="2" y="61"/>
                  <a:pt x="1" y="49"/>
                </a:cubicBezTo>
                <a:cubicBezTo>
                  <a:pt x="0" y="37"/>
                  <a:pt x="4" y="25"/>
                  <a:pt x="12" y="16"/>
                </a:cubicBezTo>
                <a:cubicBezTo>
                  <a:pt x="20" y="6"/>
                  <a:pt x="33" y="0"/>
                  <a:pt x="46" y="0"/>
                </a:cubicBezTo>
                <a:cubicBezTo>
                  <a:pt x="57" y="0"/>
                  <a:pt x="67" y="4"/>
                  <a:pt x="75" y="11"/>
                </a:cubicBezTo>
                <a:cubicBezTo>
                  <a:pt x="94" y="27"/>
                  <a:pt x="97" y="55"/>
                  <a:pt x="80" y="74"/>
                </a:cubicBezTo>
                <a:cubicBezTo>
                  <a:pt x="72" y="84"/>
                  <a:pt x="59" y="90"/>
                  <a:pt x="46" y="90"/>
                </a:cubicBezTo>
                <a:close/>
                <a:moveTo>
                  <a:pt x="46" y="5"/>
                </a:moveTo>
                <a:cubicBezTo>
                  <a:pt x="34" y="5"/>
                  <a:pt x="23" y="10"/>
                  <a:pt x="15" y="19"/>
                </a:cubicBezTo>
                <a:cubicBezTo>
                  <a:pt x="8" y="27"/>
                  <a:pt x="5" y="38"/>
                  <a:pt x="6" y="49"/>
                </a:cubicBezTo>
                <a:cubicBezTo>
                  <a:pt x="7" y="59"/>
                  <a:pt x="12" y="69"/>
                  <a:pt x="20" y="76"/>
                </a:cubicBezTo>
                <a:cubicBezTo>
                  <a:pt x="27" y="82"/>
                  <a:pt x="37" y="85"/>
                  <a:pt x="46" y="85"/>
                </a:cubicBezTo>
                <a:cubicBezTo>
                  <a:pt x="58" y="85"/>
                  <a:pt x="69" y="80"/>
                  <a:pt x="77" y="71"/>
                </a:cubicBezTo>
                <a:cubicBezTo>
                  <a:pt x="91" y="54"/>
                  <a:pt x="89" y="29"/>
                  <a:pt x="72" y="15"/>
                </a:cubicBezTo>
                <a:cubicBezTo>
                  <a:pt x="65" y="8"/>
                  <a:pt x="56" y="5"/>
                  <a:pt x="46" y="5"/>
                </a:cubicBezTo>
                <a:close/>
                <a:moveTo>
                  <a:pt x="46" y="74"/>
                </a:moveTo>
                <a:cubicBezTo>
                  <a:pt x="39" y="74"/>
                  <a:pt x="33" y="72"/>
                  <a:pt x="27" y="67"/>
                </a:cubicBezTo>
                <a:cubicBezTo>
                  <a:pt x="15" y="57"/>
                  <a:pt x="14" y="39"/>
                  <a:pt x="24" y="26"/>
                </a:cubicBezTo>
                <a:cubicBezTo>
                  <a:pt x="29" y="20"/>
                  <a:pt x="37" y="16"/>
                  <a:pt x="46" y="16"/>
                </a:cubicBezTo>
                <a:cubicBezTo>
                  <a:pt x="53" y="16"/>
                  <a:pt x="60" y="19"/>
                  <a:pt x="65" y="23"/>
                </a:cubicBezTo>
                <a:cubicBezTo>
                  <a:pt x="77" y="33"/>
                  <a:pt x="78" y="52"/>
                  <a:pt x="68" y="64"/>
                </a:cubicBezTo>
                <a:cubicBezTo>
                  <a:pt x="63" y="70"/>
                  <a:pt x="55" y="74"/>
                  <a:pt x="46" y="74"/>
                </a:cubicBezTo>
                <a:close/>
                <a:moveTo>
                  <a:pt x="46" y="21"/>
                </a:moveTo>
                <a:cubicBezTo>
                  <a:pt x="39" y="21"/>
                  <a:pt x="32" y="24"/>
                  <a:pt x="28" y="30"/>
                </a:cubicBezTo>
                <a:cubicBezTo>
                  <a:pt x="19" y="40"/>
                  <a:pt x="20" y="55"/>
                  <a:pt x="31" y="63"/>
                </a:cubicBezTo>
                <a:cubicBezTo>
                  <a:pt x="35" y="67"/>
                  <a:pt x="40" y="69"/>
                  <a:pt x="46" y="69"/>
                </a:cubicBezTo>
                <a:cubicBezTo>
                  <a:pt x="53" y="69"/>
                  <a:pt x="60" y="66"/>
                  <a:pt x="64" y="61"/>
                </a:cubicBezTo>
                <a:cubicBezTo>
                  <a:pt x="73" y="51"/>
                  <a:pt x="72" y="35"/>
                  <a:pt x="61" y="27"/>
                </a:cubicBezTo>
                <a:cubicBezTo>
                  <a:pt x="57" y="23"/>
                  <a:pt x="52" y="21"/>
                  <a:pt x="46"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6" name="Freeform 1426">
            <a:extLst>
              <a:ext uri="{FF2B5EF4-FFF2-40B4-BE49-F238E27FC236}">
                <a16:creationId xmlns:a16="http://schemas.microsoft.com/office/drawing/2014/main" id="{7B22028E-A2BD-4230-A5D3-0DF3A7D77BF6}"/>
              </a:ext>
            </a:extLst>
          </p:cNvPr>
          <p:cNvSpPr>
            <a:spLocks noEditPoints="1"/>
          </p:cNvSpPr>
          <p:nvPr/>
        </p:nvSpPr>
        <p:spPr bwMode="auto">
          <a:xfrm>
            <a:off x="3691025" y="-28625"/>
            <a:ext cx="476132" cy="476132"/>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7 h 120"/>
              <a:gd name="T12" fmla="*/ 113 w 120"/>
              <a:gd name="T13" fmla="*/ 60 h 120"/>
              <a:gd name="T14" fmla="*/ 67 w 120"/>
              <a:gd name="T15" fmla="*/ 112 h 120"/>
              <a:gd name="T16" fmla="*/ 67 w 120"/>
              <a:gd name="T17" fmla="*/ 62 h 120"/>
              <a:gd name="T18" fmla="*/ 67 w 120"/>
              <a:gd name="T19" fmla="*/ 43 h 120"/>
              <a:gd name="T20" fmla="*/ 75 w 120"/>
              <a:gd name="T21" fmla="*/ 51 h 120"/>
              <a:gd name="T22" fmla="*/ 75 w 120"/>
              <a:gd name="T23" fmla="*/ 51 h 120"/>
              <a:gd name="T24" fmla="*/ 77 w 120"/>
              <a:gd name="T25" fmla="*/ 53 h 120"/>
              <a:gd name="T26" fmla="*/ 83 w 120"/>
              <a:gd name="T27" fmla="*/ 56 h 120"/>
              <a:gd name="T28" fmla="*/ 88 w 120"/>
              <a:gd name="T29" fmla="*/ 53 h 120"/>
              <a:gd name="T30" fmla="*/ 89 w 120"/>
              <a:gd name="T31" fmla="*/ 42 h 120"/>
              <a:gd name="T32" fmla="*/ 79 w 120"/>
              <a:gd name="T33" fmla="*/ 32 h 120"/>
              <a:gd name="T34" fmla="*/ 59 w 120"/>
              <a:gd name="T35" fmla="*/ 12 h 120"/>
              <a:gd name="T36" fmla="*/ 30 w 120"/>
              <a:gd name="T37" fmla="*/ 42 h 120"/>
              <a:gd name="T38" fmla="*/ 30 w 120"/>
              <a:gd name="T39" fmla="*/ 53 h 120"/>
              <a:gd name="T40" fmla="*/ 41 w 120"/>
              <a:gd name="T41" fmla="*/ 53 h 120"/>
              <a:gd name="T42" fmla="*/ 51 w 120"/>
              <a:gd name="T43" fmla="*/ 43 h 120"/>
              <a:gd name="T44" fmla="*/ 51 w 120"/>
              <a:gd name="T45" fmla="*/ 71 h 120"/>
              <a:gd name="T46" fmla="*/ 51 w 120"/>
              <a:gd name="T47" fmla="*/ 112 h 120"/>
              <a:gd name="T48" fmla="*/ 6 w 120"/>
              <a:gd name="T49" fmla="*/ 60 h 120"/>
              <a:gd name="T50" fmla="*/ 60 w 120"/>
              <a:gd name="T51" fmla="*/ 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7"/>
                </a:moveTo>
                <a:cubicBezTo>
                  <a:pt x="89" y="7"/>
                  <a:pt x="113" y="30"/>
                  <a:pt x="113" y="60"/>
                </a:cubicBezTo>
                <a:cubicBezTo>
                  <a:pt x="113" y="87"/>
                  <a:pt x="93" y="109"/>
                  <a:pt x="67" y="112"/>
                </a:cubicBezTo>
                <a:cubicBezTo>
                  <a:pt x="67" y="62"/>
                  <a:pt x="67" y="62"/>
                  <a:pt x="67" y="62"/>
                </a:cubicBezTo>
                <a:cubicBezTo>
                  <a:pt x="67" y="43"/>
                  <a:pt x="67" y="43"/>
                  <a:pt x="67" y="43"/>
                </a:cubicBezTo>
                <a:cubicBezTo>
                  <a:pt x="75" y="51"/>
                  <a:pt x="75" y="51"/>
                  <a:pt x="75" y="51"/>
                </a:cubicBezTo>
                <a:cubicBezTo>
                  <a:pt x="75" y="51"/>
                  <a:pt x="75" y="51"/>
                  <a:pt x="75" y="51"/>
                </a:cubicBezTo>
                <a:cubicBezTo>
                  <a:pt x="77" y="53"/>
                  <a:pt x="77" y="53"/>
                  <a:pt x="77" y="53"/>
                </a:cubicBezTo>
                <a:cubicBezTo>
                  <a:pt x="79" y="55"/>
                  <a:pt x="81" y="56"/>
                  <a:pt x="83" y="56"/>
                </a:cubicBezTo>
                <a:cubicBezTo>
                  <a:pt x="85" y="56"/>
                  <a:pt x="87" y="55"/>
                  <a:pt x="88" y="53"/>
                </a:cubicBezTo>
                <a:cubicBezTo>
                  <a:pt x="91" y="50"/>
                  <a:pt x="92" y="45"/>
                  <a:pt x="89" y="42"/>
                </a:cubicBezTo>
                <a:cubicBezTo>
                  <a:pt x="79" y="32"/>
                  <a:pt x="79" y="32"/>
                  <a:pt x="79" y="32"/>
                </a:cubicBezTo>
                <a:cubicBezTo>
                  <a:pt x="59" y="12"/>
                  <a:pt x="59" y="12"/>
                  <a:pt x="59" y="12"/>
                </a:cubicBezTo>
                <a:cubicBezTo>
                  <a:pt x="30" y="42"/>
                  <a:pt x="30" y="42"/>
                  <a:pt x="30" y="42"/>
                </a:cubicBezTo>
                <a:cubicBezTo>
                  <a:pt x="27" y="45"/>
                  <a:pt x="27" y="50"/>
                  <a:pt x="30" y="53"/>
                </a:cubicBezTo>
                <a:cubicBezTo>
                  <a:pt x="33" y="57"/>
                  <a:pt x="38" y="56"/>
                  <a:pt x="41" y="53"/>
                </a:cubicBezTo>
                <a:cubicBezTo>
                  <a:pt x="51" y="43"/>
                  <a:pt x="51" y="43"/>
                  <a:pt x="51" y="43"/>
                </a:cubicBezTo>
                <a:cubicBezTo>
                  <a:pt x="51" y="71"/>
                  <a:pt x="51" y="71"/>
                  <a:pt x="51" y="71"/>
                </a:cubicBezTo>
                <a:cubicBezTo>
                  <a:pt x="51" y="112"/>
                  <a:pt x="51" y="112"/>
                  <a:pt x="51" y="112"/>
                </a:cubicBezTo>
                <a:cubicBezTo>
                  <a:pt x="26" y="108"/>
                  <a:pt x="6" y="86"/>
                  <a:pt x="6" y="60"/>
                </a:cubicBezTo>
                <a:cubicBezTo>
                  <a:pt x="6" y="30"/>
                  <a:pt x="30"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7" name="Freeform 1457">
            <a:extLst>
              <a:ext uri="{FF2B5EF4-FFF2-40B4-BE49-F238E27FC236}">
                <a16:creationId xmlns:a16="http://schemas.microsoft.com/office/drawing/2014/main" id="{5CFF1AC8-5AEC-4258-9938-1E1468EE458C}"/>
              </a:ext>
            </a:extLst>
          </p:cNvPr>
          <p:cNvSpPr>
            <a:spLocks noEditPoints="1"/>
          </p:cNvSpPr>
          <p:nvPr/>
        </p:nvSpPr>
        <p:spPr bwMode="auto">
          <a:xfrm>
            <a:off x="3040312" y="188280"/>
            <a:ext cx="481424" cy="470843"/>
          </a:xfrm>
          <a:custGeom>
            <a:avLst/>
            <a:gdLst>
              <a:gd name="T0" fmla="*/ 60 w 121"/>
              <a:gd name="T1" fmla="*/ 0 h 120"/>
              <a:gd name="T2" fmla="*/ 0 w 121"/>
              <a:gd name="T3" fmla="*/ 60 h 120"/>
              <a:gd name="T4" fmla="*/ 60 w 121"/>
              <a:gd name="T5" fmla="*/ 120 h 120"/>
              <a:gd name="T6" fmla="*/ 121 w 121"/>
              <a:gd name="T7" fmla="*/ 60 h 120"/>
              <a:gd name="T8" fmla="*/ 60 w 121"/>
              <a:gd name="T9" fmla="*/ 0 h 120"/>
              <a:gd name="T10" fmla="*/ 60 w 121"/>
              <a:gd name="T11" fmla="*/ 7 h 120"/>
              <a:gd name="T12" fmla="*/ 114 w 121"/>
              <a:gd name="T13" fmla="*/ 60 h 120"/>
              <a:gd name="T14" fmla="*/ 68 w 121"/>
              <a:gd name="T15" fmla="*/ 113 h 120"/>
              <a:gd name="T16" fmla="*/ 68 w 121"/>
              <a:gd name="T17" fmla="*/ 62 h 120"/>
              <a:gd name="T18" fmla="*/ 68 w 121"/>
              <a:gd name="T19" fmla="*/ 43 h 120"/>
              <a:gd name="T20" fmla="*/ 76 w 121"/>
              <a:gd name="T21" fmla="*/ 51 h 120"/>
              <a:gd name="T22" fmla="*/ 76 w 121"/>
              <a:gd name="T23" fmla="*/ 51 h 120"/>
              <a:gd name="T24" fmla="*/ 78 w 121"/>
              <a:gd name="T25" fmla="*/ 54 h 120"/>
              <a:gd name="T26" fmla="*/ 84 w 121"/>
              <a:gd name="T27" fmla="*/ 56 h 120"/>
              <a:gd name="T28" fmla="*/ 89 w 121"/>
              <a:gd name="T29" fmla="*/ 54 h 120"/>
              <a:gd name="T30" fmla="*/ 89 w 121"/>
              <a:gd name="T31" fmla="*/ 42 h 120"/>
              <a:gd name="T32" fmla="*/ 79 w 121"/>
              <a:gd name="T33" fmla="*/ 32 h 120"/>
              <a:gd name="T34" fmla="*/ 60 w 121"/>
              <a:gd name="T35" fmla="*/ 12 h 120"/>
              <a:gd name="T36" fmla="*/ 31 w 121"/>
              <a:gd name="T37" fmla="*/ 42 h 120"/>
              <a:gd name="T38" fmla="*/ 31 w 121"/>
              <a:gd name="T39" fmla="*/ 54 h 120"/>
              <a:gd name="T40" fmla="*/ 42 w 121"/>
              <a:gd name="T41" fmla="*/ 54 h 120"/>
              <a:gd name="T42" fmla="*/ 52 w 121"/>
              <a:gd name="T43" fmla="*/ 43 h 120"/>
              <a:gd name="T44" fmla="*/ 52 w 121"/>
              <a:gd name="T45" fmla="*/ 72 h 120"/>
              <a:gd name="T46" fmla="*/ 52 w 121"/>
              <a:gd name="T47" fmla="*/ 113 h 120"/>
              <a:gd name="T48" fmla="*/ 7 w 121"/>
              <a:gd name="T49" fmla="*/ 60 h 120"/>
              <a:gd name="T50" fmla="*/ 60 w 121"/>
              <a:gd name="T51" fmla="*/ 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0">
                <a:moveTo>
                  <a:pt x="60" y="0"/>
                </a:moveTo>
                <a:cubicBezTo>
                  <a:pt x="27" y="0"/>
                  <a:pt x="0" y="27"/>
                  <a:pt x="0" y="60"/>
                </a:cubicBezTo>
                <a:cubicBezTo>
                  <a:pt x="0" y="93"/>
                  <a:pt x="27" y="120"/>
                  <a:pt x="60" y="120"/>
                </a:cubicBezTo>
                <a:cubicBezTo>
                  <a:pt x="94" y="120"/>
                  <a:pt x="121" y="93"/>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4"/>
                  <a:pt x="78" y="54"/>
                  <a:pt x="78" y="54"/>
                </a:cubicBezTo>
                <a:cubicBezTo>
                  <a:pt x="79" y="55"/>
                  <a:pt x="81" y="56"/>
                  <a:pt x="84" y="56"/>
                </a:cubicBezTo>
                <a:cubicBezTo>
                  <a:pt x="86" y="56"/>
                  <a:pt x="88" y="55"/>
                  <a:pt x="89" y="54"/>
                </a:cubicBezTo>
                <a:cubicBezTo>
                  <a:pt x="92" y="51"/>
                  <a:pt x="92" y="46"/>
                  <a:pt x="89" y="42"/>
                </a:cubicBezTo>
                <a:cubicBezTo>
                  <a:pt x="79" y="32"/>
                  <a:pt x="79" y="32"/>
                  <a:pt x="79" y="32"/>
                </a:cubicBezTo>
                <a:cubicBezTo>
                  <a:pt x="60" y="12"/>
                  <a:pt x="60" y="12"/>
                  <a:pt x="60" y="12"/>
                </a:cubicBezTo>
                <a:cubicBezTo>
                  <a:pt x="31" y="42"/>
                  <a:pt x="31" y="42"/>
                  <a:pt x="31" y="42"/>
                </a:cubicBezTo>
                <a:cubicBezTo>
                  <a:pt x="28" y="46"/>
                  <a:pt x="28" y="51"/>
                  <a:pt x="31" y="54"/>
                </a:cubicBezTo>
                <a:cubicBezTo>
                  <a:pt x="34" y="57"/>
                  <a:pt x="39" y="57"/>
                  <a:pt x="42" y="54"/>
                </a:cubicBezTo>
                <a:cubicBezTo>
                  <a:pt x="52" y="43"/>
                  <a:pt x="52" y="43"/>
                  <a:pt x="52" y="43"/>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9" name="Freeform 1459">
            <a:extLst>
              <a:ext uri="{FF2B5EF4-FFF2-40B4-BE49-F238E27FC236}">
                <a16:creationId xmlns:a16="http://schemas.microsoft.com/office/drawing/2014/main" id="{C718C556-7C81-4134-BEB8-67537FC6DB56}"/>
              </a:ext>
            </a:extLst>
          </p:cNvPr>
          <p:cNvSpPr>
            <a:spLocks noEditPoints="1"/>
          </p:cNvSpPr>
          <p:nvPr/>
        </p:nvSpPr>
        <p:spPr bwMode="auto">
          <a:xfrm>
            <a:off x="3521733" y="167120"/>
            <a:ext cx="132261" cy="761811"/>
          </a:xfrm>
          <a:custGeom>
            <a:avLst/>
            <a:gdLst>
              <a:gd name="T0" fmla="*/ 11 w 25"/>
              <a:gd name="T1" fmla="*/ 27 h 144"/>
              <a:gd name="T2" fmla="*/ 14 w 25"/>
              <a:gd name="T3" fmla="*/ 31 h 144"/>
              <a:gd name="T4" fmla="*/ 14 w 25"/>
              <a:gd name="T5" fmla="*/ 40 h 144"/>
              <a:gd name="T6" fmla="*/ 11 w 25"/>
              <a:gd name="T7" fmla="*/ 36 h 144"/>
              <a:gd name="T8" fmla="*/ 14 w 25"/>
              <a:gd name="T9" fmla="*/ 40 h 144"/>
              <a:gd name="T10" fmla="*/ 14 w 25"/>
              <a:gd name="T11" fmla="*/ 45 h 144"/>
              <a:gd name="T12" fmla="*/ 11 w 25"/>
              <a:gd name="T13" fmla="*/ 48 h 144"/>
              <a:gd name="T14" fmla="*/ 14 w 25"/>
              <a:gd name="T15" fmla="*/ 57 h 144"/>
              <a:gd name="T16" fmla="*/ 11 w 25"/>
              <a:gd name="T17" fmla="*/ 53 h 144"/>
              <a:gd name="T18" fmla="*/ 14 w 25"/>
              <a:gd name="T19" fmla="*/ 57 h 144"/>
              <a:gd name="T20" fmla="*/ 14 w 25"/>
              <a:gd name="T21" fmla="*/ 62 h 144"/>
              <a:gd name="T22" fmla="*/ 11 w 25"/>
              <a:gd name="T23" fmla="*/ 66 h 144"/>
              <a:gd name="T24" fmla="*/ 14 w 25"/>
              <a:gd name="T25" fmla="*/ 75 h 144"/>
              <a:gd name="T26" fmla="*/ 11 w 25"/>
              <a:gd name="T27" fmla="*/ 71 h 144"/>
              <a:gd name="T28" fmla="*/ 14 w 25"/>
              <a:gd name="T29" fmla="*/ 75 h 144"/>
              <a:gd name="T30" fmla="*/ 14 w 25"/>
              <a:gd name="T31" fmla="*/ 79 h 144"/>
              <a:gd name="T32" fmla="*/ 11 w 25"/>
              <a:gd name="T33" fmla="*/ 84 h 144"/>
              <a:gd name="T34" fmla="*/ 14 w 25"/>
              <a:gd name="T35" fmla="*/ 93 h 144"/>
              <a:gd name="T36" fmla="*/ 11 w 25"/>
              <a:gd name="T37" fmla="*/ 88 h 144"/>
              <a:gd name="T38" fmla="*/ 14 w 25"/>
              <a:gd name="T39" fmla="*/ 93 h 144"/>
              <a:gd name="T40" fmla="*/ 14 w 25"/>
              <a:gd name="T41" fmla="*/ 96 h 144"/>
              <a:gd name="T42" fmla="*/ 11 w 25"/>
              <a:gd name="T43" fmla="*/ 101 h 144"/>
              <a:gd name="T44" fmla="*/ 14 w 25"/>
              <a:gd name="T45" fmla="*/ 110 h 144"/>
              <a:gd name="T46" fmla="*/ 11 w 25"/>
              <a:gd name="T47" fmla="*/ 105 h 144"/>
              <a:gd name="T48" fmla="*/ 14 w 25"/>
              <a:gd name="T49" fmla="*/ 110 h 144"/>
              <a:gd name="T50" fmla="*/ 14 w 25"/>
              <a:gd name="T51" fmla="*/ 114 h 144"/>
              <a:gd name="T52" fmla="*/ 11 w 25"/>
              <a:gd name="T53" fmla="*/ 118 h 144"/>
              <a:gd name="T54" fmla="*/ 14 w 25"/>
              <a:gd name="T55" fmla="*/ 127 h 144"/>
              <a:gd name="T56" fmla="*/ 11 w 25"/>
              <a:gd name="T57" fmla="*/ 122 h 144"/>
              <a:gd name="T58" fmla="*/ 14 w 25"/>
              <a:gd name="T59" fmla="*/ 127 h 144"/>
              <a:gd name="T60" fmla="*/ 14 w 25"/>
              <a:gd name="T61" fmla="*/ 131 h 144"/>
              <a:gd name="T62" fmla="*/ 11 w 25"/>
              <a:gd name="T63" fmla="*/ 136 h 144"/>
              <a:gd name="T64" fmla="*/ 14 w 25"/>
              <a:gd name="T65" fmla="*/ 144 h 144"/>
              <a:gd name="T66" fmla="*/ 11 w 25"/>
              <a:gd name="T67" fmla="*/ 140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7"/>
                </a:lnTo>
                <a:lnTo>
                  <a:pt x="14" y="27"/>
                </a:lnTo>
                <a:lnTo>
                  <a:pt x="14" y="31"/>
                </a:lnTo>
                <a:lnTo>
                  <a:pt x="11" y="31"/>
                </a:lnTo>
                <a:close/>
                <a:moveTo>
                  <a:pt x="14" y="40"/>
                </a:moveTo>
                <a:lnTo>
                  <a:pt x="14" y="36"/>
                </a:lnTo>
                <a:lnTo>
                  <a:pt x="11" y="36"/>
                </a:lnTo>
                <a:lnTo>
                  <a:pt x="11" y="40"/>
                </a:lnTo>
                <a:lnTo>
                  <a:pt x="14" y="40"/>
                </a:lnTo>
                <a:close/>
                <a:moveTo>
                  <a:pt x="14" y="48"/>
                </a:moveTo>
                <a:lnTo>
                  <a:pt x="14" y="45"/>
                </a:lnTo>
                <a:lnTo>
                  <a:pt x="11" y="45"/>
                </a:lnTo>
                <a:lnTo>
                  <a:pt x="11" y="48"/>
                </a:lnTo>
                <a:lnTo>
                  <a:pt x="14" y="48"/>
                </a:lnTo>
                <a:close/>
                <a:moveTo>
                  <a:pt x="14" y="57"/>
                </a:moveTo>
                <a:lnTo>
                  <a:pt x="14" y="53"/>
                </a:lnTo>
                <a:lnTo>
                  <a:pt x="11" y="53"/>
                </a:lnTo>
                <a:lnTo>
                  <a:pt x="11" y="57"/>
                </a:lnTo>
                <a:lnTo>
                  <a:pt x="14" y="57"/>
                </a:lnTo>
                <a:close/>
                <a:moveTo>
                  <a:pt x="14" y="66"/>
                </a:moveTo>
                <a:lnTo>
                  <a:pt x="14" y="62"/>
                </a:lnTo>
                <a:lnTo>
                  <a:pt x="11" y="62"/>
                </a:lnTo>
                <a:lnTo>
                  <a:pt x="11" y="66"/>
                </a:lnTo>
                <a:lnTo>
                  <a:pt x="14" y="66"/>
                </a:lnTo>
                <a:close/>
                <a:moveTo>
                  <a:pt x="14" y="75"/>
                </a:moveTo>
                <a:lnTo>
                  <a:pt x="14" y="71"/>
                </a:lnTo>
                <a:lnTo>
                  <a:pt x="11" y="71"/>
                </a:lnTo>
                <a:lnTo>
                  <a:pt x="11" y="75"/>
                </a:lnTo>
                <a:lnTo>
                  <a:pt x="14" y="75"/>
                </a:lnTo>
                <a:close/>
                <a:moveTo>
                  <a:pt x="14" y="84"/>
                </a:moveTo>
                <a:lnTo>
                  <a:pt x="14" y="79"/>
                </a:lnTo>
                <a:lnTo>
                  <a:pt x="11" y="79"/>
                </a:lnTo>
                <a:lnTo>
                  <a:pt x="11" y="84"/>
                </a:lnTo>
                <a:lnTo>
                  <a:pt x="14" y="84"/>
                </a:lnTo>
                <a:close/>
                <a:moveTo>
                  <a:pt x="14" y="93"/>
                </a:moveTo>
                <a:lnTo>
                  <a:pt x="14" y="88"/>
                </a:lnTo>
                <a:lnTo>
                  <a:pt x="11" y="88"/>
                </a:lnTo>
                <a:lnTo>
                  <a:pt x="11" y="93"/>
                </a:lnTo>
                <a:lnTo>
                  <a:pt x="14" y="93"/>
                </a:lnTo>
                <a:close/>
                <a:moveTo>
                  <a:pt x="14" y="101"/>
                </a:moveTo>
                <a:lnTo>
                  <a:pt x="14" y="96"/>
                </a:lnTo>
                <a:lnTo>
                  <a:pt x="11" y="96"/>
                </a:lnTo>
                <a:lnTo>
                  <a:pt x="11" y="101"/>
                </a:lnTo>
                <a:lnTo>
                  <a:pt x="14" y="101"/>
                </a:lnTo>
                <a:close/>
                <a:moveTo>
                  <a:pt x="14" y="110"/>
                </a:moveTo>
                <a:lnTo>
                  <a:pt x="14" y="105"/>
                </a:lnTo>
                <a:lnTo>
                  <a:pt x="11" y="105"/>
                </a:lnTo>
                <a:lnTo>
                  <a:pt x="11" y="110"/>
                </a:lnTo>
                <a:lnTo>
                  <a:pt x="14" y="110"/>
                </a:lnTo>
                <a:close/>
                <a:moveTo>
                  <a:pt x="14" y="118"/>
                </a:moveTo>
                <a:lnTo>
                  <a:pt x="14" y="114"/>
                </a:lnTo>
                <a:lnTo>
                  <a:pt x="11" y="114"/>
                </a:lnTo>
                <a:lnTo>
                  <a:pt x="11" y="118"/>
                </a:lnTo>
                <a:lnTo>
                  <a:pt x="14" y="118"/>
                </a:lnTo>
                <a:close/>
                <a:moveTo>
                  <a:pt x="14" y="127"/>
                </a:moveTo>
                <a:lnTo>
                  <a:pt x="14" y="122"/>
                </a:lnTo>
                <a:lnTo>
                  <a:pt x="11" y="122"/>
                </a:lnTo>
                <a:lnTo>
                  <a:pt x="11" y="127"/>
                </a:lnTo>
                <a:lnTo>
                  <a:pt x="14" y="127"/>
                </a:lnTo>
                <a:close/>
                <a:moveTo>
                  <a:pt x="14" y="136"/>
                </a:moveTo>
                <a:lnTo>
                  <a:pt x="14" y="131"/>
                </a:lnTo>
                <a:lnTo>
                  <a:pt x="11" y="131"/>
                </a:lnTo>
                <a:lnTo>
                  <a:pt x="11" y="136"/>
                </a:lnTo>
                <a:lnTo>
                  <a:pt x="14" y="136"/>
                </a:lnTo>
                <a:close/>
                <a:moveTo>
                  <a:pt x="14" y="144"/>
                </a:moveTo>
                <a:lnTo>
                  <a:pt x="14" y="140"/>
                </a:lnTo>
                <a:lnTo>
                  <a:pt x="11" y="140"/>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 name="Group 5">
            <a:extLst>
              <a:ext uri="{FF2B5EF4-FFF2-40B4-BE49-F238E27FC236}">
                <a16:creationId xmlns:a16="http://schemas.microsoft.com/office/drawing/2014/main" id="{4D6E0C4F-821E-4C45-9AA5-3E5D22A06556}"/>
              </a:ext>
            </a:extLst>
          </p:cNvPr>
          <p:cNvGrpSpPr/>
          <p:nvPr userDrawn="1"/>
        </p:nvGrpSpPr>
        <p:grpSpPr>
          <a:xfrm>
            <a:off x="5588531" y="2493419"/>
            <a:ext cx="2023961" cy="4034616"/>
            <a:chOff x="-3102647" y="2276968"/>
            <a:chExt cx="628357" cy="1252583"/>
          </a:xfrm>
        </p:grpSpPr>
        <p:sp>
          <p:nvSpPr>
            <p:cNvPr id="254" name="Freeform 1341">
              <a:extLst>
                <a:ext uri="{FF2B5EF4-FFF2-40B4-BE49-F238E27FC236}">
                  <a16:creationId xmlns:a16="http://schemas.microsoft.com/office/drawing/2014/main" id="{B73943F0-9E95-4F20-927E-BC5632273BCE}"/>
                </a:ext>
              </a:extLst>
            </p:cNvPr>
            <p:cNvSpPr>
              <a:spLocks/>
            </p:cNvSpPr>
            <p:nvPr/>
          </p:nvSpPr>
          <p:spPr bwMode="auto">
            <a:xfrm>
              <a:off x="-2763665" y="2475397"/>
              <a:ext cx="99214" cy="74411"/>
            </a:xfrm>
            <a:custGeom>
              <a:avLst/>
              <a:gdLst>
                <a:gd name="T0" fmla="*/ 31 w 31"/>
                <a:gd name="T1" fmla="*/ 12 h 24"/>
                <a:gd name="T2" fmla="*/ 26 w 31"/>
                <a:gd name="T3" fmla="*/ 5 h 24"/>
                <a:gd name="T4" fmla="*/ 15 w 31"/>
                <a:gd name="T5" fmla="*/ 1 h 24"/>
                <a:gd name="T6" fmla="*/ 15 w 31"/>
                <a:gd name="T7" fmla="*/ 4 h 24"/>
                <a:gd name="T8" fmla="*/ 20 w 31"/>
                <a:gd name="T9" fmla="*/ 8 h 24"/>
                <a:gd name="T10" fmla="*/ 9 w 31"/>
                <a:gd name="T11" fmla="*/ 8 h 24"/>
                <a:gd name="T12" fmla="*/ 3 w 31"/>
                <a:gd name="T13" fmla="*/ 7 h 24"/>
                <a:gd name="T14" fmla="*/ 2 w 31"/>
                <a:gd name="T15" fmla="*/ 12 h 24"/>
                <a:gd name="T16" fmla="*/ 13 w 31"/>
                <a:gd name="T17" fmla="*/ 22 h 24"/>
                <a:gd name="T18" fmla="*/ 21 w 31"/>
                <a:gd name="T19" fmla="*/ 22 h 24"/>
                <a:gd name="T20" fmla="*/ 25 w 31"/>
                <a:gd name="T21" fmla="*/ 24 h 24"/>
                <a:gd name="T22" fmla="*/ 31 w 31"/>
                <a:gd name="T2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4">
                  <a:moveTo>
                    <a:pt x="31" y="12"/>
                  </a:moveTo>
                  <a:cubicBezTo>
                    <a:pt x="31" y="12"/>
                    <a:pt x="29" y="8"/>
                    <a:pt x="26" y="5"/>
                  </a:cubicBezTo>
                  <a:cubicBezTo>
                    <a:pt x="23" y="3"/>
                    <a:pt x="16" y="0"/>
                    <a:pt x="15" y="1"/>
                  </a:cubicBezTo>
                  <a:cubicBezTo>
                    <a:pt x="13" y="1"/>
                    <a:pt x="13" y="3"/>
                    <a:pt x="15" y="4"/>
                  </a:cubicBezTo>
                  <a:cubicBezTo>
                    <a:pt x="16" y="6"/>
                    <a:pt x="20" y="8"/>
                    <a:pt x="20" y="8"/>
                  </a:cubicBezTo>
                  <a:cubicBezTo>
                    <a:pt x="20" y="8"/>
                    <a:pt x="10" y="8"/>
                    <a:pt x="9" y="8"/>
                  </a:cubicBezTo>
                  <a:cubicBezTo>
                    <a:pt x="8" y="8"/>
                    <a:pt x="3" y="7"/>
                    <a:pt x="3" y="7"/>
                  </a:cubicBezTo>
                  <a:cubicBezTo>
                    <a:pt x="3" y="7"/>
                    <a:pt x="0" y="9"/>
                    <a:pt x="2" y="12"/>
                  </a:cubicBezTo>
                  <a:cubicBezTo>
                    <a:pt x="4" y="15"/>
                    <a:pt x="11" y="21"/>
                    <a:pt x="13" y="22"/>
                  </a:cubicBezTo>
                  <a:cubicBezTo>
                    <a:pt x="15" y="23"/>
                    <a:pt x="21" y="22"/>
                    <a:pt x="21" y="22"/>
                  </a:cubicBezTo>
                  <a:cubicBezTo>
                    <a:pt x="25" y="24"/>
                    <a:pt x="25" y="24"/>
                    <a:pt x="25" y="24"/>
                  </a:cubicBezTo>
                  <a:lnTo>
                    <a:pt x="31" y="12"/>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1342">
              <a:extLst>
                <a:ext uri="{FF2B5EF4-FFF2-40B4-BE49-F238E27FC236}">
                  <a16:creationId xmlns:a16="http://schemas.microsoft.com/office/drawing/2014/main" id="{1A824442-7971-4720-818A-CD3BC8357828}"/>
                </a:ext>
              </a:extLst>
            </p:cNvPr>
            <p:cNvSpPr>
              <a:spLocks/>
            </p:cNvSpPr>
            <p:nvPr/>
          </p:nvSpPr>
          <p:spPr bwMode="auto">
            <a:xfrm>
              <a:off x="-2685119" y="2512601"/>
              <a:ext cx="132286" cy="132286"/>
            </a:xfrm>
            <a:custGeom>
              <a:avLst/>
              <a:gdLst>
                <a:gd name="T0" fmla="*/ 32 w 32"/>
                <a:gd name="T1" fmla="*/ 13 h 32"/>
                <a:gd name="T2" fmla="*/ 5 w 32"/>
                <a:gd name="T3" fmla="*/ 0 h 32"/>
                <a:gd name="T4" fmla="*/ 0 w 32"/>
                <a:gd name="T5" fmla="*/ 9 h 32"/>
                <a:gd name="T6" fmla="*/ 32 w 32"/>
                <a:gd name="T7" fmla="*/ 32 h 32"/>
                <a:gd name="T8" fmla="*/ 32 w 32"/>
                <a:gd name="T9" fmla="*/ 13 h 32"/>
              </a:gdLst>
              <a:ahLst/>
              <a:cxnLst>
                <a:cxn ang="0">
                  <a:pos x="T0" y="T1"/>
                </a:cxn>
                <a:cxn ang="0">
                  <a:pos x="T2" y="T3"/>
                </a:cxn>
                <a:cxn ang="0">
                  <a:pos x="T4" y="T5"/>
                </a:cxn>
                <a:cxn ang="0">
                  <a:pos x="T6" y="T7"/>
                </a:cxn>
                <a:cxn ang="0">
                  <a:pos x="T8" y="T9"/>
                </a:cxn>
              </a:cxnLst>
              <a:rect l="0" t="0" r="r" b="b"/>
              <a:pathLst>
                <a:path w="32" h="32">
                  <a:moveTo>
                    <a:pt x="32" y="13"/>
                  </a:moveTo>
                  <a:lnTo>
                    <a:pt x="5" y="0"/>
                  </a:lnTo>
                  <a:lnTo>
                    <a:pt x="0" y="9"/>
                  </a:lnTo>
                  <a:lnTo>
                    <a:pt x="32" y="32"/>
                  </a:lnTo>
                  <a:lnTo>
                    <a:pt x="32" y="13"/>
                  </a:lnTo>
                  <a:close/>
                </a:path>
              </a:pathLst>
            </a:custGeom>
            <a:solidFill>
              <a:srgbClr val="6FB7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1343">
              <a:extLst>
                <a:ext uri="{FF2B5EF4-FFF2-40B4-BE49-F238E27FC236}">
                  <a16:creationId xmlns:a16="http://schemas.microsoft.com/office/drawing/2014/main" id="{B0FD3918-B441-492F-BBBC-846C6A6DF20D}"/>
                </a:ext>
              </a:extLst>
            </p:cNvPr>
            <p:cNvSpPr>
              <a:spLocks/>
            </p:cNvSpPr>
            <p:nvPr/>
          </p:nvSpPr>
          <p:spPr bwMode="auto">
            <a:xfrm>
              <a:off x="-2751262" y="3484076"/>
              <a:ext cx="124018" cy="45475"/>
            </a:xfrm>
            <a:custGeom>
              <a:avLst/>
              <a:gdLst>
                <a:gd name="T0" fmla="*/ 34 w 41"/>
                <a:gd name="T1" fmla="*/ 0 h 14"/>
                <a:gd name="T2" fmla="*/ 38 w 41"/>
                <a:gd name="T3" fmla="*/ 0 h 14"/>
                <a:gd name="T4" fmla="*/ 41 w 41"/>
                <a:gd name="T5" fmla="*/ 6 h 14"/>
                <a:gd name="T6" fmla="*/ 39 w 41"/>
                <a:gd name="T7" fmla="*/ 12 h 14"/>
                <a:gd name="T8" fmla="*/ 30 w 41"/>
                <a:gd name="T9" fmla="*/ 13 h 14"/>
                <a:gd name="T10" fmla="*/ 17 w 41"/>
                <a:gd name="T11" fmla="*/ 12 h 14"/>
                <a:gd name="T12" fmla="*/ 3 w 41"/>
                <a:gd name="T13" fmla="*/ 8 h 14"/>
                <a:gd name="T14" fmla="*/ 8 w 41"/>
                <a:gd name="T15" fmla="*/ 1 h 14"/>
                <a:gd name="T16" fmla="*/ 23 w 41"/>
                <a:gd name="T17" fmla="*/ 0 h 14"/>
                <a:gd name="T18" fmla="*/ 28 w 41"/>
                <a:gd name="T19" fmla="*/ 2 h 14"/>
                <a:gd name="T20" fmla="*/ 34 w 4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4">
                  <a:moveTo>
                    <a:pt x="34" y="0"/>
                  </a:moveTo>
                  <a:cubicBezTo>
                    <a:pt x="34" y="0"/>
                    <a:pt x="37" y="0"/>
                    <a:pt x="38" y="0"/>
                  </a:cubicBezTo>
                  <a:cubicBezTo>
                    <a:pt x="39" y="0"/>
                    <a:pt x="41" y="4"/>
                    <a:pt x="41" y="6"/>
                  </a:cubicBezTo>
                  <a:cubicBezTo>
                    <a:pt x="41" y="7"/>
                    <a:pt x="40" y="12"/>
                    <a:pt x="39" y="12"/>
                  </a:cubicBezTo>
                  <a:cubicBezTo>
                    <a:pt x="39" y="12"/>
                    <a:pt x="32" y="14"/>
                    <a:pt x="30" y="13"/>
                  </a:cubicBezTo>
                  <a:cubicBezTo>
                    <a:pt x="25" y="10"/>
                    <a:pt x="18" y="12"/>
                    <a:pt x="17" y="12"/>
                  </a:cubicBezTo>
                  <a:cubicBezTo>
                    <a:pt x="16" y="12"/>
                    <a:pt x="6" y="11"/>
                    <a:pt x="3" y="8"/>
                  </a:cubicBezTo>
                  <a:cubicBezTo>
                    <a:pt x="0" y="5"/>
                    <a:pt x="3" y="0"/>
                    <a:pt x="8" y="1"/>
                  </a:cubicBezTo>
                  <a:cubicBezTo>
                    <a:pt x="14" y="1"/>
                    <a:pt x="22" y="0"/>
                    <a:pt x="23" y="0"/>
                  </a:cubicBezTo>
                  <a:cubicBezTo>
                    <a:pt x="24" y="0"/>
                    <a:pt x="25" y="3"/>
                    <a:pt x="28" y="2"/>
                  </a:cubicBezTo>
                  <a:cubicBezTo>
                    <a:pt x="31" y="2"/>
                    <a:pt x="33" y="2"/>
                    <a:pt x="34" y="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1344">
              <a:extLst>
                <a:ext uri="{FF2B5EF4-FFF2-40B4-BE49-F238E27FC236}">
                  <a16:creationId xmlns:a16="http://schemas.microsoft.com/office/drawing/2014/main" id="{A08D0DC0-372F-43F0-8F25-30F584E12DF3}"/>
                </a:ext>
              </a:extLst>
            </p:cNvPr>
            <p:cNvSpPr>
              <a:spLocks/>
            </p:cNvSpPr>
            <p:nvPr/>
          </p:nvSpPr>
          <p:spPr bwMode="auto">
            <a:xfrm>
              <a:off x="-2676851" y="3422066"/>
              <a:ext cx="37207" cy="82679"/>
            </a:xfrm>
            <a:custGeom>
              <a:avLst/>
              <a:gdLst>
                <a:gd name="T0" fmla="*/ 0 w 13"/>
                <a:gd name="T1" fmla="*/ 0 h 26"/>
                <a:gd name="T2" fmla="*/ 0 w 13"/>
                <a:gd name="T3" fmla="*/ 23 h 26"/>
                <a:gd name="T4" fmla="*/ 6 w 13"/>
                <a:gd name="T5" fmla="*/ 26 h 26"/>
                <a:gd name="T6" fmla="*/ 13 w 13"/>
                <a:gd name="T7" fmla="*/ 23 h 26"/>
                <a:gd name="T8" fmla="*/ 13 w 13"/>
                <a:gd name="T9" fmla="*/ 0 h 26"/>
                <a:gd name="T10" fmla="*/ 0 w 13"/>
                <a:gd name="T11" fmla="*/ 0 h 26"/>
              </a:gdLst>
              <a:ahLst/>
              <a:cxnLst>
                <a:cxn ang="0">
                  <a:pos x="T0" y="T1"/>
                </a:cxn>
                <a:cxn ang="0">
                  <a:pos x="T2" y="T3"/>
                </a:cxn>
                <a:cxn ang="0">
                  <a:pos x="T4" y="T5"/>
                </a:cxn>
                <a:cxn ang="0">
                  <a:pos x="T6" y="T7"/>
                </a:cxn>
                <a:cxn ang="0">
                  <a:pos x="T8" y="T9"/>
                </a:cxn>
                <a:cxn ang="0">
                  <a:pos x="T10" y="T11"/>
                </a:cxn>
              </a:cxnLst>
              <a:rect l="0" t="0" r="r" b="b"/>
              <a:pathLst>
                <a:path w="13" h="26">
                  <a:moveTo>
                    <a:pt x="0" y="0"/>
                  </a:moveTo>
                  <a:cubicBezTo>
                    <a:pt x="0" y="23"/>
                    <a:pt x="0" y="23"/>
                    <a:pt x="0" y="23"/>
                  </a:cubicBezTo>
                  <a:cubicBezTo>
                    <a:pt x="0" y="24"/>
                    <a:pt x="3" y="26"/>
                    <a:pt x="6" y="26"/>
                  </a:cubicBezTo>
                  <a:cubicBezTo>
                    <a:pt x="10" y="26"/>
                    <a:pt x="13" y="24"/>
                    <a:pt x="13" y="23"/>
                  </a:cubicBezTo>
                  <a:cubicBezTo>
                    <a:pt x="13" y="0"/>
                    <a:pt x="13" y="0"/>
                    <a:pt x="13" y="0"/>
                  </a:cubicBezTo>
                  <a:lnTo>
                    <a:pt x="0"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1345">
              <a:extLst>
                <a:ext uri="{FF2B5EF4-FFF2-40B4-BE49-F238E27FC236}">
                  <a16:creationId xmlns:a16="http://schemas.microsoft.com/office/drawing/2014/main" id="{6CB356B3-4856-432A-90EC-D4631BD71275}"/>
                </a:ext>
              </a:extLst>
            </p:cNvPr>
            <p:cNvSpPr>
              <a:spLocks/>
            </p:cNvSpPr>
            <p:nvPr/>
          </p:nvSpPr>
          <p:spPr bwMode="auto">
            <a:xfrm>
              <a:off x="-2606576" y="3459273"/>
              <a:ext cx="128153" cy="41339"/>
            </a:xfrm>
            <a:custGeom>
              <a:avLst/>
              <a:gdLst>
                <a:gd name="T0" fmla="*/ 35 w 41"/>
                <a:gd name="T1" fmla="*/ 0 h 13"/>
                <a:gd name="T2" fmla="*/ 38 w 41"/>
                <a:gd name="T3" fmla="*/ 0 h 13"/>
                <a:gd name="T4" fmla="*/ 41 w 41"/>
                <a:gd name="T5" fmla="*/ 5 h 13"/>
                <a:gd name="T6" fmla="*/ 39 w 41"/>
                <a:gd name="T7" fmla="*/ 12 h 13"/>
                <a:gd name="T8" fmla="*/ 31 w 41"/>
                <a:gd name="T9" fmla="*/ 13 h 13"/>
                <a:gd name="T10" fmla="*/ 17 w 41"/>
                <a:gd name="T11" fmla="*/ 12 h 13"/>
                <a:gd name="T12" fmla="*/ 3 w 41"/>
                <a:gd name="T13" fmla="*/ 8 h 13"/>
                <a:gd name="T14" fmla="*/ 9 w 41"/>
                <a:gd name="T15" fmla="*/ 0 h 13"/>
                <a:gd name="T16" fmla="*/ 23 w 41"/>
                <a:gd name="T17" fmla="*/ 0 h 13"/>
                <a:gd name="T18" fmla="*/ 28 w 41"/>
                <a:gd name="T19" fmla="*/ 2 h 13"/>
                <a:gd name="T20" fmla="*/ 35 w 4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3">
                  <a:moveTo>
                    <a:pt x="35" y="0"/>
                  </a:moveTo>
                  <a:cubicBezTo>
                    <a:pt x="35" y="0"/>
                    <a:pt x="37" y="0"/>
                    <a:pt x="38" y="0"/>
                  </a:cubicBezTo>
                  <a:cubicBezTo>
                    <a:pt x="39" y="0"/>
                    <a:pt x="41" y="4"/>
                    <a:pt x="41" y="5"/>
                  </a:cubicBezTo>
                  <a:cubicBezTo>
                    <a:pt x="41" y="7"/>
                    <a:pt x="40" y="11"/>
                    <a:pt x="39" y="12"/>
                  </a:cubicBezTo>
                  <a:cubicBezTo>
                    <a:pt x="39" y="12"/>
                    <a:pt x="32" y="13"/>
                    <a:pt x="31" y="13"/>
                  </a:cubicBezTo>
                  <a:cubicBezTo>
                    <a:pt x="25" y="10"/>
                    <a:pt x="18" y="12"/>
                    <a:pt x="17" y="12"/>
                  </a:cubicBezTo>
                  <a:cubicBezTo>
                    <a:pt x="16" y="12"/>
                    <a:pt x="7" y="11"/>
                    <a:pt x="3" y="8"/>
                  </a:cubicBezTo>
                  <a:cubicBezTo>
                    <a:pt x="0" y="5"/>
                    <a:pt x="3" y="0"/>
                    <a:pt x="9" y="0"/>
                  </a:cubicBezTo>
                  <a:cubicBezTo>
                    <a:pt x="14" y="0"/>
                    <a:pt x="22" y="0"/>
                    <a:pt x="23" y="0"/>
                  </a:cubicBezTo>
                  <a:cubicBezTo>
                    <a:pt x="24" y="0"/>
                    <a:pt x="25" y="2"/>
                    <a:pt x="28" y="2"/>
                  </a:cubicBezTo>
                  <a:cubicBezTo>
                    <a:pt x="32" y="2"/>
                    <a:pt x="34" y="2"/>
                    <a:pt x="35" y="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346">
              <a:extLst>
                <a:ext uri="{FF2B5EF4-FFF2-40B4-BE49-F238E27FC236}">
                  <a16:creationId xmlns:a16="http://schemas.microsoft.com/office/drawing/2014/main" id="{F143C0B3-6ECB-4986-9FAD-9AA73A0D3C9E}"/>
                </a:ext>
              </a:extLst>
            </p:cNvPr>
            <p:cNvSpPr>
              <a:spLocks/>
            </p:cNvSpPr>
            <p:nvPr/>
          </p:nvSpPr>
          <p:spPr bwMode="auto">
            <a:xfrm>
              <a:off x="-2532165" y="3397262"/>
              <a:ext cx="41339" cy="78546"/>
            </a:xfrm>
            <a:custGeom>
              <a:avLst/>
              <a:gdLst>
                <a:gd name="T0" fmla="*/ 0 w 13"/>
                <a:gd name="T1" fmla="*/ 0 h 25"/>
                <a:gd name="T2" fmla="*/ 0 w 13"/>
                <a:gd name="T3" fmla="*/ 22 h 25"/>
                <a:gd name="T4" fmla="*/ 7 w 13"/>
                <a:gd name="T5" fmla="*/ 25 h 25"/>
                <a:gd name="T6" fmla="*/ 13 w 13"/>
                <a:gd name="T7" fmla="*/ 22 h 25"/>
                <a:gd name="T8" fmla="*/ 13 w 13"/>
                <a:gd name="T9" fmla="*/ 0 h 25"/>
                <a:gd name="T10" fmla="*/ 0 w 13"/>
                <a:gd name="T11" fmla="*/ 0 h 25"/>
              </a:gdLst>
              <a:ahLst/>
              <a:cxnLst>
                <a:cxn ang="0">
                  <a:pos x="T0" y="T1"/>
                </a:cxn>
                <a:cxn ang="0">
                  <a:pos x="T2" y="T3"/>
                </a:cxn>
                <a:cxn ang="0">
                  <a:pos x="T4" y="T5"/>
                </a:cxn>
                <a:cxn ang="0">
                  <a:pos x="T6" y="T7"/>
                </a:cxn>
                <a:cxn ang="0">
                  <a:pos x="T8" y="T9"/>
                </a:cxn>
                <a:cxn ang="0">
                  <a:pos x="T10" y="T11"/>
                </a:cxn>
              </a:cxnLst>
              <a:rect l="0" t="0" r="r" b="b"/>
              <a:pathLst>
                <a:path w="13" h="25">
                  <a:moveTo>
                    <a:pt x="0" y="0"/>
                  </a:moveTo>
                  <a:cubicBezTo>
                    <a:pt x="0" y="22"/>
                    <a:pt x="0" y="22"/>
                    <a:pt x="0" y="22"/>
                  </a:cubicBezTo>
                  <a:cubicBezTo>
                    <a:pt x="0" y="24"/>
                    <a:pt x="3" y="25"/>
                    <a:pt x="7" y="25"/>
                  </a:cubicBezTo>
                  <a:cubicBezTo>
                    <a:pt x="10" y="25"/>
                    <a:pt x="13" y="24"/>
                    <a:pt x="13" y="22"/>
                  </a:cubicBezTo>
                  <a:cubicBezTo>
                    <a:pt x="13" y="0"/>
                    <a:pt x="13" y="0"/>
                    <a:pt x="13" y="0"/>
                  </a:cubicBezTo>
                  <a:lnTo>
                    <a:pt x="0"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1347">
              <a:extLst>
                <a:ext uri="{FF2B5EF4-FFF2-40B4-BE49-F238E27FC236}">
                  <a16:creationId xmlns:a16="http://schemas.microsoft.com/office/drawing/2014/main" id="{997D58BC-99ED-47FC-AFC1-DF5A77D0B03D}"/>
                </a:ext>
              </a:extLst>
            </p:cNvPr>
            <p:cNvSpPr>
              <a:spLocks/>
            </p:cNvSpPr>
            <p:nvPr/>
          </p:nvSpPr>
          <p:spPr bwMode="auto">
            <a:xfrm>
              <a:off x="-2714058" y="2954933"/>
              <a:ext cx="239768" cy="525011"/>
            </a:xfrm>
            <a:custGeom>
              <a:avLst/>
              <a:gdLst>
                <a:gd name="T0" fmla="*/ 76 w 77"/>
                <a:gd name="T1" fmla="*/ 20 h 169"/>
                <a:gd name="T2" fmla="*/ 73 w 77"/>
                <a:gd name="T3" fmla="*/ 27 h 169"/>
                <a:gd name="T4" fmla="*/ 45 w 77"/>
                <a:gd name="T5" fmla="*/ 54 h 169"/>
                <a:gd name="T6" fmla="*/ 44 w 77"/>
                <a:gd name="T7" fmla="*/ 56 h 169"/>
                <a:gd name="T8" fmla="*/ 31 w 77"/>
                <a:gd name="T9" fmla="*/ 101 h 169"/>
                <a:gd name="T10" fmla="*/ 25 w 77"/>
                <a:gd name="T11" fmla="*/ 166 h 169"/>
                <a:gd name="T12" fmla="*/ 24 w 77"/>
                <a:gd name="T13" fmla="*/ 168 h 169"/>
                <a:gd name="T14" fmla="*/ 11 w 77"/>
                <a:gd name="T15" fmla="*/ 166 h 169"/>
                <a:gd name="T16" fmla="*/ 10 w 77"/>
                <a:gd name="T17" fmla="*/ 166 h 169"/>
                <a:gd name="T18" fmla="*/ 0 w 77"/>
                <a:gd name="T19" fmla="*/ 84 h 169"/>
                <a:gd name="T20" fmla="*/ 4 w 77"/>
                <a:gd name="T21" fmla="*/ 23 h 169"/>
                <a:gd name="T22" fmla="*/ 4 w 77"/>
                <a:gd name="T23" fmla="*/ 10 h 169"/>
                <a:gd name="T24" fmla="*/ 5 w 77"/>
                <a:gd name="T25" fmla="*/ 8 h 169"/>
                <a:gd name="T26" fmla="*/ 18 w 77"/>
                <a:gd name="T27" fmla="*/ 6 h 169"/>
                <a:gd name="T28" fmla="*/ 73 w 77"/>
                <a:gd name="T29" fmla="*/ 0 h 169"/>
                <a:gd name="T30" fmla="*/ 74 w 77"/>
                <a:gd name="T31" fmla="*/ 3 h 169"/>
                <a:gd name="T32" fmla="*/ 76 w 77"/>
                <a:gd name="T33" fmla="*/ 2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169">
                  <a:moveTo>
                    <a:pt x="76" y="20"/>
                  </a:moveTo>
                  <a:cubicBezTo>
                    <a:pt x="76" y="22"/>
                    <a:pt x="75" y="24"/>
                    <a:pt x="73" y="27"/>
                  </a:cubicBezTo>
                  <a:cubicBezTo>
                    <a:pt x="64" y="38"/>
                    <a:pt x="45" y="54"/>
                    <a:pt x="45" y="54"/>
                  </a:cubicBezTo>
                  <a:cubicBezTo>
                    <a:pt x="45" y="54"/>
                    <a:pt x="45" y="55"/>
                    <a:pt x="44" y="56"/>
                  </a:cubicBezTo>
                  <a:cubicBezTo>
                    <a:pt x="42" y="65"/>
                    <a:pt x="32" y="96"/>
                    <a:pt x="31" y="101"/>
                  </a:cubicBezTo>
                  <a:cubicBezTo>
                    <a:pt x="31" y="106"/>
                    <a:pt x="26" y="163"/>
                    <a:pt x="25" y="166"/>
                  </a:cubicBezTo>
                  <a:cubicBezTo>
                    <a:pt x="25" y="167"/>
                    <a:pt x="25" y="168"/>
                    <a:pt x="24" y="168"/>
                  </a:cubicBezTo>
                  <a:cubicBezTo>
                    <a:pt x="21" y="169"/>
                    <a:pt x="15" y="169"/>
                    <a:pt x="11" y="166"/>
                  </a:cubicBezTo>
                  <a:cubicBezTo>
                    <a:pt x="10" y="166"/>
                    <a:pt x="10" y="166"/>
                    <a:pt x="10" y="166"/>
                  </a:cubicBezTo>
                  <a:cubicBezTo>
                    <a:pt x="10" y="166"/>
                    <a:pt x="0" y="101"/>
                    <a:pt x="0" y="84"/>
                  </a:cubicBezTo>
                  <a:cubicBezTo>
                    <a:pt x="0" y="78"/>
                    <a:pt x="2" y="43"/>
                    <a:pt x="4" y="23"/>
                  </a:cubicBezTo>
                  <a:cubicBezTo>
                    <a:pt x="4" y="17"/>
                    <a:pt x="4" y="13"/>
                    <a:pt x="4" y="10"/>
                  </a:cubicBezTo>
                  <a:cubicBezTo>
                    <a:pt x="5" y="9"/>
                    <a:pt x="5" y="8"/>
                    <a:pt x="5" y="8"/>
                  </a:cubicBezTo>
                  <a:cubicBezTo>
                    <a:pt x="18" y="6"/>
                    <a:pt x="18" y="6"/>
                    <a:pt x="18" y="6"/>
                  </a:cubicBezTo>
                  <a:cubicBezTo>
                    <a:pt x="73" y="0"/>
                    <a:pt x="73" y="0"/>
                    <a:pt x="73" y="0"/>
                  </a:cubicBezTo>
                  <a:cubicBezTo>
                    <a:pt x="73" y="0"/>
                    <a:pt x="73" y="1"/>
                    <a:pt x="74" y="3"/>
                  </a:cubicBezTo>
                  <a:cubicBezTo>
                    <a:pt x="75" y="7"/>
                    <a:pt x="77" y="15"/>
                    <a:pt x="76" y="20"/>
                  </a:cubicBezTo>
                  <a:close/>
                </a:path>
              </a:pathLst>
            </a:custGeom>
            <a:solidFill>
              <a:srgbClr val="472F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1348">
              <a:extLst>
                <a:ext uri="{FF2B5EF4-FFF2-40B4-BE49-F238E27FC236}">
                  <a16:creationId xmlns:a16="http://schemas.microsoft.com/office/drawing/2014/main" id="{8B5B715D-A809-4F04-8FAE-F5CD6655D56F}"/>
                </a:ext>
              </a:extLst>
            </p:cNvPr>
            <p:cNvSpPr>
              <a:spLocks/>
            </p:cNvSpPr>
            <p:nvPr/>
          </p:nvSpPr>
          <p:spPr bwMode="auto">
            <a:xfrm>
              <a:off x="-2585905" y="3016941"/>
              <a:ext cx="103350" cy="450600"/>
            </a:xfrm>
            <a:custGeom>
              <a:avLst/>
              <a:gdLst>
                <a:gd name="T0" fmla="*/ 32 w 33"/>
                <a:gd name="T1" fmla="*/ 0 h 147"/>
                <a:gd name="T2" fmla="*/ 31 w 33"/>
                <a:gd name="T3" fmla="*/ 69 h 147"/>
                <a:gd name="T4" fmla="*/ 33 w 33"/>
                <a:gd name="T5" fmla="*/ 142 h 147"/>
                <a:gd name="T6" fmla="*/ 14 w 33"/>
                <a:gd name="T7" fmla="*/ 142 h 147"/>
                <a:gd name="T8" fmla="*/ 0 w 33"/>
                <a:gd name="T9" fmla="*/ 9 h 147"/>
                <a:gd name="T10" fmla="*/ 32 w 33"/>
                <a:gd name="T11" fmla="*/ 0 h 147"/>
              </a:gdLst>
              <a:ahLst/>
              <a:cxnLst>
                <a:cxn ang="0">
                  <a:pos x="T0" y="T1"/>
                </a:cxn>
                <a:cxn ang="0">
                  <a:pos x="T2" y="T3"/>
                </a:cxn>
                <a:cxn ang="0">
                  <a:pos x="T4" y="T5"/>
                </a:cxn>
                <a:cxn ang="0">
                  <a:pos x="T6" y="T7"/>
                </a:cxn>
                <a:cxn ang="0">
                  <a:pos x="T8" y="T9"/>
                </a:cxn>
                <a:cxn ang="0">
                  <a:pos x="T10" y="T11"/>
                </a:cxn>
              </a:cxnLst>
              <a:rect l="0" t="0" r="r" b="b"/>
              <a:pathLst>
                <a:path w="33" h="147">
                  <a:moveTo>
                    <a:pt x="32" y="0"/>
                  </a:moveTo>
                  <a:cubicBezTo>
                    <a:pt x="32" y="0"/>
                    <a:pt x="31" y="60"/>
                    <a:pt x="31" y="69"/>
                  </a:cubicBezTo>
                  <a:cubicBezTo>
                    <a:pt x="31" y="79"/>
                    <a:pt x="33" y="142"/>
                    <a:pt x="33" y="142"/>
                  </a:cubicBezTo>
                  <a:cubicBezTo>
                    <a:pt x="33" y="142"/>
                    <a:pt x="23" y="147"/>
                    <a:pt x="14" y="142"/>
                  </a:cubicBezTo>
                  <a:cubicBezTo>
                    <a:pt x="13" y="117"/>
                    <a:pt x="0" y="9"/>
                    <a:pt x="0" y="9"/>
                  </a:cubicBezTo>
                  <a:lnTo>
                    <a:pt x="32" y="0"/>
                  </a:lnTo>
                  <a:close/>
                </a:path>
              </a:pathLst>
            </a:custGeom>
            <a:solidFill>
              <a:srgbClr val="472F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1349">
              <a:extLst>
                <a:ext uri="{FF2B5EF4-FFF2-40B4-BE49-F238E27FC236}">
                  <a16:creationId xmlns:a16="http://schemas.microsoft.com/office/drawing/2014/main" id="{70063410-0088-4692-A368-30DF75D8DB86}"/>
                </a:ext>
              </a:extLst>
            </p:cNvPr>
            <p:cNvSpPr>
              <a:spLocks/>
            </p:cNvSpPr>
            <p:nvPr/>
          </p:nvSpPr>
          <p:spPr bwMode="auto">
            <a:xfrm>
              <a:off x="-2701655" y="2562208"/>
              <a:ext cx="223232" cy="450600"/>
            </a:xfrm>
            <a:custGeom>
              <a:avLst/>
              <a:gdLst>
                <a:gd name="T0" fmla="*/ 72 w 72"/>
                <a:gd name="T1" fmla="*/ 47 h 145"/>
                <a:gd name="T2" fmla="*/ 67 w 72"/>
                <a:gd name="T3" fmla="*/ 88 h 145"/>
                <a:gd name="T4" fmla="*/ 72 w 72"/>
                <a:gd name="T5" fmla="*/ 125 h 145"/>
                <a:gd name="T6" fmla="*/ 70 w 72"/>
                <a:gd name="T7" fmla="*/ 130 h 145"/>
                <a:gd name="T8" fmla="*/ 22 w 72"/>
                <a:gd name="T9" fmla="*/ 145 h 145"/>
                <a:gd name="T10" fmla="*/ 11 w 72"/>
                <a:gd name="T11" fmla="*/ 143 h 145"/>
                <a:gd name="T12" fmla="*/ 0 w 72"/>
                <a:gd name="T13" fmla="*/ 137 h 145"/>
                <a:gd name="T14" fmla="*/ 0 w 72"/>
                <a:gd name="T15" fmla="*/ 137 h 145"/>
                <a:gd name="T16" fmla="*/ 3 w 72"/>
                <a:gd name="T17" fmla="*/ 113 h 145"/>
                <a:gd name="T18" fmla="*/ 3 w 72"/>
                <a:gd name="T19" fmla="*/ 108 h 145"/>
                <a:gd name="T20" fmla="*/ 3 w 72"/>
                <a:gd name="T21" fmla="*/ 83 h 145"/>
                <a:gd name="T22" fmla="*/ 3 w 72"/>
                <a:gd name="T23" fmla="*/ 80 h 145"/>
                <a:gd name="T24" fmla="*/ 3 w 72"/>
                <a:gd name="T25" fmla="*/ 80 h 145"/>
                <a:gd name="T26" fmla="*/ 2 w 72"/>
                <a:gd name="T27" fmla="*/ 77 h 145"/>
                <a:gd name="T28" fmla="*/ 2 w 72"/>
                <a:gd name="T29" fmla="*/ 76 h 145"/>
                <a:gd name="T30" fmla="*/ 2 w 72"/>
                <a:gd name="T31" fmla="*/ 72 h 145"/>
                <a:gd name="T32" fmla="*/ 2 w 72"/>
                <a:gd name="T33" fmla="*/ 57 h 145"/>
                <a:gd name="T34" fmla="*/ 2 w 72"/>
                <a:gd name="T35" fmla="*/ 52 h 145"/>
                <a:gd name="T36" fmla="*/ 2 w 72"/>
                <a:gd name="T37" fmla="*/ 45 h 145"/>
                <a:gd name="T38" fmla="*/ 2 w 72"/>
                <a:gd name="T39" fmla="*/ 43 h 145"/>
                <a:gd name="T40" fmla="*/ 2 w 72"/>
                <a:gd name="T41" fmla="*/ 41 h 145"/>
                <a:gd name="T42" fmla="*/ 1 w 72"/>
                <a:gd name="T43" fmla="*/ 34 h 145"/>
                <a:gd name="T44" fmla="*/ 1 w 72"/>
                <a:gd name="T45" fmla="*/ 31 h 145"/>
                <a:gd name="T46" fmla="*/ 1 w 72"/>
                <a:gd name="T47" fmla="*/ 26 h 145"/>
                <a:gd name="T48" fmla="*/ 1 w 72"/>
                <a:gd name="T49" fmla="*/ 26 h 145"/>
                <a:gd name="T50" fmla="*/ 1 w 72"/>
                <a:gd name="T51" fmla="*/ 26 h 145"/>
                <a:gd name="T52" fmla="*/ 1 w 72"/>
                <a:gd name="T53" fmla="*/ 26 h 145"/>
                <a:gd name="T54" fmla="*/ 8 w 72"/>
                <a:gd name="T55" fmla="*/ 21 h 145"/>
                <a:gd name="T56" fmla="*/ 16 w 72"/>
                <a:gd name="T57" fmla="*/ 17 h 145"/>
                <a:gd name="T58" fmla="*/ 16 w 72"/>
                <a:gd name="T59" fmla="*/ 17 h 145"/>
                <a:gd name="T60" fmla="*/ 20 w 72"/>
                <a:gd name="T61" fmla="*/ 15 h 145"/>
                <a:gd name="T62" fmla="*/ 23 w 72"/>
                <a:gd name="T63" fmla="*/ 14 h 145"/>
                <a:gd name="T64" fmla="*/ 25 w 72"/>
                <a:gd name="T65" fmla="*/ 12 h 145"/>
                <a:gd name="T66" fmla="*/ 29 w 72"/>
                <a:gd name="T67" fmla="*/ 10 h 145"/>
                <a:gd name="T68" fmla="*/ 32 w 72"/>
                <a:gd name="T69" fmla="*/ 8 h 145"/>
                <a:gd name="T70" fmla="*/ 38 w 72"/>
                <a:gd name="T71" fmla="*/ 5 h 145"/>
                <a:gd name="T72" fmla="*/ 41 w 72"/>
                <a:gd name="T73" fmla="*/ 3 h 145"/>
                <a:gd name="T74" fmla="*/ 42 w 72"/>
                <a:gd name="T75" fmla="*/ 3 h 145"/>
                <a:gd name="T76" fmla="*/ 46 w 72"/>
                <a:gd name="T77" fmla="*/ 1 h 145"/>
                <a:gd name="T78" fmla="*/ 46 w 72"/>
                <a:gd name="T79" fmla="*/ 1 h 145"/>
                <a:gd name="T80" fmla="*/ 46 w 72"/>
                <a:gd name="T81" fmla="*/ 1 h 145"/>
                <a:gd name="T82" fmla="*/ 47 w 72"/>
                <a:gd name="T83" fmla="*/ 0 h 145"/>
                <a:gd name="T84" fmla="*/ 47 w 72"/>
                <a:gd name="T85" fmla="*/ 0 h 145"/>
                <a:gd name="T86" fmla="*/ 47 w 72"/>
                <a:gd name="T87" fmla="*/ 0 h 145"/>
                <a:gd name="T88" fmla="*/ 48 w 72"/>
                <a:gd name="T89" fmla="*/ 1 h 145"/>
                <a:gd name="T90" fmla="*/ 52 w 72"/>
                <a:gd name="T91" fmla="*/ 3 h 145"/>
                <a:gd name="T92" fmla="*/ 56 w 72"/>
                <a:gd name="T93" fmla="*/ 5 h 145"/>
                <a:gd name="T94" fmla="*/ 59 w 72"/>
                <a:gd name="T95" fmla="*/ 7 h 145"/>
                <a:gd name="T96" fmla="*/ 59 w 72"/>
                <a:gd name="T97" fmla="*/ 7 h 145"/>
                <a:gd name="T98" fmla="*/ 62 w 72"/>
                <a:gd name="T99" fmla="*/ 9 h 145"/>
                <a:gd name="T100" fmla="*/ 66 w 72"/>
                <a:gd name="T101" fmla="*/ 11 h 145"/>
                <a:gd name="T102" fmla="*/ 70 w 72"/>
                <a:gd name="T103" fmla="*/ 17 h 145"/>
                <a:gd name="T104" fmla="*/ 72 w 72"/>
                <a:gd name="T105" fmla="*/ 26 h 145"/>
                <a:gd name="T106" fmla="*/ 72 w 72"/>
                <a:gd name="T107" fmla="*/ 4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 h="145">
                  <a:moveTo>
                    <a:pt x="72" y="47"/>
                  </a:moveTo>
                  <a:cubicBezTo>
                    <a:pt x="67" y="88"/>
                    <a:pt x="67" y="88"/>
                    <a:pt x="67" y="88"/>
                  </a:cubicBezTo>
                  <a:cubicBezTo>
                    <a:pt x="67" y="88"/>
                    <a:pt x="72" y="119"/>
                    <a:pt x="72" y="125"/>
                  </a:cubicBezTo>
                  <a:cubicBezTo>
                    <a:pt x="72" y="127"/>
                    <a:pt x="71" y="128"/>
                    <a:pt x="70" y="130"/>
                  </a:cubicBezTo>
                  <a:cubicBezTo>
                    <a:pt x="64" y="136"/>
                    <a:pt x="46" y="145"/>
                    <a:pt x="22" y="145"/>
                  </a:cubicBezTo>
                  <a:cubicBezTo>
                    <a:pt x="18" y="145"/>
                    <a:pt x="14" y="144"/>
                    <a:pt x="11" y="143"/>
                  </a:cubicBezTo>
                  <a:cubicBezTo>
                    <a:pt x="5" y="141"/>
                    <a:pt x="2" y="138"/>
                    <a:pt x="0" y="137"/>
                  </a:cubicBezTo>
                  <a:cubicBezTo>
                    <a:pt x="0" y="137"/>
                    <a:pt x="0" y="137"/>
                    <a:pt x="0" y="137"/>
                  </a:cubicBezTo>
                  <a:cubicBezTo>
                    <a:pt x="3" y="113"/>
                    <a:pt x="3" y="113"/>
                    <a:pt x="3" y="113"/>
                  </a:cubicBezTo>
                  <a:cubicBezTo>
                    <a:pt x="3" y="108"/>
                    <a:pt x="3" y="108"/>
                    <a:pt x="3" y="108"/>
                  </a:cubicBezTo>
                  <a:cubicBezTo>
                    <a:pt x="3" y="83"/>
                    <a:pt x="3" y="83"/>
                    <a:pt x="3" y="83"/>
                  </a:cubicBezTo>
                  <a:cubicBezTo>
                    <a:pt x="3" y="80"/>
                    <a:pt x="3" y="80"/>
                    <a:pt x="3" y="80"/>
                  </a:cubicBezTo>
                  <a:cubicBezTo>
                    <a:pt x="3" y="80"/>
                    <a:pt x="3" y="80"/>
                    <a:pt x="3" y="80"/>
                  </a:cubicBezTo>
                  <a:cubicBezTo>
                    <a:pt x="2" y="77"/>
                    <a:pt x="2" y="77"/>
                    <a:pt x="2" y="77"/>
                  </a:cubicBezTo>
                  <a:cubicBezTo>
                    <a:pt x="2" y="76"/>
                    <a:pt x="2" y="76"/>
                    <a:pt x="2" y="76"/>
                  </a:cubicBezTo>
                  <a:cubicBezTo>
                    <a:pt x="2" y="72"/>
                    <a:pt x="2" y="72"/>
                    <a:pt x="2" y="72"/>
                  </a:cubicBezTo>
                  <a:cubicBezTo>
                    <a:pt x="2" y="57"/>
                    <a:pt x="2" y="57"/>
                    <a:pt x="2" y="57"/>
                  </a:cubicBezTo>
                  <a:cubicBezTo>
                    <a:pt x="2" y="52"/>
                    <a:pt x="2" y="52"/>
                    <a:pt x="2" y="52"/>
                  </a:cubicBezTo>
                  <a:cubicBezTo>
                    <a:pt x="2" y="45"/>
                    <a:pt x="2" y="45"/>
                    <a:pt x="2" y="45"/>
                  </a:cubicBezTo>
                  <a:cubicBezTo>
                    <a:pt x="2" y="43"/>
                    <a:pt x="2" y="43"/>
                    <a:pt x="2" y="43"/>
                  </a:cubicBezTo>
                  <a:cubicBezTo>
                    <a:pt x="2" y="41"/>
                    <a:pt x="2" y="41"/>
                    <a:pt x="2" y="41"/>
                  </a:cubicBezTo>
                  <a:cubicBezTo>
                    <a:pt x="1" y="34"/>
                    <a:pt x="1" y="34"/>
                    <a:pt x="1" y="34"/>
                  </a:cubicBezTo>
                  <a:cubicBezTo>
                    <a:pt x="1" y="31"/>
                    <a:pt x="1" y="31"/>
                    <a:pt x="1" y="31"/>
                  </a:cubicBezTo>
                  <a:cubicBezTo>
                    <a:pt x="1" y="26"/>
                    <a:pt x="1" y="26"/>
                    <a:pt x="1" y="26"/>
                  </a:cubicBezTo>
                  <a:cubicBezTo>
                    <a:pt x="1" y="26"/>
                    <a:pt x="1" y="26"/>
                    <a:pt x="1" y="26"/>
                  </a:cubicBezTo>
                  <a:cubicBezTo>
                    <a:pt x="1" y="26"/>
                    <a:pt x="1" y="26"/>
                    <a:pt x="1" y="26"/>
                  </a:cubicBezTo>
                  <a:cubicBezTo>
                    <a:pt x="1" y="26"/>
                    <a:pt x="1" y="26"/>
                    <a:pt x="1" y="26"/>
                  </a:cubicBezTo>
                  <a:cubicBezTo>
                    <a:pt x="8" y="21"/>
                    <a:pt x="8" y="21"/>
                    <a:pt x="8" y="21"/>
                  </a:cubicBezTo>
                  <a:cubicBezTo>
                    <a:pt x="16" y="17"/>
                    <a:pt x="16" y="17"/>
                    <a:pt x="16" y="17"/>
                  </a:cubicBezTo>
                  <a:cubicBezTo>
                    <a:pt x="16" y="17"/>
                    <a:pt x="16" y="17"/>
                    <a:pt x="16" y="17"/>
                  </a:cubicBezTo>
                  <a:cubicBezTo>
                    <a:pt x="20" y="15"/>
                    <a:pt x="20" y="15"/>
                    <a:pt x="20" y="15"/>
                  </a:cubicBezTo>
                  <a:cubicBezTo>
                    <a:pt x="23" y="14"/>
                    <a:pt x="23" y="14"/>
                    <a:pt x="23" y="14"/>
                  </a:cubicBezTo>
                  <a:cubicBezTo>
                    <a:pt x="25" y="12"/>
                    <a:pt x="25" y="12"/>
                    <a:pt x="25" y="12"/>
                  </a:cubicBezTo>
                  <a:cubicBezTo>
                    <a:pt x="29" y="10"/>
                    <a:pt x="29" y="10"/>
                    <a:pt x="29" y="10"/>
                  </a:cubicBezTo>
                  <a:cubicBezTo>
                    <a:pt x="32" y="8"/>
                    <a:pt x="32" y="8"/>
                    <a:pt x="32" y="8"/>
                  </a:cubicBezTo>
                  <a:cubicBezTo>
                    <a:pt x="38" y="5"/>
                    <a:pt x="38" y="5"/>
                    <a:pt x="38" y="5"/>
                  </a:cubicBezTo>
                  <a:cubicBezTo>
                    <a:pt x="41" y="3"/>
                    <a:pt x="41" y="3"/>
                    <a:pt x="41" y="3"/>
                  </a:cubicBezTo>
                  <a:cubicBezTo>
                    <a:pt x="42" y="3"/>
                    <a:pt x="42" y="3"/>
                    <a:pt x="42" y="3"/>
                  </a:cubicBezTo>
                  <a:cubicBezTo>
                    <a:pt x="46" y="1"/>
                    <a:pt x="46" y="1"/>
                    <a:pt x="46" y="1"/>
                  </a:cubicBezTo>
                  <a:cubicBezTo>
                    <a:pt x="46" y="1"/>
                    <a:pt x="46" y="1"/>
                    <a:pt x="46" y="1"/>
                  </a:cubicBezTo>
                  <a:cubicBezTo>
                    <a:pt x="46" y="1"/>
                    <a:pt x="46" y="1"/>
                    <a:pt x="46" y="1"/>
                  </a:cubicBezTo>
                  <a:cubicBezTo>
                    <a:pt x="47" y="0"/>
                    <a:pt x="47" y="0"/>
                    <a:pt x="47" y="0"/>
                  </a:cubicBezTo>
                  <a:cubicBezTo>
                    <a:pt x="47" y="0"/>
                    <a:pt x="47" y="0"/>
                    <a:pt x="47" y="0"/>
                  </a:cubicBezTo>
                  <a:cubicBezTo>
                    <a:pt x="47" y="0"/>
                    <a:pt x="47" y="0"/>
                    <a:pt x="47" y="0"/>
                  </a:cubicBezTo>
                  <a:cubicBezTo>
                    <a:pt x="48" y="1"/>
                    <a:pt x="48" y="1"/>
                    <a:pt x="48" y="1"/>
                  </a:cubicBezTo>
                  <a:cubicBezTo>
                    <a:pt x="52" y="3"/>
                    <a:pt x="52" y="3"/>
                    <a:pt x="52" y="3"/>
                  </a:cubicBezTo>
                  <a:cubicBezTo>
                    <a:pt x="56" y="5"/>
                    <a:pt x="56" y="5"/>
                    <a:pt x="56" y="5"/>
                  </a:cubicBezTo>
                  <a:cubicBezTo>
                    <a:pt x="59" y="7"/>
                    <a:pt x="59" y="7"/>
                    <a:pt x="59" y="7"/>
                  </a:cubicBezTo>
                  <a:cubicBezTo>
                    <a:pt x="59" y="7"/>
                    <a:pt x="59" y="7"/>
                    <a:pt x="59" y="7"/>
                  </a:cubicBezTo>
                  <a:cubicBezTo>
                    <a:pt x="62" y="9"/>
                    <a:pt x="62" y="9"/>
                    <a:pt x="62" y="9"/>
                  </a:cubicBezTo>
                  <a:cubicBezTo>
                    <a:pt x="63" y="9"/>
                    <a:pt x="65" y="10"/>
                    <a:pt x="66" y="11"/>
                  </a:cubicBezTo>
                  <a:cubicBezTo>
                    <a:pt x="68" y="13"/>
                    <a:pt x="69" y="15"/>
                    <a:pt x="70" y="17"/>
                  </a:cubicBezTo>
                  <a:cubicBezTo>
                    <a:pt x="72" y="20"/>
                    <a:pt x="72" y="23"/>
                    <a:pt x="72" y="26"/>
                  </a:cubicBezTo>
                  <a:lnTo>
                    <a:pt x="72" y="47"/>
                  </a:lnTo>
                  <a:close/>
                </a:path>
              </a:pathLst>
            </a:custGeom>
            <a:solidFill>
              <a:srgbClr val="6FB7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350">
              <a:extLst>
                <a:ext uri="{FF2B5EF4-FFF2-40B4-BE49-F238E27FC236}">
                  <a16:creationId xmlns:a16="http://schemas.microsoft.com/office/drawing/2014/main" id="{EC6418B9-5EDB-4DC6-883C-D69EF58BC54A}"/>
                </a:ext>
              </a:extLst>
            </p:cNvPr>
            <p:cNvSpPr>
              <a:spLocks/>
            </p:cNvSpPr>
            <p:nvPr/>
          </p:nvSpPr>
          <p:spPr bwMode="auto">
            <a:xfrm>
              <a:off x="-2631379" y="2537404"/>
              <a:ext cx="78546" cy="78546"/>
            </a:xfrm>
            <a:custGeom>
              <a:avLst/>
              <a:gdLst>
                <a:gd name="T0" fmla="*/ 2 w 19"/>
                <a:gd name="T1" fmla="*/ 0 h 19"/>
                <a:gd name="T2" fmla="*/ 0 w 19"/>
                <a:gd name="T3" fmla="*/ 19 h 19"/>
                <a:gd name="T4" fmla="*/ 19 w 19"/>
                <a:gd name="T5" fmla="*/ 16 h 19"/>
                <a:gd name="T6" fmla="*/ 16 w 19"/>
                <a:gd name="T7" fmla="*/ 0 h 19"/>
                <a:gd name="T8" fmla="*/ 2 w 19"/>
                <a:gd name="T9" fmla="*/ 0 h 19"/>
              </a:gdLst>
              <a:ahLst/>
              <a:cxnLst>
                <a:cxn ang="0">
                  <a:pos x="T0" y="T1"/>
                </a:cxn>
                <a:cxn ang="0">
                  <a:pos x="T2" y="T3"/>
                </a:cxn>
                <a:cxn ang="0">
                  <a:pos x="T4" y="T5"/>
                </a:cxn>
                <a:cxn ang="0">
                  <a:pos x="T6" y="T7"/>
                </a:cxn>
                <a:cxn ang="0">
                  <a:pos x="T8" y="T9"/>
                </a:cxn>
              </a:cxnLst>
              <a:rect l="0" t="0" r="r" b="b"/>
              <a:pathLst>
                <a:path w="19" h="19">
                  <a:moveTo>
                    <a:pt x="2" y="0"/>
                  </a:moveTo>
                  <a:lnTo>
                    <a:pt x="0" y="19"/>
                  </a:lnTo>
                  <a:lnTo>
                    <a:pt x="19" y="16"/>
                  </a:lnTo>
                  <a:lnTo>
                    <a:pt x="16" y="0"/>
                  </a:lnTo>
                  <a:lnTo>
                    <a:pt x="2"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1351">
              <a:extLst>
                <a:ext uri="{FF2B5EF4-FFF2-40B4-BE49-F238E27FC236}">
                  <a16:creationId xmlns:a16="http://schemas.microsoft.com/office/drawing/2014/main" id="{BB86F96C-657F-46CA-96EE-4643F9232898}"/>
                </a:ext>
              </a:extLst>
            </p:cNvPr>
            <p:cNvSpPr>
              <a:spLocks/>
            </p:cNvSpPr>
            <p:nvPr/>
          </p:nvSpPr>
          <p:spPr bwMode="auto">
            <a:xfrm>
              <a:off x="-2652047" y="2487797"/>
              <a:ext cx="33071" cy="107482"/>
            </a:xfrm>
            <a:custGeom>
              <a:avLst/>
              <a:gdLst>
                <a:gd name="T0" fmla="*/ 10 w 10"/>
                <a:gd name="T1" fmla="*/ 21 h 34"/>
                <a:gd name="T2" fmla="*/ 9 w 10"/>
                <a:gd name="T3" fmla="*/ 23 h 34"/>
                <a:gd name="T4" fmla="*/ 9 w 10"/>
                <a:gd name="T5" fmla="*/ 22 h 34"/>
                <a:gd name="T6" fmla="*/ 9 w 10"/>
                <a:gd name="T7" fmla="*/ 2 h 34"/>
                <a:gd name="T8" fmla="*/ 1 w 10"/>
                <a:gd name="T9" fmla="*/ 0 h 34"/>
                <a:gd name="T10" fmla="*/ 0 w 10"/>
                <a:gd name="T11" fmla="*/ 22 h 34"/>
                <a:gd name="T12" fmla="*/ 4 w 10"/>
                <a:gd name="T13" fmla="*/ 30 h 34"/>
                <a:gd name="T14" fmla="*/ 10 w 10"/>
                <a:gd name="T15" fmla="*/ 34 h 34"/>
                <a:gd name="T16" fmla="*/ 10 w 10"/>
                <a:gd name="T17"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10" y="21"/>
                  </a:moveTo>
                  <a:cubicBezTo>
                    <a:pt x="9" y="23"/>
                    <a:pt x="9" y="23"/>
                    <a:pt x="9" y="23"/>
                  </a:cubicBezTo>
                  <a:cubicBezTo>
                    <a:pt x="9" y="22"/>
                    <a:pt x="9" y="22"/>
                    <a:pt x="9" y="22"/>
                  </a:cubicBezTo>
                  <a:cubicBezTo>
                    <a:pt x="9" y="2"/>
                    <a:pt x="9" y="2"/>
                    <a:pt x="9" y="2"/>
                  </a:cubicBezTo>
                  <a:cubicBezTo>
                    <a:pt x="1" y="0"/>
                    <a:pt x="1" y="0"/>
                    <a:pt x="1" y="0"/>
                  </a:cubicBezTo>
                  <a:cubicBezTo>
                    <a:pt x="1" y="0"/>
                    <a:pt x="0" y="16"/>
                    <a:pt x="0" y="22"/>
                  </a:cubicBezTo>
                  <a:cubicBezTo>
                    <a:pt x="0" y="29"/>
                    <a:pt x="4" y="30"/>
                    <a:pt x="4" y="30"/>
                  </a:cubicBezTo>
                  <a:cubicBezTo>
                    <a:pt x="10" y="34"/>
                    <a:pt x="10" y="34"/>
                    <a:pt x="10" y="34"/>
                  </a:cubicBezTo>
                  <a:lnTo>
                    <a:pt x="10" y="21"/>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1352">
              <a:extLst>
                <a:ext uri="{FF2B5EF4-FFF2-40B4-BE49-F238E27FC236}">
                  <a16:creationId xmlns:a16="http://schemas.microsoft.com/office/drawing/2014/main" id="{B948C387-2226-4E6B-800F-0F196D81FE9D}"/>
                </a:ext>
              </a:extLst>
            </p:cNvPr>
            <p:cNvSpPr>
              <a:spLocks/>
            </p:cNvSpPr>
            <p:nvPr/>
          </p:nvSpPr>
          <p:spPr bwMode="auto">
            <a:xfrm>
              <a:off x="-2652047" y="2446458"/>
              <a:ext cx="128153" cy="136421"/>
            </a:xfrm>
            <a:custGeom>
              <a:avLst/>
              <a:gdLst>
                <a:gd name="T0" fmla="*/ 0 w 42"/>
                <a:gd name="T1" fmla="*/ 4 h 44"/>
                <a:gd name="T2" fmla="*/ 0 w 42"/>
                <a:gd name="T3" fmla="*/ 14 h 44"/>
                <a:gd name="T4" fmla="*/ 4 w 42"/>
                <a:gd name="T5" fmla="*/ 17 h 44"/>
                <a:gd name="T6" fmla="*/ 5 w 42"/>
                <a:gd name="T7" fmla="*/ 27 h 44"/>
                <a:gd name="T8" fmla="*/ 9 w 42"/>
                <a:gd name="T9" fmla="*/ 33 h 44"/>
                <a:gd name="T10" fmla="*/ 12 w 42"/>
                <a:gd name="T11" fmla="*/ 36 h 44"/>
                <a:gd name="T12" fmla="*/ 24 w 42"/>
                <a:gd name="T13" fmla="*/ 44 h 44"/>
                <a:gd name="T14" fmla="*/ 32 w 42"/>
                <a:gd name="T15" fmla="*/ 42 h 44"/>
                <a:gd name="T16" fmla="*/ 36 w 42"/>
                <a:gd name="T17" fmla="*/ 35 h 44"/>
                <a:gd name="T18" fmla="*/ 42 w 42"/>
                <a:gd name="T19" fmla="*/ 17 h 44"/>
                <a:gd name="T20" fmla="*/ 38 w 42"/>
                <a:gd name="T21" fmla="*/ 12 h 44"/>
                <a:gd name="T22" fmla="*/ 13 w 42"/>
                <a:gd name="T23" fmla="*/ 2 h 44"/>
                <a:gd name="T24" fmla="*/ 0 w 42"/>
                <a:gd name="T2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4">
                  <a:moveTo>
                    <a:pt x="0" y="4"/>
                  </a:moveTo>
                  <a:cubicBezTo>
                    <a:pt x="0" y="14"/>
                    <a:pt x="0" y="14"/>
                    <a:pt x="0" y="14"/>
                  </a:cubicBezTo>
                  <a:cubicBezTo>
                    <a:pt x="0" y="14"/>
                    <a:pt x="4" y="15"/>
                    <a:pt x="4" y="17"/>
                  </a:cubicBezTo>
                  <a:cubicBezTo>
                    <a:pt x="5" y="18"/>
                    <a:pt x="4" y="25"/>
                    <a:pt x="5" y="27"/>
                  </a:cubicBezTo>
                  <a:cubicBezTo>
                    <a:pt x="6" y="28"/>
                    <a:pt x="9" y="33"/>
                    <a:pt x="9" y="33"/>
                  </a:cubicBezTo>
                  <a:cubicBezTo>
                    <a:pt x="12" y="36"/>
                    <a:pt x="12" y="36"/>
                    <a:pt x="12" y="36"/>
                  </a:cubicBezTo>
                  <a:cubicBezTo>
                    <a:pt x="12" y="36"/>
                    <a:pt x="20" y="44"/>
                    <a:pt x="24" y="44"/>
                  </a:cubicBezTo>
                  <a:cubicBezTo>
                    <a:pt x="28" y="44"/>
                    <a:pt x="32" y="42"/>
                    <a:pt x="32" y="42"/>
                  </a:cubicBezTo>
                  <a:cubicBezTo>
                    <a:pt x="32" y="42"/>
                    <a:pt x="35" y="36"/>
                    <a:pt x="36" y="35"/>
                  </a:cubicBezTo>
                  <a:cubicBezTo>
                    <a:pt x="36" y="35"/>
                    <a:pt x="42" y="17"/>
                    <a:pt x="42" y="17"/>
                  </a:cubicBezTo>
                  <a:cubicBezTo>
                    <a:pt x="38" y="12"/>
                    <a:pt x="38" y="12"/>
                    <a:pt x="38" y="12"/>
                  </a:cubicBezTo>
                  <a:cubicBezTo>
                    <a:pt x="32" y="4"/>
                    <a:pt x="23" y="0"/>
                    <a:pt x="13" y="2"/>
                  </a:cubicBezTo>
                  <a:lnTo>
                    <a:pt x="0" y="4"/>
                  </a:lnTo>
                  <a:close/>
                </a:path>
              </a:pathLst>
            </a:custGeom>
            <a:solidFill>
              <a:srgbClr val="2718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1353">
              <a:extLst>
                <a:ext uri="{FF2B5EF4-FFF2-40B4-BE49-F238E27FC236}">
                  <a16:creationId xmlns:a16="http://schemas.microsoft.com/office/drawing/2014/main" id="{39CD422A-B171-4170-9E55-CE5A33AEDAD6}"/>
                </a:ext>
              </a:extLst>
            </p:cNvPr>
            <p:cNvSpPr>
              <a:spLocks/>
            </p:cNvSpPr>
            <p:nvPr/>
          </p:nvSpPr>
          <p:spPr bwMode="auto">
            <a:xfrm>
              <a:off x="-2660315" y="2587012"/>
              <a:ext cx="124018" cy="57875"/>
            </a:xfrm>
            <a:custGeom>
              <a:avLst/>
              <a:gdLst>
                <a:gd name="T0" fmla="*/ 0 w 40"/>
                <a:gd name="T1" fmla="*/ 12 h 18"/>
                <a:gd name="T2" fmla="*/ 10 w 40"/>
                <a:gd name="T3" fmla="*/ 4 h 18"/>
                <a:gd name="T4" fmla="*/ 34 w 40"/>
                <a:gd name="T5" fmla="*/ 0 h 18"/>
                <a:gd name="T6" fmla="*/ 39 w 40"/>
                <a:gd name="T7" fmla="*/ 3 h 18"/>
                <a:gd name="T8" fmla="*/ 0 w 40"/>
                <a:gd name="T9" fmla="*/ 12 h 18"/>
              </a:gdLst>
              <a:ahLst/>
              <a:cxnLst>
                <a:cxn ang="0">
                  <a:pos x="T0" y="T1"/>
                </a:cxn>
                <a:cxn ang="0">
                  <a:pos x="T2" y="T3"/>
                </a:cxn>
                <a:cxn ang="0">
                  <a:pos x="T4" y="T5"/>
                </a:cxn>
                <a:cxn ang="0">
                  <a:pos x="T6" y="T7"/>
                </a:cxn>
                <a:cxn ang="0">
                  <a:pos x="T8" y="T9"/>
                </a:cxn>
              </a:cxnLst>
              <a:rect l="0" t="0" r="r" b="b"/>
              <a:pathLst>
                <a:path w="40" h="18">
                  <a:moveTo>
                    <a:pt x="0" y="12"/>
                  </a:moveTo>
                  <a:cubicBezTo>
                    <a:pt x="10" y="4"/>
                    <a:pt x="10" y="4"/>
                    <a:pt x="10" y="4"/>
                  </a:cubicBezTo>
                  <a:cubicBezTo>
                    <a:pt x="10" y="4"/>
                    <a:pt x="32" y="10"/>
                    <a:pt x="34" y="0"/>
                  </a:cubicBezTo>
                  <a:cubicBezTo>
                    <a:pt x="39" y="3"/>
                    <a:pt x="39" y="3"/>
                    <a:pt x="39" y="3"/>
                  </a:cubicBezTo>
                  <a:cubicBezTo>
                    <a:pt x="39" y="3"/>
                    <a:pt x="4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1354">
              <a:extLst>
                <a:ext uri="{FF2B5EF4-FFF2-40B4-BE49-F238E27FC236}">
                  <a16:creationId xmlns:a16="http://schemas.microsoft.com/office/drawing/2014/main" id="{B3C20D81-5F3E-4EDD-89A8-F99D56A53ED8}"/>
                </a:ext>
              </a:extLst>
            </p:cNvPr>
            <p:cNvSpPr>
              <a:spLocks/>
            </p:cNvSpPr>
            <p:nvPr/>
          </p:nvSpPr>
          <p:spPr bwMode="auto">
            <a:xfrm>
              <a:off x="-2635512" y="2525004"/>
              <a:ext cx="16536" cy="28939"/>
            </a:xfrm>
            <a:custGeom>
              <a:avLst/>
              <a:gdLst>
                <a:gd name="T0" fmla="*/ 0 w 5"/>
                <a:gd name="T1" fmla="*/ 3 h 10"/>
                <a:gd name="T2" fmla="*/ 3 w 5"/>
                <a:gd name="T3" fmla="*/ 0 h 10"/>
                <a:gd name="T4" fmla="*/ 4 w 5"/>
                <a:gd name="T5" fmla="*/ 8 h 10"/>
                <a:gd name="T6" fmla="*/ 1 w 5"/>
                <a:gd name="T7" fmla="*/ 9 h 10"/>
                <a:gd name="T8" fmla="*/ 0 w 5"/>
                <a:gd name="T9" fmla="*/ 3 h 10"/>
              </a:gdLst>
              <a:ahLst/>
              <a:cxnLst>
                <a:cxn ang="0">
                  <a:pos x="T0" y="T1"/>
                </a:cxn>
                <a:cxn ang="0">
                  <a:pos x="T2" y="T3"/>
                </a:cxn>
                <a:cxn ang="0">
                  <a:pos x="T4" y="T5"/>
                </a:cxn>
                <a:cxn ang="0">
                  <a:pos x="T6" y="T7"/>
                </a:cxn>
                <a:cxn ang="0">
                  <a:pos x="T8" y="T9"/>
                </a:cxn>
              </a:cxnLst>
              <a:rect l="0" t="0" r="r" b="b"/>
              <a:pathLst>
                <a:path w="5" h="10">
                  <a:moveTo>
                    <a:pt x="0" y="3"/>
                  </a:moveTo>
                  <a:cubicBezTo>
                    <a:pt x="0" y="3"/>
                    <a:pt x="1" y="0"/>
                    <a:pt x="3" y="0"/>
                  </a:cubicBezTo>
                  <a:cubicBezTo>
                    <a:pt x="5" y="0"/>
                    <a:pt x="5" y="6"/>
                    <a:pt x="4" y="8"/>
                  </a:cubicBezTo>
                  <a:cubicBezTo>
                    <a:pt x="4" y="10"/>
                    <a:pt x="1" y="9"/>
                    <a:pt x="1" y="9"/>
                  </a:cubicBezTo>
                  <a:lnTo>
                    <a:pt x="0" y="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68" name="Picture 1355">
              <a:extLst>
                <a:ext uri="{FF2B5EF4-FFF2-40B4-BE49-F238E27FC236}">
                  <a16:creationId xmlns:a16="http://schemas.microsoft.com/office/drawing/2014/main" id="{A2F37E08-804E-426D-8FEC-239E50803E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4058" y="2719297"/>
              <a:ext cx="86814" cy="29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9" name="Freeform 1356">
              <a:extLst>
                <a:ext uri="{FF2B5EF4-FFF2-40B4-BE49-F238E27FC236}">
                  <a16:creationId xmlns:a16="http://schemas.microsoft.com/office/drawing/2014/main" id="{9D97E0EF-FB0F-4195-9389-E091BC4799CF}"/>
                </a:ext>
              </a:extLst>
            </p:cNvPr>
            <p:cNvSpPr>
              <a:spLocks/>
            </p:cNvSpPr>
            <p:nvPr/>
          </p:nvSpPr>
          <p:spPr bwMode="auto">
            <a:xfrm>
              <a:off x="-3102647" y="2276968"/>
              <a:ext cx="268707" cy="206697"/>
            </a:xfrm>
            <a:custGeom>
              <a:avLst/>
              <a:gdLst>
                <a:gd name="T0" fmla="*/ 0 w 86"/>
                <a:gd name="T1" fmla="*/ 20 h 67"/>
                <a:gd name="T2" fmla="*/ 1 w 86"/>
                <a:gd name="T3" fmla="*/ 19 h 67"/>
                <a:gd name="T4" fmla="*/ 1 w 86"/>
                <a:gd name="T5" fmla="*/ 18 h 67"/>
                <a:gd name="T6" fmla="*/ 1 w 86"/>
                <a:gd name="T7" fmla="*/ 16 h 67"/>
                <a:gd name="T8" fmla="*/ 2 w 86"/>
                <a:gd name="T9" fmla="*/ 15 h 67"/>
                <a:gd name="T10" fmla="*/ 2 w 86"/>
                <a:gd name="T11" fmla="*/ 13 h 67"/>
                <a:gd name="T12" fmla="*/ 3 w 86"/>
                <a:gd name="T13" fmla="*/ 12 h 67"/>
                <a:gd name="T14" fmla="*/ 3 w 86"/>
                <a:gd name="T15" fmla="*/ 11 h 67"/>
                <a:gd name="T16" fmla="*/ 4 w 86"/>
                <a:gd name="T17" fmla="*/ 9 h 67"/>
                <a:gd name="T18" fmla="*/ 6 w 86"/>
                <a:gd name="T19" fmla="*/ 7 h 67"/>
                <a:gd name="T20" fmla="*/ 7 w 86"/>
                <a:gd name="T21" fmla="*/ 6 h 67"/>
                <a:gd name="T22" fmla="*/ 8 w 86"/>
                <a:gd name="T23" fmla="*/ 5 h 67"/>
                <a:gd name="T24" fmla="*/ 9 w 86"/>
                <a:gd name="T25" fmla="*/ 4 h 67"/>
                <a:gd name="T26" fmla="*/ 10 w 86"/>
                <a:gd name="T27" fmla="*/ 3 h 67"/>
                <a:gd name="T28" fmla="*/ 11 w 86"/>
                <a:gd name="T29" fmla="*/ 2 h 67"/>
                <a:gd name="T30" fmla="*/ 12 w 86"/>
                <a:gd name="T31" fmla="*/ 1 h 67"/>
                <a:gd name="T32" fmla="*/ 13 w 86"/>
                <a:gd name="T33" fmla="*/ 1 h 67"/>
                <a:gd name="T34" fmla="*/ 14 w 86"/>
                <a:gd name="T35" fmla="*/ 0 h 67"/>
                <a:gd name="T36" fmla="*/ 15 w 86"/>
                <a:gd name="T37" fmla="*/ 0 h 67"/>
                <a:gd name="T38" fmla="*/ 16 w 86"/>
                <a:gd name="T39" fmla="*/ 0 h 67"/>
                <a:gd name="T40" fmla="*/ 16 w 86"/>
                <a:gd name="T41" fmla="*/ 0 h 67"/>
                <a:gd name="T42" fmla="*/ 17 w 86"/>
                <a:gd name="T43" fmla="*/ 0 h 67"/>
                <a:gd name="T44" fmla="*/ 18 w 86"/>
                <a:gd name="T45" fmla="*/ 0 h 67"/>
                <a:gd name="T46" fmla="*/ 18 w 86"/>
                <a:gd name="T47" fmla="*/ 0 h 67"/>
                <a:gd name="T48" fmla="*/ 20 w 86"/>
                <a:gd name="T49" fmla="*/ 0 h 67"/>
                <a:gd name="T50" fmla="*/ 20 w 86"/>
                <a:gd name="T51" fmla="*/ 0 h 67"/>
                <a:gd name="T52" fmla="*/ 85 w 86"/>
                <a:gd name="T53" fmla="*/ 38 h 67"/>
                <a:gd name="T54" fmla="*/ 84 w 86"/>
                <a:gd name="T55" fmla="*/ 37 h 67"/>
                <a:gd name="T56" fmla="*/ 83 w 86"/>
                <a:gd name="T57" fmla="*/ 37 h 67"/>
                <a:gd name="T58" fmla="*/ 82 w 86"/>
                <a:gd name="T59" fmla="*/ 37 h 67"/>
                <a:gd name="T60" fmla="*/ 81 w 86"/>
                <a:gd name="T61" fmla="*/ 38 h 67"/>
                <a:gd name="T62" fmla="*/ 80 w 86"/>
                <a:gd name="T63" fmla="*/ 38 h 67"/>
                <a:gd name="T64" fmla="*/ 78 w 86"/>
                <a:gd name="T65" fmla="*/ 38 h 67"/>
                <a:gd name="T66" fmla="*/ 76 w 86"/>
                <a:gd name="T67" fmla="*/ 40 h 67"/>
                <a:gd name="T68" fmla="*/ 74 w 86"/>
                <a:gd name="T69" fmla="*/ 42 h 67"/>
                <a:gd name="T70" fmla="*/ 71 w 86"/>
                <a:gd name="T71" fmla="*/ 44 h 67"/>
                <a:gd name="T72" fmla="*/ 70 w 86"/>
                <a:gd name="T73" fmla="*/ 46 h 67"/>
                <a:gd name="T74" fmla="*/ 68 w 86"/>
                <a:gd name="T75" fmla="*/ 49 h 67"/>
                <a:gd name="T76" fmla="*/ 67 w 86"/>
                <a:gd name="T77" fmla="*/ 52 h 67"/>
                <a:gd name="T78" fmla="*/ 66 w 86"/>
                <a:gd name="T79" fmla="*/ 55 h 67"/>
                <a:gd name="T80" fmla="*/ 65 w 86"/>
                <a:gd name="T81" fmla="*/ 58 h 67"/>
                <a:gd name="T82" fmla="*/ 65 w 86"/>
                <a:gd name="T83" fmla="*/ 61 h 67"/>
                <a:gd name="T84" fmla="*/ 66 w 86"/>
                <a:gd name="T85" fmla="*/ 63 h 67"/>
                <a:gd name="T86" fmla="*/ 67 w 86"/>
                <a:gd name="T87" fmla="*/ 65 h 67"/>
                <a:gd name="T88" fmla="*/ 68 w 86"/>
                <a:gd name="T89" fmla="*/ 67 h 67"/>
                <a:gd name="T90" fmla="*/ 3 w 86"/>
                <a:gd name="T91" fmla="*/ 29 h 67"/>
                <a:gd name="T92" fmla="*/ 2 w 86"/>
                <a:gd name="T93" fmla="*/ 28 h 67"/>
                <a:gd name="T94" fmla="*/ 1 w 86"/>
                <a:gd name="T95" fmla="*/ 27 h 67"/>
                <a:gd name="T96" fmla="*/ 1 w 86"/>
                <a:gd name="T97" fmla="*/ 25 h 67"/>
                <a:gd name="T98" fmla="*/ 0 w 86"/>
                <a:gd name="T99" fmla="*/ 24 h 67"/>
                <a:gd name="T100" fmla="*/ 0 w 86"/>
                <a:gd name="T101" fmla="*/ 23 h 67"/>
                <a:gd name="T102" fmla="*/ 0 w 86"/>
                <a:gd name="T103"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67">
                  <a:moveTo>
                    <a:pt x="0" y="21"/>
                  </a:moveTo>
                  <a:cubicBezTo>
                    <a:pt x="0" y="21"/>
                    <a:pt x="0" y="21"/>
                    <a:pt x="0" y="21"/>
                  </a:cubicBezTo>
                  <a:cubicBezTo>
                    <a:pt x="0" y="20"/>
                    <a:pt x="0" y="20"/>
                    <a:pt x="0" y="20"/>
                  </a:cubicBezTo>
                  <a:cubicBezTo>
                    <a:pt x="0" y="20"/>
                    <a:pt x="0" y="20"/>
                    <a:pt x="0" y="20"/>
                  </a:cubicBezTo>
                  <a:cubicBezTo>
                    <a:pt x="0" y="20"/>
                    <a:pt x="0" y="20"/>
                    <a:pt x="0" y="20"/>
                  </a:cubicBezTo>
                  <a:cubicBezTo>
                    <a:pt x="0" y="20"/>
                    <a:pt x="0" y="20"/>
                    <a:pt x="0" y="20"/>
                  </a:cubicBezTo>
                  <a:cubicBezTo>
                    <a:pt x="1" y="19"/>
                    <a:pt x="1" y="19"/>
                    <a:pt x="1" y="19"/>
                  </a:cubicBezTo>
                  <a:cubicBezTo>
                    <a:pt x="1" y="19"/>
                    <a:pt x="1" y="19"/>
                    <a:pt x="1" y="19"/>
                  </a:cubicBezTo>
                  <a:cubicBezTo>
                    <a:pt x="1" y="19"/>
                    <a:pt x="1" y="19"/>
                    <a:pt x="1" y="19"/>
                  </a:cubicBezTo>
                  <a:cubicBezTo>
                    <a:pt x="1" y="18"/>
                    <a:pt x="1" y="18"/>
                    <a:pt x="1" y="18"/>
                  </a:cubicBezTo>
                  <a:cubicBezTo>
                    <a:pt x="1" y="18"/>
                    <a:pt x="1" y="18"/>
                    <a:pt x="1" y="18"/>
                  </a:cubicBezTo>
                  <a:cubicBezTo>
                    <a:pt x="1" y="18"/>
                    <a:pt x="1" y="18"/>
                    <a:pt x="1" y="18"/>
                  </a:cubicBezTo>
                  <a:cubicBezTo>
                    <a:pt x="1" y="17"/>
                    <a:pt x="1" y="17"/>
                    <a:pt x="1" y="17"/>
                  </a:cubicBezTo>
                  <a:cubicBezTo>
                    <a:pt x="1" y="17"/>
                    <a:pt x="1" y="17"/>
                    <a:pt x="1" y="17"/>
                  </a:cubicBezTo>
                  <a:cubicBezTo>
                    <a:pt x="1" y="16"/>
                    <a:pt x="1" y="16"/>
                    <a:pt x="1" y="16"/>
                  </a:cubicBezTo>
                  <a:cubicBezTo>
                    <a:pt x="1" y="16"/>
                    <a:pt x="1" y="16"/>
                    <a:pt x="1" y="16"/>
                  </a:cubicBezTo>
                  <a:cubicBezTo>
                    <a:pt x="1" y="16"/>
                    <a:pt x="1" y="16"/>
                    <a:pt x="1" y="16"/>
                  </a:cubicBezTo>
                  <a:cubicBezTo>
                    <a:pt x="1" y="16"/>
                    <a:pt x="1" y="16"/>
                    <a:pt x="1" y="16"/>
                  </a:cubicBezTo>
                  <a:cubicBezTo>
                    <a:pt x="1" y="15"/>
                    <a:pt x="1" y="15"/>
                    <a:pt x="1" y="15"/>
                  </a:cubicBezTo>
                  <a:cubicBezTo>
                    <a:pt x="2" y="15"/>
                    <a:pt x="2" y="15"/>
                    <a:pt x="2" y="15"/>
                  </a:cubicBezTo>
                  <a:cubicBezTo>
                    <a:pt x="2" y="15"/>
                    <a:pt x="2" y="15"/>
                    <a:pt x="2" y="15"/>
                  </a:cubicBezTo>
                  <a:cubicBezTo>
                    <a:pt x="2" y="14"/>
                    <a:pt x="2" y="14"/>
                    <a:pt x="2" y="14"/>
                  </a:cubicBezTo>
                  <a:cubicBezTo>
                    <a:pt x="2" y="14"/>
                    <a:pt x="2" y="14"/>
                    <a:pt x="2" y="14"/>
                  </a:cubicBezTo>
                  <a:cubicBezTo>
                    <a:pt x="2" y="13"/>
                    <a:pt x="2" y="13"/>
                    <a:pt x="2" y="13"/>
                  </a:cubicBezTo>
                  <a:cubicBezTo>
                    <a:pt x="2" y="13"/>
                    <a:pt x="2" y="13"/>
                    <a:pt x="2" y="13"/>
                  </a:cubicBezTo>
                  <a:cubicBezTo>
                    <a:pt x="2" y="13"/>
                    <a:pt x="2" y="13"/>
                    <a:pt x="2" y="13"/>
                  </a:cubicBezTo>
                  <a:cubicBezTo>
                    <a:pt x="2" y="13"/>
                    <a:pt x="2" y="13"/>
                    <a:pt x="2" y="13"/>
                  </a:cubicBezTo>
                  <a:cubicBezTo>
                    <a:pt x="3" y="12"/>
                    <a:pt x="3" y="12"/>
                    <a:pt x="3" y="12"/>
                  </a:cubicBezTo>
                  <a:cubicBezTo>
                    <a:pt x="3" y="12"/>
                    <a:pt x="3" y="12"/>
                    <a:pt x="3" y="12"/>
                  </a:cubicBezTo>
                  <a:cubicBezTo>
                    <a:pt x="3" y="12"/>
                    <a:pt x="3" y="12"/>
                    <a:pt x="3" y="12"/>
                  </a:cubicBezTo>
                  <a:cubicBezTo>
                    <a:pt x="3" y="11"/>
                    <a:pt x="3" y="11"/>
                    <a:pt x="3" y="11"/>
                  </a:cubicBezTo>
                  <a:cubicBezTo>
                    <a:pt x="3" y="11"/>
                    <a:pt x="3" y="11"/>
                    <a:pt x="3" y="11"/>
                  </a:cubicBezTo>
                  <a:cubicBezTo>
                    <a:pt x="4" y="10"/>
                    <a:pt x="4" y="10"/>
                    <a:pt x="4" y="10"/>
                  </a:cubicBezTo>
                  <a:cubicBezTo>
                    <a:pt x="4" y="10"/>
                    <a:pt x="4" y="10"/>
                    <a:pt x="4" y="10"/>
                  </a:cubicBezTo>
                  <a:cubicBezTo>
                    <a:pt x="4" y="10"/>
                    <a:pt x="4" y="10"/>
                    <a:pt x="4" y="10"/>
                  </a:cubicBezTo>
                  <a:cubicBezTo>
                    <a:pt x="4" y="9"/>
                    <a:pt x="4" y="9"/>
                    <a:pt x="4" y="9"/>
                  </a:cubicBezTo>
                  <a:cubicBezTo>
                    <a:pt x="5" y="9"/>
                    <a:pt x="5" y="9"/>
                    <a:pt x="5" y="9"/>
                  </a:cubicBezTo>
                  <a:cubicBezTo>
                    <a:pt x="5" y="8"/>
                    <a:pt x="5" y="8"/>
                    <a:pt x="5" y="8"/>
                  </a:cubicBezTo>
                  <a:cubicBezTo>
                    <a:pt x="5" y="8"/>
                    <a:pt x="5" y="8"/>
                    <a:pt x="6" y="7"/>
                  </a:cubicBezTo>
                  <a:cubicBezTo>
                    <a:pt x="6" y="7"/>
                    <a:pt x="6" y="7"/>
                    <a:pt x="6" y="7"/>
                  </a:cubicBezTo>
                  <a:cubicBezTo>
                    <a:pt x="6" y="7"/>
                    <a:pt x="6" y="7"/>
                    <a:pt x="6" y="7"/>
                  </a:cubicBezTo>
                  <a:cubicBezTo>
                    <a:pt x="7" y="6"/>
                    <a:pt x="7" y="6"/>
                    <a:pt x="7" y="6"/>
                  </a:cubicBezTo>
                  <a:cubicBezTo>
                    <a:pt x="7" y="6"/>
                    <a:pt x="7" y="6"/>
                    <a:pt x="7" y="6"/>
                  </a:cubicBezTo>
                  <a:cubicBezTo>
                    <a:pt x="7" y="6"/>
                    <a:pt x="7" y="6"/>
                    <a:pt x="7" y="6"/>
                  </a:cubicBezTo>
                  <a:cubicBezTo>
                    <a:pt x="7" y="6"/>
                    <a:pt x="7" y="6"/>
                    <a:pt x="7" y="6"/>
                  </a:cubicBezTo>
                  <a:cubicBezTo>
                    <a:pt x="7" y="5"/>
                    <a:pt x="7" y="5"/>
                    <a:pt x="7" y="5"/>
                  </a:cubicBezTo>
                  <a:cubicBezTo>
                    <a:pt x="8" y="5"/>
                    <a:pt x="8" y="5"/>
                    <a:pt x="8" y="5"/>
                  </a:cubicBezTo>
                  <a:cubicBezTo>
                    <a:pt x="8" y="5"/>
                    <a:pt x="8" y="5"/>
                    <a:pt x="8" y="5"/>
                  </a:cubicBezTo>
                  <a:cubicBezTo>
                    <a:pt x="8" y="5"/>
                    <a:pt x="8" y="5"/>
                    <a:pt x="8" y="5"/>
                  </a:cubicBezTo>
                  <a:cubicBezTo>
                    <a:pt x="8" y="4"/>
                    <a:pt x="8" y="4"/>
                    <a:pt x="8" y="4"/>
                  </a:cubicBezTo>
                  <a:cubicBezTo>
                    <a:pt x="9" y="4"/>
                    <a:pt x="9" y="4"/>
                    <a:pt x="9" y="4"/>
                  </a:cubicBezTo>
                  <a:cubicBezTo>
                    <a:pt x="9" y="4"/>
                    <a:pt x="9" y="4"/>
                    <a:pt x="9" y="4"/>
                  </a:cubicBezTo>
                  <a:cubicBezTo>
                    <a:pt x="9" y="4"/>
                    <a:pt x="9" y="4"/>
                    <a:pt x="9" y="4"/>
                  </a:cubicBezTo>
                  <a:cubicBezTo>
                    <a:pt x="10" y="3"/>
                    <a:pt x="10" y="3"/>
                    <a:pt x="10" y="3"/>
                  </a:cubicBezTo>
                  <a:cubicBezTo>
                    <a:pt x="10" y="3"/>
                    <a:pt x="10" y="3"/>
                    <a:pt x="10" y="3"/>
                  </a:cubicBezTo>
                  <a:cubicBezTo>
                    <a:pt x="10" y="3"/>
                    <a:pt x="10" y="3"/>
                    <a:pt x="10" y="3"/>
                  </a:cubicBezTo>
                  <a:cubicBezTo>
                    <a:pt x="10" y="3"/>
                    <a:pt x="10" y="3"/>
                    <a:pt x="10" y="3"/>
                  </a:cubicBezTo>
                  <a:cubicBezTo>
                    <a:pt x="11" y="2"/>
                    <a:pt x="11" y="2"/>
                    <a:pt x="11" y="2"/>
                  </a:cubicBezTo>
                  <a:cubicBezTo>
                    <a:pt x="11" y="2"/>
                    <a:pt x="11" y="2"/>
                    <a:pt x="11" y="2"/>
                  </a:cubicBezTo>
                  <a:cubicBezTo>
                    <a:pt x="11" y="2"/>
                    <a:pt x="11" y="2"/>
                    <a:pt x="11" y="2"/>
                  </a:cubicBezTo>
                  <a:cubicBezTo>
                    <a:pt x="11" y="2"/>
                    <a:pt x="11" y="2"/>
                    <a:pt x="11" y="2"/>
                  </a:cubicBezTo>
                  <a:cubicBezTo>
                    <a:pt x="12" y="2"/>
                    <a:pt x="12" y="2"/>
                    <a:pt x="12" y="2"/>
                  </a:cubicBezTo>
                  <a:cubicBezTo>
                    <a:pt x="12" y="1"/>
                    <a:pt x="12" y="1"/>
                    <a:pt x="12" y="1"/>
                  </a:cubicBezTo>
                  <a:cubicBezTo>
                    <a:pt x="12" y="1"/>
                    <a:pt x="12" y="1"/>
                    <a:pt x="12"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4" y="1"/>
                    <a:pt x="14" y="1"/>
                    <a:pt x="14" y="1"/>
                  </a:cubicBezTo>
                  <a:cubicBezTo>
                    <a:pt x="14" y="0"/>
                    <a:pt x="14" y="0"/>
                    <a:pt x="14" y="0"/>
                  </a:cubicBezTo>
                  <a:cubicBezTo>
                    <a:pt x="14" y="0"/>
                    <a:pt x="14" y="0"/>
                    <a:pt x="14" y="0"/>
                  </a:cubicBezTo>
                  <a:cubicBezTo>
                    <a:pt x="14" y="0"/>
                    <a:pt x="14" y="0"/>
                    <a:pt x="14"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9" y="0"/>
                    <a:pt x="19" y="0"/>
                    <a:pt x="19" y="0"/>
                  </a:cubicBezTo>
                  <a:cubicBezTo>
                    <a:pt x="19" y="0"/>
                    <a:pt x="19" y="0"/>
                    <a:pt x="19" y="0"/>
                  </a:cubicBezTo>
                  <a:cubicBezTo>
                    <a:pt x="19" y="0"/>
                    <a:pt x="19" y="0"/>
                    <a:pt x="19" y="0"/>
                  </a:cubicBezTo>
                  <a:cubicBezTo>
                    <a:pt x="20"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1" y="0"/>
                    <a:pt x="21" y="0"/>
                    <a:pt x="21" y="0"/>
                  </a:cubicBezTo>
                  <a:cubicBezTo>
                    <a:pt x="21" y="0"/>
                    <a:pt x="21" y="0"/>
                    <a:pt x="21" y="0"/>
                  </a:cubicBezTo>
                  <a:cubicBezTo>
                    <a:pt x="86" y="38"/>
                    <a:pt x="86" y="38"/>
                    <a:pt x="86" y="38"/>
                  </a:cubicBezTo>
                  <a:cubicBezTo>
                    <a:pt x="85" y="38"/>
                    <a:pt x="85" y="38"/>
                    <a:pt x="85" y="38"/>
                  </a:cubicBezTo>
                  <a:cubicBezTo>
                    <a:pt x="85" y="38"/>
                    <a:pt x="85" y="38"/>
                    <a:pt x="85" y="38"/>
                  </a:cubicBezTo>
                  <a:cubicBezTo>
                    <a:pt x="85" y="38"/>
                    <a:pt x="85" y="38"/>
                    <a:pt x="85" y="38"/>
                  </a:cubicBezTo>
                  <a:cubicBezTo>
                    <a:pt x="85" y="38"/>
                    <a:pt x="85" y="38"/>
                    <a:pt x="85" y="38"/>
                  </a:cubicBezTo>
                  <a:cubicBezTo>
                    <a:pt x="84" y="37"/>
                    <a:pt x="84" y="37"/>
                    <a:pt x="84" y="37"/>
                  </a:cubicBezTo>
                  <a:cubicBezTo>
                    <a:pt x="84" y="37"/>
                    <a:pt x="84" y="37"/>
                    <a:pt x="84" y="37"/>
                  </a:cubicBezTo>
                  <a:cubicBezTo>
                    <a:pt x="83" y="37"/>
                    <a:pt x="83" y="37"/>
                    <a:pt x="83" y="37"/>
                  </a:cubicBezTo>
                  <a:cubicBezTo>
                    <a:pt x="83" y="37"/>
                    <a:pt x="83" y="37"/>
                    <a:pt x="83" y="37"/>
                  </a:cubicBezTo>
                  <a:cubicBezTo>
                    <a:pt x="83" y="37"/>
                    <a:pt x="83" y="37"/>
                    <a:pt x="83" y="37"/>
                  </a:cubicBezTo>
                  <a:cubicBezTo>
                    <a:pt x="82" y="37"/>
                    <a:pt x="82" y="37"/>
                    <a:pt x="82" y="37"/>
                  </a:cubicBezTo>
                  <a:cubicBezTo>
                    <a:pt x="82" y="37"/>
                    <a:pt x="82" y="37"/>
                    <a:pt x="82" y="37"/>
                  </a:cubicBezTo>
                  <a:cubicBezTo>
                    <a:pt x="82" y="37"/>
                    <a:pt x="82" y="37"/>
                    <a:pt x="82" y="37"/>
                  </a:cubicBezTo>
                  <a:cubicBezTo>
                    <a:pt x="82" y="37"/>
                    <a:pt x="82" y="37"/>
                    <a:pt x="82" y="37"/>
                  </a:cubicBezTo>
                  <a:cubicBezTo>
                    <a:pt x="81" y="37"/>
                    <a:pt x="81" y="37"/>
                    <a:pt x="81" y="37"/>
                  </a:cubicBezTo>
                  <a:cubicBezTo>
                    <a:pt x="81" y="37"/>
                    <a:pt x="81" y="37"/>
                    <a:pt x="81" y="37"/>
                  </a:cubicBezTo>
                  <a:cubicBezTo>
                    <a:pt x="81" y="37"/>
                    <a:pt x="81" y="37"/>
                    <a:pt x="81" y="37"/>
                  </a:cubicBezTo>
                  <a:cubicBezTo>
                    <a:pt x="81" y="38"/>
                    <a:pt x="81" y="38"/>
                    <a:pt x="81" y="38"/>
                  </a:cubicBezTo>
                  <a:cubicBezTo>
                    <a:pt x="80" y="38"/>
                    <a:pt x="80" y="38"/>
                    <a:pt x="80" y="38"/>
                  </a:cubicBezTo>
                  <a:cubicBezTo>
                    <a:pt x="80" y="38"/>
                    <a:pt x="80" y="38"/>
                    <a:pt x="80" y="38"/>
                  </a:cubicBezTo>
                  <a:cubicBezTo>
                    <a:pt x="80" y="38"/>
                    <a:pt x="80" y="38"/>
                    <a:pt x="80" y="38"/>
                  </a:cubicBezTo>
                  <a:cubicBezTo>
                    <a:pt x="80" y="38"/>
                    <a:pt x="80" y="38"/>
                    <a:pt x="80" y="38"/>
                  </a:cubicBezTo>
                  <a:cubicBezTo>
                    <a:pt x="79" y="38"/>
                    <a:pt x="79" y="38"/>
                    <a:pt x="79" y="38"/>
                  </a:cubicBezTo>
                  <a:cubicBezTo>
                    <a:pt x="79" y="38"/>
                    <a:pt x="79" y="38"/>
                    <a:pt x="79" y="38"/>
                  </a:cubicBezTo>
                  <a:cubicBezTo>
                    <a:pt x="78" y="38"/>
                    <a:pt x="78" y="38"/>
                    <a:pt x="78" y="38"/>
                  </a:cubicBezTo>
                  <a:cubicBezTo>
                    <a:pt x="78" y="38"/>
                    <a:pt x="78" y="38"/>
                    <a:pt x="78" y="38"/>
                  </a:cubicBezTo>
                  <a:cubicBezTo>
                    <a:pt x="78" y="39"/>
                    <a:pt x="78" y="39"/>
                    <a:pt x="78" y="39"/>
                  </a:cubicBezTo>
                  <a:cubicBezTo>
                    <a:pt x="78" y="39"/>
                    <a:pt x="78" y="39"/>
                    <a:pt x="78" y="39"/>
                  </a:cubicBezTo>
                  <a:cubicBezTo>
                    <a:pt x="77" y="39"/>
                    <a:pt x="77" y="39"/>
                    <a:pt x="77" y="39"/>
                  </a:cubicBezTo>
                  <a:cubicBezTo>
                    <a:pt x="77" y="39"/>
                    <a:pt x="76" y="39"/>
                    <a:pt x="76" y="40"/>
                  </a:cubicBezTo>
                  <a:cubicBezTo>
                    <a:pt x="76" y="40"/>
                    <a:pt x="76" y="40"/>
                    <a:pt x="76" y="40"/>
                  </a:cubicBezTo>
                  <a:cubicBezTo>
                    <a:pt x="76" y="40"/>
                    <a:pt x="75" y="40"/>
                    <a:pt x="75" y="41"/>
                  </a:cubicBezTo>
                  <a:cubicBezTo>
                    <a:pt x="75" y="41"/>
                    <a:pt x="75" y="41"/>
                    <a:pt x="75" y="41"/>
                  </a:cubicBezTo>
                  <a:cubicBezTo>
                    <a:pt x="74" y="42"/>
                    <a:pt x="74" y="42"/>
                    <a:pt x="74" y="42"/>
                  </a:cubicBezTo>
                  <a:cubicBezTo>
                    <a:pt x="74" y="42"/>
                    <a:pt x="74" y="42"/>
                    <a:pt x="74" y="42"/>
                  </a:cubicBezTo>
                  <a:cubicBezTo>
                    <a:pt x="73" y="43"/>
                    <a:pt x="73" y="43"/>
                    <a:pt x="73" y="43"/>
                  </a:cubicBezTo>
                  <a:cubicBezTo>
                    <a:pt x="72" y="43"/>
                    <a:pt x="72" y="43"/>
                    <a:pt x="72" y="43"/>
                  </a:cubicBezTo>
                  <a:cubicBezTo>
                    <a:pt x="72" y="43"/>
                    <a:pt x="72" y="43"/>
                    <a:pt x="71" y="44"/>
                  </a:cubicBezTo>
                  <a:cubicBezTo>
                    <a:pt x="71" y="44"/>
                    <a:pt x="71" y="44"/>
                    <a:pt x="71" y="44"/>
                  </a:cubicBezTo>
                  <a:cubicBezTo>
                    <a:pt x="71" y="44"/>
                    <a:pt x="71" y="45"/>
                    <a:pt x="70" y="45"/>
                  </a:cubicBezTo>
                  <a:cubicBezTo>
                    <a:pt x="70" y="45"/>
                    <a:pt x="70" y="45"/>
                    <a:pt x="70" y="45"/>
                  </a:cubicBezTo>
                  <a:cubicBezTo>
                    <a:pt x="70" y="46"/>
                    <a:pt x="70" y="46"/>
                    <a:pt x="70" y="46"/>
                  </a:cubicBezTo>
                  <a:cubicBezTo>
                    <a:pt x="69" y="47"/>
                    <a:pt x="69" y="47"/>
                    <a:pt x="69" y="47"/>
                  </a:cubicBezTo>
                  <a:cubicBezTo>
                    <a:pt x="69" y="48"/>
                    <a:pt x="69" y="48"/>
                    <a:pt x="69" y="48"/>
                  </a:cubicBezTo>
                  <a:cubicBezTo>
                    <a:pt x="69" y="48"/>
                    <a:pt x="69" y="48"/>
                    <a:pt x="69" y="48"/>
                  </a:cubicBezTo>
                  <a:cubicBezTo>
                    <a:pt x="68" y="48"/>
                    <a:pt x="68" y="49"/>
                    <a:pt x="68" y="49"/>
                  </a:cubicBezTo>
                  <a:cubicBezTo>
                    <a:pt x="68" y="49"/>
                    <a:pt x="68" y="49"/>
                    <a:pt x="68" y="49"/>
                  </a:cubicBezTo>
                  <a:cubicBezTo>
                    <a:pt x="68" y="50"/>
                    <a:pt x="67" y="50"/>
                    <a:pt x="67" y="51"/>
                  </a:cubicBezTo>
                  <a:cubicBezTo>
                    <a:pt x="67" y="51"/>
                    <a:pt x="67" y="51"/>
                    <a:pt x="67" y="51"/>
                  </a:cubicBezTo>
                  <a:cubicBezTo>
                    <a:pt x="67" y="51"/>
                    <a:pt x="67" y="52"/>
                    <a:pt x="67" y="52"/>
                  </a:cubicBezTo>
                  <a:cubicBezTo>
                    <a:pt x="67" y="52"/>
                    <a:pt x="67" y="52"/>
                    <a:pt x="67" y="52"/>
                  </a:cubicBezTo>
                  <a:cubicBezTo>
                    <a:pt x="66" y="53"/>
                    <a:pt x="66" y="53"/>
                    <a:pt x="66" y="54"/>
                  </a:cubicBezTo>
                  <a:cubicBezTo>
                    <a:pt x="66" y="54"/>
                    <a:pt x="66" y="54"/>
                    <a:pt x="66" y="54"/>
                  </a:cubicBezTo>
                  <a:cubicBezTo>
                    <a:pt x="66" y="54"/>
                    <a:pt x="66" y="55"/>
                    <a:pt x="66" y="55"/>
                  </a:cubicBezTo>
                  <a:cubicBezTo>
                    <a:pt x="66" y="55"/>
                    <a:pt x="66" y="55"/>
                    <a:pt x="66" y="55"/>
                  </a:cubicBezTo>
                  <a:cubicBezTo>
                    <a:pt x="66" y="56"/>
                    <a:pt x="66" y="56"/>
                    <a:pt x="65" y="57"/>
                  </a:cubicBezTo>
                  <a:cubicBezTo>
                    <a:pt x="65" y="57"/>
                    <a:pt x="65" y="57"/>
                    <a:pt x="65" y="57"/>
                  </a:cubicBezTo>
                  <a:cubicBezTo>
                    <a:pt x="65" y="57"/>
                    <a:pt x="65" y="58"/>
                    <a:pt x="65" y="58"/>
                  </a:cubicBezTo>
                  <a:cubicBezTo>
                    <a:pt x="65" y="58"/>
                    <a:pt x="65" y="58"/>
                    <a:pt x="65" y="58"/>
                  </a:cubicBezTo>
                  <a:cubicBezTo>
                    <a:pt x="65" y="59"/>
                    <a:pt x="65" y="59"/>
                    <a:pt x="65" y="60"/>
                  </a:cubicBezTo>
                  <a:cubicBezTo>
                    <a:pt x="65" y="60"/>
                    <a:pt x="65" y="61"/>
                    <a:pt x="65" y="61"/>
                  </a:cubicBezTo>
                  <a:cubicBezTo>
                    <a:pt x="65" y="61"/>
                    <a:pt x="65" y="61"/>
                    <a:pt x="65" y="61"/>
                  </a:cubicBezTo>
                  <a:cubicBezTo>
                    <a:pt x="65" y="61"/>
                    <a:pt x="65" y="62"/>
                    <a:pt x="65" y="62"/>
                  </a:cubicBezTo>
                  <a:cubicBezTo>
                    <a:pt x="65" y="62"/>
                    <a:pt x="65" y="62"/>
                    <a:pt x="65" y="62"/>
                  </a:cubicBezTo>
                  <a:cubicBezTo>
                    <a:pt x="66" y="63"/>
                    <a:pt x="66" y="63"/>
                    <a:pt x="66" y="63"/>
                  </a:cubicBezTo>
                  <a:cubicBezTo>
                    <a:pt x="66" y="63"/>
                    <a:pt x="66" y="63"/>
                    <a:pt x="66" y="63"/>
                  </a:cubicBezTo>
                  <a:cubicBezTo>
                    <a:pt x="66" y="64"/>
                    <a:pt x="66" y="64"/>
                    <a:pt x="66" y="64"/>
                  </a:cubicBezTo>
                  <a:cubicBezTo>
                    <a:pt x="66" y="64"/>
                    <a:pt x="66" y="64"/>
                    <a:pt x="66" y="64"/>
                  </a:cubicBezTo>
                  <a:cubicBezTo>
                    <a:pt x="67" y="65"/>
                    <a:pt x="67" y="65"/>
                    <a:pt x="67" y="65"/>
                  </a:cubicBezTo>
                  <a:cubicBezTo>
                    <a:pt x="67" y="65"/>
                    <a:pt x="67" y="65"/>
                    <a:pt x="67" y="65"/>
                  </a:cubicBezTo>
                  <a:cubicBezTo>
                    <a:pt x="67" y="66"/>
                    <a:pt x="67" y="66"/>
                    <a:pt x="67" y="66"/>
                  </a:cubicBezTo>
                  <a:cubicBezTo>
                    <a:pt x="67" y="66"/>
                    <a:pt x="67" y="66"/>
                    <a:pt x="67" y="66"/>
                  </a:cubicBezTo>
                  <a:cubicBezTo>
                    <a:pt x="68" y="67"/>
                    <a:pt x="68" y="67"/>
                    <a:pt x="68" y="67"/>
                  </a:cubicBezTo>
                  <a:cubicBezTo>
                    <a:pt x="68" y="67"/>
                    <a:pt x="68" y="67"/>
                    <a:pt x="68" y="67"/>
                  </a:cubicBezTo>
                  <a:cubicBezTo>
                    <a:pt x="69" y="67"/>
                    <a:pt x="69" y="67"/>
                    <a:pt x="69" y="67"/>
                  </a:cubicBezTo>
                  <a:cubicBezTo>
                    <a:pt x="4" y="30"/>
                    <a:pt x="4" y="30"/>
                    <a:pt x="4" y="30"/>
                  </a:cubicBezTo>
                  <a:cubicBezTo>
                    <a:pt x="3" y="29"/>
                    <a:pt x="3" y="29"/>
                    <a:pt x="3" y="29"/>
                  </a:cubicBezTo>
                  <a:cubicBezTo>
                    <a:pt x="3" y="29"/>
                    <a:pt x="3" y="29"/>
                    <a:pt x="3" y="29"/>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1" y="27"/>
                    <a:pt x="1" y="27"/>
                    <a:pt x="1" y="27"/>
                  </a:cubicBezTo>
                  <a:cubicBezTo>
                    <a:pt x="1" y="27"/>
                    <a:pt x="1" y="27"/>
                    <a:pt x="1" y="27"/>
                  </a:cubicBezTo>
                  <a:cubicBezTo>
                    <a:pt x="1" y="27"/>
                    <a:pt x="1" y="27"/>
                    <a:pt x="1" y="27"/>
                  </a:cubicBezTo>
                  <a:cubicBezTo>
                    <a:pt x="1" y="26"/>
                    <a:pt x="1" y="26"/>
                    <a:pt x="1" y="26"/>
                  </a:cubicBezTo>
                  <a:cubicBezTo>
                    <a:pt x="1" y="26"/>
                    <a:pt x="1" y="26"/>
                    <a:pt x="1" y="26"/>
                  </a:cubicBezTo>
                  <a:cubicBezTo>
                    <a:pt x="1" y="26"/>
                    <a:pt x="1" y="26"/>
                    <a:pt x="1" y="26"/>
                  </a:cubicBezTo>
                  <a:cubicBezTo>
                    <a:pt x="1" y="25"/>
                    <a:pt x="1" y="25"/>
                    <a:pt x="1" y="25"/>
                  </a:cubicBezTo>
                  <a:cubicBezTo>
                    <a:pt x="1" y="25"/>
                    <a:pt x="1" y="25"/>
                    <a:pt x="1" y="25"/>
                  </a:cubicBezTo>
                  <a:cubicBezTo>
                    <a:pt x="1" y="25"/>
                    <a:pt x="1" y="25"/>
                    <a:pt x="1" y="25"/>
                  </a:cubicBezTo>
                  <a:cubicBezTo>
                    <a:pt x="1" y="24"/>
                    <a:pt x="1" y="24"/>
                    <a:pt x="1" y="24"/>
                  </a:cubicBezTo>
                  <a:cubicBezTo>
                    <a:pt x="0" y="24"/>
                    <a:pt x="0" y="24"/>
                    <a:pt x="0" y="24"/>
                  </a:cubicBezTo>
                  <a:cubicBezTo>
                    <a:pt x="0" y="24"/>
                    <a:pt x="0" y="24"/>
                    <a:pt x="0" y="24"/>
                  </a:cubicBezTo>
                  <a:cubicBezTo>
                    <a:pt x="0" y="23"/>
                    <a:pt x="0" y="23"/>
                    <a:pt x="0" y="23"/>
                  </a:cubicBezTo>
                  <a:cubicBezTo>
                    <a:pt x="0" y="23"/>
                    <a:pt x="0" y="23"/>
                    <a:pt x="0" y="23"/>
                  </a:cubicBezTo>
                  <a:cubicBezTo>
                    <a:pt x="0" y="23"/>
                    <a:pt x="0" y="23"/>
                    <a:pt x="0" y="23"/>
                  </a:cubicBezTo>
                  <a:cubicBezTo>
                    <a:pt x="0" y="22"/>
                    <a:pt x="0" y="22"/>
                    <a:pt x="0" y="22"/>
                  </a:cubicBezTo>
                  <a:cubicBezTo>
                    <a:pt x="0" y="22"/>
                    <a:pt x="0" y="22"/>
                    <a:pt x="0" y="22"/>
                  </a:cubicBezTo>
                  <a:cubicBezTo>
                    <a:pt x="0" y="22"/>
                    <a:pt x="0" y="22"/>
                    <a:pt x="0" y="22"/>
                  </a:cubicBezTo>
                  <a:lnTo>
                    <a:pt x="0" y="21"/>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1357">
              <a:extLst>
                <a:ext uri="{FF2B5EF4-FFF2-40B4-BE49-F238E27FC236}">
                  <a16:creationId xmlns:a16="http://schemas.microsoft.com/office/drawing/2014/main" id="{FE252D51-DB7F-4D37-9B31-E92F44790A18}"/>
                </a:ext>
              </a:extLst>
            </p:cNvPr>
            <p:cNvSpPr>
              <a:spLocks/>
            </p:cNvSpPr>
            <p:nvPr/>
          </p:nvSpPr>
          <p:spPr bwMode="auto">
            <a:xfrm>
              <a:off x="-2900083" y="2384450"/>
              <a:ext cx="74411" cy="107482"/>
            </a:xfrm>
            <a:custGeom>
              <a:avLst/>
              <a:gdLst>
                <a:gd name="T0" fmla="*/ 12 w 24"/>
                <a:gd name="T1" fmla="*/ 4 h 35"/>
                <a:gd name="T2" fmla="*/ 0 w 24"/>
                <a:gd name="T3" fmla="*/ 25 h 35"/>
                <a:gd name="T4" fmla="*/ 12 w 24"/>
                <a:gd name="T5" fmla="*/ 31 h 35"/>
                <a:gd name="T6" fmla="*/ 24 w 24"/>
                <a:gd name="T7" fmla="*/ 11 h 35"/>
                <a:gd name="T8" fmla="*/ 12 w 24"/>
                <a:gd name="T9" fmla="*/ 4 h 35"/>
              </a:gdLst>
              <a:ahLst/>
              <a:cxnLst>
                <a:cxn ang="0">
                  <a:pos x="T0" y="T1"/>
                </a:cxn>
                <a:cxn ang="0">
                  <a:pos x="T2" y="T3"/>
                </a:cxn>
                <a:cxn ang="0">
                  <a:pos x="T4" y="T5"/>
                </a:cxn>
                <a:cxn ang="0">
                  <a:pos x="T6" y="T7"/>
                </a:cxn>
                <a:cxn ang="0">
                  <a:pos x="T8" y="T9"/>
                </a:cxn>
              </a:cxnLst>
              <a:rect l="0" t="0" r="r" b="b"/>
              <a:pathLst>
                <a:path w="24" h="35">
                  <a:moveTo>
                    <a:pt x="12" y="4"/>
                  </a:moveTo>
                  <a:cubicBezTo>
                    <a:pt x="6" y="8"/>
                    <a:pt x="0" y="17"/>
                    <a:pt x="0" y="25"/>
                  </a:cubicBezTo>
                  <a:cubicBezTo>
                    <a:pt x="0" y="32"/>
                    <a:pt x="6" y="35"/>
                    <a:pt x="12" y="31"/>
                  </a:cubicBezTo>
                  <a:cubicBezTo>
                    <a:pt x="19" y="28"/>
                    <a:pt x="24" y="18"/>
                    <a:pt x="24" y="11"/>
                  </a:cubicBezTo>
                  <a:cubicBezTo>
                    <a:pt x="24" y="3"/>
                    <a:pt x="19" y="0"/>
                    <a:pt x="12" y="4"/>
                  </a:cubicBezTo>
                  <a:close/>
                </a:path>
              </a:pathLst>
            </a:custGeom>
            <a:solidFill>
              <a:srgbClr val="2A3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358">
              <a:extLst>
                <a:ext uri="{FF2B5EF4-FFF2-40B4-BE49-F238E27FC236}">
                  <a16:creationId xmlns:a16="http://schemas.microsoft.com/office/drawing/2014/main" id="{4A8BD4F3-79A1-4F27-ABF3-230F561B4F3E}"/>
                </a:ext>
              </a:extLst>
            </p:cNvPr>
            <p:cNvSpPr>
              <a:spLocks/>
            </p:cNvSpPr>
            <p:nvPr/>
          </p:nvSpPr>
          <p:spPr bwMode="auto">
            <a:xfrm>
              <a:off x="-2879415" y="2409254"/>
              <a:ext cx="177760" cy="140554"/>
            </a:xfrm>
            <a:custGeom>
              <a:avLst/>
              <a:gdLst>
                <a:gd name="T0" fmla="*/ 0 w 43"/>
                <a:gd name="T1" fmla="*/ 13 h 34"/>
                <a:gd name="T2" fmla="*/ 0 w 43"/>
                <a:gd name="T3" fmla="*/ 13 h 34"/>
                <a:gd name="T4" fmla="*/ 0 w 43"/>
                <a:gd name="T5" fmla="*/ 13 h 34"/>
                <a:gd name="T6" fmla="*/ 0 w 43"/>
                <a:gd name="T7" fmla="*/ 14 h 34"/>
                <a:gd name="T8" fmla="*/ 0 w 43"/>
                <a:gd name="T9" fmla="*/ 14 h 34"/>
                <a:gd name="T10" fmla="*/ 0 w 43"/>
                <a:gd name="T11" fmla="*/ 15 h 34"/>
                <a:gd name="T12" fmla="*/ 1 w 43"/>
                <a:gd name="T13" fmla="*/ 16 h 34"/>
                <a:gd name="T14" fmla="*/ 35 w 43"/>
                <a:gd name="T15" fmla="*/ 34 h 34"/>
                <a:gd name="T16" fmla="*/ 35 w 43"/>
                <a:gd name="T17" fmla="*/ 32 h 34"/>
                <a:gd name="T18" fmla="*/ 35 w 43"/>
                <a:gd name="T19" fmla="*/ 31 h 34"/>
                <a:gd name="T20" fmla="*/ 36 w 43"/>
                <a:gd name="T21" fmla="*/ 30 h 34"/>
                <a:gd name="T22" fmla="*/ 36 w 43"/>
                <a:gd name="T23" fmla="*/ 28 h 34"/>
                <a:gd name="T24" fmla="*/ 37 w 43"/>
                <a:gd name="T25" fmla="*/ 27 h 34"/>
                <a:gd name="T26" fmla="*/ 37 w 43"/>
                <a:gd name="T27" fmla="*/ 26 h 34"/>
                <a:gd name="T28" fmla="*/ 38 w 43"/>
                <a:gd name="T29" fmla="*/ 25 h 34"/>
                <a:gd name="T30" fmla="*/ 39 w 43"/>
                <a:gd name="T31" fmla="*/ 24 h 34"/>
                <a:gd name="T32" fmla="*/ 40 w 43"/>
                <a:gd name="T33" fmla="*/ 23 h 34"/>
                <a:gd name="T34" fmla="*/ 41 w 43"/>
                <a:gd name="T35" fmla="*/ 22 h 34"/>
                <a:gd name="T36" fmla="*/ 42 w 43"/>
                <a:gd name="T37" fmla="*/ 22 h 34"/>
                <a:gd name="T38" fmla="*/ 43 w 43"/>
                <a:gd name="T39" fmla="*/ 21 h 34"/>
                <a:gd name="T40" fmla="*/ 11 w 43"/>
                <a:gd name="T41" fmla="*/ 0 h 34"/>
                <a:gd name="T42" fmla="*/ 10 w 43"/>
                <a:gd name="T43" fmla="*/ 0 h 34"/>
                <a:gd name="T44" fmla="*/ 10 w 43"/>
                <a:gd name="T45" fmla="*/ 0 h 34"/>
                <a:gd name="T46" fmla="*/ 9 w 43"/>
                <a:gd name="T47" fmla="*/ 0 h 34"/>
                <a:gd name="T48" fmla="*/ 9 w 43"/>
                <a:gd name="T49" fmla="*/ 0 h 34"/>
                <a:gd name="T50" fmla="*/ 9 w 43"/>
                <a:gd name="T51" fmla="*/ 0 h 34"/>
                <a:gd name="T52" fmla="*/ 8 w 43"/>
                <a:gd name="T53" fmla="*/ 0 h 34"/>
                <a:gd name="T54" fmla="*/ 8 w 43"/>
                <a:gd name="T55" fmla="*/ 0 h 34"/>
                <a:gd name="T56" fmla="*/ 8 w 43"/>
                <a:gd name="T57" fmla="*/ 0 h 34"/>
                <a:gd name="T58" fmla="*/ 8 w 43"/>
                <a:gd name="T59" fmla="*/ 0 h 34"/>
                <a:gd name="T60" fmla="*/ 8 w 43"/>
                <a:gd name="T61" fmla="*/ 1 h 34"/>
                <a:gd name="T62" fmla="*/ 7 w 43"/>
                <a:gd name="T63" fmla="*/ 1 h 34"/>
                <a:gd name="T64" fmla="*/ 7 w 43"/>
                <a:gd name="T65" fmla="*/ 1 h 34"/>
                <a:gd name="T66" fmla="*/ 6 w 43"/>
                <a:gd name="T67" fmla="*/ 1 h 34"/>
                <a:gd name="T68" fmla="*/ 5 w 43"/>
                <a:gd name="T69" fmla="*/ 2 h 34"/>
                <a:gd name="T70" fmla="*/ 5 w 43"/>
                <a:gd name="T71" fmla="*/ 2 h 34"/>
                <a:gd name="T72" fmla="*/ 5 w 43"/>
                <a:gd name="T73" fmla="*/ 2 h 34"/>
                <a:gd name="T74" fmla="*/ 5 w 43"/>
                <a:gd name="T75" fmla="*/ 2 h 34"/>
                <a:gd name="T76" fmla="*/ 4 w 43"/>
                <a:gd name="T77" fmla="*/ 3 h 34"/>
                <a:gd name="T78" fmla="*/ 4 w 43"/>
                <a:gd name="T79" fmla="*/ 3 h 34"/>
                <a:gd name="T80" fmla="*/ 3 w 43"/>
                <a:gd name="T81" fmla="*/ 4 h 34"/>
                <a:gd name="T82" fmla="*/ 2 w 43"/>
                <a:gd name="T83" fmla="*/ 5 h 34"/>
                <a:gd name="T84" fmla="*/ 2 w 43"/>
                <a:gd name="T85" fmla="*/ 5 h 34"/>
                <a:gd name="T86" fmla="*/ 2 w 43"/>
                <a:gd name="T87" fmla="*/ 6 h 34"/>
                <a:gd name="T88" fmla="*/ 2 w 43"/>
                <a:gd name="T89" fmla="*/ 7 h 34"/>
                <a:gd name="T90" fmla="*/ 1 w 43"/>
                <a:gd name="T91" fmla="*/ 8 h 34"/>
                <a:gd name="T92" fmla="*/ 1 w 43"/>
                <a:gd name="T93" fmla="*/ 8 h 34"/>
                <a:gd name="T94" fmla="*/ 1 w 43"/>
                <a:gd name="T95" fmla="*/ 8 h 34"/>
                <a:gd name="T96" fmla="*/ 0 w 43"/>
                <a:gd name="T97" fmla="*/ 9 h 34"/>
                <a:gd name="T98" fmla="*/ 0 w 43"/>
                <a:gd name="T99" fmla="*/ 9 h 34"/>
                <a:gd name="T100" fmla="*/ 0 w 43"/>
                <a:gd name="T101" fmla="*/ 10 h 34"/>
                <a:gd name="T102" fmla="*/ 0 w 43"/>
                <a:gd name="T103" fmla="*/ 10 h 34"/>
                <a:gd name="T104" fmla="*/ 0 w 43"/>
                <a:gd name="T105" fmla="*/ 11 h 34"/>
                <a:gd name="T106" fmla="*/ 0 w 43"/>
                <a:gd name="T107" fmla="*/ 11 h 34"/>
                <a:gd name="T108" fmla="*/ 0 w 43"/>
                <a:gd name="T10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 h="34">
                  <a:moveTo>
                    <a:pt x="0" y="12"/>
                  </a:moveTo>
                  <a:lnTo>
                    <a:pt x="0" y="12"/>
                  </a:lnTo>
                  <a:lnTo>
                    <a:pt x="0" y="13"/>
                  </a:lnTo>
                  <a:lnTo>
                    <a:pt x="0" y="13"/>
                  </a:lnTo>
                  <a:lnTo>
                    <a:pt x="0" y="13"/>
                  </a:lnTo>
                  <a:lnTo>
                    <a:pt x="0" y="13"/>
                  </a:lnTo>
                  <a:lnTo>
                    <a:pt x="0" y="13"/>
                  </a:lnTo>
                  <a:lnTo>
                    <a:pt x="0" y="13"/>
                  </a:lnTo>
                  <a:lnTo>
                    <a:pt x="0" y="13"/>
                  </a:lnTo>
                  <a:lnTo>
                    <a:pt x="0" y="13"/>
                  </a:lnTo>
                  <a:lnTo>
                    <a:pt x="0" y="14"/>
                  </a:lnTo>
                  <a:lnTo>
                    <a:pt x="0" y="14"/>
                  </a:lnTo>
                  <a:lnTo>
                    <a:pt x="0" y="14"/>
                  </a:lnTo>
                  <a:lnTo>
                    <a:pt x="0" y="14"/>
                  </a:lnTo>
                  <a:lnTo>
                    <a:pt x="0" y="14"/>
                  </a:lnTo>
                  <a:lnTo>
                    <a:pt x="0" y="15"/>
                  </a:lnTo>
                  <a:lnTo>
                    <a:pt x="0" y="15"/>
                  </a:lnTo>
                  <a:lnTo>
                    <a:pt x="0" y="15"/>
                  </a:lnTo>
                  <a:lnTo>
                    <a:pt x="1" y="16"/>
                  </a:lnTo>
                  <a:lnTo>
                    <a:pt x="1" y="16"/>
                  </a:lnTo>
                  <a:lnTo>
                    <a:pt x="1" y="16"/>
                  </a:lnTo>
                  <a:lnTo>
                    <a:pt x="1" y="16"/>
                  </a:lnTo>
                  <a:lnTo>
                    <a:pt x="1" y="16"/>
                  </a:lnTo>
                  <a:lnTo>
                    <a:pt x="35" y="34"/>
                  </a:lnTo>
                  <a:lnTo>
                    <a:pt x="35" y="33"/>
                  </a:lnTo>
                  <a:lnTo>
                    <a:pt x="35" y="32"/>
                  </a:lnTo>
                  <a:lnTo>
                    <a:pt x="35" y="32"/>
                  </a:lnTo>
                  <a:lnTo>
                    <a:pt x="35" y="31"/>
                  </a:lnTo>
                  <a:lnTo>
                    <a:pt x="35" y="31"/>
                  </a:lnTo>
                  <a:lnTo>
                    <a:pt x="35" y="31"/>
                  </a:lnTo>
                  <a:lnTo>
                    <a:pt x="35" y="31"/>
                  </a:lnTo>
                  <a:lnTo>
                    <a:pt x="36" y="30"/>
                  </a:lnTo>
                  <a:lnTo>
                    <a:pt x="36" y="30"/>
                  </a:lnTo>
                  <a:lnTo>
                    <a:pt x="36" y="29"/>
                  </a:lnTo>
                  <a:lnTo>
                    <a:pt x="36" y="28"/>
                  </a:lnTo>
                  <a:lnTo>
                    <a:pt x="36" y="28"/>
                  </a:lnTo>
                  <a:lnTo>
                    <a:pt x="37" y="28"/>
                  </a:lnTo>
                  <a:lnTo>
                    <a:pt x="37" y="27"/>
                  </a:lnTo>
                  <a:lnTo>
                    <a:pt x="37" y="27"/>
                  </a:lnTo>
                  <a:lnTo>
                    <a:pt x="37" y="27"/>
                  </a:lnTo>
                  <a:lnTo>
                    <a:pt x="37" y="26"/>
                  </a:lnTo>
                  <a:lnTo>
                    <a:pt x="37" y="26"/>
                  </a:lnTo>
                  <a:lnTo>
                    <a:pt x="37" y="25"/>
                  </a:lnTo>
                  <a:lnTo>
                    <a:pt x="38" y="25"/>
                  </a:lnTo>
                  <a:lnTo>
                    <a:pt x="38" y="25"/>
                  </a:lnTo>
                  <a:lnTo>
                    <a:pt x="39" y="24"/>
                  </a:lnTo>
                  <a:lnTo>
                    <a:pt x="39" y="24"/>
                  </a:lnTo>
                  <a:lnTo>
                    <a:pt x="39" y="24"/>
                  </a:lnTo>
                  <a:lnTo>
                    <a:pt x="39" y="24"/>
                  </a:lnTo>
                  <a:lnTo>
                    <a:pt x="40" y="23"/>
                  </a:lnTo>
                  <a:lnTo>
                    <a:pt x="40" y="23"/>
                  </a:lnTo>
                  <a:lnTo>
                    <a:pt x="40" y="22"/>
                  </a:lnTo>
                  <a:lnTo>
                    <a:pt x="40" y="22"/>
                  </a:lnTo>
                  <a:lnTo>
                    <a:pt x="41" y="22"/>
                  </a:lnTo>
                  <a:lnTo>
                    <a:pt x="41" y="22"/>
                  </a:lnTo>
                  <a:lnTo>
                    <a:pt x="42" y="22"/>
                  </a:lnTo>
                  <a:lnTo>
                    <a:pt x="42" y="22"/>
                  </a:lnTo>
                  <a:lnTo>
                    <a:pt x="42" y="22"/>
                  </a:lnTo>
                  <a:lnTo>
                    <a:pt x="43" y="21"/>
                  </a:lnTo>
                  <a:lnTo>
                    <a:pt x="43" y="21"/>
                  </a:lnTo>
                  <a:lnTo>
                    <a:pt x="11" y="1"/>
                  </a:lnTo>
                  <a:lnTo>
                    <a:pt x="11" y="0"/>
                  </a:lnTo>
                  <a:lnTo>
                    <a:pt x="11" y="0"/>
                  </a:lnTo>
                  <a:lnTo>
                    <a:pt x="11" y="0"/>
                  </a:lnTo>
                  <a:lnTo>
                    <a:pt x="11" y="0"/>
                  </a:lnTo>
                  <a:lnTo>
                    <a:pt x="10" y="0"/>
                  </a:lnTo>
                  <a:lnTo>
                    <a:pt x="10" y="0"/>
                  </a:lnTo>
                  <a:lnTo>
                    <a:pt x="10" y="0"/>
                  </a:lnTo>
                  <a:lnTo>
                    <a:pt x="10" y="0"/>
                  </a:lnTo>
                  <a:lnTo>
                    <a:pt x="10" y="0"/>
                  </a:lnTo>
                  <a:lnTo>
                    <a:pt x="10" y="0"/>
                  </a:lnTo>
                  <a:lnTo>
                    <a:pt x="9" y="0"/>
                  </a:lnTo>
                  <a:lnTo>
                    <a:pt x="9" y="0"/>
                  </a:lnTo>
                  <a:lnTo>
                    <a:pt x="9" y="0"/>
                  </a:lnTo>
                  <a:lnTo>
                    <a:pt x="9" y="0"/>
                  </a:lnTo>
                  <a:lnTo>
                    <a:pt x="9" y="0"/>
                  </a:lnTo>
                  <a:lnTo>
                    <a:pt x="9" y="0"/>
                  </a:lnTo>
                  <a:lnTo>
                    <a:pt x="9"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1"/>
                  </a:lnTo>
                  <a:lnTo>
                    <a:pt x="8" y="1"/>
                  </a:lnTo>
                  <a:lnTo>
                    <a:pt x="7" y="1"/>
                  </a:lnTo>
                  <a:lnTo>
                    <a:pt x="7" y="1"/>
                  </a:lnTo>
                  <a:lnTo>
                    <a:pt x="7" y="1"/>
                  </a:lnTo>
                  <a:lnTo>
                    <a:pt x="7" y="1"/>
                  </a:lnTo>
                  <a:lnTo>
                    <a:pt x="7" y="1"/>
                  </a:lnTo>
                  <a:lnTo>
                    <a:pt x="7" y="1"/>
                  </a:lnTo>
                  <a:lnTo>
                    <a:pt x="7" y="1"/>
                  </a:lnTo>
                  <a:lnTo>
                    <a:pt x="6" y="1"/>
                  </a:lnTo>
                  <a:lnTo>
                    <a:pt x="6" y="1"/>
                  </a:lnTo>
                  <a:lnTo>
                    <a:pt x="6" y="2"/>
                  </a:lnTo>
                  <a:lnTo>
                    <a:pt x="6" y="2"/>
                  </a:lnTo>
                  <a:lnTo>
                    <a:pt x="5" y="2"/>
                  </a:lnTo>
                  <a:lnTo>
                    <a:pt x="5" y="2"/>
                  </a:lnTo>
                  <a:lnTo>
                    <a:pt x="5" y="2"/>
                  </a:lnTo>
                  <a:lnTo>
                    <a:pt x="5" y="2"/>
                  </a:lnTo>
                  <a:lnTo>
                    <a:pt x="5" y="2"/>
                  </a:lnTo>
                  <a:lnTo>
                    <a:pt x="5" y="2"/>
                  </a:lnTo>
                  <a:lnTo>
                    <a:pt x="5" y="2"/>
                  </a:lnTo>
                  <a:lnTo>
                    <a:pt x="5" y="2"/>
                  </a:lnTo>
                  <a:lnTo>
                    <a:pt x="5" y="2"/>
                  </a:lnTo>
                  <a:lnTo>
                    <a:pt x="5" y="2"/>
                  </a:lnTo>
                  <a:lnTo>
                    <a:pt x="5" y="2"/>
                  </a:lnTo>
                  <a:lnTo>
                    <a:pt x="4" y="3"/>
                  </a:lnTo>
                  <a:lnTo>
                    <a:pt x="4" y="3"/>
                  </a:lnTo>
                  <a:lnTo>
                    <a:pt x="4" y="3"/>
                  </a:lnTo>
                  <a:lnTo>
                    <a:pt x="4" y="3"/>
                  </a:lnTo>
                  <a:lnTo>
                    <a:pt x="4" y="3"/>
                  </a:lnTo>
                  <a:lnTo>
                    <a:pt x="3" y="4"/>
                  </a:lnTo>
                  <a:lnTo>
                    <a:pt x="3" y="4"/>
                  </a:lnTo>
                  <a:lnTo>
                    <a:pt x="3" y="4"/>
                  </a:lnTo>
                  <a:lnTo>
                    <a:pt x="3" y="4"/>
                  </a:lnTo>
                  <a:lnTo>
                    <a:pt x="2" y="5"/>
                  </a:lnTo>
                  <a:lnTo>
                    <a:pt x="2" y="5"/>
                  </a:lnTo>
                  <a:lnTo>
                    <a:pt x="2" y="5"/>
                  </a:lnTo>
                  <a:lnTo>
                    <a:pt x="2" y="5"/>
                  </a:lnTo>
                  <a:lnTo>
                    <a:pt x="2" y="5"/>
                  </a:lnTo>
                  <a:lnTo>
                    <a:pt x="2" y="6"/>
                  </a:lnTo>
                  <a:lnTo>
                    <a:pt x="2" y="6"/>
                  </a:lnTo>
                  <a:lnTo>
                    <a:pt x="2" y="6"/>
                  </a:lnTo>
                  <a:lnTo>
                    <a:pt x="2" y="6"/>
                  </a:lnTo>
                  <a:lnTo>
                    <a:pt x="2" y="7"/>
                  </a:lnTo>
                  <a:lnTo>
                    <a:pt x="2" y="7"/>
                  </a:lnTo>
                  <a:lnTo>
                    <a:pt x="2" y="7"/>
                  </a:lnTo>
                  <a:lnTo>
                    <a:pt x="1" y="7"/>
                  </a:lnTo>
                  <a:lnTo>
                    <a:pt x="1" y="8"/>
                  </a:lnTo>
                  <a:lnTo>
                    <a:pt x="1" y="8"/>
                  </a:lnTo>
                  <a:lnTo>
                    <a:pt x="1" y="8"/>
                  </a:lnTo>
                  <a:lnTo>
                    <a:pt x="1" y="8"/>
                  </a:lnTo>
                  <a:lnTo>
                    <a:pt x="1" y="8"/>
                  </a:lnTo>
                  <a:lnTo>
                    <a:pt x="1" y="8"/>
                  </a:lnTo>
                  <a:lnTo>
                    <a:pt x="1" y="8"/>
                  </a:lnTo>
                  <a:lnTo>
                    <a:pt x="1" y="8"/>
                  </a:lnTo>
                  <a:lnTo>
                    <a:pt x="0" y="9"/>
                  </a:lnTo>
                  <a:lnTo>
                    <a:pt x="0" y="9"/>
                  </a:lnTo>
                  <a:lnTo>
                    <a:pt x="0" y="9"/>
                  </a:lnTo>
                  <a:lnTo>
                    <a:pt x="0" y="9"/>
                  </a:lnTo>
                  <a:lnTo>
                    <a:pt x="0" y="9"/>
                  </a:lnTo>
                  <a:lnTo>
                    <a:pt x="0" y="10"/>
                  </a:lnTo>
                  <a:lnTo>
                    <a:pt x="0" y="10"/>
                  </a:lnTo>
                  <a:lnTo>
                    <a:pt x="0" y="10"/>
                  </a:lnTo>
                  <a:lnTo>
                    <a:pt x="0" y="10"/>
                  </a:lnTo>
                  <a:lnTo>
                    <a:pt x="0" y="10"/>
                  </a:lnTo>
                  <a:lnTo>
                    <a:pt x="0" y="10"/>
                  </a:lnTo>
                  <a:lnTo>
                    <a:pt x="0" y="10"/>
                  </a:lnTo>
                  <a:lnTo>
                    <a:pt x="0" y="10"/>
                  </a:lnTo>
                  <a:lnTo>
                    <a:pt x="0" y="11"/>
                  </a:lnTo>
                  <a:lnTo>
                    <a:pt x="0" y="11"/>
                  </a:lnTo>
                  <a:lnTo>
                    <a:pt x="0" y="11"/>
                  </a:lnTo>
                  <a:lnTo>
                    <a:pt x="0" y="11"/>
                  </a:lnTo>
                  <a:lnTo>
                    <a:pt x="0" y="12"/>
                  </a:lnTo>
                  <a:lnTo>
                    <a:pt x="0" y="12"/>
                  </a:lnTo>
                  <a:lnTo>
                    <a:pt x="0" y="12"/>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72" name="Picture 1359">
              <a:extLst>
                <a:ext uri="{FF2B5EF4-FFF2-40B4-BE49-F238E27FC236}">
                  <a16:creationId xmlns:a16="http://schemas.microsoft.com/office/drawing/2014/main" id="{8296DAC2-8B05-4993-8DBC-E436FA0B171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33155" y="2512601"/>
              <a:ext cx="281107" cy="23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3" name="Freeform 1360">
              <a:extLst>
                <a:ext uri="{FF2B5EF4-FFF2-40B4-BE49-F238E27FC236}">
                  <a16:creationId xmlns:a16="http://schemas.microsoft.com/office/drawing/2014/main" id="{B308CAFD-DEE4-4E74-BAED-0C4FBDB1E2AE}"/>
                </a:ext>
              </a:extLst>
            </p:cNvPr>
            <p:cNvSpPr>
              <a:spLocks/>
            </p:cNvSpPr>
            <p:nvPr/>
          </p:nvSpPr>
          <p:spPr bwMode="auto">
            <a:xfrm>
              <a:off x="-2850476" y="2442325"/>
              <a:ext cx="74411" cy="95082"/>
            </a:xfrm>
            <a:custGeom>
              <a:avLst/>
              <a:gdLst>
                <a:gd name="T0" fmla="*/ 14 w 24"/>
                <a:gd name="T1" fmla="*/ 31 h 31"/>
                <a:gd name="T2" fmla="*/ 19 w 24"/>
                <a:gd name="T3" fmla="*/ 25 h 31"/>
                <a:gd name="T4" fmla="*/ 22 w 24"/>
                <a:gd name="T5" fmla="*/ 13 h 31"/>
                <a:gd name="T6" fmla="*/ 19 w 24"/>
                <a:gd name="T7" fmla="*/ 14 h 31"/>
                <a:gd name="T8" fmla="*/ 16 w 24"/>
                <a:gd name="T9" fmla="*/ 20 h 31"/>
                <a:gd name="T10" fmla="*/ 14 w 24"/>
                <a:gd name="T11" fmla="*/ 8 h 31"/>
                <a:gd name="T12" fmla="*/ 15 w 24"/>
                <a:gd name="T13" fmla="*/ 3 h 31"/>
                <a:gd name="T14" fmla="*/ 9 w 24"/>
                <a:gd name="T15" fmla="*/ 3 h 31"/>
                <a:gd name="T16" fmla="*/ 1 w 24"/>
                <a:gd name="T17" fmla="*/ 14 h 31"/>
                <a:gd name="T18" fmla="*/ 2 w 24"/>
                <a:gd name="T19" fmla="*/ 23 h 31"/>
                <a:gd name="T20" fmla="*/ 1 w 24"/>
                <a:gd name="T21" fmla="*/ 27 h 31"/>
                <a:gd name="T22" fmla="*/ 14 w 24"/>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1">
                  <a:moveTo>
                    <a:pt x="14" y="31"/>
                  </a:moveTo>
                  <a:cubicBezTo>
                    <a:pt x="14" y="31"/>
                    <a:pt x="17" y="28"/>
                    <a:pt x="19" y="25"/>
                  </a:cubicBezTo>
                  <a:cubicBezTo>
                    <a:pt x="21" y="22"/>
                    <a:pt x="24" y="15"/>
                    <a:pt x="22" y="13"/>
                  </a:cubicBezTo>
                  <a:cubicBezTo>
                    <a:pt x="21" y="12"/>
                    <a:pt x="20" y="12"/>
                    <a:pt x="19" y="14"/>
                  </a:cubicBezTo>
                  <a:cubicBezTo>
                    <a:pt x="18" y="15"/>
                    <a:pt x="16" y="20"/>
                    <a:pt x="16" y="20"/>
                  </a:cubicBezTo>
                  <a:cubicBezTo>
                    <a:pt x="16" y="20"/>
                    <a:pt x="14" y="9"/>
                    <a:pt x="14" y="8"/>
                  </a:cubicBezTo>
                  <a:cubicBezTo>
                    <a:pt x="14" y="7"/>
                    <a:pt x="15" y="3"/>
                    <a:pt x="15" y="3"/>
                  </a:cubicBezTo>
                  <a:cubicBezTo>
                    <a:pt x="15" y="3"/>
                    <a:pt x="12" y="0"/>
                    <a:pt x="9" y="3"/>
                  </a:cubicBezTo>
                  <a:cubicBezTo>
                    <a:pt x="6" y="5"/>
                    <a:pt x="2" y="13"/>
                    <a:pt x="1" y="14"/>
                  </a:cubicBezTo>
                  <a:cubicBezTo>
                    <a:pt x="0" y="16"/>
                    <a:pt x="2" y="23"/>
                    <a:pt x="2" y="23"/>
                  </a:cubicBezTo>
                  <a:cubicBezTo>
                    <a:pt x="1" y="27"/>
                    <a:pt x="1" y="27"/>
                    <a:pt x="1" y="27"/>
                  </a:cubicBezTo>
                  <a:lnTo>
                    <a:pt x="14" y="31"/>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1361">
              <a:extLst>
                <a:ext uri="{FF2B5EF4-FFF2-40B4-BE49-F238E27FC236}">
                  <a16:creationId xmlns:a16="http://schemas.microsoft.com/office/drawing/2014/main" id="{64F852B9-4121-47DA-965E-B9A401A968CB}"/>
                </a:ext>
              </a:extLst>
            </p:cNvPr>
            <p:cNvSpPr>
              <a:spLocks/>
            </p:cNvSpPr>
            <p:nvPr/>
          </p:nvSpPr>
          <p:spPr bwMode="auto">
            <a:xfrm>
              <a:off x="-2875280" y="2413386"/>
              <a:ext cx="186028" cy="140554"/>
            </a:xfrm>
            <a:custGeom>
              <a:avLst/>
              <a:gdLst>
                <a:gd name="T0" fmla="*/ 0 w 45"/>
                <a:gd name="T1" fmla="*/ 15 h 34"/>
                <a:gd name="T2" fmla="*/ 34 w 45"/>
                <a:gd name="T3" fmla="*/ 33 h 34"/>
                <a:gd name="T4" fmla="*/ 37 w 45"/>
                <a:gd name="T5" fmla="*/ 34 h 34"/>
                <a:gd name="T6" fmla="*/ 45 w 45"/>
                <a:gd name="T7" fmla="*/ 22 h 34"/>
                <a:gd name="T8" fmla="*/ 42 w 45"/>
                <a:gd name="T9" fmla="*/ 20 h 34"/>
                <a:gd name="T10" fmla="*/ 10 w 45"/>
                <a:gd name="T11" fmla="*/ 0 h 34"/>
                <a:gd name="T12" fmla="*/ 0 w 45"/>
                <a:gd name="T13" fmla="*/ 15 h 34"/>
              </a:gdLst>
              <a:ahLst/>
              <a:cxnLst>
                <a:cxn ang="0">
                  <a:pos x="T0" y="T1"/>
                </a:cxn>
                <a:cxn ang="0">
                  <a:pos x="T2" y="T3"/>
                </a:cxn>
                <a:cxn ang="0">
                  <a:pos x="T4" y="T5"/>
                </a:cxn>
                <a:cxn ang="0">
                  <a:pos x="T6" y="T7"/>
                </a:cxn>
                <a:cxn ang="0">
                  <a:pos x="T8" y="T9"/>
                </a:cxn>
                <a:cxn ang="0">
                  <a:pos x="T10" y="T11"/>
                </a:cxn>
                <a:cxn ang="0">
                  <a:pos x="T12" y="T13"/>
                </a:cxn>
              </a:cxnLst>
              <a:rect l="0" t="0" r="r" b="b"/>
              <a:pathLst>
                <a:path w="45" h="34">
                  <a:moveTo>
                    <a:pt x="0" y="15"/>
                  </a:moveTo>
                  <a:lnTo>
                    <a:pt x="34" y="33"/>
                  </a:lnTo>
                  <a:lnTo>
                    <a:pt x="37" y="34"/>
                  </a:lnTo>
                  <a:lnTo>
                    <a:pt x="45" y="22"/>
                  </a:lnTo>
                  <a:lnTo>
                    <a:pt x="42" y="20"/>
                  </a:lnTo>
                  <a:lnTo>
                    <a:pt x="10" y="0"/>
                  </a:lnTo>
                  <a:lnTo>
                    <a:pt x="0" y="15"/>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1362">
              <a:extLst>
                <a:ext uri="{FF2B5EF4-FFF2-40B4-BE49-F238E27FC236}">
                  <a16:creationId xmlns:a16="http://schemas.microsoft.com/office/drawing/2014/main" id="{7F638A57-190D-4251-9C91-F8F5FB752962}"/>
                </a:ext>
              </a:extLst>
            </p:cNvPr>
            <p:cNvSpPr>
              <a:spLocks/>
            </p:cNvSpPr>
            <p:nvPr/>
          </p:nvSpPr>
          <p:spPr bwMode="auto">
            <a:xfrm>
              <a:off x="-2726458" y="2500200"/>
              <a:ext cx="37207" cy="62010"/>
            </a:xfrm>
            <a:custGeom>
              <a:avLst/>
              <a:gdLst>
                <a:gd name="T0" fmla="*/ 7 w 13"/>
                <a:gd name="T1" fmla="*/ 2 h 20"/>
                <a:gd name="T2" fmla="*/ 0 w 13"/>
                <a:gd name="T3" fmla="*/ 14 h 20"/>
                <a:gd name="T4" fmla="*/ 7 w 13"/>
                <a:gd name="T5" fmla="*/ 17 h 20"/>
                <a:gd name="T6" fmla="*/ 13 w 13"/>
                <a:gd name="T7" fmla="*/ 6 h 20"/>
                <a:gd name="T8" fmla="*/ 7 w 13"/>
                <a:gd name="T9" fmla="*/ 2 h 20"/>
              </a:gdLst>
              <a:ahLst/>
              <a:cxnLst>
                <a:cxn ang="0">
                  <a:pos x="T0" y="T1"/>
                </a:cxn>
                <a:cxn ang="0">
                  <a:pos x="T2" y="T3"/>
                </a:cxn>
                <a:cxn ang="0">
                  <a:pos x="T4" y="T5"/>
                </a:cxn>
                <a:cxn ang="0">
                  <a:pos x="T6" y="T7"/>
                </a:cxn>
                <a:cxn ang="0">
                  <a:pos x="T8" y="T9"/>
                </a:cxn>
              </a:cxnLst>
              <a:rect l="0" t="0" r="r" b="b"/>
              <a:pathLst>
                <a:path w="13" h="20">
                  <a:moveTo>
                    <a:pt x="7" y="2"/>
                  </a:moveTo>
                  <a:cubicBezTo>
                    <a:pt x="3" y="4"/>
                    <a:pt x="0" y="10"/>
                    <a:pt x="0" y="14"/>
                  </a:cubicBezTo>
                  <a:cubicBezTo>
                    <a:pt x="0" y="18"/>
                    <a:pt x="3" y="20"/>
                    <a:pt x="7" y="17"/>
                  </a:cubicBezTo>
                  <a:cubicBezTo>
                    <a:pt x="10" y="15"/>
                    <a:pt x="13" y="10"/>
                    <a:pt x="13" y="6"/>
                  </a:cubicBezTo>
                  <a:cubicBezTo>
                    <a:pt x="13" y="2"/>
                    <a:pt x="10" y="0"/>
                    <a:pt x="7" y="2"/>
                  </a:cubicBezTo>
                  <a:close/>
                </a:path>
              </a:pathLst>
            </a:custGeom>
            <a:solidFill>
              <a:srgbClr val="2A3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080894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1">
    <p:bg>
      <p:bgRef idx="1001">
        <a:schemeClr val="bg1"/>
      </p:bgRef>
    </p:bg>
    <p:spTree>
      <p:nvGrpSpPr>
        <p:cNvPr id="1" name=""/>
        <p:cNvGrpSpPr/>
        <p:nvPr/>
      </p:nvGrpSpPr>
      <p:grpSpPr>
        <a:xfrm>
          <a:off x="0" y="0"/>
          <a:ext cx="0" cy="0"/>
          <a:chOff x="0" y="0"/>
          <a:chExt cx="0" cy="0"/>
        </a:xfrm>
      </p:grpSpPr>
      <p:sp>
        <p:nvSpPr>
          <p:cNvPr id="1055" name="Freeform 17">
            <a:extLst>
              <a:ext uri="{FF2B5EF4-FFF2-40B4-BE49-F238E27FC236}">
                <a16:creationId xmlns:a16="http://schemas.microsoft.com/office/drawing/2014/main" id="{E10FB30B-8702-4EA5-8F41-7EE81775E6BA}"/>
              </a:ext>
            </a:extLst>
          </p:cNvPr>
          <p:cNvSpPr>
            <a:spLocks/>
          </p:cNvSpPr>
          <p:nvPr userDrawn="1"/>
        </p:nvSpPr>
        <p:spPr bwMode="auto">
          <a:xfrm flipV="1">
            <a:off x="-254641" y="-39797"/>
            <a:ext cx="7272917" cy="7436945"/>
          </a:xfrm>
          <a:custGeom>
            <a:avLst/>
            <a:gdLst>
              <a:gd name="T0" fmla="*/ 1299 w 1299"/>
              <a:gd name="T1" fmla="*/ 592 h 1327"/>
              <a:gd name="T2" fmla="*/ 325 w 1299"/>
              <a:gd name="T3" fmla="*/ 137 h 1327"/>
              <a:gd name="T4" fmla="*/ 72 w 1299"/>
              <a:gd name="T5" fmla="*/ 650 h 1327"/>
              <a:gd name="T6" fmla="*/ 923 w 1299"/>
              <a:gd name="T7" fmla="*/ 1167 h 1327"/>
              <a:gd name="T8" fmla="*/ 929 w 1299"/>
              <a:gd name="T9" fmla="*/ 1327 h 1327"/>
              <a:gd name="T10" fmla="*/ 1012 w 1299"/>
              <a:gd name="T11" fmla="*/ 1327 h 1327"/>
              <a:gd name="T12" fmla="*/ 1299 w 1299"/>
              <a:gd name="T13" fmla="*/ 592 h 1327"/>
            </a:gdLst>
            <a:ahLst/>
            <a:cxnLst>
              <a:cxn ang="0">
                <a:pos x="T0" y="T1"/>
              </a:cxn>
              <a:cxn ang="0">
                <a:pos x="T2" y="T3"/>
              </a:cxn>
              <a:cxn ang="0">
                <a:pos x="T4" y="T5"/>
              </a:cxn>
              <a:cxn ang="0">
                <a:pos x="T6" y="T7"/>
              </a:cxn>
              <a:cxn ang="0">
                <a:pos x="T8" y="T9"/>
              </a:cxn>
              <a:cxn ang="0">
                <a:pos x="T10" y="T11"/>
              </a:cxn>
              <a:cxn ang="0">
                <a:pos x="T12" y="T13"/>
              </a:cxn>
            </a:cxnLst>
            <a:rect l="0" t="0" r="r" b="b"/>
            <a:pathLst>
              <a:path w="1299" h="1327">
                <a:moveTo>
                  <a:pt x="1299" y="592"/>
                </a:moveTo>
                <a:cubicBezTo>
                  <a:pt x="1054" y="499"/>
                  <a:pt x="723" y="0"/>
                  <a:pt x="325" y="137"/>
                </a:cubicBezTo>
                <a:cubicBezTo>
                  <a:pt x="98" y="216"/>
                  <a:pt x="0" y="467"/>
                  <a:pt x="72" y="650"/>
                </a:cubicBezTo>
                <a:cubicBezTo>
                  <a:pt x="237" y="1073"/>
                  <a:pt x="824" y="879"/>
                  <a:pt x="923" y="1167"/>
                </a:cubicBezTo>
                <a:cubicBezTo>
                  <a:pt x="947" y="1235"/>
                  <a:pt x="944" y="1287"/>
                  <a:pt x="929" y="1327"/>
                </a:cubicBezTo>
                <a:cubicBezTo>
                  <a:pt x="1012" y="1327"/>
                  <a:pt x="1012" y="1327"/>
                  <a:pt x="1012" y="1327"/>
                </a:cubicBezTo>
                <a:cubicBezTo>
                  <a:pt x="1199" y="1159"/>
                  <a:pt x="1286" y="882"/>
                  <a:pt x="1299" y="59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7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890013" y="1135468"/>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811" name="Freeform 978">
            <a:extLst>
              <a:ext uri="{FF2B5EF4-FFF2-40B4-BE49-F238E27FC236}">
                <a16:creationId xmlns:a16="http://schemas.microsoft.com/office/drawing/2014/main" id="{25C2DC38-A23B-4225-948A-95BF81826035}"/>
              </a:ext>
            </a:extLst>
          </p:cNvPr>
          <p:cNvSpPr>
            <a:spLocks noEditPoints="1"/>
          </p:cNvSpPr>
          <p:nvPr/>
        </p:nvSpPr>
        <p:spPr bwMode="auto">
          <a:xfrm>
            <a:off x="955583" y="4770592"/>
            <a:ext cx="652563" cy="641864"/>
          </a:xfrm>
          <a:custGeom>
            <a:avLst/>
            <a:gdLst>
              <a:gd name="T0" fmla="*/ 154 w 237"/>
              <a:gd name="T1" fmla="*/ 230 h 235"/>
              <a:gd name="T2" fmla="*/ 166 w 237"/>
              <a:gd name="T3" fmla="*/ 204 h 235"/>
              <a:gd name="T4" fmla="*/ 194 w 237"/>
              <a:gd name="T5" fmla="*/ 208 h 235"/>
              <a:gd name="T6" fmla="*/ 195 w 237"/>
              <a:gd name="T7" fmla="*/ 180 h 235"/>
              <a:gd name="T8" fmla="*/ 223 w 237"/>
              <a:gd name="T9" fmla="*/ 172 h 235"/>
              <a:gd name="T10" fmla="*/ 213 w 237"/>
              <a:gd name="T11" fmla="*/ 145 h 235"/>
              <a:gd name="T12" fmla="*/ 236 w 237"/>
              <a:gd name="T13" fmla="*/ 128 h 235"/>
              <a:gd name="T14" fmla="*/ 217 w 237"/>
              <a:gd name="T15" fmla="*/ 108 h 235"/>
              <a:gd name="T16" fmla="*/ 231 w 237"/>
              <a:gd name="T17" fmla="*/ 82 h 235"/>
              <a:gd name="T18" fmla="*/ 205 w 237"/>
              <a:gd name="T19" fmla="*/ 70 h 235"/>
              <a:gd name="T20" fmla="*/ 210 w 237"/>
              <a:gd name="T21" fmla="*/ 42 h 235"/>
              <a:gd name="T22" fmla="*/ 181 w 237"/>
              <a:gd name="T23" fmla="*/ 41 h 235"/>
              <a:gd name="T24" fmla="*/ 173 w 237"/>
              <a:gd name="T25" fmla="*/ 13 h 235"/>
              <a:gd name="T26" fmla="*/ 147 w 237"/>
              <a:gd name="T27" fmla="*/ 23 h 235"/>
              <a:gd name="T28" fmla="*/ 130 w 237"/>
              <a:gd name="T29" fmla="*/ 0 h 235"/>
              <a:gd name="T30" fmla="*/ 109 w 237"/>
              <a:gd name="T31" fmla="*/ 19 h 235"/>
              <a:gd name="T32" fmla="*/ 83 w 237"/>
              <a:gd name="T33" fmla="*/ 5 h 235"/>
              <a:gd name="T34" fmla="*/ 71 w 237"/>
              <a:gd name="T35" fmla="*/ 31 h 235"/>
              <a:gd name="T36" fmla="*/ 43 w 237"/>
              <a:gd name="T37" fmla="*/ 27 h 235"/>
              <a:gd name="T38" fmla="*/ 42 w 237"/>
              <a:gd name="T39" fmla="*/ 55 h 235"/>
              <a:gd name="T40" fmla="*/ 13 w 237"/>
              <a:gd name="T41" fmla="*/ 63 h 235"/>
              <a:gd name="T42" fmla="*/ 23 w 237"/>
              <a:gd name="T43" fmla="*/ 90 h 235"/>
              <a:gd name="T44" fmla="*/ 0 w 237"/>
              <a:gd name="T45" fmla="*/ 107 h 235"/>
              <a:gd name="T46" fmla="*/ 20 w 237"/>
              <a:gd name="T47" fmla="*/ 128 h 235"/>
              <a:gd name="T48" fmla="*/ 5 w 237"/>
              <a:gd name="T49" fmla="*/ 153 h 235"/>
              <a:gd name="T50" fmla="*/ 31 w 237"/>
              <a:gd name="T51" fmla="*/ 165 h 235"/>
              <a:gd name="T52" fmla="*/ 27 w 237"/>
              <a:gd name="T53" fmla="*/ 193 h 235"/>
              <a:gd name="T54" fmla="*/ 56 w 237"/>
              <a:gd name="T55" fmla="*/ 194 h 235"/>
              <a:gd name="T56" fmla="*/ 64 w 237"/>
              <a:gd name="T57" fmla="*/ 222 h 235"/>
              <a:gd name="T58" fmla="*/ 90 w 237"/>
              <a:gd name="T59" fmla="*/ 212 h 235"/>
              <a:gd name="T60" fmla="*/ 107 w 237"/>
              <a:gd name="T61" fmla="*/ 235 h 235"/>
              <a:gd name="T62" fmla="*/ 128 w 237"/>
              <a:gd name="T63" fmla="*/ 216 h 235"/>
              <a:gd name="T64" fmla="*/ 84 w 237"/>
              <a:gd name="T65" fmla="*/ 128 h 235"/>
              <a:gd name="T66" fmla="*/ 153 w 237"/>
              <a:gd name="T67" fmla="*/ 107 h 235"/>
              <a:gd name="T68" fmla="*/ 84 w 237"/>
              <a:gd name="T69"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35">
                <a:moveTo>
                  <a:pt x="142" y="213"/>
                </a:moveTo>
                <a:cubicBezTo>
                  <a:pt x="154" y="230"/>
                  <a:pt x="154" y="230"/>
                  <a:pt x="154" y="230"/>
                </a:cubicBezTo>
                <a:cubicBezTo>
                  <a:pt x="168" y="224"/>
                  <a:pt x="168" y="224"/>
                  <a:pt x="168" y="224"/>
                </a:cubicBezTo>
                <a:cubicBezTo>
                  <a:pt x="166" y="204"/>
                  <a:pt x="166" y="204"/>
                  <a:pt x="166" y="204"/>
                </a:cubicBezTo>
                <a:cubicBezTo>
                  <a:pt x="169" y="202"/>
                  <a:pt x="173" y="200"/>
                  <a:pt x="176" y="197"/>
                </a:cubicBezTo>
                <a:cubicBezTo>
                  <a:pt x="194" y="208"/>
                  <a:pt x="194" y="208"/>
                  <a:pt x="194" y="208"/>
                </a:cubicBezTo>
                <a:cubicBezTo>
                  <a:pt x="205" y="198"/>
                  <a:pt x="205" y="198"/>
                  <a:pt x="205" y="198"/>
                </a:cubicBezTo>
                <a:cubicBezTo>
                  <a:pt x="195" y="180"/>
                  <a:pt x="195" y="180"/>
                  <a:pt x="195" y="180"/>
                </a:cubicBezTo>
                <a:cubicBezTo>
                  <a:pt x="198" y="176"/>
                  <a:pt x="201" y="172"/>
                  <a:pt x="203" y="168"/>
                </a:cubicBezTo>
                <a:cubicBezTo>
                  <a:pt x="223" y="172"/>
                  <a:pt x="223" y="172"/>
                  <a:pt x="223" y="172"/>
                </a:cubicBezTo>
                <a:cubicBezTo>
                  <a:pt x="230" y="158"/>
                  <a:pt x="230" y="158"/>
                  <a:pt x="230" y="158"/>
                </a:cubicBezTo>
                <a:cubicBezTo>
                  <a:pt x="213" y="145"/>
                  <a:pt x="213" y="145"/>
                  <a:pt x="213" y="145"/>
                </a:cubicBezTo>
                <a:cubicBezTo>
                  <a:pt x="215" y="141"/>
                  <a:pt x="215" y="137"/>
                  <a:pt x="216" y="133"/>
                </a:cubicBezTo>
                <a:cubicBezTo>
                  <a:pt x="236" y="128"/>
                  <a:pt x="236" y="128"/>
                  <a:pt x="236" y="128"/>
                </a:cubicBezTo>
                <a:cubicBezTo>
                  <a:pt x="237" y="113"/>
                  <a:pt x="237" y="113"/>
                  <a:pt x="237" y="113"/>
                </a:cubicBezTo>
                <a:cubicBezTo>
                  <a:pt x="217" y="108"/>
                  <a:pt x="217" y="108"/>
                  <a:pt x="217" y="108"/>
                </a:cubicBezTo>
                <a:cubicBezTo>
                  <a:pt x="216" y="103"/>
                  <a:pt x="216" y="98"/>
                  <a:pt x="215" y="94"/>
                </a:cubicBezTo>
                <a:cubicBezTo>
                  <a:pt x="231" y="82"/>
                  <a:pt x="231" y="82"/>
                  <a:pt x="231" y="82"/>
                </a:cubicBezTo>
                <a:cubicBezTo>
                  <a:pt x="226" y="68"/>
                  <a:pt x="226" y="68"/>
                  <a:pt x="226" y="68"/>
                </a:cubicBezTo>
                <a:cubicBezTo>
                  <a:pt x="205" y="70"/>
                  <a:pt x="205" y="70"/>
                  <a:pt x="205" y="70"/>
                </a:cubicBezTo>
                <a:cubicBezTo>
                  <a:pt x="203" y="67"/>
                  <a:pt x="201" y="63"/>
                  <a:pt x="199" y="60"/>
                </a:cubicBezTo>
                <a:cubicBezTo>
                  <a:pt x="210" y="42"/>
                  <a:pt x="210" y="42"/>
                  <a:pt x="210" y="42"/>
                </a:cubicBezTo>
                <a:cubicBezTo>
                  <a:pt x="200" y="31"/>
                  <a:pt x="200" y="31"/>
                  <a:pt x="200" y="31"/>
                </a:cubicBezTo>
                <a:cubicBezTo>
                  <a:pt x="181" y="41"/>
                  <a:pt x="181" y="41"/>
                  <a:pt x="181" y="41"/>
                </a:cubicBezTo>
                <a:cubicBezTo>
                  <a:pt x="178" y="38"/>
                  <a:pt x="174" y="36"/>
                  <a:pt x="170" y="33"/>
                </a:cubicBezTo>
                <a:cubicBezTo>
                  <a:pt x="173" y="13"/>
                  <a:pt x="173" y="13"/>
                  <a:pt x="173" y="13"/>
                </a:cubicBezTo>
                <a:cubicBezTo>
                  <a:pt x="159" y="7"/>
                  <a:pt x="159" y="7"/>
                  <a:pt x="159" y="7"/>
                </a:cubicBezTo>
                <a:cubicBezTo>
                  <a:pt x="147" y="23"/>
                  <a:pt x="147" y="23"/>
                  <a:pt x="147" y="23"/>
                </a:cubicBezTo>
                <a:cubicBezTo>
                  <a:pt x="142" y="22"/>
                  <a:pt x="138" y="21"/>
                  <a:pt x="134" y="20"/>
                </a:cubicBezTo>
                <a:cubicBezTo>
                  <a:pt x="130" y="0"/>
                  <a:pt x="130" y="0"/>
                  <a:pt x="130" y="0"/>
                </a:cubicBezTo>
                <a:cubicBezTo>
                  <a:pt x="115" y="0"/>
                  <a:pt x="115" y="0"/>
                  <a:pt x="115" y="0"/>
                </a:cubicBezTo>
                <a:cubicBezTo>
                  <a:pt x="109" y="19"/>
                  <a:pt x="109" y="19"/>
                  <a:pt x="109" y="19"/>
                </a:cubicBezTo>
                <a:cubicBezTo>
                  <a:pt x="104" y="20"/>
                  <a:pt x="99" y="21"/>
                  <a:pt x="95" y="22"/>
                </a:cubicBezTo>
                <a:cubicBezTo>
                  <a:pt x="83" y="5"/>
                  <a:pt x="83" y="5"/>
                  <a:pt x="83" y="5"/>
                </a:cubicBezTo>
                <a:cubicBezTo>
                  <a:pt x="69" y="11"/>
                  <a:pt x="69" y="11"/>
                  <a:pt x="69" y="11"/>
                </a:cubicBezTo>
                <a:cubicBezTo>
                  <a:pt x="71" y="31"/>
                  <a:pt x="71" y="31"/>
                  <a:pt x="71" y="31"/>
                </a:cubicBezTo>
                <a:cubicBezTo>
                  <a:pt x="67" y="33"/>
                  <a:pt x="64" y="35"/>
                  <a:pt x="60" y="38"/>
                </a:cubicBezTo>
                <a:cubicBezTo>
                  <a:pt x="43" y="27"/>
                  <a:pt x="43" y="27"/>
                  <a:pt x="43" y="27"/>
                </a:cubicBezTo>
                <a:cubicBezTo>
                  <a:pt x="32" y="37"/>
                  <a:pt x="32" y="37"/>
                  <a:pt x="32" y="37"/>
                </a:cubicBezTo>
                <a:cubicBezTo>
                  <a:pt x="42" y="55"/>
                  <a:pt x="42" y="55"/>
                  <a:pt x="42" y="55"/>
                </a:cubicBezTo>
                <a:cubicBezTo>
                  <a:pt x="39" y="59"/>
                  <a:pt x="36" y="63"/>
                  <a:pt x="34" y="67"/>
                </a:cubicBezTo>
                <a:cubicBezTo>
                  <a:pt x="13" y="63"/>
                  <a:pt x="13" y="63"/>
                  <a:pt x="13" y="63"/>
                </a:cubicBezTo>
                <a:cubicBezTo>
                  <a:pt x="7" y="77"/>
                  <a:pt x="7" y="77"/>
                  <a:pt x="7" y="77"/>
                </a:cubicBezTo>
                <a:cubicBezTo>
                  <a:pt x="23" y="90"/>
                  <a:pt x="23" y="90"/>
                  <a:pt x="23" y="90"/>
                </a:cubicBezTo>
                <a:cubicBezTo>
                  <a:pt x="22" y="94"/>
                  <a:pt x="21" y="98"/>
                  <a:pt x="21" y="102"/>
                </a:cubicBezTo>
                <a:cubicBezTo>
                  <a:pt x="0" y="107"/>
                  <a:pt x="0" y="107"/>
                  <a:pt x="0" y="107"/>
                </a:cubicBezTo>
                <a:cubicBezTo>
                  <a:pt x="0" y="122"/>
                  <a:pt x="0" y="122"/>
                  <a:pt x="0" y="122"/>
                </a:cubicBezTo>
                <a:cubicBezTo>
                  <a:pt x="20" y="128"/>
                  <a:pt x="20" y="128"/>
                  <a:pt x="20" y="128"/>
                </a:cubicBezTo>
                <a:cubicBezTo>
                  <a:pt x="20" y="132"/>
                  <a:pt x="21" y="137"/>
                  <a:pt x="22" y="141"/>
                </a:cubicBezTo>
                <a:cubicBezTo>
                  <a:pt x="5" y="153"/>
                  <a:pt x="5" y="153"/>
                  <a:pt x="5" y="153"/>
                </a:cubicBezTo>
                <a:cubicBezTo>
                  <a:pt x="11" y="167"/>
                  <a:pt x="11" y="167"/>
                  <a:pt x="11" y="167"/>
                </a:cubicBezTo>
                <a:cubicBezTo>
                  <a:pt x="31" y="165"/>
                  <a:pt x="31" y="165"/>
                  <a:pt x="31" y="165"/>
                </a:cubicBezTo>
                <a:cubicBezTo>
                  <a:pt x="33" y="168"/>
                  <a:pt x="36" y="172"/>
                  <a:pt x="38" y="175"/>
                </a:cubicBezTo>
                <a:cubicBezTo>
                  <a:pt x="27" y="193"/>
                  <a:pt x="27" y="193"/>
                  <a:pt x="27" y="193"/>
                </a:cubicBezTo>
                <a:cubicBezTo>
                  <a:pt x="37" y="204"/>
                  <a:pt x="37" y="204"/>
                  <a:pt x="37" y="204"/>
                </a:cubicBezTo>
                <a:cubicBezTo>
                  <a:pt x="56" y="194"/>
                  <a:pt x="56" y="194"/>
                  <a:pt x="56" y="194"/>
                </a:cubicBezTo>
                <a:cubicBezTo>
                  <a:pt x="59" y="197"/>
                  <a:pt x="63" y="200"/>
                  <a:pt x="67" y="202"/>
                </a:cubicBezTo>
                <a:cubicBezTo>
                  <a:pt x="64" y="222"/>
                  <a:pt x="64" y="222"/>
                  <a:pt x="64" y="222"/>
                </a:cubicBezTo>
                <a:cubicBezTo>
                  <a:pt x="77" y="228"/>
                  <a:pt x="77" y="228"/>
                  <a:pt x="77" y="228"/>
                </a:cubicBezTo>
                <a:cubicBezTo>
                  <a:pt x="90" y="212"/>
                  <a:pt x="90" y="212"/>
                  <a:pt x="90" y="212"/>
                </a:cubicBezTo>
                <a:cubicBezTo>
                  <a:pt x="94" y="213"/>
                  <a:pt x="98" y="214"/>
                  <a:pt x="103" y="215"/>
                </a:cubicBezTo>
                <a:cubicBezTo>
                  <a:pt x="107" y="235"/>
                  <a:pt x="107" y="235"/>
                  <a:pt x="107" y="235"/>
                </a:cubicBezTo>
                <a:cubicBezTo>
                  <a:pt x="122" y="235"/>
                  <a:pt x="122" y="235"/>
                  <a:pt x="122" y="235"/>
                </a:cubicBezTo>
                <a:cubicBezTo>
                  <a:pt x="128" y="216"/>
                  <a:pt x="128" y="216"/>
                  <a:pt x="128" y="216"/>
                </a:cubicBezTo>
                <a:cubicBezTo>
                  <a:pt x="133" y="215"/>
                  <a:pt x="137" y="214"/>
                  <a:pt x="142" y="213"/>
                </a:cubicBezTo>
                <a:moveTo>
                  <a:pt x="84" y="128"/>
                </a:moveTo>
                <a:cubicBezTo>
                  <a:pt x="78" y="109"/>
                  <a:pt x="89" y="89"/>
                  <a:pt x="108" y="83"/>
                </a:cubicBezTo>
                <a:cubicBezTo>
                  <a:pt x="127" y="77"/>
                  <a:pt x="147" y="88"/>
                  <a:pt x="153" y="107"/>
                </a:cubicBezTo>
                <a:cubicBezTo>
                  <a:pt x="159" y="126"/>
                  <a:pt x="148" y="146"/>
                  <a:pt x="129" y="152"/>
                </a:cubicBezTo>
                <a:cubicBezTo>
                  <a:pt x="110" y="158"/>
                  <a:pt x="90" y="147"/>
                  <a:pt x="84" y="12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2" name="Freeform 979">
            <a:extLst>
              <a:ext uri="{FF2B5EF4-FFF2-40B4-BE49-F238E27FC236}">
                <a16:creationId xmlns:a16="http://schemas.microsoft.com/office/drawing/2014/main" id="{844E5951-C301-4286-9873-BC60151FEFEA}"/>
              </a:ext>
            </a:extLst>
          </p:cNvPr>
          <p:cNvSpPr>
            <a:spLocks noEditPoints="1"/>
          </p:cNvSpPr>
          <p:nvPr/>
        </p:nvSpPr>
        <p:spPr bwMode="auto">
          <a:xfrm>
            <a:off x="1026901" y="3183488"/>
            <a:ext cx="830859" cy="823725"/>
          </a:xfrm>
          <a:custGeom>
            <a:avLst/>
            <a:gdLst>
              <a:gd name="T0" fmla="*/ 196 w 302"/>
              <a:gd name="T1" fmla="*/ 294 h 301"/>
              <a:gd name="T2" fmla="*/ 211 w 302"/>
              <a:gd name="T3" fmla="*/ 261 h 301"/>
              <a:gd name="T4" fmla="*/ 247 w 302"/>
              <a:gd name="T5" fmla="*/ 266 h 301"/>
              <a:gd name="T6" fmla="*/ 248 w 302"/>
              <a:gd name="T7" fmla="*/ 230 h 301"/>
              <a:gd name="T8" fmla="*/ 285 w 302"/>
              <a:gd name="T9" fmla="*/ 220 h 301"/>
              <a:gd name="T10" fmla="*/ 272 w 302"/>
              <a:gd name="T11" fmla="*/ 186 h 301"/>
              <a:gd name="T12" fmla="*/ 301 w 302"/>
              <a:gd name="T13" fmla="*/ 164 h 301"/>
              <a:gd name="T14" fmla="*/ 276 w 302"/>
              <a:gd name="T15" fmla="*/ 138 h 301"/>
              <a:gd name="T16" fmla="*/ 295 w 302"/>
              <a:gd name="T17" fmla="*/ 105 h 301"/>
              <a:gd name="T18" fmla="*/ 262 w 302"/>
              <a:gd name="T19" fmla="*/ 90 h 301"/>
              <a:gd name="T20" fmla="*/ 267 w 302"/>
              <a:gd name="T21" fmla="*/ 54 h 301"/>
              <a:gd name="T22" fmla="*/ 231 w 302"/>
              <a:gd name="T23" fmla="*/ 53 h 301"/>
              <a:gd name="T24" fmla="*/ 221 w 302"/>
              <a:gd name="T25" fmla="*/ 17 h 301"/>
              <a:gd name="T26" fmla="*/ 187 w 302"/>
              <a:gd name="T27" fmla="*/ 30 h 301"/>
              <a:gd name="T28" fmla="*/ 165 w 302"/>
              <a:gd name="T29" fmla="*/ 1 h 301"/>
              <a:gd name="T30" fmla="*/ 138 w 302"/>
              <a:gd name="T31" fmla="*/ 25 h 301"/>
              <a:gd name="T32" fmla="*/ 105 w 302"/>
              <a:gd name="T33" fmla="*/ 7 h 301"/>
              <a:gd name="T34" fmla="*/ 90 w 302"/>
              <a:gd name="T35" fmla="*/ 40 h 301"/>
              <a:gd name="T36" fmla="*/ 54 w 302"/>
              <a:gd name="T37" fmla="*/ 35 h 301"/>
              <a:gd name="T38" fmla="*/ 53 w 302"/>
              <a:gd name="T39" fmla="*/ 71 h 301"/>
              <a:gd name="T40" fmla="*/ 17 w 302"/>
              <a:gd name="T41" fmla="*/ 81 h 301"/>
              <a:gd name="T42" fmla="*/ 30 w 302"/>
              <a:gd name="T43" fmla="*/ 115 h 301"/>
              <a:gd name="T44" fmla="*/ 0 w 302"/>
              <a:gd name="T45" fmla="*/ 137 h 301"/>
              <a:gd name="T46" fmla="*/ 25 w 302"/>
              <a:gd name="T47" fmla="*/ 163 h 301"/>
              <a:gd name="T48" fmla="*/ 6 w 302"/>
              <a:gd name="T49" fmla="*/ 196 h 301"/>
              <a:gd name="T50" fmla="*/ 40 w 302"/>
              <a:gd name="T51" fmla="*/ 211 h 301"/>
              <a:gd name="T52" fmla="*/ 34 w 302"/>
              <a:gd name="T53" fmla="*/ 247 h 301"/>
              <a:gd name="T54" fmla="*/ 70 w 302"/>
              <a:gd name="T55" fmla="*/ 248 h 301"/>
              <a:gd name="T56" fmla="*/ 81 w 302"/>
              <a:gd name="T57" fmla="*/ 284 h 301"/>
              <a:gd name="T58" fmla="*/ 115 w 302"/>
              <a:gd name="T59" fmla="*/ 271 h 301"/>
              <a:gd name="T60" fmla="*/ 136 w 302"/>
              <a:gd name="T61" fmla="*/ 300 h 301"/>
              <a:gd name="T62" fmla="*/ 163 w 302"/>
              <a:gd name="T63" fmla="*/ 276 h 301"/>
              <a:gd name="T64" fmla="*/ 106 w 302"/>
              <a:gd name="T65" fmla="*/ 164 h 301"/>
              <a:gd name="T66" fmla="*/ 195 w 302"/>
              <a:gd name="T67" fmla="*/ 137 h 301"/>
              <a:gd name="T68" fmla="*/ 106 w 302"/>
              <a:gd name="T69" fmla="*/ 1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301">
                <a:moveTo>
                  <a:pt x="181" y="273"/>
                </a:moveTo>
                <a:cubicBezTo>
                  <a:pt x="196" y="294"/>
                  <a:pt x="196" y="294"/>
                  <a:pt x="196" y="294"/>
                </a:cubicBezTo>
                <a:cubicBezTo>
                  <a:pt x="214" y="287"/>
                  <a:pt x="214" y="287"/>
                  <a:pt x="214" y="287"/>
                </a:cubicBezTo>
                <a:cubicBezTo>
                  <a:pt x="211" y="261"/>
                  <a:pt x="211" y="261"/>
                  <a:pt x="211" y="261"/>
                </a:cubicBezTo>
                <a:cubicBezTo>
                  <a:pt x="216" y="258"/>
                  <a:pt x="220" y="255"/>
                  <a:pt x="225" y="252"/>
                </a:cubicBezTo>
                <a:cubicBezTo>
                  <a:pt x="247" y="266"/>
                  <a:pt x="247" y="266"/>
                  <a:pt x="247" y="266"/>
                </a:cubicBezTo>
                <a:cubicBezTo>
                  <a:pt x="261" y="253"/>
                  <a:pt x="261" y="253"/>
                  <a:pt x="261" y="253"/>
                </a:cubicBezTo>
                <a:cubicBezTo>
                  <a:pt x="248" y="230"/>
                  <a:pt x="248" y="230"/>
                  <a:pt x="248" y="230"/>
                </a:cubicBezTo>
                <a:cubicBezTo>
                  <a:pt x="252" y="225"/>
                  <a:pt x="256" y="221"/>
                  <a:pt x="259" y="216"/>
                </a:cubicBezTo>
                <a:cubicBezTo>
                  <a:pt x="285" y="220"/>
                  <a:pt x="285" y="220"/>
                  <a:pt x="285" y="220"/>
                </a:cubicBezTo>
                <a:cubicBezTo>
                  <a:pt x="292" y="202"/>
                  <a:pt x="292" y="202"/>
                  <a:pt x="292" y="202"/>
                </a:cubicBezTo>
                <a:cubicBezTo>
                  <a:pt x="272" y="186"/>
                  <a:pt x="272" y="186"/>
                  <a:pt x="272" y="186"/>
                </a:cubicBezTo>
                <a:cubicBezTo>
                  <a:pt x="273" y="181"/>
                  <a:pt x="274" y="175"/>
                  <a:pt x="275" y="170"/>
                </a:cubicBezTo>
                <a:cubicBezTo>
                  <a:pt x="301" y="164"/>
                  <a:pt x="301" y="164"/>
                  <a:pt x="301" y="164"/>
                </a:cubicBezTo>
                <a:cubicBezTo>
                  <a:pt x="302" y="145"/>
                  <a:pt x="302" y="145"/>
                  <a:pt x="302" y="145"/>
                </a:cubicBezTo>
                <a:cubicBezTo>
                  <a:pt x="276" y="138"/>
                  <a:pt x="276" y="138"/>
                  <a:pt x="276" y="138"/>
                </a:cubicBezTo>
                <a:cubicBezTo>
                  <a:pt x="276" y="132"/>
                  <a:pt x="275" y="126"/>
                  <a:pt x="273" y="120"/>
                </a:cubicBezTo>
                <a:cubicBezTo>
                  <a:pt x="295" y="105"/>
                  <a:pt x="295" y="105"/>
                  <a:pt x="295" y="105"/>
                </a:cubicBezTo>
                <a:cubicBezTo>
                  <a:pt x="288" y="87"/>
                  <a:pt x="288" y="87"/>
                  <a:pt x="288" y="87"/>
                </a:cubicBezTo>
                <a:cubicBezTo>
                  <a:pt x="262" y="90"/>
                  <a:pt x="262" y="90"/>
                  <a:pt x="262" y="90"/>
                </a:cubicBezTo>
                <a:cubicBezTo>
                  <a:pt x="259" y="86"/>
                  <a:pt x="256" y="81"/>
                  <a:pt x="253" y="77"/>
                </a:cubicBezTo>
                <a:cubicBezTo>
                  <a:pt x="267" y="54"/>
                  <a:pt x="267" y="54"/>
                  <a:pt x="267" y="54"/>
                </a:cubicBezTo>
                <a:cubicBezTo>
                  <a:pt x="254" y="40"/>
                  <a:pt x="254" y="40"/>
                  <a:pt x="254" y="40"/>
                </a:cubicBezTo>
                <a:cubicBezTo>
                  <a:pt x="231" y="53"/>
                  <a:pt x="231" y="53"/>
                  <a:pt x="231" y="53"/>
                </a:cubicBezTo>
                <a:cubicBezTo>
                  <a:pt x="226" y="49"/>
                  <a:pt x="221" y="46"/>
                  <a:pt x="216" y="43"/>
                </a:cubicBezTo>
                <a:cubicBezTo>
                  <a:pt x="221" y="17"/>
                  <a:pt x="221" y="17"/>
                  <a:pt x="221" y="17"/>
                </a:cubicBezTo>
                <a:cubicBezTo>
                  <a:pt x="203" y="9"/>
                  <a:pt x="203" y="9"/>
                  <a:pt x="203" y="9"/>
                </a:cubicBezTo>
                <a:cubicBezTo>
                  <a:pt x="187" y="30"/>
                  <a:pt x="187" y="30"/>
                  <a:pt x="187" y="30"/>
                </a:cubicBezTo>
                <a:cubicBezTo>
                  <a:pt x="181" y="28"/>
                  <a:pt x="176" y="27"/>
                  <a:pt x="171" y="26"/>
                </a:cubicBezTo>
                <a:cubicBezTo>
                  <a:pt x="165" y="1"/>
                  <a:pt x="165" y="1"/>
                  <a:pt x="165" y="1"/>
                </a:cubicBezTo>
                <a:cubicBezTo>
                  <a:pt x="146" y="0"/>
                  <a:pt x="146" y="0"/>
                  <a:pt x="146" y="0"/>
                </a:cubicBezTo>
                <a:cubicBezTo>
                  <a:pt x="138" y="25"/>
                  <a:pt x="138" y="25"/>
                  <a:pt x="138" y="25"/>
                </a:cubicBezTo>
                <a:cubicBezTo>
                  <a:pt x="132" y="26"/>
                  <a:pt x="126" y="27"/>
                  <a:pt x="121" y="28"/>
                </a:cubicBezTo>
                <a:cubicBezTo>
                  <a:pt x="105" y="7"/>
                  <a:pt x="105" y="7"/>
                  <a:pt x="105" y="7"/>
                </a:cubicBezTo>
                <a:cubicBezTo>
                  <a:pt x="87" y="14"/>
                  <a:pt x="87" y="14"/>
                  <a:pt x="87" y="14"/>
                </a:cubicBezTo>
                <a:cubicBezTo>
                  <a:pt x="90" y="40"/>
                  <a:pt x="90" y="40"/>
                  <a:pt x="90" y="40"/>
                </a:cubicBezTo>
                <a:cubicBezTo>
                  <a:pt x="86" y="43"/>
                  <a:pt x="81" y="46"/>
                  <a:pt x="77" y="49"/>
                </a:cubicBezTo>
                <a:cubicBezTo>
                  <a:pt x="54" y="35"/>
                  <a:pt x="54" y="35"/>
                  <a:pt x="54" y="35"/>
                </a:cubicBezTo>
                <a:cubicBezTo>
                  <a:pt x="40" y="48"/>
                  <a:pt x="40" y="48"/>
                  <a:pt x="40" y="48"/>
                </a:cubicBezTo>
                <a:cubicBezTo>
                  <a:pt x="53" y="71"/>
                  <a:pt x="53" y="71"/>
                  <a:pt x="53" y="71"/>
                </a:cubicBezTo>
                <a:cubicBezTo>
                  <a:pt x="49" y="76"/>
                  <a:pt x="46" y="80"/>
                  <a:pt x="43" y="86"/>
                </a:cubicBezTo>
                <a:cubicBezTo>
                  <a:pt x="17" y="81"/>
                  <a:pt x="17" y="81"/>
                  <a:pt x="17" y="81"/>
                </a:cubicBezTo>
                <a:cubicBezTo>
                  <a:pt x="9" y="99"/>
                  <a:pt x="9" y="99"/>
                  <a:pt x="9" y="99"/>
                </a:cubicBezTo>
                <a:cubicBezTo>
                  <a:pt x="30" y="115"/>
                  <a:pt x="30" y="115"/>
                  <a:pt x="30" y="115"/>
                </a:cubicBezTo>
                <a:cubicBezTo>
                  <a:pt x="28" y="120"/>
                  <a:pt x="27" y="126"/>
                  <a:pt x="26" y="131"/>
                </a:cubicBezTo>
                <a:cubicBezTo>
                  <a:pt x="0" y="137"/>
                  <a:pt x="0" y="137"/>
                  <a:pt x="0" y="137"/>
                </a:cubicBezTo>
                <a:cubicBezTo>
                  <a:pt x="0" y="156"/>
                  <a:pt x="0" y="156"/>
                  <a:pt x="0" y="156"/>
                </a:cubicBezTo>
                <a:cubicBezTo>
                  <a:pt x="25" y="163"/>
                  <a:pt x="25" y="163"/>
                  <a:pt x="25" y="163"/>
                </a:cubicBezTo>
                <a:cubicBezTo>
                  <a:pt x="26" y="169"/>
                  <a:pt x="26" y="175"/>
                  <a:pt x="28" y="181"/>
                </a:cubicBezTo>
                <a:cubicBezTo>
                  <a:pt x="6" y="196"/>
                  <a:pt x="6" y="196"/>
                  <a:pt x="6" y="196"/>
                </a:cubicBezTo>
                <a:cubicBezTo>
                  <a:pt x="13" y="214"/>
                  <a:pt x="13" y="214"/>
                  <a:pt x="13" y="214"/>
                </a:cubicBezTo>
                <a:cubicBezTo>
                  <a:pt x="40" y="211"/>
                  <a:pt x="40" y="211"/>
                  <a:pt x="40" y="211"/>
                </a:cubicBezTo>
                <a:cubicBezTo>
                  <a:pt x="42" y="216"/>
                  <a:pt x="45" y="220"/>
                  <a:pt x="48" y="224"/>
                </a:cubicBezTo>
                <a:cubicBezTo>
                  <a:pt x="34" y="247"/>
                  <a:pt x="34" y="247"/>
                  <a:pt x="34" y="247"/>
                </a:cubicBezTo>
                <a:cubicBezTo>
                  <a:pt x="47" y="261"/>
                  <a:pt x="47" y="261"/>
                  <a:pt x="47" y="261"/>
                </a:cubicBezTo>
                <a:cubicBezTo>
                  <a:pt x="70" y="248"/>
                  <a:pt x="70" y="248"/>
                  <a:pt x="70" y="248"/>
                </a:cubicBezTo>
                <a:cubicBezTo>
                  <a:pt x="75" y="252"/>
                  <a:pt x="80" y="255"/>
                  <a:pt x="85" y="258"/>
                </a:cubicBezTo>
                <a:cubicBezTo>
                  <a:pt x="81" y="284"/>
                  <a:pt x="81" y="284"/>
                  <a:pt x="81" y="284"/>
                </a:cubicBezTo>
                <a:cubicBezTo>
                  <a:pt x="98" y="292"/>
                  <a:pt x="98" y="292"/>
                  <a:pt x="98" y="292"/>
                </a:cubicBezTo>
                <a:cubicBezTo>
                  <a:pt x="115" y="271"/>
                  <a:pt x="115" y="271"/>
                  <a:pt x="115" y="271"/>
                </a:cubicBezTo>
                <a:cubicBezTo>
                  <a:pt x="120" y="273"/>
                  <a:pt x="125" y="274"/>
                  <a:pt x="130" y="275"/>
                </a:cubicBezTo>
                <a:cubicBezTo>
                  <a:pt x="136" y="300"/>
                  <a:pt x="136" y="300"/>
                  <a:pt x="136" y="300"/>
                </a:cubicBezTo>
                <a:cubicBezTo>
                  <a:pt x="156" y="301"/>
                  <a:pt x="156" y="301"/>
                  <a:pt x="156" y="301"/>
                </a:cubicBezTo>
                <a:cubicBezTo>
                  <a:pt x="163" y="276"/>
                  <a:pt x="163" y="276"/>
                  <a:pt x="163" y="276"/>
                </a:cubicBezTo>
                <a:cubicBezTo>
                  <a:pt x="169" y="275"/>
                  <a:pt x="175" y="274"/>
                  <a:pt x="181" y="273"/>
                </a:cubicBezTo>
                <a:moveTo>
                  <a:pt x="106" y="164"/>
                </a:moveTo>
                <a:cubicBezTo>
                  <a:pt x="99" y="140"/>
                  <a:pt x="113" y="114"/>
                  <a:pt x="137" y="107"/>
                </a:cubicBezTo>
                <a:cubicBezTo>
                  <a:pt x="161" y="99"/>
                  <a:pt x="187" y="113"/>
                  <a:pt x="195" y="137"/>
                </a:cubicBezTo>
                <a:cubicBezTo>
                  <a:pt x="202" y="161"/>
                  <a:pt x="189" y="187"/>
                  <a:pt x="164" y="194"/>
                </a:cubicBezTo>
                <a:cubicBezTo>
                  <a:pt x="140" y="202"/>
                  <a:pt x="114" y="188"/>
                  <a:pt x="106" y="164"/>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3" name="Freeform 980">
            <a:extLst>
              <a:ext uri="{FF2B5EF4-FFF2-40B4-BE49-F238E27FC236}">
                <a16:creationId xmlns:a16="http://schemas.microsoft.com/office/drawing/2014/main" id="{F69D5EDB-7F6D-4B51-A397-49A01C9D8DA5}"/>
              </a:ext>
            </a:extLst>
          </p:cNvPr>
          <p:cNvSpPr>
            <a:spLocks noEditPoints="1"/>
          </p:cNvSpPr>
          <p:nvPr/>
        </p:nvSpPr>
        <p:spPr bwMode="auto">
          <a:xfrm>
            <a:off x="1404888" y="3825626"/>
            <a:ext cx="1294427" cy="1283728"/>
          </a:xfrm>
          <a:custGeom>
            <a:avLst/>
            <a:gdLst>
              <a:gd name="T0" fmla="*/ 307 w 471"/>
              <a:gd name="T1" fmla="*/ 457 h 468"/>
              <a:gd name="T2" fmla="*/ 330 w 471"/>
              <a:gd name="T3" fmla="*/ 406 h 468"/>
              <a:gd name="T4" fmla="*/ 386 w 471"/>
              <a:gd name="T5" fmla="*/ 414 h 468"/>
              <a:gd name="T6" fmla="*/ 388 w 471"/>
              <a:gd name="T7" fmla="*/ 358 h 468"/>
              <a:gd name="T8" fmla="*/ 445 w 471"/>
              <a:gd name="T9" fmla="*/ 342 h 468"/>
              <a:gd name="T10" fmla="*/ 425 w 471"/>
              <a:gd name="T11" fmla="*/ 289 h 468"/>
              <a:gd name="T12" fmla="*/ 470 w 471"/>
              <a:gd name="T13" fmla="*/ 255 h 468"/>
              <a:gd name="T14" fmla="*/ 432 w 471"/>
              <a:gd name="T15" fmla="*/ 214 h 468"/>
              <a:gd name="T16" fmla="*/ 461 w 471"/>
              <a:gd name="T17" fmla="*/ 163 h 468"/>
              <a:gd name="T18" fmla="*/ 409 w 471"/>
              <a:gd name="T19" fmla="*/ 140 h 468"/>
              <a:gd name="T20" fmla="*/ 418 w 471"/>
              <a:gd name="T21" fmla="*/ 84 h 468"/>
              <a:gd name="T22" fmla="*/ 361 w 471"/>
              <a:gd name="T23" fmla="*/ 82 h 468"/>
              <a:gd name="T24" fmla="*/ 345 w 471"/>
              <a:gd name="T25" fmla="*/ 26 h 468"/>
              <a:gd name="T26" fmla="*/ 292 w 471"/>
              <a:gd name="T27" fmla="*/ 46 h 468"/>
              <a:gd name="T28" fmla="*/ 258 w 471"/>
              <a:gd name="T29" fmla="*/ 0 h 468"/>
              <a:gd name="T30" fmla="*/ 217 w 471"/>
              <a:gd name="T31" fmla="*/ 39 h 468"/>
              <a:gd name="T32" fmla="*/ 165 w 471"/>
              <a:gd name="T33" fmla="*/ 10 h 468"/>
              <a:gd name="T34" fmla="*/ 142 w 471"/>
              <a:gd name="T35" fmla="*/ 62 h 468"/>
              <a:gd name="T36" fmla="*/ 85 w 471"/>
              <a:gd name="T37" fmla="*/ 53 h 468"/>
              <a:gd name="T38" fmla="*/ 84 w 471"/>
              <a:gd name="T39" fmla="*/ 110 h 468"/>
              <a:gd name="T40" fmla="*/ 27 w 471"/>
              <a:gd name="T41" fmla="*/ 126 h 468"/>
              <a:gd name="T42" fmla="*/ 47 w 471"/>
              <a:gd name="T43" fmla="*/ 179 h 468"/>
              <a:gd name="T44" fmla="*/ 1 w 471"/>
              <a:gd name="T45" fmla="*/ 212 h 468"/>
              <a:gd name="T46" fmla="*/ 40 w 471"/>
              <a:gd name="T47" fmla="*/ 254 h 468"/>
              <a:gd name="T48" fmla="*/ 11 w 471"/>
              <a:gd name="T49" fmla="*/ 305 h 468"/>
              <a:gd name="T50" fmla="*/ 63 w 471"/>
              <a:gd name="T51" fmla="*/ 328 h 468"/>
              <a:gd name="T52" fmla="*/ 54 w 471"/>
              <a:gd name="T53" fmla="*/ 384 h 468"/>
              <a:gd name="T54" fmla="*/ 111 w 471"/>
              <a:gd name="T55" fmla="*/ 386 h 468"/>
              <a:gd name="T56" fmla="*/ 127 w 471"/>
              <a:gd name="T57" fmla="*/ 442 h 468"/>
              <a:gd name="T58" fmla="*/ 180 w 471"/>
              <a:gd name="T59" fmla="*/ 422 h 468"/>
              <a:gd name="T60" fmla="*/ 214 w 471"/>
              <a:gd name="T61" fmla="*/ 467 h 468"/>
              <a:gd name="T62" fmla="*/ 255 w 471"/>
              <a:gd name="T63" fmla="*/ 429 h 468"/>
              <a:gd name="T64" fmla="*/ 62 w 471"/>
              <a:gd name="T65" fmla="*/ 288 h 468"/>
              <a:gd name="T66" fmla="*/ 410 w 471"/>
              <a:gd name="T67" fmla="*/ 180 h 468"/>
              <a:gd name="T68" fmla="*/ 62 w 471"/>
              <a:gd name="T69" fmla="*/ 28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468">
                <a:moveTo>
                  <a:pt x="283" y="424"/>
                </a:moveTo>
                <a:cubicBezTo>
                  <a:pt x="307" y="457"/>
                  <a:pt x="307" y="457"/>
                  <a:pt x="307" y="457"/>
                </a:cubicBezTo>
                <a:cubicBezTo>
                  <a:pt x="334" y="447"/>
                  <a:pt x="334" y="447"/>
                  <a:pt x="334" y="447"/>
                </a:cubicBezTo>
                <a:cubicBezTo>
                  <a:pt x="330" y="406"/>
                  <a:pt x="330" y="406"/>
                  <a:pt x="330" y="406"/>
                </a:cubicBezTo>
                <a:cubicBezTo>
                  <a:pt x="337" y="402"/>
                  <a:pt x="344" y="397"/>
                  <a:pt x="351" y="392"/>
                </a:cubicBezTo>
                <a:cubicBezTo>
                  <a:pt x="386" y="414"/>
                  <a:pt x="386" y="414"/>
                  <a:pt x="386" y="414"/>
                </a:cubicBezTo>
                <a:cubicBezTo>
                  <a:pt x="408" y="394"/>
                  <a:pt x="408" y="394"/>
                  <a:pt x="408" y="394"/>
                </a:cubicBezTo>
                <a:cubicBezTo>
                  <a:pt x="388" y="358"/>
                  <a:pt x="388" y="358"/>
                  <a:pt x="388" y="358"/>
                </a:cubicBezTo>
                <a:cubicBezTo>
                  <a:pt x="394" y="351"/>
                  <a:pt x="399" y="343"/>
                  <a:pt x="404" y="335"/>
                </a:cubicBezTo>
                <a:cubicBezTo>
                  <a:pt x="445" y="342"/>
                  <a:pt x="445" y="342"/>
                  <a:pt x="445" y="342"/>
                </a:cubicBezTo>
                <a:cubicBezTo>
                  <a:pt x="457" y="314"/>
                  <a:pt x="457" y="314"/>
                  <a:pt x="457" y="314"/>
                </a:cubicBezTo>
                <a:cubicBezTo>
                  <a:pt x="425" y="289"/>
                  <a:pt x="425" y="289"/>
                  <a:pt x="425" y="289"/>
                </a:cubicBezTo>
                <a:cubicBezTo>
                  <a:pt x="427" y="281"/>
                  <a:pt x="429" y="273"/>
                  <a:pt x="430" y="265"/>
                </a:cubicBezTo>
                <a:cubicBezTo>
                  <a:pt x="470" y="255"/>
                  <a:pt x="470" y="255"/>
                  <a:pt x="470" y="255"/>
                </a:cubicBezTo>
                <a:cubicBezTo>
                  <a:pt x="471" y="225"/>
                  <a:pt x="471" y="225"/>
                  <a:pt x="471" y="225"/>
                </a:cubicBezTo>
                <a:cubicBezTo>
                  <a:pt x="432" y="214"/>
                  <a:pt x="432" y="214"/>
                  <a:pt x="432" y="214"/>
                </a:cubicBezTo>
                <a:cubicBezTo>
                  <a:pt x="431" y="205"/>
                  <a:pt x="429" y="196"/>
                  <a:pt x="427" y="187"/>
                </a:cubicBezTo>
                <a:cubicBezTo>
                  <a:pt x="461" y="163"/>
                  <a:pt x="461" y="163"/>
                  <a:pt x="461" y="163"/>
                </a:cubicBezTo>
                <a:cubicBezTo>
                  <a:pt x="450" y="135"/>
                  <a:pt x="450" y="135"/>
                  <a:pt x="450" y="135"/>
                </a:cubicBezTo>
                <a:cubicBezTo>
                  <a:pt x="409" y="140"/>
                  <a:pt x="409" y="140"/>
                  <a:pt x="409" y="140"/>
                </a:cubicBezTo>
                <a:cubicBezTo>
                  <a:pt x="405" y="133"/>
                  <a:pt x="400" y="125"/>
                  <a:pt x="395" y="119"/>
                </a:cubicBezTo>
                <a:cubicBezTo>
                  <a:pt x="418" y="84"/>
                  <a:pt x="418" y="84"/>
                  <a:pt x="418" y="84"/>
                </a:cubicBezTo>
                <a:cubicBezTo>
                  <a:pt x="397" y="62"/>
                  <a:pt x="397" y="62"/>
                  <a:pt x="397" y="62"/>
                </a:cubicBezTo>
                <a:cubicBezTo>
                  <a:pt x="361" y="82"/>
                  <a:pt x="361" y="82"/>
                  <a:pt x="361" y="82"/>
                </a:cubicBezTo>
                <a:cubicBezTo>
                  <a:pt x="354" y="76"/>
                  <a:pt x="346" y="71"/>
                  <a:pt x="338" y="66"/>
                </a:cubicBezTo>
                <a:cubicBezTo>
                  <a:pt x="345" y="26"/>
                  <a:pt x="345" y="26"/>
                  <a:pt x="345" y="26"/>
                </a:cubicBezTo>
                <a:cubicBezTo>
                  <a:pt x="317" y="14"/>
                  <a:pt x="317" y="14"/>
                  <a:pt x="317" y="14"/>
                </a:cubicBezTo>
                <a:cubicBezTo>
                  <a:pt x="292" y="46"/>
                  <a:pt x="292" y="46"/>
                  <a:pt x="292" y="46"/>
                </a:cubicBezTo>
                <a:cubicBezTo>
                  <a:pt x="284" y="43"/>
                  <a:pt x="276" y="42"/>
                  <a:pt x="267" y="40"/>
                </a:cubicBezTo>
                <a:cubicBezTo>
                  <a:pt x="258" y="0"/>
                  <a:pt x="258" y="0"/>
                  <a:pt x="258" y="0"/>
                </a:cubicBezTo>
                <a:cubicBezTo>
                  <a:pt x="228" y="0"/>
                  <a:pt x="228" y="0"/>
                  <a:pt x="228" y="0"/>
                </a:cubicBezTo>
                <a:cubicBezTo>
                  <a:pt x="217" y="39"/>
                  <a:pt x="217" y="39"/>
                  <a:pt x="217" y="39"/>
                </a:cubicBezTo>
                <a:cubicBezTo>
                  <a:pt x="207" y="40"/>
                  <a:pt x="198" y="41"/>
                  <a:pt x="189" y="44"/>
                </a:cubicBezTo>
                <a:cubicBezTo>
                  <a:pt x="165" y="10"/>
                  <a:pt x="165" y="10"/>
                  <a:pt x="165" y="10"/>
                </a:cubicBezTo>
                <a:cubicBezTo>
                  <a:pt x="137" y="21"/>
                  <a:pt x="137" y="21"/>
                  <a:pt x="137" y="21"/>
                </a:cubicBezTo>
                <a:cubicBezTo>
                  <a:pt x="142" y="62"/>
                  <a:pt x="142" y="62"/>
                  <a:pt x="142" y="62"/>
                </a:cubicBezTo>
                <a:cubicBezTo>
                  <a:pt x="135" y="66"/>
                  <a:pt x="128" y="70"/>
                  <a:pt x="121" y="75"/>
                </a:cubicBezTo>
                <a:cubicBezTo>
                  <a:pt x="85" y="53"/>
                  <a:pt x="85" y="53"/>
                  <a:pt x="85" y="53"/>
                </a:cubicBezTo>
                <a:cubicBezTo>
                  <a:pt x="64" y="74"/>
                  <a:pt x="64" y="74"/>
                  <a:pt x="64" y="74"/>
                </a:cubicBezTo>
                <a:cubicBezTo>
                  <a:pt x="84" y="110"/>
                  <a:pt x="84" y="110"/>
                  <a:pt x="84" y="110"/>
                </a:cubicBezTo>
                <a:cubicBezTo>
                  <a:pt x="78" y="117"/>
                  <a:pt x="72" y="125"/>
                  <a:pt x="68" y="133"/>
                </a:cubicBezTo>
                <a:cubicBezTo>
                  <a:pt x="27" y="126"/>
                  <a:pt x="27" y="126"/>
                  <a:pt x="27" y="126"/>
                </a:cubicBezTo>
                <a:cubicBezTo>
                  <a:pt x="15" y="153"/>
                  <a:pt x="15" y="153"/>
                  <a:pt x="15" y="153"/>
                </a:cubicBezTo>
                <a:cubicBezTo>
                  <a:pt x="47" y="179"/>
                  <a:pt x="47" y="179"/>
                  <a:pt x="47" y="179"/>
                </a:cubicBezTo>
                <a:cubicBezTo>
                  <a:pt x="45" y="187"/>
                  <a:pt x="43" y="195"/>
                  <a:pt x="42" y="203"/>
                </a:cubicBezTo>
                <a:cubicBezTo>
                  <a:pt x="1" y="212"/>
                  <a:pt x="1" y="212"/>
                  <a:pt x="1" y="212"/>
                </a:cubicBezTo>
                <a:cubicBezTo>
                  <a:pt x="0" y="242"/>
                  <a:pt x="0" y="242"/>
                  <a:pt x="0" y="242"/>
                </a:cubicBezTo>
                <a:cubicBezTo>
                  <a:pt x="40" y="254"/>
                  <a:pt x="40" y="254"/>
                  <a:pt x="40" y="254"/>
                </a:cubicBezTo>
                <a:cubicBezTo>
                  <a:pt x="41" y="263"/>
                  <a:pt x="42" y="272"/>
                  <a:pt x="45" y="281"/>
                </a:cubicBezTo>
                <a:cubicBezTo>
                  <a:pt x="11" y="305"/>
                  <a:pt x="11" y="305"/>
                  <a:pt x="11" y="305"/>
                </a:cubicBezTo>
                <a:cubicBezTo>
                  <a:pt x="22" y="333"/>
                  <a:pt x="22" y="333"/>
                  <a:pt x="22" y="333"/>
                </a:cubicBezTo>
                <a:cubicBezTo>
                  <a:pt x="63" y="328"/>
                  <a:pt x="63" y="328"/>
                  <a:pt x="63" y="328"/>
                </a:cubicBezTo>
                <a:cubicBezTo>
                  <a:pt x="67" y="335"/>
                  <a:pt x="71" y="342"/>
                  <a:pt x="76" y="349"/>
                </a:cubicBezTo>
                <a:cubicBezTo>
                  <a:pt x="54" y="384"/>
                  <a:pt x="54" y="384"/>
                  <a:pt x="54" y="384"/>
                </a:cubicBezTo>
                <a:cubicBezTo>
                  <a:pt x="75" y="406"/>
                  <a:pt x="75" y="406"/>
                  <a:pt x="75" y="406"/>
                </a:cubicBezTo>
                <a:cubicBezTo>
                  <a:pt x="111" y="386"/>
                  <a:pt x="111" y="386"/>
                  <a:pt x="111" y="386"/>
                </a:cubicBezTo>
                <a:cubicBezTo>
                  <a:pt x="118" y="392"/>
                  <a:pt x="126" y="397"/>
                  <a:pt x="134" y="402"/>
                </a:cubicBezTo>
                <a:cubicBezTo>
                  <a:pt x="127" y="442"/>
                  <a:pt x="127" y="442"/>
                  <a:pt x="127" y="442"/>
                </a:cubicBezTo>
                <a:cubicBezTo>
                  <a:pt x="154" y="454"/>
                  <a:pt x="154" y="454"/>
                  <a:pt x="154" y="454"/>
                </a:cubicBezTo>
                <a:cubicBezTo>
                  <a:pt x="180" y="422"/>
                  <a:pt x="180" y="422"/>
                  <a:pt x="180" y="422"/>
                </a:cubicBezTo>
                <a:cubicBezTo>
                  <a:pt x="188" y="424"/>
                  <a:pt x="196" y="426"/>
                  <a:pt x="205" y="427"/>
                </a:cubicBezTo>
                <a:cubicBezTo>
                  <a:pt x="214" y="467"/>
                  <a:pt x="214" y="467"/>
                  <a:pt x="214" y="467"/>
                </a:cubicBezTo>
                <a:cubicBezTo>
                  <a:pt x="244" y="468"/>
                  <a:pt x="244" y="468"/>
                  <a:pt x="244" y="468"/>
                </a:cubicBezTo>
                <a:cubicBezTo>
                  <a:pt x="255" y="429"/>
                  <a:pt x="255" y="429"/>
                  <a:pt x="255" y="429"/>
                </a:cubicBezTo>
                <a:cubicBezTo>
                  <a:pt x="264" y="428"/>
                  <a:pt x="273" y="426"/>
                  <a:pt x="283" y="424"/>
                </a:cubicBezTo>
                <a:moveTo>
                  <a:pt x="62" y="288"/>
                </a:moveTo>
                <a:cubicBezTo>
                  <a:pt x="32" y="192"/>
                  <a:pt x="86" y="90"/>
                  <a:pt x="182" y="61"/>
                </a:cubicBezTo>
                <a:cubicBezTo>
                  <a:pt x="278" y="31"/>
                  <a:pt x="380" y="84"/>
                  <a:pt x="410" y="180"/>
                </a:cubicBezTo>
                <a:cubicBezTo>
                  <a:pt x="440" y="276"/>
                  <a:pt x="386" y="377"/>
                  <a:pt x="289" y="407"/>
                </a:cubicBezTo>
                <a:cubicBezTo>
                  <a:pt x="193" y="437"/>
                  <a:pt x="91" y="383"/>
                  <a:pt x="62" y="28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4" name="Freeform 981">
            <a:extLst>
              <a:ext uri="{FF2B5EF4-FFF2-40B4-BE49-F238E27FC236}">
                <a16:creationId xmlns:a16="http://schemas.microsoft.com/office/drawing/2014/main" id="{D94AB9B0-0165-457E-B8AB-8E511F3B5D4D}"/>
              </a:ext>
            </a:extLst>
          </p:cNvPr>
          <p:cNvSpPr>
            <a:spLocks noEditPoints="1"/>
          </p:cNvSpPr>
          <p:nvPr/>
        </p:nvSpPr>
        <p:spPr bwMode="auto">
          <a:xfrm>
            <a:off x="1518997" y="3936169"/>
            <a:ext cx="1069774" cy="1062642"/>
          </a:xfrm>
          <a:custGeom>
            <a:avLst/>
            <a:gdLst>
              <a:gd name="T0" fmla="*/ 29 w 389"/>
              <a:gd name="T1" fmla="*/ 245 h 388"/>
              <a:gd name="T2" fmla="*/ 144 w 389"/>
              <a:gd name="T3" fmla="*/ 29 h 388"/>
              <a:gd name="T4" fmla="*/ 361 w 389"/>
              <a:gd name="T5" fmla="*/ 142 h 388"/>
              <a:gd name="T6" fmla="*/ 246 w 389"/>
              <a:gd name="T7" fmla="*/ 359 h 388"/>
              <a:gd name="T8" fmla="*/ 29 w 389"/>
              <a:gd name="T9" fmla="*/ 245 h 388"/>
              <a:gd name="T10" fmla="*/ 342 w 389"/>
              <a:gd name="T11" fmla="*/ 148 h 388"/>
              <a:gd name="T12" fmla="*/ 150 w 389"/>
              <a:gd name="T13" fmla="*/ 48 h 388"/>
              <a:gd name="T14" fmla="*/ 48 w 389"/>
              <a:gd name="T15" fmla="*/ 239 h 388"/>
              <a:gd name="T16" fmla="*/ 240 w 389"/>
              <a:gd name="T17" fmla="*/ 340 h 388"/>
              <a:gd name="T18" fmla="*/ 342 w 389"/>
              <a:gd name="T19" fmla="*/ 14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 h="388">
                <a:moveTo>
                  <a:pt x="29" y="245"/>
                </a:moveTo>
                <a:cubicBezTo>
                  <a:pt x="0" y="154"/>
                  <a:pt x="52" y="57"/>
                  <a:pt x="144" y="29"/>
                </a:cubicBezTo>
                <a:cubicBezTo>
                  <a:pt x="235" y="0"/>
                  <a:pt x="333" y="51"/>
                  <a:pt x="361" y="142"/>
                </a:cubicBezTo>
                <a:cubicBezTo>
                  <a:pt x="389" y="234"/>
                  <a:pt x="338" y="331"/>
                  <a:pt x="246" y="359"/>
                </a:cubicBezTo>
                <a:cubicBezTo>
                  <a:pt x="154" y="388"/>
                  <a:pt x="57" y="336"/>
                  <a:pt x="29" y="245"/>
                </a:cubicBezTo>
                <a:close/>
                <a:moveTo>
                  <a:pt x="342" y="148"/>
                </a:moveTo>
                <a:cubicBezTo>
                  <a:pt x="317" y="68"/>
                  <a:pt x="231" y="22"/>
                  <a:pt x="150" y="48"/>
                </a:cubicBezTo>
                <a:cubicBezTo>
                  <a:pt x="68" y="73"/>
                  <a:pt x="23" y="159"/>
                  <a:pt x="48" y="239"/>
                </a:cubicBezTo>
                <a:cubicBezTo>
                  <a:pt x="73" y="320"/>
                  <a:pt x="159" y="365"/>
                  <a:pt x="240" y="340"/>
                </a:cubicBezTo>
                <a:cubicBezTo>
                  <a:pt x="321" y="315"/>
                  <a:pt x="367" y="229"/>
                  <a:pt x="342" y="1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5" name="Freeform 982">
            <a:extLst>
              <a:ext uri="{FF2B5EF4-FFF2-40B4-BE49-F238E27FC236}">
                <a16:creationId xmlns:a16="http://schemas.microsoft.com/office/drawing/2014/main" id="{773D9904-04A2-4A89-BC81-FBDEA1A86C46}"/>
              </a:ext>
            </a:extLst>
          </p:cNvPr>
          <p:cNvSpPr>
            <a:spLocks noEditPoints="1"/>
          </p:cNvSpPr>
          <p:nvPr/>
        </p:nvSpPr>
        <p:spPr bwMode="auto">
          <a:xfrm>
            <a:off x="459922" y="3871982"/>
            <a:ext cx="987759" cy="991324"/>
          </a:xfrm>
          <a:custGeom>
            <a:avLst/>
            <a:gdLst>
              <a:gd name="T0" fmla="*/ 247 w 360"/>
              <a:gd name="T1" fmla="*/ 319 h 361"/>
              <a:gd name="T2" fmla="*/ 286 w 360"/>
              <a:gd name="T3" fmla="*/ 327 h 361"/>
              <a:gd name="T4" fmla="*/ 303 w 360"/>
              <a:gd name="T5" fmla="*/ 294 h 361"/>
              <a:gd name="T6" fmla="*/ 320 w 360"/>
              <a:gd name="T7" fmla="*/ 279 h 361"/>
              <a:gd name="T8" fmla="*/ 333 w 360"/>
              <a:gd name="T9" fmla="*/ 257 h 361"/>
              <a:gd name="T10" fmla="*/ 338 w 360"/>
              <a:gd name="T11" fmla="*/ 234 h 361"/>
              <a:gd name="T12" fmla="*/ 359 w 360"/>
              <a:gd name="T13" fmla="*/ 204 h 361"/>
              <a:gd name="T14" fmla="*/ 334 w 360"/>
              <a:gd name="T15" fmla="*/ 175 h 361"/>
              <a:gd name="T16" fmla="*/ 357 w 360"/>
              <a:gd name="T17" fmla="*/ 145 h 361"/>
              <a:gd name="T18" fmla="*/ 335 w 360"/>
              <a:gd name="T19" fmla="*/ 115 h 361"/>
              <a:gd name="T20" fmla="*/ 328 w 360"/>
              <a:gd name="T21" fmla="*/ 94 h 361"/>
              <a:gd name="T22" fmla="*/ 313 w 360"/>
              <a:gd name="T23" fmla="*/ 73 h 361"/>
              <a:gd name="T24" fmla="*/ 295 w 360"/>
              <a:gd name="T25" fmla="*/ 59 h 361"/>
              <a:gd name="T26" fmla="*/ 275 w 360"/>
              <a:gd name="T27" fmla="*/ 27 h 361"/>
              <a:gd name="T28" fmla="*/ 239 w 360"/>
              <a:gd name="T29" fmla="*/ 38 h 361"/>
              <a:gd name="T30" fmla="*/ 221 w 360"/>
              <a:gd name="T31" fmla="*/ 5 h 361"/>
              <a:gd name="T32" fmla="*/ 185 w 360"/>
              <a:gd name="T33" fmla="*/ 13 h 361"/>
              <a:gd name="T34" fmla="*/ 163 w 360"/>
              <a:gd name="T35" fmla="*/ 10 h 361"/>
              <a:gd name="T36" fmla="*/ 137 w 360"/>
              <a:gd name="T37" fmla="*/ 15 h 361"/>
              <a:gd name="T38" fmla="*/ 115 w 360"/>
              <a:gd name="T39" fmla="*/ 22 h 361"/>
              <a:gd name="T40" fmla="*/ 92 w 360"/>
              <a:gd name="T41" fmla="*/ 33 h 361"/>
              <a:gd name="T42" fmla="*/ 76 w 360"/>
              <a:gd name="T43" fmla="*/ 50 h 361"/>
              <a:gd name="T44" fmla="*/ 42 w 360"/>
              <a:gd name="T45" fmla="*/ 64 h 361"/>
              <a:gd name="T46" fmla="*/ 48 w 360"/>
              <a:gd name="T47" fmla="*/ 102 h 361"/>
              <a:gd name="T48" fmla="*/ 13 w 360"/>
              <a:gd name="T49" fmla="*/ 114 h 361"/>
              <a:gd name="T50" fmla="*/ 15 w 360"/>
              <a:gd name="T51" fmla="*/ 151 h 361"/>
              <a:gd name="T52" fmla="*/ 9 w 360"/>
              <a:gd name="T53" fmla="*/ 173 h 361"/>
              <a:gd name="T54" fmla="*/ 10 w 360"/>
              <a:gd name="T55" fmla="*/ 199 h 361"/>
              <a:gd name="T56" fmla="*/ 18 w 360"/>
              <a:gd name="T57" fmla="*/ 220 h 361"/>
              <a:gd name="T58" fmla="*/ 18 w 360"/>
              <a:gd name="T59" fmla="*/ 257 h 361"/>
              <a:gd name="T60" fmla="*/ 53 w 360"/>
              <a:gd name="T61" fmla="*/ 266 h 361"/>
              <a:gd name="T62" fmla="*/ 51 w 360"/>
              <a:gd name="T63" fmla="*/ 306 h 361"/>
              <a:gd name="T64" fmla="*/ 86 w 360"/>
              <a:gd name="T65" fmla="*/ 318 h 361"/>
              <a:gd name="T66" fmla="*/ 103 w 360"/>
              <a:gd name="T67" fmla="*/ 333 h 361"/>
              <a:gd name="T68" fmla="*/ 127 w 360"/>
              <a:gd name="T69" fmla="*/ 343 h 361"/>
              <a:gd name="T70" fmla="*/ 150 w 360"/>
              <a:gd name="T71" fmla="*/ 345 h 361"/>
              <a:gd name="T72" fmla="*/ 183 w 360"/>
              <a:gd name="T73" fmla="*/ 361 h 361"/>
              <a:gd name="T74" fmla="*/ 210 w 360"/>
              <a:gd name="T75" fmla="*/ 332 h 361"/>
              <a:gd name="T76" fmla="*/ 234 w 360"/>
              <a:gd name="T77" fmla="*/ 353 h 361"/>
              <a:gd name="T78" fmla="*/ 171 w 360"/>
              <a:gd name="T79" fmla="*/ 252 h 361"/>
              <a:gd name="T80" fmla="*/ 254 w 360"/>
              <a:gd name="T81" fmla="*/ 191 h 361"/>
              <a:gd name="T82" fmla="*/ 203 w 360"/>
              <a:gd name="T83" fmla="*/ 249 h 361"/>
              <a:gd name="T84" fmla="*/ 199 w 360"/>
              <a:gd name="T85" fmla="*/ 279 h 361"/>
              <a:gd name="T86" fmla="*/ 274 w 360"/>
              <a:gd name="T87" fmla="*/ 216 h 361"/>
              <a:gd name="T88" fmla="*/ 274 w 360"/>
              <a:gd name="T89" fmla="*/ 216 h 361"/>
              <a:gd name="T90" fmla="*/ 271 w 360"/>
              <a:gd name="T91" fmla="*/ 140 h 361"/>
              <a:gd name="T92" fmla="*/ 196 w 360"/>
              <a:gd name="T93" fmla="*/ 176 h 361"/>
              <a:gd name="T94" fmla="*/ 169 w 360"/>
              <a:gd name="T95" fmla="*/ 174 h 361"/>
              <a:gd name="T96" fmla="*/ 154 w 360"/>
              <a:gd name="T97" fmla="*/ 99 h 361"/>
              <a:gd name="T98" fmla="*/ 161 w 360"/>
              <a:gd name="T99" fmla="*/ 111 h 361"/>
              <a:gd name="T100" fmla="*/ 161 w 360"/>
              <a:gd name="T101" fmla="*/ 111 h 361"/>
              <a:gd name="T102" fmla="*/ 233 w 360"/>
              <a:gd name="T103" fmla="*/ 129 h 361"/>
              <a:gd name="T104" fmla="*/ 216 w 360"/>
              <a:gd name="T105" fmla="*/ 88 h 361"/>
              <a:gd name="T106" fmla="*/ 98 w 360"/>
              <a:gd name="T107" fmla="*/ 126 h 361"/>
              <a:gd name="T108" fmla="*/ 83 w 360"/>
              <a:gd name="T109" fmla="*/ 201 h 361"/>
              <a:gd name="T110" fmla="*/ 113 w 360"/>
              <a:gd name="T111" fmla="*/ 202 h 361"/>
              <a:gd name="T112" fmla="*/ 113 w 360"/>
              <a:gd name="T113" fmla="*/ 202 h 361"/>
              <a:gd name="T114" fmla="*/ 145 w 360"/>
              <a:gd name="T115" fmla="*/ 27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0" h="361">
                <a:moveTo>
                  <a:pt x="240" y="350"/>
                </a:moveTo>
                <a:cubicBezTo>
                  <a:pt x="245" y="349"/>
                  <a:pt x="247" y="343"/>
                  <a:pt x="245" y="339"/>
                </a:cubicBezTo>
                <a:cubicBezTo>
                  <a:pt x="243" y="336"/>
                  <a:pt x="243" y="336"/>
                  <a:pt x="243" y="336"/>
                </a:cubicBezTo>
                <a:cubicBezTo>
                  <a:pt x="241" y="330"/>
                  <a:pt x="242" y="323"/>
                  <a:pt x="247" y="319"/>
                </a:cubicBezTo>
                <a:cubicBezTo>
                  <a:pt x="254" y="314"/>
                  <a:pt x="263" y="317"/>
                  <a:pt x="266" y="324"/>
                </a:cubicBezTo>
                <a:cubicBezTo>
                  <a:pt x="268" y="327"/>
                  <a:pt x="268" y="327"/>
                  <a:pt x="268" y="327"/>
                </a:cubicBezTo>
                <a:cubicBezTo>
                  <a:pt x="270" y="332"/>
                  <a:pt x="276" y="333"/>
                  <a:pt x="280" y="331"/>
                </a:cubicBezTo>
                <a:cubicBezTo>
                  <a:pt x="282" y="329"/>
                  <a:pt x="284" y="328"/>
                  <a:pt x="286" y="327"/>
                </a:cubicBezTo>
                <a:cubicBezTo>
                  <a:pt x="290" y="324"/>
                  <a:pt x="290" y="318"/>
                  <a:pt x="287" y="315"/>
                </a:cubicBezTo>
                <a:cubicBezTo>
                  <a:pt x="284" y="311"/>
                  <a:pt x="284" y="311"/>
                  <a:pt x="284" y="311"/>
                </a:cubicBezTo>
                <a:cubicBezTo>
                  <a:pt x="280" y="307"/>
                  <a:pt x="280" y="300"/>
                  <a:pt x="284" y="295"/>
                </a:cubicBezTo>
                <a:cubicBezTo>
                  <a:pt x="289" y="288"/>
                  <a:pt x="298" y="288"/>
                  <a:pt x="303" y="294"/>
                </a:cubicBezTo>
                <a:cubicBezTo>
                  <a:pt x="306" y="297"/>
                  <a:pt x="306" y="297"/>
                  <a:pt x="306" y="297"/>
                </a:cubicBezTo>
                <a:cubicBezTo>
                  <a:pt x="309" y="300"/>
                  <a:pt x="315" y="300"/>
                  <a:pt x="318" y="296"/>
                </a:cubicBezTo>
                <a:cubicBezTo>
                  <a:pt x="320" y="295"/>
                  <a:pt x="321" y="293"/>
                  <a:pt x="323" y="291"/>
                </a:cubicBezTo>
                <a:cubicBezTo>
                  <a:pt x="326" y="287"/>
                  <a:pt x="325" y="282"/>
                  <a:pt x="320" y="279"/>
                </a:cubicBezTo>
                <a:cubicBezTo>
                  <a:pt x="317" y="277"/>
                  <a:pt x="317" y="277"/>
                  <a:pt x="317" y="277"/>
                </a:cubicBezTo>
                <a:cubicBezTo>
                  <a:pt x="311" y="273"/>
                  <a:pt x="309" y="265"/>
                  <a:pt x="313" y="259"/>
                </a:cubicBezTo>
                <a:cubicBezTo>
                  <a:pt x="311" y="252"/>
                  <a:pt x="318" y="247"/>
                  <a:pt x="323" y="250"/>
                </a:cubicBezTo>
                <a:cubicBezTo>
                  <a:pt x="333" y="257"/>
                  <a:pt x="333" y="257"/>
                  <a:pt x="333" y="257"/>
                </a:cubicBezTo>
                <a:cubicBezTo>
                  <a:pt x="338" y="259"/>
                  <a:pt x="343" y="257"/>
                  <a:pt x="345" y="253"/>
                </a:cubicBezTo>
                <a:cubicBezTo>
                  <a:pt x="346" y="251"/>
                  <a:pt x="347" y="248"/>
                  <a:pt x="348" y="246"/>
                </a:cubicBezTo>
                <a:cubicBezTo>
                  <a:pt x="350" y="242"/>
                  <a:pt x="347" y="237"/>
                  <a:pt x="342" y="235"/>
                </a:cubicBezTo>
                <a:cubicBezTo>
                  <a:pt x="338" y="234"/>
                  <a:pt x="338" y="234"/>
                  <a:pt x="338" y="234"/>
                </a:cubicBezTo>
                <a:cubicBezTo>
                  <a:pt x="331" y="232"/>
                  <a:pt x="327" y="225"/>
                  <a:pt x="329" y="218"/>
                </a:cubicBezTo>
                <a:cubicBezTo>
                  <a:pt x="331" y="211"/>
                  <a:pt x="338" y="207"/>
                  <a:pt x="345" y="209"/>
                </a:cubicBezTo>
                <a:cubicBezTo>
                  <a:pt x="349" y="210"/>
                  <a:pt x="349" y="210"/>
                  <a:pt x="349" y="210"/>
                </a:cubicBezTo>
                <a:cubicBezTo>
                  <a:pt x="353" y="212"/>
                  <a:pt x="358" y="208"/>
                  <a:pt x="359" y="204"/>
                </a:cubicBezTo>
                <a:cubicBezTo>
                  <a:pt x="359" y="201"/>
                  <a:pt x="359" y="199"/>
                  <a:pt x="360" y="196"/>
                </a:cubicBezTo>
                <a:cubicBezTo>
                  <a:pt x="360" y="192"/>
                  <a:pt x="356" y="187"/>
                  <a:pt x="351" y="187"/>
                </a:cubicBezTo>
                <a:cubicBezTo>
                  <a:pt x="347" y="188"/>
                  <a:pt x="347" y="188"/>
                  <a:pt x="347" y="188"/>
                </a:cubicBezTo>
                <a:cubicBezTo>
                  <a:pt x="340" y="188"/>
                  <a:pt x="334" y="182"/>
                  <a:pt x="334" y="175"/>
                </a:cubicBezTo>
                <a:cubicBezTo>
                  <a:pt x="334" y="168"/>
                  <a:pt x="339" y="162"/>
                  <a:pt x="347" y="162"/>
                </a:cubicBezTo>
                <a:cubicBezTo>
                  <a:pt x="350" y="162"/>
                  <a:pt x="350" y="162"/>
                  <a:pt x="350" y="162"/>
                </a:cubicBezTo>
                <a:cubicBezTo>
                  <a:pt x="355" y="162"/>
                  <a:pt x="359" y="157"/>
                  <a:pt x="358" y="152"/>
                </a:cubicBezTo>
                <a:cubicBezTo>
                  <a:pt x="358" y="150"/>
                  <a:pt x="357" y="147"/>
                  <a:pt x="357" y="145"/>
                </a:cubicBezTo>
                <a:cubicBezTo>
                  <a:pt x="356" y="140"/>
                  <a:pt x="351" y="137"/>
                  <a:pt x="346" y="139"/>
                </a:cubicBezTo>
                <a:cubicBezTo>
                  <a:pt x="342" y="140"/>
                  <a:pt x="342" y="140"/>
                  <a:pt x="342" y="140"/>
                </a:cubicBezTo>
                <a:cubicBezTo>
                  <a:pt x="335" y="142"/>
                  <a:pt x="328" y="138"/>
                  <a:pt x="326" y="132"/>
                </a:cubicBezTo>
                <a:cubicBezTo>
                  <a:pt x="324" y="125"/>
                  <a:pt x="328" y="118"/>
                  <a:pt x="335" y="115"/>
                </a:cubicBezTo>
                <a:cubicBezTo>
                  <a:pt x="338" y="114"/>
                  <a:pt x="338" y="114"/>
                  <a:pt x="338" y="114"/>
                </a:cubicBezTo>
                <a:cubicBezTo>
                  <a:pt x="343" y="113"/>
                  <a:pt x="345" y="108"/>
                  <a:pt x="343" y="103"/>
                </a:cubicBezTo>
                <a:cubicBezTo>
                  <a:pt x="342" y="101"/>
                  <a:pt x="341" y="99"/>
                  <a:pt x="340" y="97"/>
                </a:cubicBezTo>
                <a:cubicBezTo>
                  <a:pt x="337" y="92"/>
                  <a:pt x="332" y="91"/>
                  <a:pt x="328" y="94"/>
                </a:cubicBezTo>
                <a:cubicBezTo>
                  <a:pt x="325" y="96"/>
                  <a:pt x="325" y="96"/>
                  <a:pt x="325" y="96"/>
                </a:cubicBezTo>
                <a:cubicBezTo>
                  <a:pt x="319" y="99"/>
                  <a:pt x="312" y="99"/>
                  <a:pt x="308" y="94"/>
                </a:cubicBezTo>
                <a:cubicBezTo>
                  <a:pt x="302" y="88"/>
                  <a:pt x="303" y="79"/>
                  <a:pt x="310" y="75"/>
                </a:cubicBezTo>
                <a:cubicBezTo>
                  <a:pt x="313" y="73"/>
                  <a:pt x="313" y="73"/>
                  <a:pt x="313" y="73"/>
                </a:cubicBezTo>
                <a:cubicBezTo>
                  <a:pt x="317" y="70"/>
                  <a:pt x="318" y="64"/>
                  <a:pt x="315" y="60"/>
                </a:cubicBezTo>
                <a:cubicBezTo>
                  <a:pt x="313" y="59"/>
                  <a:pt x="311" y="57"/>
                  <a:pt x="310" y="55"/>
                </a:cubicBezTo>
                <a:cubicBezTo>
                  <a:pt x="306" y="52"/>
                  <a:pt x="301" y="52"/>
                  <a:pt x="298" y="56"/>
                </a:cubicBezTo>
                <a:cubicBezTo>
                  <a:pt x="295" y="59"/>
                  <a:pt x="295" y="59"/>
                  <a:pt x="295" y="59"/>
                </a:cubicBezTo>
                <a:cubicBezTo>
                  <a:pt x="290" y="64"/>
                  <a:pt x="282" y="65"/>
                  <a:pt x="277" y="60"/>
                </a:cubicBezTo>
                <a:cubicBezTo>
                  <a:pt x="271" y="56"/>
                  <a:pt x="270" y="48"/>
                  <a:pt x="275" y="42"/>
                </a:cubicBezTo>
                <a:cubicBezTo>
                  <a:pt x="277" y="39"/>
                  <a:pt x="277" y="39"/>
                  <a:pt x="277" y="39"/>
                </a:cubicBezTo>
                <a:cubicBezTo>
                  <a:pt x="280" y="36"/>
                  <a:pt x="279" y="30"/>
                  <a:pt x="275" y="27"/>
                </a:cubicBezTo>
                <a:cubicBezTo>
                  <a:pt x="273" y="26"/>
                  <a:pt x="271" y="25"/>
                  <a:pt x="269" y="24"/>
                </a:cubicBezTo>
                <a:cubicBezTo>
                  <a:pt x="265" y="21"/>
                  <a:pt x="260" y="23"/>
                  <a:pt x="258" y="27"/>
                </a:cubicBezTo>
                <a:cubicBezTo>
                  <a:pt x="256" y="31"/>
                  <a:pt x="256" y="31"/>
                  <a:pt x="256" y="31"/>
                </a:cubicBezTo>
                <a:cubicBezTo>
                  <a:pt x="253" y="38"/>
                  <a:pt x="245" y="41"/>
                  <a:pt x="239" y="38"/>
                </a:cubicBezTo>
                <a:cubicBezTo>
                  <a:pt x="232" y="35"/>
                  <a:pt x="229" y="28"/>
                  <a:pt x="232" y="21"/>
                </a:cubicBezTo>
                <a:cubicBezTo>
                  <a:pt x="234" y="18"/>
                  <a:pt x="234" y="18"/>
                  <a:pt x="234" y="18"/>
                </a:cubicBezTo>
                <a:cubicBezTo>
                  <a:pt x="236" y="13"/>
                  <a:pt x="233" y="8"/>
                  <a:pt x="228" y="7"/>
                </a:cubicBezTo>
                <a:cubicBezTo>
                  <a:pt x="226" y="6"/>
                  <a:pt x="224" y="5"/>
                  <a:pt x="221" y="5"/>
                </a:cubicBezTo>
                <a:cubicBezTo>
                  <a:pt x="217" y="4"/>
                  <a:pt x="212" y="7"/>
                  <a:pt x="211" y="12"/>
                </a:cubicBezTo>
                <a:cubicBezTo>
                  <a:pt x="211" y="16"/>
                  <a:pt x="211" y="16"/>
                  <a:pt x="211" y="16"/>
                </a:cubicBezTo>
                <a:cubicBezTo>
                  <a:pt x="210" y="23"/>
                  <a:pt x="204" y="28"/>
                  <a:pt x="196" y="27"/>
                </a:cubicBezTo>
                <a:cubicBezTo>
                  <a:pt x="189" y="26"/>
                  <a:pt x="184" y="20"/>
                  <a:pt x="185" y="13"/>
                </a:cubicBezTo>
                <a:cubicBezTo>
                  <a:pt x="186" y="9"/>
                  <a:pt x="186" y="9"/>
                  <a:pt x="186" y="9"/>
                </a:cubicBezTo>
                <a:cubicBezTo>
                  <a:pt x="186" y="4"/>
                  <a:pt x="183" y="0"/>
                  <a:pt x="178" y="0"/>
                </a:cubicBezTo>
                <a:cubicBezTo>
                  <a:pt x="175" y="0"/>
                  <a:pt x="173" y="0"/>
                  <a:pt x="170" y="0"/>
                </a:cubicBezTo>
                <a:cubicBezTo>
                  <a:pt x="166" y="1"/>
                  <a:pt x="162" y="5"/>
                  <a:pt x="163" y="10"/>
                </a:cubicBezTo>
                <a:cubicBezTo>
                  <a:pt x="163" y="14"/>
                  <a:pt x="163" y="14"/>
                  <a:pt x="163" y="14"/>
                </a:cubicBezTo>
                <a:cubicBezTo>
                  <a:pt x="165" y="21"/>
                  <a:pt x="160" y="28"/>
                  <a:pt x="153" y="29"/>
                </a:cubicBezTo>
                <a:cubicBezTo>
                  <a:pt x="146" y="30"/>
                  <a:pt x="139" y="25"/>
                  <a:pt x="138" y="18"/>
                </a:cubicBezTo>
                <a:cubicBezTo>
                  <a:pt x="137" y="15"/>
                  <a:pt x="137" y="15"/>
                  <a:pt x="137" y="15"/>
                </a:cubicBezTo>
                <a:cubicBezTo>
                  <a:pt x="137" y="10"/>
                  <a:pt x="132" y="7"/>
                  <a:pt x="127" y="8"/>
                </a:cubicBezTo>
                <a:cubicBezTo>
                  <a:pt x="127" y="8"/>
                  <a:pt x="127" y="8"/>
                  <a:pt x="127" y="8"/>
                </a:cubicBezTo>
                <a:cubicBezTo>
                  <a:pt x="125" y="9"/>
                  <a:pt x="122" y="10"/>
                  <a:pt x="120" y="10"/>
                </a:cubicBezTo>
                <a:cubicBezTo>
                  <a:pt x="116" y="12"/>
                  <a:pt x="113" y="17"/>
                  <a:pt x="115" y="22"/>
                </a:cubicBezTo>
                <a:cubicBezTo>
                  <a:pt x="117" y="26"/>
                  <a:pt x="117" y="26"/>
                  <a:pt x="117" y="26"/>
                </a:cubicBezTo>
                <a:cubicBezTo>
                  <a:pt x="120" y="32"/>
                  <a:pt x="118" y="40"/>
                  <a:pt x="111" y="43"/>
                </a:cubicBezTo>
                <a:cubicBezTo>
                  <a:pt x="105" y="46"/>
                  <a:pt x="97" y="43"/>
                  <a:pt x="94" y="37"/>
                </a:cubicBezTo>
                <a:cubicBezTo>
                  <a:pt x="92" y="33"/>
                  <a:pt x="92" y="33"/>
                  <a:pt x="92" y="33"/>
                </a:cubicBezTo>
                <a:cubicBezTo>
                  <a:pt x="90" y="29"/>
                  <a:pt x="85" y="27"/>
                  <a:pt x="81" y="30"/>
                </a:cubicBezTo>
                <a:cubicBezTo>
                  <a:pt x="79" y="31"/>
                  <a:pt x="77" y="33"/>
                  <a:pt x="75" y="34"/>
                </a:cubicBezTo>
                <a:cubicBezTo>
                  <a:pt x="71" y="37"/>
                  <a:pt x="70" y="43"/>
                  <a:pt x="73" y="46"/>
                </a:cubicBezTo>
                <a:cubicBezTo>
                  <a:pt x="76" y="50"/>
                  <a:pt x="76" y="50"/>
                  <a:pt x="76" y="50"/>
                </a:cubicBezTo>
                <a:cubicBezTo>
                  <a:pt x="81" y="55"/>
                  <a:pt x="81" y="63"/>
                  <a:pt x="75" y="68"/>
                </a:cubicBezTo>
                <a:cubicBezTo>
                  <a:pt x="70" y="72"/>
                  <a:pt x="62" y="72"/>
                  <a:pt x="57" y="67"/>
                </a:cubicBezTo>
                <a:cubicBezTo>
                  <a:pt x="55" y="64"/>
                  <a:pt x="55" y="64"/>
                  <a:pt x="55" y="64"/>
                </a:cubicBezTo>
                <a:cubicBezTo>
                  <a:pt x="51" y="60"/>
                  <a:pt x="46" y="60"/>
                  <a:pt x="42" y="64"/>
                </a:cubicBezTo>
                <a:cubicBezTo>
                  <a:pt x="41" y="66"/>
                  <a:pt x="39" y="68"/>
                  <a:pt x="38" y="70"/>
                </a:cubicBezTo>
                <a:cubicBezTo>
                  <a:pt x="35" y="74"/>
                  <a:pt x="36" y="79"/>
                  <a:pt x="40" y="82"/>
                </a:cubicBezTo>
                <a:cubicBezTo>
                  <a:pt x="44" y="84"/>
                  <a:pt x="44" y="84"/>
                  <a:pt x="44" y="84"/>
                </a:cubicBezTo>
                <a:cubicBezTo>
                  <a:pt x="50" y="88"/>
                  <a:pt x="52" y="96"/>
                  <a:pt x="48" y="102"/>
                </a:cubicBezTo>
                <a:cubicBezTo>
                  <a:pt x="50" y="108"/>
                  <a:pt x="43" y="114"/>
                  <a:pt x="37" y="110"/>
                </a:cubicBezTo>
                <a:cubicBezTo>
                  <a:pt x="27" y="104"/>
                  <a:pt x="27" y="104"/>
                  <a:pt x="27" y="104"/>
                </a:cubicBezTo>
                <a:cubicBezTo>
                  <a:pt x="23" y="102"/>
                  <a:pt x="17" y="103"/>
                  <a:pt x="15" y="108"/>
                </a:cubicBezTo>
                <a:cubicBezTo>
                  <a:pt x="14" y="110"/>
                  <a:pt x="14" y="112"/>
                  <a:pt x="13" y="114"/>
                </a:cubicBezTo>
                <a:cubicBezTo>
                  <a:pt x="11" y="119"/>
                  <a:pt x="13" y="124"/>
                  <a:pt x="18" y="125"/>
                </a:cubicBezTo>
                <a:cubicBezTo>
                  <a:pt x="22" y="126"/>
                  <a:pt x="22" y="126"/>
                  <a:pt x="22" y="126"/>
                </a:cubicBezTo>
                <a:cubicBezTo>
                  <a:pt x="28" y="128"/>
                  <a:pt x="32" y="134"/>
                  <a:pt x="32" y="140"/>
                </a:cubicBezTo>
                <a:cubicBezTo>
                  <a:pt x="31" y="148"/>
                  <a:pt x="23" y="153"/>
                  <a:pt x="15" y="151"/>
                </a:cubicBezTo>
                <a:cubicBezTo>
                  <a:pt x="12" y="150"/>
                  <a:pt x="12" y="150"/>
                  <a:pt x="12" y="150"/>
                </a:cubicBezTo>
                <a:cubicBezTo>
                  <a:pt x="7" y="149"/>
                  <a:pt x="2" y="152"/>
                  <a:pt x="2" y="157"/>
                </a:cubicBezTo>
                <a:cubicBezTo>
                  <a:pt x="1" y="160"/>
                  <a:pt x="1" y="162"/>
                  <a:pt x="1" y="164"/>
                </a:cubicBezTo>
                <a:cubicBezTo>
                  <a:pt x="0" y="169"/>
                  <a:pt x="4" y="173"/>
                  <a:pt x="9" y="173"/>
                </a:cubicBezTo>
                <a:cubicBezTo>
                  <a:pt x="13" y="173"/>
                  <a:pt x="13" y="173"/>
                  <a:pt x="13" y="173"/>
                </a:cubicBezTo>
                <a:cubicBezTo>
                  <a:pt x="19" y="173"/>
                  <a:pt x="25" y="177"/>
                  <a:pt x="26" y="184"/>
                </a:cubicBezTo>
                <a:cubicBezTo>
                  <a:pt x="28" y="192"/>
                  <a:pt x="22" y="199"/>
                  <a:pt x="14" y="199"/>
                </a:cubicBezTo>
                <a:cubicBezTo>
                  <a:pt x="10" y="199"/>
                  <a:pt x="10" y="199"/>
                  <a:pt x="10" y="199"/>
                </a:cubicBezTo>
                <a:cubicBezTo>
                  <a:pt x="5" y="199"/>
                  <a:pt x="2" y="204"/>
                  <a:pt x="3" y="208"/>
                </a:cubicBezTo>
                <a:cubicBezTo>
                  <a:pt x="3" y="211"/>
                  <a:pt x="3" y="213"/>
                  <a:pt x="4" y="216"/>
                </a:cubicBezTo>
                <a:cubicBezTo>
                  <a:pt x="5" y="220"/>
                  <a:pt x="10" y="223"/>
                  <a:pt x="14" y="222"/>
                </a:cubicBezTo>
                <a:cubicBezTo>
                  <a:pt x="18" y="220"/>
                  <a:pt x="18" y="220"/>
                  <a:pt x="18" y="220"/>
                </a:cubicBezTo>
                <a:cubicBezTo>
                  <a:pt x="25" y="218"/>
                  <a:pt x="32" y="222"/>
                  <a:pt x="34" y="229"/>
                </a:cubicBezTo>
                <a:cubicBezTo>
                  <a:pt x="37" y="236"/>
                  <a:pt x="33" y="243"/>
                  <a:pt x="26" y="245"/>
                </a:cubicBezTo>
                <a:cubicBezTo>
                  <a:pt x="23" y="246"/>
                  <a:pt x="23" y="246"/>
                  <a:pt x="23" y="246"/>
                </a:cubicBezTo>
                <a:cubicBezTo>
                  <a:pt x="18" y="248"/>
                  <a:pt x="16" y="253"/>
                  <a:pt x="18" y="257"/>
                </a:cubicBezTo>
                <a:cubicBezTo>
                  <a:pt x="19" y="260"/>
                  <a:pt x="20" y="262"/>
                  <a:pt x="21" y="264"/>
                </a:cubicBezTo>
                <a:cubicBezTo>
                  <a:pt x="23" y="268"/>
                  <a:pt x="29" y="270"/>
                  <a:pt x="33" y="267"/>
                </a:cubicBezTo>
                <a:cubicBezTo>
                  <a:pt x="36" y="265"/>
                  <a:pt x="36" y="265"/>
                  <a:pt x="36" y="265"/>
                </a:cubicBezTo>
                <a:cubicBezTo>
                  <a:pt x="41" y="261"/>
                  <a:pt x="48" y="262"/>
                  <a:pt x="53" y="266"/>
                </a:cubicBezTo>
                <a:cubicBezTo>
                  <a:pt x="58" y="272"/>
                  <a:pt x="57" y="282"/>
                  <a:pt x="51" y="286"/>
                </a:cubicBezTo>
                <a:cubicBezTo>
                  <a:pt x="48" y="288"/>
                  <a:pt x="48" y="288"/>
                  <a:pt x="48" y="288"/>
                </a:cubicBezTo>
                <a:cubicBezTo>
                  <a:pt x="43" y="291"/>
                  <a:pt x="43" y="297"/>
                  <a:pt x="46" y="300"/>
                </a:cubicBezTo>
                <a:cubicBezTo>
                  <a:pt x="48" y="302"/>
                  <a:pt x="49" y="304"/>
                  <a:pt x="51" y="306"/>
                </a:cubicBezTo>
                <a:cubicBezTo>
                  <a:pt x="54" y="309"/>
                  <a:pt x="60" y="309"/>
                  <a:pt x="63" y="305"/>
                </a:cubicBezTo>
                <a:cubicBezTo>
                  <a:pt x="66" y="302"/>
                  <a:pt x="66" y="302"/>
                  <a:pt x="66" y="302"/>
                </a:cubicBezTo>
                <a:cubicBezTo>
                  <a:pt x="70" y="297"/>
                  <a:pt x="77" y="296"/>
                  <a:pt x="82" y="299"/>
                </a:cubicBezTo>
                <a:cubicBezTo>
                  <a:pt x="89" y="303"/>
                  <a:pt x="91" y="312"/>
                  <a:pt x="86" y="318"/>
                </a:cubicBezTo>
                <a:cubicBezTo>
                  <a:pt x="83" y="321"/>
                  <a:pt x="83" y="321"/>
                  <a:pt x="83" y="321"/>
                </a:cubicBezTo>
                <a:cubicBezTo>
                  <a:pt x="80" y="325"/>
                  <a:pt x="81" y="331"/>
                  <a:pt x="85" y="333"/>
                </a:cubicBezTo>
                <a:cubicBezTo>
                  <a:pt x="87" y="335"/>
                  <a:pt x="89" y="336"/>
                  <a:pt x="91" y="337"/>
                </a:cubicBezTo>
                <a:cubicBezTo>
                  <a:pt x="96" y="339"/>
                  <a:pt x="101" y="338"/>
                  <a:pt x="103" y="333"/>
                </a:cubicBezTo>
                <a:cubicBezTo>
                  <a:pt x="104" y="330"/>
                  <a:pt x="104" y="330"/>
                  <a:pt x="104" y="330"/>
                </a:cubicBezTo>
                <a:cubicBezTo>
                  <a:pt x="107" y="324"/>
                  <a:pt x="113" y="320"/>
                  <a:pt x="120" y="322"/>
                </a:cubicBezTo>
                <a:cubicBezTo>
                  <a:pt x="127" y="324"/>
                  <a:pt x="131" y="332"/>
                  <a:pt x="128" y="340"/>
                </a:cubicBezTo>
                <a:cubicBezTo>
                  <a:pt x="127" y="343"/>
                  <a:pt x="127" y="343"/>
                  <a:pt x="127" y="343"/>
                </a:cubicBezTo>
                <a:cubicBezTo>
                  <a:pt x="125" y="347"/>
                  <a:pt x="127" y="353"/>
                  <a:pt x="132" y="354"/>
                </a:cubicBezTo>
                <a:cubicBezTo>
                  <a:pt x="134" y="355"/>
                  <a:pt x="137" y="355"/>
                  <a:pt x="139" y="356"/>
                </a:cubicBezTo>
                <a:cubicBezTo>
                  <a:pt x="144" y="357"/>
                  <a:pt x="148" y="354"/>
                  <a:pt x="149" y="349"/>
                </a:cubicBezTo>
                <a:cubicBezTo>
                  <a:pt x="150" y="345"/>
                  <a:pt x="150" y="345"/>
                  <a:pt x="150" y="345"/>
                </a:cubicBezTo>
                <a:cubicBezTo>
                  <a:pt x="150" y="338"/>
                  <a:pt x="157" y="332"/>
                  <a:pt x="164" y="333"/>
                </a:cubicBezTo>
                <a:cubicBezTo>
                  <a:pt x="170" y="331"/>
                  <a:pt x="177" y="337"/>
                  <a:pt x="176" y="343"/>
                </a:cubicBezTo>
                <a:cubicBezTo>
                  <a:pt x="175" y="351"/>
                  <a:pt x="175" y="351"/>
                  <a:pt x="175" y="351"/>
                </a:cubicBezTo>
                <a:cubicBezTo>
                  <a:pt x="174" y="356"/>
                  <a:pt x="178" y="361"/>
                  <a:pt x="183" y="361"/>
                </a:cubicBezTo>
                <a:cubicBezTo>
                  <a:pt x="185" y="361"/>
                  <a:pt x="188" y="360"/>
                  <a:pt x="190" y="360"/>
                </a:cubicBezTo>
                <a:cubicBezTo>
                  <a:pt x="195" y="360"/>
                  <a:pt x="198" y="356"/>
                  <a:pt x="198" y="351"/>
                </a:cubicBezTo>
                <a:cubicBezTo>
                  <a:pt x="197" y="347"/>
                  <a:pt x="197" y="347"/>
                  <a:pt x="197" y="347"/>
                </a:cubicBezTo>
                <a:cubicBezTo>
                  <a:pt x="196" y="339"/>
                  <a:pt x="202" y="332"/>
                  <a:pt x="210" y="332"/>
                </a:cubicBezTo>
                <a:cubicBezTo>
                  <a:pt x="216" y="332"/>
                  <a:pt x="222" y="337"/>
                  <a:pt x="223" y="343"/>
                </a:cubicBezTo>
                <a:cubicBezTo>
                  <a:pt x="223" y="346"/>
                  <a:pt x="223" y="346"/>
                  <a:pt x="223" y="346"/>
                </a:cubicBezTo>
                <a:cubicBezTo>
                  <a:pt x="224" y="351"/>
                  <a:pt x="229" y="354"/>
                  <a:pt x="233" y="353"/>
                </a:cubicBezTo>
                <a:cubicBezTo>
                  <a:pt x="234" y="353"/>
                  <a:pt x="234" y="353"/>
                  <a:pt x="234" y="353"/>
                </a:cubicBezTo>
                <a:cubicBezTo>
                  <a:pt x="236" y="352"/>
                  <a:pt x="238" y="351"/>
                  <a:pt x="240" y="350"/>
                </a:cubicBezTo>
                <a:close/>
                <a:moveTo>
                  <a:pt x="131" y="231"/>
                </a:moveTo>
                <a:cubicBezTo>
                  <a:pt x="175" y="194"/>
                  <a:pt x="175" y="194"/>
                  <a:pt x="175" y="194"/>
                </a:cubicBezTo>
                <a:cubicBezTo>
                  <a:pt x="171" y="252"/>
                  <a:pt x="171" y="252"/>
                  <a:pt x="171" y="252"/>
                </a:cubicBezTo>
                <a:cubicBezTo>
                  <a:pt x="156" y="249"/>
                  <a:pt x="142" y="242"/>
                  <a:pt x="131" y="231"/>
                </a:cubicBezTo>
                <a:close/>
                <a:moveTo>
                  <a:pt x="233" y="231"/>
                </a:moveTo>
                <a:cubicBezTo>
                  <a:pt x="195" y="187"/>
                  <a:pt x="195" y="187"/>
                  <a:pt x="195" y="187"/>
                </a:cubicBezTo>
                <a:cubicBezTo>
                  <a:pt x="254" y="191"/>
                  <a:pt x="254" y="191"/>
                  <a:pt x="254" y="191"/>
                </a:cubicBezTo>
                <a:cubicBezTo>
                  <a:pt x="251" y="206"/>
                  <a:pt x="244" y="220"/>
                  <a:pt x="233" y="231"/>
                </a:cubicBezTo>
                <a:close/>
                <a:moveTo>
                  <a:pt x="187" y="194"/>
                </a:moveTo>
                <a:cubicBezTo>
                  <a:pt x="225" y="239"/>
                  <a:pt x="225" y="239"/>
                  <a:pt x="225" y="239"/>
                </a:cubicBezTo>
                <a:cubicBezTo>
                  <a:pt x="218" y="243"/>
                  <a:pt x="211" y="247"/>
                  <a:pt x="203" y="249"/>
                </a:cubicBezTo>
                <a:cubicBezTo>
                  <a:pt x="196" y="251"/>
                  <a:pt x="189" y="253"/>
                  <a:pt x="182" y="252"/>
                </a:cubicBezTo>
                <a:lnTo>
                  <a:pt x="187" y="194"/>
                </a:lnTo>
                <a:close/>
                <a:moveTo>
                  <a:pt x="214" y="286"/>
                </a:moveTo>
                <a:cubicBezTo>
                  <a:pt x="208" y="288"/>
                  <a:pt x="201" y="285"/>
                  <a:pt x="199" y="279"/>
                </a:cubicBezTo>
                <a:cubicBezTo>
                  <a:pt x="198" y="273"/>
                  <a:pt x="201" y="266"/>
                  <a:pt x="207" y="264"/>
                </a:cubicBezTo>
                <a:cubicBezTo>
                  <a:pt x="213" y="262"/>
                  <a:pt x="220" y="266"/>
                  <a:pt x="222" y="272"/>
                </a:cubicBezTo>
                <a:cubicBezTo>
                  <a:pt x="223" y="278"/>
                  <a:pt x="220" y="284"/>
                  <a:pt x="214" y="286"/>
                </a:cubicBezTo>
                <a:close/>
                <a:moveTo>
                  <a:pt x="274" y="216"/>
                </a:moveTo>
                <a:cubicBezTo>
                  <a:pt x="279" y="219"/>
                  <a:pt x="282" y="226"/>
                  <a:pt x="279" y="232"/>
                </a:cubicBezTo>
                <a:cubicBezTo>
                  <a:pt x="276" y="237"/>
                  <a:pt x="269" y="240"/>
                  <a:pt x="263" y="237"/>
                </a:cubicBezTo>
                <a:cubicBezTo>
                  <a:pt x="257" y="234"/>
                  <a:pt x="255" y="227"/>
                  <a:pt x="258" y="221"/>
                </a:cubicBezTo>
                <a:cubicBezTo>
                  <a:pt x="261" y="215"/>
                  <a:pt x="268" y="213"/>
                  <a:pt x="274" y="216"/>
                </a:cubicBezTo>
                <a:close/>
                <a:moveTo>
                  <a:pt x="286" y="148"/>
                </a:moveTo>
                <a:cubicBezTo>
                  <a:pt x="288" y="154"/>
                  <a:pt x="284" y="160"/>
                  <a:pt x="278" y="162"/>
                </a:cubicBezTo>
                <a:cubicBezTo>
                  <a:pt x="272" y="164"/>
                  <a:pt x="266" y="161"/>
                  <a:pt x="264" y="155"/>
                </a:cubicBezTo>
                <a:cubicBezTo>
                  <a:pt x="262" y="149"/>
                  <a:pt x="265" y="142"/>
                  <a:pt x="271" y="140"/>
                </a:cubicBezTo>
                <a:cubicBezTo>
                  <a:pt x="277" y="138"/>
                  <a:pt x="284" y="142"/>
                  <a:pt x="286" y="148"/>
                </a:cubicBezTo>
                <a:close/>
                <a:moveTo>
                  <a:pt x="251" y="159"/>
                </a:moveTo>
                <a:cubicBezTo>
                  <a:pt x="254" y="166"/>
                  <a:pt x="255" y="173"/>
                  <a:pt x="255" y="180"/>
                </a:cubicBezTo>
                <a:cubicBezTo>
                  <a:pt x="196" y="176"/>
                  <a:pt x="196" y="176"/>
                  <a:pt x="196" y="176"/>
                </a:cubicBezTo>
                <a:cubicBezTo>
                  <a:pt x="241" y="138"/>
                  <a:pt x="241" y="138"/>
                  <a:pt x="241" y="138"/>
                </a:cubicBezTo>
                <a:cubicBezTo>
                  <a:pt x="245" y="144"/>
                  <a:pt x="249" y="151"/>
                  <a:pt x="251" y="159"/>
                </a:cubicBezTo>
                <a:close/>
                <a:moveTo>
                  <a:pt x="131" y="129"/>
                </a:moveTo>
                <a:cubicBezTo>
                  <a:pt x="169" y="174"/>
                  <a:pt x="169" y="174"/>
                  <a:pt x="169" y="174"/>
                </a:cubicBezTo>
                <a:cubicBezTo>
                  <a:pt x="110" y="169"/>
                  <a:pt x="110" y="169"/>
                  <a:pt x="110" y="169"/>
                </a:cubicBezTo>
                <a:cubicBezTo>
                  <a:pt x="113" y="154"/>
                  <a:pt x="120" y="140"/>
                  <a:pt x="131" y="129"/>
                </a:cubicBezTo>
                <a:close/>
                <a:moveTo>
                  <a:pt x="161" y="84"/>
                </a:moveTo>
                <a:cubicBezTo>
                  <a:pt x="163" y="90"/>
                  <a:pt x="160" y="97"/>
                  <a:pt x="154" y="99"/>
                </a:cubicBezTo>
                <a:cubicBezTo>
                  <a:pt x="148" y="100"/>
                  <a:pt x="141" y="97"/>
                  <a:pt x="139" y="91"/>
                </a:cubicBezTo>
                <a:cubicBezTo>
                  <a:pt x="137" y="85"/>
                  <a:pt x="141" y="79"/>
                  <a:pt x="147" y="77"/>
                </a:cubicBezTo>
                <a:cubicBezTo>
                  <a:pt x="153" y="75"/>
                  <a:pt x="159" y="78"/>
                  <a:pt x="161" y="84"/>
                </a:cubicBezTo>
                <a:close/>
                <a:moveTo>
                  <a:pt x="161" y="111"/>
                </a:moveTo>
                <a:cubicBezTo>
                  <a:pt x="168" y="109"/>
                  <a:pt x="175" y="108"/>
                  <a:pt x="182" y="108"/>
                </a:cubicBezTo>
                <a:cubicBezTo>
                  <a:pt x="177" y="166"/>
                  <a:pt x="177" y="166"/>
                  <a:pt x="177" y="166"/>
                </a:cubicBezTo>
                <a:cubicBezTo>
                  <a:pt x="139" y="122"/>
                  <a:pt x="139" y="122"/>
                  <a:pt x="139" y="122"/>
                </a:cubicBezTo>
                <a:cubicBezTo>
                  <a:pt x="146" y="117"/>
                  <a:pt x="153" y="114"/>
                  <a:pt x="161" y="111"/>
                </a:cubicBezTo>
                <a:close/>
                <a:moveTo>
                  <a:pt x="233" y="129"/>
                </a:moveTo>
                <a:cubicBezTo>
                  <a:pt x="189" y="167"/>
                  <a:pt x="189" y="167"/>
                  <a:pt x="189" y="167"/>
                </a:cubicBezTo>
                <a:cubicBezTo>
                  <a:pt x="193" y="109"/>
                  <a:pt x="193" y="109"/>
                  <a:pt x="193" y="109"/>
                </a:cubicBezTo>
                <a:cubicBezTo>
                  <a:pt x="209" y="111"/>
                  <a:pt x="223" y="118"/>
                  <a:pt x="233" y="129"/>
                </a:cubicBezTo>
                <a:close/>
                <a:moveTo>
                  <a:pt x="231" y="84"/>
                </a:moveTo>
                <a:cubicBezTo>
                  <a:pt x="237" y="87"/>
                  <a:pt x="239" y="93"/>
                  <a:pt x="236" y="99"/>
                </a:cubicBezTo>
                <a:cubicBezTo>
                  <a:pt x="233" y="105"/>
                  <a:pt x="226" y="107"/>
                  <a:pt x="220" y="104"/>
                </a:cubicBezTo>
                <a:cubicBezTo>
                  <a:pt x="215" y="101"/>
                  <a:pt x="213" y="94"/>
                  <a:pt x="216" y="88"/>
                </a:cubicBezTo>
                <a:cubicBezTo>
                  <a:pt x="219" y="83"/>
                  <a:pt x="226" y="81"/>
                  <a:pt x="231" y="84"/>
                </a:cubicBezTo>
                <a:close/>
                <a:moveTo>
                  <a:pt x="87" y="147"/>
                </a:moveTo>
                <a:cubicBezTo>
                  <a:pt x="81" y="144"/>
                  <a:pt x="79" y="137"/>
                  <a:pt x="82" y="131"/>
                </a:cubicBezTo>
                <a:cubicBezTo>
                  <a:pt x="85" y="125"/>
                  <a:pt x="92" y="123"/>
                  <a:pt x="98" y="126"/>
                </a:cubicBezTo>
                <a:cubicBezTo>
                  <a:pt x="103" y="129"/>
                  <a:pt x="106" y="136"/>
                  <a:pt x="103" y="142"/>
                </a:cubicBezTo>
                <a:cubicBezTo>
                  <a:pt x="100" y="147"/>
                  <a:pt x="93" y="150"/>
                  <a:pt x="87" y="147"/>
                </a:cubicBezTo>
                <a:close/>
                <a:moveTo>
                  <a:pt x="75" y="215"/>
                </a:moveTo>
                <a:cubicBezTo>
                  <a:pt x="73" y="209"/>
                  <a:pt x="76" y="203"/>
                  <a:pt x="83" y="201"/>
                </a:cubicBezTo>
                <a:cubicBezTo>
                  <a:pt x="89" y="199"/>
                  <a:pt x="95" y="202"/>
                  <a:pt x="97" y="208"/>
                </a:cubicBezTo>
                <a:cubicBezTo>
                  <a:pt x="99" y="214"/>
                  <a:pt x="95" y="221"/>
                  <a:pt x="89" y="223"/>
                </a:cubicBezTo>
                <a:cubicBezTo>
                  <a:pt x="83" y="225"/>
                  <a:pt x="77" y="221"/>
                  <a:pt x="75" y="215"/>
                </a:cubicBezTo>
                <a:close/>
                <a:moveTo>
                  <a:pt x="113" y="202"/>
                </a:moveTo>
                <a:cubicBezTo>
                  <a:pt x="111" y="195"/>
                  <a:pt x="109" y="188"/>
                  <a:pt x="109" y="180"/>
                </a:cubicBezTo>
                <a:cubicBezTo>
                  <a:pt x="168" y="185"/>
                  <a:pt x="168" y="185"/>
                  <a:pt x="168" y="185"/>
                </a:cubicBezTo>
                <a:cubicBezTo>
                  <a:pt x="123" y="223"/>
                  <a:pt x="123" y="223"/>
                  <a:pt x="123" y="223"/>
                </a:cubicBezTo>
                <a:cubicBezTo>
                  <a:pt x="119" y="217"/>
                  <a:pt x="115" y="210"/>
                  <a:pt x="113" y="202"/>
                </a:cubicBezTo>
                <a:close/>
                <a:moveTo>
                  <a:pt x="129" y="279"/>
                </a:moveTo>
                <a:cubicBezTo>
                  <a:pt x="124" y="276"/>
                  <a:pt x="122" y="269"/>
                  <a:pt x="125" y="264"/>
                </a:cubicBezTo>
                <a:cubicBezTo>
                  <a:pt x="128" y="258"/>
                  <a:pt x="135" y="256"/>
                  <a:pt x="140" y="259"/>
                </a:cubicBezTo>
                <a:cubicBezTo>
                  <a:pt x="146" y="262"/>
                  <a:pt x="148" y="269"/>
                  <a:pt x="145" y="275"/>
                </a:cubicBezTo>
                <a:cubicBezTo>
                  <a:pt x="142" y="280"/>
                  <a:pt x="135" y="282"/>
                  <a:pt x="129" y="27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6" name="Freeform 983">
            <a:extLst>
              <a:ext uri="{FF2B5EF4-FFF2-40B4-BE49-F238E27FC236}">
                <a16:creationId xmlns:a16="http://schemas.microsoft.com/office/drawing/2014/main" id="{B9826FB7-0803-493F-9670-34F3F25793C7}"/>
              </a:ext>
            </a:extLst>
          </p:cNvPr>
          <p:cNvSpPr>
            <a:spLocks noEditPoints="1"/>
          </p:cNvSpPr>
          <p:nvPr/>
        </p:nvSpPr>
        <p:spPr bwMode="auto">
          <a:xfrm>
            <a:off x="4935141" y="3344227"/>
            <a:ext cx="60622" cy="114109"/>
          </a:xfrm>
          <a:custGeom>
            <a:avLst/>
            <a:gdLst>
              <a:gd name="T0" fmla="*/ 4 w 23"/>
              <a:gd name="T1" fmla="*/ 41 h 41"/>
              <a:gd name="T2" fmla="*/ 3 w 23"/>
              <a:gd name="T3" fmla="*/ 41 h 41"/>
              <a:gd name="T4" fmla="*/ 3 w 23"/>
              <a:gd name="T5" fmla="*/ 40 h 41"/>
              <a:gd name="T6" fmla="*/ 0 w 23"/>
              <a:gd name="T7" fmla="*/ 1 h 41"/>
              <a:gd name="T8" fmla="*/ 1 w 23"/>
              <a:gd name="T9" fmla="*/ 0 h 41"/>
              <a:gd name="T10" fmla="*/ 2 w 23"/>
              <a:gd name="T11" fmla="*/ 0 h 41"/>
              <a:gd name="T12" fmla="*/ 12 w 23"/>
              <a:gd name="T13" fmla="*/ 3 h 41"/>
              <a:gd name="T14" fmla="*/ 21 w 23"/>
              <a:gd name="T15" fmla="*/ 18 h 41"/>
              <a:gd name="T16" fmla="*/ 4 w 23"/>
              <a:gd name="T17" fmla="*/ 41 h 41"/>
              <a:gd name="T18" fmla="*/ 3 w 23"/>
              <a:gd name="T19" fmla="*/ 3 h 41"/>
              <a:gd name="T20" fmla="*/ 5 w 23"/>
              <a:gd name="T21" fmla="*/ 38 h 41"/>
              <a:gd name="T22" fmla="*/ 19 w 23"/>
              <a:gd name="T23" fmla="*/ 18 h 41"/>
              <a:gd name="T24" fmla="*/ 11 w 23"/>
              <a:gd name="T25" fmla="*/ 5 h 41"/>
              <a:gd name="T26" fmla="*/ 3 w 23"/>
              <a:gd name="T27"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1">
                <a:moveTo>
                  <a:pt x="4" y="41"/>
                </a:moveTo>
                <a:cubicBezTo>
                  <a:pt x="3" y="41"/>
                  <a:pt x="3" y="41"/>
                  <a:pt x="3" y="41"/>
                </a:cubicBezTo>
                <a:cubicBezTo>
                  <a:pt x="3" y="40"/>
                  <a:pt x="3" y="40"/>
                  <a:pt x="3" y="40"/>
                </a:cubicBezTo>
                <a:cubicBezTo>
                  <a:pt x="0" y="1"/>
                  <a:pt x="0" y="1"/>
                  <a:pt x="0" y="1"/>
                </a:cubicBezTo>
                <a:cubicBezTo>
                  <a:pt x="1" y="0"/>
                  <a:pt x="1" y="0"/>
                  <a:pt x="1" y="0"/>
                </a:cubicBezTo>
                <a:cubicBezTo>
                  <a:pt x="2" y="0"/>
                  <a:pt x="2" y="0"/>
                  <a:pt x="2" y="0"/>
                </a:cubicBezTo>
                <a:cubicBezTo>
                  <a:pt x="5" y="0"/>
                  <a:pt x="9" y="1"/>
                  <a:pt x="12" y="3"/>
                </a:cubicBezTo>
                <a:cubicBezTo>
                  <a:pt x="17" y="7"/>
                  <a:pt x="21" y="12"/>
                  <a:pt x="21" y="18"/>
                </a:cubicBezTo>
                <a:cubicBezTo>
                  <a:pt x="23" y="29"/>
                  <a:pt x="15" y="39"/>
                  <a:pt x="4" y="41"/>
                </a:cubicBezTo>
                <a:close/>
                <a:moveTo>
                  <a:pt x="3" y="3"/>
                </a:moveTo>
                <a:cubicBezTo>
                  <a:pt x="5" y="38"/>
                  <a:pt x="5" y="38"/>
                  <a:pt x="5" y="38"/>
                </a:cubicBezTo>
                <a:cubicBezTo>
                  <a:pt x="14" y="36"/>
                  <a:pt x="20" y="28"/>
                  <a:pt x="19" y="18"/>
                </a:cubicBezTo>
                <a:cubicBezTo>
                  <a:pt x="18" y="13"/>
                  <a:pt x="15" y="8"/>
                  <a:pt x="11" y="5"/>
                </a:cubicBezTo>
                <a:cubicBezTo>
                  <a:pt x="8" y="4"/>
                  <a:pt x="6" y="3"/>
                  <a:pt x="3"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7" name="Freeform 984">
            <a:extLst>
              <a:ext uri="{FF2B5EF4-FFF2-40B4-BE49-F238E27FC236}">
                <a16:creationId xmlns:a16="http://schemas.microsoft.com/office/drawing/2014/main" id="{A993AB70-B7B2-4B9F-B1F5-8E653A3DC27A}"/>
              </a:ext>
            </a:extLst>
          </p:cNvPr>
          <p:cNvSpPr>
            <a:spLocks noEditPoints="1"/>
          </p:cNvSpPr>
          <p:nvPr/>
        </p:nvSpPr>
        <p:spPr bwMode="auto">
          <a:xfrm>
            <a:off x="4874522" y="3344227"/>
            <a:ext cx="60622" cy="114109"/>
          </a:xfrm>
          <a:custGeom>
            <a:avLst/>
            <a:gdLst>
              <a:gd name="T0" fmla="*/ 11 w 22"/>
              <a:gd name="T1" fmla="*/ 38 h 41"/>
              <a:gd name="T2" fmla="*/ 1 w 22"/>
              <a:gd name="T3" fmla="*/ 23 h 41"/>
              <a:gd name="T4" fmla="*/ 18 w 22"/>
              <a:gd name="T5" fmla="*/ 0 h 41"/>
              <a:gd name="T6" fmla="*/ 19 w 22"/>
              <a:gd name="T7" fmla="*/ 0 h 41"/>
              <a:gd name="T8" fmla="*/ 19 w 22"/>
              <a:gd name="T9" fmla="*/ 1 h 41"/>
              <a:gd name="T10" fmla="*/ 22 w 22"/>
              <a:gd name="T11" fmla="*/ 40 h 41"/>
              <a:gd name="T12" fmla="*/ 22 w 22"/>
              <a:gd name="T13" fmla="*/ 41 h 41"/>
              <a:gd name="T14" fmla="*/ 21 w 22"/>
              <a:gd name="T15" fmla="*/ 41 h 41"/>
              <a:gd name="T16" fmla="*/ 11 w 22"/>
              <a:gd name="T17" fmla="*/ 38 h 41"/>
              <a:gd name="T18" fmla="*/ 17 w 22"/>
              <a:gd name="T19" fmla="*/ 3 h 41"/>
              <a:gd name="T20" fmla="*/ 4 w 22"/>
              <a:gd name="T21" fmla="*/ 23 h 41"/>
              <a:gd name="T22" fmla="*/ 12 w 22"/>
              <a:gd name="T23" fmla="*/ 36 h 41"/>
              <a:gd name="T24" fmla="*/ 19 w 22"/>
              <a:gd name="T25" fmla="*/ 39 h 41"/>
              <a:gd name="T26" fmla="*/ 17 w 22"/>
              <a:gd name="T27"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41">
                <a:moveTo>
                  <a:pt x="11" y="38"/>
                </a:moveTo>
                <a:cubicBezTo>
                  <a:pt x="5" y="35"/>
                  <a:pt x="2" y="29"/>
                  <a:pt x="1" y="23"/>
                </a:cubicBezTo>
                <a:cubicBezTo>
                  <a:pt x="0" y="12"/>
                  <a:pt x="7" y="2"/>
                  <a:pt x="18" y="0"/>
                </a:cubicBezTo>
                <a:cubicBezTo>
                  <a:pt x="19" y="0"/>
                  <a:pt x="19" y="0"/>
                  <a:pt x="19" y="0"/>
                </a:cubicBezTo>
                <a:cubicBezTo>
                  <a:pt x="19" y="1"/>
                  <a:pt x="19" y="1"/>
                  <a:pt x="19" y="1"/>
                </a:cubicBezTo>
                <a:cubicBezTo>
                  <a:pt x="22" y="40"/>
                  <a:pt x="22" y="40"/>
                  <a:pt x="22" y="40"/>
                </a:cubicBezTo>
                <a:cubicBezTo>
                  <a:pt x="22" y="41"/>
                  <a:pt x="22" y="41"/>
                  <a:pt x="22" y="41"/>
                </a:cubicBezTo>
                <a:cubicBezTo>
                  <a:pt x="21" y="41"/>
                  <a:pt x="21" y="41"/>
                  <a:pt x="21" y="41"/>
                </a:cubicBezTo>
                <a:cubicBezTo>
                  <a:pt x="17" y="41"/>
                  <a:pt x="14" y="40"/>
                  <a:pt x="11" y="38"/>
                </a:cubicBezTo>
                <a:close/>
                <a:moveTo>
                  <a:pt x="17" y="3"/>
                </a:moveTo>
                <a:cubicBezTo>
                  <a:pt x="8" y="5"/>
                  <a:pt x="2" y="14"/>
                  <a:pt x="4" y="23"/>
                </a:cubicBezTo>
                <a:cubicBezTo>
                  <a:pt x="4" y="28"/>
                  <a:pt x="7" y="33"/>
                  <a:pt x="12" y="36"/>
                </a:cubicBezTo>
                <a:cubicBezTo>
                  <a:pt x="14" y="38"/>
                  <a:pt x="17" y="38"/>
                  <a:pt x="19" y="39"/>
                </a:cubicBezTo>
                <a:lnTo>
                  <a:pt x="17"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8" name="Freeform 985">
            <a:extLst>
              <a:ext uri="{FF2B5EF4-FFF2-40B4-BE49-F238E27FC236}">
                <a16:creationId xmlns:a16="http://schemas.microsoft.com/office/drawing/2014/main" id="{BFFD6FFD-D407-46D4-86BA-2B02C05313C2}"/>
              </a:ext>
            </a:extLst>
          </p:cNvPr>
          <p:cNvSpPr>
            <a:spLocks noEditPoints="1"/>
          </p:cNvSpPr>
          <p:nvPr/>
        </p:nvSpPr>
        <p:spPr bwMode="auto">
          <a:xfrm>
            <a:off x="5512819" y="1871507"/>
            <a:ext cx="609772" cy="588374"/>
          </a:xfrm>
          <a:custGeom>
            <a:avLst/>
            <a:gdLst>
              <a:gd name="T0" fmla="*/ 51 w 221"/>
              <a:gd name="T1" fmla="*/ 195 h 215"/>
              <a:gd name="T2" fmla="*/ 51 w 221"/>
              <a:gd name="T3" fmla="*/ 195 h 215"/>
              <a:gd name="T4" fmla="*/ 6 w 221"/>
              <a:gd name="T5" fmla="*/ 130 h 215"/>
              <a:gd name="T6" fmla="*/ 20 w 221"/>
              <a:gd name="T7" fmla="*/ 52 h 215"/>
              <a:gd name="T8" fmla="*/ 85 w 221"/>
              <a:gd name="T9" fmla="*/ 6 h 215"/>
              <a:gd name="T10" fmla="*/ 163 w 221"/>
              <a:gd name="T11" fmla="*/ 20 h 215"/>
              <a:gd name="T12" fmla="*/ 209 w 221"/>
              <a:gd name="T13" fmla="*/ 85 h 215"/>
              <a:gd name="T14" fmla="*/ 130 w 221"/>
              <a:gd name="T15" fmla="*/ 209 h 215"/>
              <a:gd name="T16" fmla="*/ 51 w 221"/>
              <a:gd name="T17" fmla="*/ 195 h 215"/>
              <a:gd name="T18" fmla="*/ 161 w 221"/>
              <a:gd name="T19" fmla="*/ 23 h 215"/>
              <a:gd name="T20" fmla="*/ 85 w 221"/>
              <a:gd name="T21" fmla="*/ 10 h 215"/>
              <a:gd name="T22" fmla="*/ 23 w 221"/>
              <a:gd name="T23" fmla="*/ 54 h 215"/>
              <a:gd name="T24" fmla="*/ 9 w 221"/>
              <a:gd name="T25" fmla="*/ 129 h 215"/>
              <a:gd name="T26" fmla="*/ 53 w 221"/>
              <a:gd name="T27" fmla="*/ 192 h 215"/>
              <a:gd name="T28" fmla="*/ 53 w 221"/>
              <a:gd name="T29" fmla="*/ 192 h 215"/>
              <a:gd name="T30" fmla="*/ 129 w 221"/>
              <a:gd name="T31" fmla="*/ 205 h 215"/>
              <a:gd name="T32" fmla="*/ 205 w 221"/>
              <a:gd name="T33" fmla="*/ 86 h 215"/>
              <a:gd name="T34" fmla="*/ 161 w 221"/>
              <a:gd name="T35" fmla="*/ 23 h 215"/>
              <a:gd name="T36" fmla="*/ 86 w 221"/>
              <a:gd name="T37" fmla="*/ 140 h 215"/>
              <a:gd name="T38" fmla="*/ 69 w 221"/>
              <a:gd name="T39" fmla="*/ 116 h 215"/>
              <a:gd name="T40" fmla="*/ 99 w 221"/>
              <a:gd name="T41" fmla="*/ 70 h 215"/>
              <a:gd name="T42" fmla="*/ 128 w 221"/>
              <a:gd name="T43" fmla="*/ 75 h 215"/>
              <a:gd name="T44" fmla="*/ 145 w 221"/>
              <a:gd name="T45" fmla="*/ 99 h 215"/>
              <a:gd name="T46" fmla="*/ 140 w 221"/>
              <a:gd name="T47" fmla="*/ 128 h 215"/>
              <a:gd name="T48" fmla="*/ 116 w 221"/>
              <a:gd name="T49" fmla="*/ 145 h 215"/>
              <a:gd name="T50" fmla="*/ 86 w 221"/>
              <a:gd name="T51" fmla="*/ 140 h 215"/>
              <a:gd name="T52" fmla="*/ 126 w 221"/>
              <a:gd name="T53" fmla="*/ 78 h 215"/>
              <a:gd name="T54" fmla="*/ 100 w 221"/>
              <a:gd name="T55" fmla="*/ 74 h 215"/>
              <a:gd name="T56" fmla="*/ 73 w 221"/>
              <a:gd name="T57" fmla="*/ 115 h 215"/>
              <a:gd name="T58" fmla="*/ 88 w 221"/>
              <a:gd name="T59" fmla="*/ 137 h 215"/>
              <a:gd name="T60" fmla="*/ 115 w 221"/>
              <a:gd name="T61" fmla="*/ 142 h 215"/>
              <a:gd name="T62" fmla="*/ 137 w 221"/>
              <a:gd name="T63" fmla="*/ 126 h 215"/>
              <a:gd name="T64" fmla="*/ 141 w 221"/>
              <a:gd name="T65" fmla="*/ 100 h 215"/>
              <a:gd name="T66" fmla="*/ 126 w 221"/>
              <a:gd name="T67" fmla="*/ 7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1" h="215">
                <a:moveTo>
                  <a:pt x="51" y="195"/>
                </a:moveTo>
                <a:cubicBezTo>
                  <a:pt x="51" y="195"/>
                  <a:pt x="51" y="195"/>
                  <a:pt x="51" y="195"/>
                </a:cubicBezTo>
                <a:cubicBezTo>
                  <a:pt x="28" y="180"/>
                  <a:pt x="12" y="157"/>
                  <a:pt x="6" y="130"/>
                </a:cubicBezTo>
                <a:cubicBezTo>
                  <a:pt x="0" y="103"/>
                  <a:pt x="5" y="75"/>
                  <a:pt x="20" y="52"/>
                </a:cubicBezTo>
                <a:cubicBezTo>
                  <a:pt x="34" y="28"/>
                  <a:pt x="58" y="12"/>
                  <a:pt x="85" y="6"/>
                </a:cubicBezTo>
                <a:cubicBezTo>
                  <a:pt x="112" y="0"/>
                  <a:pt x="139" y="5"/>
                  <a:pt x="163" y="20"/>
                </a:cubicBezTo>
                <a:cubicBezTo>
                  <a:pt x="186" y="35"/>
                  <a:pt x="203" y="58"/>
                  <a:pt x="209" y="85"/>
                </a:cubicBezTo>
                <a:cubicBezTo>
                  <a:pt x="221" y="141"/>
                  <a:pt x="186" y="197"/>
                  <a:pt x="130" y="209"/>
                </a:cubicBezTo>
                <a:cubicBezTo>
                  <a:pt x="103" y="215"/>
                  <a:pt x="75" y="210"/>
                  <a:pt x="51" y="195"/>
                </a:cubicBezTo>
                <a:close/>
                <a:moveTo>
                  <a:pt x="161" y="23"/>
                </a:moveTo>
                <a:cubicBezTo>
                  <a:pt x="138" y="9"/>
                  <a:pt x="112" y="4"/>
                  <a:pt x="85" y="10"/>
                </a:cubicBezTo>
                <a:cubicBezTo>
                  <a:pt x="59" y="16"/>
                  <a:pt x="37" y="31"/>
                  <a:pt x="23" y="54"/>
                </a:cubicBezTo>
                <a:cubicBezTo>
                  <a:pt x="8" y="76"/>
                  <a:pt x="4" y="103"/>
                  <a:pt x="9" y="129"/>
                </a:cubicBezTo>
                <a:cubicBezTo>
                  <a:pt x="15" y="155"/>
                  <a:pt x="31" y="178"/>
                  <a:pt x="53" y="192"/>
                </a:cubicBezTo>
                <a:cubicBezTo>
                  <a:pt x="53" y="192"/>
                  <a:pt x="53" y="192"/>
                  <a:pt x="53" y="192"/>
                </a:cubicBezTo>
                <a:cubicBezTo>
                  <a:pt x="76" y="206"/>
                  <a:pt x="103" y="211"/>
                  <a:pt x="129" y="205"/>
                </a:cubicBezTo>
                <a:cubicBezTo>
                  <a:pt x="183" y="193"/>
                  <a:pt x="217" y="140"/>
                  <a:pt x="205" y="86"/>
                </a:cubicBezTo>
                <a:cubicBezTo>
                  <a:pt x="199" y="60"/>
                  <a:pt x="183" y="38"/>
                  <a:pt x="161" y="23"/>
                </a:cubicBezTo>
                <a:close/>
                <a:moveTo>
                  <a:pt x="86" y="140"/>
                </a:moveTo>
                <a:cubicBezTo>
                  <a:pt x="78" y="135"/>
                  <a:pt x="72" y="126"/>
                  <a:pt x="69" y="116"/>
                </a:cubicBezTo>
                <a:cubicBezTo>
                  <a:pt x="65" y="95"/>
                  <a:pt x="78" y="74"/>
                  <a:pt x="99" y="70"/>
                </a:cubicBezTo>
                <a:cubicBezTo>
                  <a:pt x="109" y="68"/>
                  <a:pt x="119" y="69"/>
                  <a:pt x="128" y="75"/>
                </a:cubicBezTo>
                <a:cubicBezTo>
                  <a:pt x="137" y="81"/>
                  <a:pt x="143" y="89"/>
                  <a:pt x="145" y="99"/>
                </a:cubicBezTo>
                <a:cubicBezTo>
                  <a:pt x="147" y="109"/>
                  <a:pt x="145" y="120"/>
                  <a:pt x="140" y="128"/>
                </a:cubicBezTo>
                <a:cubicBezTo>
                  <a:pt x="134" y="137"/>
                  <a:pt x="126" y="143"/>
                  <a:pt x="116" y="145"/>
                </a:cubicBezTo>
                <a:cubicBezTo>
                  <a:pt x="105" y="148"/>
                  <a:pt x="95" y="146"/>
                  <a:pt x="86" y="140"/>
                </a:cubicBezTo>
                <a:close/>
                <a:moveTo>
                  <a:pt x="126" y="78"/>
                </a:moveTo>
                <a:cubicBezTo>
                  <a:pt x="118" y="73"/>
                  <a:pt x="109" y="72"/>
                  <a:pt x="100" y="74"/>
                </a:cubicBezTo>
                <a:cubicBezTo>
                  <a:pt x="81" y="78"/>
                  <a:pt x="69" y="96"/>
                  <a:pt x="73" y="115"/>
                </a:cubicBezTo>
                <a:cubicBezTo>
                  <a:pt x="75" y="124"/>
                  <a:pt x="81" y="132"/>
                  <a:pt x="88" y="137"/>
                </a:cubicBezTo>
                <a:cubicBezTo>
                  <a:pt x="96" y="142"/>
                  <a:pt x="106" y="144"/>
                  <a:pt x="115" y="142"/>
                </a:cubicBezTo>
                <a:cubicBezTo>
                  <a:pt x="124" y="140"/>
                  <a:pt x="132" y="134"/>
                  <a:pt x="137" y="126"/>
                </a:cubicBezTo>
                <a:cubicBezTo>
                  <a:pt x="142" y="119"/>
                  <a:pt x="143" y="109"/>
                  <a:pt x="141" y="100"/>
                </a:cubicBezTo>
                <a:cubicBezTo>
                  <a:pt x="139" y="91"/>
                  <a:pt x="134" y="83"/>
                  <a:pt x="126"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9" name="Freeform 986">
            <a:extLst>
              <a:ext uri="{FF2B5EF4-FFF2-40B4-BE49-F238E27FC236}">
                <a16:creationId xmlns:a16="http://schemas.microsoft.com/office/drawing/2014/main" id="{C7201DF6-A0CB-4DA0-A01D-75969A5B49CE}"/>
              </a:ext>
            </a:extLst>
          </p:cNvPr>
          <p:cNvSpPr>
            <a:spLocks noEditPoints="1"/>
          </p:cNvSpPr>
          <p:nvPr/>
        </p:nvSpPr>
        <p:spPr bwMode="auto">
          <a:xfrm>
            <a:off x="5427237" y="1789490"/>
            <a:ext cx="759541" cy="752406"/>
          </a:xfrm>
          <a:custGeom>
            <a:avLst/>
            <a:gdLst>
              <a:gd name="T0" fmla="*/ 48 w 276"/>
              <a:gd name="T1" fmla="*/ 242 h 275"/>
              <a:gd name="T2" fmla="*/ 33 w 276"/>
              <a:gd name="T3" fmla="*/ 210 h 275"/>
              <a:gd name="T4" fmla="*/ 32 w 276"/>
              <a:gd name="T5" fmla="*/ 177 h 275"/>
              <a:gd name="T6" fmla="*/ 11 w 276"/>
              <a:gd name="T7" fmla="*/ 153 h 275"/>
              <a:gd name="T8" fmla="*/ 1 w 276"/>
              <a:gd name="T9" fmla="*/ 123 h 275"/>
              <a:gd name="T10" fmla="*/ 16 w 276"/>
              <a:gd name="T11" fmla="*/ 96 h 275"/>
              <a:gd name="T12" fmla="*/ 35 w 276"/>
              <a:gd name="T13" fmla="*/ 61 h 275"/>
              <a:gd name="T14" fmla="*/ 67 w 276"/>
              <a:gd name="T15" fmla="*/ 50 h 275"/>
              <a:gd name="T16" fmla="*/ 83 w 276"/>
              <a:gd name="T17" fmla="*/ 22 h 275"/>
              <a:gd name="T18" fmla="*/ 116 w 276"/>
              <a:gd name="T19" fmla="*/ 3 h 275"/>
              <a:gd name="T20" fmla="*/ 133 w 276"/>
              <a:gd name="T21" fmla="*/ 25 h 275"/>
              <a:gd name="T22" fmla="*/ 155 w 276"/>
              <a:gd name="T23" fmla="*/ 1 h 275"/>
              <a:gd name="T24" fmla="*/ 182 w 276"/>
              <a:gd name="T25" fmla="*/ 17 h 275"/>
              <a:gd name="T26" fmla="*/ 201 w 276"/>
              <a:gd name="T27" fmla="*/ 44 h 275"/>
              <a:gd name="T28" fmla="*/ 233 w 276"/>
              <a:gd name="T29" fmla="*/ 52 h 275"/>
              <a:gd name="T30" fmla="*/ 259 w 276"/>
              <a:gd name="T31" fmla="*/ 71 h 275"/>
              <a:gd name="T32" fmla="*/ 273 w 276"/>
              <a:gd name="T33" fmla="*/ 110 h 275"/>
              <a:gd name="T34" fmla="*/ 272 w 276"/>
              <a:gd name="T35" fmla="*/ 143 h 275"/>
              <a:gd name="T36" fmla="*/ 259 w 276"/>
              <a:gd name="T37" fmla="*/ 180 h 275"/>
              <a:gd name="T38" fmla="*/ 233 w 276"/>
              <a:gd name="T39" fmla="*/ 199 h 275"/>
              <a:gd name="T40" fmla="*/ 225 w 276"/>
              <a:gd name="T41" fmla="*/ 231 h 275"/>
              <a:gd name="T42" fmla="*/ 207 w 276"/>
              <a:gd name="T43" fmla="*/ 258 h 275"/>
              <a:gd name="T44" fmla="*/ 176 w 276"/>
              <a:gd name="T45" fmla="*/ 260 h 275"/>
              <a:gd name="T46" fmla="*/ 145 w 276"/>
              <a:gd name="T47" fmla="*/ 250 h 275"/>
              <a:gd name="T48" fmla="*/ 116 w 276"/>
              <a:gd name="T49" fmla="*/ 273 h 275"/>
              <a:gd name="T50" fmla="*/ 80 w 276"/>
              <a:gd name="T51" fmla="*/ 263 h 275"/>
              <a:gd name="T52" fmla="*/ 79 w 276"/>
              <a:gd name="T53" fmla="*/ 258 h 275"/>
              <a:gd name="T54" fmla="*/ 108 w 276"/>
              <a:gd name="T55" fmla="*/ 243 h 275"/>
              <a:gd name="T56" fmla="*/ 130 w 276"/>
              <a:gd name="T57" fmla="*/ 264 h 275"/>
              <a:gd name="T58" fmla="*/ 166 w 276"/>
              <a:gd name="T59" fmla="*/ 269 h 275"/>
              <a:gd name="T60" fmla="*/ 184 w 276"/>
              <a:gd name="T61" fmla="*/ 241 h 275"/>
              <a:gd name="T62" fmla="*/ 208 w 276"/>
              <a:gd name="T63" fmla="*/ 244 h 275"/>
              <a:gd name="T64" fmla="*/ 228 w 276"/>
              <a:gd name="T65" fmla="*/ 229 h 275"/>
              <a:gd name="T66" fmla="*/ 231 w 276"/>
              <a:gd name="T67" fmla="*/ 196 h 275"/>
              <a:gd name="T68" fmla="*/ 243 w 276"/>
              <a:gd name="T69" fmla="*/ 166 h 275"/>
              <a:gd name="T70" fmla="*/ 270 w 276"/>
              <a:gd name="T71" fmla="*/ 146 h 275"/>
              <a:gd name="T72" fmla="*/ 264 w 276"/>
              <a:gd name="T73" fmla="*/ 120 h 275"/>
              <a:gd name="T74" fmla="*/ 242 w 276"/>
              <a:gd name="T75" fmla="*/ 101 h 275"/>
              <a:gd name="T76" fmla="*/ 255 w 276"/>
              <a:gd name="T77" fmla="*/ 72 h 275"/>
              <a:gd name="T78" fmla="*/ 230 w 276"/>
              <a:gd name="T79" fmla="*/ 50 h 275"/>
              <a:gd name="T80" fmla="*/ 199 w 276"/>
              <a:gd name="T81" fmla="*/ 47 h 275"/>
              <a:gd name="T82" fmla="*/ 195 w 276"/>
              <a:gd name="T83" fmla="*/ 16 h 275"/>
              <a:gd name="T84" fmla="*/ 160 w 276"/>
              <a:gd name="T85" fmla="*/ 5 h 275"/>
              <a:gd name="T86" fmla="*/ 133 w 276"/>
              <a:gd name="T87" fmla="*/ 29 h 275"/>
              <a:gd name="T88" fmla="*/ 114 w 276"/>
              <a:gd name="T89" fmla="*/ 6 h 275"/>
              <a:gd name="T90" fmla="*/ 98 w 276"/>
              <a:gd name="T91" fmla="*/ 36 h 275"/>
              <a:gd name="T92" fmla="*/ 69 w 276"/>
              <a:gd name="T93" fmla="*/ 22 h 275"/>
              <a:gd name="T94" fmla="*/ 48 w 276"/>
              <a:gd name="T95" fmla="*/ 47 h 275"/>
              <a:gd name="T96" fmla="*/ 46 w 276"/>
              <a:gd name="T97" fmla="*/ 78 h 275"/>
              <a:gd name="T98" fmla="*/ 19 w 276"/>
              <a:gd name="T99" fmla="*/ 93 h 275"/>
              <a:gd name="T100" fmla="*/ 4 w 276"/>
              <a:gd name="T101" fmla="*/ 124 h 275"/>
              <a:gd name="T102" fmla="*/ 29 w 276"/>
              <a:gd name="T103" fmla="*/ 143 h 275"/>
              <a:gd name="T104" fmla="*/ 15 w 276"/>
              <a:gd name="T105" fmla="*/ 171 h 275"/>
              <a:gd name="T106" fmla="*/ 22 w 276"/>
              <a:gd name="T107" fmla="*/ 205 h 275"/>
              <a:gd name="T108" fmla="*/ 47 w 276"/>
              <a:gd name="T109" fmla="*/ 226 h 275"/>
              <a:gd name="T110" fmla="*/ 76 w 276"/>
              <a:gd name="T111" fmla="*/ 228 h 275"/>
              <a:gd name="T112" fmla="*/ 119 w 276"/>
              <a:gd name="T113" fmla="*/ 49 h 275"/>
              <a:gd name="T114" fmla="*/ 90 w 276"/>
              <a:gd name="T115" fmla="*/ 214 h 275"/>
              <a:gd name="T116" fmla="*/ 92 w 276"/>
              <a:gd name="T117" fmla="*/ 21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6" h="275">
                <a:moveTo>
                  <a:pt x="77" y="262"/>
                </a:moveTo>
                <a:cubicBezTo>
                  <a:pt x="73" y="259"/>
                  <a:pt x="73" y="255"/>
                  <a:pt x="74" y="249"/>
                </a:cubicBezTo>
                <a:cubicBezTo>
                  <a:pt x="76" y="242"/>
                  <a:pt x="76" y="235"/>
                  <a:pt x="75" y="231"/>
                </a:cubicBezTo>
                <a:cubicBezTo>
                  <a:pt x="71" y="232"/>
                  <a:pt x="65" y="235"/>
                  <a:pt x="60" y="239"/>
                </a:cubicBezTo>
                <a:cubicBezTo>
                  <a:pt x="55" y="243"/>
                  <a:pt x="51" y="244"/>
                  <a:pt x="48" y="242"/>
                </a:cubicBezTo>
                <a:cubicBezTo>
                  <a:pt x="47" y="241"/>
                  <a:pt x="46" y="240"/>
                  <a:pt x="45" y="240"/>
                </a:cubicBezTo>
                <a:cubicBezTo>
                  <a:pt x="44" y="239"/>
                  <a:pt x="44" y="239"/>
                  <a:pt x="44" y="239"/>
                </a:cubicBezTo>
                <a:cubicBezTo>
                  <a:pt x="41" y="236"/>
                  <a:pt x="38" y="232"/>
                  <a:pt x="43" y="224"/>
                </a:cubicBezTo>
                <a:cubicBezTo>
                  <a:pt x="47" y="218"/>
                  <a:pt x="50" y="211"/>
                  <a:pt x="49" y="208"/>
                </a:cubicBezTo>
                <a:cubicBezTo>
                  <a:pt x="45" y="207"/>
                  <a:pt x="39" y="208"/>
                  <a:pt x="33" y="210"/>
                </a:cubicBezTo>
                <a:cubicBezTo>
                  <a:pt x="28" y="212"/>
                  <a:pt x="25" y="213"/>
                  <a:pt x="22" y="211"/>
                </a:cubicBezTo>
                <a:cubicBezTo>
                  <a:pt x="20" y="210"/>
                  <a:pt x="19" y="208"/>
                  <a:pt x="18" y="206"/>
                </a:cubicBezTo>
                <a:cubicBezTo>
                  <a:pt x="18" y="206"/>
                  <a:pt x="18" y="206"/>
                  <a:pt x="18" y="206"/>
                </a:cubicBezTo>
                <a:cubicBezTo>
                  <a:pt x="15" y="202"/>
                  <a:pt x="14" y="197"/>
                  <a:pt x="22" y="191"/>
                </a:cubicBezTo>
                <a:cubicBezTo>
                  <a:pt x="27" y="186"/>
                  <a:pt x="31" y="180"/>
                  <a:pt x="32" y="177"/>
                </a:cubicBezTo>
                <a:cubicBezTo>
                  <a:pt x="29" y="175"/>
                  <a:pt x="22" y="174"/>
                  <a:pt x="16" y="175"/>
                </a:cubicBezTo>
                <a:cubicBezTo>
                  <a:pt x="12" y="175"/>
                  <a:pt x="9" y="175"/>
                  <a:pt x="7" y="173"/>
                </a:cubicBezTo>
                <a:cubicBezTo>
                  <a:pt x="4" y="172"/>
                  <a:pt x="3" y="169"/>
                  <a:pt x="3" y="167"/>
                </a:cubicBezTo>
                <a:cubicBezTo>
                  <a:pt x="3" y="165"/>
                  <a:pt x="3" y="165"/>
                  <a:pt x="3" y="165"/>
                </a:cubicBezTo>
                <a:cubicBezTo>
                  <a:pt x="2" y="161"/>
                  <a:pt x="1" y="156"/>
                  <a:pt x="11" y="153"/>
                </a:cubicBezTo>
                <a:cubicBezTo>
                  <a:pt x="17" y="150"/>
                  <a:pt x="23" y="146"/>
                  <a:pt x="25" y="143"/>
                </a:cubicBezTo>
                <a:cubicBezTo>
                  <a:pt x="22" y="140"/>
                  <a:pt x="16" y="137"/>
                  <a:pt x="10" y="135"/>
                </a:cubicBezTo>
                <a:cubicBezTo>
                  <a:pt x="8" y="135"/>
                  <a:pt x="6" y="134"/>
                  <a:pt x="4" y="133"/>
                </a:cubicBezTo>
                <a:cubicBezTo>
                  <a:pt x="0" y="130"/>
                  <a:pt x="0" y="126"/>
                  <a:pt x="1" y="124"/>
                </a:cubicBezTo>
                <a:cubicBezTo>
                  <a:pt x="1" y="123"/>
                  <a:pt x="1" y="123"/>
                  <a:pt x="1" y="123"/>
                </a:cubicBezTo>
                <a:cubicBezTo>
                  <a:pt x="1" y="118"/>
                  <a:pt x="2" y="113"/>
                  <a:pt x="12" y="113"/>
                </a:cubicBezTo>
                <a:cubicBezTo>
                  <a:pt x="19" y="113"/>
                  <a:pt x="26" y="110"/>
                  <a:pt x="29" y="108"/>
                </a:cubicBezTo>
                <a:cubicBezTo>
                  <a:pt x="27" y="105"/>
                  <a:pt x="22" y="100"/>
                  <a:pt x="17" y="97"/>
                </a:cubicBezTo>
                <a:cubicBezTo>
                  <a:pt x="17" y="96"/>
                  <a:pt x="17" y="96"/>
                  <a:pt x="17" y="96"/>
                </a:cubicBezTo>
                <a:cubicBezTo>
                  <a:pt x="16" y="96"/>
                  <a:pt x="16" y="96"/>
                  <a:pt x="16" y="96"/>
                </a:cubicBezTo>
                <a:cubicBezTo>
                  <a:pt x="8" y="91"/>
                  <a:pt x="10" y="86"/>
                  <a:pt x="11" y="82"/>
                </a:cubicBezTo>
                <a:cubicBezTo>
                  <a:pt x="12" y="81"/>
                  <a:pt x="12" y="81"/>
                  <a:pt x="12" y="81"/>
                </a:cubicBezTo>
                <a:cubicBezTo>
                  <a:pt x="14" y="77"/>
                  <a:pt x="16" y="73"/>
                  <a:pt x="26" y="76"/>
                </a:cubicBezTo>
                <a:cubicBezTo>
                  <a:pt x="33" y="77"/>
                  <a:pt x="40" y="77"/>
                  <a:pt x="43" y="76"/>
                </a:cubicBezTo>
                <a:cubicBezTo>
                  <a:pt x="43" y="72"/>
                  <a:pt x="40" y="66"/>
                  <a:pt x="35" y="61"/>
                </a:cubicBezTo>
                <a:cubicBezTo>
                  <a:pt x="29" y="54"/>
                  <a:pt x="31" y="50"/>
                  <a:pt x="34" y="46"/>
                </a:cubicBezTo>
                <a:cubicBezTo>
                  <a:pt x="35" y="45"/>
                  <a:pt x="35" y="45"/>
                  <a:pt x="35" y="45"/>
                </a:cubicBezTo>
                <a:cubicBezTo>
                  <a:pt x="37" y="43"/>
                  <a:pt x="41" y="38"/>
                  <a:pt x="50" y="44"/>
                </a:cubicBezTo>
                <a:cubicBezTo>
                  <a:pt x="50" y="44"/>
                  <a:pt x="50" y="44"/>
                  <a:pt x="50" y="44"/>
                </a:cubicBezTo>
                <a:cubicBezTo>
                  <a:pt x="56" y="48"/>
                  <a:pt x="63" y="50"/>
                  <a:pt x="67" y="50"/>
                </a:cubicBezTo>
                <a:cubicBezTo>
                  <a:pt x="67" y="46"/>
                  <a:pt x="66" y="40"/>
                  <a:pt x="64" y="34"/>
                </a:cubicBezTo>
                <a:cubicBezTo>
                  <a:pt x="60" y="25"/>
                  <a:pt x="63" y="21"/>
                  <a:pt x="67" y="19"/>
                </a:cubicBezTo>
                <a:cubicBezTo>
                  <a:pt x="68" y="18"/>
                  <a:pt x="68" y="18"/>
                  <a:pt x="68" y="18"/>
                </a:cubicBezTo>
                <a:cubicBezTo>
                  <a:pt x="71" y="17"/>
                  <a:pt x="74" y="15"/>
                  <a:pt x="78" y="18"/>
                </a:cubicBezTo>
                <a:cubicBezTo>
                  <a:pt x="80" y="19"/>
                  <a:pt x="81" y="20"/>
                  <a:pt x="83" y="22"/>
                </a:cubicBezTo>
                <a:cubicBezTo>
                  <a:pt x="87" y="27"/>
                  <a:pt x="94" y="32"/>
                  <a:pt x="97" y="32"/>
                </a:cubicBezTo>
                <a:cubicBezTo>
                  <a:pt x="99" y="29"/>
                  <a:pt x="100" y="22"/>
                  <a:pt x="99" y="16"/>
                </a:cubicBezTo>
                <a:cubicBezTo>
                  <a:pt x="98" y="6"/>
                  <a:pt x="102" y="4"/>
                  <a:pt x="107" y="3"/>
                </a:cubicBezTo>
                <a:cubicBezTo>
                  <a:pt x="108" y="3"/>
                  <a:pt x="108" y="3"/>
                  <a:pt x="108" y="3"/>
                </a:cubicBezTo>
                <a:cubicBezTo>
                  <a:pt x="110" y="2"/>
                  <a:pt x="113" y="1"/>
                  <a:pt x="116" y="3"/>
                </a:cubicBezTo>
                <a:cubicBezTo>
                  <a:pt x="118" y="5"/>
                  <a:pt x="120" y="7"/>
                  <a:pt x="121" y="11"/>
                </a:cubicBezTo>
                <a:cubicBezTo>
                  <a:pt x="123" y="17"/>
                  <a:pt x="128" y="22"/>
                  <a:pt x="131" y="24"/>
                </a:cubicBezTo>
                <a:cubicBezTo>
                  <a:pt x="132" y="25"/>
                  <a:pt x="132" y="25"/>
                  <a:pt x="132" y="25"/>
                </a:cubicBezTo>
                <a:cubicBezTo>
                  <a:pt x="133" y="25"/>
                  <a:pt x="133" y="25"/>
                  <a:pt x="133" y="25"/>
                </a:cubicBezTo>
                <a:cubicBezTo>
                  <a:pt x="133" y="25"/>
                  <a:pt x="133" y="25"/>
                  <a:pt x="133" y="25"/>
                </a:cubicBezTo>
                <a:cubicBezTo>
                  <a:pt x="133" y="25"/>
                  <a:pt x="133" y="25"/>
                  <a:pt x="133" y="25"/>
                </a:cubicBezTo>
                <a:cubicBezTo>
                  <a:pt x="133" y="25"/>
                  <a:pt x="133" y="25"/>
                  <a:pt x="133" y="25"/>
                </a:cubicBezTo>
                <a:cubicBezTo>
                  <a:pt x="133" y="25"/>
                  <a:pt x="133" y="25"/>
                  <a:pt x="133" y="25"/>
                </a:cubicBezTo>
                <a:cubicBezTo>
                  <a:pt x="136" y="25"/>
                  <a:pt x="141" y="18"/>
                  <a:pt x="143" y="10"/>
                </a:cubicBezTo>
                <a:cubicBezTo>
                  <a:pt x="146" y="0"/>
                  <a:pt x="151" y="0"/>
                  <a:pt x="155" y="1"/>
                </a:cubicBezTo>
                <a:cubicBezTo>
                  <a:pt x="157" y="1"/>
                  <a:pt x="157" y="1"/>
                  <a:pt x="157" y="1"/>
                </a:cubicBezTo>
                <a:cubicBezTo>
                  <a:pt x="158" y="1"/>
                  <a:pt x="160" y="1"/>
                  <a:pt x="162" y="2"/>
                </a:cubicBezTo>
                <a:cubicBezTo>
                  <a:pt x="164" y="4"/>
                  <a:pt x="166" y="7"/>
                  <a:pt x="166" y="13"/>
                </a:cubicBezTo>
                <a:cubicBezTo>
                  <a:pt x="166" y="19"/>
                  <a:pt x="167" y="26"/>
                  <a:pt x="169" y="29"/>
                </a:cubicBezTo>
                <a:cubicBezTo>
                  <a:pt x="173" y="28"/>
                  <a:pt x="178" y="23"/>
                  <a:pt x="182" y="17"/>
                </a:cubicBezTo>
                <a:cubicBezTo>
                  <a:pt x="188" y="9"/>
                  <a:pt x="192" y="10"/>
                  <a:pt x="197" y="12"/>
                </a:cubicBezTo>
                <a:cubicBezTo>
                  <a:pt x="198" y="13"/>
                  <a:pt x="198" y="13"/>
                  <a:pt x="198" y="13"/>
                </a:cubicBezTo>
                <a:cubicBezTo>
                  <a:pt x="198" y="13"/>
                  <a:pt x="199" y="14"/>
                  <a:pt x="200" y="14"/>
                </a:cubicBezTo>
                <a:cubicBezTo>
                  <a:pt x="204" y="17"/>
                  <a:pt x="205" y="21"/>
                  <a:pt x="202" y="27"/>
                </a:cubicBezTo>
                <a:cubicBezTo>
                  <a:pt x="201" y="33"/>
                  <a:pt x="200" y="40"/>
                  <a:pt x="201" y="44"/>
                </a:cubicBezTo>
                <a:cubicBezTo>
                  <a:pt x="205" y="44"/>
                  <a:pt x="211" y="41"/>
                  <a:pt x="217" y="37"/>
                </a:cubicBezTo>
                <a:cubicBezTo>
                  <a:pt x="222" y="33"/>
                  <a:pt x="226" y="32"/>
                  <a:pt x="229" y="34"/>
                </a:cubicBezTo>
                <a:cubicBezTo>
                  <a:pt x="230" y="35"/>
                  <a:pt x="231" y="36"/>
                  <a:pt x="232" y="36"/>
                </a:cubicBezTo>
                <a:cubicBezTo>
                  <a:pt x="233" y="37"/>
                  <a:pt x="233" y="37"/>
                  <a:pt x="233" y="37"/>
                </a:cubicBezTo>
                <a:cubicBezTo>
                  <a:pt x="236" y="40"/>
                  <a:pt x="239" y="44"/>
                  <a:pt x="233" y="52"/>
                </a:cubicBezTo>
                <a:cubicBezTo>
                  <a:pt x="230" y="57"/>
                  <a:pt x="227" y="64"/>
                  <a:pt x="227" y="67"/>
                </a:cubicBezTo>
                <a:cubicBezTo>
                  <a:pt x="230" y="69"/>
                  <a:pt x="238" y="68"/>
                  <a:pt x="244" y="66"/>
                </a:cubicBezTo>
                <a:cubicBezTo>
                  <a:pt x="249" y="64"/>
                  <a:pt x="252" y="64"/>
                  <a:pt x="255" y="65"/>
                </a:cubicBezTo>
                <a:cubicBezTo>
                  <a:pt x="257" y="66"/>
                  <a:pt x="258" y="68"/>
                  <a:pt x="259" y="70"/>
                </a:cubicBezTo>
                <a:cubicBezTo>
                  <a:pt x="259" y="71"/>
                  <a:pt x="259" y="71"/>
                  <a:pt x="259" y="71"/>
                </a:cubicBezTo>
                <a:cubicBezTo>
                  <a:pt x="261" y="75"/>
                  <a:pt x="263" y="80"/>
                  <a:pt x="255" y="85"/>
                </a:cubicBezTo>
                <a:cubicBezTo>
                  <a:pt x="250" y="89"/>
                  <a:pt x="245" y="94"/>
                  <a:pt x="244" y="98"/>
                </a:cubicBezTo>
                <a:cubicBezTo>
                  <a:pt x="247" y="100"/>
                  <a:pt x="254" y="102"/>
                  <a:pt x="261" y="101"/>
                </a:cubicBezTo>
                <a:cubicBezTo>
                  <a:pt x="265" y="101"/>
                  <a:pt x="268" y="102"/>
                  <a:pt x="270" y="103"/>
                </a:cubicBezTo>
                <a:cubicBezTo>
                  <a:pt x="273" y="105"/>
                  <a:pt x="273" y="108"/>
                  <a:pt x="273" y="110"/>
                </a:cubicBezTo>
                <a:cubicBezTo>
                  <a:pt x="274" y="111"/>
                  <a:pt x="274" y="111"/>
                  <a:pt x="274" y="111"/>
                </a:cubicBezTo>
                <a:cubicBezTo>
                  <a:pt x="275" y="116"/>
                  <a:pt x="275" y="121"/>
                  <a:pt x="265" y="124"/>
                </a:cubicBezTo>
                <a:cubicBezTo>
                  <a:pt x="259" y="126"/>
                  <a:pt x="253" y="129"/>
                  <a:pt x="251" y="132"/>
                </a:cubicBezTo>
                <a:cubicBezTo>
                  <a:pt x="253" y="135"/>
                  <a:pt x="260" y="139"/>
                  <a:pt x="266" y="141"/>
                </a:cubicBezTo>
                <a:cubicBezTo>
                  <a:pt x="269" y="141"/>
                  <a:pt x="270" y="142"/>
                  <a:pt x="272" y="143"/>
                </a:cubicBezTo>
                <a:cubicBezTo>
                  <a:pt x="276" y="146"/>
                  <a:pt x="276" y="150"/>
                  <a:pt x="275" y="153"/>
                </a:cubicBezTo>
                <a:cubicBezTo>
                  <a:pt x="275" y="154"/>
                  <a:pt x="275" y="154"/>
                  <a:pt x="275" y="154"/>
                </a:cubicBezTo>
                <a:cubicBezTo>
                  <a:pt x="275" y="159"/>
                  <a:pt x="273" y="163"/>
                  <a:pt x="263" y="163"/>
                </a:cubicBezTo>
                <a:cubicBezTo>
                  <a:pt x="257" y="163"/>
                  <a:pt x="250" y="165"/>
                  <a:pt x="247" y="167"/>
                </a:cubicBezTo>
                <a:cubicBezTo>
                  <a:pt x="248" y="170"/>
                  <a:pt x="253" y="176"/>
                  <a:pt x="259" y="180"/>
                </a:cubicBezTo>
                <a:cubicBezTo>
                  <a:pt x="259" y="180"/>
                  <a:pt x="259" y="180"/>
                  <a:pt x="259" y="180"/>
                </a:cubicBezTo>
                <a:cubicBezTo>
                  <a:pt x="268" y="185"/>
                  <a:pt x="266" y="190"/>
                  <a:pt x="264" y="194"/>
                </a:cubicBezTo>
                <a:cubicBezTo>
                  <a:pt x="264" y="195"/>
                  <a:pt x="264" y="195"/>
                  <a:pt x="264" y="195"/>
                </a:cubicBezTo>
                <a:cubicBezTo>
                  <a:pt x="262" y="199"/>
                  <a:pt x="259" y="203"/>
                  <a:pt x="249" y="200"/>
                </a:cubicBezTo>
                <a:cubicBezTo>
                  <a:pt x="243" y="199"/>
                  <a:pt x="237" y="198"/>
                  <a:pt x="233" y="199"/>
                </a:cubicBezTo>
                <a:cubicBezTo>
                  <a:pt x="233" y="203"/>
                  <a:pt x="236" y="209"/>
                  <a:pt x="240" y="215"/>
                </a:cubicBezTo>
                <a:cubicBezTo>
                  <a:pt x="247" y="223"/>
                  <a:pt x="244" y="227"/>
                  <a:pt x="241" y="230"/>
                </a:cubicBezTo>
                <a:cubicBezTo>
                  <a:pt x="240" y="231"/>
                  <a:pt x="240" y="231"/>
                  <a:pt x="240" y="231"/>
                </a:cubicBezTo>
                <a:cubicBezTo>
                  <a:pt x="238" y="233"/>
                  <a:pt x="234" y="237"/>
                  <a:pt x="226" y="232"/>
                </a:cubicBezTo>
                <a:cubicBezTo>
                  <a:pt x="226" y="232"/>
                  <a:pt x="225" y="232"/>
                  <a:pt x="225" y="231"/>
                </a:cubicBezTo>
                <a:cubicBezTo>
                  <a:pt x="224" y="231"/>
                  <a:pt x="224" y="231"/>
                  <a:pt x="224" y="231"/>
                </a:cubicBezTo>
                <a:cubicBezTo>
                  <a:pt x="219" y="228"/>
                  <a:pt x="213" y="225"/>
                  <a:pt x="210" y="225"/>
                </a:cubicBezTo>
                <a:cubicBezTo>
                  <a:pt x="209" y="228"/>
                  <a:pt x="209" y="236"/>
                  <a:pt x="212" y="242"/>
                </a:cubicBezTo>
                <a:cubicBezTo>
                  <a:pt x="216" y="252"/>
                  <a:pt x="212" y="255"/>
                  <a:pt x="208" y="257"/>
                </a:cubicBezTo>
                <a:cubicBezTo>
                  <a:pt x="207" y="258"/>
                  <a:pt x="207" y="258"/>
                  <a:pt x="207" y="258"/>
                </a:cubicBezTo>
                <a:cubicBezTo>
                  <a:pt x="205" y="259"/>
                  <a:pt x="201" y="261"/>
                  <a:pt x="197" y="258"/>
                </a:cubicBezTo>
                <a:cubicBezTo>
                  <a:pt x="195" y="257"/>
                  <a:pt x="194" y="256"/>
                  <a:pt x="192" y="253"/>
                </a:cubicBezTo>
                <a:cubicBezTo>
                  <a:pt x="189" y="250"/>
                  <a:pt x="186" y="246"/>
                  <a:pt x="182" y="244"/>
                </a:cubicBezTo>
                <a:cubicBezTo>
                  <a:pt x="181" y="244"/>
                  <a:pt x="180" y="243"/>
                  <a:pt x="180" y="243"/>
                </a:cubicBezTo>
                <a:cubicBezTo>
                  <a:pt x="177" y="246"/>
                  <a:pt x="176" y="253"/>
                  <a:pt x="176" y="260"/>
                </a:cubicBezTo>
                <a:cubicBezTo>
                  <a:pt x="177" y="270"/>
                  <a:pt x="173" y="272"/>
                  <a:pt x="168" y="273"/>
                </a:cubicBezTo>
                <a:cubicBezTo>
                  <a:pt x="167" y="273"/>
                  <a:pt x="167" y="273"/>
                  <a:pt x="167" y="273"/>
                </a:cubicBezTo>
                <a:cubicBezTo>
                  <a:pt x="165" y="273"/>
                  <a:pt x="162" y="274"/>
                  <a:pt x="159" y="272"/>
                </a:cubicBezTo>
                <a:cubicBezTo>
                  <a:pt x="157" y="271"/>
                  <a:pt x="155" y="268"/>
                  <a:pt x="154" y="264"/>
                </a:cubicBezTo>
                <a:cubicBezTo>
                  <a:pt x="152" y="258"/>
                  <a:pt x="148" y="252"/>
                  <a:pt x="145" y="250"/>
                </a:cubicBezTo>
                <a:cubicBezTo>
                  <a:pt x="144" y="250"/>
                  <a:pt x="144" y="249"/>
                  <a:pt x="143" y="249"/>
                </a:cubicBezTo>
                <a:cubicBezTo>
                  <a:pt x="141" y="249"/>
                  <a:pt x="136" y="256"/>
                  <a:pt x="134" y="265"/>
                </a:cubicBezTo>
                <a:cubicBezTo>
                  <a:pt x="132" y="275"/>
                  <a:pt x="127" y="275"/>
                  <a:pt x="122" y="275"/>
                </a:cubicBezTo>
                <a:cubicBezTo>
                  <a:pt x="121" y="275"/>
                  <a:pt x="121" y="275"/>
                  <a:pt x="121" y="275"/>
                </a:cubicBezTo>
                <a:cubicBezTo>
                  <a:pt x="119" y="275"/>
                  <a:pt x="117" y="274"/>
                  <a:pt x="116" y="273"/>
                </a:cubicBezTo>
                <a:cubicBezTo>
                  <a:pt x="113" y="272"/>
                  <a:pt x="112" y="268"/>
                  <a:pt x="112" y="263"/>
                </a:cubicBezTo>
                <a:cubicBezTo>
                  <a:pt x="111" y="256"/>
                  <a:pt x="109" y="249"/>
                  <a:pt x="107" y="246"/>
                </a:cubicBezTo>
                <a:cubicBezTo>
                  <a:pt x="103" y="248"/>
                  <a:pt x="98" y="253"/>
                  <a:pt x="95" y="258"/>
                </a:cubicBezTo>
                <a:cubicBezTo>
                  <a:pt x="90" y="267"/>
                  <a:pt x="85" y="265"/>
                  <a:pt x="81" y="263"/>
                </a:cubicBezTo>
                <a:cubicBezTo>
                  <a:pt x="80" y="263"/>
                  <a:pt x="80" y="263"/>
                  <a:pt x="80" y="263"/>
                </a:cubicBezTo>
                <a:cubicBezTo>
                  <a:pt x="79" y="263"/>
                  <a:pt x="78" y="262"/>
                  <a:pt x="77" y="262"/>
                </a:cubicBezTo>
                <a:close/>
                <a:moveTo>
                  <a:pt x="77" y="228"/>
                </a:moveTo>
                <a:cubicBezTo>
                  <a:pt x="77" y="228"/>
                  <a:pt x="77" y="228"/>
                  <a:pt x="77" y="228"/>
                </a:cubicBezTo>
                <a:cubicBezTo>
                  <a:pt x="80" y="232"/>
                  <a:pt x="80" y="242"/>
                  <a:pt x="78" y="250"/>
                </a:cubicBezTo>
                <a:cubicBezTo>
                  <a:pt x="76" y="256"/>
                  <a:pt x="78" y="258"/>
                  <a:pt x="79" y="258"/>
                </a:cubicBezTo>
                <a:cubicBezTo>
                  <a:pt x="80" y="259"/>
                  <a:pt x="81" y="259"/>
                  <a:pt x="81" y="259"/>
                </a:cubicBezTo>
                <a:cubicBezTo>
                  <a:pt x="82" y="260"/>
                  <a:pt x="82" y="260"/>
                  <a:pt x="82" y="260"/>
                </a:cubicBezTo>
                <a:cubicBezTo>
                  <a:pt x="85" y="261"/>
                  <a:pt x="88" y="262"/>
                  <a:pt x="92" y="256"/>
                </a:cubicBezTo>
                <a:cubicBezTo>
                  <a:pt x="95" y="250"/>
                  <a:pt x="101" y="244"/>
                  <a:pt x="106" y="242"/>
                </a:cubicBezTo>
                <a:cubicBezTo>
                  <a:pt x="107" y="242"/>
                  <a:pt x="108" y="242"/>
                  <a:pt x="108" y="243"/>
                </a:cubicBezTo>
                <a:cubicBezTo>
                  <a:pt x="112" y="245"/>
                  <a:pt x="115" y="255"/>
                  <a:pt x="115" y="263"/>
                </a:cubicBezTo>
                <a:cubicBezTo>
                  <a:pt x="115" y="267"/>
                  <a:pt x="116" y="269"/>
                  <a:pt x="118" y="270"/>
                </a:cubicBezTo>
                <a:cubicBezTo>
                  <a:pt x="119" y="271"/>
                  <a:pt x="120" y="271"/>
                  <a:pt x="121" y="271"/>
                </a:cubicBezTo>
                <a:cubicBezTo>
                  <a:pt x="123" y="271"/>
                  <a:pt x="123" y="271"/>
                  <a:pt x="123" y="271"/>
                </a:cubicBezTo>
                <a:cubicBezTo>
                  <a:pt x="126" y="272"/>
                  <a:pt x="128" y="272"/>
                  <a:pt x="130" y="264"/>
                </a:cubicBezTo>
                <a:cubicBezTo>
                  <a:pt x="132" y="257"/>
                  <a:pt x="138" y="245"/>
                  <a:pt x="144" y="246"/>
                </a:cubicBezTo>
                <a:cubicBezTo>
                  <a:pt x="145" y="246"/>
                  <a:pt x="146" y="246"/>
                  <a:pt x="147" y="247"/>
                </a:cubicBezTo>
                <a:cubicBezTo>
                  <a:pt x="151" y="250"/>
                  <a:pt x="156" y="257"/>
                  <a:pt x="158" y="263"/>
                </a:cubicBezTo>
                <a:cubicBezTo>
                  <a:pt x="159" y="266"/>
                  <a:pt x="160" y="268"/>
                  <a:pt x="161" y="269"/>
                </a:cubicBezTo>
                <a:cubicBezTo>
                  <a:pt x="163" y="270"/>
                  <a:pt x="164" y="269"/>
                  <a:pt x="166" y="269"/>
                </a:cubicBezTo>
                <a:cubicBezTo>
                  <a:pt x="167" y="269"/>
                  <a:pt x="167" y="269"/>
                  <a:pt x="167" y="269"/>
                </a:cubicBezTo>
                <a:cubicBezTo>
                  <a:pt x="171" y="268"/>
                  <a:pt x="173" y="268"/>
                  <a:pt x="172" y="260"/>
                </a:cubicBezTo>
                <a:cubicBezTo>
                  <a:pt x="172" y="252"/>
                  <a:pt x="174" y="242"/>
                  <a:pt x="178" y="239"/>
                </a:cubicBezTo>
                <a:cubicBezTo>
                  <a:pt x="178" y="239"/>
                  <a:pt x="179" y="239"/>
                  <a:pt x="179" y="239"/>
                </a:cubicBezTo>
                <a:cubicBezTo>
                  <a:pt x="181" y="239"/>
                  <a:pt x="183" y="240"/>
                  <a:pt x="184" y="241"/>
                </a:cubicBezTo>
                <a:cubicBezTo>
                  <a:pt x="188" y="243"/>
                  <a:pt x="192" y="247"/>
                  <a:pt x="195" y="251"/>
                </a:cubicBezTo>
                <a:cubicBezTo>
                  <a:pt x="197" y="253"/>
                  <a:pt x="198" y="254"/>
                  <a:pt x="199" y="255"/>
                </a:cubicBezTo>
                <a:cubicBezTo>
                  <a:pt x="201" y="256"/>
                  <a:pt x="203" y="256"/>
                  <a:pt x="205" y="254"/>
                </a:cubicBezTo>
                <a:cubicBezTo>
                  <a:pt x="206" y="254"/>
                  <a:pt x="206" y="254"/>
                  <a:pt x="206" y="254"/>
                </a:cubicBezTo>
                <a:cubicBezTo>
                  <a:pt x="209" y="252"/>
                  <a:pt x="211" y="251"/>
                  <a:pt x="208" y="244"/>
                </a:cubicBezTo>
                <a:cubicBezTo>
                  <a:pt x="206" y="236"/>
                  <a:pt x="204" y="227"/>
                  <a:pt x="207" y="222"/>
                </a:cubicBezTo>
                <a:cubicBezTo>
                  <a:pt x="207" y="222"/>
                  <a:pt x="208" y="221"/>
                  <a:pt x="208" y="221"/>
                </a:cubicBezTo>
                <a:cubicBezTo>
                  <a:pt x="213" y="221"/>
                  <a:pt x="221" y="224"/>
                  <a:pt x="226" y="228"/>
                </a:cubicBezTo>
                <a:cubicBezTo>
                  <a:pt x="227" y="228"/>
                  <a:pt x="227" y="228"/>
                  <a:pt x="227" y="228"/>
                </a:cubicBezTo>
                <a:cubicBezTo>
                  <a:pt x="228" y="229"/>
                  <a:pt x="228" y="229"/>
                  <a:pt x="228" y="229"/>
                </a:cubicBezTo>
                <a:cubicBezTo>
                  <a:pt x="234" y="232"/>
                  <a:pt x="235" y="231"/>
                  <a:pt x="237" y="228"/>
                </a:cubicBezTo>
                <a:cubicBezTo>
                  <a:pt x="238" y="227"/>
                  <a:pt x="238" y="227"/>
                  <a:pt x="238" y="227"/>
                </a:cubicBezTo>
                <a:cubicBezTo>
                  <a:pt x="241" y="225"/>
                  <a:pt x="242" y="223"/>
                  <a:pt x="237" y="217"/>
                </a:cubicBezTo>
                <a:cubicBezTo>
                  <a:pt x="233" y="211"/>
                  <a:pt x="228" y="202"/>
                  <a:pt x="230" y="197"/>
                </a:cubicBezTo>
                <a:cubicBezTo>
                  <a:pt x="230" y="197"/>
                  <a:pt x="230" y="196"/>
                  <a:pt x="231" y="196"/>
                </a:cubicBezTo>
                <a:cubicBezTo>
                  <a:pt x="235" y="194"/>
                  <a:pt x="244" y="195"/>
                  <a:pt x="251" y="197"/>
                </a:cubicBezTo>
                <a:cubicBezTo>
                  <a:pt x="258" y="199"/>
                  <a:pt x="259" y="197"/>
                  <a:pt x="260" y="193"/>
                </a:cubicBezTo>
                <a:cubicBezTo>
                  <a:pt x="261" y="192"/>
                  <a:pt x="261" y="192"/>
                  <a:pt x="261" y="192"/>
                </a:cubicBezTo>
                <a:cubicBezTo>
                  <a:pt x="262" y="189"/>
                  <a:pt x="263" y="187"/>
                  <a:pt x="257" y="183"/>
                </a:cubicBezTo>
                <a:cubicBezTo>
                  <a:pt x="250" y="179"/>
                  <a:pt x="244" y="171"/>
                  <a:pt x="243" y="166"/>
                </a:cubicBezTo>
                <a:cubicBezTo>
                  <a:pt x="243" y="166"/>
                  <a:pt x="244" y="165"/>
                  <a:pt x="244" y="165"/>
                </a:cubicBezTo>
                <a:cubicBezTo>
                  <a:pt x="248" y="161"/>
                  <a:pt x="257" y="160"/>
                  <a:pt x="263" y="159"/>
                </a:cubicBezTo>
                <a:cubicBezTo>
                  <a:pt x="271" y="159"/>
                  <a:pt x="271" y="157"/>
                  <a:pt x="272" y="153"/>
                </a:cubicBezTo>
                <a:cubicBezTo>
                  <a:pt x="272" y="152"/>
                  <a:pt x="272" y="152"/>
                  <a:pt x="272" y="152"/>
                </a:cubicBezTo>
                <a:cubicBezTo>
                  <a:pt x="272" y="149"/>
                  <a:pt x="272" y="148"/>
                  <a:pt x="270" y="146"/>
                </a:cubicBezTo>
                <a:cubicBezTo>
                  <a:pt x="269" y="146"/>
                  <a:pt x="267" y="145"/>
                  <a:pt x="265" y="144"/>
                </a:cubicBezTo>
                <a:cubicBezTo>
                  <a:pt x="261" y="143"/>
                  <a:pt x="257" y="141"/>
                  <a:pt x="254" y="139"/>
                </a:cubicBezTo>
                <a:cubicBezTo>
                  <a:pt x="250" y="137"/>
                  <a:pt x="248" y="135"/>
                  <a:pt x="247" y="133"/>
                </a:cubicBezTo>
                <a:cubicBezTo>
                  <a:pt x="247" y="132"/>
                  <a:pt x="247" y="132"/>
                  <a:pt x="247" y="131"/>
                </a:cubicBezTo>
                <a:cubicBezTo>
                  <a:pt x="250" y="127"/>
                  <a:pt x="258" y="122"/>
                  <a:pt x="264" y="120"/>
                </a:cubicBezTo>
                <a:cubicBezTo>
                  <a:pt x="271" y="118"/>
                  <a:pt x="271" y="115"/>
                  <a:pt x="270" y="112"/>
                </a:cubicBezTo>
                <a:cubicBezTo>
                  <a:pt x="270" y="111"/>
                  <a:pt x="270" y="111"/>
                  <a:pt x="270" y="111"/>
                </a:cubicBezTo>
                <a:cubicBezTo>
                  <a:pt x="269" y="108"/>
                  <a:pt x="269" y="107"/>
                  <a:pt x="268" y="106"/>
                </a:cubicBezTo>
                <a:cubicBezTo>
                  <a:pt x="266" y="105"/>
                  <a:pt x="264" y="105"/>
                  <a:pt x="261" y="105"/>
                </a:cubicBezTo>
                <a:cubicBezTo>
                  <a:pt x="255" y="105"/>
                  <a:pt x="247" y="104"/>
                  <a:pt x="242" y="101"/>
                </a:cubicBezTo>
                <a:cubicBezTo>
                  <a:pt x="242" y="101"/>
                  <a:pt x="241" y="100"/>
                  <a:pt x="240" y="100"/>
                </a:cubicBezTo>
                <a:cubicBezTo>
                  <a:pt x="240" y="99"/>
                  <a:pt x="240" y="99"/>
                  <a:pt x="240" y="98"/>
                </a:cubicBezTo>
                <a:cubicBezTo>
                  <a:pt x="241" y="93"/>
                  <a:pt x="247" y="86"/>
                  <a:pt x="252" y="82"/>
                </a:cubicBezTo>
                <a:cubicBezTo>
                  <a:pt x="259" y="78"/>
                  <a:pt x="257" y="76"/>
                  <a:pt x="256" y="73"/>
                </a:cubicBezTo>
                <a:cubicBezTo>
                  <a:pt x="255" y="72"/>
                  <a:pt x="255" y="72"/>
                  <a:pt x="255" y="72"/>
                </a:cubicBezTo>
                <a:cubicBezTo>
                  <a:pt x="255" y="70"/>
                  <a:pt x="254" y="69"/>
                  <a:pt x="253" y="68"/>
                </a:cubicBezTo>
                <a:cubicBezTo>
                  <a:pt x="251" y="68"/>
                  <a:pt x="249" y="68"/>
                  <a:pt x="245" y="69"/>
                </a:cubicBezTo>
                <a:cubicBezTo>
                  <a:pt x="238" y="72"/>
                  <a:pt x="228" y="73"/>
                  <a:pt x="224" y="70"/>
                </a:cubicBezTo>
                <a:cubicBezTo>
                  <a:pt x="223" y="70"/>
                  <a:pt x="223" y="69"/>
                  <a:pt x="223" y="69"/>
                </a:cubicBezTo>
                <a:cubicBezTo>
                  <a:pt x="223" y="63"/>
                  <a:pt x="226" y="55"/>
                  <a:pt x="230" y="50"/>
                </a:cubicBezTo>
                <a:cubicBezTo>
                  <a:pt x="235" y="44"/>
                  <a:pt x="233" y="42"/>
                  <a:pt x="230" y="40"/>
                </a:cubicBezTo>
                <a:cubicBezTo>
                  <a:pt x="229" y="39"/>
                  <a:pt x="229" y="39"/>
                  <a:pt x="229" y="39"/>
                </a:cubicBezTo>
                <a:cubicBezTo>
                  <a:pt x="229" y="38"/>
                  <a:pt x="228" y="38"/>
                  <a:pt x="227" y="37"/>
                </a:cubicBezTo>
                <a:cubicBezTo>
                  <a:pt x="226" y="37"/>
                  <a:pt x="225" y="35"/>
                  <a:pt x="219" y="40"/>
                </a:cubicBezTo>
                <a:cubicBezTo>
                  <a:pt x="213" y="44"/>
                  <a:pt x="204" y="48"/>
                  <a:pt x="199" y="47"/>
                </a:cubicBezTo>
                <a:cubicBezTo>
                  <a:pt x="199" y="47"/>
                  <a:pt x="198" y="47"/>
                  <a:pt x="198" y="46"/>
                </a:cubicBezTo>
                <a:cubicBezTo>
                  <a:pt x="196" y="41"/>
                  <a:pt x="197" y="32"/>
                  <a:pt x="199" y="26"/>
                </a:cubicBezTo>
                <a:cubicBezTo>
                  <a:pt x="201" y="19"/>
                  <a:pt x="199" y="18"/>
                  <a:pt x="198" y="17"/>
                </a:cubicBezTo>
                <a:cubicBezTo>
                  <a:pt x="197" y="17"/>
                  <a:pt x="197" y="17"/>
                  <a:pt x="196" y="16"/>
                </a:cubicBezTo>
                <a:cubicBezTo>
                  <a:pt x="195" y="16"/>
                  <a:pt x="195" y="16"/>
                  <a:pt x="195" y="16"/>
                </a:cubicBezTo>
                <a:cubicBezTo>
                  <a:pt x="192" y="14"/>
                  <a:pt x="190" y="13"/>
                  <a:pt x="185" y="19"/>
                </a:cubicBezTo>
                <a:cubicBezTo>
                  <a:pt x="181" y="26"/>
                  <a:pt x="173" y="33"/>
                  <a:pt x="168" y="33"/>
                </a:cubicBezTo>
                <a:cubicBezTo>
                  <a:pt x="168" y="33"/>
                  <a:pt x="167" y="33"/>
                  <a:pt x="167" y="32"/>
                </a:cubicBezTo>
                <a:cubicBezTo>
                  <a:pt x="164" y="28"/>
                  <a:pt x="162" y="19"/>
                  <a:pt x="162" y="13"/>
                </a:cubicBezTo>
                <a:cubicBezTo>
                  <a:pt x="162" y="7"/>
                  <a:pt x="160" y="6"/>
                  <a:pt x="160" y="5"/>
                </a:cubicBezTo>
                <a:cubicBezTo>
                  <a:pt x="159" y="5"/>
                  <a:pt x="157" y="5"/>
                  <a:pt x="156" y="4"/>
                </a:cubicBezTo>
                <a:cubicBezTo>
                  <a:pt x="155" y="4"/>
                  <a:pt x="155" y="4"/>
                  <a:pt x="155" y="4"/>
                </a:cubicBezTo>
                <a:cubicBezTo>
                  <a:pt x="151" y="4"/>
                  <a:pt x="149" y="3"/>
                  <a:pt x="147" y="11"/>
                </a:cubicBezTo>
                <a:cubicBezTo>
                  <a:pt x="145" y="18"/>
                  <a:pt x="139" y="29"/>
                  <a:pt x="133" y="29"/>
                </a:cubicBezTo>
                <a:cubicBezTo>
                  <a:pt x="133" y="29"/>
                  <a:pt x="133" y="29"/>
                  <a:pt x="133" y="29"/>
                </a:cubicBezTo>
                <a:cubicBezTo>
                  <a:pt x="133" y="29"/>
                  <a:pt x="133" y="29"/>
                  <a:pt x="133" y="29"/>
                </a:cubicBezTo>
                <a:cubicBezTo>
                  <a:pt x="133" y="29"/>
                  <a:pt x="133" y="29"/>
                  <a:pt x="133" y="29"/>
                </a:cubicBezTo>
                <a:cubicBezTo>
                  <a:pt x="132" y="29"/>
                  <a:pt x="130" y="29"/>
                  <a:pt x="129" y="28"/>
                </a:cubicBezTo>
                <a:cubicBezTo>
                  <a:pt x="124" y="25"/>
                  <a:pt x="120" y="18"/>
                  <a:pt x="117" y="12"/>
                </a:cubicBezTo>
                <a:cubicBezTo>
                  <a:pt x="116" y="9"/>
                  <a:pt x="115" y="7"/>
                  <a:pt x="114" y="6"/>
                </a:cubicBezTo>
                <a:cubicBezTo>
                  <a:pt x="112" y="6"/>
                  <a:pt x="111" y="6"/>
                  <a:pt x="109" y="6"/>
                </a:cubicBezTo>
                <a:cubicBezTo>
                  <a:pt x="108" y="7"/>
                  <a:pt x="108" y="7"/>
                  <a:pt x="108" y="7"/>
                </a:cubicBezTo>
                <a:cubicBezTo>
                  <a:pt x="105" y="7"/>
                  <a:pt x="102" y="8"/>
                  <a:pt x="103" y="16"/>
                </a:cubicBezTo>
                <a:cubicBezTo>
                  <a:pt x="103" y="22"/>
                  <a:pt x="103" y="31"/>
                  <a:pt x="100" y="35"/>
                </a:cubicBezTo>
                <a:cubicBezTo>
                  <a:pt x="99" y="36"/>
                  <a:pt x="99" y="36"/>
                  <a:pt x="98" y="36"/>
                </a:cubicBezTo>
                <a:cubicBezTo>
                  <a:pt x="96" y="36"/>
                  <a:pt x="93" y="35"/>
                  <a:pt x="90" y="33"/>
                </a:cubicBezTo>
                <a:cubicBezTo>
                  <a:pt x="87" y="31"/>
                  <a:pt x="83" y="28"/>
                  <a:pt x="80" y="24"/>
                </a:cubicBezTo>
                <a:cubicBezTo>
                  <a:pt x="79" y="23"/>
                  <a:pt x="77" y="22"/>
                  <a:pt x="76" y="21"/>
                </a:cubicBezTo>
                <a:cubicBezTo>
                  <a:pt x="74" y="19"/>
                  <a:pt x="73" y="20"/>
                  <a:pt x="70" y="22"/>
                </a:cubicBezTo>
                <a:cubicBezTo>
                  <a:pt x="69" y="22"/>
                  <a:pt x="69" y="22"/>
                  <a:pt x="69" y="22"/>
                </a:cubicBezTo>
                <a:cubicBezTo>
                  <a:pt x="66" y="24"/>
                  <a:pt x="64" y="25"/>
                  <a:pt x="67" y="32"/>
                </a:cubicBezTo>
                <a:cubicBezTo>
                  <a:pt x="70" y="38"/>
                  <a:pt x="72" y="47"/>
                  <a:pt x="70" y="52"/>
                </a:cubicBezTo>
                <a:cubicBezTo>
                  <a:pt x="70" y="53"/>
                  <a:pt x="70" y="53"/>
                  <a:pt x="69" y="53"/>
                </a:cubicBezTo>
                <a:cubicBezTo>
                  <a:pt x="64" y="55"/>
                  <a:pt x="55" y="52"/>
                  <a:pt x="48" y="48"/>
                </a:cubicBezTo>
                <a:cubicBezTo>
                  <a:pt x="48" y="47"/>
                  <a:pt x="48" y="47"/>
                  <a:pt x="48" y="47"/>
                </a:cubicBezTo>
                <a:cubicBezTo>
                  <a:pt x="42" y="43"/>
                  <a:pt x="40" y="45"/>
                  <a:pt x="38" y="48"/>
                </a:cubicBezTo>
                <a:cubicBezTo>
                  <a:pt x="37" y="49"/>
                  <a:pt x="37" y="49"/>
                  <a:pt x="37" y="49"/>
                </a:cubicBezTo>
                <a:cubicBezTo>
                  <a:pt x="35" y="51"/>
                  <a:pt x="33" y="53"/>
                  <a:pt x="38" y="59"/>
                </a:cubicBezTo>
                <a:cubicBezTo>
                  <a:pt x="43" y="64"/>
                  <a:pt x="47" y="72"/>
                  <a:pt x="47" y="77"/>
                </a:cubicBezTo>
                <a:cubicBezTo>
                  <a:pt x="47" y="77"/>
                  <a:pt x="47" y="78"/>
                  <a:pt x="46" y="78"/>
                </a:cubicBezTo>
                <a:cubicBezTo>
                  <a:pt x="43" y="82"/>
                  <a:pt x="33" y="81"/>
                  <a:pt x="25" y="79"/>
                </a:cubicBezTo>
                <a:cubicBezTo>
                  <a:pt x="18" y="77"/>
                  <a:pt x="17" y="80"/>
                  <a:pt x="15" y="83"/>
                </a:cubicBezTo>
                <a:cubicBezTo>
                  <a:pt x="15" y="84"/>
                  <a:pt x="15" y="84"/>
                  <a:pt x="15" y="84"/>
                </a:cubicBezTo>
                <a:cubicBezTo>
                  <a:pt x="14" y="87"/>
                  <a:pt x="13" y="89"/>
                  <a:pt x="19" y="93"/>
                </a:cubicBezTo>
                <a:cubicBezTo>
                  <a:pt x="19" y="93"/>
                  <a:pt x="19" y="93"/>
                  <a:pt x="19" y="93"/>
                </a:cubicBezTo>
                <a:cubicBezTo>
                  <a:pt x="25" y="97"/>
                  <a:pt x="31" y="103"/>
                  <a:pt x="33" y="108"/>
                </a:cubicBezTo>
                <a:cubicBezTo>
                  <a:pt x="33" y="108"/>
                  <a:pt x="33" y="109"/>
                  <a:pt x="33" y="109"/>
                </a:cubicBezTo>
                <a:cubicBezTo>
                  <a:pt x="30" y="114"/>
                  <a:pt x="20" y="116"/>
                  <a:pt x="13" y="117"/>
                </a:cubicBezTo>
                <a:cubicBezTo>
                  <a:pt x="5" y="117"/>
                  <a:pt x="5" y="120"/>
                  <a:pt x="5" y="123"/>
                </a:cubicBezTo>
                <a:cubicBezTo>
                  <a:pt x="4" y="124"/>
                  <a:pt x="4" y="124"/>
                  <a:pt x="4" y="124"/>
                </a:cubicBezTo>
                <a:cubicBezTo>
                  <a:pt x="4" y="127"/>
                  <a:pt x="4" y="129"/>
                  <a:pt x="6" y="130"/>
                </a:cubicBezTo>
                <a:cubicBezTo>
                  <a:pt x="7" y="131"/>
                  <a:pt x="9" y="131"/>
                  <a:pt x="11" y="132"/>
                </a:cubicBezTo>
                <a:cubicBezTo>
                  <a:pt x="16" y="133"/>
                  <a:pt x="21" y="135"/>
                  <a:pt x="24" y="137"/>
                </a:cubicBezTo>
                <a:cubicBezTo>
                  <a:pt x="26" y="139"/>
                  <a:pt x="28" y="140"/>
                  <a:pt x="29" y="141"/>
                </a:cubicBezTo>
                <a:cubicBezTo>
                  <a:pt x="29" y="142"/>
                  <a:pt x="29" y="142"/>
                  <a:pt x="29" y="143"/>
                </a:cubicBezTo>
                <a:cubicBezTo>
                  <a:pt x="28" y="148"/>
                  <a:pt x="20" y="153"/>
                  <a:pt x="12" y="156"/>
                </a:cubicBezTo>
                <a:cubicBezTo>
                  <a:pt x="5" y="159"/>
                  <a:pt x="6" y="161"/>
                  <a:pt x="6" y="165"/>
                </a:cubicBezTo>
                <a:cubicBezTo>
                  <a:pt x="7" y="166"/>
                  <a:pt x="7" y="166"/>
                  <a:pt x="7" y="166"/>
                </a:cubicBezTo>
                <a:cubicBezTo>
                  <a:pt x="7" y="168"/>
                  <a:pt x="8" y="169"/>
                  <a:pt x="9" y="170"/>
                </a:cubicBezTo>
                <a:cubicBezTo>
                  <a:pt x="10" y="171"/>
                  <a:pt x="12" y="171"/>
                  <a:pt x="15" y="171"/>
                </a:cubicBezTo>
                <a:cubicBezTo>
                  <a:pt x="22" y="171"/>
                  <a:pt x="31" y="171"/>
                  <a:pt x="35" y="174"/>
                </a:cubicBezTo>
                <a:cubicBezTo>
                  <a:pt x="36" y="175"/>
                  <a:pt x="36" y="175"/>
                  <a:pt x="36" y="176"/>
                </a:cubicBezTo>
                <a:cubicBezTo>
                  <a:pt x="36" y="181"/>
                  <a:pt x="30" y="189"/>
                  <a:pt x="24" y="194"/>
                </a:cubicBezTo>
                <a:cubicBezTo>
                  <a:pt x="18" y="199"/>
                  <a:pt x="19" y="201"/>
                  <a:pt x="21" y="204"/>
                </a:cubicBezTo>
                <a:cubicBezTo>
                  <a:pt x="22" y="205"/>
                  <a:pt x="22" y="205"/>
                  <a:pt x="22" y="205"/>
                </a:cubicBezTo>
                <a:cubicBezTo>
                  <a:pt x="22" y="206"/>
                  <a:pt x="23" y="207"/>
                  <a:pt x="24" y="208"/>
                </a:cubicBezTo>
                <a:cubicBezTo>
                  <a:pt x="26" y="209"/>
                  <a:pt x="28" y="208"/>
                  <a:pt x="32" y="207"/>
                </a:cubicBezTo>
                <a:cubicBezTo>
                  <a:pt x="38" y="204"/>
                  <a:pt x="46" y="203"/>
                  <a:pt x="51" y="204"/>
                </a:cubicBezTo>
                <a:cubicBezTo>
                  <a:pt x="52" y="204"/>
                  <a:pt x="52" y="205"/>
                  <a:pt x="53" y="205"/>
                </a:cubicBezTo>
                <a:cubicBezTo>
                  <a:pt x="54" y="210"/>
                  <a:pt x="51" y="219"/>
                  <a:pt x="47" y="226"/>
                </a:cubicBezTo>
                <a:cubicBezTo>
                  <a:pt x="42" y="232"/>
                  <a:pt x="44" y="234"/>
                  <a:pt x="47" y="236"/>
                </a:cubicBezTo>
                <a:cubicBezTo>
                  <a:pt x="48" y="237"/>
                  <a:pt x="48" y="237"/>
                  <a:pt x="48" y="237"/>
                </a:cubicBezTo>
                <a:cubicBezTo>
                  <a:pt x="48" y="238"/>
                  <a:pt x="49" y="238"/>
                  <a:pt x="50" y="239"/>
                </a:cubicBezTo>
                <a:cubicBezTo>
                  <a:pt x="51" y="239"/>
                  <a:pt x="53" y="241"/>
                  <a:pt x="58" y="236"/>
                </a:cubicBezTo>
                <a:cubicBezTo>
                  <a:pt x="63" y="232"/>
                  <a:pt x="71" y="228"/>
                  <a:pt x="76" y="228"/>
                </a:cubicBezTo>
                <a:cubicBezTo>
                  <a:pt x="76" y="228"/>
                  <a:pt x="77" y="228"/>
                  <a:pt x="77" y="228"/>
                </a:cubicBezTo>
                <a:close/>
                <a:moveTo>
                  <a:pt x="90" y="214"/>
                </a:moveTo>
                <a:cubicBezTo>
                  <a:pt x="69" y="201"/>
                  <a:pt x="55" y="181"/>
                  <a:pt x="50" y="157"/>
                </a:cubicBezTo>
                <a:cubicBezTo>
                  <a:pt x="44" y="134"/>
                  <a:pt x="49" y="109"/>
                  <a:pt x="62" y="89"/>
                </a:cubicBezTo>
                <a:cubicBezTo>
                  <a:pt x="75" y="69"/>
                  <a:pt x="95" y="54"/>
                  <a:pt x="119" y="49"/>
                </a:cubicBezTo>
                <a:cubicBezTo>
                  <a:pt x="142" y="44"/>
                  <a:pt x="166" y="48"/>
                  <a:pt x="187" y="61"/>
                </a:cubicBezTo>
                <a:cubicBezTo>
                  <a:pt x="207" y="74"/>
                  <a:pt x="221" y="94"/>
                  <a:pt x="227" y="118"/>
                </a:cubicBezTo>
                <a:cubicBezTo>
                  <a:pt x="232" y="142"/>
                  <a:pt x="228" y="166"/>
                  <a:pt x="215" y="186"/>
                </a:cubicBezTo>
                <a:cubicBezTo>
                  <a:pt x="202" y="207"/>
                  <a:pt x="181" y="221"/>
                  <a:pt x="158" y="226"/>
                </a:cubicBezTo>
                <a:cubicBezTo>
                  <a:pt x="134" y="231"/>
                  <a:pt x="110" y="227"/>
                  <a:pt x="90" y="214"/>
                </a:cubicBezTo>
                <a:close/>
                <a:moveTo>
                  <a:pt x="185" y="64"/>
                </a:moveTo>
                <a:cubicBezTo>
                  <a:pt x="165" y="52"/>
                  <a:pt x="142" y="48"/>
                  <a:pt x="119" y="53"/>
                </a:cubicBezTo>
                <a:cubicBezTo>
                  <a:pt x="97" y="58"/>
                  <a:pt x="77" y="71"/>
                  <a:pt x="65" y="91"/>
                </a:cubicBezTo>
                <a:cubicBezTo>
                  <a:pt x="52" y="111"/>
                  <a:pt x="48" y="134"/>
                  <a:pt x="53" y="156"/>
                </a:cubicBezTo>
                <a:cubicBezTo>
                  <a:pt x="58" y="179"/>
                  <a:pt x="72" y="198"/>
                  <a:pt x="92" y="211"/>
                </a:cubicBezTo>
                <a:cubicBezTo>
                  <a:pt x="111" y="223"/>
                  <a:pt x="134" y="227"/>
                  <a:pt x="157" y="222"/>
                </a:cubicBezTo>
                <a:cubicBezTo>
                  <a:pt x="180" y="217"/>
                  <a:pt x="199" y="204"/>
                  <a:pt x="211" y="184"/>
                </a:cubicBezTo>
                <a:cubicBezTo>
                  <a:pt x="224" y="165"/>
                  <a:pt x="228" y="141"/>
                  <a:pt x="223" y="119"/>
                </a:cubicBezTo>
                <a:cubicBezTo>
                  <a:pt x="218" y="96"/>
                  <a:pt x="204" y="77"/>
                  <a:pt x="185" y="6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0" name="Freeform 987">
            <a:extLst>
              <a:ext uri="{FF2B5EF4-FFF2-40B4-BE49-F238E27FC236}">
                <a16:creationId xmlns:a16="http://schemas.microsoft.com/office/drawing/2014/main" id="{BD5C8946-D8EC-4422-B855-D90F95F3D8B7}"/>
              </a:ext>
            </a:extLst>
          </p:cNvPr>
          <p:cNvSpPr>
            <a:spLocks noEditPoints="1"/>
          </p:cNvSpPr>
          <p:nvPr/>
        </p:nvSpPr>
        <p:spPr bwMode="auto">
          <a:xfrm>
            <a:off x="4382426" y="3305003"/>
            <a:ext cx="221087" cy="224651"/>
          </a:xfrm>
          <a:custGeom>
            <a:avLst/>
            <a:gdLst>
              <a:gd name="T0" fmla="*/ 21 w 81"/>
              <a:gd name="T1" fmla="*/ 71 h 81"/>
              <a:gd name="T2" fmla="*/ 11 w 81"/>
              <a:gd name="T3" fmla="*/ 22 h 81"/>
              <a:gd name="T4" fmla="*/ 60 w 81"/>
              <a:gd name="T5" fmla="*/ 10 h 81"/>
              <a:gd name="T6" fmla="*/ 70 w 81"/>
              <a:gd name="T7" fmla="*/ 59 h 81"/>
              <a:gd name="T8" fmla="*/ 21 w 81"/>
              <a:gd name="T9" fmla="*/ 71 h 81"/>
              <a:gd name="T10" fmla="*/ 57 w 81"/>
              <a:gd name="T11" fmla="*/ 14 h 81"/>
              <a:gd name="T12" fmla="*/ 14 w 81"/>
              <a:gd name="T13" fmla="*/ 24 h 81"/>
              <a:gd name="T14" fmla="*/ 23 w 81"/>
              <a:gd name="T15" fmla="*/ 68 h 81"/>
              <a:gd name="T16" fmla="*/ 67 w 81"/>
              <a:gd name="T17" fmla="*/ 57 h 81"/>
              <a:gd name="T18" fmla="*/ 57 w 81"/>
              <a:gd name="T19" fmla="*/ 14 h 81"/>
              <a:gd name="T20" fmla="*/ 25 w 81"/>
              <a:gd name="T21" fmla="*/ 65 h 81"/>
              <a:gd name="T22" fmla="*/ 17 w 81"/>
              <a:gd name="T23" fmla="*/ 26 h 81"/>
              <a:gd name="T24" fmla="*/ 56 w 81"/>
              <a:gd name="T25" fmla="*/ 17 h 81"/>
              <a:gd name="T26" fmla="*/ 64 w 81"/>
              <a:gd name="T27" fmla="*/ 56 h 81"/>
              <a:gd name="T28" fmla="*/ 25 w 81"/>
              <a:gd name="T29" fmla="*/ 65 h 81"/>
              <a:gd name="T30" fmla="*/ 54 w 81"/>
              <a:gd name="T31" fmla="*/ 20 h 81"/>
              <a:gd name="T32" fmla="*/ 20 w 81"/>
              <a:gd name="T33" fmla="*/ 28 h 81"/>
              <a:gd name="T34" fmla="*/ 27 w 81"/>
              <a:gd name="T35" fmla="*/ 61 h 81"/>
              <a:gd name="T36" fmla="*/ 61 w 81"/>
              <a:gd name="T37" fmla="*/ 54 h 81"/>
              <a:gd name="T38" fmla="*/ 54 w 81"/>
              <a:gd name="T39"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81">
                <a:moveTo>
                  <a:pt x="21" y="71"/>
                </a:moveTo>
                <a:cubicBezTo>
                  <a:pt x="5" y="60"/>
                  <a:pt x="0" y="38"/>
                  <a:pt x="11" y="22"/>
                </a:cubicBezTo>
                <a:cubicBezTo>
                  <a:pt x="21" y="5"/>
                  <a:pt x="43" y="0"/>
                  <a:pt x="60" y="10"/>
                </a:cubicBezTo>
                <a:cubicBezTo>
                  <a:pt x="76" y="21"/>
                  <a:pt x="81" y="43"/>
                  <a:pt x="70" y="59"/>
                </a:cubicBezTo>
                <a:cubicBezTo>
                  <a:pt x="59" y="76"/>
                  <a:pt x="37" y="81"/>
                  <a:pt x="21" y="71"/>
                </a:cubicBezTo>
                <a:close/>
                <a:moveTo>
                  <a:pt x="57" y="14"/>
                </a:moveTo>
                <a:cubicBezTo>
                  <a:pt x="43" y="4"/>
                  <a:pt x="23" y="9"/>
                  <a:pt x="14" y="24"/>
                </a:cubicBezTo>
                <a:cubicBezTo>
                  <a:pt x="4" y="39"/>
                  <a:pt x="9" y="58"/>
                  <a:pt x="23" y="68"/>
                </a:cubicBezTo>
                <a:cubicBezTo>
                  <a:pt x="38" y="77"/>
                  <a:pt x="57" y="72"/>
                  <a:pt x="67" y="57"/>
                </a:cubicBezTo>
                <a:cubicBezTo>
                  <a:pt x="76" y="43"/>
                  <a:pt x="72" y="23"/>
                  <a:pt x="57" y="14"/>
                </a:cubicBezTo>
                <a:close/>
                <a:moveTo>
                  <a:pt x="25" y="65"/>
                </a:moveTo>
                <a:cubicBezTo>
                  <a:pt x="12" y="56"/>
                  <a:pt x="8" y="39"/>
                  <a:pt x="17" y="26"/>
                </a:cubicBezTo>
                <a:cubicBezTo>
                  <a:pt x="25" y="12"/>
                  <a:pt x="43" y="8"/>
                  <a:pt x="56" y="17"/>
                </a:cubicBezTo>
                <a:cubicBezTo>
                  <a:pt x="69" y="25"/>
                  <a:pt x="72" y="42"/>
                  <a:pt x="64" y="56"/>
                </a:cubicBezTo>
                <a:cubicBezTo>
                  <a:pt x="55" y="69"/>
                  <a:pt x="38" y="73"/>
                  <a:pt x="25" y="65"/>
                </a:cubicBezTo>
                <a:close/>
                <a:moveTo>
                  <a:pt x="54" y="20"/>
                </a:moveTo>
                <a:cubicBezTo>
                  <a:pt x="42" y="13"/>
                  <a:pt x="27" y="16"/>
                  <a:pt x="20" y="28"/>
                </a:cubicBezTo>
                <a:cubicBezTo>
                  <a:pt x="13" y="39"/>
                  <a:pt x="16" y="54"/>
                  <a:pt x="27" y="61"/>
                </a:cubicBezTo>
                <a:cubicBezTo>
                  <a:pt x="38" y="69"/>
                  <a:pt x="53" y="65"/>
                  <a:pt x="61" y="54"/>
                </a:cubicBezTo>
                <a:cubicBezTo>
                  <a:pt x="68" y="42"/>
                  <a:pt x="65" y="27"/>
                  <a:pt x="54" y="2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1" name="Freeform 988">
            <a:extLst>
              <a:ext uri="{FF2B5EF4-FFF2-40B4-BE49-F238E27FC236}">
                <a16:creationId xmlns:a16="http://schemas.microsoft.com/office/drawing/2014/main" id="{89047DCE-10E8-4694-BB5B-729A829BC7B5}"/>
              </a:ext>
            </a:extLst>
          </p:cNvPr>
          <p:cNvSpPr>
            <a:spLocks noEditPoints="1"/>
          </p:cNvSpPr>
          <p:nvPr/>
        </p:nvSpPr>
        <p:spPr bwMode="auto">
          <a:xfrm>
            <a:off x="4639171" y="3397717"/>
            <a:ext cx="110544" cy="110542"/>
          </a:xfrm>
          <a:custGeom>
            <a:avLst/>
            <a:gdLst>
              <a:gd name="T0" fmla="*/ 10 w 40"/>
              <a:gd name="T1" fmla="*/ 35 h 40"/>
              <a:gd name="T2" fmla="*/ 5 w 40"/>
              <a:gd name="T3" fmla="*/ 10 h 40"/>
              <a:gd name="T4" fmla="*/ 29 w 40"/>
              <a:gd name="T5" fmla="*/ 5 h 40"/>
              <a:gd name="T6" fmla="*/ 34 w 40"/>
              <a:gd name="T7" fmla="*/ 29 h 40"/>
              <a:gd name="T8" fmla="*/ 10 w 40"/>
              <a:gd name="T9" fmla="*/ 35 h 40"/>
              <a:gd name="T10" fmla="*/ 28 w 40"/>
              <a:gd name="T11" fmla="*/ 7 h 40"/>
              <a:gd name="T12" fmla="*/ 7 w 40"/>
              <a:gd name="T13" fmla="*/ 12 h 40"/>
              <a:gd name="T14" fmla="*/ 12 w 40"/>
              <a:gd name="T15" fmla="*/ 33 h 40"/>
              <a:gd name="T16" fmla="*/ 32 w 40"/>
              <a:gd name="T17" fmla="*/ 28 h 40"/>
              <a:gd name="T18" fmla="*/ 28 w 40"/>
              <a:gd name="T19" fmla="*/ 7 h 40"/>
              <a:gd name="T20" fmla="*/ 12 w 40"/>
              <a:gd name="T21" fmla="*/ 32 h 40"/>
              <a:gd name="T22" fmla="*/ 8 w 40"/>
              <a:gd name="T23" fmla="*/ 12 h 40"/>
              <a:gd name="T24" fmla="*/ 27 w 40"/>
              <a:gd name="T25" fmla="*/ 8 h 40"/>
              <a:gd name="T26" fmla="*/ 31 w 40"/>
              <a:gd name="T27" fmla="*/ 27 h 40"/>
              <a:gd name="T28" fmla="*/ 12 w 40"/>
              <a:gd name="T29" fmla="*/ 32 h 40"/>
              <a:gd name="T30" fmla="*/ 26 w 40"/>
              <a:gd name="T31" fmla="*/ 10 h 40"/>
              <a:gd name="T32" fmla="*/ 10 w 40"/>
              <a:gd name="T33" fmla="*/ 14 h 40"/>
              <a:gd name="T34" fmla="*/ 13 w 40"/>
              <a:gd name="T35" fmla="*/ 30 h 40"/>
              <a:gd name="T36" fmla="*/ 29 w 40"/>
              <a:gd name="T37" fmla="*/ 26 h 40"/>
              <a:gd name="T38" fmla="*/ 26 w 40"/>
              <a:gd name="T3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0" y="35"/>
                </a:moveTo>
                <a:cubicBezTo>
                  <a:pt x="2" y="30"/>
                  <a:pt x="0" y="19"/>
                  <a:pt x="5" y="10"/>
                </a:cubicBezTo>
                <a:cubicBezTo>
                  <a:pt x="10" y="2"/>
                  <a:pt x="21" y="0"/>
                  <a:pt x="29" y="5"/>
                </a:cubicBezTo>
                <a:cubicBezTo>
                  <a:pt x="37" y="10"/>
                  <a:pt x="40" y="21"/>
                  <a:pt x="34" y="29"/>
                </a:cubicBezTo>
                <a:cubicBezTo>
                  <a:pt x="29" y="37"/>
                  <a:pt x="18" y="40"/>
                  <a:pt x="10" y="35"/>
                </a:cubicBezTo>
                <a:close/>
                <a:moveTo>
                  <a:pt x="28" y="7"/>
                </a:moveTo>
                <a:cubicBezTo>
                  <a:pt x="21" y="3"/>
                  <a:pt x="12" y="5"/>
                  <a:pt x="7" y="12"/>
                </a:cubicBezTo>
                <a:cubicBezTo>
                  <a:pt x="3" y="19"/>
                  <a:pt x="5" y="28"/>
                  <a:pt x="12" y="33"/>
                </a:cubicBezTo>
                <a:cubicBezTo>
                  <a:pt x="18" y="37"/>
                  <a:pt x="28" y="35"/>
                  <a:pt x="32" y="28"/>
                </a:cubicBezTo>
                <a:cubicBezTo>
                  <a:pt x="37" y="21"/>
                  <a:pt x="35" y="11"/>
                  <a:pt x="28" y="7"/>
                </a:cubicBezTo>
                <a:close/>
                <a:moveTo>
                  <a:pt x="12" y="32"/>
                </a:moveTo>
                <a:cubicBezTo>
                  <a:pt x="6" y="28"/>
                  <a:pt x="4" y="19"/>
                  <a:pt x="8" y="12"/>
                </a:cubicBezTo>
                <a:cubicBezTo>
                  <a:pt x="12" y="6"/>
                  <a:pt x="21" y="4"/>
                  <a:pt x="27" y="8"/>
                </a:cubicBezTo>
                <a:cubicBezTo>
                  <a:pt x="34" y="12"/>
                  <a:pt x="36" y="21"/>
                  <a:pt x="31" y="27"/>
                </a:cubicBezTo>
                <a:cubicBezTo>
                  <a:pt x="27" y="34"/>
                  <a:pt x="19" y="36"/>
                  <a:pt x="12" y="32"/>
                </a:cubicBezTo>
                <a:close/>
                <a:moveTo>
                  <a:pt x="26" y="10"/>
                </a:moveTo>
                <a:cubicBezTo>
                  <a:pt x="21" y="7"/>
                  <a:pt x="14" y="8"/>
                  <a:pt x="10" y="14"/>
                </a:cubicBezTo>
                <a:cubicBezTo>
                  <a:pt x="7" y="19"/>
                  <a:pt x="8" y="26"/>
                  <a:pt x="13" y="30"/>
                </a:cubicBezTo>
                <a:cubicBezTo>
                  <a:pt x="19" y="33"/>
                  <a:pt x="26" y="31"/>
                  <a:pt x="29" y="26"/>
                </a:cubicBezTo>
                <a:cubicBezTo>
                  <a:pt x="33" y="21"/>
                  <a:pt x="31" y="13"/>
                  <a:pt x="26"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2" name="Freeform 989">
            <a:extLst>
              <a:ext uri="{FF2B5EF4-FFF2-40B4-BE49-F238E27FC236}">
                <a16:creationId xmlns:a16="http://schemas.microsoft.com/office/drawing/2014/main" id="{A1A93256-90B6-4FBE-85AB-9365F8398E61}"/>
              </a:ext>
            </a:extLst>
          </p:cNvPr>
          <p:cNvSpPr>
            <a:spLocks noEditPoints="1"/>
          </p:cNvSpPr>
          <p:nvPr/>
        </p:nvSpPr>
        <p:spPr bwMode="auto">
          <a:xfrm>
            <a:off x="5117004" y="2866395"/>
            <a:ext cx="1158923" cy="1155355"/>
          </a:xfrm>
          <a:custGeom>
            <a:avLst/>
            <a:gdLst>
              <a:gd name="T0" fmla="*/ 60 w 421"/>
              <a:gd name="T1" fmla="*/ 339 h 421"/>
              <a:gd name="T2" fmla="*/ 32 w 421"/>
              <a:gd name="T3" fmla="*/ 295 h 421"/>
              <a:gd name="T4" fmla="*/ 16 w 421"/>
              <a:gd name="T5" fmla="*/ 246 h 421"/>
              <a:gd name="T6" fmla="*/ 14 w 421"/>
              <a:gd name="T7" fmla="*/ 195 h 421"/>
              <a:gd name="T8" fmla="*/ 25 w 421"/>
              <a:gd name="T9" fmla="*/ 145 h 421"/>
              <a:gd name="T10" fmla="*/ 59 w 421"/>
              <a:gd name="T11" fmla="*/ 117 h 421"/>
              <a:gd name="T12" fmla="*/ 82 w 421"/>
              <a:gd name="T13" fmla="*/ 60 h 421"/>
              <a:gd name="T14" fmla="*/ 125 w 421"/>
              <a:gd name="T15" fmla="*/ 54 h 421"/>
              <a:gd name="T16" fmla="*/ 166 w 421"/>
              <a:gd name="T17" fmla="*/ 36 h 421"/>
              <a:gd name="T18" fmla="*/ 204 w 421"/>
              <a:gd name="T19" fmla="*/ 13 h 421"/>
              <a:gd name="T20" fmla="*/ 256 w 421"/>
              <a:gd name="T21" fmla="*/ 18 h 421"/>
              <a:gd name="T22" fmla="*/ 304 w 421"/>
              <a:gd name="T23" fmla="*/ 36 h 421"/>
              <a:gd name="T24" fmla="*/ 346 w 421"/>
              <a:gd name="T25" fmla="*/ 66 h 421"/>
              <a:gd name="T26" fmla="*/ 378 w 421"/>
              <a:gd name="T27" fmla="*/ 106 h 421"/>
              <a:gd name="T28" fmla="*/ 408 w 421"/>
              <a:gd name="T29" fmla="*/ 135 h 421"/>
              <a:gd name="T30" fmla="*/ 420 w 421"/>
              <a:gd name="T31" fmla="*/ 188 h 421"/>
              <a:gd name="T32" fmla="*/ 414 w 421"/>
              <a:gd name="T33" fmla="*/ 230 h 421"/>
              <a:gd name="T34" fmla="*/ 397 w 421"/>
              <a:gd name="T35" fmla="*/ 277 h 421"/>
              <a:gd name="T36" fmla="*/ 375 w 421"/>
              <a:gd name="T37" fmla="*/ 343 h 421"/>
              <a:gd name="T38" fmla="*/ 334 w 421"/>
              <a:gd name="T39" fmla="*/ 381 h 421"/>
              <a:gd name="T40" fmla="*/ 287 w 421"/>
              <a:gd name="T41" fmla="*/ 407 h 421"/>
              <a:gd name="T42" fmla="*/ 247 w 421"/>
              <a:gd name="T43" fmla="*/ 404 h 421"/>
              <a:gd name="T44" fmla="*/ 206 w 421"/>
              <a:gd name="T45" fmla="*/ 388 h 421"/>
              <a:gd name="T46" fmla="*/ 160 w 421"/>
              <a:gd name="T47" fmla="*/ 381 h 421"/>
              <a:gd name="T48" fmla="*/ 117 w 421"/>
              <a:gd name="T49" fmla="*/ 362 h 421"/>
              <a:gd name="T50" fmla="*/ 81 w 421"/>
              <a:gd name="T51" fmla="*/ 371 h 421"/>
              <a:gd name="T52" fmla="*/ 123 w 421"/>
              <a:gd name="T53" fmla="*/ 386 h 421"/>
              <a:gd name="T54" fmla="*/ 161 w 421"/>
              <a:gd name="T55" fmla="*/ 376 h 421"/>
              <a:gd name="T56" fmla="*/ 190 w 421"/>
              <a:gd name="T57" fmla="*/ 406 h 421"/>
              <a:gd name="T58" fmla="*/ 232 w 421"/>
              <a:gd name="T59" fmla="*/ 415 h 421"/>
              <a:gd name="T60" fmla="*/ 272 w 421"/>
              <a:gd name="T61" fmla="*/ 397 h 421"/>
              <a:gd name="T62" fmla="*/ 295 w 421"/>
              <a:gd name="T63" fmla="*/ 361 h 421"/>
              <a:gd name="T64" fmla="*/ 334 w 421"/>
              <a:gd name="T65" fmla="*/ 364 h 421"/>
              <a:gd name="T66" fmla="*/ 369 w 421"/>
              <a:gd name="T67" fmla="*/ 327 h 421"/>
              <a:gd name="T68" fmla="*/ 394 w 421"/>
              <a:gd name="T69" fmla="*/ 282 h 421"/>
              <a:gd name="T70" fmla="*/ 412 w 421"/>
              <a:gd name="T71" fmla="*/ 234 h 421"/>
              <a:gd name="T72" fmla="*/ 415 w 421"/>
              <a:gd name="T73" fmla="*/ 190 h 421"/>
              <a:gd name="T74" fmla="*/ 378 w 421"/>
              <a:gd name="T75" fmla="*/ 167 h 421"/>
              <a:gd name="T76" fmla="*/ 364 w 421"/>
              <a:gd name="T77" fmla="*/ 129 h 421"/>
              <a:gd name="T78" fmla="*/ 374 w 421"/>
              <a:gd name="T79" fmla="*/ 85 h 421"/>
              <a:gd name="T80" fmla="*/ 341 w 421"/>
              <a:gd name="T81" fmla="*/ 51 h 421"/>
              <a:gd name="T82" fmla="*/ 299 w 421"/>
              <a:gd name="T83" fmla="*/ 35 h 421"/>
              <a:gd name="T84" fmla="*/ 257 w 421"/>
              <a:gd name="T85" fmla="*/ 43 h 421"/>
              <a:gd name="T86" fmla="*/ 214 w 421"/>
              <a:gd name="T87" fmla="*/ 37 h 421"/>
              <a:gd name="T88" fmla="*/ 180 w 421"/>
              <a:gd name="T89" fmla="*/ 16 h 421"/>
              <a:gd name="T90" fmla="*/ 136 w 421"/>
              <a:gd name="T91" fmla="*/ 18 h 421"/>
              <a:gd name="T92" fmla="*/ 102 w 421"/>
              <a:gd name="T93" fmla="*/ 46 h 421"/>
              <a:gd name="T94" fmla="*/ 92 w 421"/>
              <a:gd name="T95" fmla="*/ 85 h 421"/>
              <a:gd name="T96" fmla="*/ 63 w 421"/>
              <a:gd name="T97" fmla="*/ 119 h 421"/>
              <a:gd name="T98" fmla="*/ 27 w 421"/>
              <a:gd name="T99" fmla="*/ 140 h 421"/>
              <a:gd name="T100" fmla="*/ 9 w 421"/>
              <a:gd name="T101" fmla="*/ 188 h 421"/>
              <a:gd name="T102" fmla="*/ 6 w 421"/>
              <a:gd name="T103" fmla="*/ 232 h 421"/>
              <a:gd name="T104" fmla="*/ 42 w 421"/>
              <a:gd name="T105" fmla="*/ 250 h 421"/>
              <a:gd name="T106" fmla="*/ 57 w 421"/>
              <a:gd name="T107" fmla="*/ 291 h 421"/>
              <a:gd name="T108" fmla="*/ 58 w 421"/>
              <a:gd name="T109" fmla="*/ 334 h 421"/>
              <a:gd name="T110" fmla="*/ 289 w 421"/>
              <a:gd name="T111" fmla="*/ 87 h 421"/>
              <a:gd name="T112" fmla="*/ 160 w 421"/>
              <a:gd name="T113" fmla="*/ 79 h 421"/>
              <a:gd name="T114" fmla="*/ 342 w 421"/>
              <a:gd name="T115" fmla="*/ 15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1">
                <a:moveTo>
                  <a:pt x="82" y="377"/>
                </a:moveTo>
                <a:cubicBezTo>
                  <a:pt x="81" y="377"/>
                  <a:pt x="80" y="376"/>
                  <a:pt x="79" y="376"/>
                </a:cubicBezTo>
                <a:cubicBezTo>
                  <a:pt x="78" y="375"/>
                  <a:pt x="78" y="375"/>
                  <a:pt x="78" y="375"/>
                </a:cubicBezTo>
                <a:cubicBezTo>
                  <a:pt x="73" y="371"/>
                  <a:pt x="69" y="367"/>
                  <a:pt x="76" y="355"/>
                </a:cubicBezTo>
                <a:cubicBezTo>
                  <a:pt x="81" y="346"/>
                  <a:pt x="83" y="336"/>
                  <a:pt x="81" y="333"/>
                </a:cubicBezTo>
                <a:cubicBezTo>
                  <a:pt x="77" y="332"/>
                  <a:pt x="68" y="335"/>
                  <a:pt x="60" y="339"/>
                </a:cubicBezTo>
                <a:cubicBezTo>
                  <a:pt x="54" y="342"/>
                  <a:pt x="49" y="343"/>
                  <a:pt x="45" y="340"/>
                </a:cubicBezTo>
                <a:cubicBezTo>
                  <a:pt x="43" y="339"/>
                  <a:pt x="42" y="337"/>
                  <a:pt x="41" y="336"/>
                </a:cubicBezTo>
                <a:cubicBezTo>
                  <a:pt x="40" y="335"/>
                  <a:pt x="40" y="335"/>
                  <a:pt x="40" y="335"/>
                </a:cubicBezTo>
                <a:cubicBezTo>
                  <a:pt x="36" y="330"/>
                  <a:pt x="33" y="325"/>
                  <a:pt x="43" y="315"/>
                </a:cubicBezTo>
                <a:cubicBezTo>
                  <a:pt x="50" y="308"/>
                  <a:pt x="55" y="299"/>
                  <a:pt x="54" y="295"/>
                </a:cubicBezTo>
                <a:cubicBezTo>
                  <a:pt x="50" y="293"/>
                  <a:pt x="41" y="294"/>
                  <a:pt x="32" y="295"/>
                </a:cubicBezTo>
                <a:cubicBezTo>
                  <a:pt x="27" y="297"/>
                  <a:pt x="22" y="297"/>
                  <a:pt x="19" y="295"/>
                </a:cubicBezTo>
                <a:cubicBezTo>
                  <a:pt x="16" y="293"/>
                  <a:pt x="15" y="290"/>
                  <a:pt x="14" y="288"/>
                </a:cubicBezTo>
                <a:cubicBezTo>
                  <a:pt x="14" y="286"/>
                  <a:pt x="14" y="286"/>
                  <a:pt x="14" y="286"/>
                </a:cubicBezTo>
                <a:cubicBezTo>
                  <a:pt x="11" y="281"/>
                  <a:pt x="10" y="275"/>
                  <a:pt x="21" y="268"/>
                </a:cubicBezTo>
                <a:cubicBezTo>
                  <a:pt x="30" y="263"/>
                  <a:pt x="37" y="255"/>
                  <a:pt x="37" y="252"/>
                </a:cubicBezTo>
                <a:cubicBezTo>
                  <a:pt x="34" y="249"/>
                  <a:pt x="25" y="247"/>
                  <a:pt x="16" y="246"/>
                </a:cubicBezTo>
                <a:cubicBezTo>
                  <a:pt x="12" y="246"/>
                  <a:pt x="8" y="246"/>
                  <a:pt x="6" y="244"/>
                </a:cubicBezTo>
                <a:cubicBezTo>
                  <a:pt x="2" y="241"/>
                  <a:pt x="1" y="237"/>
                  <a:pt x="1" y="234"/>
                </a:cubicBezTo>
                <a:cubicBezTo>
                  <a:pt x="1" y="233"/>
                  <a:pt x="1" y="233"/>
                  <a:pt x="1" y="233"/>
                </a:cubicBezTo>
                <a:cubicBezTo>
                  <a:pt x="0" y="227"/>
                  <a:pt x="0" y="221"/>
                  <a:pt x="13" y="217"/>
                </a:cubicBezTo>
                <a:cubicBezTo>
                  <a:pt x="23" y="215"/>
                  <a:pt x="31" y="209"/>
                  <a:pt x="33" y="206"/>
                </a:cubicBezTo>
                <a:cubicBezTo>
                  <a:pt x="30" y="202"/>
                  <a:pt x="21" y="197"/>
                  <a:pt x="14" y="195"/>
                </a:cubicBezTo>
                <a:cubicBezTo>
                  <a:pt x="11" y="194"/>
                  <a:pt x="8" y="193"/>
                  <a:pt x="6" y="192"/>
                </a:cubicBezTo>
                <a:cubicBezTo>
                  <a:pt x="0" y="188"/>
                  <a:pt x="1" y="183"/>
                  <a:pt x="2" y="179"/>
                </a:cubicBezTo>
                <a:cubicBezTo>
                  <a:pt x="2" y="178"/>
                  <a:pt x="2" y="178"/>
                  <a:pt x="2" y="178"/>
                </a:cubicBezTo>
                <a:cubicBezTo>
                  <a:pt x="3" y="172"/>
                  <a:pt x="4" y="166"/>
                  <a:pt x="17" y="166"/>
                </a:cubicBezTo>
                <a:cubicBezTo>
                  <a:pt x="28" y="166"/>
                  <a:pt x="37" y="163"/>
                  <a:pt x="40" y="160"/>
                </a:cubicBezTo>
                <a:cubicBezTo>
                  <a:pt x="38" y="156"/>
                  <a:pt x="32" y="149"/>
                  <a:pt x="25" y="145"/>
                </a:cubicBezTo>
                <a:cubicBezTo>
                  <a:pt x="24" y="144"/>
                  <a:pt x="24" y="144"/>
                  <a:pt x="24" y="144"/>
                </a:cubicBezTo>
                <a:cubicBezTo>
                  <a:pt x="24" y="144"/>
                  <a:pt x="23" y="144"/>
                  <a:pt x="23" y="144"/>
                </a:cubicBezTo>
                <a:cubicBezTo>
                  <a:pt x="12" y="137"/>
                  <a:pt x="15" y="131"/>
                  <a:pt x="17" y="126"/>
                </a:cubicBezTo>
                <a:cubicBezTo>
                  <a:pt x="17" y="125"/>
                  <a:pt x="17" y="125"/>
                  <a:pt x="17" y="125"/>
                </a:cubicBezTo>
                <a:cubicBezTo>
                  <a:pt x="20" y="119"/>
                  <a:pt x="23" y="114"/>
                  <a:pt x="35" y="118"/>
                </a:cubicBezTo>
                <a:cubicBezTo>
                  <a:pt x="46" y="120"/>
                  <a:pt x="56" y="119"/>
                  <a:pt x="59" y="117"/>
                </a:cubicBezTo>
                <a:cubicBezTo>
                  <a:pt x="58" y="113"/>
                  <a:pt x="53" y="105"/>
                  <a:pt x="48" y="99"/>
                </a:cubicBezTo>
                <a:cubicBezTo>
                  <a:pt x="38" y="89"/>
                  <a:pt x="41" y="84"/>
                  <a:pt x="45" y="79"/>
                </a:cubicBezTo>
                <a:cubicBezTo>
                  <a:pt x="46" y="78"/>
                  <a:pt x="46" y="78"/>
                  <a:pt x="46" y="78"/>
                </a:cubicBezTo>
                <a:cubicBezTo>
                  <a:pt x="50" y="73"/>
                  <a:pt x="54" y="69"/>
                  <a:pt x="65" y="75"/>
                </a:cubicBezTo>
                <a:cubicBezTo>
                  <a:pt x="75" y="80"/>
                  <a:pt x="84" y="82"/>
                  <a:pt x="88" y="81"/>
                </a:cubicBezTo>
                <a:cubicBezTo>
                  <a:pt x="88" y="77"/>
                  <a:pt x="86" y="68"/>
                  <a:pt x="82" y="60"/>
                </a:cubicBezTo>
                <a:cubicBezTo>
                  <a:pt x="75" y="49"/>
                  <a:pt x="80" y="44"/>
                  <a:pt x="85" y="41"/>
                </a:cubicBezTo>
                <a:cubicBezTo>
                  <a:pt x="86" y="40"/>
                  <a:pt x="86" y="40"/>
                  <a:pt x="86" y="40"/>
                </a:cubicBezTo>
                <a:cubicBezTo>
                  <a:pt x="89" y="38"/>
                  <a:pt x="93" y="34"/>
                  <a:pt x="100" y="38"/>
                </a:cubicBezTo>
                <a:cubicBezTo>
                  <a:pt x="102" y="39"/>
                  <a:pt x="103" y="41"/>
                  <a:pt x="105" y="43"/>
                </a:cubicBezTo>
                <a:cubicBezTo>
                  <a:pt x="108" y="45"/>
                  <a:pt x="111" y="47"/>
                  <a:pt x="114" y="49"/>
                </a:cubicBezTo>
                <a:cubicBezTo>
                  <a:pt x="119" y="53"/>
                  <a:pt x="123" y="54"/>
                  <a:pt x="125" y="54"/>
                </a:cubicBezTo>
                <a:cubicBezTo>
                  <a:pt x="127" y="49"/>
                  <a:pt x="127" y="40"/>
                  <a:pt x="125" y="32"/>
                </a:cubicBezTo>
                <a:cubicBezTo>
                  <a:pt x="122" y="19"/>
                  <a:pt x="127" y="16"/>
                  <a:pt x="133" y="14"/>
                </a:cubicBezTo>
                <a:cubicBezTo>
                  <a:pt x="134" y="13"/>
                  <a:pt x="134" y="13"/>
                  <a:pt x="134" y="13"/>
                </a:cubicBezTo>
                <a:cubicBezTo>
                  <a:pt x="137" y="12"/>
                  <a:pt x="141" y="10"/>
                  <a:pt x="146" y="13"/>
                </a:cubicBezTo>
                <a:cubicBezTo>
                  <a:pt x="148" y="15"/>
                  <a:pt x="150" y="17"/>
                  <a:pt x="152" y="21"/>
                </a:cubicBezTo>
                <a:cubicBezTo>
                  <a:pt x="156" y="27"/>
                  <a:pt x="161" y="33"/>
                  <a:pt x="166" y="36"/>
                </a:cubicBezTo>
                <a:cubicBezTo>
                  <a:pt x="167" y="36"/>
                  <a:pt x="168" y="37"/>
                  <a:pt x="168" y="37"/>
                </a:cubicBezTo>
                <a:cubicBezTo>
                  <a:pt x="172" y="34"/>
                  <a:pt x="175" y="24"/>
                  <a:pt x="175" y="15"/>
                </a:cubicBezTo>
                <a:cubicBezTo>
                  <a:pt x="176" y="2"/>
                  <a:pt x="182" y="1"/>
                  <a:pt x="188" y="0"/>
                </a:cubicBezTo>
                <a:cubicBezTo>
                  <a:pt x="189" y="0"/>
                  <a:pt x="189" y="0"/>
                  <a:pt x="189" y="0"/>
                </a:cubicBezTo>
                <a:cubicBezTo>
                  <a:pt x="192" y="0"/>
                  <a:pt x="195" y="0"/>
                  <a:pt x="198" y="2"/>
                </a:cubicBezTo>
                <a:cubicBezTo>
                  <a:pt x="201" y="3"/>
                  <a:pt x="203" y="7"/>
                  <a:pt x="204" y="13"/>
                </a:cubicBezTo>
                <a:cubicBezTo>
                  <a:pt x="207" y="21"/>
                  <a:pt x="211" y="29"/>
                  <a:pt x="214" y="32"/>
                </a:cubicBezTo>
                <a:cubicBezTo>
                  <a:pt x="218" y="31"/>
                  <a:pt x="224" y="23"/>
                  <a:pt x="227" y="13"/>
                </a:cubicBezTo>
                <a:cubicBezTo>
                  <a:pt x="231" y="0"/>
                  <a:pt x="237" y="1"/>
                  <a:pt x="243" y="2"/>
                </a:cubicBezTo>
                <a:cubicBezTo>
                  <a:pt x="244" y="2"/>
                  <a:pt x="244" y="2"/>
                  <a:pt x="244" y="2"/>
                </a:cubicBezTo>
                <a:cubicBezTo>
                  <a:pt x="246" y="2"/>
                  <a:pt x="249" y="3"/>
                  <a:pt x="251" y="4"/>
                </a:cubicBezTo>
                <a:cubicBezTo>
                  <a:pt x="254" y="6"/>
                  <a:pt x="256" y="11"/>
                  <a:pt x="256" y="18"/>
                </a:cubicBezTo>
                <a:cubicBezTo>
                  <a:pt x="256" y="26"/>
                  <a:pt x="257" y="35"/>
                  <a:pt x="260" y="39"/>
                </a:cubicBezTo>
                <a:cubicBezTo>
                  <a:pt x="264" y="39"/>
                  <a:pt x="272" y="33"/>
                  <a:pt x="278" y="24"/>
                </a:cubicBezTo>
                <a:cubicBezTo>
                  <a:pt x="285" y="13"/>
                  <a:pt x="290" y="15"/>
                  <a:pt x="296" y="17"/>
                </a:cubicBezTo>
                <a:cubicBezTo>
                  <a:pt x="297" y="18"/>
                  <a:pt x="297" y="18"/>
                  <a:pt x="297" y="18"/>
                </a:cubicBezTo>
                <a:cubicBezTo>
                  <a:pt x="298" y="18"/>
                  <a:pt x="299" y="19"/>
                  <a:pt x="301" y="19"/>
                </a:cubicBezTo>
                <a:cubicBezTo>
                  <a:pt x="305" y="23"/>
                  <a:pt x="307" y="28"/>
                  <a:pt x="304" y="36"/>
                </a:cubicBezTo>
                <a:cubicBezTo>
                  <a:pt x="302" y="44"/>
                  <a:pt x="301" y="54"/>
                  <a:pt x="303" y="58"/>
                </a:cubicBezTo>
                <a:cubicBezTo>
                  <a:pt x="306" y="58"/>
                  <a:pt x="316" y="54"/>
                  <a:pt x="323" y="48"/>
                </a:cubicBezTo>
                <a:cubicBezTo>
                  <a:pt x="330" y="42"/>
                  <a:pt x="335" y="40"/>
                  <a:pt x="340" y="44"/>
                </a:cubicBezTo>
                <a:cubicBezTo>
                  <a:pt x="341" y="44"/>
                  <a:pt x="342" y="45"/>
                  <a:pt x="343" y="46"/>
                </a:cubicBezTo>
                <a:cubicBezTo>
                  <a:pt x="344" y="47"/>
                  <a:pt x="344" y="47"/>
                  <a:pt x="344" y="47"/>
                </a:cubicBezTo>
                <a:cubicBezTo>
                  <a:pt x="349" y="51"/>
                  <a:pt x="353" y="55"/>
                  <a:pt x="346" y="66"/>
                </a:cubicBezTo>
                <a:cubicBezTo>
                  <a:pt x="341" y="74"/>
                  <a:pt x="339" y="82"/>
                  <a:pt x="339" y="87"/>
                </a:cubicBezTo>
                <a:cubicBezTo>
                  <a:pt x="342" y="89"/>
                  <a:pt x="352" y="87"/>
                  <a:pt x="362" y="82"/>
                </a:cubicBezTo>
                <a:cubicBezTo>
                  <a:pt x="368" y="79"/>
                  <a:pt x="373" y="79"/>
                  <a:pt x="377" y="81"/>
                </a:cubicBezTo>
                <a:cubicBezTo>
                  <a:pt x="379" y="82"/>
                  <a:pt x="380" y="84"/>
                  <a:pt x="381" y="86"/>
                </a:cubicBezTo>
                <a:cubicBezTo>
                  <a:pt x="382" y="87"/>
                  <a:pt x="382" y="87"/>
                  <a:pt x="382" y="87"/>
                </a:cubicBezTo>
                <a:cubicBezTo>
                  <a:pt x="385" y="92"/>
                  <a:pt x="388" y="98"/>
                  <a:pt x="378" y="106"/>
                </a:cubicBezTo>
                <a:cubicBezTo>
                  <a:pt x="372" y="112"/>
                  <a:pt x="367" y="120"/>
                  <a:pt x="366" y="124"/>
                </a:cubicBezTo>
                <a:cubicBezTo>
                  <a:pt x="367" y="125"/>
                  <a:pt x="367" y="125"/>
                  <a:pt x="367" y="125"/>
                </a:cubicBezTo>
                <a:cubicBezTo>
                  <a:pt x="370" y="127"/>
                  <a:pt x="381" y="128"/>
                  <a:pt x="390" y="126"/>
                </a:cubicBezTo>
                <a:cubicBezTo>
                  <a:pt x="395" y="125"/>
                  <a:pt x="400" y="125"/>
                  <a:pt x="402" y="127"/>
                </a:cubicBezTo>
                <a:cubicBezTo>
                  <a:pt x="405" y="129"/>
                  <a:pt x="406" y="132"/>
                  <a:pt x="407" y="134"/>
                </a:cubicBezTo>
                <a:cubicBezTo>
                  <a:pt x="408" y="135"/>
                  <a:pt x="408" y="135"/>
                  <a:pt x="408" y="135"/>
                </a:cubicBezTo>
                <a:cubicBezTo>
                  <a:pt x="410" y="141"/>
                  <a:pt x="411" y="147"/>
                  <a:pt x="400" y="153"/>
                </a:cubicBezTo>
                <a:cubicBezTo>
                  <a:pt x="392" y="157"/>
                  <a:pt x="385" y="164"/>
                  <a:pt x="383" y="168"/>
                </a:cubicBezTo>
                <a:cubicBezTo>
                  <a:pt x="384" y="168"/>
                  <a:pt x="384" y="169"/>
                  <a:pt x="385" y="170"/>
                </a:cubicBezTo>
                <a:cubicBezTo>
                  <a:pt x="390" y="172"/>
                  <a:pt x="398" y="175"/>
                  <a:pt x="405" y="175"/>
                </a:cubicBezTo>
                <a:cubicBezTo>
                  <a:pt x="410" y="175"/>
                  <a:pt x="413" y="176"/>
                  <a:pt x="416" y="178"/>
                </a:cubicBezTo>
                <a:cubicBezTo>
                  <a:pt x="420" y="180"/>
                  <a:pt x="420" y="185"/>
                  <a:pt x="420" y="188"/>
                </a:cubicBezTo>
                <a:cubicBezTo>
                  <a:pt x="420" y="189"/>
                  <a:pt x="420" y="189"/>
                  <a:pt x="420" y="189"/>
                </a:cubicBezTo>
                <a:cubicBezTo>
                  <a:pt x="421" y="195"/>
                  <a:pt x="421" y="201"/>
                  <a:pt x="408" y="204"/>
                </a:cubicBezTo>
                <a:cubicBezTo>
                  <a:pt x="400" y="206"/>
                  <a:pt x="391" y="210"/>
                  <a:pt x="388" y="214"/>
                </a:cubicBezTo>
                <a:cubicBezTo>
                  <a:pt x="389" y="216"/>
                  <a:pt x="391" y="218"/>
                  <a:pt x="396" y="221"/>
                </a:cubicBezTo>
                <a:cubicBezTo>
                  <a:pt x="399" y="223"/>
                  <a:pt x="404" y="225"/>
                  <a:pt x="408" y="227"/>
                </a:cubicBezTo>
                <a:cubicBezTo>
                  <a:pt x="410" y="228"/>
                  <a:pt x="412" y="229"/>
                  <a:pt x="414" y="230"/>
                </a:cubicBezTo>
                <a:cubicBezTo>
                  <a:pt x="421" y="234"/>
                  <a:pt x="420" y="239"/>
                  <a:pt x="419" y="243"/>
                </a:cubicBezTo>
                <a:cubicBezTo>
                  <a:pt x="419" y="244"/>
                  <a:pt x="419" y="244"/>
                  <a:pt x="419" y="244"/>
                </a:cubicBezTo>
                <a:cubicBezTo>
                  <a:pt x="418" y="250"/>
                  <a:pt x="416" y="256"/>
                  <a:pt x="403" y="255"/>
                </a:cubicBezTo>
                <a:cubicBezTo>
                  <a:pt x="394" y="255"/>
                  <a:pt x="385" y="257"/>
                  <a:pt x="381" y="260"/>
                </a:cubicBezTo>
                <a:cubicBezTo>
                  <a:pt x="382" y="263"/>
                  <a:pt x="388" y="271"/>
                  <a:pt x="397" y="277"/>
                </a:cubicBezTo>
                <a:cubicBezTo>
                  <a:pt x="397" y="277"/>
                  <a:pt x="397" y="277"/>
                  <a:pt x="397" y="277"/>
                </a:cubicBezTo>
                <a:cubicBezTo>
                  <a:pt x="408" y="284"/>
                  <a:pt x="406" y="290"/>
                  <a:pt x="403" y="296"/>
                </a:cubicBezTo>
                <a:cubicBezTo>
                  <a:pt x="403" y="297"/>
                  <a:pt x="403" y="297"/>
                  <a:pt x="403" y="297"/>
                </a:cubicBezTo>
                <a:cubicBezTo>
                  <a:pt x="400" y="302"/>
                  <a:pt x="397" y="308"/>
                  <a:pt x="384" y="304"/>
                </a:cubicBezTo>
                <a:cubicBezTo>
                  <a:pt x="376" y="301"/>
                  <a:pt x="367" y="301"/>
                  <a:pt x="363" y="302"/>
                </a:cubicBezTo>
                <a:cubicBezTo>
                  <a:pt x="362" y="306"/>
                  <a:pt x="366" y="315"/>
                  <a:pt x="373" y="323"/>
                </a:cubicBezTo>
                <a:cubicBezTo>
                  <a:pt x="382" y="333"/>
                  <a:pt x="379" y="338"/>
                  <a:pt x="375" y="343"/>
                </a:cubicBezTo>
                <a:cubicBezTo>
                  <a:pt x="374" y="344"/>
                  <a:pt x="374" y="344"/>
                  <a:pt x="374" y="344"/>
                </a:cubicBezTo>
                <a:cubicBezTo>
                  <a:pt x="370" y="348"/>
                  <a:pt x="365" y="353"/>
                  <a:pt x="354" y="346"/>
                </a:cubicBezTo>
                <a:cubicBezTo>
                  <a:pt x="347" y="341"/>
                  <a:pt x="338" y="338"/>
                  <a:pt x="334" y="339"/>
                </a:cubicBezTo>
                <a:cubicBezTo>
                  <a:pt x="332" y="342"/>
                  <a:pt x="334" y="352"/>
                  <a:pt x="338" y="361"/>
                </a:cubicBezTo>
                <a:cubicBezTo>
                  <a:pt x="344" y="373"/>
                  <a:pt x="340" y="377"/>
                  <a:pt x="335" y="381"/>
                </a:cubicBezTo>
                <a:cubicBezTo>
                  <a:pt x="334" y="381"/>
                  <a:pt x="334" y="381"/>
                  <a:pt x="334" y="381"/>
                </a:cubicBezTo>
                <a:cubicBezTo>
                  <a:pt x="331" y="384"/>
                  <a:pt x="326" y="387"/>
                  <a:pt x="320" y="383"/>
                </a:cubicBezTo>
                <a:cubicBezTo>
                  <a:pt x="318" y="382"/>
                  <a:pt x="316" y="380"/>
                  <a:pt x="314" y="378"/>
                </a:cubicBezTo>
                <a:cubicBezTo>
                  <a:pt x="311" y="375"/>
                  <a:pt x="308" y="372"/>
                  <a:pt x="304" y="370"/>
                </a:cubicBezTo>
                <a:cubicBezTo>
                  <a:pt x="301" y="368"/>
                  <a:pt x="298" y="367"/>
                  <a:pt x="296" y="366"/>
                </a:cubicBezTo>
                <a:cubicBezTo>
                  <a:pt x="294" y="369"/>
                  <a:pt x="293" y="379"/>
                  <a:pt x="295" y="389"/>
                </a:cubicBezTo>
                <a:cubicBezTo>
                  <a:pt x="298" y="402"/>
                  <a:pt x="292" y="405"/>
                  <a:pt x="287" y="407"/>
                </a:cubicBezTo>
                <a:cubicBezTo>
                  <a:pt x="285" y="408"/>
                  <a:pt x="285" y="408"/>
                  <a:pt x="285" y="408"/>
                </a:cubicBezTo>
                <a:cubicBezTo>
                  <a:pt x="282" y="409"/>
                  <a:pt x="278" y="410"/>
                  <a:pt x="274" y="407"/>
                </a:cubicBezTo>
                <a:cubicBezTo>
                  <a:pt x="272" y="406"/>
                  <a:pt x="269" y="403"/>
                  <a:pt x="267" y="399"/>
                </a:cubicBezTo>
                <a:cubicBezTo>
                  <a:pt x="264" y="393"/>
                  <a:pt x="258" y="386"/>
                  <a:pt x="254" y="384"/>
                </a:cubicBezTo>
                <a:cubicBezTo>
                  <a:pt x="253" y="383"/>
                  <a:pt x="253" y="383"/>
                  <a:pt x="252" y="383"/>
                </a:cubicBezTo>
                <a:cubicBezTo>
                  <a:pt x="249" y="386"/>
                  <a:pt x="247" y="395"/>
                  <a:pt x="247" y="404"/>
                </a:cubicBezTo>
                <a:cubicBezTo>
                  <a:pt x="247" y="417"/>
                  <a:pt x="241" y="419"/>
                  <a:pt x="235" y="420"/>
                </a:cubicBezTo>
                <a:cubicBezTo>
                  <a:pt x="233" y="420"/>
                  <a:pt x="233" y="420"/>
                  <a:pt x="233" y="420"/>
                </a:cubicBezTo>
                <a:cubicBezTo>
                  <a:pt x="231" y="420"/>
                  <a:pt x="227" y="421"/>
                  <a:pt x="224" y="419"/>
                </a:cubicBezTo>
                <a:cubicBezTo>
                  <a:pt x="221" y="417"/>
                  <a:pt x="219" y="413"/>
                  <a:pt x="218" y="408"/>
                </a:cubicBezTo>
                <a:cubicBezTo>
                  <a:pt x="215" y="399"/>
                  <a:pt x="210" y="391"/>
                  <a:pt x="206" y="388"/>
                </a:cubicBezTo>
                <a:cubicBezTo>
                  <a:pt x="206" y="388"/>
                  <a:pt x="206" y="388"/>
                  <a:pt x="206" y="388"/>
                </a:cubicBezTo>
                <a:cubicBezTo>
                  <a:pt x="202" y="391"/>
                  <a:pt x="198" y="399"/>
                  <a:pt x="195" y="407"/>
                </a:cubicBezTo>
                <a:cubicBezTo>
                  <a:pt x="192" y="420"/>
                  <a:pt x="186" y="420"/>
                  <a:pt x="180" y="419"/>
                </a:cubicBezTo>
                <a:cubicBezTo>
                  <a:pt x="178" y="419"/>
                  <a:pt x="178" y="419"/>
                  <a:pt x="178" y="419"/>
                </a:cubicBezTo>
                <a:cubicBezTo>
                  <a:pt x="176" y="418"/>
                  <a:pt x="174" y="418"/>
                  <a:pt x="171" y="417"/>
                </a:cubicBezTo>
                <a:cubicBezTo>
                  <a:pt x="168" y="415"/>
                  <a:pt x="166" y="410"/>
                  <a:pt x="166" y="403"/>
                </a:cubicBezTo>
                <a:cubicBezTo>
                  <a:pt x="166" y="394"/>
                  <a:pt x="163" y="384"/>
                  <a:pt x="160" y="381"/>
                </a:cubicBezTo>
                <a:cubicBezTo>
                  <a:pt x="156" y="383"/>
                  <a:pt x="149" y="389"/>
                  <a:pt x="145" y="396"/>
                </a:cubicBezTo>
                <a:cubicBezTo>
                  <a:pt x="138" y="408"/>
                  <a:pt x="132" y="406"/>
                  <a:pt x="127" y="404"/>
                </a:cubicBezTo>
                <a:cubicBezTo>
                  <a:pt x="125" y="403"/>
                  <a:pt x="125" y="403"/>
                  <a:pt x="125" y="403"/>
                </a:cubicBezTo>
                <a:cubicBezTo>
                  <a:pt x="124" y="403"/>
                  <a:pt x="123" y="402"/>
                  <a:pt x="121" y="401"/>
                </a:cubicBezTo>
                <a:cubicBezTo>
                  <a:pt x="117" y="398"/>
                  <a:pt x="116" y="393"/>
                  <a:pt x="118" y="385"/>
                </a:cubicBezTo>
                <a:cubicBezTo>
                  <a:pt x="120" y="375"/>
                  <a:pt x="120" y="365"/>
                  <a:pt x="117" y="362"/>
                </a:cubicBezTo>
                <a:cubicBezTo>
                  <a:pt x="113" y="363"/>
                  <a:pt x="105" y="367"/>
                  <a:pt x="99" y="373"/>
                </a:cubicBezTo>
                <a:cubicBezTo>
                  <a:pt x="92" y="379"/>
                  <a:pt x="87" y="381"/>
                  <a:pt x="82" y="377"/>
                </a:cubicBezTo>
                <a:close/>
                <a:moveTo>
                  <a:pt x="84" y="328"/>
                </a:moveTo>
                <a:cubicBezTo>
                  <a:pt x="85" y="329"/>
                  <a:pt x="85" y="329"/>
                  <a:pt x="85" y="329"/>
                </a:cubicBezTo>
                <a:cubicBezTo>
                  <a:pt x="90" y="335"/>
                  <a:pt x="84" y="350"/>
                  <a:pt x="80" y="358"/>
                </a:cubicBezTo>
                <a:cubicBezTo>
                  <a:pt x="75" y="366"/>
                  <a:pt x="78" y="368"/>
                  <a:pt x="81" y="371"/>
                </a:cubicBezTo>
                <a:cubicBezTo>
                  <a:pt x="82" y="372"/>
                  <a:pt x="82" y="372"/>
                  <a:pt x="82" y="372"/>
                </a:cubicBezTo>
                <a:cubicBezTo>
                  <a:pt x="83" y="372"/>
                  <a:pt x="84" y="373"/>
                  <a:pt x="85" y="373"/>
                </a:cubicBezTo>
                <a:cubicBezTo>
                  <a:pt x="86" y="374"/>
                  <a:pt x="89" y="376"/>
                  <a:pt x="95" y="369"/>
                </a:cubicBezTo>
                <a:cubicBezTo>
                  <a:pt x="102" y="364"/>
                  <a:pt x="111" y="357"/>
                  <a:pt x="118" y="357"/>
                </a:cubicBezTo>
                <a:cubicBezTo>
                  <a:pt x="119" y="357"/>
                  <a:pt x="119" y="357"/>
                  <a:pt x="120" y="357"/>
                </a:cubicBezTo>
                <a:cubicBezTo>
                  <a:pt x="126" y="361"/>
                  <a:pt x="125" y="377"/>
                  <a:pt x="123" y="386"/>
                </a:cubicBezTo>
                <a:cubicBezTo>
                  <a:pt x="120" y="395"/>
                  <a:pt x="123" y="396"/>
                  <a:pt x="124" y="397"/>
                </a:cubicBezTo>
                <a:cubicBezTo>
                  <a:pt x="125" y="398"/>
                  <a:pt x="126" y="398"/>
                  <a:pt x="127" y="399"/>
                </a:cubicBezTo>
                <a:cubicBezTo>
                  <a:pt x="129" y="399"/>
                  <a:pt x="129" y="399"/>
                  <a:pt x="129" y="399"/>
                </a:cubicBezTo>
                <a:cubicBezTo>
                  <a:pt x="132" y="401"/>
                  <a:pt x="136" y="402"/>
                  <a:pt x="140" y="394"/>
                </a:cubicBezTo>
                <a:cubicBezTo>
                  <a:pt x="145" y="386"/>
                  <a:pt x="153" y="377"/>
                  <a:pt x="160" y="376"/>
                </a:cubicBezTo>
                <a:cubicBezTo>
                  <a:pt x="160" y="376"/>
                  <a:pt x="161" y="376"/>
                  <a:pt x="161" y="376"/>
                </a:cubicBezTo>
                <a:cubicBezTo>
                  <a:pt x="162" y="376"/>
                  <a:pt x="162" y="376"/>
                  <a:pt x="162" y="376"/>
                </a:cubicBezTo>
                <a:cubicBezTo>
                  <a:pt x="168" y="380"/>
                  <a:pt x="171" y="394"/>
                  <a:pt x="171" y="403"/>
                </a:cubicBezTo>
                <a:cubicBezTo>
                  <a:pt x="171" y="411"/>
                  <a:pt x="173" y="412"/>
                  <a:pt x="174" y="413"/>
                </a:cubicBezTo>
                <a:cubicBezTo>
                  <a:pt x="175" y="413"/>
                  <a:pt x="177" y="414"/>
                  <a:pt x="179" y="414"/>
                </a:cubicBezTo>
                <a:cubicBezTo>
                  <a:pt x="180" y="414"/>
                  <a:pt x="180" y="414"/>
                  <a:pt x="180" y="414"/>
                </a:cubicBezTo>
                <a:cubicBezTo>
                  <a:pt x="185" y="415"/>
                  <a:pt x="188" y="415"/>
                  <a:pt x="190" y="406"/>
                </a:cubicBezTo>
                <a:cubicBezTo>
                  <a:pt x="193" y="397"/>
                  <a:pt x="198" y="387"/>
                  <a:pt x="204" y="383"/>
                </a:cubicBezTo>
                <a:cubicBezTo>
                  <a:pt x="204" y="383"/>
                  <a:pt x="205" y="383"/>
                  <a:pt x="206" y="383"/>
                </a:cubicBezTo>
                <a:cubicBezTo>
                  <a:pt x="207" y="383"/>
                  <a:pt x="208" y="383"/>
                  <a:pt x="209" y="384"/>
                </a:cubicBezTo>
                <a:cubicBezTo>
                  <a:pt x="215" y="388"/>
                  <a:pt x="220" y="398"/>
                  <a:pt x="223" y="407"/>
                </a:cubicBezTo>
                <a:cubicBezTo>
                  <a:pt x="224" y="411"/>
                  <a:pt x="225" y="414"/>
                  <a:pt x="227" y="415"/>
                </a:cubicBezTo>
                <a:cubicBezTo>
                  <a:pt x="228" y="416"/>
                  <a:pt x="230" y="415"/>
                  <a:pt x="232" y="415"/>
                </a:cubicBezTo>
                <a:cubicBezTo>
                  <a:pt x="234" y="415"/>
                  <a:pt x="234" y="415"/>
                  <a:pt x="234" y="415"/>
                </a:cubicBezTo>
                <a:cubicBezTo>
                  <a:pt x="238" y="414"/>
                  <a:pt x="242" y="414"/>
                  <a:pt x="242" y="404"/>
                </a:cubicBezTo>
                <a:cubicBezTo>
                  <a:pt x="242" y="394"/>
                  <a:pt x="245" y="382"/>
                  <a:pt x="250" y="378"/>
                </a:cubicBezTo>
                <a:cubicBezTo>
                  <a:pt x="251" y="378"/>
                  <a:pt x="251" y="377"/>
                  <a:pt x="252" y="377"/>
                </a:cubicBezTo>
                <a:cubicBezTo>
                  <a:pt x="254" y="378"/>
                  <a:pt x="255" y="378"/>
                  <a:pt x="257" y="379"/>
                </a:cubicBezTo>
                <a:cubicBezTo>
                  <a:pt x="262" y="383"/>
                  <a:pt x="267" y="389"/>
                  <a:pt x="272" y="397"/>
                </a:cubicBezTo>
                <a:cubicBezTo>
                  <a:pt x="273" y="400"/>
                  <a:pt x="275" y="402"/>
                  <a:pt x="277" y="403"/>
                </a:cubicBezTo>
                <a:cubicBezTo>
                  <a:pt x="279" y="405"/>
                  <a:pt x="281" y="404"/>
                  <a:pt x="283" y="403"/>
                </a:cubicBezTo>
                <a:cubicBezTo>
                  <a:pt x="285" y="402"/>
                  <a:pt x="285" y="402"/>
                  <a:pt x="285" y="402"/>
                </a:cubicBezTo>
                <a:cubicBezTo>
                  <a:pt x="289" y="401"/>
                  <a:pt x="292" y="400"/>
                  <a:pt x="290" y="390"/>
                </a:cubicBezTo>
                <a:cubicBezTo>
                  <a:pt x="288" y="381"/>
                  <a:pt x="288" y="366"/>
                  <a:pt x="294" y="361"/>
                </a:cubicBezTo>
                <a:cubicBezTo>
                  <a:pt x="294" y="361"/>
                  <a:pt x="295" y="361"/>
                  <a:pt x="295" y="361"/>
                </a:cubicBezTo>
                <a:cubicBezTo>
                  <a:pt x="299" y="361"/>
                  <a:pt x="304" y="364"/>
                  <a:pt x="307" y="366"/>
                </a:cubicBezTo>
                <a:cubicBezTo>
                  <a:pt x="311" y="368"/>
                  <a:pt x="315" y="371"/>
                  <a:pt x="318" y="375"/>
                </a:cubicBezTo>
                <a:cubicBezTo>
                  <a:pt x="320" y="376"/>
                  <a:pt x="321" y="378"/>
                  <a:pt x="322" y="379"/>
                </a:cubicBezTo>
                <a:cubicBezTo>
                  <a:pt x="326" y="381"/>
                  <a:pt x="328" y="380"/>
                  <a:pt x="331" y="377"/>
                </a:cubicBezTo>
                <a:cubicBezTo>
                  <a:pt x="332" y="377"/>
                  <a:pt x="332" y="377"/>
                  <a:pt x="332" y="377"/>
                </a:cubicBezTo>
                <a:cubicBezTo>
                  <a:pt x="336" y="374"/>
                  <a:pt x="338" y="372"/>
                  <a:pt x="334" y="364"/>
                </a:cubicBezTo>
                <a:cubicBezTo>
                  <a:pt x="330" y="355"/>
                  <a:pt x="325" y="340"/>
                  <a:pt x="330" y="335"/>
                </a:cubicBezTo>
                <a:cubicBezTo>
                  <a:pt x="331" y="334"/>
                  <a:pt x="331" y="334"/>
                  <a:pt x="332" y="334"/>
                </a:cubicBezTo>
                <a:cubicBezTo>
                  <a:pt x="338" y="333"/>
                  <a:pt x="349" y="337"/>
                  <a:pt x="357" y="341"/>
                </a:cubicBezTo>
                <a:cubicBezTo>
                  <a:pt x="365" y="346"/>
                  <a:pt x="367" y="344"/>
                  <a:pt x="370" y="341"/>
                </a:cubicBezTo>
                <a:cubicBezTo>
                  <a:pt x="371" y="339"/>
                  <a:pt x="371" y="339"/>
                  <a:pt x="371" y="339"/>
                </a:cubicBezTo>
                <a:cubicBezTo>
                  <a:pt x="374" y="336"/>
                  <a:pt x="376" y="334"/>
                  <a:pt x="369" y="327"/>
                </a:cubicBezTo>
                <a:cubicBezTo>
                  <a:pt x="363" y="320"/>
                  <a:pt x="355" y="306"/>
                  <a:pt x="358" y="300"/>
                </a:cubicBezTo>
                <a:cubicBezTo>
                  <a:pt x="358" y="299"/>
                  <a:pt x="359" y="299"/>
                  <a:pt x="359" y="298"/>
                </a:cubicBezTo>
                <a:cubicBezTo>
                  <a:pt x="365" y="295"/>
                  <a:pt x="377" y="296"/>
                  <a:pt x="386" y="299"/>
                </a:cubicBezTo>
                <a:cubicBezTo>
                  <a:pt x="395" y="302"/>
                  <a:pt x="397" y="299"/>
                  <a:pt x="398" y="295"/>
                </a:cubicBezTo>
                <a:cubicBezTo>
                  <a:pt x="399" y="293"/>
                  <a:pt x="399" y="293"/>
                  <a:pt x="399" y="293"/>
                </a:cubicBezTo>
                <a:cubicBezTo>
                  <a:pt x="401" y="290"/>
                  <a:pt x="402" y="287"/>
                  <a:pt x="394" y="282"/>
                </a:cubicBezTo>
                <a:cubicBezTo>
                  <a:pt x="386" y="276"/>
                  <a:pt x="375" y="265"/>
                  <a:pt x="377" y="258"/>
                </a:cubicBezTo>
                <a:cubicBezTo>
                  <a:pt x="377" y="257"/>
                  <a:pt x="377" y="257"/>
                  <a:pt x="377" y="257"/>
                </a:cubicBezTo>
                <a:cubicBezTo>
                  <a:pt x="383" y="252"/>
                  <a:pt x="394" y="250"/>
                  <a:pt x="403" y="250"/>
                </a:cubicBezTo>
                <a:cubicBezTo>
                  <a:pt x="413" y="251"/>
                  <a:pt x="413" y="248"/>
                  <a:pt x="414" y="243"/>
                </a:cubicBezTo>
                <a:cubicBezTo>
                  <a:pt x="414" y="242"/>
                  <a:pt x="414" y="242"/>
                  <a:pt x="414" y="242"/>
                </a:cubicBezTo>
                <a:cubicBezTo>
                  <a:pt x="415" y="238"/>
                  <a:pt x="415" y="236"/>
                  <a:pt x="412" y="234"/>
                </a:cubicBezTo>
                <a:cubicBezTo>
                  <a:pt x="410" y="233"/>
                  <a:pt x="408" y="232"/>
                  <a:pt x="406" y="232"/>
                </a:cubicBezTo>
                <a:cubicBezTo>
                  <a:pt x="402" y="230"/>
                  <a:pt x="397" y="228"/>
                  <a:pt x="393" y="225"/>
                </a:cubicBezTo>
                <a:cubicBezTo>
                  <a:pt x="389" y="222"/>
                  <a:pt x="383" y="218"/>
                  <a:pt x="383" y="214"/>
                </a:cubicBezTo>
                <a:cubicBezTo>
                  <a:pt x="383" y="213"/>
                  <a:pt x="383" y="212"/>
                  <a:pt x="384" y="212"/>
                </a:cubicBezTo>
                <a:cubicBezTo>
                  <a:pt x="387" y="206"/>
                  <a:pt x="398" y="201"/>
                  <a:pt x="407" y="199"/>
                </a:cubicBezTo>
                <a:cubicBezTo>
                  <a:pt x="416" y="197"/>
                  <a:pt x="416" y="194"/>
                  <a:pt x="415" y="190"/>
                </a:cubicBezTo>
                <a:cubicBezTo>
                  <a:pt x="415" y="188"/>
                  <a:pt x="415" y="188"/>
                  <a:pt x="415" y="188"/>
                </a:cubicBezTo>
                <a:cubicBezTo>
                  <a:pt x="415" y="185"/>
                  <a:pt x="415" y="183"/>
                  <a:pt x="413" y="182"/>
                </a:cubicBezTo>
                <a:cubicBezTo>
                  <a:pt x="411" y="181"/>
                  <a:pt x="409" y="180"/>
                  <a:pt x="405" y="180"/>
                </a:cubicBezTo>
                <a:cubicBezTo>
                  <a:pt x="397" y="180"/>
                  <a:pt x="388" y="177"/>
                  <a:pt x="383" y="174"/>
                </a:cubicBezTo>
                <a:cubicBezTo>
                  <a:pt x="380" y="172"/>
                  <a:pt x="379" y="171"/>
                  <a:pt x="378" y="169"/>
                </a:cubicBezTo>
                <a:cubicBezTo>
                  <a:pt x="378" y="168"/>
                  <a:pt x="378" y="168"/>
                  <a:pt x="378" y="167"/>
                </a:cubicBezTo>
                <a:cubicBezTo>
                  <a:pt x="380" y="161"/>
                  <a:pt x="390" y="153"/>
                  <a:pt x="397" y="149"/>
                </a:cubicBezTo>
                <a:cubicBezTo>
                  <a:pt x="406" y="144"/>
                  <a:pt x="405" y="141"/>
                  <a:pt x="403" y="137"/>
                </a:cubicBezTo>
                <a:cubicBezTo>
                  <a:pt x="403" y="136"/>
                  <a:pt x="403" y="136"/>
                  <a:pt x="403" y="136"/>
                </a:cubicBezTo>
                <a:cubicBezTo>
                  <a:pt x="402" y="134"/>
                  <a:pt x="401" y="132"/>
                  <a:pt x="400" y="131"/>
                </a:cubicBezTo>
                <a:cubicBezTo>
                  <a:pt x="398" y="130"/>
                  <a:pt x="395" y="130"/>
                  <a:pt x="391" y="131"/>
                </a:cubicBezTo>
                <a:cubicBezTo>
                  <a:pt x="382" y="133"/>
                  <a:pt x="370" y="132"/>
                  <a:pt x="364" y="129"/>
                </a:cubicBezTo>
                <a:cubicBezTo>
                  <a:pt x="363" y="128"/>
                  <a:pt x="362" y="128"/>
                  <a:pt x="362" y="127"/>
                </a:cubicBezTo>
                <a:cubicBezTo>
                  <a:pt x="361" y="126"/>
                  <a:pt x="361" y="126"/>
                  <a:pt x="361" y="125"/>
                </a:cubicBezTo>
                <a:cubicBezTo>
                  <a:pt x="362" y="118"/>
                  <a:pt x="369" y="109"/>
                  <a:pt x="375" y="103"/>
                </a:cubicBezTo>
                <a:cubicBezTo>
                  <a:pt x="382" y="96"/>
                  <a:pt x="380" y="93"/>
                  <a:pt x="378" y="90"/>
                </a:cubicBezTo>
                <a:cubicBezTo>
                  <a:pt x="377" y="89"/>
                  <a:pt x="377" y="89"/>
                  <a:pt x="377" y="89"/>
                </a:cubicBezTo>
                <a:cubicBezTo>
                  <a:pt x="376" y="87"/>
                  <a:pt x="375" y="86"/>
                  <a:pt x="374" y="85"/>
                </a:cubicBezTo>
                <a:cubicBezTo>
                  <a:pt x="373" y="85"/>
                  <a:pt x="371" y="83"/>
                  <a:pt x="364" y="87"/>
                </a:cubicBezTo>
                <a:cubicBezTo>
                  <a:pt x="356" y="91"/>
                  <a:pt x="342" y="95"/>
                  <a:pt x="336" y="91"/>
                </a:cubicBezTo>
                <a:cubicBezTo>
                  <a:pt x="335" y="91"/>
                  <a:pt x="335" y="91"/>
                  <a:pt x="335" y="90"/>
                </a:cubicBezTo>
                <a:cubicBezTo>
                  <a:pt x="334" y="90"/>
                  <a:pt x="334" y="90"/>
                  <a:pt x="334" y="89"/>
                </a:cubicBezTo>
                <a:cubicBezTo>
                  <a:pt x="333" y="82"/>
                  <a:pt x="337" y="71"/>
                  <a:pt x="341" y="64"/>
                </a:cubicBezTo>
                <a:cubicBezTo>
                  <a:pt x="347" y="55"/>
                  <a:pt x="344" y="53"/>
                  <a:pt x="341" y="51"/>
                </a:cubicBezTo>
                <a:cubicBezTo>
                  <a:pt x="340" y="50"/>
                  <a:pt x="340" y="50"/>
                  <a:pt x="340" y="50"/>
                </a:cubicBezTo>
                <a:cubicBezTo>
                  <a:pt x="339" y="49"/>
                  <a:pt x="338" y="48"/>
                  <a:pt x="337" y="48"/>
                </a:cubicBezTo>
                <a:cubicBezTo>
                  <a:pt x="336" y="47"/>
                  <a:pt x="333" y="45"/>
                  <a:pt x="327" y="51"/>
                </a:cubicBezTo>
                <a:cubicBezTo>
                  <a:pt x="320" y="57"/>
                  <a:pt x="307" y="65"/>
                  <a:pt x="300" y="62"/>
                </a:cubicBezTo>
                <a:cubicBezTo>
                  <a:pt x="299" y="62"/>
                  <a:pt x="299" y="62"/>
                  <a:pt x="299" y="61"/>
                </a:cubicBezTo>
                <a:cubicBezTo>
                  <a:pt x="296" y="55"/>
                  <a:pt x="297" y="43"/>
                  <a:pt x="299" y="35"/>
                </a:cubicBezTo>
                <a:cubicBezTo>
                  <a:pt x="302" y="26"/>
                  <a:pt x="299" y="25"/>
                  <a:pt x="298" y="24"/>
                </a:cubicBezTo>
                <a:cubicBezTo>
                  <a:pt x="297" y="23"/>
                  <a:pt x="296" y="23"/>
                  <a:pt x="295" y="22"/>
                </a:cubicBezTo>
                <a:cubicBezTo>
                  <a:pt x="294" y="22"/>
                  <a:pt x="294" y="22"/>
                  <a:pt x="294" y="22"/>
                </a:cubicBezTo>
                <a:cubicBezTo>
                  <a:pt x="290" y="20"/>
                  <a:pt x="287" y="18"/>
                  <a:pt x="282" y="27"/>
                </a:cubicBezTo>
                <a:cubicBezTo>
                  <a:pt x="276" y="34"/>
                  <a:pt x="265" y="46"/>
                  <a:pt x="258" y="44"/>
                </a:cubicBezTo>
                <a:cubicBezTo>
                  <a:pt x="258" y="44"/>
                  <a:pt x="257" y="44"/>
                  <a:pt x="257" y="43"/>
                </a:cubicBezTo>
                <a:cubicBezTo>
                  <a:pt x="252" y="38"/>
                  <a:pt x="251" y="26"/>
                  <a:pt x="251" y="18"/>
                </a:cubicBezTo>
                <a:cubicBezTo>
                  <a:pt x="251" y="10"/>
                  <a:pt x="249" y="9"/>
                  <a:pt x="248" y="8"/>
                </a:cubicBezTo>
                <a:cubicBezTo>
                  <a:pt x="247" y="7"/>
                  <a:pt x="245" y="7"/>
                  <a:pt x="244" y="7"/>
                </a:cubicBezTo>
                <a:cubicBezTo>
                  <a:pt x="242" y="7"/>
                  <a:pt x="242" y="7"/>
                  <a:pt x="242" y="7"/>
                </a:cubicBezTo>
                <a:cubicBezTo>
                  <a:pt x="238" y="6"/>
                  <a:pt x="235" y="5"/>
                  <a:pt x="232" y="14"/>
                </a:cubicBezTo>
                <a:cubicBezTo>
                  <a:pt x="229" y="23"/>
                  <a:pt x="221" y="37"/>
                  <a:pt x="214" y="37"/>
                </a:cubicBezTo>
                <a:cubicBezTo>
                  <a:pt x="213" y="38"/>
                  <a:pt x="213" y="37"/>
                  <a:pt x="212" y="37"/>
                </a:cubicBezTo>
                <a:cubicBezTo>
                  <a:pt x="207" y="33"/>
                  <a:pt x="202" y="22"/>
                  <a:pt x="200" y="14"/>
                </a:cubicBezTo>
                <a:cubicBezTo>
                  <a:pt x="199" y="10"/>
                  <a:pt x="197" y="7"/>
                  <a:pt x="195" y="6"/>
                </a:cubicBezTo>
                <a:cubicBezTo>
                  <a:pt x="194" y="5"/>
                  <a:pt x="192" y="5"/>
                  <a:pt x="190" y="5"/>
                </a:cubicBezTo>
                <a:cubicBezTo>
                  <a:pt x="188" y="5"/>
                  <a:pt x="188" y="5"/>
                  <a:pt x="188" y="5"/>
                </a:cubicBezTo>
                <a:cubicBezTo>
                  <a:pt x="184" y="6"/>
                  <a:pt x="181" y="6"/>
                  <a:pt x="180" y="16"/>
                </a:cubicBezTo>
                <a:cubicBezTo>
                  <a:pt x="180" y="24"/>
                  <a:pt x="177" y="38"/>
                  <a:pt x="170" y="42"/>
                </a:cubicBezTo>
                <a:cubicBezTo>
                  <a:pt x="170" y="42"/>
                  <a:pt x="169" y="42"/>
                  <a:pt x="169" y="42"/>
                </a:cubicBezTo>
                <a:cubicBezTo>
                  <a:pt x="167" y="42"/>
                  <a:pt x="165" y="41"/>
                  <a:pt x="163" y="40"/>
                </a:cubicBezTo>
                <a:cubicBezTo>
                  <a:pt x="158" y="37"/>
                  <a:pt x="152" y="30"/>
                  <a:pt x="148" y="24"/>
                </a:cubicBezTo>
                <a:cubicBezTo>
                  <a:pt x="146" y="21"/>
                  <a:pt x="144" y="19"/>
                  <a:pt x="143" y="17"/>
                </a:cubicBezTo>
                <a:cubicBezTo>
                  <a:pt x="141" y="16"/>
                  <a:pt x="139" y="17"/>
                  <a:pt x="136" y="18"/>
                </a:cubicBezTo>
                <a:cubicBezTo>
                  <a:pt x="135" y="19"/>
                  <a:pt x="135" y="19"/>
                  <a:pt x="135" y="19"/>
                </a:cubicBezTo>
                <a:cubicBezTo>
                  <a:pt x="131" y="20"/>
                  <a:pt x="128" y="21"/>
                  <a:pt x="130" y="31"/>
                </a:cubicBezTo>
                <a:cubicBezTo>
                  <a:pt x="132" y="39"/>
                  <a:pt x="133" y="51"/>
                  <a:pt x="129" y="57"/>
                </a:cubicBezTo>
                <a:cubicBezTo>
                  <a:pt x="129" y="58"/>
                  <a:pt x="129" y="58"/>
                  <a:pt x="128" y="58"/>
                </a:cubicBezTo>
                <a:cubicBezTo>
                  <a:pt x="123" y="60"/>
                  <a:pt x="115" y="56"/>
                  <a:pt x="111" y="54"/>
                </a:cubicBezTo>
                <a:cubicBezTo>
                  <a:pt x="108" y="51"/>
                  <a:pt x="105" y="49"/>
                  <a:pt x="102" y="46"/>
                </a:cubicBezTo>
                <a:cubicBezTo>
                  <a:pt x="100" y="45"/>
                  <a:pt x="99" y="43"/>
                  <a:pt x="98" y="43"/>
                </a:cubicBezTo>
                <a:cubicBezTo>
                  <a:pt x="94" y="40"/>
                  <a:pt x="92" y="42"/>
                  <a:pt x="89" y="44"/>
                </a:cubicBezTo>
                <a:cubicBezTo>
                  <a:pt x="88" y="45"/>
                  <a:pt x="88" y="45"/>
                  <a:pt x="88" y="45"/>
                </a:cubicBezTo>
                <a:cubicBezTo>
                  <a:pt x="84" y="47"/>
                  <a:pt x="81" y="49"/>
                  <a:pt x="86" y="58"/>
                </a:cubicBezTo>
                <a:cubicBezTo>
                  <a:pt x="91" y="66"/>
                  <a:pt x="94" y="77"/>
                  <a:pt x="93" y="83"/>
                </a:cubicBezTo>
                <a:cubicBezTo>
                  <a:pt x="92" y="84"/>
                  <a:pt x="92" y="84"/>
                  <a:pt x="92" y="85"/>
                </a:cubicBezTo>
                <a:cubicBezTo>
                  <a:pt x="86" y="89"/>
                  <a:pt x="71" y="84"/>
                  <a:pt x="63" y="80"/>
                </a:cubicBezTo>
                <a:cubicBezTo>
                  <a:pt x="54" y="75"/>
                  <a:pt x="53" y="77"/>
                  <a:pt x="50" y="81"/>
                </a:cubicBezTo>
                <a:cubicBezTo>
                  <a:pt x="49" y="82"/>
                  <a:pt x="49" y="82"/>
                  <a:pt x="49" y="82"/>
                </a:cubicBezTo>
                <a:cubicBezTo>
                  <a:pt x="46" y="86"/>
                  <a:pt x="44" y="88"/>
                  <a:pt x="51" y="95"/>
                </a:cubicBezTo>
                <a:cubicBezTo>
                  <a:pt x="57" y="101"/>
                  <a:pt x="64" y="111"/>
                  <a:pt x="64" y="118"/>
                </a:cubicBezTo>
                <a:cubicBezTo>
                  <a:pt x="64" y="118"/>
                  <a:pt x="64" y="119"/>
                  <a:pt x="63" y="119"/>
                </a:cubicBezTo>
                <a:cubicBezTo>
                  <a:pt x="59" y="126"/>
                  <a:pt x="43" y="125"/>
                  <a:pt x="34" y="122"/>
                </a:cubicBezTo>
                <a:cubicBezTo>
                  <a:pt x="25" y="120"/>
                  <a:pt x="24" y="123"/>
                  <a:pt x="22" y="127"/>
                </a:cubicBezTo>
                <a:cubicBezTo>
                  <a:pt x="21" y="128"/>
                  <a:pt x="21" y="128"/>
                  <a:pt x="21" y="128"/>
                </a:cubicBezTo>
                <a:cubicBezTo>
                  <a:pt x="20" y="132"/>
                  <a:pt x="18" y="135"/>
                  <a:pt x="25" y="139"/>
                </a:cubicBezTo>
                <a:cubicBezTo>
                  <a:pt x="26" y="140"/>
                  <a:pt x="26" y="140"/>
                  <a:pt x="27" y="140"/>
                </a:cubicBezTo>
                <a:cubicBezTo>
                  <a:pt x="27" y="140"/>
                  <a:pt x="27" y="140"/>
                  <a:pt x="27" y="140"/>
                </a:cubicBezTo>
                <a:cubicBezTo>
                  <a:pt x="35" y="145"/>
                  <a:pt x="43" y="153"/>
                  <a:pt x="45" y="159"/>
                </a:cubicBezTo>
                <a:cubicBezTo>
                  <a:pt x="45" y="160"/>
                  <a:pt x="45" y="161"/>
                  <a:pt x="45" y="161"/>
                </a:cubicBezTo>
                <a:cubicBezTo>
                  <a:pt x="42" y="168"/>
                  <a:pt x="26" y="171"/>
                  <a:pt x="18" y="171"/>
                </a:cubicBezTo>
                <a:cubicBezTo>
                  <a:pt x="8" y="171"/>
                  <a:pt x="7" y="174"/>
                  <a:pt x="7" y="178"/>
                </a:cubicBezTo>
                <a:cubicBezTo>
                  <a:pt x="7" y="180"/>
                  <a:pt x="7" y="180"/>
                  <a:pt x="7" y="180"/>
                </a:cubicBezTo>
                <a:cubicBezTo>
                  <a:pt x="6" y="184"/>
                  <a:pt x="6" y="186"/>
                  <a:pt x="9" y="188"/>
                </a:cubicBezTo>
                <a:cubicBezTo>
                  <a:pt x="11" y="189"/>
                  <a:pt x="12" y="189"/>
                  <a:pt x="15" y="190"/>
                </a:cubicBezTo>
                <a:cubicBezTo>
                  <a:pt x="20" y="192"/>
                  <a:pt x="26" y="194"/>
                  <a:pt x="30" y="197"/>
                </a:cubicBezTo>
                <a:cubicBezTo>
                  <a:pt x="34" y="199"/>
                  <a:pt x="36" y="202"/>
                  <a:pt x="37" y="204"/>
                </a:cubicBezTo>
                <a:cubicBezTo>
                  <a:pt x="38" y="204"/>
                  <a:pt x="38" y="205"/>
                  <a:pt x="38" y="205"/>
                </a:cubicBezTo>
                <a:cubicBezTo>
                  <a:pt x="37" y="213"/>
                  <a:pt x="23" y="220"/>
                  <a:pt x="14" y="222"/>
                </a:cubicBezTo>
                <a:cubicBezTo>
                  <a:pt x="4" y="225"/>
                  <a:pt x="5" y="228"/>
                  <a:pt x="6" y="232"/>
                </a:cubicBezTo>
                <a:cubicBezTo>
                  <a:pt x="6" y="234"/>
                  <a:pt x="6" y="234"/>
                  <a:pt x="6" y="234"/>
                </a:cubicBezTo>
                <a:cubicBezTo>
                  <a:pt x="6" y="237"/>
                  <a:pt x="6" y="239"/>
                  <a:pt x="8" y="240"/>
                </a:cubicBezTo>
                <a:cubicBezTo>
                  <a:pt x="10" y="241"/>
                  <a:pt x="13" y="241"/>
                  <a:pt x="16" y="241"/>
                </a:cubicBezTo>
                <a:cubicBezTo>
                  <a:pt x="24" y="242"/>
                  <a:pt x="34" y="244"/>
                  <a:pt x="40" y="247"/>
                </a:cubicBezTo>
                <a:cubicBezTo>
                  <a:pt x="40" y="248"/>
                  <a:pt x="41" y="248"/>
                  <a:pt x="42" y="249"/>
                </a:cubicBezTo>
                <a:cubicBezTo>
                  <a:pt x="42" y="249"/>
                  <a:pt x="42" y="250"/>
                  <a:pt x="42" y="250"/>
                </a:cubicBezTo>
                <a:cubicBezTo>
                  <a:pt x="44" y="258"/>
                  <a:pt x="32" y="268"/>
                  <a:pt x="24" y="273"/>
                </a:cubicBezTo>
                <a:cubicBezTo>
                  <a:pt x="15" y="278"/>
                  <a:pt x="17" y="280"/>
                  <a:pt x="18" y="284"/>
                </a:cubicBezTo>
                <a:cubicBezTo>
                  <a:pt x="19" y="286"/>
                  <a:pt x="19" y="286"/>
                  <a:pt x="19" y="286"/>
                </a:cubicBezTo>
                <a:cubicBezTo>
                  <a:pt x="20" y="288"/>
                  <a:pt x="20" y="290"/>
                  <a:pt x="22" y="291"/>
                </a:cubicBezTo>
                <a:cubicBezTo>
                  <a:pt x="24" y="292"/>
                  <a:pt x="27" y="292"/>
                  <a:pt x="31" y="291"/>
                </a:cubicBezTo>
                <a:cubicBezTo>
                  <a:pt x="40" y="289"/>
                  <a:pt x="52" y="288"/>
                  <a:pt x="57" y="291"/>
                </a:cubicBezTo>
                <a:cubicBezTo>
                  <a:pt x="58" y="291"/>
                  <a:pt x="58" y="292"/>
                  <a:pt x="59" y="292"/>
                </a:cubicBezTo>
                <a:cubicBezTo>
                  <a:pt x="62" y="299"/>
                  <a:pt x="53" y="312"/>
                  <a:pt x="46" y="319"/>
                </a:cubicBezTo>
                <a:cubicBezTo>
                  <a:pt x="39" y="326"/>
                  <a:pt x="41" y="328"/>
                  <a:pt x="44" y="332"/>
                </a:cubicBezTo>
                <a:cubicBezTo>
                  <a:pt x="45" y="333"/>
                  <a:pt x="45" y="333"/>
                  <a:pt x="45" y="333"/>
                </a:cubicBezTo>
                <a:cubicBezTo>
                  <a:pt x="46" y="334"/>
                  <a:pt x="47" y="335"/>
                  <a:pt x="48" y="336"/>
                </a:cubicBezTo>
                <a:cubicBezTo>
                  <a:pt x="49" y="337"/>
                  <a:pt x="51" y="338"/>
                  <a:pt x="58" y="334"/>
                </a:cubicBezTo>
                <a:cubicBezTo>
                  <a:pt x="66" y="330"/>
                  <a:pt x="77" y="326"/>
                  <a:pt x="84" y="328"/>
                </a:cubicBezTo>
                <a:close/>
                <a:moveTo>
                  <a:pt x="132" y="333"/>
                </a:moveTo>
                <a:cubicBezTo>
                  <a:pt x="106" y="317"/>
                  <a:pt x="86" y="292"/>
                  <a:pt x="74" y="263"/>
                </a:cubicBezTo>
                <a:cubicBezTo>
                  <a:pt x="60" y="227"/>
                  <a:pt x="61" y="187"/>
                  <a:pt x="77" y="151"/>
                </a:cubicBezTo>
                <a:cubicBezTo>
                  <a:pt x="93" y="115"/>
                  <a:pt x="121" y="88"/>
                  <a:pt x="158" y="74"/>
                </a:cubicBezTo>
                <a:cubicBezTo>
                  <a:pt x="201" y="57"/>
                  <a:pt x="250" y="62"/>
                  <a:pt x="289" y="87"/>
                </a:cubicBezTo>
                <a:cubicBezTo>
                  <a:pt x="315" y="104"/>
                  <a:pt x="335" y="128"/>
                  <a:pt x="347" y="157"/>
                </a:cubicBezTo>
                <a:cubicBezTo>
                  <a:pt x="361" y="194"/>
                  <a:pt x="360" y="234"/>
                  <a:pt x="344" y="269"/>
                </a:cubicBezTo>
                <a:cubicBezTo>
                  <a:pt x="328" y="305"/>
                  <a:pt x="300" y="332"/>
                  <a:pt x="263" y="346"/>
                </a:cubicBezTo>
                <a:cubicBezTo>
                  <a:pt x="220" y="363"/>
                  <a:pt x="171" y="358"/>
                  <a:pt x="132" y="333"/>
                </a:cubicBezTo>
                <a:close/>
                <a:moveTo>
                  <a:pt x="286" y="91"/>
                </a:moveTo>
                <a:cubicBezTo>
                  <a:pt x="249" y="67"/>
                  <a:pt x="201" y="63"/>
                  <a:pt x="160" y="79"/>
                </a:cubicBezTo>
                <a:cubicBezTo>
                  <a:pt x="124" y="92"/>
                  <a:pt x="97" y="119"/>
                  <a:pt x="81" y="153"/>
                </a:cubicBezTo>
                <a:cubicBezTo>
                  <a:pt x="66" y="188"/>
                  <a:pt x="65" y="226"/>
                  <a:pt x="79" y="261"/>
                </a:cubicBezTo>
                <a:cubicBezTo>
                  <a:pt x="90" y="289"/>
                  <a:pt x="109" y="313"/>
                  <a:pt x="135" y="329"/>
                </a:cubicBezTo>
                <a:cubicBezTo>
                  <a:pt x="172" y="353"/>
                  <a:pt x="220" y="358"/>
                  <a:pt x="261" y="342"/>
                </a:cubicBezTo>
                <a:cubicBezTo>
                  <a:pt x="296" y="328"/>
                  <a:pt x="324" y="302"/>
                  <a:pt x="339" y="267"/>
                </a:cubicBezTo>
                <a:cubicBezTo>
                  <a:pt x="355" y="233"/>
                  <a:pt x="356" y="194"/>
                  <a:pt x="342" y="159"/>
                </a:cubicBezTo>
                <a:cubicBezTo>
                  <a:pt x="331" y="131"/>
                  <a:pt x="312" y="107"/>
                  <a:pt x="286" y="9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3" name="Freeform 990">
            <a:extLst>
              <a:ext uri="{FF2B5EF4-FFF2-40B4-BE49-F238E27FC236}">
                <a16:creationId xmlns:a16="http://schemas.microsoft.com/office/drawing/2014/main" id="{03CB44B4-A3DB-46D4-A773-D094EC72B673}"/>
              </a:ext>
            </a:extLst>
          </p:cNvPr>
          <p:cNvSpPr>
            <a:spLocks noEditPoints="1"/>
          </p:cNvSpPr>
          <p:nvPr/>
        </p:nvSpPr>
        <p:spPr bwMode="auto">
          <a:xfrm>
            <a:off x="4189866" y="3518958"/>
            <a:ext cx="1059077" cy="1059075"/>
          </a:xfrm>
          <a:custGeom>
            <a:avLst/>
            <a:gdLst>
              <a:gd name="T0" fmla="*/ 29 w 385"/>
              <a:gd name="T1" fmla="*/ 268 h 385"/>
              <a:gd name="T2" fmla="*/ 40 w 385"/>
              <a:gd name="T3" fmla="*/ 291 h 385"/>
              <a:gd name="T4" fmla="*/ 54 w 385"/>
              <a:gd name="T5" fmla="*/ 308 h 385"/>
              <a:gd name="T6" fmla="*/ 71 w 385"/>
              <a:gd name="T7" fmla="*/ 327 h 385"/>
              <a:gd name="T8" fmla="*/ 89 w 385"/>
              <a:gd name="T9" fmla="*/ 340 h 385"/>
              <a:gd name="T10" fmla="*/ 110 w 385"/>
              <a:gd name="T11" fmla="*/ 354 h 385"/>
              <a:gd name="T12" fmla="*/ 131 w 385"/>
              <a:gd name="T13" fmla="*/ 362 h 385"/>
              <a:gd name="T14" fmla="*/ 155 w 385"/>
              <a:gd name="T15" fmla="*/ 370 h 385"/>
              <a:gd name="T16" fmla="*/ 177 w 385"/>
              <a:gd name="T17" fmla="*/ 373 h 385"/>
              <a:gd name="T18" fmla="*/ 202 w 385"/>
              <a:gd name="T19" fmla="*/ 374 h 385"/>
              <a:gd name="T20" fmla="*/ 224 w 385"/>
              <a:gd name="T21" fmla="*/ 371 h 385"/>
              <a:gd name="T22" fmla="*/ 247 w 385"/>
              <a:gd name="T23" fmla="*/ 365 h 385"/>
              <a:gd name="T24" fmla="*/ 268 w 385"/>
              <a:gd name="T25" fmla="*/ 358 h 385"/>
              <a:gd name="T26" fmla="*/ 290 w 385"/>
              <a:gd name="T27" fmla="*/ 345 h 385"/>
              <a:gd name="T28" fmla="*/ 308 w 385"/>
              <a:gd name="T29" fmla="*/ 332 h 385"/>
              <a:gd name="T30" fmla="*/ 326 w 385"/>
              <a:gd name="T31" fmla="*/ 315 h 385"/>
              <a:gd name="T32" fmla="*/ 341 w 385"/>
              <a:gd name="T33" fmla="*/ 298 h 385"/>
              <a:gd name="T34" fmla="*/ 354 w 385"/>
              <a:gd name="T35" fmla="*/ 276 h 385"/>
              <a:gd name="T36" fmla="*/ 363 w 385"/>
              <a:gd name="T37" fmla="*/ 256 h 385"/>
              <a:gd name="T38" fmla="*/ 370 w 385"/>
              <a:gd name="T39" fmla="*/ 232 h 385"/>
              <a:gd name="T40" fmla="*/ 374 w 385"/>
              <a:gd name="T41" fmla="*/ 210 h 385"/>
              <a:gd name="T42" fmla="*/ 374 w 385"/>
              <a:gd name="T43" fmla="*/ 185 h 385"/>
              <a:gd name="T44" fmla="*/ 372 w 385"/>
              <a:gd name="T45" fmla="*/ 162 h 385"/>
              <a:gd name="T46" fmla="*/ 366 w 385"/>
              <a:gd name="T47" fmla="*/ 138 h 385"/>
              <a:gd name="T48" fmla="*/ 358 w 385"/>
              <a:gd name="T49" fmla="*/ 117 h 385"/>
              <a:gd name="T50" fmla="*/ 346 w 385"/>
              <a:gd name="T51" fmla="*/ 95 h 385"/>
              <a:gd name="T52" fmla="*/ 333 w 385"/>
              <a:gd name="T53" fmla="*/ 77 h 385"/>
              <a:gd name="T54" fmla="*/ 315 w 385"/>
              <a:gd name="T55" fmla="*/ 59 h 385"/>
              <a:gd name="T56" fmla="*/ 298 w 385"/>
              <a:gd name="T57" fmla="*/ 45 h 385"/>
              <a:gd name="T58" fmla="*/ 277 w 385"/>
              <a:gd name="T59" fmla="*/ 32 h 385"/>
              <a:gd name="T60" fmla="*/ 257 w 385"/>
              <a:gd name="T61" fmla="*/ 22 h 385"/>
              <a:gd name="T62" fmla="*/ 232 w 385"/>
              <a:gd name="T63" fmla="*/ 16 h 385"/>
              <a:gd name="T64" fmla="*/ 210 w 385"/>
              <a:gd name="T65" fmla="*/ 12 h 385"/>
              <a:gd name="T66" fmla="*/ 185 w 385"/>
              <a:gd name="T67" fmla="*/ 11 h 385"/>
              <a:gd name="T68" fmla="*/ 163 w 385"/>
              <a:gd name="T69" fmla="*/ 13 h 385"/>
              <a:gd name="T70" fmla="*/ 137 w 385"/>
              <a:gd name="T71" fmla="*/ 20 h 385"/>
              <a:gd name="T72" fmla="*/ 117 w 385"/>
              <a:gd name="T73" fmla="*/ 28 h 385"/>
              <a:gd name="T74" fmla="*/ 95 w 385"/>
              <a:gd name="T75" fmla="*/ 40 h 385"/>
              <a:gd name="T76" fmla="*/ 77 w 385"/>
              <a:gd name="T77" fmla="*/ 53 h 385"/>
              <a:gd name="T78" fmla="*/ 58 w 385"/>
              <a:gd name="T79" fmla="*/ 70 h 385"/>
              <a:gd name="T80" fmla="*/ 45 w 385"/>
              <a:gd name="T81" fmla="*/ 88 h 385"/>
              <a:gd name="T82" fmla="*/ 32 w 385"/>
              <a:gd name="T83" fmla="*/ 109 h 385"/>
              <a:gd name="T84" fmla="*/ 23 w 385"/>
              <a:gd name="T85" fmla="*/ 130 h 385"/>
              <a:gd name="T86" fmla="*/ 16 w 385"/>
              <a:gd name="T87" fmla="*/ 154 h 385"/>
              <a:gd name="T88" fmla="*/ 13 w 385"/>
              <a:gd name="T89" fmla="*/ 176 h 385"/>
              <a:gd name="T90" fmla="*/ 12 w 385"/>
              <a:gd name="T91" fmla="*/ 201 h 385"/>
              <a:gd name="T92" fmla="*/ 15 w 385"/>
              <a:gd name="T93" fmla="*/ 223 h 385"/>
              <a:gd name="T94" fmla="*/ 20 w 385"/>
              <a:gd name="T95" fmla="*/ 248 h 385"/>
              <a:gd name="T96" fmla="*/ 70 w 385"/>
              <a:gd name="T97" fmla="*/ 240 h 385"/>
              <a:gd name="T98" fmla="*/ 316 w 385"/>
              <a:gd name="T99" fmla="*/ 145 h 385"/>
              <a:gd name="T100" fmla="*/ 70 w 385"/>
              <a:gd name="T101" fmla="*/ 24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5" h="385">
                <a:moveTo>
                  <a:pt x="14" y="262"/>
                </a:moveTo>
                <a:cubicBezTo>
                  <a:pt x="16" y="266"/>
                  <a:pt x="17" y="271"/>
                  <a:pt x="29" y="268"/>
                </a:cubicBezTo>
                <a:cubicBezTo>
                  <a:pt x="37" y="267"/>
                  <a:pt x="47" y="266"/>
                  <a:pt x="51" y="269"/>
                </a:cubicBezTo>
                <a:cubicBezTo>
                  <a:pt x="53" y="273"/>
                  <a:pt x="47" y="284"/>
                  <a:pt x="40" y="291"/>
                </a:cubicBezTo>
                <a:cubicBezTo>
                  <a:pt x="32" y="299"/>
                  <a:pt x="36" y="303"/>
                  <a:pt x="39" y="306"/>
                </a:cubicBezTo>
                <a:cubicBezTo>
                  <a:pt x="41" y="310"/>
                  <a:pt x="44" y="314"/>
                  <a:pt x="54" y="308"/>
                </a:cubicBezTo>
                <a:cubicBezTo>
                  <a:pt x="61" y="305"/>
                  <a:pt x="71" y="302"/>
                  <a:pt x="76" y="303"/>
                </a:cubicBezTo>
                <a:cubicBezTo>
                  <a:pt x="79" y="307"/>
                  <a:pt x="76" y="318"/>
                  <a:pt x="71" y="327"/>
                </a:cubicBezTo>
                <a:cubicBezTo>
                  <a:pt x="65" y="337"/>
                  <a:pt x="70" y="339"/>
                  <a:pt x="73" y="342"/>
                </a:cubicBezTo>
                <a:cubicBezTo>
                  <a:pt x="77" y="345"/>
                  <a:pt x="81" y="349"/>
                  <a:pt x="89" y="340"/>
                </a:cubicBezTo>
                <a:cubicBezTo>
                  <a:pt x="95" y="335"/>
                  <a:pt x="103" y="330"/>
                  <a:pt x="108" y="329"/>
                </a:cubicBezTo>
                <a:cubicBezTo>
                  <a:pt x="112" y="332"/>
                  <a:pt x="112" y="344"/>
                  <a:pt x="110" y="354"/>
                </a:cubicBezTo>
                <a:cubicBezTo>
                  <a:pt x="107" y="365"/>
                  <a:pt x="112" y="366"/>
                  <a:pt x="116" y="368"/>
                </a:cubicBezTo>
                <a:cubicBezTo>
                  <a:pt x="120" y="370"/>
                  <a:pt x="125" y="372"/>
                  <a:pt x="131" y="362"/>
                </a:cubicBezTo>
                <a:cubicBezTo>
                  <a:pt x="135" y="355"/>
                  <a:pt x="142" y="348"/>
                  <a:pt x="147" y="347"/>
                </a:cubicBezTo>
                <a:cubicBezTo>
                  <a:pt x="151" y="349"/>
                  <a:pt x="154" y="360"/>
                  <a:pt x="155" y="370"/>
                </a:cubicBezTo>
                <a:cubicBezTo>
                  <a:pt x="155" y="381"/>
                  <a:pt x="160" y="381"/>
                  <a:pt x="164" y="382"/>
                </a:cubicBezTo>
                <a:cubicBezTo>
                  <a:pt x="169" y="383"/>
                  <a:pt x="174" y="384"/>
                  <a:pt x="177" y="373"/>
                </a:cubicBezTo>
                <a:cubicBezTo>
                  <a:pt x="179" y="365"/>
                  <a:pt x="184" y="356"/>
                  <a:pt x="188" y="353"/>
                </a:cubicBezTo>
                <a:cubicBezTo>
                  <a:pt x="193" y="354"/>
                  <a:pt x="199" y="364"/>
                  <a:pt x="202" y="374"/>
                </a:cubicBezTo>
                <a:cubicBezTo>
                  <a:pt x="205" y="385"/>
                  <a:pt x="210" y="383"/>
                  <a:pt x="214" y="383"/>
                </a:cubicBezTo>
                <a:cubicBezTo>
                  <a:pt x="219" y="382"/>
                  <a:pt x="224" y="382"/>
                  <a:pt x="224" y="371"/>
                </a:cubicBezTo>
                <a:cubicBezTo>
                  <a:pt x="224" y="362"/>
                  <a:pt x="227" y="351"/>
                  <a:pt x="231" y="348"/>
                </a:cubicBezTo>
                <a:cubicBezTo>
                  <a:pt x="236" y="349"/>
                  <a:pt x="243" y="357"/>
                  <a:pt x="247" y="365"/>
                </a:cubicBezTo>
                <a:cubicBezTo>
                  <a:pt x="253" y="375"/>
                  <a:pt x="257" y="373"/>
                  <a:pt x="262" y="371"/>
                </a:cubicBezTo>
                <a:cubicBezTo>
                  <a:pt x="266" y="370"/>
                  <a:pt x="271" y="369"/>
                  <a:pt x="268" y="358"/>
                </a:cubicBezTo>
                <a:cubicBezTo>
                  <a:pt x="266" y="348"/>
                  <a:pt x="267" y="336"/>
                  <a:pt x="271" y="333"/>
                </a:cubicBezTo>
                <a:cubicBezTo>
                  <a:pt x="276" y="334"/>
                  <a:pt x="284" y="339"/>
                  <a:pt x="290" y="345"/>
                </a:cubicBezTo>
                <a:cubicBezTo>
                  <a:pt x="298" y="354"/>
                  <a:pt x="302" y="350"/>
                  <a:pt x="306" y="348"/>
                </a:cubicBezTo>
                <a:cubicBezTo>
                  <a:pt x="309" y="345"/>
                  <a:pt x="314" y="343"/>
                  <a:pt x="308" y="332"/>
                </a:cubicBezTo>
                <a:cubicBezTo>
                  <a:pt x="304" y="324"/>
                  <a:pt x="302" y="312"/>
                  <a:pt x="305" y="308"/>
                </a:cubicBezTo>
                <a:cubicBezTo>
                  <a:pt x="310" y="307"/>
                  <a:pt x="319" y="311"/>
                  <a:pt x="326" y="315"/>
                </a:cubicBezTo>
                <a:cubicBezTo>
                  <a:pt x="336" y="321"/>
                  <a:pt x="339" y="317"/>
                  <a:pt x="342" y="313"/>
                </a:cubicBezTo>
                <a:cubicBezTo>
                  <a:pt x="345" y="310"/>
                  <a:pt x="349" y="306"/>
                  <a:pt x="341" y="298"/>
                </a:cubicBezTo>
                <a:cubicBezTo>
                  <a:pt x="334" y="291"/>
                  <a:pt x="329" y="280"/>
                  <a:pt x="331" y="276"/>
                </a:cubicBezTo>
                <a:cubicBezTo>
                  <a:pt x="335" y="273"/>
                  <a:pt x="345" y="274"/>
                  <a:pt x="354" y="276"/>
                </a:cubicBezTo>
                <a:cubicBezTo>
                  <a:pt x="365" y="280"/>
                  <a:pt x="366" y="274"/>
                  <a:pt x="368" y="271"/>
                </a:cubicBezTo>
                <a:cubicBezTo>
                  <a:pt x="370" y="267"/>
                  <a:pt x="373" y="262"/>
                  <a:pt x="363" y="256"/>
                </a:cubicBezTo>
                <a:cubicBezTo>
                  <a:pt x="355" y="250"/>
                  <a:pt x="347" y="241"/>
                  <a:pt x="348" y="237"/>
                </a:cubicBezTo>
                <a:cubicBezTo>
                  <a:pt x="352" y="233"/>
                  <a:pt x="362" y="232"/>
                  <a:pt x="370" y="232"/>
                </a:cubicBezTo>
                <a:cubicBezTo>
                  <a:pt x="381" y="232"/>
                  <a:pt x="382" y="227"/>
                  <a:pt x="382" y="223"/>
                </a:cubicBezTo>
                <a:cubicBezTo>
                  <a:pt x="383" y="218"/>
                  <a:pt x="385" y="213"/>
                  <a:pt x="374" y="210"/>
                </a:cubicBezTo>
                <a:cubicBezTo>
                  <a:pt x="365" y="207"/>
                  <a:pt x="354" y="200"/>
                  <a:pt x="354" y="195"/>
                </a:cubicBezTo>
                <a:cubicBezTo>
                  <a:pt x="357" y="191"/>
                  <a:pt x="366" y="187"/>
                  <a:pt x="374" y="185"/>
                </a:cubicBezTo>
                <a:cubicBezTo>
                  <a:pt x="385" y="182"/>
                  <a:pt x="384" y="177"/>
                  <a:pt x="384" y="173"/>
                </a:cubicBezTo>
                <a:cubicBezTo>
                  <a:pt x="383" y="168"/>
                  <a:pt x="384" y="163"/>
                  <a:pt x="372" y="162"/>
                </a:cubicBezTo>
                <a:cubicBezTo>
                  <a:pt x="362" y="162"/>
                  <a:pt x="351" y="158"/>
                  <a:pt x="349" y="153"/>
                </a:cubicBezTo>
                <a:cubicBezTo>
                  <a:pt x="351" y="149"/>
                  <a:pt x="359" y="142"/>
                  <a:pt x="366" y="138"/>
                </a:cubicBezTo>
                <a:cubicBezTo>
                  <a:pt x="376" y="133"/>
                  <a:pt x="374" y="128"/>
                  <a:pt x="372" y="124"/>
                </a:cubicBezTo>
                <a:cubicBezTo>
                  <a:pt x="371" y="120"/>
                  <a:pt x="370" y="115"/>
                  <a:pt x="358" y="117"/>
                </a:cubicBezTo>
                <a:cubicBezTo>
                  <a:pt x="349" y="119"/>
                  <a:pt x="337" y="118"/>
                  <a:pt x="334" y="114"/>
                </a:cubicBezTo>
                <a:cubicBezTo>
                  <a:pt x="334" y="109"/>
                  <a:pt x="340" y="101"/>
                  <a:pt x="346" y="95"/>
                </a:cubicBezTo>
                <a:cubicBezTo>
                  <a:pt x="354" y="87"/>
                  <a:pt x="351" y="83"/>
                  <a:pt x="348" y="80"/>
                </a:cubicBezTo>
                <a:cubicBezTo>
                  <a:pt x="346" y="76"/>
                  <a:pt x="343" y="72"/>
                  <a:pt x="333" y="77"/>
                </a:cubicBezTo>
                <a:cubicBezTo>
                  <a:pt x="324" y="81"/>
                  <a:pt x="313" y="84"/>
                  <a:pt x="309" y="80"/>
                </a:cubicBezTo>
                <a:cubicBezTo>
                  <a:pt x="308" y="75"/>
                  <a:pt x="311" y="66"/>
                  <a:pt x="315" y="59"/>
                </a:cubicBezTo>
                <a:cubicBezTo>
                  <a:pt x="322" y="49"/>
                  <a:pt x="317" y="46"/>
                  <a:pt x="314" y="43"/>
                </a:cubicBezTo>
                <a:cubicBezTo>
                  <a:pt x="310" y="41"/>
                  <a:pt x="307" y="37"/>
                  <a:pt x="298" y="45"/>
                </a:cubicBezTo>
                <a:cubicBezTo>
                  <a:pt x="291" y="51"/>
                  <a:pt x="281" y="56"/>
                  <a:pt x="276" y="54"/>
                </a:cubicBezTo>
                <a:cubicBezTo>
                  <a:pt x="274" y="50"/>
                  <a:pt x="274" y="40"/>
                  <a:pt x="277" y="32"/>
                </a:cubicBezTo>
                <a:cubicBezTo>
                  <a:pt x="280" y="21"/>
                  <a:pt x="275" y="19"/>
                  <a:pt x="271" y="17"/>
                </a:cubicBezTo>
                <a:cubicBezTo>
                  <a:pt x="267" y="15"/>
                  <a:pt x="263" y="13"/>
                  <a:pt x="257" y="22"/>
                </a:cubicBezTo>
                <a:cubicBezTo>
                  <a:pt x="251" y="30"/>
                  <a:pt x="242" y="39"/>
                  <a:pt x="237" y="37"/>
                </a:cubicBezTo>
                <a:cubicBezTo>
                  <a:pt x="234" y="33"/>
                  <a:pt x="232" y="24"/>
                  <a:pt x="232" y="16"/>
                </a:cubicBezTo>
                <a:cubicBezTo>
                  <a:pt x="233" y="4"/>
                  <a:pt x="228" y="4"/>
                  <a:pt x="223" y="3"/>
                </a:cubicBezTo>
                <a:cubicBezTo>
                  <a:pt x="219" y="2"/>
                  <a:pt x="214" y="1"/>
                  <a:pt x="210" y="12"/>
                </a:cubicBezTo>
                <a:cubicBezTo>
                  <a:pt x="207" y="21"/>
                  <a:pt x="201" y="31"/>
                  <a:pt x="196" y="31"/>
                </a:cubicBezTo>
                <a:cubicBezTo>
                  <a:pt x="192" y="28"/>
                  <a:pt x="187" y="19"/>
                  <a:pt x="185" y="11"/>
                </a:cubicBezTo>
                <a:cubicBezTo>
                  <a:pt x="183" y="0"/>
                  <a:pt x="178" y="1"/>
                  <a:pt x="173" y="2"/>
                </a:cubicBezTo>
                <a:cubicBezTo>
                  <a:pt x="169" y="2"/>
                  <a:pt x="164" y="2"/>
                  <a:pt x="163" y="13"/>
                </a:cubicBezTo>
                <a:cubicBezTo>
                  <a:pt x="162" y="22"/>
                  <a:pt x="159" y="33"/>
                  <a:pt x="155" y="36"/>
                </a:cubicBezTo>
                <a:cubicBezTo>
                  <a:pt x="150" y="35"/>
                  <a:pt x="142" y="27"/>
                  <a:pt x="137" y="20"/>
                </a:cubicBezTo>
                <a:cubicBezTo>
                  <a:pt x="132" y="9"/>
                  <a:pt x="127" y="12"/>
                  <a:pt x="123" y="14"/>
                </a:cubicBezTo>
                <a:cubicBezTo>
                  <a:pt x="119" y="15"/>
                  <a:pt x="114" y="17"/>
                  <a:pt x="117" y="28"/>
                </a:cubicBezTo>
                <a:cubicBezTo>
                  <a:pt x="119" y="36"/>
                  <a:pt x="119" y="46"/>
                  <a:pt x="117" y="51"/>
                </a:cubicBezTo>
                <a:cubicBezTo>
                  <a:pt x="112" y="52"/>
                  <a:pt x="102" y="47"/>
                  <a:pt x="95" y="40"/>
                </a:cubicBezTo>
                <a:cubicBezTo>
                  <a:pt x="86" y="32"/>
                  <a:pt x="83" y="35"/>
                  <a:pt x="79" y="38"/>
                </a:cubicBezTo>
                <a:cubicBezTo>
                  <a:pt x="76" y="41"/>
                  <a:pt x="71" y="43"/>
                  <a:pt x="77" y="53"/>
                </a:cubicBezTo>
                <a:cubicBezTo>
                  <a:pt x="81" y="61"/>
                  <a:pt x="84" y="70"/>
                  <a:pt x="82" y="75"/>
                </a:cubicBezTo>
                <a:cubicBezTo>
                  <a:pt x="79" y="78"/>
                  <a:pt x="67" y="75"/>
                  <a:pt x="58" y="70"/>
                </a:cubicBezTo>
                <a:cubicBezTo>
                  <a:pt x="48" y="65"/>
                  <a:pt x="46" y="69"/>
                  <a:pt x="43" y="73"/>
                </a:cubicBezTo>
                <a:cubicBezTo>
                  <a:pt x="40" y="76"/>
                  <a:pt x="37" y="80"/>
                  <a:pt x="45" y="88"/>
                </a:cubicBezTo>
                <a:cubicBezTo>
                  <a:pt x="50" y="94"/>
                  <a:pt x="56" y="103"/>
                  <a:pt x="56" y="108"/>
                </a:cubicBezTo>
                <a:cubicBezTo>
                  <a:pt x="53" y="112"/>
                  <a:pt x="41" y="112"/>
                  <a:pt x="32" y="109"/>
                </a:cubicBezTo>
                <a:cubicBezTo>
                  <a:pt x="20" y="106"/>
                  <a:pt x="19" y="111"/>
                  <a:pt x="17" y="116"/>
                </a:cubicBezTo>
                <a:cubicBezTo>
                  <a:pt x="16" y="120"/>
                  <a:pt x="13" y="124"/>
                  <a:pt x="23" y="130"/>
                </a:cubicBezTo>
                <a:cubicBezTo>
                  <a:pt x="30" y="134"/>
                  <a:pt x="37" y="141"/>
                  <a:pt x="39" y="146"/>
                </a:cubicBezTo>
                <a:cubicBezTo>
                  <a:pt x="37" y="151"/>
                  <a:pt x="25" y="154"/>
                  <a:pt x="16" y="154"/>
                </a:cubicBezTo>
                <a:cubicBezTo>
                  <a:pt x="4" y="154"/>
                  <a:pt x="4" y="159"/>
                  <a:pt x="3" y="164"/>
                </a:cubicBezTo>
                <a:cubicBezTo>
                  <a:pt x="3" y="168"/>
                  <a:pt x="1" y="173"/>
                  <a:pt x="13" y="176"/>
                </a:cubicBezTo>
                <a:cubicBezTo>
                  <a:pt x="21" y="179"/>
                  <a:pt x="29" y="183"/>
                  <a:pt x="32" y="188"/>
                </a:cubicBezTo>
                <a:cubicBezTo>
                  <a:pt x="31" y="192"/>
                  <a:pt x="21" y="199"/>
                  <a:pt x="12" y="201"/>
                </a:cubicBezTo>
                <a:cubicBezTo>
                  <a:pt x="0" y="204"/>
                  <a:pt x="2" y="209"/>
                  <a:pt x="2" y="214"/>
                </a:cubicBezTo>
                <a:cubicBezTo>
                  <a:pt x="3" y="218"/>
                  <a:pt x="3" y="223"/>
                  <a:pt x="15" y="223"/>
                </a:cubicBezTo>
                <a:cubicBezTo>
                  <a:pt x="23" y="224"/>
                  <a:pt x="33" y="226"/>
                  <a:pt x="36" y="230"/>
                </a:cubicBezTo>
                <a:cubicBezTo>
                  <a:pt x="37" y="234"/>
                  <a:pt x="28" y="243"/>
                  <a:pt x="20" y="248"/>
                </a:cubicBezTo>
                <a:cubicBezTo>
                  <a:pt x="10" y="254"/>
                  <a:pt x="13" y="258"/>
                  <a:pt x="14" y="262"/>
                </a:cubicBezTo>
                <a:close/>
                <a:moveTo>
                  <a:pt x="70" y="240"/>
                </a:moveTo>
                <a:cubicBezTo>
                  <a:pt x="44" y="172"/>
                  <a:pt x="77" y="96"/>
                  <a:pt x="145" y="69"/>
                </a:cubicBezTo>
                <a:cubicBezTo>
                  <a:pt x="213" y="43"/>
                  <a:pt x="290" y="77"/>
                  <a:pt x="316" y="145"/>
                </a:cubicBezTo>
                <a:cubicBezTo>
                  <a:pt x="342" y="213"/>
                  <a:pt x="309" y="289"/>
                  <a:pt x="241" y="315"/>
                </a:cubicBezTo>
                <a:cubicBezTo>
                  <a:pt x="173" y="342"/>
                  <a:pt x="96" y="308"/>
                  <a:pt x="70" y="24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4" name="Freeform 991">
            <a:extLst>
              <a:ext uri="{FF2B5EF4-FFF2-40B4-BE49-F238E27FC236}">
                <a16:creationId xmlns:a16="http://schemas.microsoft.com/office/drawing/2014/main" id="{DFC66B7F-9700-42FA-B2CB-3F29AACE8BD5}"/>
              </a:ext>
            </a:extLst>
          </p:cNvPr>
          <p:cNvSpPr>
            <a:spLocks noEditPoints="1"/>
          </p:cNvSpPr>
          <p:nvPr/>
        </p:nvSpPr>
        <p:spPr bwMode="auto">
          <a:xfrm>
            <a:off x="5466463" y="3215854"/>
            <a:ext cx="463569" cy="470700"/>
          </a:xfrm>
          <a:custGeom>
            <a:avLst/>
            <a:gdLst>
              <a:gd name="T0" fmla="*/ 40 w 168"/>
              <a:gd name="T1" fmla="*/ 155 h 171"/>
              <a:gd name="T2" fmla="*/ 40 w 168"/>
              <a:gd name="T3" fmla="*/ 155 h 171"/>
              <a:gd name="T4" fmla="*/ 8 w 168"/>
              <a:gd name="T5" fmla="*/ 115 h 171"/>
              <a:gd name="T6" fmla="*/ 9 w 168"/>
              <a:gd name="T7" fmla="*/ 53 h 171"/>
              <a:gd name="T8" fmla="*/ 54 w 168"/>
              <a:gd name="T9" fmla="*/ 10 h 171"/>
              <a:gd name="T10" fmla="*/ 128 w 168"/>
              <a:gd name="T11" fmla="*/ 17 h 171"/>
              <a:gd name="T12" fmla="*/ 160 w 168"/>
              <a:gd name="T13" fmla="*/ 56 h 171"/>
              <a:gd name="T14" fmla="*/ 158 w 168"/>
              <a:gd name="T15" fmla="*/ 119 h 171"/>
              <a:gd name="T16" fmla="*/ 113 w 168"/>
              <a:gd name="T17" fmla="*/ 162 h 171"/>
              <a:gd name="T18" fmla="*/ 40 w 168"/>
              <a:gd name="T19" fmla="*/ 155 h 171"/>
              <a:gd name="T20" fmla="*/ 125 w 168"/>
              <a:gd name="T21" fmla="*/ 21 h 171"/>
              <a:gd name="T22" fmla="*/ 56 w 168"/>
              <a:gd name="T23" fmla="*/ 14 h 171"/>
              <a:gd name="T24" fmla="*/ 14 w 168"/>
              <a:gd name="T25" fmla="*/ 55 h 171"/>
              <a:gd name="T26" fmla="*/ 12 w 168"/>
              <a:gd name="T27" fmla="*/ 113 h 171"/>
              <a:gd name="T28" fmla="*/ 43 w 168"/>
              <a:gd name="T29" fmla="*/ 150 h 171"/>
              <a:gd name="T30" fmla="*/ 43 w 168"/>
              <a:gd name="T31" fmla="*/ 150 h 171"/>
              <a:gd name="T32" fmla="*/ 111 w 168"/>
              <a:gd name="T33" fmla="*/ 157 h 171"/>
              <a:gd name="T34" fmla="*/ 154 w 168"/>
              <a:gd name="T35" fmla="*/ 117 h 171"/>
              <a:gd name="T36" fmla="*/ 155 w 168"/>
              <a:gd name="T37" fmla="*/ 58 h 171"/>
              <a:gd name="T38" fmla="*/ 125 w 168"/>
              <a:gd name="T39" fmla="*/ 21 h 171"/>
              <a:gd name="T40" fmla="*/ 56 w 168"/>
              <a:gd name="T41" fmla="*/ 129 h 171"/>
              <a:gd name="T42" fmla="*/ 36 w 168"/>
              <a:gd name="T43" fmla="*/ 104 h 171"/>
              <a:gd name="T44" fmla="*/ 37 w 168"/>
              <a:gd name="T45" fmla="*/ 65 h 171"/>
              <a:gd name="T46" fmla="*/ 65 w 168"/>
              <a:gd name="T47" fmla="*/ 38 h 171"/>
              <a:gd name="T48" fmla="*/ 112 w 168"/>
              <a:gd name="T49" fmla="*/ 42 h 171"/>
              <a:gd name="T50" fmla="*/ 132 w 168"/>
              <a:gd name="T51" fmla="*/ 67 h 171"/>
              <a:gd name="T52" fmla="*/ 102 w 168"/>
              <a:gd name="T53" fmla="*/ 134 h 171"/>
              <a:gd name="T54" fmla="*/ 56 w 168"/>
              <a:gd name="T55" fmla="*/ 129 h 171"/>
              <a:gd name="T56" fmla="*/ 109 w 168"/>
              <a:gd name="T57" fmla="*/ 46 h 171"/>
              <a:gd name="T58" fmla="*/ 67 w 168"/>
              <a:gd name="T59" fmla="*/ 42 h 171"/>
              <a:gd name="T60" fmla="*/ 41 w 168"/>
              <a:gd name="T61" fmla="*/ 67 h 171"/>
              <a:gd name="T62" fmla="*/ 40 w 168"/>
              <a:gd name="T63" fmla="*/ 103 h 171"/>
              <a:gd name="T64" fmla="*/ 59 w 168"/>
              <a:gd name="T65" fmla="*/ 125 h 171"/>
              <a:gd name="T66" fmla="*/ 101 w 168"/>
              <a:gd name="T67" fmla="*/ 129 h 171"/>
              <a:gd name="T68" fmla="*/ 127 w 168"/>
              <a:gd name="T69" fmla="*/ 69 h 171"/>
              <a:gd name="T70" fmla="*/ 109 w 168"/>
              <a:gd name="T71" fmla="*/ 4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71">
                <a:moveTo>
                  <a:pt x="40" y="155"/>
                </a:moveTo>
                <a:cubicBezTo>
                  <a:pt x="40" y="155"/>
                  <a:pt x="40" y="155"/>
                  <a:pt x="40" y="155"/>
                </a:cubicBezTo>
                <a:cubicBezTo>
                  <a:pt x="25" y="145"/>
                  <a:pt x="14" y="132"/>
                  <a:pt x="8" y="115"/>
                </a:cubicBezTo>
                <a:cubicBezTo>
                  <a:pt x="0" y="95"/>
                  <a:pt x="0" y="73"/>
                  <a:pt x="9" y="53"/>
                </a:cubicBezTo>
                <a:cubicBezTo>
                  <a:pt x="18" y="33"/>
                  <a:pt x="34" y="17"/>
                  <a:pt x="54" y="10"/>
                </a:cubicBezTo>
                <a:cubicBezTo>
                  <a:pt x="78" y="0"/>
                  <a:pt x="106" y="3"/>
                  <a:pt x="128" y="17"/>
                </a:cubicBezTo>
                <a:cubicBezTo>
                  <a:pt x="142" y="26"/>
                  <a:pt x="154" y="40"/>
                  <a:pt x="160" y="56"/>
                </a:cubicBezTo>
                <a:cubicBezTo>
                  <a:pt x="168" y="77"/>
                  <a:pt x="167" y="99"/>
                  <a:pt x="158" y="119"/>
                </a:cubicBezTo>
                <a:cubicBezTo>
                  <a:pt x="150" y="139"/>
                  <a:pt x="134" y="154"/>
                  <a:pt x="113" y="162"/>
                </a:cubicBezTo>
                <a:cubicBezTo>
                  <a:pt x="89" y="171"/>
                  <a:pt x="62" y="168"/>
                  <a:pt x="40" y="155"/>
                </a:cubicBezTo>
                <a:close/>
                <a:moveTo>
                  <a:pt x="125" y="21"/>
                </a:moveTo>
                <a:cubicBezTo>
                  <a:pt x="104" y="8"/>
                  <a:pt x="79" y="5"/>
                  <a:pt x="56" y="14"/>
                </a:cubicBezTo>
                <a:cubicBezTo>
                  <a:pt x="37" y="22"/>
                  <a:pt x="22" y="36"/>
                  <a:pt x="14" y="55"/>
                </a:cubicBezTo>
                <a:cubicBezTo>
                  <a:pt x="5" y="73"/>
                  <a:pt x="5" y="94"/>
                  <a:pt x="12" y="113"/>
                </a:cubicBezTo>
                <a:cubicBezTo>
                  <a:pt x="18" y="129"/>
                  <a:pt x="29" y="142"/>
                  <a:pt x="43" y="150"/>
                </a:cubicBezTo>
                <a:cubicBezTo>
                  <a:pt x="43" y="150"/>
                  <a:pt x="43" y="150"/>
                  <a:pt x="43" y="150"/>
                </a:cubicBezTo>
                <a:cubicBezTo>
                  <a:pt x="63" y="163"/>
                  <a:pt x="89" y="166"/>
                  <a:pt x="111" y="157"/>
                </a:cubicBezTo>
                <a:cubicBezTo>
                  <a:pt x="131" y="150"/>
                  <a:pt x="146" y="135"/>
                  <a:pt x="154" y="117"/>
                </a:cubicBezTo>
                <a:cubicBezTo>
                  <a:pt x="162" y="98"/>
                  <a:pt x="163" y="77"/>
                  <a:pt x="155" y="58"/>
                </a:cubicBezTo>
                <a:cubicBezTo>
                  <a:pt x="149" y="43"/>
                  <a:pt x="139" y="30"/>
                  <a:pt x="125" y="21"/>
                </a:cubicBezTo>
                <a:close/>
                <a:moveTo>
                  <a:pt x="56" y="129"/>
                </a:moveTo>
                <a:cubicBezTo>
                  <a:pt x="47" y="123"/>
                  <a:pt x="40" y="115"/>
                  <a:pt x="36" y="104"/>
                </a:cubicBezTo>
                <a:cubicBezTo>
                  <a:pt x="31" y="91"/>
                  <a:pt x="31" y="77"/>
                  <a:pt x="37" y="65"/>
                </a:cubicBezTo>
                <a:cubicBezTo>
                  <a:pt x="42" y="52"/>
                  <a:pt x="52" y="42"/>
                  <a:pt x="65" y="38"/>
                </a:cubicBezTo>
                <a:cubicBezTo>
                  <a:pt x="80" y="32"/>
                  <a:pt x="98" y="33"/>
                  <a:pt x="112" y="42"/>
                </a:cubicBezTo>
                <a:cubicBezTo>
                  <a:pt x="121" y="48"/>
                  <a:pt x="128" y="57"/>
                  <a:pt x="132" y="67"/>
                </a:cubicBezTo>
                <a:cubicBezTo>
                  <a:pt x="142" y="94"/>
                  <a:pt x="129" y="124"/>
                  <a:pt x="102" y="134"/>
                </a:cubicBezTo>
                <a:cubicBezTo>
                  <a:pt x="87" y="140"/>
                  <a:pt x="70" y="138"/>
                  <a:pt x="56" y="129"/>
                </a:cubicBezTo>
                <a:close/>
                <a:moveTo>
                  <a:pt x="109" y="46"/>
                </a:moveTo>
                <a:cubicBezTo>
                  <a:pt x="96" y="38"/>
                  <a:pt x="81" y="37"/>
                  <a:pt x="67" y="42"/>
                </a:cubicBezTo>
                <a:cubicBezTo>
                  <a:pt x="55" y="47"/>
                  <a:pt x="46" y="55"/>
                  <a:pt x="41" y="67"/>
                </a:cubicBezTo>
                <a:cubicBezTo>
                  <a:pt x="36" y="78"/>
                  <a:pt x="36" y="91"/>
                  <a:pt x="40" y="103"/>
                </a:cubicBezTo>
                <a:cubicBezTo>
                  <a:pt x="44" y="112"/>
                  <a:pt x="50" y="120"/>
                  <a:pt x="59" y="125"/>
                </a:cubicBezTo>
                <a:cubicBezTo>
                  <a:pt x="71" y="133"/>
                  <a:pt x="87" y="135"/>
                  <a:pt x="101" y="129"/>
                </a:cubicBezTo>
                <a:cubicBezTo>
                  <a:pt x="125" y="120"/>
                  <a:pt x="137" y="93"/>
                  <a:pt x="127" y="69"/>
                </a:cubicBezTo>
                <a:cubicBezTo>
                  <a:pt x="124" y="60"/>
                  <a:pt x="117" y="52"/>
                  <a:pt x="109" y="4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5" name="Freeform 992">
            <a:extLst>
              <a:ext uri="{FF2B5EF4-FFF2-40B4-BE49-F238E27FC236}">
                <a16:creationId xmlns:a16="http://schemas.microsoft.com/office/drawing/2014/main" id="{DF83AACC-93B9-473B-AA1C-AE7587FD79FA}"/>
              </a:ext>
            </a:extLst>
          </p:cNvPr>
          <p:cNvSpPr>
            <a:spLocks noEditPoints="1"/>
          </p:cNvSpPr>
          <p:nvPr/>
        </p:nvSpPr>
        <p:spPr bwMode="auto">
          <a:xfrm>
            <a:off x="4371727" y="2488408"/>
            <a:ext cx="791633" cy="766670"/>
          </a:xfrm>
          <a:custGeom>
            <a:avLst/>
            <a:gdLst>
              <a:gd name="T0" fmla="*/ 66 w 289"/>
              <a:gd name="T1" fmla="*/ 253 h 280"/>
              <a:gd name="T2" fmla="*/ 66 w 289"/>
              <a:gd name="T3" fmla="*/ 253 h 280"/>
              <a:gd name="T4" fmla="*/ 11 w 289"/>
              <a:gd name="T5" fmla="*/ 182 h 280"/>
              <a:gd name="T6" fmla="*/ 18 w 289"/>
              <a:gd name="T7" fmla="*/ 80 h 280"/>
              <a:gd name="T8" fmla="*/ 96 w 289"/>
              <a:gd name="T9" fmla="*/ 13 h 280"/>
              <a:gd name="T10" fmla="*/ 210 w 289"/>
              <a:gd name="T11" fmla="*/ 27 h 280"/>
              <a:gd name="T12" fmla="*/ 265 w 289"/>
              <a:gd name="T13" fmla="*/ 97 h 280"/>
              <a:gd name="T14" fmla="*/ 181 w 289"/>
              <a:gd name="T15" fmla="*/ 267 h 280"/>
              <a:gd name="T16" fmla="*/ 66 w 289"/>
              <a:gd name="T17" fmla="*/ 253 h 280"/>
              <a:gd name="T18" fmla="*/ 207 w 289"/>
              <a:gd name="T19" fmla="*/ 31 h 280"/>
              <a:gd name="T20" fmla="*/ 97 w 289"/>
              <a:gd name="T21" fmla="*/ 18 h 280"/>
              <a:gd name="T22" fmla="*/ 23 w 289"/>
              <a:gd name="T23" fmla="*/ 82 h 280"/>
              <a:gd name="T24" fmla="*/ 16 w 289"/>
              <a:gd name="T25" fmla="*/ 181 h 280"/>
              <a:gd name="T26" fmla="*/ 69 w 289"/>
              <a:gd name="T27" fmla="*/ 249 h 280"/>
              <a:gd name="T28" fmla="*/ 69 w 289"/>
              <a:gd name="T29" fmla="*/ 249 h 280"/>
              <a:gd name="T30" fmla="*/ 179 w 289"/>
              <a:gd name="T31" fmla="*/ 262 h 280"/>
              <a:gd name="T32" fmla="*/ 260 w 289"/>
              <a:gd name="T33" fmla="*/ 99 h 280"/>
              <a:gd name="T34" fmla="*/ 207 w 289"/>
              <a:gd name="T35" fmla="*/ 31 h 280"/>
              <a:gd name="T36" fmla="*/ 111 w 289"/>
              <a:gd name="T37" fmla="*/ 182 h 280"/>
              <a:gd name="T38" fmla="*/ 91 w 289"/>
              <a:gd name="T39" fmla="*/ 156 h 280"/>
              <a:gd name="T40" fmla="*/ 122 w 289"/>
              <a:gd name="T41" fmla="*/ 93 h 280"/>
              <a:gd name="T42" fmla="*/ 165 w 289"/>
              <a:gd name="T43" fmla="*/ 98 h 280"/>
              <a:gd name="T44" fmla="*/ 185 w 289"/>
              <a:gd name="T45" fmla="*/ 124 h 280"/>
              <a:gd name="T46" fmla="*/ 154 w 289"/>
              <a:gd name="T47" fmla="*/ 187 h 280"/>
              <a:gd name="T48" fmla="*/ 111 w 289"/>
              <a:gd name="T49" fmla="*/ 182 h 280"/>
              <a:gd name="T50" fmla="*/ 162 w 289"/>
              <a:gd name="T51" fmla="*/ 102 h 280"/>
              <a:gd name="T52" fmla="*/ 124 w 289"/>
              <a:gd name="T53" fmla="*/ 97 h 280"/>
              <a:gd name="T54" fmla="*/ 95 w 289"/>
              <a:gd name="T55" fmla="*/ 154 h 280"/>
              <a:gd name="T56" fmla="*/ 114 w 289"/>
              <a:gd name="T57" fmla="*/ 178 h 280"/>
              <a:gd name="T58" fmla="*/ 152 w 289"/>
              <a:gd name="T59" fmla="*/ 183 h 280"/>
              <a:gd name="T60" fmla="*/ 181 w 289"/>
              <a:gd name="T61" fmla="*/ 126 h 280"/>
              <a:gd name="T62" fmla="*/ 162 w 289"/>
              <a:gd name="T63" fmla="*/ 10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9" h="280">
                <a:moveTo>
                  <a:pt x="66" y="253"/>
                </a:moveTo>
                <a:cubicBezTo>
                  <a:pt x="66" y="253"/>
                  <a:pt x="66" y="253"/>
                  <a:pt x="66" y="253"/>
                </a:cubicBezTo>
                <a:cubicBezTo>
                  <a:pt x="40" y="237"/>
                  <a:pt x="21" y="211"/>
                  <a:pt x="11" y="182"/>
                </a:cubicBezTo>
                <a:cubicBezTo>
                  <a:pt x="0" y="148"/>
                  <a:pt x="2" y="112"/>
                  <a:pt x="18" y="80"/>
                </a:cubicBezTo>
                <a:cubicBezTo>
                  <a:pt x="34" y="48"/>
                  <a:pt x="62" y="24"/>
                  <a:pt x="96" y="13"/>
                </a:cubicBezTo>
                <a:cubicBezTo>
                  <a:pt x="134" y="0"/>
                  <a:pt x="176" y="5"/>
                  <a:pt x="210" y="27"/>
                </a:cubicBezTo>
                <a:cubicBezTo>
                  <a:pt x="236" y="43"/>
                  <a:pt x="255" y="68"/>
                  <a:pt x="265" y="97"/>
                </a:cubicBezTo>
                <a:cubicBezTo>
                  <a:pt x="289" y="168"/>
                  <a:pt x="251" y="244"/>
                  <a:pt x="181" y="267"/>
                </a:cubicBezTo>
                <a:cubicBezTo>
                  <a:pt x="142" y="280"/>
                  <a:pt x="100" y="275"/>
                  <a:pt x="66" y="253"/>
                </a:cubicBezTo>
                <a:close/>
                <a:moveTo>
                  <a:pt x="207" y="31"/>
                </a:moveTo>
                <a:cubicBezTo>
                  <a:pt x="174" y="10"/>
                  <a:pt x="134" y="5"/>
                  <a:pt x="97" y="18"/>
                </a:cubicBezTo>
                <a:cubicBezTo>
                  <a:pt x="65" y="29"/>
                  <a:pt x="38" y="52"/>
                  <a:pt x="23" y="82"/>
                </a:cubicBezTo>
                <a:cubicBezTo>
                  <a:pt x="7" y="113"/>
                  <a:pt x="5" y="148"/>
                  <a:pt x="16" y="181"/>
                </a:cubicBezTo>
                <a:cubicBezTo>
                  <a:pt x="25" y="209"/>
                  <a:pt x="44" y="233"/>
                  <a:pt x="69" y="249"/>
                </a:cubicBezTo>
                <a:cubicBezTo>
                  <a:pt x="69" y="249"/>
                  <a:pt x="69" y="249"/>
                  <a:pt x="69" y="249"/>
                </a:cubicBezTo>
                <a:cubicBezTo>
                  <a:pt x="102" y="270"/>
                  <a:pt x="142" y="275"/>
                  <a:pt x="179" y="262"/>
                </a:cubicBezTo>
                <a:cubicBezTo>
                  <a:pt x="246" y="240"/>
                  <a:pt x="283" y="166"/>
                  <a:pt x="260" y="99"/>
                </a:cubicBezTo>
                <a:cubicBezTo>
                  <a:pt x="251" y="71"/>
                  <a:pt x="232" y="47"/>
                  <a:pt x="207" y="31"/>
                </a:cubicBezTo>
                <a:close/>
                <a:moveTo>
                  <a:pt x="111" y="182"/>
                </a:moveTo>
                <a:cubicBezTo>
                  <a:pt x="102" y="176"/>
                  <a:pt x="94" y="167"/>
                  <a:pt x="91" y="156"/>
                </a:cubicBezTo>
                <a:cubicBezTo>
                  <a:pt x="82" y="130"/>
                  <a:pt x="96" y="101"/>
                  <a:pt x="122" y="93"/>
                </a:cubicBezTo>
                <a:cubicBezTo>
                  <a:pt x="137" y="88"/>
                  <a:pt x="152" y="90"/>
                  <a:pt x="165" y="98"/>
                </a:cubicBezTo>
                <a:cubicBezTo>
                  <a:pt x="175" y="104"/>
                  <a:pt x="182" y="113"/>
                  <a:pt x="185" y="124"/>
                </a:cubicBezTo>
                <a:cubicBezTo>
                  <a:pt x="194" y="150"/>
                  <a:pt x="180" y="179"/>
                  <a:pt x="154" y="187"/>
                </a:cubicBezTo>
                <a:cubicBezTo>
                  <a:pt x="140" y="192"/>
                  <a:pt x="124" y="190"/>
                  <a:pt x="111" y="182"/>
                </a:cubicBezTo>
                <a:close/>
                <a:moveTo>
                  <a:pt x="162" y="102"/>
                </a:moveTo>
                <a:cubicBezTo>
                  <a:pt x="151" y="95"/>
                  <a:pt x="137" y="93"/>
                  <a:pt x="124" y="97"/>
                </a:cubicBezTo>
                <a:cubicBezTo>
                  <a:pt x="100" y="105"/>
                  <a:pt x="88" y="131"/>
                  <a:pt x="95" y="154"/>
                </a:cubicBezTo>
                <a:cubicBezTo>
                  <a:pt x="99" y="164"/>
                  <a:pt x="105" y="172"/>
                  <a:pt x="114" y="178"/>
                </a:cubicBezTo>
                <a:cubicBezTo>
                  <a:pt x="125" y="185"/>
                  <a:pt x="139" y="187"/>
                  <a:pt x="152" y="183"/>
                </a:cubicBezTo>
                <a:cubicBezTo>
                  <a:pt x="176" y="175"/>
                  <a:pt x="189" y="149"/>
                  <a:pt x="181" y="126"/>
                </a:cubicBezTo>
                <a:cubicBezTo>
                  <a:pt x="177" y="116"/>
                  <a:pt x="171" y="108"/>
                  <a:pt x="162"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6" name="Freeform 993">
            <a:extLst>
              <a:ext uri="{FF2B5EF4-FFF2-40B4-BE49-F238E27FC236}">
                <a16:creationId xmlns:a16="http://schemas.microsoft.com/office/drawing/2014/main" id="{6E1E68C9-2E84-4A82-9724-1D2A40C823C8}"/>
              </a:ext>
            </a:extLst>
          </p:cNvPr>
          <p:cNvSpPr>
            <a:spLocks noEditPoints="1"/>
          </p:cNvSpPr>
          <p:nvPr/>
        </p:nvSpPr>
        <p:spPr bwMode="auto">
          <a:xfrm>
            <a:off x="4261185" y="2381431"/>
            <a:ext cx="980627" cy="980625"/>
          </a:xfrm>
          <a:custGeom>
            <a:avLst/>
            <a:gdLst>
              <a:gd name="T0" fmla="*/ 73 w 357"/>
              <a:gd name="T1" fmla="*/ 281 h 357"/>
              <a:gd name="T2" fmla="*/ 36 w 357"/>
              <a:gd name="T3" fmla="*/ 263 h 357"/>
              <a:gd name="T4" fmla="*/ 8 w 357"/>
              <a:gd name="T5" fmla="*/ 233 h 357"/>
              <a:gd name="T6" fmla="*/ 0 w 357"/>
              <a:gd name="T7" fmla="*/ 180 h 357"/>
              <a:gd name="T8" fmla="*/ 17 w 357"/>
              <a:gd name="T9" fmla="*/ 143 h 357"/>
              <a:gd name="T10" fmla="*/ 48 w 357"/>
              <a:gd name="T11" fmla="*/ 113 h 357"/>
              <a:gd name="T12" fmla="*/ 75 w 357"/>
              <a:gd name="T13" fmla="*/ 76 h 357"/>
              <a:gd name="T14" fmla="*/ 92 w 357"/>
              <a:gd name="T15" fmla="*/ 38 h 357"/>
              <a:gd name="T16" fmla="*/ 121 w 357"/>
              <a:gd name="T17" fmla="*/ 10 h 357"/>
              <a:gd name="T18" fmla="*/ 156 w 357"/>
              <a:gd name="T19" fmla="*/ 35 h 357"/>
              <a:gd name="T20" fmla="*/ 183 w 357"/>
              <a:gd name="T21" fmla="*/ 1 h 357"/>
              <a:gd name="T22" fmla="*/ 236 w 357"/>
              <a:gd name="T23" fmla="*/ 11 h 357"/>
              <a:gd name="T24" fmla="*/ 266 w 357"/>
              <a:gd name="T25" fmla="*/ 39 h 357"/>
              <a:gd name="T26" fmla="*/ 282 w 357"/>
              <a:gd name="T27" fmla="*/ 77 h 357"/>
              <a:gd name="T28" fmla="*/ 321 w 357"/>
              <a:gd name="T29" fmla="*/ 96 h 357"/>
              <a:gd name="T30" fmla="*/ 348 w 357"/>
              <a:gd name="T31" fmla="*/ 127 h 357"/>
              <a:gd name="T32" fmla="*/ 352 w 357"/>
              <a:gd name="T33" fmla="*/ 169 h 357"/>
              <a:gd name="T34" fmla="*/ 336 w 357"/>
              <a:gd name="T35" fmla="*/ 215 h 357"/>
              <a:gd name="T36" fmla="*/ 329 w 357"/>
              <a:gd name="T37" fmla="*/ 244 h 357"/>
              <a:gd name="T38" fmla="*/ 302 w 357"/>
              <a:gd name="T39" fmla="*/ 287 h 357"/>
              <a:gd name="T40" fmla="*/ 268 w 357"/>
              <a:gd name="T41" fmla="*/ 325 h 357"/>
              <a:gd name="T42" fmla="*/ 233 w 357"/>
              <a:gd name="T43" fmla="*/ 348 h 357"/>
              <a:gd name="T44" fmla="*/ 190 w 357"/>
              <a:gd name="T45" fmla="*/ 343 h 357"/>
              <a:gd name="T46" fmla="*/ 152 w 357"/>
              <a:gd name="T47" fmla="*/ 323 h 357"/>
              <a:gd name="T48" fmla="*/ 111 w 357"/>
              <a:gd name="T49" fmla="*/ 330 h 357"/>
              <a:gd name="T50" fmla="*/ 78 w 357"/>
              <a:gd name="T51" fmla="*/ 277 h 357"/>
              <a:gd name="T52" fmla="*/ 88 w 357"/>
              <a:gd name="T53" fmla="*/ 316 h 357"/>
              <a:gd name="T54" fmla="*/ 122 w 357"/>
              <a:gd name="T55" fmla="*/ 343 h 357"/>
              <a:gd name="T56" fmla="*/ 166 w 357"/>
              <a:gd name="T57" fmla="*/ 343 h 357"/>
              <a:gd name="T58" fmla="*/ 200 w 357"/>
              <a:gd name="T59" fmla="*/ 317 h 357"/>
              <a:gd name="T60" fmla="*/ 233 w 357"/>
              <a:gd name="T61" fmla="*/ 343 h 357"/>
              <a:gd name="T62" fmla="*/ 266 w 357"/>
              <a:gd name="T63" fmla="*/ 317 h 357"/>
              <a:gd name="T64" fmla="*/ 278 w 357"/>
              <a:gd name="T65" fmla="*/ 278 h 357"/>
              <a:gd name="T66" fmla="*/ 316 w 357"/>
              <a:gd name="T67" fmla="*/ 268 h 357"/>
              <a:gd name="T68" fmla="*/ 343 w 357"/>
              <a:gd name="T69" fmla="*/ 233 h 357"/>
              <a:gd name="T70" fmla="*/ 317 w 357"/>
              <a:gd name="T71" fmla="*/ 199 h 357"/>
              <a:gd name="T72" fmla="*/ 342 w 357"/>
              <a:gd name="T73" fmla="*/ 171 h 357"/>
              <a:gd name="T74" fmla="*/ 344 w 357"/>
              <a:gd name="T75" fmla="*/ 128 h 357"/>
              <a:gd name="T76" fmla="*/ 304 w 357"/>
              <a:gd name="T77" fmla="*/ 117 h 357"/>
              <a:gd name="T78" fmla="*/ 316 w 357"/>
              <a:gd name="T79" fmla="*/ 75 h 357"/>
              <a:gd name="T80" fmla="*/ 283 w 357"/>
              <a:gd name="T81" fmla="*/ 41 h 357"/>
              <a:gd name="T82" fmla="*/ 242 w 357"/>
              <a:gd name="T83" fmla="*/ 54 h 357"/>
              <a:gd name="T84" fmla="*/ 223 w 357"/>
              <a:gd name="T85" fmla="*/ 21 h 357"/>
              <a:gd name="T86" fmla="*/ 183 w 357"/>
              <a:gd name="T87" fmla="*/ 6 h 357"/>
              <a:gd name="T88" fmla="*/ 157 w 357"/>
              <a:gd name="T89" fmla="*/ 40 h 357"/>
              <a:gd name="T90" fmla="*/ 123 w 357"/>
              <a:gd name="T91" fmla="*/ 15 h 357"/>
              <a:gd name="T92" fmla="*/ 98 w 357"/>
              <a:gd name="T93" fmla="*/ 49 h 357"/>
              <a:gd name="T94" fmla="*/ 73 w 357"/>
              <a:gd name="T95" fmla="*/ 53 h 357"/>
              <a:gd name="T96" fmla="*/ 37 w 357"/>
              <a:gd name="T97" fmla="*/ 79 h 357"/>
              <a:gd name="T98" fmla="*/ 13 w 357"/>
              <a:gd name="T99" fmla="*/ 125 h 357"/>
              <a:gd name="T100" fmla="*/ 39 w 357"/>
              <a:gd name="T101" fmla="*/ 155 h 357"/>
              <a:gd name="T102" fmla="*/ 7 w 357"/>
              <a:gd name="T103" fmla="*/ 186 h 357"/>
              <a:gd name="T104" fmla="*/ 13 w 357"/>
              <a:gd name="T105" fmla="*/ 231 h 357"/>
              <a:gd name="T106" fmla="*/ 52 w 357"/>
              <a:gd name="T107" fmla="*/ 242 h 357"/>
              <a:gd name="T108" fmla="*/ 51 w 357"/>
              <a:gd name="T109" fmla="*/ 282 h 357"/>
              <a:gd name="T110" fmla="*/ 141 w 357"/>
              <a:gd name="T111" fmla="*/ 68 h 357"/>
              <a:gd name="T112" fmla="*/ 115 w 357"/>
              <a:gd name="T113" fmla="*/ 277 h 357"/>
              <a:gd name="T114" fmla="*/ 214 w 357"/>
              <a:gd name="T115" fmla="*/ 285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7">
                <a:moveTo>
                  <a:pt x="75" y="324"/>
                </a:moveTo>
                <a:cubicBezTo>
                  <a:pt x="74" y="324"/>
                  <a:pt x="73" y="323"/>
                  <a:pt x="73" y="323"/>
                </a:cubicBezTo>
                <a:cubicBezTo>
                  <a:pt x="71" y="322"/>
                  <a:pt x="71" y="322"/>
                  <a:pt x="71" y="322"/>
                </a:cubicBezTo>
                <a:cubicBezTo>
                  <a:pt x="66" y="318"/>
                  <a:pt x="62" y="314"/>
                  <a:pt x="68" y="302"/>
                </a:cubicBezTo>
                <a:cubicBezTo>
                  <a:pt x="72" y="294"/>
                  <a:pt x="74" y="285"/>
                  <a:pt x="73" y="281"/>
                </a:cubicBezTo>
                <a:cubicBezTo>
                  <a:pt x="69" y="280"/>
                  <a:pt x="60" y="283"/>
                  <a:pt x="53" y="286"/>
                </a:cubicBezTo>
                <a:cubicBezTo>
                  <a:pt x="47" y="290"/>
                  <a:pt x="42" y="290"/>
                  <a:pt x="38" y="288"/>
                </a:cubicBezTo>
                <a:cubicBezTo>
                  <a:pt x="36" y="287"/>
                  <a:pt x="35" y="285"/>
                  <a:pt x="34" y="283"/>
                </a:cubicBezTo>
                <a:cubicBezTo>
                  <a:pt x="33" y="282"/>
                  <a:pt x="33" y="282"/>
                  <a:pt x="33" y="282"/>
                </a:cubicBezTo>
                <a:cubicBezTo>
                  <a:pt x="29" y="277"/>
                  <a:pt x="26" y="272"/>
                  <a:pt x="36" y="263"/>
                </a:cubicBezTo>
                <a:cubicBezTo>
                  <a:pt x="42" y="257"/>
                  <a:pt x="47" y="248"/>
                  <a:pt x="47" y="244"/>
                </a:cubicBezTo>
                <a:cubicBezTo>
                  <a:pt x="43" y="242"/>
                  <a:pt x="34" y="242"/>
                  <a:pt x="26" y="243"/>
                </a:cubicBezTo>
                <a:cubicBezTo>
                  <a:pt x="21" y="244"/>
                  <a:pt x="17" y="244"/>
                  <a:pt x="14" y="242"/>
                </a:cubicBezTo>
                <a:cubicBezTo>
                  <a:pt x="10" y="240"/>
                  <a:pt x="9" y="237"/>
                  <a:pt x="9" y="234"/>
                </a:cubicBezTo>
                <a:cubicBezTo>
                  <a:pt x="8" y="233"/>
                  <a:pt x="8" y="233"/>
                  <a:pt x="8" y="233"/>
                </a:cubicBezTo>
                <a:cubicBezTo>
                  <a:pt x="6" y="227"/>
                  <a:pt x="5" y="221"/>
                  <a:pt x="17" y="215"/>
                </a:cubicBezTo>
                <a:cubicBezTo>
                  <a:pt x="25" y="211"/>
                  <a:pt x="32" y="205"/>
                  <a:pt x="34" y="201"/>
                </a:cubicBezTo>
                <a:cubicBezTo>
                  <a:pt x="30" y="198"/>
                  <a:pt x="22" y="195"/>
                  <a:pt x="14" y="193"/>
                </a:cubicBezTo>
                <a:cubicBezTo>
                  <a:pt x="10" y="193"/>
                  <a:pt x="7" y="192"/>
                  <a:pt x="5" y="191"/>
                </a:cubicBezTo>
                <a:cubicBezTo>
                  <a:pt x="0" y="188"/>
                  <a:pt x="0" y="183"/>
                  <a:pt x="0" y="180"/>
                </a:cubicBezTo>
                <a:cubicBezTo>
                  <a:pt x="0" y="178"/>
                  <a:pt x="0" y="178"/>
                  <a:pt x="0" y="178"/>
                </a:cubicBezTo>
                <a:cubicBezTo>
                  <a:pt x="0" y="172"/>
                  <a:pt x="1" y="166"/>
                  <a:pt x="14" y="164"/>
                </a:cubicBezTo>
                <a:cubicBezTo>
                  <a:pt x="22" y="163"/>
                  <a:pt x="31" y="159"/>
                  <a:pt x="34" y="156"/>
                </a:cubicBezTo>
                <a:cubicBezTo>
                  <a:pt x="32" y="153"/>
                  <a:pt x="28" y="149"/>
                  <a:pt x="23" y="146"/>
                </a:cubicBezTo>
                <a:cubicBezTo>
                  <a:pt x="21" y="145"/>
                  <a:pt x="19" y="143"/>
                  <a:pt x="17" y="143"/>
                </a:cubicBezTo>
                <a:cubicBezTo>
                  <a:pt x="16" y="142"/>
                  <a:pt x="15" y="141"/>
                  <a:pt x="13" y="140"/>
                </a:cubicBezTo>
                <a:cubicBezTo>
                  <a:pt x="5" y="135"/>
                  <a:pt x="7" y="129"/>
                  <a:pt x="8" y="125"/>
                </a:cubicBezTo>
                <a:cubicBezTo>
                  <a:pt x="9" y="124"/>
                  <a:pt x="9" y="124"/>
                  <a:pt x="9" y="124"/>
                </a:cubicBezTo>
                <a:cubicBezTo>
                  <a:pt x="10" y="118"/>
                  <a:pt x="13" y="112"/>
                  <a:pt x="26" y="115"/>
                </a:cubicBezTo>
                <a:cubicBezTo>
                  <a:pt x="35" y="116"/>
                  <a:pt x="44" y="115"/>
                  <a:pt x="48" y="113"/>
                </a:cubicBezTo>
                <a:cubicBezTo>
                  <a:pt x="47" y="108"/>
                  <a:pt x="42" y="101"/>
                  <a:pt x="36" y="95"/>
                </a:cubicBezTo>
                <a:cubicBezTo>
                  <a:pt x="27" y="86"/>
                  <a:pt x="29" y="81"/>
                  <a:pt x="33" y="76"/>
                </a:cubicBezTo>
                <a:cubicBezTo>
                  <a:pt x="34" y="75"/>
                  <a:pt x="34" y="75"/>
                  <a:pt x="34" y="75"/>
                </a:cubicBezTo>
                <a:cubicBezTo>
                  <a:pt x="37" y="70"/>
                  <a:pt x="41" y="65"/>
                  <a:pt x="53" y="71"/>
                </a:cubicBezTo>
                <a:cubicBezTo>
                  <a:pt x="61" y="75"/>
                  <a:pt x="70" y="77"/>
                  <a:pt x="75" y="76"/>
                </a:cubicBezTo>
                <a:cubicBezTo>
                  <a:pt x="75" y="71"/>
                  <a:pt x="72" y="63"/>
                  <a:pt x="69" y="56"/>
                </a:cubicBezTo>
                <a:cubicBezTo>
                  <a:pt x="62" y="44"/>
                  <a:pt x="66" y="40"/>
                  <a:pt x="71" y="36"/>
                </a:cubicBezTo>
                <a:cubicBezTo>
                  <a:pt x="72" y="35"/>
                  <a:pt x="72" y="35"/>
                  <a:pt x="72" y="35"/>
                </a:cubicBezTo>
                <a:cubicBezTo>
                  <a:pt x="75" y="33"/>
                  <a:pt x="80" y="30"/>
                  <a:pt x="87" y="34"/>
                </a:cubicBezTo>
                <a:cubicBezTo>
                  <a:pt x="88" y="35"/>
                  <a:pt x="90" y="36"/>
                  <a:pt x="92" y="38"/>
                </a:cubicBezTo>
                <a:cubicBezTo>
                  <a:pt x="94" y="40"/>
                  <a:pt x="97" y="43"/>
                  <a:pt x="100" y="45"/>
                </a:cubicBezTo>
                <a:cubicBezTo>
                  <a:pt x="105" y="48"/>
                  <a:pt x="109" y="49"/>
                  <a:pt x="111" y="49"/>
                </a:cubicBezTo>
                <a:cubicBezTo>
                  <a:pt x="113" y="45"/>
                  <a:pt x="113" y="36"/>
                  <a:pt x="112" y="28"/>
                </a:cubicBezTo>
                <a:cubicBezTo>
                  <a:pt x="109" y="15"/>
                  <a:pt x="114" y="12"/>
                  <a:pt x="120" y="10"/>
                </a:cubicBezTo>
                <a:cubicBezTo>
                  <a:pt x="121" y="10"/>
                  <a:pt x="121" y="10"/>
                  <a:pt x="121" y="10"/>
                </a:cubicBezTo>
                <a:cubicBezTo>
                  <a:pt x="124" y="9"/>
                  <a:pt x="128" y="7"/>
                  <a:pt x="132" y="10"/>
                </a:cubicBezTo>
                <a:cubicBezTo>
                  <a:pt x="135" y="12"/>
                  <a:pt x="137" y="14"/>
                  <a:pt x="139" y="18"/>
                </a:cubicBezTo>
                <a:cubicBezTo>
                  <a:pt x="143" y="25"/>
                  <a:pt x="148" y="32"/>
                  <a:pt x="152" y="34"/>
                </a:cubicBezTo>
                <a:cubicBezTo>
                  <a:pt x="154" y="35"/>
                  <a:pt x="155" y="35"/>
                  <a:pt x="156" y="35"/>
                </a:cubicBezTo>
                <a:cubicBezTo>
                  <a:pt x="156" y="35"/>
                  <a:pt x="156" y="35"/>
                  <a:pt x="156" y="35"/>
                </a:cubicBezTo>
                <a:cubicBezTo>
                  <a:pt x="156" y="35"/>
                  <a:pt x="156" y="35"/>
                  <a:pt x="156" y="35"/>
                </a:cubicBezTo>
                <a:cubicBezTo>
                  <a:pt x="157" y="35"/>
                  <a:pt x="157" y="35"/>
                  <a:pt x="157" y="35"/>
                </a:cubicBezTo>
                <a:cubicBezTo>
                  <a:pt x="160" y="35"/>
                  <a:pt x="165" y="25"/>
                  <a:pt x="168" y="14"/>
                </a:cubicBezTo>
                <a:cubicBezTo>
                  <a:pt x="170" y="1"/>
                  <a:pt x="176" y="0"/>
                  <a:pt x="182" y="1"/>
                </a:cubicBezTo>
                <a:cubicBezTo>
                  <a:pt x="183" y="1"/>
                  <a:pt x="183" y="1"/>
                  <a:pt x="183" y="1"/>
                </a:cubicBezTo>
                <a:cubicBezTo>
                  <a:pt x="186" y="1"/>
                  <a:pt x="188" y="1"/>
                  <a:pt x="191" y="3"/>
                </a:cubicBezTo>
                <a:cubicBezTo>
                  <a:pt x="194" y="5"/>
                  <a:pt x="196" y="9"/>
                  <a:pt x="197" y="15"/>
                </a:cubicBezTo>
                <a:cubicBezTo>
                  <a:pt x="198" y="23"/>
                  <a:pt x="200" y="31"/>
                  <a:pt x="203" y="35"/>
                </a:cubicBezTo>
                <a:cubicBezTo>
                  <a:pt x="208" y="34"/>
                  <a:pt x="214" y="27"/>
                  <a:pt x="218" y="19"/>
                </a:cubicBezTo>
                <a:cubicBezTo>
                  <a:pt x="224" y="7"/>
                  <a:pt x="230" y="8"/>
                  <a:pt x="236" y="11"/>
                </a:cubicBezTo>
                <a:cubicBezTo>
                  <a:pt x="237" y="11"/>
                  <a:pt x="237" y="11"/>
                  <a:pt x="237" y="11"/>
                </a:cubicBezTo>
                <a:cubicBezTo>
                  <a:pt x="239" y="12"/>
                  <a:pt x="240" y="12"/>
                  <a:pt x="242" y="13"/>
                </a:cubicBezTo>
                <a:cubicBezTo>
                  <a:pt x="246" y="16"/>
                  <a:pt x="248" y="21"/>
                  <a:pt x="246" y="29"/>
                </a:cubicBezTo>
                <a:cubicBezTo>
                  <a:pt x="244" y="37"/>
                  <a:pt x="244" y="45"/>
                  <a:pt x="246" y="50"/>
                </a:cubicBezTo>
                <a:cubicBezTo>
                  <a:pt x="251" y="50"/>
                  <a:pt x="259" y="45"/>
                  <a:pt x="266" y="39"/>
                </a:cubicBezTo>
                <a:cubicBezTo>
                  <a:pt x="272" y="33"/>
                  <a:pt x="277" y="31"/>
                  <a:pt x="282" y="34"/>
                </a:cubicBezTo>
                <a:cubicBezTo>
                  <a:pt x="283" y="35"/>
                  <a:pt x="284" y="36"/>
                  <a:pt x="285" y="36"/>
                </a:cubicBezTo>
                <a:cubicBezTo>
                  <a:pt x="286" y="37"/>
                  <a:pt x="286" y="37"/>
                  <a:pt x="286" y="37"/>
                </a:cubicBezTo>
                <a:cubicBezTo>
                  <a:pt x="291" y="41"/>
                  <a:pt x="295" y="45"/>
                  <a:pt x="288" y="57"/>
                </a:cubicBezTo>
                <a:cubicBezTo>
                  <a:pt x="285" y="64"/>
                  <a:pt x="282" y="72"/>
                  <a:pt x="282" y="77"/>
                </a:cubicBezTo>
                <a:cubicBezTo>
                  <a:pt x="287" y="78"/>
                  <a:pt x="296" y="76"/>
                  <a:pt x="304" y="72"/>
                </a:cubicBezTo>
                <a:cubicBezTo>
                  <a:pt x="311" y="69"/>
                  <a:pt x="315" y="69"/>
                  <a:pt x="319" y="71"/>
                </a:cubicBezTo>
                <a:cubicBezTo>
                  <a:pt x="321" y="72"/>
                  <a:pt x="322" y="74"/>
                  <a:pt x="323" y="76"/>
                </a:cubicBezTo>
                <a:cubicBezTo>
                  <a:pt x="324" y="77"/>
                  <a:pt x="324" y="77"/>
                  <a:pt x="324" y="77"/>
                </a:cubicBezTo>
                <a:cubicBezTo>
                  <a:pt x="328" y="82"/>
                  <a:pt x="330" y="88"/>
                  <a:pt x="321" y="96"/>
                </a:cubicBezTo>
                <a:cubicBezTo>
                  <a:pt x="315" y="102"/>
                  <a:pt x="310" y="109"/>
                  <a:pt x="309" y="114"/>
                </a:cubicBezTo>
                <a:cubicBezTo>
                  <a:pt x="313" y="116"/>
                  <a:pt x="322" y="117"/>
                  <a:pt x="331" y="116"/>
                </a:cubicBezTo>
                <a:cubicBezTo>
                  <a:pt x="336" y="115"/>
                  <a:pt x="340" y="116"/>
                  <a:pt x="343" y="117"/>
                </a:cubicBezTo>
                <a:cubicBezTo>
                  <a:pt x="346" y="119"/>
                  <a:pt x="347" y="123"/>
                  <a:pt x="348" y="125"/>
                </a:cubicBezTo>
                <a:cubicBezTo>
                  <a:pt x="348" y="127"/>
                  <a:pt x="348" y="127"/>
                  <a:pt x="348" y="127"/>
                </a:cubicBezTo>
                <a:cubicBezTo>
                  <a:pt x="350" y="133"/>
                  <a:pt x="351" y="139"/>
                  <a:pt x="339" y="144"/>
                </a:cubicBezTo>
                <a:cubicBezTo>
                  <a:pt x="332" y="147"/>
                  <a:pt x="325" y="153"/>
                  <a:pt x="322" y="157"/>
                </a:cubicBezTo>
                <a:cubicBezTo>
                  <a:pt x="323" y="157"/>
                  <a:pt x="324" y="158"/>
                  <a:pt x="325" y="159"/>
                </a:cubicBezTo>
                <a:cubicBezTo>
                  <a:pt x="330" y="162"/>
                  <a:pt x="336" y="165"/>
                  <a:pt x="343" y="166"/>
                </a:cubicBezTo>
                <a:cubicBezTo>
                  <a:pt x="346" y="166"/>
                  <a:pt x="349" y="167"/>
                  <a:pt x="352" y="169"/>
                </a:cubicBezTo>
                <a:cubicBezTo>
                  <a:pt x="357" y="172"/>
                  <a:pt x="356" y="177"/>
                  <a:pt x="356" y="180"/>
                </a:cubicBezTo>
                <a:cubicBezTo>
                  <a:pt x="356" y="181"/>
                  <a:pt x="356" y="181"/>
                  <a:pt x="356" y="181"/>
                </a:cubicBezTo>
                <a:cubicBezTo>
                  <a:pt x="356" y="187"/>
                  <a:pt x="355" y="194"/>
                  <a:pt x="342" y="195"/>
                </a:cubicBezTo>
                <a:cubicBezTo>
                  <a:pt x="334" y="196"/>
                  <a:pt x="326" y="199"/>
                  <a:pt x="322" y="202"/>
                </a:cubicBezTo>
                <a:cubicBezTo>
                  <a:pt x="324" y="205"/>
                  <a:pt x="329" y="211"/>
                  <a:pt x="336" y="215"/>
                </a:cubicBezTo>
                <a:cubicBezTo>
                  <a:pt x="337" y="216"/>
                  <a:pt x="338" y="216"/>
                  <a:pt x="339" y="217"/>
                </a:cubicBezTo>
                <a:cubicBezTo>
                  <a:pt x="340" y="217"/>
                  <a:pt x="341" y="218"/>
                  <a:pt x="342" y="219"/>
                </a:cubicBezTo>
                <a:cubicBezTo>
                  <a:pt x="351" y="224"/>
                  <a:pt x="349" y="230"/>
                  <a:pt x="347" y="234"/>
                </a:cubicBezTo>
                <a:cubicBezTo>
                  <a:pt x="347" y="236"/>
                  <a:pt x="347" y="236"/>
                  <a:pt x="347" y="236"/>
                </a:cubicBezTo>
                <a:cubicBezTo>
                  <a:pt x="345" y="242"/>
                  <a:pt x="342" y="247"/>
                  <a:pt x="329" y="244"/>
                </a:cubicBezTo>
                <a:cubicBezTo>
                  <a:pt x="321" y="243"/>
                  <a:pt x="313" y="243"/>
                  <a:pt x="308" y="245"/>
                </a:cubicBezTo>
                <a:cubicBezTo>
                  <a:pt x="309" y="249"/>
                  <a:pt x="313" y="258"/>
                  <a:pt x="320" y="264"/>
                </a:cubicBezTo>
                <a:cubicBezTo>
                  <a:pt x="329" y="273"/>
                  <a:pt x="326" y="279"/>
                  <a:pt x="322" y="283"/>
                </a:cubicBezTo>
                <a:cubicBezTo>
                  <a:pt x="321" y="285"/>
                  <a:pt x="321" y="285"/>
                  <a:pt x="321" y="285"/>
                </a:cubicBezTo>
                <a:cubicBezTo>
                  <a:pt x="318" y="290"/>
                  <a:pt x="313" y="294"/>
                  <a:pt x="302" y="287"/>
                </a:cubicBezTo>
                <a:cubicBezTo>
                  <a:pt x="295" y="284"/>
                  <a:pt x="287" y="281"/>
                  <a:pt x="282" y="282"/>
                </a:cubicBezTo>
                <a:cubicBezTo>
                  <a:pt x="281" y="286"/>
                  <a:pt x="283" y="295"/>
                  <a:pt x="287" y="303"/>
                </a:cubicBezTo>
                <a:cubicBezTo>
                  <a:pt x="293" y="315"/>
                  <a:pt x="288" y="319"/>
                  <a:pt x="283" y="323"/>
                </a:cubicBezTo>
                <a:cubicBezTo>
                  <a:pt x="282" y="323"/>
                  <a:pt x="282" y="323"/>
                  <a:pt x="282" y="323"/>
                </a:cubicBezTo>
                <a:cubicBezTo>
                  <a:pt x="279" y="326"/>
                  <a:pt x="275" y="329"/>
                  <a:pt x="268" y="325"/>
                </a:cubicBezTo>
                <a:cubicBezTo>
                  <a:pt x="266" y="324"/>
                  <a:pt x="265" y="322"/>
                  <a:pt x="263" y="320"/>
                </a:cubicBezTo>
                <a:cubicBezTo>
                  <a:pt x="258" y="315"/>
                  <a:pt x="250" y="310"/>
                  <a:pt x="245" y="308"/>
                </a:cubicBezTo>
                <a:cubicBezTo>
                  <a:pt x="243" y="312"/>
                  <a:pt x="242" y="322"/>
                  <a:pt x="243" y="331"/>
                </a:cubicBezTo>
                <a:cubicBezTo>
                  <a:pt x="246" y="344"/>
                  <a:pt x="240" y="346"/>
                  <a:pt x="234" y="348"/>
                </a:cubicBezTo>
                <a:cubicBezTo>
                  <a:pt x="233" y="348"/>
                  <a:pt x="233" y="348"/>
                  <a:pt x="233" y="348"/>
                </a:cubicBezTo>
                <a:cubicBezTo>
                  <a:pt x="230" y="349"/>
                  <a:pt x="226" y="351"/>
                  <a:pt x="222" y="348"/>
                </a:cubicBezTo>
                <a:cubicBezTo>
                  <a:pt x="220" y="346"/>
                  <a:pt x="218" y="344"/>
                  <a:pt x="216" y="339"/>
                </a:cubicBezTo>
                <a:cubicBezTo>
                  <a:pt x="212" y="332"/>
                  <a:pt x="207" y="325"/>
                  <a:pt x="202" y="323"/>
                </a:cubicBezTo>
                <a:cubicBezTo>
                  <a:pt x="201" y="322"/>
                  <a:pt x="200" y="322"/>
                  <a:pt x="200" y="322"/>
                </a:cubicBezTo>
                <a:cubicBezTo>
                  <a:pt x="197" y="322"/>
                  <a:pt x="192" y="332"/>
                  <a:pt x="190" y="343"/>
                </a:cubicBezTo>
                <a:cubicBezTo>
                  <a:pt x="188" y="356"/>
                  <a:pt x="182" y="357"/>
                  <a:pt x="176" y="357"/>
                </a:cubicBezTo>
                <a:cubicBezTo>
                  <a:pt x="175" y="357"/>
                  <a:pt x="175" y="357"/>
                  <a:pt x="175" y="357"/>
                </a:cubicBezTo>
                <a:cubicBezTo>
                  <a:pt x="172" y="357"/>
                  <a:pt x="169" y="357"/>
                  <a:pt x="167" y="356"/>
                </a:cubicBezTo>
                <a:cubicBezTo>
                  <a:pt x="163" y="353"/>
                  <a:pt x="162" y="350"/>
                  <a:pt x="161" y="343"/>
                </a:cubicBezTo>
                <a:cubicBezTo>
                  <a:pt x="159" y="335"/>
                  <a:pt x="156" y="326"/>
                  <a:pt x="152" y="323"/>
                </a:cubicBezTo>
                <a:cubicBezTo>
                  <a:pt x="148" y="325"/>
                  <a:pt x="143" y="332"/>
                  <a:pt x="139" y="339"/>
                </a:cubicBezTo>
                <a:cubicBezTo>
                  <a:pt x="133" y="351"/>
                  <a:pt x="127" y="350"/>
                  <a:pt x="121" y="348"/>
                </a:cubicBezTo>
                <a:cubicBezTo>
                  <a:pt x="120" y="347"/>
                  <a:pt x="120" y="347"/>
                  <a:pt x="120" y="347"/>
                </a:cubicBezTo>
                <a:cubicBezTo>
                  <a:pt x="119" y="347"/>
                  <a:pt x="117" y="347"/>
                  <a:pt x="115" y="345"/>
                </a:cubicBezTo>
                <a:cubicBezTo>
                  <a:pt x="111" y="343"/>
                  <a:pt x="110" y="338"/>
                  <a:pt x="111" y="330"/>
                </a:cubicBezTo>
                <a:cubicBezTo>
                  <a:pt x="113" y="321"/>
                  <a:pt x="112" y="312"/>
                  <a:pt x="110" y="308"/>
                </a:cubicBezTo>
                <a:cubicBezTo>
                  <a:pt x="105" y="309"/>
                  <a:pt x="98" y="314"/>
                  <a:pt x="92" y="319"/>
                </a:cubicBezTo>
                <a:cubicBezTo>
                  <a:pt x="86" y="326"/>
                  <a:pt x="80" y="328"/>
                  <a:pt x="75" y="324"/>
                </a:cubicBezTo>
                <a:close/>
                <a:moveTo>
                  <a:pt x="77" y="276"/>
                </a:moveTo>
                <a:cubicBezTo>
                  <a:pt x="77" y="276"/>
                  <a:pt x="77" y="277"/>
                  <a:pt x="78" y="277"/>
                </a:cubicBezTo>
                <a:cubicBezTo>
                  <a:pt x="80" y="283"/>
                  <a:pt x="77" y="296"/>
                  <a:pt x="73" y="305"/>
                </a:cubicBezTo>
                <a:cubicBezTo>
                  <a:pt x="68" y="313"/>
                  <a:pt x="71" y="315"/>
                  <a:pt x="74" y="318"/>
                </a:cubicBezTo>
                <a:cubicBezTo>
                  <a:pt x="76" y="319"/>
                  <a:pt x="76" y="319"/>
                  <a:pt x="76" y="319"/>
                </a:cubicBezTo>
                <a:cubicBezTo>
                  <a:pt x="76" y="319"/>
                  <a:pt x="77" y="319"/>
                  <a:pt x="77" y="320"/>
                </a:cubicBezTo>
                <a:cubicBezTo>
                  <a:pt x="79" y="321"/>
                  <a:pt x="82" y="323"/>
                  <a:pt x="88" y="316"/>
                </a:cubicBezTo>
                <a:cubicBezTo>
                  <a:pt x="94" y="310"/>
                  <a:pt x="104" y="303"/>
                  <a:pt x="110" y="303"/>
                </a:cubicBezTo>
                <a:cubicBezTo>
                  <a:pt x="111" y="302"/>
                  <a:pt x="112" y="303"/>
                  <a:pt x="112" y="303"/>
                </a:cubicBezTo>
                <a:cubicBezTo>
                  <a:pt x="117" y="308"/>
                  <a:pt x="118" y="321"/>
                  <a:pt x="116" y="331"/>
                </a:cubicBezTo>
                <a:cubicBezTo>
                  <a:pt x="115" y="339"/>
                  <a:pt x="117" y="341"/>
                  <a:pt x="118" y="341"/>
                </a:cubicBezTo>
                <a:cubicBezTo>
                  <a:pt x="119" y="342"/>
                  <a:pt x="120" y="342"/>
                  <a:pt x="122" y="343"/>
                </a:cubicBezTo>
                <a:cubicBezTo>
                  <a:pt x="123" y="343"/>
                  <a:pt x="123" y="343"/>
                  <a:pt x="123" y="343"/>
                </a:cubicBezTo>
                <a:cubicBezTo>
                  <a:pt x="127" y="345"/>
                  <a:pt x="130" y="346"/>
                  <a:pt x="135" y="337"/>
                </a:cubicBezTo>
                <a:cubicBezTo>
                  <a:pt x="138" y="329"/>
                  <a:pt x="145" y="320"/>
                  <a:pt x="152" y="317"/>
                </a:cubicBezTo>
                <a:cubicBezTo>
                  <a:pt x="152" y="317"/>
                  <a:pt x="153" y="317"/>
                  <a:pt x="154" y="317"/>
                </a:cubicBezTo>
                <a:cubicBezTo>
                  <a:pt x="159" y="321"/>
                  <a:pt x="164" y="333"/>
                  <a:pt x="166" y="343"/>
                </a:cubicBezTo>
                <a:cubicBezTo>
                  <a:pt x="166" y="347"/>
                  <a:pt x="167" y="350"/>
                  <a:pt x="169" y="351"/>
                </a:cubicBezTo>
                <a:cubicBezTo>
                  <a:pt x="171" y="352"/>
                  <a:pt x="172" y="352"/>
                  <a:pt x="174" y="352"/>
                </a:cubicBezTo>
                <a:cubicBezTo>
                  <a:pt x="176" y="352"/>
                  <a:pt x="176" y="352"/>
                  <a:pt x="176" y="352"/>
                </a:cubicBezTo>
                <a:cubicBezTo>
                  <a:pt x="180" y="352"/>
                  <a:pt x="184" y="352"/>
                  <a:pt x="185" y="343"/>
                </a:cubicBezTo>
                <a:cubicBezTo>
                  <a:pt x="187" y="333"/>
                  <a:pt x="192" y="317"/>
                  <a:pt x="200" y="317"/>
                </a:cubicBezTo>
                <a:cubicBezTo>
                  <a:pt x="201" y="317"/>
                  <a:pt x="203" y="317"/>
                  <a:pt x="205" y="318"/>
                </a:cubicBezTo>
                <a:cubicBezTo>
                  <a:pt x="211" y="322"/>
                  <a:pt x="217" y="330"/>
                  <a:pt x="220" y="337"/>
                </a:cubicBezTo>
                <a:cubicBezTo>
                  <a:pt x="222" y="341"/>
                  <a:pt x="223" y="343"/>
                  <a:pt x="225" y="344"/>
                </a:cubicBezTo>
                <a:cubicBezTo>
                  <a:pt x="227" y="345"/>
                  <a:pt x="229" y="345"/>
                  <a:pt x="232" y="344"/>
                </a:cubicBezTo>
                <a:cubicBezTo>
                  <a:pt x="233" y="343"/>
                  <a:pt x="233" y="343"/>
                  <a:pt x="233" y="343"/>
                </a:cubicBezTo>
                <a:cubicBezTo>
                  <a:pt x="237" y="342"/>
                  <a:pt x="240" y="341"/>
                  <a:pt x="239" y="332"/>
                </a:cubicBezTo>
                <a:cubicBezTo>
                  <a:pt x="237" y="321"/>
                  <a:pt x="238" y="309"/>
                  <a:pt x="243" y="304"/>
                </a:cubicBezTo>
                <a:cubicBezTo>
                  <a:pt x="243" y="303"/>
                  <a:pt x="244" y="303"/>
                  <a:pt x="245" y="303"/>
                </a:cubicBezTo>
                <a:cubicBezTo>
                  <a:pt x="248" y="304"/>
                  <a:pt x="253" y="306"/>
                  <a:pt x="255" y="308"/>
                </a:cubicBezTo>
                <a:cubicBezTo>
                  <a:pt x="259" y="310"/>
                  <a:pt x="263" y="313"/>
                  <a:pt x="266" y="317"/>
                </a:cubicBezTo>
                <a:cubicBezTo>
                  <a:pt x="268" y="318"/>
                  <a:pt x="270" y="320"/>
                  <a:pt x="271" y="321"/>
                </a:cubicBezTo>
                <a:cubicBezTo>
                  <a:pt x="274" y="323"/>
                  <a:pt x="276" y="322"/>
                  <a:pt x="279" y="319"/>
                </a:cubicBezTo>
                <a:cubicBezTo>
                  <a:pt x="281" y="318"/>
                  <a:pt x="281" y="318"/>
                  <a:pt x="281" y="318"/>
                </a:cubicBezTo>
                <a:cubicBezTo>
                  <a:pt x="284" y="316"/>
                  <a:pt x="287" y="314"/>
                  <a:pt x="282" y="306"/>
                </a:cubicBezTo>
                <a:cubicBezTo>
                  <a:pt x="278" y="296"/>
                  <a:pt x="275" y="284"/>
                  <a:pt x="278" y="278"/>
                </a:cubicBezTo>
                <a:cubicBezTo>
                  <a:pt x="278" y="277"/>
                  <a:pt x="279" y="277"/>
                  <a:pt x="279" y="277"/>
                </a:cubicBezTo>
                <a:cubicBezTo>
                  <a:pt x="286" y="276"/>
                  <a:pt x="297" y="279"/>
                  <a:pt x="304" y="283"/>
                </a:cubicBezTo>
                <a:cubicBezTo>
                  <a:pt x="313" y="288"/>
                  <a:pt x="315" y="285"/>
                  <a:pt x="317" y="282"/>
                </a:cubicBezTo>
                <a:cubicBezTo>
                  <a:pt x="318" y="280"/>
                  <a:pt x="318" y="280"/>
                  <a:pt x="318" y="280"/>
                </a:cubicBezTo>
                <a:cubicBezTo>
                  <a:pt x="321" y="277"/>
                  <a:pt x="323" y="274"/>
                  <a:pt x="316" y="268"/>
                </a:cubicBezTo>
                <a:cubicBezTo>
                  <a:pt x="309" y="260"/>
                  <a:pt x="302" y="250"/>
                  <a:pt x="303" y="243"/>
                </a:cubicBezTo>
                <a:cubicBezTo>
                  <a:pt x="303" y="242"/>
                  <a:pt x="304" y="242"/>
                  <a:pt x="304" y="241"/>
                </a:cubicBezTo>
                <a:cubicBezTo>
                  <a:pt x="310" y="238"/>
                  <a:pt x="322" y="238"/>
                  <a:pt x="330" y="239"/>
                </a:cubicBezTo>
                <a:cubicBezTo>
                  <a:pt x="340" y="241"/>
                  <a:pt x="341" y="238"/>
                  <a:pt x="342" y="234"/>
                </a:cubicBezTo>
                <a:cubicBezTo>
                  <a:pt x="343" y="233"/>
                  <a:pt x="343" y="233"/>
                  <a:pt x="343" y="233"/>
                </a:cubicBezTo>
                <a:cubicBezTo>
                  <a:pt x="344" y="229"/>
                  <a:pt x="345" y="226"/>
                  <a:pt x="339" y="223"/>
                </a:cubicBezTo>
                <a:cubicBezTo>
                  <a:pt x="339" y="222"/>
                  <a:pt x="338" y="222"/>
                  <a:pt x="337" y="221"/>
                </a:cubicBezTo>
                <a:cubicBezTo>
                  <a:pt x="335" y="221"/>
                  <a:pt x="334" y="220"/>
                  <a:pt x="333" y="219"/>
                </a:cubicBezTo>
                <a:cubicBezTo>
                  <a:pt x="326" y="215"/>
                  <a:pt x="318" y="208"/>
                  <a:pt x="317" y="202"/>
                </a:cubicBezTo>
                <a:cubicBezTo>
                  <a:pt x="317" y="201"/>
                  <a:pt x="317" y="200"/>
                  <a:pt x="317" y="199"/>
                </a:cubicBezTo>
                <a:cubicBezTo>
                  <a:pt x="322" y="195"/>
                  <a:pt x="333" y="191"/>
                  <a:pt x="341" y="190"/>
                </a:cubicBezTo>
                <a:cubicBezTo>
                  <a:pt x="351" y="189"/>
                  <a:pt x="351" y="186"/>
                  <a:pt x="351" y="181"/>
                </a:cubicBezTo>
                <a:cubicBezTo>
                  <a:pt x="351" y="180"/>
                  <a:pt x="351" y="180"/>
                  <a:pt x="351" y="180"/>
                </a:cubicBezTo>
                <a:cubicBezTo>
                  <a:pt x="351" y="176"/>
                  <a:pt x="351" y="174"/>
                  <a:pt x="349" y="173"/>
                </a:cubicBezTo>
                <a:cubicBezTo>
                  <a:pt x="347" y="172"/>
                  <a:pt x="345" y="171"/>
                  <a:pt x="342" y="171"/>
                </a:cubicBezTo>
                <a:cubicBezTo>
                  <a:pt x="335" y="169"/>
                  <a:pt x="328" y="167"/>
                  <a:pt x="323" y="164"/>
                </a:cubicBezTo>
                <a:cubicBezTo>
                  <a:pt x="320" y="162"/>
                  <a:pt x="318" y="160"/>
                  <a:pt x="317" y="158"/>
                </a:cubicBezTo>
                <a:cubicBezTo>
                  <a:pt x="317" y="157"/>
                  <a:pt x="317" y="157"/>
                  <a:pt x="317" y="156"/>
                </a:cubicBezTo>
                <a:cubicBezTo>
                  <a:pt x="320" y="150"/>
                  <a:pt x="329" y="143"/>
                  <a:pt x="337" y="139"/>
                </a:cubicBezTo>
                <a:cubicBezTo>
                  <a:pt x="346" y="135"/>
                  <a:pt x="345" y="132"/>
                  <a:pt x="344" y="128"/>
                </a:cubicBezTo>
                <a:cubicBezTo>
                  <a:pt x="343" y="127"/>
                  <a:pt x="343" y="127"/>
                  <a:pt x="343" y="127"/>
                </a:cubicBezTo>
                <a:cubicBezTo>
                  <a:pt x="343" y="124"/>
                  <a:pt x="342" y="123"/>
                  <a:pt x="340" y="122"/>
                </a:cubicBezTo>
                <a:cubicBezTo>
                  <a:pt x="339" y="121"/>
                  <a:pt x="336" y="120"/>
                  <a:pt x="332" y="121"/>
                </a:cubicBezTo>
                <a:cubicBezTo>
                  <a:pt x="323" y="122"/>
                  <a:pt x="311" y="122"/>
                  <a:pt x="306" y="118"/>
                </a:cubicBezTo>
                <a:cubicBezTo>
                  <a:pt x="305" y="117"/>
                  <a:pt x="304" y="117"/>
                  <a:pt x="304" y="117"/>
                </a:cubicBezTo>
                <a:cubicBezTo>
                  <a:pt x="303" y="116"/>
                  <a:pt x="303" y="115"/>
                  <a:pt x="303" y="114"/>
                </a:cubicBezTo>
                <a:cubicBezTo>
                  <a:pt x="304" y="108"/>
                  <a:pt x="311" y="98"/>
                  <a:pt x="317" y="93"/>
                </a:cubicBezTo>
                <a:cubicBezTo>
                  <a:pt x="325" y="86"/>
                  <a:pt x="323" y="84"/>
                  <a:pt x="320" y="80"/>
                </a:cubicBezTo>
                <a:cubicBezTo>
                  <a:pt x="319" y="79"/>
                  <a:pt x="319" y="79"/>
                  <a:pt x="319" y="79"/>
                </a:cubicBezTo>
                <a:cubicBezTo>
                  <a:pt x="318" y="77"/>
                  <a:pt x="317" y="76"/>
                  <a:pt x="316" y="75"/>
                </a:cubicBezTo>
                <a:cubicBezTo>
                  <a:pt x="316" y="75"/>
                  <a:pt x="313" y="73"/>
                  <a:pt x="306" y="77"/>
                </a:cubicBezTo>
                <a:cubicBezTo>
                  <a:pt x="297" y="81"/>
                  <a:pt x="285" y="84"/>
                  <a:pt x="279" y="81"/>
                </a:cubicBezTo>
                <a:cubicBezTo>
                  <a:pt x="278" y="81"/>
                  <a:pt x="278" y="80"/>
                  <a:pt x="277" y="79"/>
                </a:cubicBezTo>
                <a:cubicBezTo>
                  <a:pt x="276" y="73"/>
                  <a:pt x="280" y="62"/>
                  <a:pt x="284" y="54"/>
                </a:cubicBezTo>
                <a:cubicBezTo>
                  <a:pt x="289" y="46"/>
                  <a:pt x="286" y="44"/>
                  <a:pt x="283" y="41"/>
                </a:cubicBezTo>
                <a:cubicBezTo>
                  <a:pt x="282" y="40"/>
                  <a:pt x="282" y="40"/>
                  <a:pt x="282" y="40"/>
                </a:cubicBezTo>
                <a:cubicBezTo>
                  <a:pt x="281" y="40"/>
                  <a:pt x="280" y="39"/>
                  <a:pt x="280" y="39"/>
                </a:cubicBezTo>
                <a:cubicBezTo>
                  <a:pt x="278" y="38"/>
                  <a:pt x="275" y="36"/>
                  <a:pt x="269" y="42"/>
                </a:cubicBezTo>
                <a:cubicBezTo>
                  <a:pt x="262" y="49"/>
                  <a:pt x="251" y="56"/>
                  <a:pt x="244" y="55"/>
                </a:cubicBezTo>
                <a:cubicBezTo>
                  <a:pt x="243" y="55"/>
                  <a:pt x="243" y="54"/>
                  <a:pt x="242" y="54"/>
                </a:cubicBezTo>
                <a:cubicBezTo>
                  <a:pt x="239" y="48"/>
                  <a:pt x="239" y="36"/>
                  <a:pt x="241" y="28"/>
                </a:cubicBezTo>
                <a:cubicBezTo>
                  <a:pt x="243" y="19"/>
                  <a:pt x="240" y="18"/>
                  <a:pt x="239" y="17"/>
                </a:cubicBezTo>
                <a:cubicBezTo>
                  <a:pt x="238" y="17"/>
                  <a:pt x="237" y="16"/>
                  <a:pt x="236" y="16"/>
                </a:cubicBezTo>
                <a:cubicBezTo>
                  <a:pt x="234" y="15"/>
                  <a:pt x="234" y="15"/>
                  <a:pt x="234" y="15"/>
                </a:cubicBezTo>
                <a:cubicBezTo>
                  <a:pt x="230" y="14"/>
                  <a:pt x="227" y="13"/>
                  <a:pt x="223" y="21"/>
                </a:cubicBezTo>
                <a:cubicBezTo>
                  <a:pt x="218" y="30"/>
                  <a:pt x="209" y="40"/>
                  <a:pt x="203" y="41"/>
                </a:cubicBezTo>
                <a:cubicBezTo>
                  <a:pt x="202" y="41"/>
                  <a:pt x="201" y="40"/>
                  <a:pt x="201" y="40"/>
                </a:cubicBezTo>
                <a:cubicBezTo>
                  <a:pt x="196" y="35"/>
                  <a:pt x="193" y="24"/>
                  <a:pt x="192" y="16"/>
                </a:cubicBezTo>
                <a:cubicBezTo>
                  <a:pt x="191" y="11"/>
                  <a:pt x="190" y="8"/>
                  <a:pt x="188" y="7"/>
                </a:cubicBezTo>
                <a:cubicBezTo>
                  <a:pt x="187" y="6"/>
                  <a:pt x="185" y="6"/>
                  <a:pt x="183" y="6"/>
                </a:cubicBezTo>
                <a:cubicBezTo>
                  <a:pt x="182" y="6"/>
                  <a:pt x="182" y="6"/>
                  <a:pt x="182" y="6"/>
                </a:cubicBezTo>
                <a:cubicBezTo>
                  <a:pt x="177" y="6"/>
                  <a:pt x="174" y="5"/>
                  <a:pt x="172" y="15"/>
                </a:cubicBezTo>
                <a:cubicBezTo>
                  <a:pt x="171" y="24"/>
                  <a:pt x="165" y="39"/>
                  <a:pt x="157" y="40"/>
                </a:cubicBezTo>
                <a:cubicBezTo>
                  <a:pt x="157" y="40"/>
                  <a:pt x="157" y="40"/>
                  <a:pt x="157" y="40"/>
                </a:cubicBezTo>
                <a:cubicBezTo>
                  <a:pt x="157" y="40"/>
                  <a:pt x="157" y="40"/>
                  <a:pt x="157" y="40"/>
                </a:cubicBezTo>
                <a:cubicBezTo>
                  <a:pt x="157" y="40"/>
                  <a:pt x="157" y="40"/>
                  <a:pt x="157" y="40"/>
                </a:cubicBezTo>
                <a:cubicBezTo>
                  <a:pt x="155" y="41"/>
                  <a:pt x="152" y="40"/>
                  <a:pt x="150" y="38"/>
                </a:cubicBezTo>
                <a:cubicBezTo>
                  <a:pt x="145" y="35"/>
                  <a:pt x="139" y="28"/>
                  <a:pt x="135" y="21"/>
                </a:cubicBezTo>
                <a:cubicBezTo>
                  <a:pt x="133" y="18"/>
                  <a:pt x="131" y="15"/>
                  <a:pt x="130" y="14"/>
                </a:cubicBezTo>
                <a:cubicBezTo>
                  <a:pt x="128" y="13"/>
                  <a:pt x="126" y="14"/>
                  <a:pt x="123" y="15"/>
                </a:cubicBezTo>
                <a:cubicBezTo>
                  <a:pt x="122" y="15"/>
                  <a:pt x="122" y="15"/>
                  <a:pt x="122" y="15"/>
                </a:cubicBezTo>
                <a:cubicBezTo>
                  <a:pt x="117" y="17"/>
                  <a:pt x="114" y="18"/>
                  <a:pt x="117" y="27"/>
                </a:cubicBezTo>
                <a:cubicBezTo>
                  <a:pt x="118" y="36"/>
                  <a:pt x="118" y="47"/>
                  <a:pt x="115" y="53"/>
                </a:cubicBezTo>
                <a:cubicBezTo>
                  <a:pt x="115" y="54"/>
                  <a:pt x="114" y="54"/>
                  <a:pt x="113" y="54"/>
                </a:cubicBezTo>
                <a:cubicBezTo>
                  <a:pt x="108" y="55"/>
                  <a:pt x="101" y="51"/>
                  <a:pt x="98" y="49"/>
                </a:cubicBezTo>
                <a:cubicBezTo>
                  <a:pt x="94" y="47"/>
                  <a:pt x="91" y="44"/>
                  <a:pt x="88" y="42"/>
                </a:cubicBezTo>
                <a:cubicBezTo>
                  <a:pt x="87" y="40"/>
                  <a:pt x="85" y="39"/>
                  <a:pt x="84" y="38"/>
                </a:cubicBezTo>
                <a:cubicBezTo>
                  <a:pt x="80" y="36"/>
                  <a:pt x="78" y="37"/>
                  <a:pt x="76" y="39"/>
                </a:cubicBezTo>
                <a:cubicBezTo>
                  <a:pt x="74" y="40"/>
                  <a:pt x="74" y="40"/>
                  <a:pt x="74" y="40"/>
                </a:cubicBezTo>
                <a:cubicBezTo>
                  <a:pt x="71" y="43"/>
                  <a:pt x="68" y="45"/>
                  <a:pt x="73" y="53"/>
                </a:cubicBezTo>
                <a:cubicBezTo>
                  <a:pt x="77" y="61"/>
                  <a:pt x="81" y="72"/>
                  <a:pt x="79" y="78"/>
                </a:cubicBezTo>
                <a:cubicBezTo>
                  <a:pt x="79" y="79"/>
                  <a:pt x="79" y="80"/>
                  <a:pt x="78" y="80"/>
                </a:cubicBezTo>
                <a:cubicBezTo>
                  <a:pt x="72" y="83"/>
                  <a:pt x="60" y="80"/>
                  <a:pt x="51" y="76"/>
                </a:cubicBezTo>
                <a:cubicBezTo>
                  <a:pt x="42" y="71"/>
                  <a:pt x="40" y="74"/>
                  <a:pt x="38" y="77"/>
                </a:cubicBezTo>
                <a:cubicBezTo>
                  <a:pt x="37" y="79"/>
                  <a:pt x="37" y="79"/>
                  <a:pt x="37" y="79"/>
                </a:cubicBezTo>
                <a:cubicBezTo>
                  <a:pt x="34" y="82"/>
                  <a:pt x="32" y="85"/>
                  <a:pt x="40" y="91"/>
                </a:cubicBezTo>
                <a:cubicBezTo>
                  <a:pt x="46" y="97"/>
                  <a:pt x="53" y="107"/>
                  <a:pt x="53" y="113"/>
                </a:cubicBezTo>
                <a:cubicBezTo>
                  <a:pt x="54" y="114"/>
                  <a:pt x="53" y="115"/>
                  <a:pt x="53" y="115"/>
                </a:cubicBezTo>
                <a:cubicBezTo>
                  <a:pt x="48" y="120"/>
                  <a:pt x="35" y="121"/>
                  <a:pt x="25" y="120"/>
                </a:cubicBezTo>
                <a:cubicBezTo>
                  <a:pt x="15" y="118"/>
                  <a:pt x="15" y="121"/>
                  <a:pt x="13" y="125"/>
                </a:cubicBezTo>
                <a:cubicBezTo>
                  <a:pt x="13" y="127"/>
                  <a:pt x="13" y="127"/>
                  <a:pt x="13" y="127"/>
                </a:cubicBezTo>
                <a:cubicBezTo>
                  <a:pt x="12" y="130"/>
                  <a:pt x="11" y="133"/>
                  <a:pt x="16" y="136"/>
                </a:cubicBezTo>
                <a:cubicBezTo>
                  <a:pt x="17" y="137"/>
                  <a:pt x="18" y="137"/>
                  <a:pt x="20" y="138"/>
                </a:cubicBezTo>
                <a:cubicBezTo>
                  <a:pt x="22" y="139"/>
                  <a:pt x="24" y="140"/>
                  <a:pt x="26" y="141"/>
                </a:cubicBezTo>
                <a:cubicBezTo>
                  <a:pt x="29" y="144"/>
                  <a:pt x="37" y="149"/>
                  <a:pt x="39" y="155"/>
                </a:cubicBezTo>
                <a:cubicBezTo>
                  <a:pt x="40" y="155"/>
                  <a:pt x="40" y="156"/>
                  <a:pt x="39" y="157"/>
                </a:cubicBezTo>
                <a:cubicBezTo>
                  <a:pt x="36" y="163"/>
                  <a:pt x="24" y="167"/>
                  <a:pt x="14" y="169"/>
                </a:cubicBezTo>
                <a:cubicBezTo>
                  <a:pt x="5" y="171"/>
                  <a:pt x="5" y="174"/>
                  <a:pt x="5" y="178"/>
                </a:cubicBezTo>
                <a:cubicBezTo>
                  <a:pt x="5" y="180"/>
                  <a:pt x="5" y="180"/>
                  <a:pt x="5" y="180"/>
                </a:cubicBezTo>
                <a:cubicBezTo>
                  <a:pt x="5" y="183"/>
                  <a:pt x="5" y="185"/>
                  <a:pt x="7" y="186"/>
                </a:cubicBezTo>
                <a:cubicBezTo>
                  <a:pt x="9" y="187"/>
                  <a:pt x="11" y="188"/>
                  <a:pt x="15" y="188"/>
                </a:cubicBezTo>
                <a:cubicBezTo>
                  <a:pt x="25" y="190"/>
                  <a:pt x="35" y="194"/>
                  <a:pt x="38" y="198"/>
                </a:cubicBezTo>
                <a:cubicBezTo>
                  <a:pt x="39" y="199"/>
                  <a:pt x="39" y="200"/>
                  <a:pt x="39" y="200"/>
                </a:cubicBezTo>
                <a:cubicBezTo>
                  <a:pt x="38" y="207"/>
                  <a:pt x="28" y="215"/>
                  <a:pt x="19" y="220"/>
                </a:cubicBezTo>
                <a:cubicBezTo>
                  <a:pt x="10" y="224"/>
                  <a:pt x="11" y="227"/>
                  <a:pt x="13" y="231"/>
                </a:cubicBezTo>
                <a:cubicBezTo>
                  <a:pt x="13" y="233"/>
                  <a:pt x="13" y="233"/>
                  <a:pt x="13" y="233"/>
                </a:cubicBezTo>
                <a:cubicBezTo>
                  <a:pt x="14" y="235"/>
                  <a:pt x="15" y="237"/>
                  <a:pt x="16" y="238"/>
                </a:cubicBezTo>
                <a:cubicBezTo>
                  <a:pt x="18" y="239"/>
                  <a:pt x="21" y="239"/>
                  <a:pt x="25" y="238"/>
                </a:cubicBezTo>
                <a:cubicBezTo>
                  <a:pt x="34" y="237"/>
                  <a:pt x="45" y="237"/>
                  <a:pt x="51" y="240"/>
                </a:cubicBezTo>
                <a:cubicBezTo>
                  <a:pt x="52" y="240"/>
                  <a:pt x="52" y="241"/>
                  <a:pt x="52" y="242"/>
                </a:cubicBezTo>
                <a:cubicBezTo>
                  <a:pt x="53" y="248"/>
                  <a:pt x="46" y="259"/>
                  <a:pt x="39" y="266"/>
                </a:cubicBezTo>
                <a:cubicBezTo>
                  <a:pt x="32" y="273"/>
                  <a:pt x="34" y="276"/>
                  <a:pt x="37" y="279"/>
                </a:cubicBezTo>
                <a:cubicBezTo>
                  <a:pt x="38" y="280"/>
                  <a:pt x="38" y="280"/>
                  <a:pt x="38" y="280"/>
                </a:cubicBezTo>
                <a:cubicBezTo>
                  <a:pt x="39" y="282"/>
                  <a:pt x="40" y="283"/>
                  <a:pt x="41" y="284"/>
                </a:cubicBezTo>
                <a:cubicBezTo>
                  <a:pt x="42" y="284"/>
                  <a:pt x="44" y="286"/>
                  <a:pt x="51" y="282"/>
                </a:cubicBezTo>
                <a:cubicBezTo>
                  <a:pt x="58" y="278"/>
                  <a:pt x="69" y="275"/>
                  <a:pt x="76" y="276"/>
                </a:cubicBezTo>
                <a:lnTo>
                  <a:pt x="77" y="276"/>
                </a:lnTo>
                <a:close/>
                <a:moveTo>
                  <a:pt x="115" y="277"/>
                </a:moveTo>
                <a:cubicBezTo>
                  <a:pt x="93" y="263"/>
                  <a:pt x="76" y="241"/>
                  <a:pt x="67" y="216"/>
                </a:cubicBezTo>
                <a:cubicBezTo>
                  <a:pt x="47" y="155"/>
                  <a:pt x="80" y="89"/>
                  <a:pt x="141" y="68"/>
                </a:cubicBezTo>
                <a:cubicBezTo>
                  <a:pt x="175" y="57"/>
                  <a:pt x="211" y="61"/>
                  <a:pt x="241" y="80"/>
                </a:cubicBezTo>
                <a:cubicBezTo>
                  <a:pt x="263" y="95"/>
                  <a:pt x="280" y="117"/>
                  <a:pt x="289" y="142"/>
                </a:cubicBezTo>
                <a:cubicBezTo>
                  <a:pt x="299" y="172"/>
                  <a:pt x="297" y="203"/>
                  <a:pt x="283" y="231"/>
                </a:cubicBezTo>
                <a:cubicBezTo>
                  <a:pt x="269" y="259"/>
                  <a:pt x="245" y="280"/>
                  <a:pt x="215" y="290"/>
                </a:cubicBezTo>
                <a:cubicBezTo>
                  <a:pt x="182" y="301"/>
                  <a:pt x="145" y="296"/>
                  <a:pt x="115" y="277"/>
                </a:cubicBezTo>
                <a:close/>
                <a:moveTo>
                  <a:pt x="238" y="85"/>
                </a:moveTo>
                <a:cubicBezTo>
                  <a:pt x="210" y="66"/>
                  <a:pt x="175" y="62"/>
                  <a:pt x="143" y="73"/>
                </a:cubicBezTo>
                <a:cubicBezTo>
                  <a:pt x="84" y="92"/>
                  <a:pt x="53" y="156"/>
                  <a:pt x="72" y="214"/>
                </a:cubicBezTo>
                <a:cubicBezTo>
                  <a:pt x="80" y="239"/>
                  <a:pt x="96" y="260"/>
                  <a:pt x="118" y="273"/>
                </a:cubicBezTo>
                <a:cubicBezTo>
                  <a:pt x="147" y="291"/>
                  <a:pt x="181" y="296"/>
                  <a:pt x="214" y="285"/>
                </a:cubicBezTo>
                <a:cubicBezTo>
                  <a:pt x="242" y="276"/>
                  <a:pt x="265" y="256"/>
                  <a:pt x="278" y="229"/>
                </a:cubicBezTo>
                <a:cubicBezTo>
                  <a:pt x="291" y="202"/>
                  <a:pt x="294" y="172"/>
                  <a:pt x="284" y="144"/>
                </a:cubicBezTo>
                <a:cubicBezTo>
                  <a:pt x="276" y="119"/>
                  <a:pt x="260" y="98"/>
                  <a:pt x="238" y="8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7" name="Freeform 994">
            <a:extLst>
              <a:ext uri="{FF2B5EF4-FFF2-40B4-BE49-F238E27FC236}">
                <a16:creationId xmlns:a16="http://schemas.microsoft.com/office/drawing/2014/main" id="{098D3A51-61AC-4C0C-8F8B-9ED8796EDC49}"/>
              </a:ext>
            </a:extLst>
          </p:cNvPr>
          <p:cNvSpPr>
            <a:spLocks noEditPoints="1"/>
          </p:cNvSpPr>
          <p:nvPr/>
        </p:nvSpPr>
        <p:spPr bwMode="auto">
          <a:xfrm>
            <a:off x="4557154" y="2695231"/>
            <a:ext cx="385119" cy="356591"/>
          </a:xfrm>
          <a:custGeom>
            <a:avLst/>
            <a:gdLst>
              <a:gd name="T0" fmla="*/ 36 w 140"/>
              <a:gd name="T1" fmla="*/ 118 h 130"/>
              <a:gd name="T2" fmla="*/ 36 w 140"/>
              <a:gd name="T3" fmla="*/ 118 h 130"/>
              <a:gd name="T4" fmla="*/ 11 w 140"/>
              <a:gd name="T5" fmla="*/ 85 h 130"/>
              <a:gd name="T6" fmla="*/ 50 w 140"/>
              <a:gd name="T7" fmla="*/ 6 h 130"/>
              <a:gd name="T8" fmla="*/ 104 w 140"/>
              <a:gd name="T9" fmla="*/ 12 h 130"/>
              <a:gd name="T10" fmla="*/ 129 w 140"/>
              <a:gd name="T11" fmla="*/ 45 h 130"/>
              <a:gd name="T12" fmla="*/ 90 w 140"/>
              <a:gd name="T13" fmla="*/ 124 h 130"/>
              <a:gd name="T14" fmla="*/ 36 w 140"/>
              <a:gd name="T15" fmla="*/ 118 h 130"/>
              <a:gd name="T16" fmla="*/ 101 w 140"/>
              <a:gd name="T17" fmla="*/ 16 h 130"/>
              <a:gd name="T18" fmla="*/ 52 w 140"/>
              <a:gd name="T19" fmla="*/ 10 h 130"/>
              <a:gd name="T20" fmla="*/ 15 w 140"/>
              <a:gd name="T21" fmla="*/ 83 h 130"/>
              <a:gd name="T22" fmla="*/ 39 w 140"/>
              <a:gd name="T23" fmla="*/ 114 h 130"/>
              <a:gd name="T24" fmla="*/ 39 w 140"/>
              <a:gd name="T25" fmla="*/ 114 h 130"/>
              <a:gd name="T26" fmla="*/ 88 w 140"/>
              <a:gd name="T27" fmla="*/ 120 h 130"/>
              <a:gd name="T28" fmla="*/ 125 w 140"/>
              <a:gd name="T29" fmla="*/ 47 h 130"/>
              <a:gd name="T30" fmla="*/ 101 w 140"/>
              <a:gd name="T31" fmla="*/ 16 h 130"/>
              <a:gd name="T32" fmla="*/ 49 w 140"/>
              <a:gd name="T33" fmla="*/ 99 h 130"/>
              <a:gd name="T34" fmla="*/ 32 w 140"/>
              <a:gd name="T35" fmla="*/ 78 h 130"/>
              <a:gd name="T36" fmla="*/ 57 w 140"/>
              <a:gd name="T37" fmla="*/ 27 h 130"/>
              <a:gd name="T38" fmla="*/ 91 w 140"/>
              <a:gd name="T39" fmla="*/ 31 h 130"/>
              <a:gd name="T40" fmla="*/ 108 w 140"/>
              <a:gd name="T41" fmla="*/ 52 h 130"/>
              <a:gd name="T42" fmla="*/ 83 w 140"/>
              <a:gd name="T43" fmla="*/ 103 h 130"/>
              <a:gd name="T44" fmla="*/ 49 w 140"/>
              <a:gd name="T45" fmla="*/ 99 h 130"/>
              <a:gd name="T46" fmla="*/ 89 w 140"/>
              <a:gd name="T47" fmla="*/ 36 h 130"/>
              <a:gd name="T48" fmla="*/ 59 w 140"/>
              <a:gd name="T49" fmla="*/ 32 h 130"/>
              <a:gd name="T50" fmla="*/ 37 w 140"/>
              <a:gd name="T51" fmla="*/ 76 h 130"/>
              <a:gd name="T52" fmla="*/ 51 w 140"/>
              <a:gd name="T53" fmla="*/ 94 h 130"/>
              <a:gd name="T54" fmla="*/ 81 w 140"/>
              <a:gd name="T55" fmla="*/ 98 h 130"/>
              <a:gd name="T56" fmla="*/ 103 w 140"/>
              <a:gd name="T57" fmla="*/ 54 h 130"/>
              <a:gd name="T58" fmla="*/ 89 w 140"/>
              <a:gd name="T59" fmla="*/ 3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130">
                <a:moveTo>
                  <a:pt x="36" y="118"/>
                </a:moveTo>
                <a:cubicBezTo>
                  <a:pt x="36" y="118"/>
                  <a:pt x="36" y="118"/>
                  <a:pt x="36" y="118"/>
                </a:cubicBezTo>
                <a:cubicBezTo>
                  <a:pt x="24" y="110"/>
                  <a:pt x="15" y="98"/>
                  <a:pt x="11" y="85"/>
                </a:cubicBezTo>
                <a:cubicBezTo>
                  <a:pt x="0" y="52"/>
                  <a:pt x="17" y="16"/>
                  <a:pt x="50" y="6"/>
                </a:cubicBezTo>
                <a:cubicBezTo>
                  <a:pt x="68" y="0"/>
                  <a:pt x="88" y="2"/>
                  <a:pt x="104" y="12"/>
                </a:cubicBezTo>
                <a:cubicBezTo>
                  <a:pt x="116" y="20"/>
                  <a:pt x="125" y="31"/>
                  <a:pt x="129" y="45"/>
                </a:cubicBezTo>
                <a:cubicBezTo>
                  <a:pt x="140" y="78"/>
                  <a:pt x="123" y="113"/>
                  <a:pt x="90" y="124"/>
                </a:cubicBezTo>
                <a:cubicBezTo>
                  <a:pt x="72" y="130"/>
                  <a:pt x="52" y="128"/>
                  <a:pt x="36" y="118"/>
                </a:cubicBezTo>
                <a:close/>
                <a:moveTo>
                  <a:pt x="101" y="16"/>
                </a:moveTo>
                <a:cubicBezTo>
                  <a:pt x="86" y="7"/>
                  <a:pt x="68" y="5"/>
                  <a:pt x="52" y="10"/>
                </a:cubicBezTo>
                <a:cubicBezTo>
                  <a:pt x="22" y="20"/>
                  <a:pt x="5" y="53"/>
                  <a:pt x="15" y="83"/>
                </a:cubicBezTo>
                <a:cubicBezTo>
                  <a:pt x="20" y="96"/>
                  <a:pt x="28" y="107"/>
                  <a:pt x="39" y="114"/>
                </a:cubicBezTo>
                <a:cubicBezTo>
                  <a:pt x="39" y="114"/>
                  <a:pt x="39" y="114"/>
                  <a:pt x="39" y="114"/>
                </a:cubicBezTo>
                <a:cubicBezTo>
                  <a:pt x="54" y="123"/>
                  <a:pt x="72" y="125"/>
                  <a:pt x="88" y="120"/>
                </a:cubicBezTo>
                <a:cubicBezTo>
                  <a:pt x="118" y="110"/>
                  <a:pt x="135" y="77"/>
                  <a:pt x="125" y="47"/>
                </a:cubicBezTo>
                <a:cubicBezTo>
                  <a:pt x="121" y="34"/>
                  <a:pt x="112" y="23"/>
                  <a:pt x="101" y="16"/>
                </a:cubicBezTo>
                <a:close/>
                <a:moveTo>
                  <a:pt x="49" y="99"/>
                </a:moveTo>
                <a:cubicBezTo>
                  <a:pt x="41" y="94"/>
                  <a:pt x="35" y="86"/>
                  <a:pt x="32" y="78"/>
                </a:cubicBezTo>
                <a:cubicBezTo>
                  <a:pt x="25" y="57"/>
                  <a:pt x="37" y="34"/>
                  <a:pt x="57" y="27"/>
                </a:cubicBezTo>
                <a:cubicBezTo>
                  <a:pt x="69" y="23"/>
                  <a:pt x="81" y="25"/>
                  <a:pt x="91" y="31"/>
                </a:cubicBezTo>
                <a:cubicBezTo>
                  <a:pt x="99" y="36"/>
                  <a:pt x="105" y="44"/>
                  <a:pt x="108" y="52"/>
                </a:cubicBezTo>
                <a:cubicBezTo>
                  <a:pt x="115" y="73"/>
                  <a:pt x="104" y="96"/>
                  <a:pt x="83" y="103"/>
                </a:cubicBezTo>
                <a:cubicBezTo>
                  <a:pt x="71" y="107"/>
                  <a:pt x="59" y="105"/>
                  <a:pt x="49" y="99"/>
                </a:cubicBezTo>
                <a:close/>
                <a:moveTo>
                  <a:pt x="89" y="36"/>
                </a:moveTo>
                <a:cubicBezTo>
                  <a:pt x="80" y="30"/>
                  <a:pt x="69" y="29"/>
                  <a:pt x="59" y="32"/>
                </a:cubicBezTo>
                <a:cubicBezTo>
                  <a:pt x="41" y="38"/>
                  <a:pt x="31" y="58"/>
                  <a:pt x="37" y="76"/>
                </a:cubicBezTo>
                <a:cubicBezTo>
                  <a:pt x="40" y="84"/>
                  <a:pt x="45" y="90"/>
                  <a:pt x="51" y="94"/>
                </a:cubicBezTo>
                <a:cubicBezTo>
                  <a:pt x="60" y="100"/>
                  <a:pt x="71" y="101"/>
                  <a:pt x="81" y="98"/>
                </a:cubicBezTo>
                <a:cubicBezTo>
                  <a:pt x="99" y="92"/>
                  <a:pt x="109" y="72"/>
                  <a:pt x="103" y="54"/>
                </a:cubicBezTo>
                <a:cubicBezTo>
                  <a:pt x="101" y="46"/>
                  <a:pt x="96" y="40"/>
                  <a:pt x="89"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8" name="Freeform 995">
            <a:extLst>
              <a:ext uri="{FF2B5EF4-FFF2-40B4-BE49-F238E27FC236}">
                <a16:creationId xmlns:a16="http://schemas.microsoft.com/office/drawing/2014/main" id="{E05F9653-2556-4588-AB6A-52535CB0B36E}"/>
              </a:ext>
            </a:extLst>
          </p:cNvPr>
          <p:cNvSpPr>
            <a:spLocks noEditPoints="1"/>
          </p:cNvSpPr>
          <p:nvPr/>
        </p:nvSpPr>
        <p:spPr bwMode="auto">
          <a:xfrm>
            <a:off x="2613733" y="2474145"/>
            <a:ext cx="1743732" cy="1736598"/>
          </a:xfrm>
          <a:custGeom>
            <a:avLst/>
            <a:gdLst>
              <a:gd name="T0" fmla="*/ 94 w 633"/>
              <a:gd name="T1" fmla="*/ 524 h 633"/>
              <a:gd name="T2" fmla="*/ 53 w 633"/>
              <a:gd name="T3" fmla="*/ 469 h 633"/>
              <a:gd name="T4" fmla="*/ 16 w 633"/>
              <a:gd name="T5" fmla="*/ 416 h 633"/>
              <a:gd name="T6" fmla="*/ 29 w 633"/>
              <a:gd name="T7" fmla="*/ 338 h 633"/>
              <a:gd name="T8" fmla="*/ 4 w 633"/>
              <a:gd name="T9" fmla="*/ 269 h 633"/>
              <a:gd name="T10" fmla="*/ 51 w 633"/>
              <a:gd name="T11" fmla="*/ 205 h 633"/>
              <a:gd name="T12" fmla="*/ 93 w 633"/>
              <a:gd name="T13" fmla="*/ 134 h 633"/>
              <a:gd name="T14" fmla="*/ 128 w 633"/>
              <a:gd name="T15" fmla="*/ 62 h 633"/>
              <a:gd name="T16" fmla="*/ 201 w 633"/>
              <a:gd name="T17" fmla="*/ 52 h 633"/>
              <a:gd name="T18" fmla="*/ 265 w 633"/>
              <a:gd name="T19" fmla="*/ 4 h 633"/>
              <a:gd name="T20" fmla="*/ 333 w 633"/>
              <a:gd name="T21" fmla="*/ 28 h 633"/>
              <a:gd name="T22" fmla="*/ 412 w 633"/>
              <a:gd name="T23" fmla="*/ 15 h 633"/>
              <a:gd name="T24" fmla="*/ 462 w 633"/>
              <a:gd name="T25" fmla="*/ 67 h 633"/>
              <a:gd name="T26" fmla="*/ 538 w 633"/>
              <a:gd name="T27" fmla="*/ 90 h 633"/>
              <a:gd name="T28" fmla="*/ 563 w 633"/>
              <a:gd name="T29" fmla="*/ 166 h 633"/>
              <a:gd name="T30" fmla="*/ 617 w 633"/>
              <a:gd name="T31" fmla="*/ 216 h 633"/>
              <a:gd name="T32" fmla="*/ 604 w 633"/>
              <a:gd name="T33" fmla="*/ 288 h 633"/>
              <a:gd name="T34" fmla="*/ 630 w 633"/>
              <a:gd name="T35" fmla="*/ 363 h 633"/>
              <a:gd name="T36" fmla="*/ 583 w 633"/>
              <a:gd name="T37" fmla="*/ 428 h 633"/>
              <a:gd name="T38" fmla="*/ 556 w 633"/>
              <a:gd name="T39" fmla="*/ 504 h 633"/>
              <a:gd name="T40" fmla="*/ 509 w 633"/>
              <a:gd name="T41" fmla="*/ 553 h 633"/>
              <a:gd name="T42" fmla="*/ 445 w 633"/>
              <a:gd name="T43" fmla="*/ 593 h 633"/>
              <a:gd name="T44" fmla="*/ 369 w 633"/>
              <a:gd name="T45" fmla="*/ 628 h 633"/>
              <a:gd name="T46" fmla="*/ 300 w 633"/>
              <a:gd name="T47" fmla="*/ 604 h 633"/>
              <a:gd name="T48" fmla="*/ 221 w 633"/>
              <a:gd name="T49" fmla="*/ 618 h 633"/>
              <a:gd name="T50" fmla="*/ 171 w 633"/>
              <a:gd name="T51" fmla="*/ 565 h 633"/>
              <a:gd name="T52" fmla="*/ 138 w 633"/>
              <a:gd name="T53" fmla="*/ 571 h 633"/>
              <a:gd name="T54" fmla="*/ 189 w 633"/>
              <a:gd name="T55" fmla="*/ 592 h 633"/>
              <a:gd name="T56" fmla="*/ 246 w 633"/>
              <a:gd name="T57" fmla="*/ 592 h 633"/>
              <a:gd name="T58" fmla="*/ 301 w 633"/>
              <a:gd name="T59" fmla="*/ 600 h 633"/>
              <a:gd name="T60" fmla="*/ 358 w 633"/>
              <a:gd name="T61" fmla="*/ 617 h 633"/>
              <a:gd name="T62" fmla="*/ 415 w 633"/>
              <a:gd name="T63" fmla="*/ 612 h 633"/>
              <a:gd name="T64" fmla="*/ 465 w 633"/>
              <a:gd name="T65" fmla="*/ 582 h 633"/>
              <a:gd name="T66" fmla="*/ 498 w 633"/>
              <a:gd name="T67" fmla="*/ 535 h 633"/>
              <a:gd name="T68" fmla="*/ 531 w 633"/>
              <a:gd name="T69" fmla="*/ 502 h 633"/>
              <a:gd name="T70" fmla="*/ 564 w 633"/>
              <a:gd name="T71" fmla="*/ 457 h 633"/>
              <a:gd name="T72" fmla="*/ 613 w 633"/>
              <a:gd name="T73" fmla="*/ 411 h 633"/>
              <a:gd name="T74" fmla="*/ 625 w 633"/>
              <a:gd name="T75" fmla="*/ 362 h 633"/>
              <a:gd name="T76" fmla="*/ 626 w 633"/>
              <a:gd name="T77" fmla="*/ 307 h 633"/>
              <a:gd name="T78" fmla="*/ 614 w 633"/>
              <a:gd name="T79" fmla="*/ 258 h 633"/>
              <a:gd name="T80" fmla="*/ 579 w 633"/>
              <a:gd name="T81" fmla="*/ 210 h 633"/>
              <a:gd name="T82" fmla="*/ 555 w 633"/>
              <a:gd name="T83" fmla="*/ 162 h 633"/>
              <a:gd name="T84" fmla="*/ 536 w 633"/>
              <a:gd name="T85" fmla="*/ 106 h 633"/>
              <a:gd name="T86" fmla="*/ 497 w 633"/>
              <a:gd name="T87" fmla="*/ 63 h 633"/>
              <a:gd name="T88" fmla="*/ 444 w 633"/>
              <a:gd name="T89" fmla="*/ 41 h 633"/>
              <a:gd name="T90" fmla="*/ 387 w 633"/>
              <a:gd name="T91" fmla="*/ 41 h 633"/>
              <a:gd name="T92" fmla="*/ 332 w 633"/>
              <a:gd name="T93" fmla="*/ 33 h 633"/>
              <a:gd name="T94" fmla="*/ 285 w 633"/>
              <a:gd name="T95" fmla="*/ 34 h 633"/>
              <a:gd name="T96" fmla="*/ 225 w 633"/>
              <a:gd name="T97" fmla="*/ 21 h 633"/>
              <a:gd name="T98" fmla="*/ 172 w 633"/>
              <a:gd name="T99" fmla="*/ 41 h 633"/>
              <a:gd name="T100" fmla="*/ 129 w 633"/>
              <a:gd name="T101" fmla="*/ 78 h 633"/>
              <a:gd name="T102" fmla="*/ 103 w 633"/>
              <a:gd name="T103" fmla="*/ 129 h 633"/>
              <a:gd name="T104" fmla="*/ 71 w 633"/>
              <a:gd name="T105" fmla="*/ 174 h 633"/>
              <a:gd name="T106" fmla="*/ 30 w 633"/>
              <a:gd name="T107" fmla="*/ 217 h 633"/>
              <a:gd name="T108" fmla="*/ 9 w 633"/>
              <a:gd name="T109" fmla="*/ 270 h 633"/>
              <a:gd name="T110" fmla="*/ 8 w 633"/>
              <a:gd name="T111" fmla="*/ 326 h 633"/>
              <a:gd name="T112" fmla="*/ 19 w 633"/>
              <a:gd name="T113" fmla="*/ 375 h 633"/>
              <a:gd name="T114" fmla="*/ 54 w 633"/>
              <a:gd name="T115" fmla="*/ 423 h 633"/>
              <a:gd name="T116" fmla="*/ 79 w 633"/>
              <a:gd name="T117" fmla="*/ 471 h 633"/>
              <a:gd name="T118" fmla="*/ 98 w 633"/>
              <a:gd name="T119" fmla="*/ 527 h 633"/>
              <a:gd name="T120" fmla="*/ 563 w 633"/>
              <a:gd name="T121" fmla="*/ 234 h 633"/>
              <a:gd name="T122" fmla="*/ 454 w 633"/>
              <a:gd name="T123" fmla="*/ 10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3">
                <a:moveTo>
                  <a:pt x="135" y="576"/>
                </a:moveTo>
                <a:cubicBezTo>
                  <a:pt x="135" y="575"/>
                  <a:pt x="134" y="575"/>
                  <a:pt x="133" y="574"/>
                </a:cubicBezTo>
                <a:cubicBezTo>
                  <a:pt x="132" y="574"/>
                  <a:pt x="132" y="574"/>
                  <a:pt x="132" y="574"/>
                </a:cubicBezTo>
                <a:cubicBezTo>
                  <a:pt x="129" y="571"/>
                  <a:pt x="123" y="567"/>
                  <a:pt x="129" y="556"/>
                </a:cubicBezTo>
                <a:cubicBezTo>
                  <a:pt x="132" y="550"/>
                  <a:pt x="134" y="544"/>
                  <a:pt x="134" y="540"/>
                </a:cubicBezTo>
                <a:cubicBezTo>
                  <a:pt x="132" y="538"/>
                  <a:pt x="130" y="537"/>
                  <a:pt x="128" y="535"/>
                </a:cubicBezTo>
                <a:cubicBezTo>
                  <a:pt x="125" y="536"/>
                  <a:pt x="119" y="539"/>
                  <a:pt x="113" y="543"/>
                </a:cubicBezTo>
                <a:cubicBezTo>
                  <a:pt x="108" y="547"/>
                  <a:pt x="103" y="548"/>
                  <a:pt x="99" y="545"/>
                </a:cubicBezTo>
                <a:cubicBezTo>
                  <a:pt x="97" y="545"/>
                  <a:pt x="96" y="543"/>
                  <a:pt x="95" y="542"/>
                </a:cubicBezTo>
                <a:cubicBezTo>
                  <a:pt x="94" y="542"/>
                  <a:pt x="94" y="542"/>
                  <a:pt x="94" y="542"/>
                </a:cubicBezTo>
                <a:cubicBezTo>
                  <a:pt x="91" y="539"/>
                  <a:pt x="86" y="534"/>
                  <a:pt x="94" y="524"/>
                </a:cubicBezTo>
                <a:cubicBezTo>
                  <a:pt x="98" y="518"/>
                  <a:pt x="100" y="512"/>
                  <a:pt x="101" y="508"/>
                </a:cubicBezTo>
                <a:cubicBezTo>
                  <a:pt x="100" y="507"/>
                  <a:pt x="98" y="505"/>
                  <a:pt x="97" y="503"/>
                </a:cubicBezTo>
                <a:cubicBezTo>
                  <a:pt x="93" y="503"/>
                  <a:pt x="86" y="505"/>
                  <a:pt x="80" y="508"/>
                </a:cubicBezTo>
                <a:cubicBezTo>
                  <a:pt x="75" y="511"/>
                  <a:pt x="70" y="512"/>
                  <a:pt x="67" y="510"/>
                </a:cubicBezTo>
                <a:cubicBezTo>
                  <a:pt x="65" y="508"/>
                  <a:pt x="64" y="506"/>
                  <a:pt x="63" y="505"/>
                </a:cubicBezTo>
                <a:cubicBezTo>
                  <a:pt x="62" y="504"/>
                  <a:pt x="62" y="504"/>
                  <a:pt x="62" y="504"/>
                </a:cubicBezTo>
                <a:cubicBezTo>
                  <a:pt x="59" y="501"/>
                  <a:pt x="55" y="495"/>
                  <a:pt x="64" y="486"/>
                </a:cubicBezTo>
                <a:cubicBezTo>
                  <a:pt x="69" y="481"/>
                  <a:pt x="72" y="476"/>
                  <a:pt x="74" y="472"/>
                </a:cubicBezTo>
                <a:cubicBezTo>
                  <a:pt x="73" y="470"/>
                  <a:pt x="71" y="468"/>
                  <a:pt x="70" y="466"/>
                </a:cubicBezTo>
                <a:cubicBezTo>
                  <a:pt x="70" y="466"/>
                  <a:pt x="70" y="466"/>
                  <a:pt x="70" y="466"/>
                </a:cubicBezTo>
                <a:cubicBezTo>
                  <a:pt x="66" y="466"/>
                  <a:pt x="60" y="467"/>
                  <a:pt x="53" y="469"/>
                </a:cubicBezTo>
                <a:cubicBezTo>
                  <a:pt x="48" y="471"/>
                  <a:pt x="44" y="471"/>
                  <a:pt x="41" y="469"/>
                </a:cubicBezTo>
                <a:cubicBezTo>
                  <a:pt x="38" y="467"/>
                  <a:pt x="37" y="465"/>
                  <a:pt x="36" y="463"/>
                </a:cubicBezTo>
                <a:cubicBezTo>
                  <a:pt x="36" y="462"/>
                  <a:pt x="36" y="462"/>
                  <a:pt x="36" y="462"/>
                </a:cubicBezTo>
                <a:cubicBezTo>
                  <a:pt x="34" y="458"/>
                  <a:pt x="30" y="452"/>
                  <a:pt x="41" y="445"/>
                </a:cubicBezTo>
                <a:cubicBezTo>
                  <a:pt x="46" y="440"/>
                  <a:pt x="51" y="436"/>
                  <a:pt x="52" y="432"/>
                </a:cubicBezTo>
                <a:cubicBezTo>
                  <a:pt x="51" y="430"/>
                  <a:pt x="51" y="428"/>
                  <a:pt x="50" y="426"/>
                </a:cubicBezTo>
                <a:cubicBezTo>
                  <a:pt x="46" y="425"/>
                  <a:pt x="39" y="425"/>
                  <a:pt x="33" y="426"/>
                </a:cubicBezTo>
                <a:cubicBezTo>
                  <a:pt x="28" y="427"/>
                  <a:pt x="24" y="427"/>
                  <a:pt x="22" y="425"/>
                </a:cubicBezTo>
                <a:cubicBezTo>
                  <a:pt x="22" y="425"/>
                  <a:pt x="22" y="425"/>
                  <a:pt x="22" y="425"/>
                </a:cubicBezTo>
                <a:cubicBezTo>
                  <a:pt x="18" y="423"/>
                  <a:pt x="17" y="420"/>
                  <a:pt x="17" y="417"/>
                </a:cubicBezTo>
                <a:cubicBezTo>
                  <a:pt x="16" y="416"/>
                  <a:pt x="16" y="416"/>
                  <a:pt x="16" y="416"/>
                </a:cubicBezTo>
                <a:cubicBezTo>
                  <a:pt x="15" y="412"/>
                  <a:pt x="13" y="405"/>
                  <a:pt x="24" y="400"/>
                </a:cubicBezTo>
                <a:cubicBezTo>
                  <a:pt x="30" y="397"/>
                  <a:pt x="35" y="393"/>
                  <a:pt x="38" y="390"/>
                </a:cubicBezTo>
                <a:cubicBezTo>
                  <a:pt x="37" y="387"/>
                  <a:pt x="36" y="385"/>
                  <a:pt x="36" y="383"/>
                </a:cubicBezTo>
                <a:cubicBezTo>
                  <a:pt x="32" y="381"/>
                  <a:pt x="26" y="380"/>
                  <a:pt x="19" y="380"/>
                </a:cubicBezTo>
                <a:cubicBezTo>
                  <a:pt x="15" y="380"/>
                  <a:pt x="12" y="380"/>
                  <a:pt x="9" y="378"/>
                </a:cubicBezTo>
                <a:cubicBezTo>
                  <a:pt x="6" y="376"/>
                  <a:pt x="5" y="372"/>
                  <a:pt x="5" y="369"/>
                </a:cubicBezTo>
                <a:cubicBezTo>
                  <a:pt x="4" y="368"/>
                  <a:pt x="4" y="368"/>
                  <a:pt x="4" y="368"/>
                </a:cubicBezTo>
                <a:cubicBezTo>
                  <a:pt x="4" y="364"/>
                  <a:pt x="2" y="357"/>
                  <a:pt x="14" y="353"/>
                </a:cubicBezTo>
                <a:cubicBezTo>
                  <a:pt x="21" y="351"/>
                  <a:pt x="27" y="348"/>
                  <a:pt x="30" y="345"/>
                </a:cubicBezTo>
                <a:cubicBezTo>
                  <a:pt x="29" y="345"/>
                  <a:pt x="29" y="345"/>
                  <a:pt x="29" y="345"/>
                </a:cubicBezTo>
                <a:cubicBezTo>
                  <a:pt x="29" y="342"/>
                  <a:pt x="29" y="340"/>
                  <a:pt x="29" y="338"/>
                </a:cubicBezTo>
                <a:cubicBezTo>
                  <a:pt x="25" y="336"/>
                  <a:pt x="19" y="334"/>
                  <a:pt x="13" y="333"/>
                </a:cubicBezTo>
                <a:cubicBezTo>
                  <a:pt x="9" y="332"/>
                  <a:pt x="7" y="332"/>
                  <a:pt x="5" y="330"/>
                </a:cubicBezTo>
                <a:cubicBezTo>
                  <a:pt x="0" y="327"/>
                  <a:pt x="0" y="323"/>
                  <a:pt x="0" y="320"/>
                </a:cubicBezTo>
                <a:cubicBezTo>
                  <a:pt x="0" y="319"/>
                  <a:pt x="0" y="319"/>
                  <a:pt x="0" y="319"/>
                </a:cubicBezTo>
                <a:cubicBezTo>
                  <a:pt x="0" y="314"/>
                  <a:pt x="0" y="307"/>
                  <a:pt x="12" y="305"/>
                </a:cubicBezTo>
                <a:cubicBezTo>
                  <a:pt x="19" y="304"/>
                  <a:pt x="25" y="302"/>
                  <a:pt x="29" y="300"/>
                </a:cubicBezTo>
                <a:cubicBezTo>
                  <a:pt x="29" y="297"/>
                  <a:pt x="29" y="295"/>
                  <a:pt x="29" y="293"/>
                </a:cubicBezTo>
                <a:cubicBezTo>
                  <a:pt x="26" y="290"/>
                  <a:pt x="20" y="287"/>
                  <a:pt x="14" y="285"/>
                </a:cubicBezTo>
                <a:cubicBezTo>
                  <a:pt x="12" y="284"/>
                  <a:pt x="10" y="284"/>
                  <a:pt x="8" y="283"/>
                </a:cubicBezTo>
                <a:cubicBezTo>
                  <a:pt x="2" y="279"/>
                  <a:pt x="3" y="273"/>
                  <a:pt x="4" y="270"/>
                </a:cubicBezTo>
                <a:cubicBezTo>
                  <a:pt x="4" y="269"/>
                  <a:pt x="4" y="269"/>
                  <a:pt x="4" y="269"/>
                </a:cubicBezTo>
                <a:cubicBezTo>
                  <a:pt x="4" y="265"/>
                  <a:pt x="5" y="258"/>
                  <a:pt x="18" y="258"/>
                </a:cubicBezTo>
                <a:cubicBezTo>
                  <a:pt x="25" y="258"/>
                  <a:pt x="31" y="257"/>
                  <a:pt x="35" y="255"/>
                </a:cubicBezTo>
                <a:cubicBezTo>
                  <a:pt x="35" y="253"/>
                  <a:pt x="36" y="251"/>
                  <a:pt x="36" y="248"/>
                </a:cubicBezTo>
                <a:cubicBezTo>
                  <a:pt x="35" y="246"/>
                  <a:pt x="32" y="244"/>
                  <a:pt x="28" y="241"/>
                </a:cubicBezTo>
                <a:cubicBezTo>
                  <a:pt x="26" y="240"/>
                  <a:pt x="24" y="239"/>
                  <a:pt x="22" y="238"/>
                </a:cubicBezTo>
                <a:cubicBezTo>
                  <a:pt x="21" y="238"/>
                  <a:pt x="20" y="237"/>
                  <a:pt x="19" y="236"/>
                </a:cubicBezTo>
                <a:cubicBezTo>
                  <a:pt x="12" y="231"/>
                  <a:pt x="14" y="225"/>
                  <a:pt x="15" y="222"/>
                </a:cubicBezTo>
                <a:cubicBezTo>
                  <a:pt x="15" y="221"/>
                  <a:pt x="15" y="221"/>
                  <a:pt x="15" y="221"/>
                </a:cubicBezTo>
                <a:cubicBezTo>
                  <a:pt x="16" y="217"/>
                  <a:pt x="18" y="210"/>
                  <a:pt x="31" y="212"/>
                </a:cubicBezTo>
                <a:cubicBezTo>
                  <a:pt x="37" y="213"/>
                  <a:pt x="44" y="213"/>
                  <a:pt x="48" y="212"/>
                </a:cubicBezTo>
                <a:cubicBezTo>
                  <a:pt x="49" y="209"/>
                  <a:pt x="50" y="207"/>
                  <a:pt x="51" y="205"/>
                </a:cubicBezTo>
                <a:cubicBezTo>
                  <a:pt x="49" y="202"/>
                  <a:pt x="44" y="197"/>
                  <a:pt x="38" y="193"/>
                </a:cubicBezTo>
                <a:cubicBezTo>
                  <a:pt x="28" y="186"/>
                  <a:pt x="31" y="179"/>
                  <a:pt x="33" y="176"/>
                </a:cubicBezTo>
                <a:cubicBezTo>
                  <a:pt x="34" y="175"/>
                  <a:pt x="34" y="175"/>
                  <a:pt x="34" y="175"/>
                </a:cubicBezTo>
                <a:cubicBezTo>
                  <a:pt x="36" y="171"/>
                  <a:pt x="39" y="164"/>
                  <a:pt x="51" y="168"/>
                </a:cubicBezTo>
                <a:cubicBezTo>
                  <a:pt x="57" y="170"/>
                  <a:pt x="64" y="171"/>
                  <a:pt x="68" y="171"/>
                </a:cubicBezTo>
                <a:cubicBezTo>
                  <a:pt x="69" y="169"/>
                  <a:pt x="70" y="167"/>
                  <a:pt x="71" y="165"/>
                </a:cubicBezTo>
                <a:cubicBezTo>
                  <a:pt x="70" y="161"/>
                  <a:pt x="66" y="156"/>
                  <a:pt x="61" y="151"/>
                </a:cubicBezTo>
                <a:cubicBezTo>
                  <a:pt x="52" y="142"/>
                  <a:pt x="56" y="136"/>
                  <a:pt x="59" y="133"/>
                </a:cubicBezTo>
                <a:cubicBezTo>
                  <a:pt x="59" y="132"/>
                  <a:pt x="59" y="132"/>
                  <a:pt x="59" y="132"/>
                </a:cubicBezTo>
                <a:cubicBezTo>
                  <a:pt x="62" y="129"/>
                  <a:pt x="66" y="123"/>
                  <a:pt x="77" y="129"/>
                </a:cubicBezTo>
                <a:cubicBezTo>
                  <a:pt x="83" y="132"/>
                  <a:pt x="89" y="133"/>
                  <a:pt x="93" y="134"/>
                </a:cubicBezTo>
                <a:cubicBezTo>
                  <a:pt x="95" y="132"/>
                  <a:pt x="96" y="130"/>
                  <a:pt x="98" y="128"/>
                </a:cubicBezTo>
                <a:cubicBezTo>
                  <a:pt x="97" y="124"/>
                  <a:pt x="94" y="118"/>
                  <a:pt x="90" y="113"/>
                </a:cubicBezTo>
                <a:cubicBezTo>
                  <a:pt x="82" y="103"/>
                  <a:pt x="88" y="98"/>
                  <a:pt x="91" y="95"/>
                </a:cubicBezTo>
                <a:cubicBezTo>
                  <a:pt x="91" y="94"/>
                  <a:pt x="91" y="94"/>
                  <a:pt x="91" y="94"/>
                </a:cubicBezTo>
                <a:cubicBezTo>
                  <a:pt x="94" y="91"/>
                  <a:pt x="99" y="86"/>
                  <a:pt x="108" y="92"/>
                </a:cubicBezTo>
                <a:cubicBezTo>
                  <a:pt x="108" y="92"/>
                  <a:pt x="109" y="93"/>
                  <a:pt x="109" y="93"/>
                </a:cubicBezTo>
                <a:cubicBezTo>
                  <a:pt x="110" y="94"/>
                  <a:pt x="111" y="95"/>
                  <a:pt x="112" y="95"/>
                </a:cubicBezTo>
                <a:cubicBezTo>
                  <a:pt x="117" y="98"/>
                  <a:pt x="121" y="100"/>
                  <a:pt x="125" y="101"/>
                </a:cubicBezTo>
                <a:cubicBezTo>
                  <a:pt x="126" y="99"/>
                  <a:pt x="128" y="98"/>
                  <a:pt x="130" y="96"/>
                </a:cubicBezTo>
                <a:cubicBezTo>
                  <a:pt x="130" y="92"/>
                  <a:pt x="128" y="86"/>
                  <a:pt x="125" y="80"/>
                </a:cubicBezTo>
                <a:cubicBezTo>
                  <a:pt x="119" y="69"/>
                  <a:pt x="125" y="65"/>
                  <a:pt x="128" y="62"/>
                </a:cubicBezTo>
                <a:cubicBezTo>
                  <a:pt x="129" y="62"/>
                  <a:pt x="129" y="62"/>
                  <a:pt x="129" y="62"/>
                </a:cubicBezTo>
                <a:cubicBezTo>
                  <a:pt x="132" y="60"/>
                  <a:pt x="136" y="56"/>
                  <a:pt x="143" y="60"/>
                </a:cubicBezTo>
                <a:cubicBezTo>
                  <a:pt x="144" y="61"/>
                  <a:pt x="145" y="62"/>
                  <a:pt x="147" y="64"/>
                </a:cubicBezTo>
                <a:cubicBezTo>
                  <a:pt x="151" y="68"/>
                  <a:pt x="157" y="72"/>
                  <a:pt x="161" y="74"/>
                </a:cubicBezTo>
                <a:cubicBezTo>
                  <a:pt x="163" y="72"/>
                  <a:pt x="165" y="71"/>
                  <a:pt x="167" y="70"/>
                </a:cubicBezTo>
                <a:cubicBezTo>
                  <a:pt x="167" y="66"/>
                  <a:pt x="166" y="59"/>
                  <a:pt x="164" y="53"/>
                </a:cubicBezTo>
                <a:cubicBezTo>
                  <a:pt x="160" y="41"/>
                  <a:pt x="166" y="38"/>
                  <a:pt x="170" y="36"/>
                </a:cubicBezTo>
                <a:cubicBezTo>
                  <a:pt x="171" y="35"/>
                  <a:pt x="171" y="35"/>
                  <a:pt x="171" y="35"/>
                </a:cubicBezTo>
                <a:cubicBezTo>
                  <a:pt x="174" y="34"/>
                  <a:pt x="178" y="32"/>
                  <a:pt x="183" y="35"/>
                </a:cubicBezTo>
                <a:cubicBezTo>
                  <a:pt x="185" y="36"/>
                  <a:pt x="187" y="38"/>
                  <a:pt x="189" y="40"/>
                </a:cubicBezTo>
                <a:cubicBezTo>
                  <a:pt x="192" y="46"/>
                  <a:pt x="197" y="50"/>
                  <a:pt x="201" y="52"/>
                </a:cubicBezTo>
                <a:cubicBezTo>
                  <a:pt x="203" y="51"/>
                  <a:pt x="205" y="50"/>
                  <a:pt x="207" y="49"/>
                </a:cubicBezTo>
                <a:cubicBezTo>
                  <a:pt x="208" y="46"/>
                  <a:pt x="208" y="39"/>
                  <a:pt x="207" y="32"/>
                </a:cubicBezTo>
                <a:cubicBezTo>
                  <a:pt x="205" y="20"/>
                  <a:pt x="212" y="18"/>
                  <a:pt x="216" y="17"/>
                </a:cubicBezTo>
                <a:cubicBezTo>
                  <a:pt x="217" y="16"/>
                  <a:pt x="217" y="16"/>
                  <a:pt x="217" y="16"/>
                </a:cubicBezTo>
                <a:cubicBezTo>
                  <a:pt x="219" y="15"/>
                  <a:pt x="223" y="14"/>
                  <a:pt x="228" y="16"/>
                </a:cubicBezTo>
                <a:cubicBezTo>
                  <a:pt x="230" y="18"/>
                  <a:pt x="232" y="20"/>
                  <a:pt x="233" y="24"/>
                </a:cubicBezTo>
                <a:cubicBezTo>
                  <a:pt x="236" y="30"/>
                  <a:pt x="240" y="35"/>
                  <a:pt x="244" y="37"/>
                </a:cubicBezTo>
                <a:cubicBezTo>
                  <a:pt x="246" y="37"/>
                  <a:pt x="248" y="36"/>
                  <a:pt x="250" y="36"/>
                </a:cubicBezTo>
                <a:cubicBezTo>
                  <a:pt x="252" y="32"/>
                  <a:pt x="253" y="25"/>
                  <a:pt x="253" y="19"/>
                </a:cubicBezTo>
                <a:cubicBezTo>
                  <a:pt x="252" y="6"/>
                  <a:pt x="260" y="5"/>
                  <a:pt x="264" y="4"/>
                </a:cubicBezTo>
                <a:cubicBezTo>
                  <a:pt x="265" y="4"/>
                  <a:pt x="265" y="4"/>
                  <a:pt x="265" y="4"/>
                </a:cubicBezTo>
                <a:cubicBezTo>
                  <a:pt x="268" y="4"/>
                  <a:pt x="271" y="3"/>
                  <a:pt x="274" y="5"/>
                </a:cubicBezTo>
                <a:cubicBezTo>
                  <a:pt x="277" y="7"/>
                  <a:pt x="279" y="10"/>
                  <a:pt x="280" y="14"/>
                </a:cubicBezTo>
                <a:cubicBezTo>
                  <a:pt x="282" y="21"/>
                  <a:pt x="285" y="26"/>
                  <a:pt x="288" y="29"/>
                </a:cubicBezTo>
                <a:cubicBezTo>
                  <a:pt x="289" y="29"/>
                  <a:pt x="289" y="29"/>
                  <a:pt x="289" y="29"/>
                </a:cubicBezTo>
                <a:cubicBezTo>
                  <a:pt x="291" y="29"/>
                  <a:pt x="293" y="29"/>
                  <a:pt x="295" y="29"/>
                </a:cubicBezTo>
                <a:cubicBezTo>
                  <a:pt x="297" y="25"/>
                  <a:pt x="299" y="19"/>
                  <a:pt x="300" y="12"/>
                </a:cubicBezTo>
                <a:cubicBezTo>
                  <a:pt x="302" y="0"/>
                  <a:pt x="309" y="0"/>
                  <a:pt x="313" y="0"/>
                </a:cubicBezTo>
                <a:cubicBezTo>
                  <a:pt x="315" y="0"/>
                  <a:pt x="315" y="0"/>
                  <a:pt x="315" y="0"/>
                </a:cubicBezTo>
                <a:cubicBezTo>
                  <a:pt x="317" y="0"/>
                  <a:pt x="320" y="0"/>
                  <a:pt x="322" y="2"/>
                </a:cubicBezTo>
                <a:cubicBezTo>
                  <a:pt x="325" y="3"/>
                  <a:pt x="327" y="7"/>
                  <a:pt x="328" y="12"/>
                </a:cubicBezTo>
                <a:cubicBezTo>
                  <a:pt x="329" y="19"/>
                  <a:pt x="331" y="25"/>
                  <a:pt x="333" y="28"/>
                </a:cubicBezTo>
                <a:cubicBezTo>
                  <a:pt x="336" y="29"/>
                  <a:pt x="338" y="29"/>
                  <a:pt x="340" y="29"/>
                </a:cubicBezTo>
                <a:cubicBezTo>
                  <a:pt x="343" y="26"/>
                  <a:pt x="346" y="20"/>
                  <a:pt x="348" y="14"/>
                </a:cubicBezTo>
                <a:cubicBezTo>
                  <a:pt x="351" y="2"/>
                  <a:pt x="359" y="3"/>
                  <a:pt x="363" y="3"/>
                </a:cubicBezTo>
                <a:cubicBezTo>
                  <a:pt x="364" y="4"/>
                  <a:pt x="364" y="4"/>
                  <a:pt x="364" y="4"/>
                </a:cubicBezTo>
                <a:cubicBezTo>
                  <a:pt x="366" y="4"/>
                  <a:pt x="368" y="4"/>
                  <a:pt x="370" y="6"/>
                </a:cubicBezTo>
                <a:cubicBezTo>
                  <a:pt x="374" y="8"/>
                  <a:pt x="375" y="12"/>
                  <a:pt x="375" y="18"/>
                </a:cubicBezTo>
                <a:cubicBezTo>
                  <a:pt x="375" y="24"/>
                  <a:pt x="376" y="31"/>
                  <a:pt x="378" y="35"/>
                </a:cubicBezTo>
                <a:cubicBezTo>
                  <a:pt x="380" y="35"/>
                  <a:pt x="382" y="36"/>
                  <a:pt x="385" y="36"/>
                </a:cubicBezTo>
                <a:cubicBezTo>
                  <a:pt x="388" y="34"/>
                  <a:pt x="392" y="28"/>
                  <a:pt x="395" y="22"/>
                </a:cubicBezTo>
                <a:cubicBezTo>
                  <a:pt x="400" y="11"/>
                  <a:pt x="407" y="13"/>
                  <a:pt x="411" y="15"/>
                </a:cubicBezTo>
                <a:cubicBezTo>
                  <a:pt x="412" y="15"/>
                  <a:pt x="412" y="15"/>
                  <a:pt x="412" y="15"/>
                </a:cubicBezTo>
                <a:cubicBezTo>
                  <a:pt x="414" y="15"/>
                  <a:pt x="416" y="16"/>
                  <a:pt x="417" y="17"/>
                </a:cubicBezTo>
                <a:cubicBezTo>
                  <a:pt x="421" y="19"/>
                  <a:pt x="422" y="24"/>
                  <a:pt x="421" y="31"/>
                </a:cubicBezTo>
                <a:cubicBezTo>
                  <a:pt x="420" y="37"/>
                  <a:pt x="420" y="44"/>
                  <a:pt x="422" y="48"/>
                </a:cubicBezTo>
                <a:cubicBezTo>
                  <a:pt x="424" y="48"/>
                  <a:pt x="426" y="49"/>
                  <a:pt x="428" y="50"/>
                </a:cubicBezTo>
                <a:cubicBezTo>
                  <a:pt x="428" y="50"/>
                  <a:pt x="428" y="50"/>
                  <a:pt x="428" y="50"/>
                </a:cubicBezTo>
                <a:cubicBezTo>
                  <a:pt x="431" y="48"/>
                  <a:pt x="436" y="44"/>
                  <a:pt x="440" y="38"/>
                </a:cubicBezTo>
                <a:cubicBezTo>
                  <a:pt x="447" y="28"/>
                  <a:pt x="454" y="31"/>
                  <a:pt x="457" y="33"/>
                </a:cubicBezTo>
                <a:cubicBezTo>
                  <a:pt x="458" y="34"/>
                  <a:pt x="458" y="34"/>
                  <a:pt x="458" y="34"/>
                </a:cubicBezTo>
                <a:cubicBezTo>
                  <a:pt x="459" y="34"/>
                  <a:pt x="460" y="34"/>
                  <a:pt x="461" y="35"/>
                </a:cubicBezTo>
                <a:cubicBezTo>
                  <a:pt x="466" y="38"/>
                  <a:pt x="467" y="43"/>
                  <a:pt x="465" y="50"/>
                </a:cubicBezTo>
                <a:cubicBezTo>
                  <a:pt x="463" y="57"/>
                  <a:pt x="462" y="64"/>
                  <a:pt x="462" y="67"/>
                </a:cubicBezTo>
                <a:cubicBezTo>
                  <a:pt x="464" y="69"/>
                  <a:pt x="466" y="70"/>
                  <a:pt x="468" y="71"/>
                </a:cubicBezTo>
                <a:cubicBezTo>
                  <a:pt x="472" y="70"/>
                  <a:pt x="477" y="66"/>
                  <a:pt x="482" y="61"/>
                </a:cubicBezTo>
                <a:cubicBezTo>
                  <a:pt x="487" y="55"/>
                  <a:pt x="493" y="54"/>
                  <a:pt x="498" y="57"/>
                </a:cubicBezTo>
                <a:cubicBezTo>
                  <a:pt x="499" y="58"/>
                  <a:pt x="499" y="58"/>
                  <a:pt x="500" y="59"/>
                </a:cubicBezTo>
                <a:cubicBezTo>
                  <a:pt x="501" y="59"/>
                  <a:pt x="501" y="59"/>
                  <a:pt x="501" y="59"/>
                </a:cubicBezTo>
                <a:cubicBezTo>
                  <a:pt x="504" y="62"/>
                  <a:pt x="510" y="66"/>
                  <a:pt x="505" y="77"/>
                </a:cubicBezTo>
                <a:cubicBezTo>
                  <a:pt x="502" y="83"/>
                  <a:pt x="500" y="89"/>
                  <a:pt x="499" y="93"/>
                </a:cubicBezTo>
                <a:cubicBezTo>
                  <a:pt x="501" y="95"/>
                  <a:pt x="503" y="96"/>
                  <a:pt x="505" y="98"/>
                </a:cubicBezTo>
                <a:cubicBezTo>
                  <a:pt x="509" y="97"/>
                  <a:pt x="515" y="94"/>
                  <a:pt x="520" y="90"/>
                </a:cubicBezTo>
                <a:cubicBezTo>
                  <a:pt x="526" y="86"/>
                  <a:pt x="530" y="85"/>
                  <a:pt x="535" y="87"/>
                </a:cubicBezTo>
                <a:cubicBezTo>
                  <a:pt x="536" y="88"/>
                  <a:pt x="537" y="89"/>
                  <a:pt x="538" y="90"/>
                </a:cubicBezTo>
                <a:cubicBezTo>
                  <a:pt x="539" y="91"/>
                  <a:pt x="539" y="91"/>
                  <a:pt x="539" y="91"/>
                </a:cubicBezTo>
                <a:cubicBezTo>
                  <a:pt x="542" y="94"/>
                  <a:pt x="547" y="99"/>
                  <a:pt x="540" y="109"/>
                </a:cubicBezTo>
                <a:cubicBezTo>
                  <a:pt x="536" y="115"/>
                  <a:pt x="533" y="121"/>
                  <a:pt x="532" y="124"/>
                </a:cubicBezTo>
                <a:cubicBezTo>
                  <a:pt x="534" y="126"/>
                  <a:pt x="535" y="128"/>
                  <a:pt x="537" y="130"/>
                </a:cubicBezTo>
                <a:cubicBezTo>
                  <a:pt x="541" y="130"/>
                  <a:pt x="547" y="128"/>
                  <a:pt x="553" y="124"/>
                </a:cubicBezTo>
                <a:cubicBezTo>
                  <a:pt x="558" y="121"/>
                  <a:pt x="563" y="121"/>
                  <a:pt x="566" y="123"/>
                </a:cubicBezTo>
                <a:cubicBezTo>
                  <a:pt x="568" y="125"/>
                  <a:pt x="570" y="126"/>
                  <a:pt x="571" y="128"/>
                </a:cubicBezTo>
                <a:cubicBezTo>
                  <a:pt x="571" y="129"/>
                  <a:pt x="571" y="129"/>
                  <a:pt x="571" y="129"/>
                </a:cubicBezTo>
                <a:cubicBezTo>
                  <a:pt x="574" y="132"/>
                  <a:pt x="578" y="138"/>
                  <a:pt x="569" y="147"/>
                </a:cubicBezTo>
                <a:cubicBezTo>
                  <a:pt x="565" y="152"/>
                  <a:pt x="561" y="157"/>
                  <a:pt x="559" y="161"/>
                </a:cubicBezTo>
                <a:cubicBezTo>
                  <a:pt x="561" y="162"/>
                  <a:pt x="562" y="164"/>
                  <a:pt x="563" y="166"/>
                </a:cubicBezTo>
                <a:cubicBezTo>
                  <a:pt x="563" y="167"/>
                  <a:pt x="563" y="167"/>
                  <a:pt x="563" y="167"/>
                </a:cubicBezTo>
                <a:cubicBezTo>
                  <a:pt x="567" y="167"/>
                  <a:pt x="574" y="166"/>
                  <a:pt x="580" y="164"/>
                </a:cubicBezTo>
                <a:cubicBezTo>
                  <a:pt x="585" y="162"/>
                  <a:pt x="589" y="162"/>
                  <a:pt x="592" y="164"/>
                </a:cubicBezTo>
                <a:cubicBezTo>
                  <a:pt x="595" y="165"/>
                  <a:pt x="596" y="168"/>
                  <a:pt x="597" y="170"/>
                </a:cubicBezTo>
                <a:cubicBezTo>
                  <a:pt x="598" y="171"/>
                  <a:pt x="598" y="171"/>
                  <a:pt x="598" y="171"/>
                </a:cubicBezTo>
                <a:cubicBezTo>
                  <a:pt x="600" y="174"/>
                  <a:pt x="603" y="181"/>
                  <a:pt x="593" y="188"/>
                </a:cubicBezTo>
                <a:cubicBezTo>
                  <a:pt x="587" y="192"/>
                  <a:pt x="583" y="197"/>
                  <a:pt x="581" y="201"/>
                </a:cubicBezTo>
                <a:cubicBezTo>
                  <a:pt x="582" y="203"/>
                  <a:pt x="583" y="205"/>
                  <a:pt x="584" y="207"/>
                </a:cubicBezTo>
                <a:cubicBezTo>
                  <a:pt x="587" y="208"/>
                  <a:pt x="594" y="208"/>
                  <a:pt x="601" y="207"/>
                </a:cubicBezTo>
                <a:cubicBezTo>
                  <a:pt x="605" y="206"/>
                  <a:pt x="609" y="206"/>
                  <a:pt x="612" y="208"/>
                </a:cubicBezTo>
                <a:cubicBezTo>
                  <a:pt x="615" y="210"/>
                  <a:pt x="616" y="213"/>
                  <a:pt x="617" y="216"/>
                </a:cubicBezTo>
                <a:cubicBezTo>
                  <a:pt x="617" y="217"/>
                  <a:pt x="617" y="217"/>
                  <a:pt x="617" y="217"/>
                </a:cubicBezTo>
                <a:cubicBezTo>
                  <a:pt x="618" y="220"/>
                  <a:pt x="621" y="228"/>
                  <a:pt x="609" y="233"/>
                </a:cubicBezTo>
                <a:cubicBezTo>
                  <a:pt x="603" y="236"/>
                  <a:pt x="598" y="240"/>
                  <a:pt x="596" y="243"/>
                </a:cubicBezTo>
                <a:cubicBezTo>
                  <a:pt x="596" y="246"/>
                  <a:pt x="597" y="248"/>
                  <a:pt x="597" y="250"/>
                </a:cubicBezTo>
                <a:cubicBezTo>
                  <a:pt x="601" y="252"/>
                  <a:pt x="608" y="253"/>
                  <a:pt x="614" y="253"/>
                </a:cubicBezTo>
                <a:cubicBezTo>
                  <a:pt x="618" y="253"/>
                  <a:pt x="622" y="253"/>
                  <a:pt x="624" y="255"/>
                </a:cubicBezTo>
                <a:cubicBezTo>
                  <a:pt x="628" y="257"/>
                  <a:pt x="628" y="261"/>
                  <a:pt x="629" y="264"/>
                </a:cubicBezTo>
                <a:cubicBezTo>
                  <a:pt x="629" y="265"/>
                  <a:pt x="629" y="265"/>
                  <a:pt x="629" y="265"/>
                </a:cubicBezTo>
                <a:cubicBezTo>
                  <a:pt x="630" y="269"/>
                  <a:pt x="631" y="276"/>
                  <a:pt x="619" y="280"/>
                </a:cubicBezTo>
                <a:cubicBezTo>
                  <a:pt x="613" y="282"/>
                  <a:pt x="607" y="285"/>
                  <a:pt x="604" y="288"/>
                </a:cubicBezTo>
                <a:cubicBezTo>
                  <a:pt x="604" y="288"/>
                  <a:pt x="604" y="288"/>
                  <a:pt x="604" y="288"/>
                </a:cubicBezTo>
                <a:cubicBezTo>
                  <a:pt x="604" y="290"/>
                  <a:pt x="604" y="293"/>
                  <a:pt x="604" y="295"/>
                </a:cubicBezTo>
                <a:cubicBezTo>
                  <a:pt x="608" y="297"/>
                  <a:pt x="614" y="299"/>
                  <a:pt x="621" y="300"/>
                </a:cubicBezTo>
                <a:cubicBezTo>
                  <a:pt x="624" y="300"/>
                  <a:pt x="626" y="301"/>
                  <a:pt x="628" y="302"/>
                </a:cubicBezTo>
                <a:cubicBezTo>
                  <a:pt x="633" y="305"/>
                  <a:pt x="633" y="310"/>
                  <a:pt x="633" y="313"/>
                </a:cubicBezTo>
                <a:cubicBezTo>
                  <a:pt x="633" y="314"/>
                  <a:pt x="633" y="314"/>
                  <a:pt x="633" y="314"/>
                </a:cubicBezTo>
                <a:cubicBezTo>
                  <a:pt x="633" y="318"/>
                  <a:pt x="633" y="326"/>
                  <a:pt x="621" y="328"/>
                </a:cubicBezTo>
                <a:cubicBezTo>
                  <a:pt x="614" y="329"/>
                  <a:pt x="608" y="331"/>
                  <a:pt x="605" y="333"/>
                </a:cubicBezTo>
                <a:cubicBezTo>
                  <a:pt x="605" y="335"/>
                  <a:pt x="604" y="338"/>
                  <a:pt x="604" y="340"/>
                </a:cubicBezTo>
                <a:cubicBezTo>
                  <a:pt x="607" y="343"/>
                  <a:pt x="613" y="346"/>
                  <a:pt x="620" y="348"/>
                </a:cubicBezTo>
                <a:cubicBezTo>
                  <a:pt x="622" y="348"/>
                  <a:pt x="624" y="349"/>
                  <a:pt x="625" y="350"/>
                </a:cubicBezTo>
                <a:cubicBezTo>
                  <a:pt x="631" y="354"/>
                  <a:pt x="630" y="359"/>
                  <a:pt x="630" y="363"/>
                </a:cubicBezTo>
                <a:cubicBezTo>
                  <a:pt x="629" y="364"/>
                  <a:pt x="629" y="364"/>
                  <a:pt x="629" y="364"/>
                </a:cubicBezTo>
                <a:cubicBezTo>
                  <a:pt x="629" y="368"/>
                  <a:pt x="628" y="375"/>
                  <a:pt x="615" y="375"/>
                </a:cubicBezTo>
                <a:cubicBezTo>
                  <a:pt x="609" y="375"/>
                  <a:pt x="602" y="376"/>
                  <a:pt x="599" y="378"/>
                </a:cubicBezTo>
                <a:cubicBezTo>
                  <a:pt x="598" y="380"/>
                  <a:pt x="597" y="383"/>
                  <a:pt x="597" y="385"/>
                </a:cubicBezTo>
                <a:cubicBezTo>
                  <a:pt x="599" y="388"/>
                  <a:pt x="605" y="392"/>
                  <a:pt x="611" y="395"/>
                </a:cubicBezTo>
                <a:cubicBezTo>
                  <a:pt x="612" y="395"/>
                  <a:pt x="613" y="396"/>
                  <a:pt x="614" y="396"/>
                </a:cubicBezTo>
                <a:cubicBezTo>
                  <a:pt x="622" y="401"/>
                  <a:pt x="620" y="408"/>
                  <a:pt x="619" y="411"/>
                </a:cubicBezTo>
                <a:cubicBezTo>
                  <a:pt x="618" y="412"/>
                  <a:pt x="618" y="412"/>
                  <a:pt x="618" y="412"/>
                </a:cubicBezTo>
                <a:cubicBezTo>
                  <a:pt x="617" y="416"/>
                  <a:pt x="615" y="423"/>
                  <a:pt x="602" y="421"/>
                </a:cubicBezTo>
                <a:cubicBezTo>
                  <a:pt x="596" y="420"/>
                  <a:pt x="589" y="420"/>
                  <a:pt x="585" y="421"/>
                </a:cubicBezTo>
                <a:cubicBezTo>
                  <a:pt x="585" y="423"/>
                  <a:pt x="584" y="426"/>
                  <a:pt x="583" y="428"/>
                </a:cubicBezTo>
                <a:cubicBezTo>
                  <a:pt x="583" y="428"/>
                  <a:pt x="583" y="428"/>
                  <a:pt x="583" y="428"/>
                </a:cubicBezTo>
                <a:cubicBezTo>
                  <a:pt x="585" y="431"/>
                  <a:pt x="589" y="436"/>
                  <a:pt x="595" y="440"/>
                </a:cubicBezTo>
                <a:cubicBezTo>
                  <a:pt x="605" y="447"/>
                  <a:pt x="602" y="454"/>
                  <a:pt x="600" y="457"/>
                </a:cubicBezTo>
                <a:cubicBezTo>
                  <a:pt x="600" y="458"/>
                  <a:pt x="600" y="458"/>
                  <a:pt x="600" y="458"/>
                </a:cubicBezTo>
                <a:cubicBezTo>
                  <a:pt x="598" y="462"/>
                  <a:pt x="595" y="469"/>
                  <a:pt x="583" y="465"/>
                </a:cubicBezTo>
                <a:cubicBezTo>
                  <a:pt x="576" y="463"/>
                  <a:pt x="570" y="462"/>
                  <a:pt x="566" y="462"/>
                </a:cubicBezTo>
                <a:cubicBezTo>
                  <a:pt x="564" y="464"/>
                  <a:pt x="563" y="466"/>
                  <a:pt x="562" y="468"/>
                </a:cubicBezTo>
                <a:cubicBezTo>
                  <a:pt x="564" y="472"/>
                  <a:pt x="567" y="477"/>
                  <a:pt x="572" y="482"/>
                </a:cubicBezTo>
                <a:cubicBezTo>
                  <a:pt x="581" y="490"/>
                  <a:pt x="577" y="496"/>
                  <a:pt x="575" y="500"/>
                </a:cubicBezTo>
                <a:cubicBezTo>
                  <a:pt x="574" y="501"/>
                  <a:pt x="574" y="501"/>
                  <a:pt x="574" y="501"/>
                </a:cubicBezTo>
                <a:cubicBezTo>
                  <a:pt x="572" y="504"/>
                  <a:pt x="567" y="510"/>
                  <a:pt x="556" y="504"/>
                </a:cubicBezTo>
                <a:cubicBezTo>
                  <a:pt x="550" y="501"/>
                  <a:pt x="544" y="499"/>
                  <a:pt x="540" y="499"/>
                </a:cubicBezTo>
                <a:cubicBezTo>
                  <a:pt x="538" y="501"/>
                  <a:pt x="537" y="503"/>
                  <a:pt x="535" y="505"/>
                </a:cubicBezTo>
                <a:cubicBezTo>
                  <a:pt x="536" y="508"/>
                  <a:pt x="539" y="514"/>
                  <a:pt x="543" y="520"/>
                </a:cubicBezTo>
                <a:cubicBezTo>
                  <a:pt x="551" y="530"/>
                  <a:pt x="546" y="535"/>
                  <a:pt x="543" y="538"/>
                </a:cubicBezTo>
                <a:cubicBezTo>
                  <a:pt x="542" y="539"/>
                  <a:pt x="542" y="539"/>
                  <a:pt x="542" y="539"/>
                </a:cubicBezTo>
                <a:cubicBezTo>
                  <a:pt x="539" y="541"/>
                  <a:pt x="535" y="546"/>
                  <a:pt x="526" y="541"/>
                </a:cubicBezTo>
                <a:cubicBezTo>
                  <a:pt x="525" y="540"/>
                  <a:pt x="524" y="540"/>
                  <a:pt x="524" y="539"/>
                </a:cubicBezTo>
                <a:cubicBezTo>
                  <a:pt x="523" y="539"/>
                  <a:pt x="522" y="538"/>
                  <a:pt x="521" y="538"/>
                </a:cubicBezTo>
                <a:cubicBezTo>
                  <a:pt x="516" y="535"/>
                  <a:pt x="512" y="533"/>
                  <a:pt x="509" y="532"/>
                </a:cubicBezTo>
                <a:cubicBezTo>
                  <a:pt x="507" y="533"/>
                  <a:pt x="505" y="535"/>
                  <a:pt x="503" y="537"/>
                </a:cubicBezTo>
                <a:cubicBezTo>
                  <a:pt x="503" y="540"/>
                  <a:pt x="505" y="547"/>
                  <a:pt x="509" y="553"/>
                </a:cubicBezTo>
                <a:cubicBezTo>
                  <a:pt x="515" y="564"/>
                  <a:pt x="509" y="568"/>
                  <a:pt x="505" y="570"/>
                </a:cubicBezTo>
                <a:cubicBezTo>
                  <a:pt x="504" y="571"/>
                  <a:pt x="504" y="571"/>
                  <a:pt x="504" y="571"/>
                </a:cubicBezTo>
                <a:cubicBezTo>
                  <a:pt x="502" y="573"/>
                  <a:pt x="497" y="577"/>
                  <a:pt x="491" y="573"/>
                </a:cubicBezTo>
                <a:cubicBezTo>
                  <a:pt x="489" y="572"/>
                  <a:pt x="488" y="571"/>
                  <a:pt x="486" y="569"/>
                </a:cubicBezTo>
                <a:cubicBezTo>
                  <a:pt x="482" y="565"/>
                  <a:pt x="476" y="561"/>
                  <a:pt x="473" y="559"/>
                </a:cubicBezTo>
                <a:cubicBezTo>
                  <a:pt x="471" y="561"/>
                  <a:pt x="468" y="562"/>
                  <a:pt x="466" y="563"/>
                </a:cubicBezTo>
                <a:cubicBezTo>
                  <a:pt x="466" y="567"/>
                  <a:pt x="467" y="574"/>
                  <a:pt x="469" y="580"/>
                </a:cubicBezTo>
                <a:cubicBezTo>
                  <a:pt x="474" y="592"/>
                  <a:pt x="467" y="595"/>
                  <a:pt x="463" y="597"/>
                </a:cubicBezTo>
                <a:cubicBezTo>
                  <a:pt x="462" y="597"/>
                  <a:pt x="462" y="597"/>
                  <a:pt x="462" y="597"/>
                </a:cubicBezTo>
                <a:cubicBezTo>
                  <a:pt x="460" y="599"/>
                  <a:pt x="455" y="601"/>
                  <a:pt x="450" y="598"/>
                </a:cubicBezTo>
                <a:cubicBezTo>
                  <a:pt x="448" y="597"/>
                  <a:pt x="446" y="595"/>
                  <a:pt x="445" y="593"/>
                </a:cubicBezTo>
                <a:cubicBezTo>
                  <a:pt x="441" y="587"/>
                  <a:pt x="436" y="583"/>
                  <a:pt x="433" y="581"/>
                </a:cubicBezTo>
                <a:cubicBezTo>
                  <a:pt x="430" y="582"/>
                  <a:pt x="428" y="582"/>
                  <a:pt x="426" y="583"/>
                </a:cubicBezTo>
                <a:cubicBezTo>
                  <a:pt x="425" y="587"/>
                  <a:pt x="425" y="594"/>
                  <a:pt x="426" y="601"/>
                </a:cubicBezTo>
                <a:cubicBezTo>
                  <a:pt x="429" y="613"/>
                  <a:pt x="421" y="615"/>
                  <a:pt x="418" y="616"/>
                </a:cubicBezTo>
                <a:cubicBezTo>
                  <a:pt x="416" y="617"/>
                  <a:pt x="416" y="617"/>
                  <a:pt x="416" y="617"/>
                </a:cubicBezTo>
                <a:cubicBezTo>
                  <a:pt x="414" y="618"/>
                  <a:pt x="410" y="619"/>
                  <a:pt x="406" y="616"/>
                </a:cubicBezTo>
                <a:cubicBezTo>
                  <a:pt x="404" y="615"/>
                  <a:pt x="402" y="613"/>
                  <a:pt x="400" y="609"/>
                </a:cubicBezTo>
                <a:cubicBezTo>
                  <a:pt x="397" y="603"/>
                  <a:pt x="393" y="598"/>
                  <a:pt x="390" y="595"/>
                </a:cubicBezTo>
                <a:cubicBezTo>
                  <a:pt x="388" y="596"/>
                  <a:pt x="385" y="597"/>
                  <a:pt x="383" y="597"/>
                </a:cubicBezTo>
                <a:cubicBezTo>
                  <a:pt x="381" y="601"/>
                  <a:pt x="380" y="607"/>
                  <a:pt x="380" y="614"/>
                </a:cubicBezTo>
                <a:cubicBezTo>
                  <a:pt x="381" y="627"/>
                  <a:pt x="373" y="628"/>
                  <a:pt x="369" y="628"/>
                </a:cubicBezTo>
                <a:cubicBezTo>
                  <a:pt x="368" y="629"/>
                  <a:pt x="368" y="629"/>
                  <a:pt x="368" y="629"/>
                </a:cubicBezTo>
                <a:cubicBezTo>
                  <a:pt x="366" y="629"/>
                  <a:pt x="362" y="630"/>
                  <a:pt x="359" y="628"/>
                </a:cubicBezTo>
                <a:cubicBezTo>
                  <a:pt x="356" y="626"/>
                  <a:pt x="354" y="623"/>
                  <a:pt x="353" y="619"/>
                </a:cubicBezTo>
                <a:cubicBezTo>
                  <a:pt x="351" y="612"/>
                  <a:pt x="348" y="606"/>
                  <a:pt x="345" y="604"/>
                </a:cubicBezTo>
                <a:cubicBezTo>
                  <a:pt x="343" y="604"/>
                  <a:pt x="341" y="604"/>
                  <a:pt x="338" y="604"/>
                </a:cubicBezTo>
                <a:cubicBezTo>
                  <a:pt x="336" y="608"/>
                  <a:pt x="334" y="614"/>
                  <a:pt x="333" y="620"/>
                </a:cubicBezTo>
                <a:cubicBezTo>
                  <a:pt x="332" y="633"/>
                  <a:pt x="324" y="633"/>
                  <a:pt x="320" y="633"/>
                </a:cubicBezTo>
                <a:cubicBezTo>
                  <a:pt x="319" y="633"/>
                  <a:pt x="319" y="633"/>
                  <a:pt x="319" y="633"/>
                </a:cubicBezTo>
                <a:cubicBezTo>
                  <a:pt x="317" y="633"/>
                  <a:pt x="314" y="633"/>
                  <a:pt x="311" y="631"/>
                </a:cubicBezTo>
                <a:cubicBezTo>
                  <a:pt x="308" y="629"/>
                  <a:pt x="306" y="626"/>
                  <a:pt x="305" y="621"/>
                </a:cubicBezTo>
                <a:cubicBezTo>
                  <a:pt x="304" y="614"/>
                  <a:pt x="302" y="608"/>
                  <a:pt x="300" y="604"/>
                </a:cubicBezTo>
                <a:cubicBezTo>
                  <a:pt x="298" y="604"/>
                  <a:pt x="295" y="604"/>
                  <a:pt x="293" y="604"/>
                </a:cubicBezTo>
                <a:cubicBezTo>
                  <a:pt x="290" y="607"/>
                  <a:pt x="287" y="613"/>
                  <a:pt x="285" y="619"/>
                </a:cubicBezTo>
                <a:cubicBezTo>
                  <a:pt x="282" y="631"/>
                  <a:pt x="274" y="630"/>
                  <a:pt x="270" y="629"/>
                </a:cubicBezTo>
                <a:cubicBezTo>
                  <a:pt x="269" y="629"/>
                  <a:pt x="269" y="629"/>
                  <a:pt x="269" y="629"/>
                </a:cubicBezTo>
                <a:cubicBezTo>
                  <a:pt x="267" y="629"/>
                  <a:pt x="265" y="629"/>
                  <a:pt x="263" y="627"/>
                </a:cubicBezTo>
                <a:cubicBezTo>
                  <a:pt x="259" y="625"/>
                  <a:pt x="258" y="621"/>
                  <a:pt x="258" y="615"/>
                </a:cubicBezTo>
                <a:cubicBezTo>
                  <a:pt x="258" y="608"/>
                  <a:pt x="257" y="602"/>
                  <a:pt x="255" y="598"/>
                </a:cubicBezTo>
                <a:cubicBezTo>
                  <a:pt x="253" y="598"/>
                  <a:pt x="251" y="597"/>
                  <a:pt x="248" y="597"/>
                </a:cubicBezTo>
                <a:cubicBezTo>
                  <a:pt x="245" y="599"/>
                  <a:pt x="241" y="604"/>
                  <a:pt x="238" y="611"/>
                </a:cubicBezTo>
                <a:cubicBezTo>
                  <a:pt x="233" y="622"/>
                  <a:pt x="226" y="620"/>
                  <a:pt x="222" y="618"/>
                </a:cubicBezTo>
                <a:cubicBezTo>
                  <a:pt x="221" y="618"/>
                  <a:pt x="221" y="618"/>
                  <a:pt x="221" y="618"/>
                </a:cubicBezTo>
                <a:cubicBezTo>
                  <a:pt x="219" y="618"/>
                  <a:pt x="218" y="617"/>
                  <a:pt x="216" y="616"/>
                </a:cubicBezTo>
                <a:cubicBezTo>
                  <a:pt x="212" y="613"/>
                  <a:pt x="211" y="609"/>
                  <a:pt x="212" y="602"/>
                </a:cubicBezTo>
                <a:cubicBezTo>
                  <a:pt x="213" y="596"/>
                  <a:pt x="213" y="589"/>
                  <a:pt x="212" y="585"/>
                </a:cubicBezTo>
                <a:cubicBezTo>
                  <a:pt x="210" y="584"/>
                  <a:pt x="208" y="583"/>
                  <a:pt x="205" y="583"/>
                </a:cubicBezTo>
                <a:cubicBezTo>
                  <a:pt x="205" y="583"/>
                  <a:pt x="205" y="583"/>
                  <a:pt x="205" y="583"/>
                </a:cubicBezTo>
                <a:cubicBezTo>
                  <a:pt x="202" y="585"/>
                  <a:pt x="197" y="589"/>
                  <a:pt x="193" y="595"/>
                </a:cubicBezTo>
                <a:cubicBezTo>
                  <a:pt x="186" y="605"/>
                  <a:pt x="180" y="602"/>
                  <a:pt x="176" y="600"/>
                </a:cubicBezTo>
                <a:cubicBezTo>
                  <a:pt x="175" y="599"/>
                  <a:pt x="175" y="599"/>
                  <a:pt x="175" y="599"/>
                </a:cubicBezTo>
                <a:cubicBezTo>
                  <a:pt x="174" y="599"/>
                  <a:pt x="173" y="598"/>
                  <a:pt x="172" y="598"/>
                </a:cubicBezTo>
                <a:cubicBezTo>
                  <a:pt x="167" y="595"/>
                  <a:pt x="166" y="590"/>
                  <a:pt x="169" y="582"/>
                </a:cubicBezTo>
                <a:cubicBezTo>
                  <a:pt x="171" y="576"/>
                  <a:pt x="172" y="569"/>
                  <a:pt x="171" y="565"/>
                </a:cubicBezTo>
                <a:cubicBezTo>
                  <a:pt x="169" y="564"/>
                  <a:pt x="167" y="563"/>
                  <a:pt x="165" y="562"/>
                </a:cubicBezTo>
                <a:cubicBezTo>
                  <a:pt x="161" y="563"/>
                  <a:pt x="156" y="567"/>
                  <a:pt x="151" y="572"/>
                </a:cubicBezTo>
                <a:cubicBezTo>
                  <a:pt x="146" y="578"/>
                  <a:pt x="141" y="579"/>
                  <a:pt x="135" y="576"/>
                </a:cubicBezTo>
                <a:close/>
                <a:moveTo>
                  <a:pt x="131" y="530"/>
                </a:moveTo>
                <a:cubicBezTo>
                  <a:pt x="131" y="531"/>
                  <a:pt x="131" y="531"/>
                  <a:pt x="131" y="531"/>
                </a:cubicBezTo>
                <a:cubicBezTo>
                  <a:pt x="133" y="533"/>
                  <a:pt x="136" y="535"/>
                  <a:pt x="138" y="536"/>
                </a:cubicBezTo>
                <a:cubicBezTo>
                  <a:pt x="138" y="537"/>
                  <a:pt x="139" y="538"/>
                  <a:pt x="139" y="538"/>
                </a:cubicBezTo>
                <a:cubicBezTo>
                  <a:pt x="139" y="544"/>
                  <a:pt x="136" y="552"/>
                  <a:pt x="133" y="558"/>
                </a:cubicBezTo>
                <a:cubicBezTo>
                  <a:pt x="129" y="565"/>
                  <a:pt x="132" y="567"/>
                  <a:pt x="135" y="570"/>
                </a:cubicBezTo>
                <a:cubicBezTo>
                  <a:pt x="136" y="570"/>
                  <a:pt x="136" y="570"/>
                  <a:pt x="136" y="570"/>
                </a:cubicBezTo>
                <a:cubicBezTo>
                  <a:pt x="137" y="571"/>
                  <a:pt x="137" y="571"/>
                  <a:pt x="138" y="571"/>
                </a:cubicBezTo>
                <a:cubicBezTo>
                  <a:pt x="140" y="573"/>
                  <a:pt x="142" y="574"/>
                  <a:pt x="148" y="569"/>
                </a:cubicBezTo>
                <a:cubicBezTo>
                  <a:pt x="152" y="564"/>
                  <a:pt x="159" y="558"/>
                  <a:pt x="165" y="557"/>
                </a:cubicBezTo>
                <a:cubicBezTo>
                  <a:pt x="165" y="557"/>
                  <a:pt x="166" y="557"/>
                  <a:pt x="167" y="557"/>
                </a:cubicBezTo>
                <a:cubicBezTo>
                  <a:pt x="169" y="559"/>
                  <a:pt x="172" y="560"/>
                  <a:pt x="174" y="561"/>
                </a:cubicBezTo>
                <a:cubicBezTo>
                  <a:pt x="175" y="562"/>
                  <a:pt x="175" y="562"/>
                  <a:pt x="175" y="562"/>
                </a:cubicBezTo>
                <a:cubicBezTo>
                  <a:pt x="175" y="562"/>
                  <a:pt x="176" y="563"/>
                  <a:pt x="176" y="563"/>
                </a:cubicBezTo>
                <a:cubicBezTo>
                  <a:pt x="177" y="569"/>
                  <a:pt x="175" y="578"/>
                  <a:pt x="173" y="584"/>
                </a:cubicBezTo>
                <a:cubicBezTo>
                  <a:pt x="171" y="591"/>
                  <a:pt x="173" y="593"/>
                  <a:pt x="175" y="594"/>
                </a:cubicBezTo>
                <a:cubicBezTo>
                  <a:pt x="175" y="594"/>
                  <a:pt x="176" y="594"/>
                  <a:pt x="177" y="595"/>
                </a:cubicBezTo>
                <a:cubicBezTo>
                  <a:pt x="178" y="595"/>
                  <a:pt x="178" y="595"/>
                  <a:pt x="178" y="595"/>
                </a:cubicBezTo>
                <a:cubicBezTo>
                  <a:pt x="182" y="597"/>
                  <a:pt x="185" y="599"/>
                  <a:pt x="189" y="592"/>
                </a:cubicBezTo>
                <a:cubicBezTo>
                  <a:pt x="193" y="586"/>
                  <a:pt x="199" y="580"/>
                  <a:pt x="204" y="578"/>
                </a:cubicBezTo>
                <a:cubicBezTo>
                  <a:pt x="205" y="577"/>
                  <a:pt x="206" y="577"/>
                  <a:pt x="206" y="577"/>
                </a:cubicBezTo>
                <a:cubicBezTo>
                  <a:pt x="207" y="578"/>
                  <a:pt x="207" y="578"/>
                  <a:pt x="207" y="578"/>
                </a:cubicBezTo>
                <a:cubicBezTo>
                  <a:pt x="210" y="579"/>
                  <a:pt x="212" y="580"/>
                  <a:pt x="215" y="581"/>
                </a:cubicBezTo>
                <a:cubicBezTo>
                  <a:pt x="215" y="581"/>
                  <a:pt x="216" y="582"/>
                  <a:pt x="216" y="582"/>
                </a:cubicBezTo>
                <a:cubicBezTo>
                  <a:pt x="218" y="588"/>
                  <a:pt x="218" y="597"/>
                  <a:pt x="217" y="603"/>
                </a:cubicBezTo>
                <a:cubicBezTo>
                  <a:pt x="216" y="610"/>
                  <a:pt x="218" y="611"/>
                  <a:pt x="219" y="612"/>
                </a:cubicBezTo>
                <a:cubicBezTo>
                  <a:pt x="220" y="612"/>
                  <a:pt x="221" y="613"/>
                  <a:pt x="222" y="613"/>
                </a:cubicBezTo>
                <a:cubicBezTo>
                  <a:pt x="224" y="614"/>
                  <a:pt x="224" y="614"/>
                  <a:pt x="224" y="614"/>
                </a:cubicBezTo>
                <a:cubicBezTo>
                  <a:pt x="227" y="615"/>
                  <a:pt x="230" y="616"/>
                  <a:pt x="234" y="608"/>
                </a:cubicBezTo>
                <a:cubicBezTo>
                  <a:pt x="237" y="602"/>
                  <a:pt x="242" y="595"/>
                  <a:pt x="246" y="592"/>
                </a:cubicBezTo>
                <a:cubicBezTo>
                  <a:pt x="247" y="592"/>
                  <a:pt x="248" y="591"/>
                  <a:pt x="248" y="592"/>
                </a:cubicBezTo>
                <a:cubicBezTo>
                  <a:pt x="251" y="592"/>
                  <a:pt x="254" y="593"/>
                  <a:pt x="257" y="594"/>
                </a:cubicBezTo>
                <a:cubicBezTo>
                  <a:pt x="258" y="594"/>
                  <a:pt x="259" y="594"/>
                  <a:pt x="259" y="595"/>
                </a:cubicBezTo>
                <a:cubicBezTo>
                  <a:pt x="262" y="600"/>
                  <a:pt x="263" y="609"/>
                  <a:pt x="263" y="615"/>
                </a:cubicBezTo>
                <a:cubicBezTo>
                  <a:pt x="263" y="621"/>
                  <a:pt x="265" y="623"/>
                  <a:pt x="266" y="623"/>
                </a:cubicBezTo>
                <a:cubicBezTo>
                  <a:pt x="267" y="624"/>
                  <a:pt x="268" y="624"/>
                  <a:pt x="270" y="624"/>
                </a:cubicBezTo>
                <a:cubicBezTo>
                  <a:pt x="271" y="624"/>
                  <a:pt x="271" y="624"/>
                  <a:pt x="271" y="624"/>
                </a:cubicBezTo>
                <a:cubicBezTo>
                  <a:pt x="275" y="625"/>
                  <a:pt x="278" y="626"/>
                  <a:pt x="280" y="618"/>
                </a:cubicBezTo>
                <a:cubicBezTo>
                  <a:pt x="282" y="611"/>
                  <a:pt x="286" y="603"/>
                  <a:pt x="290" y="600"/>
                </a:cubicBezTo>
                <a:cubicBezTo>
                  <a:pt x="291" y="599"/>
                  <a:pt x="291" y="599"/>
                  <a:pt x="292" y="599"/>
                </a:cubicBezTo>
                <a:cubicBezTo>
                  <a:pt x="295" y="599"/>
                  <a:pt x="298" y="599"/>
                  <a:pt x="301" y="600"/>
                </a:cubicBezTo>
                <a:cubicBezTo>
                  <a:pt x="302" y="600"/>
                  <a:pt x="303" y="600"/>
                  <a:pt x="303" y="600"/>
                </a:cubicBezTo>
                <a:cubicBezTo>
                  <a:pt x="307" y="605"/>
                  <a:pt x="309" y="613"/>
                  <a:pt x="310" y="620"/>
                </a:cubicBezTo>
                <a:cubicBezTo>
                  <a:pt x="311" y="624"/>
                  <a:pt x="312" y="626"/>
                  <a:pt x="314" y="627"/>
                </a:cubicBezTo>
                <a:cubicBezTo>
                  <a:pt x="315" y="628"/>
                  <a:pt x="317" y="628"/>
                  <a:pt x="319" y="628"/>
                </a:cubicBezTo>
                <a:cubicBezTo>
                  <a:pt x="320" y="628"/>
                  <a:pt x="320" y="628"/>
                  <a:pt x="320" y="628"/>
                </a:cubicBezTo>
                <a:cubicBezTo>
                  <a:pt x="324" y="628"/>
                  <a:pt x="327" y="628"/>
                  <a:pt x="328" y="620"/>
                </a:cubicBezTo>
                <a:cubicBezTo>
                  <a:pt x="329" y="613"/>
                  <a:pt x="331" y="605"/>
                  <a:pt x="335" y="600"/>
                </a:cubicBezTo>
                <a:cubicBezTo>
                  <a:pt x="335" y="600"/>
                  <a:pt x="336" y="599"/>
                  <a:pt x="337" y="599"/>
                </a:cubicBezTo>
                <a:cubicBezTo>
                  <a:pt x="340" y="599"/>
                  <a:pt x="343" y="599"/>
                  <a:pt x="346" y="598"/>
                </a:cubicBezTo>
                <a:cubicBezTo>
                  <a:pt x="347" y="598"/>
                  <a:pt x="347" y="599"/>
                  <a:pt x="348" y="599"/>
                </a:cubicBezTo>
                <a:cubicBezTo>
                  <a:pt x="352" y="603"/>
                  <a:pt x="356" y="611"/>
                  <a:pt x="358" y="617"/>
                </a:cubicBezTo>
                <a:cubicBezTo>
                  <a:pt x="359" y="620"/>
                  <a:pt x="360" y="622"/>
                  <a:pt x="362" y="623"/>
                </a:cubicBezTo>
                <a:cubicBezTo>
                  <a:pt x="363" y="624"/>
                  <a:pt x="365" y="624"/>
                  <a:pt x="367" y="624"/>
                </a:cubicBezTo>
                <a:cubicBezTo>
                  <a:pt x="369" y="623"/>
                  <a:pt x="369" y="623"/>
                  <a:pt x="369" y="623"/>
                </a:cubicBezTo>
                <a:cubicBezTo>
                  <a:pt x="373" y="623"/>
                  <a:pt x="376" y="622"/>
                  <a:pt x="375" y="614"/>
                </a:cubicBezTo>
                <a:cubicBezTo>
                  <a:pt x="375" y="608"/>
                  <a:pt x="376" y="599"/>
                  <a:pt x="379" y="594"/>
                </a:cubicBezTo>
                <a:cubicBezTo>
                  <a:pt x="379" y="593"/>
                  <a:pt x="380" y="593"/>
                  <a:pt x="381" y="593"/>
                </a:cubicBezTo>
                <a:cubicBezTo>
                  <a:pt x="384" y="592"/>
                  <a:pt x="387" y="591"/>
                  <a:pt x="390" y="590"/>
                </a:cubicBezTo>
                <a:cubicBezTo>
                  <a:pt x="390" y="590"/>
                  <a:pt x="391" y="590"/>
                  <a:pt x="392" y="591"/>
                </a:cubicBezTo>
                <a:cubicBezTo>
                  <a:pt x="396" y="594"/>
                  <a:pt x="401" y="601"/>
                  <a:pt x="404" y="607"/>
                </a:cubicBezTo>
                <a:cubicBezTo>
                  <a:pt x="406" y="610"/>
                  <a:pt x="407" y="611"/>
                  <a:pt x="408" y="612"/>
                </a:cubicBezTo>
                <a:cubicBezTo>
                  <a:pt x="410" y="613"/>
                  <a:pt x="412" y="613"/>
                  <a:pt x="415" y="612"/>
                </a:cubicBezTo>
                <a:cubicBezTo>
                  <a:pt x="416" y="612"/>
                  <a:pt x="416" y="612"/>
                  <a:pt x="416" y="612"/>
                </a:cubicBezTo>
                <a:cubicBezTo>
                  <a:pt x="420" y="610"/>
                  <a:pt x="423" y="609"/>
                  <a:pt x="421" y="601"/>
                </a:cubicBezTo>
                <a:cubicBezTo>
                  <a:pt x="420" y="595"/>
                  <a:pt x="420" y="586"/>
                  <a:pt x="422" y="581"/>
                </a:cubicBezTo>
                <a:cubicBezTo>
                  <a:pt x="422" y="580"/>
                  <a:pt x="422" y="579"/>
                  <a:pt x="423" y="579"/>
                </a:cubicBezTo>
                <a:cubicBezTo>
                  <a:pt x="426" y="578"/>
                  <a:pt x="429" y="577"/>
                  <a:pt x="432" y="576"/>
                </a:cubicBezTo>
                <a:cubicBezTo>
                  <a:pt x="432" y="575"/>
                  <a:pt x="433" y="575"/>
                  <a:pt x="434" y="576"/>
                </a:cubicBezTo>
                <a:cubicBezTo>
                  <a:pt x="438" y="577"/>
                  <a:pt x="444" y="583"/>
                  <a:pt x="449" y="590"/>
                </a:cubicBezTo>
                <a:cubicBezTo>
                  <a:pt x="450" y="592"/>
                  <a:pt x="452" y="593"/>
                  <a:pt x="453" y="594"/>
                </a:cubicBezTo>
                <a:cubicBezTo>
                  <a:pt x="455" y="595"/>
                  <a:pt x="457" y="594"/>
                  <a:pt x="460" y="593"/>
                </a:cubicBezTo>
                <a:cubicBezTo>
                  <a:pt x="461" y="592"/>
                  <a:pt x="461" y="592"/>
                  <a:pt x="461" y="592"/>
                </a:cubicBezTo>
                <a:cubicBezTo>
                  <a:pt x="465" y="591"/>
                  <a:pt x="467" y="589"/>
                  <a:pt x="465" y="582"/>
                </a:cubicBezTo>
                <a:cubicBezTo>
                  <a:pt x="462" y="575"/>
                  <a:pt x="461" y="567"/>
                  <a:pt x="462" y="561"/>
                </a:cubicBezTo>
                <a:cubicBezTo>
                  <a:pt x="462" y="560"/>
                  <a:pt x="462" y="560"/>
                  <a:pt x="463" y="559"/>
                </a:cubicBezTo>
                <a:cubicBezTo>
                  <a:pt x="463" y="559"/>
                  <a:pt x="463" y="559"/>
                  <a:pt x="463" y="559"/>
                </a:cubicBezTo>
                <a:cubicBezTo>
                  <a:pt x="466" y="558"/>
                  <a:pt x="468" y="556"/>
                  <a:pt x="471" y="554"/>
                </a:cubicBezTo>
                <a:cubicBezTo>
                  <a:pt x="471" y="554"/>
                  <a:pt x="472" y="554"/>
                  <a:pt x="473" y="554"/>
                </a:cubicBezTo>
                <a:cubicBezTo>
                  <a:pt x="477" y="555"/>
                  <a:pt x="484" y="560"/>
                  <a:pt x="490" y="566"/>
                </a:cubicBezTo>
                <a:cubicBezTo>
                  <a:pt x="491" y="567"/>
                  <a:pt x="492" y="568"/>
                  <a:pt x="493" y="568"/>
                </a:cubicBezTo>
                <a:cubicBezTo>
                  <a:pt x="497" y="571"/>
                  <a:pt x="498" y="569"/>
                  <a:pt x="501" y="567"/>
                </a:cubicBezTo>
                <a:cubicBezTo>
                  <a:pt x="502" y="566"/>
                  <a:pt x="502" y="566"/>
                  <a:pt x="502" y="566"/>
                </a:cubicBezTo>
                <a:cubicBezTo>
                  <a:pt x="506" y="564"/>
                  <a:pt x="508" y="562"/>
                  <a:pt x="504" y="555"/>
                </a:cubicBezTo>
                <a:cubicBezTo>
                  <a:pt x="501" y="549"/>
                  <a:pt x="498" y="541"/>
                  <a:pt x="498" y="535"/>
                </a:cubicBezTo>
                <a:cubicBezTo>
                  <a:pt x="498" y="535"/>
                  <a:pt x="499" y="534"/>
                  <a:pt x="499" y="533"/>
                </a:cubicBezTo>
                <a:cubicBezTo>
                  <a:pt x="501" y="531"/>
                  <a:pt x="504" y="529"/>
                  <a:pt x="506" y="527"/>
                </a:cubicBezTo>
                <a:cubicBezTo>
                  <a:pt x="507" y="527"/>
                  <a:pt x="507" y="527"/>
                  <a:pt x="508" y="527"/>
                </a:cubicBezTo>
                <a:cubicBezTo>
                  <a:pt x="514" y="527"/>
                  <a:pt x="521" y="532"/>
                  <a:pt x="524" y="533"/>
                </a:cubicBezTo>
                <a:cubicBezTo>
                  <a:pt x="525" y="534"/>
                  <a:pt x="526" y="535"/>
                  <a:pt x="527" y="535"/>
                </a:cubicBezTo>
                <a:cubicBezTo>
                  <a:pt x="527" y="536"/>
                  <a:pt x="528" y="536"/>
                  <a:pt x="528" y="537"/>
                </a:cubicBezTo>
                <a:cubicBezTo>
                  <a:pt x="534" y="540"/>
                  <a:pt x="536" y="538"/>
                  <a:pt x="538" y="535"/>
                </a:cubicBezTo>
                <a:cubicBezTo>
                  <a:pt x="539" y="534"/>
                  <a:pt x="539" y="534"/>
                  <a:pt x="539" y="534"/>
                </a:cubicBezTo>
                <a:cubicBezTo>
                  <a:pt x="542" y="531"/>
                  <a:pt x="544" y="529"/>
                  <a:pt x="539" y="523"/>
                </a:cubicBezTo>
                <a:cubicBezTo>
                  <a:pt x="535" y="517"/>
                  <a:pt x="531" y="510"/>
                  <a:pt x="530" y="504"/>
                </a:cubicBezTo>
                <a:cubicBezTo>
                  <a:pt x="530" y="503"/>
                  <a:pt x="530" y="503"/>
                  <a:pt x="531" y="502"/>
                </a:cubicBezTo>
                <a:cubicBezTo>
                  <a:pt x="533" y="500"/>
                  <a:pt x="535" y="498"/>
                  <a:pt x="537" y="495"/>
                </a:cubicBezTo>
                <a:cubicBezTo>
                  <a:pt x="537" y="495"/>
                  <a:pt x="538" y="494"/>
                  <a:pt x="539" y="494"/>
                </a:cubicBezTo>
                <a:cubicBezTo>
                  <a:pt x="544" y="494"/>
                  <a:pt x="553" y="497"/>
                  <a:pt x="558" y="500"/>
                </a:cubicBezTo>
                <a:cubicBezTo>
                  <a:pt x="566" y="504"/>
                  <a:pt x="567" y="501"/>
                  <a:pt x="570" y="498"/>
                </a:cubicBezTo>
                <a:cubicBezTo>
                  <a:pt x="570" y="497"/>
                  <a:pt x="570" y="497"/>
                  <a:pt x="570" y="497"/>
                </a:cubicBezTo>
                <a:cubicBezTo>
                  <a:pt x="573" y="494"/>
                  <a:pt x="575" y="491"/>
                  <a:pt x="569" y="486"/>
                </a:cubicBezTo>
                <a:cubicBezTo>
                  <a:pt x="564" y="481"/>
                  <a:pt x="558" y="474"/>
                  <a:pt x="557" y="468"/>
                </a:cubicBezTo>
                <a:cubicBezTo>
                  <a:pt x="557" y="468"/>
                  <a:pt x="557" y="467"/>
                  <a:pt x="557" y="466"/>
                </a:cubicBezTo>
                <a:cubicBezTo>
                  <a:pt x="559" y="464"/>
                  <a:pt x="560" y="462"/>
                  <a:pt x="561" y="459"/>
                </a:cubicBezTo>
                <a:cubicBezTo>
                  <a:pt x="562" y="459"/>
                  <a:pt x="562" y="459"/>
                  <a:pt x="562" y="459"/>
                </a:cubicBezTo>
                <a:cubicBezTo>
                  <a:pt x="562" y="458"/>
                  <a:pt x="563" y="458"/>
                  <a:pt x="564" y="457"/>
                </a:cubicBezTo>
                <a:cubicBezTo>
                  <a:pt x="569" y="456"/>
                  <a:pt x="578" y="458"/>
                  <a:pt x="584" y="460"/>
                </a:cubicBezTo>
                <a:cubicBezTo>
                  <a:pt x="592" y="462"/>
                  <a:pt x="593" y="460"/>
                  <a:pt x="595" y="456"/>
                </a:cubicBezTo>
                <a:cubicBezTo>
                  <a:pt x="596" y="455"/>
                  <a:pt x="596" y="455"/>
                  <a:pt x="596" y="455"/>
                </a:cubicBezTo>
                <a:cubicBezTo>
                  <a:pt x="597" y="451"/>
                  <a:pt x="599" y="449"/>
                  <a:pt x="592" y="444"/>
                </a:cubicBezTo>
                <a:cubicBezTo>
                  <a:pt x="587" y="440"/>
                  <a:pt x="580" y="434"/>
                  <a:pt x="578" y="429"/>
                </a:cubicBezTo>
                <a:cubicBezTo>
                  <a:pt x="577" y="428"/>
                  <a:pt x="577" y="428"/>
                  <a:pt x="578" y="427"/>
                </a:cubicBezTo>
                <a:cubicBezTo>
                  <a:pt x="578" y="426"/>
                  <a:pt x="578" y="426"/>
                  <a:pt x="578" y="426"/>
                </a:cubicBezTo>
                <a:cubicBezTo>
                  <a:pt x="579" y="423"/>
                  <a:pt x="580" y="421"/>
                  <a:pt x="581" y="418"/>
                </a:cubicBezTo>
                <a:cubicBezTo>
                  <a:pt x="581" y="418"/>
                  <a:pt x="582" y="417"/>
                  <a:pt x="583" y="417"/>
                </a:cubicBezTo>
                <a:cubicBezTo>
                  <a:pt x="588" y="415"/>
                  <a:pt x="597" y="415"/>
                  <a:pt x="603" y="416"/>
                </a:cubicBezTo>
                <a:cubicBezTo>
                  <a:pt x="611" y="418"/>
                  <a:pt x="612" y="415"/>
                  <a:pt x="613" y="411"/>
                </a:cubicBezTo>
                <a:cubicBezTo>
                  <a:pt x="614" y="409"/>
                  <a:pt x="614" y="409"/>
                  <a:pt x="614" y="409"/>
                </a:cubicBezTo>
                <a:cubicBezTo>
                  <a:pt x="615" y="406"/>
                  <a:pt x="616" y="404"/>
                  <a:pt x="611" y="401"/>
                </a:cubicBezTo>
                <a:cubicBezTo>
                  <a:pt x="610" y="400"/>
                  <a:pt x="610" y="400"/>
                  <a:pt x="609" y="399"/>
                </a:cubicBezTo>
                <a:cubicBezTo>
                  <a:pt x="607" y="398"/>
                  <a:pt x="604" y="397"/>
                  <a:pt x="603" y="396"/>
                </a:cubicBezTo>
                <a:cubicBezTo>
                  <a:pt x="599" y="394"/>
                  <a:pt x="594" y="390"/>
                  <a:pt x="592" y="387"/>
                </a:cubicBezTo>
                <a:cubicBezTo>
                  <a:pt x="592" y="386"/>
                  <a:pt x="592" y="385"/>
                  <a:pt x="592" y="385"/>
                </a:cubicBezTo>
                <a:cubicBezTo>
                  <a:pt x="593" y="382"/>
                  <a:pt x="593" y="379"/>
                  <a:pt x="594" y="376"/>
                </a:cubicBezTo>
                <a:cubicBezTo>
                  <a:pt x="594" y="375"/>
                  <a:pt x="594" y="374"/>
                  <a:pt x="595" y="374"/>
                </a:cubicBezTo>
                <a:cubicBezTo>
                  <a:pt x="600" y="371"/>
                  <a:pt x="609" y="370"/>
                  <a:pt x="615" y="370"/>
                </a:cubicBezTo>
                <a:cubicBezTo>
                  <a:pt x="624" y="370"/>
                  <a:pt x="624" y="367"/>
                  <a:pt x="624" y="363"/>
                </a:cubicBezTo>
                <a:cubicBezTo>
                  <a:pt x="625" y="362"/>
                  <a:pt x="625" y="362"/>
                  <a:pt x="625" y="362"/>
                </a:cubicBezTo>
                <a:cubicBezTo>
                  <a:pt x="625" y="359"/>
                  <a:pt x="625" y="356"/>
                  <a:pt x="622" y="354"/>
                </a:cubicBezTo>
                <a:cubicBezTo>
                  <a:pt x="621" y="354"/>
                  <a:pt x="620" y="353"/>
                  <a:pt x="618" y="353"/>
                </a:cubicBezTo>
                <a:cubicBezTo>
                  <a:pt x="613" y="351"/>
                  <a:pt x="608" y="349"/>
                  <a:pt x="604" y="346"/>
                </a:cubicBezTo>
                <a:cubicBezTo>
                  <a:pt x="602" y="345"/>
                  <a:pt x="601" y="344"/>
                  <a:pt x="600" y="343"/>
                </a:cubicBezTo>
                <a:cubicBezTo>
                  <a:pt x="599" y="342"/>
                  <a:pt x="599" y="342"/>
                  <a:pt x="599" y="341"/>
                </a:cubicBezTo>
                <a:cubicBezTo>
                  <a:pt x="599" y="338"/>
                  <a:pt x="600" y="335"/>
                  <a:pt x="600" y="332"/>
                </a:cubicBezTo>
                <a:cubicBezTo>
                  <a:pt x="600" y="331"/>
                  <a:pt x="600" y="330"/>
                  <a:pt x="601" y="330"/>
                </a:cubicBezTo>
                <a:cubicBezTo>
                  <a:pt x="605" y="326"/>
                  <a:pt x="614" y="324"/>
                  <a:pt x="620" y="323"/>
                </a:cubicBezTo>
                <a:cubicBezTo>
                  <a:pt x="628" y="322"/>
                  <a:pt x="628" y="318"/>
                  <a:pt x="628" y="314"/>
                </a:cubicBezTo>
                <a:cubicBezTo>
                  <a:pt x="628" y="313"/>
                  <a:pt x="628" y="313"/>
                  <a:pt x="628" y="313"/>
                </a:cubicBezTo>
                <a:cubicBezTo>
                  <a:pt x="628" y="310"/>
                  <a:pt x="628" y="308"/>
                  <a:pt x="626" y="307"/>
                </a:cubicBezTo>
                <a:cubicBezTo>
                  <a:pt x="624" y="306"/>
                  <a:pt x="623" y="305"/>
                  <a:pt x="620" y="305"/>
                </a:cubicBezTo>
                <a:cubicBezTo>
                  <a:pt x="612" y="304"/>
                  <a:pt x="604" y="301"/>
                  <a:pt x="600" y="298"/>
                </a:cubicBezTo>
                <a:cubicBezTo>
                  <a:pt x="600" y="298"/>
                  <a:pt x="600" y="297"/>
                  <a:pt x="600" y="296"/>
                </a:cubicBezTo>
                <a:cubicBezTo>
                  <a:pt x="599" y="294"/>
                  <a:pt x="599" y="291"/>
                  <a:pt x="599" y="288"/>
                </a:cubicBezTo>
                <a:cubicBezTo>
                  <a:pt x="599" y="287"/>
                  <a:pt x="599" y="287"/>
                  <a:pt x="599" y="287"/>
                </a:cubicBezTo>
                <a:cubicBezTo>
                  <a:pt x="599" y="286"/>
                  <a:pt x="599" y="286"/>
                  <a:pt x="599" y="285"/>
                </a:cubicBezTo>
                <a:cubicBezTo>
                  <a:pt x="603" y="281"/>
                  <a:pt x="611" y="277"/>
                  <a:pt x="617" y="275"/>
                </a:cubicBezTo>
                <a:cubicBezTo>
                  <a:pt x="625" y="273"/>
                  <a:pt x="625" y="270"/>
                  <a:pt x="624" y="266"/>
                </a:cubicBezTo>
                <a:cubicBezTo>
                  <a:pt x="624" y="264"/>
                  <a:pt x="624" y="264"/>
                  <a:pt x="624" y="264"/>
                </a:cubicBezTo>
                <a:cubicBezTo>
                  <a:pt x="623" y="262"/>
                  <a:pt x="623" y="260"/>
                  <a:pt x="621" y="259"/>
                </a:cubicBezTo>
                <a:cubicBezTo>
                  <a:pt x="620" y="258"/>
                  <a:pt x="618" y="258"/>
                  <a:pt x="614" y="258"/>
                </a:cubicBezTo>
                <a:cubicBezTo>
                  <a:pt x="608" y="258"/>
                  <a:pt x="599" y="257"/>
                  <a:pt x="594" y="254"/>
                </a:cubicBezTo>
                <a:cubicBezTo>
                  <a:pt x="593" y="254"/>
                  <a:pt x="593" y="253"/>
                  <a:pt x="593" y="252"/>
                </a:cubicBezTo>
                <a:cubicBezTo>
                  <a:pt x="592" y="249"/>
                  <a:pt x="591" y="246"/>
                  <a:pt x="591" y="243"/>
                </a:cubicBezTo>
                <a:cubicBezTo>
                  <a:pt x="590" y="243"/>
                  <a:pt x="590" y="242"/>
                  <a:pt x="591" y="241"/>
                </a:cubicBezTo>
                <a:cubicBezTo>
                  <a:pt x="594" y="237"/>
                  <a:pt x="601" y="232"/>
                  <a:pt x="607" y="229"/>
                </a:cubicBezTo>
                <a:cubicBezTo>
                  <a:pt x="615" y="225"/>
                  <a:pt x="613" y="222"/>
                  <a:pt x="612" y="218"/>
                </a:cubicBezTo>
                <a:cubicBezTo>
                  <a:pt x="612" y="217"/>
                  <a:pt x="612" y="217"/>
                  <a:pt x="612" y="217"/>
                </a:cubicBezTo>
                <a:cubicBezTo>
                  <a:pt x="611" y="215"/>
                  <a:pt x="611" y="213"/>
                  <a:pt x="609" y="212"/>
                </a:cubicBezTo>
                <a:cubicBezTo>
                  <a:pt x="607" y="211"/>
                  <a:pt x="605" y="211"/>
                  <a:pt x="602" y="212"/>
                </a:cubicBezTo>
                <a:cubicBezTo>
                  <a:pt x="595" y="213"/>
                  <a:pt x="586" y="213"/>
                  <a:pt x="581" y="211"/>
                </a:cubicBezTo>
                <a:cubicBezTo>
                  <a:pt x="580" y="211"/>
                  <a:pt x="580" y="211"/>
                  <a:pt x="579" y="210"/>
                </a:cubicBezTo>
                <a:cubicBezTo>
                  <a:pt x="578" y="207"/>
                  <a:pt x="577" y="204"/>
                  <a:pt x="576" y="201"/>
                </a:cubicBezTo>
                <a:cubicBezTo>
                  <a:pt x="576" y="201"/>
                  <a:pt x="575" y="200"/>
                  <a:pt x="576" y="199"/>
                </a:cubicBezTo>
                <a:cubicBezTo>
                  <a:pt x="578" y="194"/>
                  <a:pt x="585" y="188"/>
                  <a:pt x="590" y="184"/>
                </a:cubicBezTo>
                <a:cubicBezTo>
                  <a:pt x="597" y="180"/>
                  <a:pt x="595" y="177"/>
                  <a:pt x="593" y="173"/>
                </a:cubicBezTo>
                <a:cubicBezTo>
                  <a:pt x="593" y="172"/>
                  <a:pt x="593" y="172"/>
                  <a:pt x="593" y="172"/>
                </a:cubicBezTo>
                <a:cubicBezTo>
                  <a:pt x="592" y="171"/>
                  <a:pt x="591" y="169"/>
                  <a:pt x="590" y="168"/>
                </a:cubicBezTo>
                <a:cubicBezTo>
                  <a:pt x="588" y="167"/>
                  <a:pt x="585" y="167"/>
                  <a:pt x="582" y="169"/>
                </a:cubicBezTo>
                <a:cubicBezTo>
                  <a:pt x="575" y="171"/>
                  <a:pt x="567" y="172"/>
                  <a:pt x="561" y="171"/>
                </a:cubicBezTo>
                <a:cubicBezTo>
                  <a:pt x="560" y="171"/>
                  <a:pt x="560" y="171"/>
                  <a:pt x="560" y="170"/>
                </a:cubicBezTo>
                <a:cubicBezTo>
                  <a:pt x="559" y="169"/>
                  <a:pt x="559" y="169"/>
                  <a:pt x="559" y="169"/>
                </a:cubicBezTo>
                <a:cubicBezTo>
                  <a:pt x="557" y="166"/>
                  <a:pt x="556" y="164"/>
                  <a:pt x="555" y="162"/>
                </a:cubicBezTo>
                <a:cubicBezTo>
                  <a:pt x="554" y="162"/>
                  <a:pt x="554" y="161"/>
                  <a:pt x="554" y="160"/>
                </a:cubicBezTo>
                <a:cubicBezTo>
                  <a:pt x="556" y="155"/>
                  <a:pt x="561" y="148"/>
                  <a:pt x="566" y="143"/>
                </a:cubicBezTo>
                <a:cubicBezTo>
                  <a:pt x="572" y="137"/>
                  <a:pt x="570" y="135"/>
                  <a:pt x="567" y="132"/>
                </a:cubicBezTo>
                <a:cubicBezTo>
                  <a:pt x="567" y="131"/>
                  <a:pt x="567" y="131"/>
                  <a:pt x="567" y="131"/>
                </a:cubicBezTo>
                <a:cubicBezTo>
                  <a:pt x="566" y="130"/>
                  <a:pt x="565" y="128"/>
                  <a:pt x="564" y="128"/>
                </a:cubicBezTo>
                <a:cubicBezTo>
                  <a:pt x="563" y="127"/>
                  <a:pt x="561" y="126"/>
                  <a:pt x="555" y="129"/>
                </a:cubicBezTo>
                <a:cubicBezTo>
                  <a:pt x="549" y="132"/>
                  <a:pt x="541" y="135"/>
                  <a:pt x="535" y="135"/>
                </a:cubicBezTo>
                <a:cubicBezTo>
                  <a:pt x="535" y="135"/>
                  <a:pt x="534" y="135"/>
                  <a:pt x="534" y="134"/>
                </a:cubicBezTo>
                <a:cubicBezTo>
                  <a:pt x="532" y="132"/>
                  <a:pt x="530" y="129"/>
                  <a:pt x="528" y="127"/>
                </a:cubicBezTo>
                <a:cubicBezTo>
                  <a:pt x="527" y="126"/>
                  <a:pt x="527" y="126"/>
                  <a:pt x="527" y="125"/>
                </a:cubicBezTo>
                <a:cubicBezTo>
                  <a:pt x="528" y="119"/>
                  <a:pt x="532" y="112"/>
                  <a:pt x="536" y="106"/>
                </a:cubicBezTo>
                <a:cubicBezTo>
                  <a:pt x="541" y="100"/>
                  <a:pt x="538" y="98"/>
                  <a:pt x="535" y="95"/>
                </a:cubicBezTo>
                <a:cubicBezTo>
                  <a:pt x="534" y="94"/>
                  <a:pt x="534" y="94"/>
                  <a:pt x="534" y="94"/>
                </a:cubicBezTo>
                <a:cubicBezTo>
                  <a:pt x="534" y="93"/>
                  <a:pt x="533" y="92"/>
                  <a:pt x="532" y="92"/>
                </a:cubicBezTo>
                <a:cubicBezTo>
                  <a:pt x="531" y="91"/>
                  <a:pt x="529" y="90"/>
                  <a:pt x="523" y="94"/>
                </a:cubicBezTo>
                <a:cubicBezTo>
                  <a:pt x="518" y="98"/>
                  <a:pt x="510" y="102"/>
                  <a:pt x="504" y="103"/>
                </a:cubicBezTo>
                <a:cubicBezTo>
                  <a:pt x="504" y="103"/>
                  <a:pt x="503" y="103"/>
                  <a:pt x="502" y="102"/>
                </a:cubicBezTo>
                <a:cubicBezTo>
                  <a:pt x="500" y="100"/>
                  <a:pt x="498" y="99"/>
                  <a:pt x="495" y="96"/>
                </a:cubicBezTo>
                <a:cubicBezTo>
                  <a:pt x="495" y="96"/>
                  <a:pt x="494" y="95"/>
                  <a:pt x="494" y="95"/>
                </a:cubicBezTo>
                <a:cubicBezTo>
                  <a:pt x="494" y="89"/>
                  <a:pt x="497" y="81"/>
                  <a:pt x="500" y="75"/>
                </a:cubicBezTo>
                <a:cubicBezTo>
                  <a:pt x="504" y="67"/>
                  <a:pt x="501" y="66"/>
                  <a:pt x="498" y="63"/>
                </a:cubicBezTo>
                <a:cubicBezTo>
                  <a:pt x="497" y="63"/>
                  <a:pt x="497" y="63"/>
                  <a:pt x="497" y="63"/>
                </a:cubicBezTo>
                <a:cubicBezTo>
                  <a:pt x="496" y="62"/>
                  <a:pt x="496" y="62"/>
                  <a:pt x="495" y="61"/>
                </a:cubicBezTo>
                <a:cubicBezTo>
                  <a:pt x="494" y="60"/>
                  <a:pt x="491" y="59"/>
                  <a:pt x="486" y="64"/>
                </a:cubicBezTo>
                <a:cubicBezTo>
                  <a:pt x="481" y="69"/>
                  <a:pt x="474" y="75"/>
                  <a:pt x="469" y="76"/>
                </a:cubicBezTo>
                <a:cubicBezTo>
                  <a:pt x="468" y="76"/>
                  <a:pt x="467" y="76"/>
                  <a:pt x="467" y="76"/>
                </a:cubicBezTo>
                <a:cubicBezTo>
                  <a:pt x="464" y="74"/>
                  <a:pt x="461" y="73"/>
                  <a:pt x="459" y="71"/>
                </a:cubicBezTo>
                <a:cubicBezTo>
                  <a:pt x="458" y="71"/>
                  <a:pt x="458" y="70"/>
                  <a:pt x="458" y="70"/>
                </a:cubicBezTo>
                <a:cubicBezTo>
                  <a:pt x="456" y="64"/>
                  <a:pt x="458" y="55"/>
                  <a:pt x="460" y="49"/>
                </a:cubicBezTo>
                <a:cubicBezTo>
                  <a:pt x="462" y="42"/>
                  <a:pt x="460" y="40"/>
                  <a:pt x="459" y="39"/>
                </a:cubicBezTo>
                <a:cubicBezTo>
                  <a:pt x="458" y="39"/>
                  <a:pt x="457" y="38"/>
                  <a:pt x="456" y="38"/>
                </a:cubicBezTo>
                <a:cubicBezTo>
                  <a:pt x="455" y="37"/>
                  <a:pt x="455" y="37"/>
                  <a:pt x="455" y="37"/>
                </a:cubicBezTo>
                <a:cubicBezTo>
                  <a:pt x="451" y="36"/>
                  <a:pt x="449" y="34"/>
                  <a:pt x="444" y="41"/>
                </a:cubicBezTo>
                <a:cubicBezTo>
                  <a:pt x="440" y="46"/>
                  <a:pt x="434" y="53"/>
                  <a:pt x="429" y="55"/>
                </a:cubicBezTo>
                <a:cubicBezTo>
                  <a:pt x="428" y="56"/>
                  <a:pt x="428" y="56"/>
                  <a:pt x="427" y="55"/>
                </a:cubicBezTo>
                <a:cubicBezTo>
                  <a:pt x="426" y="55"/>
                  <a:pt x="426" y="55"/>
                  <a:pt x="426" y="55"/>
                </a:cubicBezTo>
                <a:cubicBezTo>
                  <a:pt x="423" y="54"/>
                  <a:pt x="421" y="53"/>
                  <a:pt x="419" y="52"/>
                </a:cubicBezTo>
                <a:cubicBezTo>
                  <a:pt x="418" y="52"/>
                  <a:pt x="417" y="51"/>
                  <a:pt x="417" y="50"/>
                </a:cubicBezTo>
                <a:cubicBezTo>
                  <a:pt x="415" y="45"/>
                  <a:pt x="415" y="36"/>
                  <a:pt x="416" y="30"/>
                </a:cubicBezTo>
                <a:cubicBezTo>
                  <a:pt x="418" y="23"/>
                  <a:pt x="415" y="22"/>
                  <a:pt x="414" y="21"/>
                </a:cubicBezTo>
                <a:cubicBezTo>
                  <a:pt x="413" y="20"/>
                  <a:pt x="412" y="20"/>
                  <a:pt x="411" y="20"/>
                </a:cubicBezTo>
                <a:cubicBezTo>
                  <a:pt x="410" y="19"/>
                  <a:pt x="410" y="19"/>
                  <a:pt x="410" y="19"/>
                </a:cubicBezTo>
                <a:cubicBezTo>
                  <a:pt x="406" y="18"/>
                  <a:pt x="403" y="17"/>
                  <a:pt x="400" y="24"/>
                </a:cubicBezTo>
                <a:cubicBezTo>
                  <a:pt x="396" y="30"/>
                  <a:pt x="392" y="38"/>
                  <a:pt x="387" y="41"/>
                </a:cubicBezTo>
                <a:cubicBezTo>
                  <a:pt x="386" y="41"/>
                  <a:pt x="386" y="41"/>
                  <a:pt x="385" y="41"/>
                </a:cubicBezTo>
                <a:cubicBezTo>
                  <a:pt x="382" y="40"/>
                  <a:pt x="379" y="40"/>
                  <a:pt x="376" y="39"/>
                </a:cubicBezTo>
                <a:cubicBezTo>
                  <a:pt x="375" y="39"/>
                  <a:pt x="375" y="39"/>
                  <a:pt x="374" y="38"/>
                </a:cubicBezTo>
                <a:cubicBezTo>
                  <a:pt x="371" y="33"/>
                  <a:pt x="370" y="24"/>
                  <a:pt x="370" y="18"/>
                </a:cubicBezTo>
                <a:cubicBezTo>
                  <a:pt x="370" y="11"/>
                  <a:pt x="368" y="10"/>
                  <a:pt x="368" y="10"/>
                </a:cubicBezTo>
                <a:cubicBezTo>
                  <a:pt x="367" y="9"/>
                  <a:pt x="365" y="9"/>
                  <a:pt x="363" y="9"/>
                </a:cubicBezTo>
                <a:cubicBezTo>
                  <a:pt x="362" y="8"/>
                  <a:pt x="362" y="8"/>
                  <a:pt x="362" y="8"/>
                </a:cubicBezTo>
                <a:cubicBezTo>
                  <a:pt x="358" y="8"/>
                  <a:pt x="355" y="7"/>
                  <a:pt x="353" y="15"/>
                </a:cubicBezTo>
                <a:cubicBezTo>
                  <a:pt x="351" y="21"/>
                  <a:pt x="347" y="29"/>
                  <a:pt x="343" y="33"/>
                </a:cubicBezTo>
                <a:cubicBezTo>
                  <a:pt x="343" y="34"/>
                  <a:pt x="342" y="34"/>
                  <a:pt x="341" y="34"/>
                </a:cubicBezTo>
                <a:cubicBezTo>
                  <a:pt x="338" y="34"/>
                  <a:pt x="335" y="33"/>
                  <a:pt x="332" y="33"/>
                </a:cubicBezTo>
                <a:cubicBezTo>
                  <a:pt x="331" y="33"/>
                  <a:pt x="330" y="33"/>
                  <a:pt x="330" y="32"/>
                </a:cubicBezTo>
                <a:cubicBezTo>
                  <a:pt x="326" y="28"/>
                  <a:pt x="324" y="19"/>
                  <a:pt x="323" y="13"/>
                </a:cubicBezTo>
                <a:cubicBezTo>
                  <a:pt x="322" y="9"/>
                  <a:pt x="321" y="7"/>
                  <a:pt x="320" y="6"/>
                </a:cubicBezTo>
                <a:cubicBezTo>
                  <a:pt x="318" y="5"/>
                  <a:pt x="316" y="5"/>
                  <a:pt x="315" y="5"/>
                </a:cubicBezTo>
                <a:cubicBezTo>
                  <a:pt x="313" y="5"/>
                  <a:pt x="313" y="5"/>
                  <a:pt x="313" y="5"/>
                </a:cubicBezTo>
                <a:cubicBezTo>
                  <a:pt x="309" y="5"/>
                  <a:pt x="306" y="5"/>
                  <a:pt x="305" y="13"/>
                </a:cubicBezTo>
                <a:cubicBezTo>
                  <a:pt x="304" y="20"/>
                  <a:pt x="302" y="28"/>
                  <a:pt x="298" y="33"/>
                </a:cubicBezTo>
                <a:cubicBezTo>
                  <a:pt x="298" y="33"/>
                  <a:pt x="297" y="33"/>
                  <a:pt x="297" y="34"/>
                </a:cubicBezTo>
                <a:cubicBezTo>
                  <a:pt x="294" y="34"/>
                  <a:pt x="292" y="34"/>
                  <a:pt x="289" y="34"/>
                </a:cubicBezTo>
                <a:cubicBezTo>
                  <a:pt x="287" y="34"/>
                  <a:pt x="287" y="34"/>
                  <a:pt x="287" y="34"/>
                </a:cubicBezTo>
                <a:cubicBezTo>
                  <a:pt x="287" y="34"/>
                  <a:pt x="286" y="34"/>
                  <a:pt x="285" y="34"/>
                </a:cubicBezTo>
                <a:cubicBezTo>
                  <a:pt x="281" y="30"/>
                  <a:pt x="277" y="22"/>
                  <a:pt x="275" y="16"/>
                </a:cubicBezTo>
                <a:cubicBezTo>
                  <a:pt x="274" y="12"/>
                  <a:pt x="273" y="10"/>
                  <a:pt x="272" y="9"/>
                </a:cubicBezTo>
                <a:cubicBezTo>
                  <a:pt x="270" y="8"/>
                  <a:pt x="268" y="9"/>
                  <a:pt x="266" y="9"/>
                </a:cubicBezTo>
                <a:cubicBezTo>
                  <a:pt x="265" y="9"/>
                  <a:pt x="265" y="9"/>
                  <a:pt x="265" y="9"/>
                </a:cubicBezTo>
                <a:cubicBezTo>
                  <a:pt x="261" y="10"/>
                  <a:pt x="258" y="10"/>
                  <a:pt x="258" y="19"/>
                </a:cubicBezTo>
                <a:cubicBezTo>
                  <a:pt x="258" y="25"/>
                  <a:pt x="257" y="34"/>
                  <a:pt x="254" y="39"/>
                </a:cubicBezTo>
                <a:cubicBezTo>
                  <a:pt x="254" y="40"/>
                  <a:pt x="253" y="40"/>
                  <a:pt x="253" y="40"/>
                </a:cubicBezTo>
                <a:cubicBezTo>
                  <a:pt x="250" y="41"/>
                  <a:pt x="247" y="42"/>
                  <a:pt x="244" y="42"/>
                </a:cubicBezTo>
                <a:cubicBezTo>
                  <a:pt x="243" y="43"/>
                  <a:pt x="242" y="43"/>
                  <a:pt x="242" y="42"/>
                </a:cubicBezTo>
                <a:cubicBezTo>
                  <a:pt x="237" y="39"/>
                  <a:pt x="232" y="32"/>
                  <a:pt x="229" y="26"/>
                </a:cubicBezTo>
                <a:cubicBezTo>
                  <a:pt x="228" y="23"/>
                  <a:pt x="226" y="22"/>
                  <a:pt x="225" y="21"/>
                </a:cubicBezTo>
                <a:cubicBezTo>
                  <a:pt x="223" y="19"/>
                  <a:pt x="221" y="20"/>
                  <a:pt x="219" y="21"/>
                </a:cubicBezTo>
                <a:cubicBezTo>
                  <a:pt x="217" y="21"/>
                  <a:pt x="217" y="21"/>
                  <a:pt x="217" y="21"/>
                </a:cubicBezTo>
                <a:cubicBezTo>
                  <a:pt x="213" y="23"/>
                  <a:pt x="210" y="23"/>
                  <a:pt x="212" y="31"/>
                </a:cubicBezTo>
                <a:cubicBezTo>
                  <a:pt x="213" y="38"/>
                  <a:pt x="214" y="47"/>
                  <a:pt x="212" y="52"/>
                </a:cubicBezTo>
                <a:cubicBezTo>
                  <a:pt x="211" y="53"/>
                  <a:pt x="211" y="53"/>
                  <a:pt x="210" y="54"/>
                </a:cubicBezTo>
                <a:cubicBezTo>
                  <a:pt x="207" y="55"/>
                  <a:pt x="204" y="56"/>
                  <a:pt x="202" y="57"/>
                </a:cubicBezTo>
                <a:cubicBezTo>
                  <a:pt x="201" y="58"/>
                  <a:pt x="200" y="58"/>
                  <a:pt x="200" y="57"/>
                </a:cubicBezTo>
                <a:cubicBezTo>
                  <a:pt x="195" y="55"/>
                  <a:pt x="189" y="50"/>
                  <a:pt x="184" y="43"/>
                </a:cubicBezTo>
                <a:cubicBezTo>
                  <a:pt x="183" y="41"/>
                  <a:pt x="182" y="40"/>
                  <a:pt x="181" y="39"/>
                </a:cubicBezTo>
                <a:cubicBezTo>
                  <a:pt x="178" y="38"/>
                  <a:pt x="176" y="38"/>
                  <a:pt x="173" y="40"/>
                </a:cubicBezTo>
                <a:cubicBezTo>
                  <a:pt x="172" y="41"/>
                  <a:pt x="172" y="41"/>
                  <a:pt x="172" y="41"/>
                </a:cubicBezTo>
                <a:cubicBezTo>
                  <a:pt x="169" y="42"/>
                  <a:pt x="166" y="44"/>
                  <a:pt x="169" y="51"/>
                </a:cubicBezTo>
                <a:cubicBezTo>
                  <a:pt x="171" y="58"/>
                  <a:pt x="173" y="66"/>
                  <a:pt x="172" y="72"/>
                </a:cubicBezTo>
                <a:cubicBezTo>
                  <a:pt x="171" y="73"/>
                  <a:pt x="171" y="73"/>
                  <a:pt x="170" y="74"/>
                </a:cubicBezTo>
                <a:cubicBezTo>
                  <a:pt x="170" y="74"/>
                  <a:pt x="170" y="74"/>
                  <a:pt x="170" y="74"/>
                </a:cubicBezTo>
                <a:cubicBezTo>
                  <a:pt x="167" y="75"/>
                  <a:pt x="165" y="77"/>
                  <a:pt x="162" y="78"/>
                </a:cubicBezTo>
                <a:cubicBezTo>
                  <a:pt x="162" y="79"/>
                  <a:pt x="161" y="79"/>
                  <a:pt x="160" y="79"/>
                </a:cubicBezTo>
                <a:cubicBezTo>
                  <a:pt x="156" y="77"/>
                  <a:pt x="149" y="73"/>
                  <a:pt x="143" y="67"/>
                </a:cubicBezTo>
                <a:cubicBezTo>
                  <a:pt x="142" y="66"/>
                  <a:pt x="141" y="65"/>
                  <a:pt x="140" y="64"/>
                </a:cubicBezTo>
                <a:cubicBezTo>
                  <a:pt x="137" y="62"/>
                  <a:pt x="135" y="64"/>
                  <a:pt x="132" y="66"/>
                </a:cubicBezTo>
                <a:cubicBezTo>
                  <a:pt x="131" y="66"/>
                  <a:pt x="131" y="66"/>
                  <a:pt x="131" y="66"/>
                </a:cubicBezTo>
                <a:cubicBezTo>
                  <a:pt x="128" y="69"/>
                  <a:pt x="125" y="71"/>
                  <a:pt x="129" y="78"/>
                </a:cubicBezTo>
                <a:cubicBezTo>
                  <a:pt x="132" y="84"/>
                  <a:pt x="135" y="92"/>
                  <a:pt x="135" y="98"/>
                </a:cubicBezTo>
                <a:cubicBezTo>
                  <a:pt x="135" y="98"/>
                  <a:pt x="135" y="99"/>
                  <a:pt x="134" y="99"/>
                </a:cubicBezTo>
                <a:cubicBezTo>
                  <a:pt x="132" y="101"/>
                  <a:pt x="129" y="103"/>
                  <a:pt x="127" y="105"/>
                </a:cubicBezTo>
                <a:cubicBezTo>
                  <a:pt x="127" y="106"/>
                  <a:pt x="126" y="106"/>
                  <a:pt x="125" y="106"/>
                </a:cubicBezTo>
                <a:cubicBezTo>
                  <a:pt x="120" y="105"/>
                  <a:pt x="112" y="101"/>
                  <a:pt x="109" y="99"/>
                </a:cubicBezTo>
                <a:cubicBezTo>
                  <a:pt x="108" y="99"/>
                  <a:pt x="107" y="98"/>
                  <a:pt x="106" y="97"/>
                </a:cubicBezTo>
                <a:cubicBezTo>
                  <a:pt x="106" y="97"/>
                  <a:pt x="105" y="97"/>
                  <a:pt x="105" y="96"/>
                </a:cubicBezTo>
                <a:cubicBezTo>
                  <a:pt x="100" y="93"/>
                  <a:pt x="98" y="95"/>
                  <a:pt x="95" y="98"/>
                </a:cubicBezTo>
                <a:cubicBezTo>
                  <a:pt x="94" y="99"/>
                  <a:pt x="94" y="99"/>
                  <a:pt x="94" y="99"/>
                </a:cubicBezTo>
                <a:cubicBezTo>
                  <a:pt x="91" y="101"/>
                  <a:pt x="89" y="104"/>
                  <a:pt x="94" y="110"/>
                </a:cubicBezTo>
                <a:cubicBezTo>
                  <a:pt x="98" y="115"/>
                  <a:pt x="102" y="123"/>
                  <a:pt x="103" y="129"/>
                </a:cubicBezTo>
                <a:cubicBezTo>
                  <a:pt x="103" y="129"/>
                  <a:pt x="103" y="130"/>
                  <a:pt x="102" y="131"/>
                </a:cubicBezTo>
                <a:cubicBezTo>
                  <a:pt x="101" y="133"/>
                  <a:pt x="99" y="135"/>
                  <a:pt x="97" y="138"/>
                </a:cubicBezTo>
                <a:cubicBezTo>
                  <a:pt x="96" y="138"/>
                  <a:pt x="95" y="139"/>
                  <a:pt x="95" y="139"/>
                </a:cubicBezTo>
                <a:cubicBezTo>
                  <a:pt x="89" y="139"/>
                  <a:pt x="81" y="136"/>
                  <a:pt x="75" y="133"/>
                </a:cubicBezTo>
                <a:cubicBezTo>
                  <a:pt x="68" y="129"/>
                  <a:pt x="66" y="132"/>
                  <a:pt x="64" y="135"/>
                </a:cubicBezTo>
                <a:cubicBezTo>
                  <a:pt x="63" y="136"/>
                  <a:pt x="63" y="136"/>
                  <a:pt x="63" y="136"/>
                </a:cubicBezTo>
                <a:cubicBezTo>
                  <a:pt x="60" y="139"/>
                  <a:pt x="59" y="142"/>
                  <a:pt x="64" y="147"/>
                </a:cubicBezTo>
                <a:cubicBezTo>
                  <a:pt x="69" y="152"/>
                  <a:pt x="75" y="159"/>
                  <a:pt x="76" y="164"/>
                </a:cubicBezTo>
                <a:cubicBezTo>
                  <a:pt x="77" y="165"/>
                  <a:pt x="76" y="166"/>
                  <a:pt x="76" y="166"/>
                </a:cubicBezTo>
                <a:cubicBezTo>
                  <a:pt x="75" y="169"/>
                  <a:pt x="73" y="171"/>
                  <a:pt x="72" y="174"/>
                </a:cubicBezTo>
                <a:cubicBezTo>
                  <a:pt x="71" y="174"/>
                  <a:pt x="71" y="174"/>
                  <a:pt x="71" y="174"/>
                </a:cubicBezTo>
                <a:cubicBezTo>
                  <a:pt x="71" y="175"/>
                  <a:pt x="70" y="175"/>
                  <a:pt x="70" y="176"/>
                </a:cubicBezTo>
                <a:cubicBezTo>
                  <a:pt x="64" y="177"/>
                  <a:pt x="55" y="175"/>
                  <a:pt x="49" y="173"/>
                </a:cubicBezTo>
                <a:cubicBezTo>
                  <a:pt x="41" y="170"/>
                  <a:pt x="40" y="173"/>
                  <a:pt x="38" y="177"/>
                </a:cubicBezTo>
                <a:cubicBezTo>
                  <a:pt x="38" y="178"/>
                  <a:pt x="38" y="178"/>
                  <a:pt x="38" y="178"/>
                </a:cubicBezTo>
                <a:cubicBezTo>
                  <a:pt x="36" y="182"/>
                  <a:pt x="34" y="184"/>
                  <a:pt x="41" y="189"/>
                </a:cubicBezTo>
                <a:cubicBezTo>
                  <a:pt x="47" y="193"/>
                  <a:pt x="53" y="199"/>
                  <a:pt x="56" y="204"/>
                </a:cubicBezTo>
                <a:cubicBezTo>
                  <a:pt x="56" y="205"/>
                  <a:pt x="56" y="205"/>
                  <a:pt x="56" y="206"/>
                </a:cubicBezTo>
                <a:cubicBezTo>
                  <a:pt x="55" y="207"/>
                  <a:pt x="55" y="207"/>
                  <a:pt x="55" y="207"/>
                </a:cubicBezTo>
                <a:cubicBezTo>
                  <a:pt x="54" y="209"/>
                  <a:pt x="53" y="212"/>
                  <a:pt x="52" y="214"/>
                </a:cubicBezTo>
                <a:cubicBezTo>
                  <a:pt x="52" y="215"/>
                  <a:pt x="51" y="216"/>
                  <a:pt x="51" y="216"/>
                </a:cubicBezTo>
                <a:cubicBezTo>
                  <a:pt x="45" y="218"/>
                  <a:pt x="37" y="218"/>
                  <a:pt x="30" y="217"/>
                </a:cubicBezTo>
                <a:cubicBezTo>
                  <a:pt x="22" y="215"/>
                  <a:pt x="21" y="218"/>
                  <a:pt x="20" y="222"/>
                </a:cubicBezTo>
                <a:cubicBezTo>
                  <a:pt x="19" y="223"/>
                  <a:pt x="19" y="223"/>
                  <a:pt x="19" y="223"/>
                </a:cubicBezTo>
                <a:cubicBezTo>
                  <a:pt x="18" y="227"/>
                  <a:pt x="18" y="229"/>
                  <a:pt x="22" y="232"/>
                </a:cubicBezTo>
                <a:cubicBezTo>
                  <a:pt x="23" y="233"/>
                  <a:pt x="24" y="233"/>
                  <a:pt x="25" y="234"/>
                </a:cubicBezTo>
                <a:cubicBezTo>
                  <a:pt x="27" y="235"/>
                  <a:pt x="29" y="236"/>
                  <a:pt x="31" y="237"/>
                </a:cubicBezTo>
                <a:cubicBezTo>
                  <a:pt x="34" y="239"/>
                  <a:pt x="39" y="243"/>
                  <a:pt x="41" y="246"/>
                </a:cubicBezTo>
                <a:cubicBezTo>
                  <a:pt x="42" y="247"/>
                  <a:pt x="42" y="247"/>
                  <a:pt x="41" y="248"/>
                </a:cubicBezTo>
                <a:cubicBezTo>
                  <a:pt x="41" y="251"/>
                  <a:pt x="40" y="254"/>
                  <a:pt x="39" y="257"/>
                </a:cubicBezTo>
                <a:cubicBezTo>
                  <a:pt x="39" y="258"/>
                  <a:pt x="39" y="258"/>
                  <a:pt x="38" y="259"/>
                </a:cubicBezTo>
                <a:cubicBezTo>
                  <a:pt x="33" y="262"/>
                  <a:pt x="25" y="263"/>
                  <a:pt x="18" y="263"/>
                </a:cubicBezTo>
                <a:cubicBezTo>
                  <a:pt x="10" y="263"/>
                  <a:pt x="9" y="266"/>
                  <a:pt x="9" y="270"/>
                </a:cubicBezTo>
                <a:cubicBezTo>
                  <a:pt x="9" y="271"/>
                  <a:pt x="9" y="271"/>
                  <a:pt x="9" y="271"/>
                </a:cubicBezTo>
                <a:cubicBezTo>
                  <a:pt x="8" y="274"/>
                  <a:pt x="8" y="277"/>
                  <a:pt x="11" y="278"/>
                </a:cubicBezTo>
                <a:cubicBezTo>
                  <a:pt x="12" y="279"/>
                  <a:pt x="13" y="280"/>
                  <a:pt x="15" y="280"/>
                </a:cubicBezTo>
                <a:cubicBezTo>
                  <a:pt x="23" y="283"/>
                  <a:pt x="30" y="287"/>
                  <a:pt x="33" y="290"/>
                </a:cubicBezTo>
                <a:cubicBezTo>
                  <a:pt x="34" y="291"/>
                  <a:pt x="34" y="291"/>
                  <a:pt x="34" y="292"/>
                </a:cubicBezTo>
                <a:cubicBezTo>
                  <a:pt x="34" y="295"/>
                  <a:pt x="34" y="298"/>
                  <a:pt x="34" y="301"/>
                </a:cubicBezTo>
                <a:cubicBezTo>
                  <a:pt x="33" y="302"/>
                  <a:pt x="33" y="303"/>
                  <a:pt x="33" y="303"/>
                </a:cubicBezTo>
                <a:cubicBezTo>
                  <a:pt x="28" y="307"/>
                  <a:pt x="20" y="309"/>
                  <a:pt x="13" y="310"/>
                </a:cubicBezTo>
                <a:cubicBezTo>
                  <a:pt x="5" y="311"/>
                  <a:pt x="5" y="314"/>
                  <a:pt x="5" y="318"/>
                </a:cubicBezTo>
                <a:cubicBezTo>
                  <a:pt x="5" y="320"/>
                  <a:pt x="5" y="320"/>
                  <a:pt x="5" y="320"/>
                </a:cubicBezTo>
                <a:cubicBezTo>
                  <a:pt x="5" y="323"/>
                  <a:pt x="5" y="325"/>
                  <a:pt x="8" y="326"/>
                </a:cubicBezTo>
                <a:cubicBezTo>
                  <a:pt x="9" y="327"/>
                  <a:pt x="11" y="328"/>
                  <a:pt x="13" y="328"/>
                </a:cubicBezTo>
                <a:cubicBezTo>
                  <a:pt x="22" y="329"/>
                  <a:pt x="29" y="332"/>
                  <a:pt x="33" y="335"/>
                </a:cubicBezTo>
                <a:cubicBezTo>
                  <a:pt x="33" y="335"/>
                  <a:pt x="34" y="336"/>
                  <a:pt x="34" y="336"/>
                </a:cubicBezTo>
                <a:cubicBezTo>
                  <a:pt x="34" y="339"/>
                  <a:pt x="34" y="342"/>
                  <a:pt x="34" y="344"/>
                </a:cubicBezTo>
                <a:cubicBezTo>
                  <a:pt x="35" y="346"/>
                  <a:pt x="35" y="346"/>
                  <a:pt x="35" y="346"/>
                </a:cubicBezTo>
                <a:cubicBezTo>
                  <a:pt x="35" y="346"/>
                  <a:pt x="34" y="347"/>
                  <a:pt x="34" y="348"/>
                </a:cubicBezTo>
                <a:cubicBezTo>
                  <a:pt x="30" y="352"/>
                  <a:pt x="22" y="356"/>
                  <a:pt x="16" y="358"/>
                </a:cubicBezTo>
                <a:cubicBezTo>
                  <a:pt x="8" y="360"/>
                  <a:pt x="9" y="363"/>
                  <a:pt x="9" y="367"/>
                </a:cubicBezTo>
                <a:cubicBezTo>
                  <a:pt x="10" y="368"/>
                  <a:pt x="10" y="368"/>
                  <a:pt x="10" y="368"/>
                </a:cubicBezTo>
                <a:cubicBezTo>
                  <a:pt x="10" y="371"/>
                  <a:pt x="10" y="373"/>
                  <a:pt x="12" y="374"/>
                </a:cubicBezTo>
                <a:cubicBezTo>
                  <a:pt x="14" y="375"/>
                  <a:pt x="16" y="375"/>
                  <a:pt x="19" y="375"/>
                </a:cubicBezTo>
                <a:cubicBezTo>
                  <a:pt x="25" y="375"/>
                  <a:pt x="34" y="376"/>
                  <a:pt x="39" y="379"/>
                </a:cubicBezTo>
                <a:cubicBezTo>
                  <a:pt x="40" y="379"/>
                  <a:pt x="40" y="380"/>
                  <a:pt x="40" y="380"/>
                </a:cubicBezTo>
                <a:cubicBezTo>
                  <a:pt x="41" y="383"/>
                  <a:pt x="42" y="386"/>
                  <a:pt x="43" y="389"/>
                </a:cubicBezTo>
                <a:cubicBezTo>
                  <a:pt x="43" y="390"/>
                  <a:pt x="43" y="391"/>
                  <a:pt x="42" y="391"/>
                </a:cubicBezTo>
                <a:cubicBezTo>
                  <a:pt x="39" y="396"/>
                  <a:pt x="32" y="401"/>
                  <a:pt x="26" y="404"/>
                </a:cubicBezTo>
                <a:cubicBezTo>
                  <a:pt x="19" y="408"/>
                  <a:pt x="20" y="411"/>
                  <a:pt x="21" y="415"/>
                </a:cubicBezTo>
                <a:cubicBezTo>
                  <a:pt x="22" y="416"/>
                  <a:pt x="22" y="416"/>
                  <a:pt x="22" y="416"/>
                </a:cubicBezTo>
                <a:cubicBezTo>
                  <a:pt x="22" y="418"/>
                  <a:pt x="23" y="420"/>
                  <a:pt x="24" y="421"/>
                </a:cubicBezTo>
                <a:cubicBezTo>
                  <a:pt x="26" y="422"/>
                  <a:pt x="28" y="422"/>
                  <a:pt x="32" y="421"/>
                </a:cubicBezTo>
                <a:cubicBezTo>
                  <a:pt x="38" y="420"/>
                  <a:pt x="47" y="420"/>
                  <a:pt x="52" y="421"/>
                </a:cubicBezTo>
                <a:cubicBezTo>
                  <a:pt x="53" y="422"/>
                  <a:pt x="54" y="422"/>
                  <a:pt x="54" y="423"/>
                </a:cubicBezTo>
                <a:cubicBezTo>
                  <a:pt x="55" y="426"/>
                  <a:pt x="56" y="429"/>
                  <a:pt x="57" y="431"/>
                </a:cubicBezTo>
                <a:cubicBezTo>
                  <a:pt x="58" y="432"/>
                  <a:pt x="58" y="433"/>
                  <a:pt x="57" y="433"/>
                </a:cubicBezTo>
                <a:cubicBezTo>
                  <a:pt x="55" y="439"/>
                  <a:pt x="49" y="445"/>
                  <a:pt x="43" y="449"/>
                </a:cubicBezTo>
                <a:cubicBezTo>
                  <a:pt x="37" y="453"/>
                  <a:pt x="38" y="456"/>
                  <a:pt x="40" y="460"/>
                </a:cubicBezTo>
                <a:cubicBezTo>
                  <a:pt x="47" y="451"/>
                  <a:pt x="47" y="451"/>
                  <a:pt x="47" y="451"/>
                </a:cubicBezTo>
                <a:cubicBezTo>
                  <a:pt x="48" y="453"/>
                  <a:pt x="42" y="464"/>
                  <a:pt x="44" y="465"/>
                </a:cubicBezTo>
                <a:cubicBezTo>
                  <a:pt x="45" y="466"/>
                  <a:pt x="48" y="466"/>
                  <a:pt x="52" y="464"/>
                </a:cubicBezTo>
                <a:cubicBezTo>
                  <a:pt x="58" y="462"/>
                  <a:pt x="67" y="460"/>
                  <a:pt x="72" y="462"/>
                </a:cubicBezTo>
                <a:cubicBezTo>
                  <a:pt x="73" y="462"/>
                  <a:pt x="73" y="462"/>
                  <a:pt x="74" y="463"/>
                </a:cubicBezTo>
                <a:cubicBezTo>
                  <a:pt x="74" y="464"/>
                  <a:pt x="74" y="464"/>
                  <a:pt x="74" y="464"/>
                </a:cubicBezTo>
                <a:cubicBezTo>
                  <a:pt x="76" y="466"/>
                  <a:pt x="77" y="468"/>
                  <a:pt x="79" y="471"/>
                </a:cubicBezTo>
                <a:cubicBezTo>
                  <a:pt x="79" y="471"/>
                  <a:pt x="79" y="472"/>
                  <a:pt x="79" y="473"/>
                </a:cubicBezTo>
                <a:cubicBezTo>
                  <a:pt x="77" y="478"/>
                  <a:pt x="72" y="485"/>
                  <a:pt x="67" y="490"/>
                </a:cubicBezTo>
                <a:cubicBezTo>
                  <a:pt x="62" y="495"/>
                  <a:pt x="63" y="498"/>
                  <a:pt x="66" y="501"/>
                </a:cubicBezTo>
                <a:cubicBezTo>
                  <a:pt x="67" y="502"/>
                  <a:pt x="67" y="502"/>
                  <a:pt x="67" y="502"/>
                </a:cubicBezTo>
                <a:cubicBezTo>
                  <a:pt x="68" y="503"/>
                  <a:pt x="68" y="505"/>
                  <a:pt x="70" y="505"/>
                </a:cubicBezTo>
                <a:cubicBezTo>
                  <a:pt x="70" y="506"/>
                  <a:pt x="72" y="507"/>
                  <a:pt x="78" y="504"/>
                </a:cubicBezTo>
                <a:cubicBezTo>
                  <a:pt x="84" y="501"/>
                  <a:pt x="92" y="498"/>
                  <a:pt x="98" y="498"/>
                </a:cubicBezTo>
                <a:cubicBezTo>
                  <a:pt x="98" y="498"/>
                  <a:pt x="99" y="498"/>
                  <a:pt x="100" y="499"/>
                </a:cubicBezTo>
                <a:cubicBezTo>
                  <a:pt x="102" y="501"/>
                  <a:pt x="104" y="504"/>
                  <a:pt x="106" y="506"/>
                </a:cubicBezTo>
                <a:cubicBezTo>
                  <a:pt x="106" y="506"/>
                  <a:pt x="106" y="507"/>
                  <a:pt x="106" y="508"/>
                </a:cubicBezTo>
                <a:cubicBezTo>
                  <a:pt x="106" y="513"/>
                  <a:pt x="101" y="521"/>
                  <a:pt x="98" y="527"/>
                </a:cubicBezTo>
                <a:cubicBezTo>
                  <a:pt x="93" y="533"/>
                  <a:pt x="95" y="535"/>
                  <a:pt x="98" y="538"/>
                </a:cubicBezTo>
                <a:cubicBezTo>
                  <a:pt x="99" y="539"/>
                  <a:pt x="99" y="539"/>
                  <a:pt x="99" y="539"/>
                </a:cubicBezTo>
                <a:cubicBezTo>
                  <a:pt x="100" y="540"/>
                  <a:pt x="100" y="541"/>
                  <a:pt x="101" y="541"/>
                </a:cubicBezTo>
                <a:cubicBezTo>
                  <a:pt x="102" y="542"/>
                  <a:pt x="105" y="543"/>
                  <a:pt x="110" y="539"/>
                </a:cubicBezTo>
                <a:cubicBezTo>
                  <a:pt x="116" y="535"/>
                  <a:pt x="123" y="531"/>
                  <a:pt x="129" y="530"/>
                </a:cubicBezTo>
                <a:cubicBezTo>
                  <a:pt x="129" y="530"/>
                  <a:pt x="130" y="530"/>
                  <a:pt x="131" y="530"/>
                </a:cubicBezTo>
                <a:close/>
                <a:moveTo>
                  <a:pt x="177" y="536"/>
                </a:moveTo>
                <a:cubicBezTo>
                  <a:pt x="127" y="504"/>
                  <a:pt x="89" y="455"/>
                  <a:pt x="70" y="399"/>
                </a:cubicBezTo>
                <a:cubicBezTo>
                  <a:pt x="25" y="263"/>
                  <a:pt x="98" y="115"/>
                  <a:pt x="234" y="70"/>
                </a:cubicBezTo>
                <a:cubicBezTo>
                  <a:pt x="309" y="45"/>
                  <a:pt x="390" y="55"/>
                  <a:pt x="456" y="97"/>
                </a:cubicBezTo>
                <a:cubicBezTo>
                  <a:pt x="506" y="129"/>
                  <a:pt x="544" y="178"/>
                  <a:pt x="563" y="234"/>
                </a:cubicBezTo>
                <a:cubicBezTo>
                  <a:pt x="585" y="300"/>
                  <a:pt x="580" y="370"/>
                  <a:pt x="549" y="432"/>
                </a:cubicBezTo>
                <a:cubicBezTo>
                  <a:pt x="518" y="495"/>
                  <a:pt x="465" y="541"/>
                  <a:pt x="399" y="563"/>
                </a:cubicBezTo>
                <a:cubicBezTo>
                  <a:pt x="324" y="588"/>
                  <a:pt x="243" y="578"/>
                  <a:pt x="177" y="536"/>
                </a:cubicBezTo>
                <a:close/>
                <a:moveTo>
                  <a:pt x="454" y="101"/>
                </a:moveTo>
                <a:cubicBezTo>
                  <a:pt x="388" y="60"/>
                  <a:pt x="309" y="50"/>
                  <a:pt x="236" y="75"/>
                </a:cubicBezTo>
                <a:cubicBezTo>
                  <a:pt x="102" y="119"/>
                  <a:pt x="30" y="264"/>
                  <a:pt x="75" y="397"/>
                </a:cubicBezTo>
                <a:cubicBezTo>
                  <a:pt x="93" y="453"/>
                  <a:pt x="131" y="500"/>
                  <a:pt x="180" y="531"/>
                </a:cubicBezTo>
                <a:cubicBezTo>
                  <a:pt x="245" y="573"/>
                  <a:pt x="324" y="583"/>
                  <a:pt x="397" y="558"/>
                </a:cubicBezTo>
                <a:cubicBezTo>
                  <a:pt x="462" y="537"/>
                  <a:pt x="514" y="491"/>
                  <a:pt x="545" y="430"/>
                </a:cubicBezTo>
                <a:cubicBezTo>
                  <a:pt x="575" y="369"/>
                  <a:pt x="580" y="300"/>
                  <a:pt x="558" y="236"/>
                </a:cubicBezTo>
                <a:cubicBezTo>
                  <a:pt x="540" y="180"/>
                  <a:pt x="503" y="133"/>
                  <a:pt x="454" y="101"/>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9" name="Freeform 996">
            <a:extLst>
              <a:ext uri="{FF2B5EF4-FFF2-40B4-BE49-F238E27FC236}">
                <a16:creationId xmlns:a16="http://schemas.microsoft.com/office/drawing/2014/main" id="{8669AE19-0039-457A-AB20-620A47A2965A}"/>
              </a:ext>
            </a:extLst>
          </p:cNvPr>
          <p:cNvSpPr>
            <a:spLocks noEditPoints="1"/>
          </p:cNvSpPr>
          <p:nvPr/>
        </p:nvSpPr>
        <p:spPr bwMode="auto">
          <a:xfrm>
            <a:off x="5156228" y="1493520"/>
            <a:ext cx="1297992" cy="1290860"/>
          </a:xfrm>
          <a:custGeom>
            <a:avLst/>
            <a:gdLst>
              <a:gd name="T0" fmla="*/ 438 w 472"/>
              <a:gd name="T1" fmla="*/ 343 h 471"/>
              <a:gd name="T2" fmla="*/ 436 w 472"/>
              <a:gd name="T3" fmla="*/ 312 h 471"/>
              <a:gd name="T4" fmla="*/ 452 w 472"/>
              <a:gd name="T5" fmla="*/ 295 h 471"/>
              <a:gd name="T6" fmla="*/ 469 w 472"/>
              <a:gd name="T7" fmla="*/ 269 h 471"/>
              <a:gd name="T8" fmla="*/ 451 w 472"/>
              <a:gd name="T9" fmla="*/ 245 h 471"/>
              <a:gd name="T10" fmla="*/ 450 w 472"/>
              <a:gd name="T11" fmla="*/ 220 h 471"/>
              <a:gd name="T12" fmla="*/ 466 w 472"/>
              <a:gd name="T13" fmla="*/ 192 h 471"/>
              <a:gd name="T14" fmla="*/ 459 w 472"/>
              <a:gd name="T15" fmla="*/ 161 h 471"/>
              <a:gd name="T16" fmla="*/ 432 w 472"/>
              <a:gd name="T17" fmla="*/ 147 h 471"/>
              <a:gd name="T18" fmla="*/ 420 w 472"/>
              <a:gd name="T19" fmla="*/ 124 h 471"/>
              <a:gd name="T20" fmla="*/ 423 w 472"/>
              <a:gd name="T21" fmla="*/ 92 h 471"/>
              <a:gd name="T22" fmla="*/ 401 w 472"/>
              <a:gd name="T23" fmla="*/ 67 h 471"/>
              <a:gd name="T24" fmla="*/ 370 w 472"/>
              <a:gd name="T25" fmla="*/ 67 h 471"/>
              <a:gd name="T26" fmla="*/ 349 w 472"/>
              <a:gd name="T27" fmla="*/ 53 h 471"/>
              <a:gd name="T28" fmla="*/ 332 w 472"/>
              <a:gd name="T29" fmla="*/ 27 h 471"/>
              <a:gd name="T30" fmla="*/ 310 w 472"/>
              <a:gd name="T31" fmla="*/ 12 h 471"/>
              <a:gd name="T32" fmla="*/ 279 w 472"/>
              <a:gd name="T33" fmla="*/ 25 h 471"/>
              <a:gd name="T34" fmla="*/ 254 w 472"/>
              <a:gd name="T35" fmla="*/ 21 h 471"/>
              <a:gd name="T36" fmla="*/ 227 w 472"/>
              <a:gd name="T37" fmla="*/ 6 h 471"/>
              <a:gd name="T38" fmla="*/ 202 w 472"/>
              <a:gd name="T39" fmla="*/ 3 h 471"/>
              <a:gd name="T40" fmla="*/ 179 w 472"/>
              <a:gd name="T41" fmla="*/ 28 h 471"/>
              <a:gd name="T42" fmla="*/ 156 w 472"/>
              <a:gd name="T43" fmla="*/ 35 h 471"/>
              <a:gd name="T44" fmla="*/ 127 w 472"/>
              <a:gd name="T45" fmla="*/ 26 h 471"/>
              <a:gd name="T46" fmla="*/ 105 w 472"/>
              <a:gd name="T47" fmla="*/ 47 h 471"/>
              <a:gd name="T48" fmla="*/ 93 w 472"/>
              <a:gd name="T49" fmla="*/ 76 h 471"/>
              <a:gd name="T50" fmla="*/ 68 w 472"/>
              <a:gd name="T51" fmla="*/ 79 h 471"/>
              <a:gd name="T52" fmla="*/ 44 w 472"/>
              <a:gd name="T53" fmla="*/ 99 h 471"/>
              <a:gd name="T54" fmla="*/ 34 w 472"/>
              <a:gd name="T55" fmla="*/ 127 h 471"/>
              <a:gd name="T56" fmla="*/ 36 w 472"/>
              <a:gd name="T57" fmla="*/ 158 h 471"/>
              <a:gd name="T58" fmla="*/ 20 w 472"/>
              <a:gd name="T59" fmla="*/ 175 h 471"/>
              <a:gd name="T60" fmla="*/ 3 w 472"/>
              <a:gd name="T61" fmla="*/ 201 h 471"/>
              <a:gd name="T62" fmla="*/ 21 w 472"/>
              <a:gd name="T63" fmla="*/ 225 h 471"/>
              <a:gd name="T64" fmla="*/ 22 w 472"/>
              <a:gd name="T65" fmla="*/ 250 h 471"/>
              <a:gd name="T66" fmla="*/ 6 w 472"/>
              <a:gd name="T67" fmla="*/ 279 h 471"/>
              <a:gd name="T68" fmla="*/ 12 w 472"/>
              <a:gd name="T69" fmla="*/ 309 h 471"/>
              <a:gd name="T70" fmla="*/ 40 w 472"/>
              <a:gd name="T71" fmla="*/ 324 h 471"/>
              <a:gd name="T72" fmla="*/ 52 w 472"/>
              <a:gd name="T73" fmla="*/ 346 h 471"/>
              <a:gd name="T74" fmla="*/ 49 w 472"/>
              <a:gd name="T75" fmla="*/ 378 h 471"/>
              <a:gd name="T76" fmla="*/ 70 w 472"/>
              <a:gd name="T77" fmla="*/ 403 h 471"/>
              <a:gd name="T78" fmla="*/ 101 w 472"/>
              <a:gd name="T79" fmla="*/ 402 h 471"/>
              <a:gd name="T80" fmla="*/ 121 w 472"/>
              <a:gd name="T81" fmla="*/ 417 h 471"/>
              <a:gd name="T82" fmla="*/ 130 w 472"/>
              <a:gd name="T83" fmla="*/ 446 h 471"/>
              <a:gd name="T84" fmla="*/ 160 w 472"/>
              <a:gd name="T85" fmla="*/ 436 h 471"/>
              <a:gd name="T86" fmla="*/ 184 w 472"/>
              <a:gd name="T87" fmla="*/ 443 h 471"/>
              <a:gd name="T88" fmla="*/ 208 w 472"/>
              <a:gd name="T89" fmla="*/ 463 h 471"/>
              <a:gd name="T90" fmla="*/ 237 w 472"/>
              <a:gd name="T91" fmla="*/ 471 h 471"/>
              <a:gd name="T92" fmla="*/ 259 w 472"/>
              <a:gd name="T93" fmla="*/ 449 h 471"/>
              <a:gd name="T94" fmla="*/ 284 w 472"/>
              <a:gd name="T95" fmla="*/ 444 h 471"/>
              <a:gd name="T96" fmla="*/ 315 w 472"/>
              <a:gd name="T97" fmla="*/ 451 h 471"/>
              <a:gd name="T98" fmla="*/ 344 w 472"/>
              <a:gd name="T99" fmla="*/ 444 h 471"/>
              <a:gd name="T100" fmla="*/ 367 w 472"/>
              <a:gd name="T101" fmla="*/ 424 h 471"/>
              <a:gd name="T102" fmla="*/ 379 w 472"/>
              <a:gd name="T103" fmla="*/ 395 h 471"/>
              <a:gd name="T104" fmla="*/ 404 w 472"/>
              <a:gd name="T105" fmla="*/ 391 h 471"/>
              <a:gd name="T106" fmla="*/ 428 w 472"/>
              <a:gd name="T107" fmla="*/ 371 h 471"/>
              <a:gd name="T108" fmla="*/ 419 w 472"/>
              <a:gd name="T109" fmla="*/ 17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71">
                <a:moveTo>
                  <a:pt x="427" y="363"/>
                </a:moveTo>
                <a:cubicBezTo>
                  <a:pt x="423" y="359"/>
                  <a:pt x="419" y="354"/>
                  <a:pt x="418" y="350"/>
                </a:cubicBezTo>
                <a:cubicBezTo>
                  <a:pt x="417" y="350"/>
                  <a:pt x="418" y="349"/>
                  <a:pt x="418" y="349"/>
                </a:cubicBezTo>
                <a:cubicBezTo>
                  <a:pt x="419" y="347"/>
                  <a:pt x="420" y="345"/>
                  <a:pt x="421" y="343"/>
                </a:cubicBezTo>
                <a:cubicBezTo>
                  <a:pt x="421" y="343"/>
                  <a:pt x="421" y="343"/>
                  <a:pt x="421" y="343"/>
                </a:cubicBezTo>
                <a:cubicBezTo>
                  <a:pt x="422" y="342"/>
                  <a:pt x="422" y="342"/>
                  <a:pt x="423" y="342"/>
                </a:cubicBezTo>
                <a:cubicBezTo>
                  <a:pt x="427" y="341"/>
                  <a:pt x="433" y="342"/>
                  <a:pt x="438" y="343"/>
                </a:cubicBezTo>
                <a:cubicBezTo>
                  <a:pt x="444" y="346"/>
                  <a:pt x="445" y="343"/>
                  <a:pt x="446" y="341"/>
                </a:cubicBezTo>
                <a:cubicBezTo>
                  <a:pt x="447" y="340"/>
                  <a:pt x="447" y="340"/>
                  <a:pt x="447" y="340"/>
                </a:cubicBezTo>
                <a:cubicBezTo>
                  <a:pt x="448" y="337"/>
                  <a:pt x="449" y="335"/>
                  <a:pt x="444" y="332"/>
                </a:cubicBezTo>
                <a:cubicBezTo>
                  <a:pt x="440" y="329"/>
                  <a:pt x="435" y="324"/>
                  <a:pt x="433" y="320"/>
                </a:cubicBezTo>
                <a:cubicBezTo>
                  <a:pt x="433" y="320"/>
                  <a:pt x="433" y="319"/>
                  <a:pt x="433" y="319"/>
                </a:cubicBezTo>
                <a:cubicBezTo>
                  <a:pt x="434" y="318"/>
                  <a:pt x="434" y="318"/>
                  <a:pt x="434" y="318"/>
                </a:cubicBezTo>
                <a:cubicBezTo>
                  <a:pt x="434" y="316"/>
                  <a:pt x="435" y="314"/>
                  <a:pt x="436" y="312"/>
                </a:cubicBezTo>
                <a:cubicBezTo>
                  <a:pt x="436" y="312"/>
                  <a:pt x="437" y="311"/>
                  <a:pt x="437" y="311"/>
                </a:cubicBezTo>
                <a:cubicBezTo>
                  <a:pt x="441" y="310"/>
                  <a:pt x="448" y="310"/>
                  <a:pt x="453" y="311"/>
                </a:cubicBezTo>
                <a:cubicBezTo>
                  <a:pt x="459" y="312"/>
                  <a:pt x="459" y="309"/>
                  <a:pt x="460" y="306"/>
                </a:cubicBezTo>
                <a:cubicBezTo>
                  <a:pt x="461" y="305"/>
                  <a:pt x="461" y="305"/>
                  <a:pt x="461" y="305"/>
                </a:cubicBezTo>
                <a:cubicBezTo>
                  <a:pt x="461" y="303"/>
                  <a:pt x="462" y="301"/>
                  <a:pt x="459" y="299"/>
                </a:cubicBezTo>
                <a:cubicBezTo>
                  <a:pt x="458" y="298"/>
                  <a:pt x="457" y="298"/>
                  <a:pt x="457" y="298"/>
                </a:cubicBezTo>
                <a:cubicBezTo>
                  <a:pt x="455" y="297"/>
                  <a:pt x="454" y="296"/>
                  <a:pt x="452" y="295"/>
                </a:cubicBezTo>
                <a:cubicBezTo>
                  <a:pt x="449" y="293"/>
                  <a:pt x="446" y="291"/>
                  <a:pt x="444" y="288"/>
                </a:cubicBezTo>
                <a:cubicBezTo>
                  <a:pt x="444" y="288"/>
                  <a:pt x="444" y="287"/>
                  <a:pt x="444" y="287"/>
                </a:cubicBezTo>
                <a:cubicBezTo>
                  <a:pt x="445" y="284"/>
                  <a:pt x="445" y="282"/>
                  <a:pt x="446" y="280"/>
                </a:cubicBezTo>
                <a:cubicBezTo>
                  <a:pt x="446" y="279"/>
                  <a:pt x="446" y="279"/>
                  <a:pt x="446" y="279"/>
                </a:cubicBezTo>
                <a:cubicBezTo>
                  <a:pt x="450" y="277"/>
                  <a:pt x="457" y="276"/>
                  <a:pt x="462" y="276"/>
                </a:cubicBezTo>
                <a:cubicBezTo>
                  <a:pt x="468" y="276"/>
                  <a:pt x="468" y="273"/>
                  <a:pt x="469" y="270"/>
                </a:cubicBezTo>
                <a:cubicBezTo>
                  <a:pt x="469" y="269"/>
                  <a:pt x="469" y="269"/>
                  <a:pt x="469" y="269"/>
                </a:cubicBezTo>
                <a:cubicBezTo>
                  <a:pt x="469" y="267"/>
                  <a:pt x="469" y="265"/>
                  <a:pt x="467" y="264"/>
                </a:cubicBezTo>
                <a:cubicBezTo>
                  <a:pt x="466" y="263"/>
                  <a:pt x="465" y="263"/>
                  <a:pt x="464" y="262"/>
                </a:cubicBezTo>
                <a:cubicBezTo>
                  <a:pt x="460" y="261"/>
                  <a:pt x="456" y="260"/>
                  <a:pt x="453" y="258"/>
                </a:cubicBezTo>
                <a:cubicBezTo>
                  <a:pt x="452" y="257"/>
                  <a:pt x="451" y="256"/>
                  <a:pt x="450" y="255"/>
                </a:cubicBezTo>
                <a:cubicBezTo>
                  <a:pt x="450" y="255"/>
                  <a:pt x="449" y="254"/>
                  <a:pt x="450" y="254"/>
                </a:cubicBezTo>
                <a:cubicBezTo>
                  <a:pt x="450" y="251"/>
                  <a:pt x="450" y="249"/>
                  <a:pt x="450" y="247"/>
                </a:cubicBezTo>
                <a:cubicBezTo>
                  <a:pt x="450" y="246"/>
                  <a:pt x="450" y="246"/>
                  <a:pt x="451" y="245"/>
                </a:cubicBezTo>
                <a:cubicBezTo>
                  <a:pt x="454" y="243"/>
                  <a:pt x="460" y="241"/>
                  <a:pt x="465" y="240"/>
                </a:cubicBezTo>
                <a:cubicBezTo>
                  <a:pt x="472" y="239"/>
                  <a:pt x="471" y="237"/>
                  <a:pt x="471" y="234"/>
                </a:cubicBezTo>
                <a:cubicBezTo>
                  <a:pt x="471" y="233"/>
                  <a:pt x="471" y="233"/>
                  <a:pt x="471" y="233"/>
                </a:cubicBezTo>
                <a:cubicBezTo>
                  <a:pt x="471" y="230"/>
                  <a:pt x="471" y="229"/>
                  <a:pt x="470" y="228"/>
                </a:cubicBezTo>
                <a:cubicBezTo>
                  <a:pt x="469" y="227"/>
                  <a:pt x="467" y="227"/>
                  <a:pt x="465" y="226"/>
                </a:cubicBezTo>
                <a:cubicBezTo>
                  <a:pt x="459" y="225"/>
                  <a:pt x="453" y="224"/>
                  <a:pt x="451" y="221"/>
                </a:cubicBezTo>
                <a:cubicBezTo>
                  <a:pt x="450" y="221"/>
                  <a:pt x="450" y="221"/>
                  <a:pt x="450" y="220"/>
                </a:cubicBezTo>
                <a:cubicBezTo>
                  <a:pt x="450" y="218"/>
                  <a:pt x="449" y="216"/>
                  <a:pt x="449" y="214"/>
                </a:cubicBezTo>
                <a:cubicBezTo>
                  <a:pt x="449" y="213"/>
                  <a:pt x="449" y="213"/>
                  <a:pt x="449" y="213"/>
                </a:cubicBezTo>
                <a:cubicBezTo>
                  <a:pt x="449" y="212"/>
                  <a:pt x="449" y="212"/>
                  <a:pt x="450" y="211"/>
                </a:cubicBezTo>
                <a:cubicBezTo>
                  <a:pt x="452" y="208"/>
                  <a:pt x="459" y="205"/>
                  <a:pt x="463" y="204"/>
                </a:cubicBezTo>
                <a:cubicBezTo>
                  <a:pt x="469" y="202"/>
                  <a:pt x="469" y="200"/>
                  <a:pt x="468" y="197"/>
                </a:cubicBezTo>
                <a:cubicBezTo>
                  <a:pt x="468" y="196"/>
                  <a:pt x="468" y="196"/>
                  <a:pt x="468" y="196"/>
                </a:cubicBezTo>
                <a:cubicBezTo>
                  <a:pt x="468" y="194"/>
                  <a:pt x="467" y="192"/>
                  <a:pt x="466" y="192"/>
                </a:cubicBezTo>
                <a:cubicBezTo>
                  <a:pt x="465" y="191"/>
                  <a:pt x="463" y="191"/>
                  <a:pt x="461" y="191"/>
                </a:cubicBezTo>
                <a:cubicBezTo>
                  <a:pt x="456" y="191"/>
                  <a:pt x="449" y="190"/>
                  <a:pt x="446" y="188"/>
                </a:cubicBezTo>
                <a:cubicBezTo>
                  <a:pt x="445" y="188"/>
                  <a:pt x="445" y="187"/>
                  <a:pt x="445" y="187"/>
                </a:cubicBezTo>
                <a:cubicBezTo>
                  <a:pt x="444" y="184"/>
                  <a:pt x="444" y="182"/>
                  <a:pt x="443" y="180"/>
                </a:cubicBezTo>
                <a:cubicBezTo>
                  <a:pt x="443" y="179"/>
                  <a:pt x="443" y="179"/>
                  <a:pt x="443" y="178"/>
                </a:cubicBezTo>
                <a:cubicBezTo>
                  <a:pt x="446" y="175"/>
                  <a:pt x="451" y="171"/>
                  <a:pt x="456" y="169"/>
                </a:cubicBezTo>
                <a:cubicBezTo>
                  <a:pt x="461" y="166"/>
                  <a:pt x="460" y="164"/>
                  <a:pt x="459" y="161"/>
                </a:cubicBezTo>
                <a:cubicBezTo>
                  <a:pt x="459" y="160"/>
                  <a:pt x="459" y="160"/>
                  <a:pt x="459" y="160"/>
                </a:cubicBezTo>
                <a:cubicBezTo>
                  <a:pt x="459" y="159"/>
                  <a:pt x="458" y="157"/>
                  <a:pt x="457" y="156"/>
                </a:cubicBezTo>
                <a:cubicBezTo>
                  <a:pt x="456" y="156"/>
                  <a:pt x="454" y="155"/>
                  <a:pt x="451" y="156"/>
                </a:cubicBezTo>
                <a:cubicBezTo>
                  <a:pt x="446" y="157"/>
                  <a:pt x="440" y="157"/>
                  <a:pt x="436" y="156"/>
                </a:cubicBezTo>
                <a:cubicBezTo>
                  <a:pt x="435" y="155"/>
                  <a:pt x="435" y="155"/>
                  <a:pt x="435" y="155"/>
                </a:cubicBezTo>
                <a:cubicBezTo>
                  <a:pt x="434" y="152"/>
                  <a:pt x="433" y="150"/>
                  <a:pt x="432" y="148"/>
                </a:cubicBezTo>
                <a:cubicBezTo>
                  <a:pt x="432" y="148"/>
                  <a:pt x="432" y="147"/>
                  <a:pt x="432" y="147"/>
                </a:cubicBezTo>
                <a:cubicBezTo>
                  <a:pt x="434" y="143"/>
                  <a:pt x="438" y="138"/>
                  <a:pt x="443" y="135"/>
                </a:cubicBezTo>
                <a:cubicBezTo>
                  <a:pt x="448" y="132"/>
                  <a:pt x="446" y="129"/>
                  <a:pt x="445" y="127"/>
                </a:cubicBezTo>
                <a:cubicBezTo>
                  <a:pt x="445" y="126"/>
                  <a:pt x="445" y="126"/>
                  <a:pt x="445" y="126"/>
                </a:cubicBezTo>
                <a:cubicBezTo>
                  <a:pt x="444" y="125"/>
                  <a:pt x="443" y="124"/>
                  <a:pt x="442" y="123"/>
                </a:cubicBezTo>
                <a:cubicBezTo>
                  <a:pt x="441" y="122"/>
                  <a:pt x="439" y="122"/>
                  <a:pt x="436" y="123"/>
                </a:cubicBezTo>
                <a:cubicBezTo>
                  <a:pt x="432" y="125"/>
                  <a:pt x="425" y="126"/>
                  <a:pt x="421" y="125"/>
                </a:cubicBezTo>
                <a:cubicBezTo>
                  <a:pt x="420" y="125"/>
                  <a:pt x="420" y="125"/>
                  <a:pt x="420" y="124"/>
                </a:cubicBezTo>
                <a:cubicBezTo>
                  <a:pt x="419" y="123"/>
                  <a:pt x="419" y="123"/>
                  <a:pt x="419" y="123"/>
                </a:cubicBezTo>
                <a:cubicBezTo>
                  <a:pt x="418" y="122"/>
                  <a:pt x="417" y="120"/>
                  <a:pt x="416" y="118"/>
                </a:cubicBezTo>
                <a:cubicBezTo>
                  <a:pt x="416" y="118"/>
                  <a:pt x="415" y="117"/>
                  <a:pt x="416" y="117"/>
                </a:cubicBezTo>
                <a:cubicBezTo>
                  <a:pt x="417" y="113"/>
                  <a:pt x="421" y="108"/>
                  <a:pt x="424" y="104"/>
                </a:cubicBezTo>
                <a:cubicBezTo>
                  <a:pt x="429" y="100"/>
                  <a:pt x="427" y="98"/>
                  <a:pt x="426" y="95"/>
                </a:cubicBezTo>
                <a:cubicBezTo>
                  <a:pt x="425" y="95"/>
                  <a:pt x="425" y="95"/>
                  <a:pt x="425" y="95"/>
                </a:cubicBezTo>
                <a:cubicBezTo>
                  <a:pt x="424" y="94"/>
                  <a:pt x="424" y="93"/>
                  <a:pt x="423" y="92"/>
                </a:cubicBezTo>
                <a:cubicBezTo>
                  <a:pt x="422" y="92"/>
                  <a:pt x="421" y="91"/>
                  <a:pt x="416" y="93"/>
                </a:cubicBezTo>
                <a:cubicBezTo>
                  <a:pt x="412" y="96"/>
                  <a:pt x="406" y="98"/>
                  <a:pt x="401" y="98"/>
                </a:cubicBezTo>
                <a:cubicBezTo>
                  <a:pt x="401" y="98"/>
                  <a:pt x="400" y="98"/>
                  <a:pt x="400" y="97"/>
                </a:cubicBezTo>
                <a:cubicBezTo>
                  <a:pt x="398" y="95"/>
                  <a:pt x="397" y="94"/>
                  <a:pt x="395" y="92"/>
                </a:cubicBezTo>
                <a:cubicBezTo>
                  <a:pt x="395" y="91"/>
                  <a:pt x="395" y="91"/>
                  <a:pt x="395" y="90"/>
                </a:cubicBezTo>
                <a:cubicBezTo>
                  <a:pt x="395" y="86"/>
                  <a:pt x="399" y="80"/>
                  <a:pt x="401" y="76"/>
                </a:cubicBezTo>
                <a:cubicBezTo>
                  <a:pt x="405" y="71"/>
                  <a:pt x="404" y="70"/>
                  <a:pt x="401" y="67"/>
                </a:cubicBezTo>
                <a:cubicBezTo>
                  <a:pt x="401" y="67"/>
                  <a:pt x="401" y="67"/>
                  <a:pt x="401" y="67"/>
                </a:cubicBezTo>
                <a:cubicBezTo>
                  <a:pt x="400" y="66"/>
                  <a:pt x="399" y="66"/>
                  <a:pt x="399" y="65"/>
                </a:cubicBezTo>
                <a:cubicBezTo>
                  <a:pt x="398" y="65"/>
                  <a:pt x="396" y="63"/>
                  <a:pt x="392" y="67"/>
                </a:cubicBezTo>
                <a:cubicBezTo>
                  <a:pt x="388" y="70"/>
                  <a:pt x="382" y="73"/>
                  <a:pt x="378" y="74"/>
                </a:cubicBezTo>
                <a:cubicBezTo>
                  <a:pt x="377" y="74"/>
                  <a:pt x="377" y="73"/>
                  <a:pt x="376" y="73"/>
                </a:cubicBezTo>
                <a:cubicBezTo>
                  <a:pt x="375" y="72"/>
                  <a:pt x="373" y="70"/>
                  <a:pt x="371" y="69"/>
                </a:cubicBezTo>
                <a:cubicBezTo>
                  <a:pt x="371" y="68"/>
                  <a:pt x="370" y="68"/>
                  <a:pt x="370" y="67"/>
                </a:cubicBezTo>
                <a:cubicBezTo>
                  <a:pt x="370" y="63"/>
                  <a:pt x="372" y="57"/>
                  <a:pt x="375" y="52"/>
                </a:cubicBezTo>
                <a:cubicBezTo>
                  <a:pt x="378" y="47"/>
                  <a:pt x="376" y="45"/>
                  <a:pt x="373" y="44"/>
                </a:cubicBezTo>
                <a:cubicBezTo>
                  <a:pt x="372" y="43"/>
                  <a:pt x="372" y="43"/>
                  <a:pt x="372" y="43"/>
                </a:cubicBezTo>
                <a:cubicBezTo>
                  <a:pt x="372" y="43"/>
                  <a:pt x="371" y="42"/>
                  <a:pt x="371" y="42"/>
                </a:cubicBezTo>
                <a:cubicBezTo>
                  <a:pt x="370" y="41"/>
                  <a:pt x="368" y="40"/>
                  <a:pt x="364" y="44"/>
                </a:cubicBezTo>
                <a:cubicBezTo>
                  <a:pt x="360" y="48"/>
                  <a:pt x="355" y="52"/>
                  <a:pt x="351" y="53"/>
                </a:cubicBezTo>
                <a:cubicBezTo>
                  <a:pt x="350" y="53"/>
                  <a:pt x="350" y="53"/>
                  <a:pt x="349" y="53"/>
                </a:cubicBezTo>
                <a:cubicBezTo>
                  <a:pt x="347" y="52"/>
                  <a:pt x="345" y="51"/>
                  <a:pt x="343" y="50"/>
                </a:cubicBezTo>
                <a:cubicBezTo>
                  <a:pt x="343" y="49"/>
                  <a:pt x="343" y="49"/>
                  <a:pt x="342" y="48"/>
                </a:cubicBezTo>
                <a:cubicBezTo>
                  <a:pt x="342" y="44"/>
                  <a:pt x="343" y="38"/>
                  <a:pt x="344" y="33"/>
                </a:cubicBezTo>
                <a:cubicBezTo>
                  <a:pt x="346" y="27"/>
                  <a:pt x="344" y="26"/>
                  <a:pt x="343" y="25"/>
                </a:cubicBezTo>
                <a:cubicBezTo>
                  <a:pt x="343" y="25"/>
                  <a:pt x="342" y="25"/>
                  <a:pt x="341" y="25"/>
                </a:cubicBezTo>
                <a:cubicBezTo>
                  <a:pt x="341" y="24"/>
                  <a:pt x="341" y="24"/>
                  <a:pt x="341" y="24"/>
                </a:cubicBezTo>
                <a:cubicBezTo>
                  <a:pt x="338" y="23"/>
                  <a:pt x="336" y="22"/>
                  <a:pt x="332" y="27"/>
                </a:cubicBezTo>
                <a:cubicBezTo>
                  <a:pt x="329" y="31"/>
                  <a:pt x="325" y="36"/>
                  <a:pt x="321" y="38"/>
                </a:cubicBezTo>
                <a:cubicBezTo>
                  <a:pt x="320" y="38"/>
                  <a:pt x="320" y="38"/>
                  <a:pt x="319" y="38"/>
                </a:cubicBezTo>
                <a:cubicBezTo>
                  <a:pt x="318" y="37"/>
                  <a:pt x="318" y="37"/>
                  <a:pt x="318" y="37"/>
                </a:cubicBezTo>
                <a:cubicBezTo>
                  <a:pt x="316" y="36"/>
                  <a:pt x="315" y="36"/>
                  <a:pt x="313" y="35"/>
                </a:cubicBezTo>
                <a:cubicBezTo>
                  <a:pt x="312" y="35"/>
                  <a:pt x="312" y="34"/>
                  <a:pt x="312" y="34"/>
                </a:cubicBezTo>
                <a:cubicBezTo>
                  <a:pt x="310" y="30"/>
                  <a:pt x="311" y="23"/>
                  <a:pt x="311" y="18"/>
                </a:cubicBezTo>
                <a:cubicBezTo>
                  <a:pt x="312" y="13"/>
                  <a:pt x="310" y="12"/>
                  <a:pt x="310" y="12"/>
                </a:cubicBezTo>
                <a:cubicBezTo>
                  <a:pt x="309" y="11"/>
                  <a:pt x="308" y="11"/>
                  <a:pt x="307" y="11"/>
                </a:cubicBezTo>
                <a:cubicBezTo>
                  <a:pt x="306" y="10"/>
                  <a:pt x="306" y="10"/>
                  <a:pt x="306" y="10"/>
                </a:cubicBezTo>
                <a:cubicBezTo>
                  <a:pt x="303" y="9"/>
                  <a:pt x="301" y="9"/>
                  <a:pt x="299" y="14"/>
                </a:cubicBezTo>
                <a:cubicBezTo>
                  <a:pt x="296" y="19"/>
                  <a:pt x="293" y="24"/>
                  <a:pt x="289" y="27"/>
                </a:cubicBezTo>
                <a:cubicBezTo>
                  <a:pt x="289" y="27"/>
                  <a:pt x="288" y="27"/>
                  <a:pt x="288" y="27"/>
                </a:cubicBezTo>
                <a:cubicBezTo>
                  <a:pt x="285" y="26"/>
                  <a:pt x="283" y="26"/>
                  <a:pt x="281" y="25"/>
                </a:cubicBezTo>
                <a:cubicBezTo>
                  <a:pt x="280" y="25"/>
                  <a:pt x="280" y="25"/>
                  <a:pt x="279" y="25"/>
                </a:cubicBezTo>
                <a:cubicBezTo>
                  <a:pt x="277" y="21"/>
                  <a:pt x="276" y="14"/>
                  <a:pt x="276" y="9"/>
                </a:cubicBezTo>
                <a:cubicBezTo>
                  <a:pt x="277" y="4"/>
                  <a:pt x="275" y="3"/>
                  <a:pt x="275" y="3"/>
                </a:cubicBezTo>
                <a:cubicBezTo>
                  <a:pt x="274" y="3"/>
                  <a:pt x="272" y="2"/>
                  <a:pt x="271" y="2"/>
                </a:cubicBezTo>
                <a:cubicBezTo>
                  <a:pt x="270" y="2"/>
                  <a:pt x="270" y="2"/>
                  <a:pt x="270" y="2"/>
                </a:cubicBezTo>
                <a:cubicBezTo>
                  <a:pt x="267" y="2"/>
                  <a:pt x="265" y="1"/>
                  <a:pt x="263" y="7"/>
                </a:cubicBezTo>
                <a:cubicBezTo>
                  <a:pt x="262" y="12"/>
                  <a:pt x="259" y="18"/>
                  <a:pt x="256" y="21"/>
                </a:cubicBezTo>
                <a:cubicBezTo>
                  <a:pt x="255" y="21"/>
                  <a:pt x="255" y="21"/>
                  <a:pt x="254" y="21"/>
                </a:cubicBezTo>
                <a:cubicBezTo>
                  <a:pt x="252" y="21"/>
                  <a:pt x="250" y="21"/>
                  <a:pt x="247" y="21"/>
                </a:cubicBezTo>
                <a:cubicBezTo>
                  <a:pt x="247" y="21"/>
                  <a:pt x="246" y="21"/>
                  <a:pt x="246" y="20"/>
                </a:cubicBezTo>
                <a:cubicBezTo>
                  <a:pt x="243" y="17"/>
                  <a:pt x="241" y="10"/>
                  <a:pt x="241" y="6"/>
                </a:cubicBezTo>
                <a:cubicBezTo>
                  <a:pt x="240" y="3"/>
                  <a:pt x="239" y="1"/>
                  <a:pt x="238" y="0"/>
                </a:cubicBezTo>
                <a:cubicBezTo>
                  <a:pt x="237" y="0"/>
                  <a:pt x="236" y="0"/>
                  <a:pt x="234" y="0"/>
                </a:cubicBezTo>
                <a:cubicBezTo>
                  <a:pt x="233" y="0"/>
                  <a:pt x="233" y="0"/>
                  <a:pt x="233" y="0"/>
                </a:cubicBezTo>
                <a:cubicBezTo>
                  <a:pt x="230" y="0"/>
                  <a:pt x="228" y="0"/>
                  <a:pt x="227" y="6"/>
                </a:cubicBezTo>
                <a:cubicBezTo>
                  <a:pt x="226" y="11"/>
                  <a:pt x="225" y="17"/>
                  <a:pt x="222" y="20"/>
                </a:cubicBezTo>
                <a:cubicBezTo>
                  <a:pt x="222" y="21"/>
                  <a:pt x="221" y="21"/>
                  <a:pt x="221" y="21"/>
                </a:cubicBezTo>
                <a:cubicBezTo>
                  <a:pt x="219" y="21"/>
                  <a:pt x="217" y="21"/>
                  <a:pt x="215" y="22"/>
                </a:cubicBezTo>
                <a:cubicBezTo>
                  <a:pt x="214" y="22"/>
                  <a:pt x="214" y="22"/>
                  <a:pt x="214" y="22"/>
                </a:cubicBezTo>
                <a:cubicBezTo>
                  <a:pt x="213" y="22"/>
                  <a:pt x="213" y="22"/>
                  <a:pt x="212" y="21"/>
                </a:cubicBezTo>
                <a:cubicBezTo>
                  <a:pt x="209" y="18"/>
                  <a:pt x="206" y="12"/>
                  <a:pt x="205" y="8"/>
                </a:cubicBezTo>
                <a:cubicBezTo>
                  <a:pt x="204" y="5"/>
                  <a:pt x="203" y="4"/>
                  <a:pt x="202" y="3"/>
                </a:cubicBezTo>
                <a:cubicBezTo>
                  <a:pt x="201" y="2"/>
                  <a:pt x="199" y="2"/>
                  <a:pt x="198" y="3"/>
                </a:cubicBezTo>
                <a:cubicBezTo>
                  <a:pt x="197" y="3"/>
                  <a:pt x="197" y="3"/>
                  <a:pt x="197" y="3"/>
                </a:cubicBezTo>
                <a:cubicBezTo>
                  <a:pt x="194" y="3"/>
                  <a:pt x="191" y="4"/>
                  <a:pt x="191" y="10"/>
                </a:cubicBezTo>
                <a:cubicBezTo>
                  <a:pt x="191" y="15"/>
                  <a:pt x="191" y="22"/>
                  <a:pt x="189" y="25"/>
                </a:cubicBezTo>
                <a:cubicBezTo>
                  <a:pt x="188" y="26"/>
                  <a:pt x="188" y="26"/>
                  <a:pt x="187" y="26"/>
                </a:cubicBezTo>
                <a:cubicBezTo>
                  <a:pt x="185" y="27"/>
                  <a:pt x="183" y="27"/>
                  <a:pt x="181" y="28"/>
                </a:cubicBezTo>
                <a:cubicBezTo>
                  <a:pt x="180" y="28"/>
                  <a:pt x="180" y="28"/>
                  <a:pt x="179" y="28"/>
                </a:cubicBezTo>
                <a:cubicBezTo>
                  <a:pt x="179" y="28"/>
                  <a:pt x="179" y="28"/>
                  <a:pt x="179" y="28"/>
                </a:cubicBezTo>
                <a:cubicBezTo>
                  <a:pt x="176" y="25"/>
                  <a:pt x="172" y="20"/>
                  <a:pt x="169" y="15"/>
                </a:cubicBezTo>
                <a:cubicBezTo>
                  <a:pt x="168" y="13"/>
                  <a:pt x="167" y="12"/>
                  <a:pt x="166" y="11"/>
                </a:cubicBezTo>
                <a:cubicBezTo>
                  <a:pt x="165" y="10"/>
                  <a:pt x="164" y="11"/>
                  <a:pt x="162" y="12"/>
                </a:cubicBezTo>
                <a:cubicBezTo>
                  <a:pt x="161" y="12"/>
                  <a:pt x="161" y="12"/>
                  <a:pt x="161" y="12"/>
                </a:cubicBezTo>
                <a:cubicBezTo>
                  <a:pt x="158" y="13"/>
                  <a:pt x="156" y="14"/>
                  <a:pt x="157" y="20"/>
                </a:cubicBezTo>
                <a:cubicBezTo>
                  <a:pt x="158" y="25"/>
                  <a:pt x="158" y="31"/>
                  <a:pt x="156" y="35"/>
                </a:cubicBezTo>
                <a:cubicBezTo>
                  <a:pt x="156" y="36"/>
                  <a:pt x="156" y="36"/>
                  <a:pt x="155" y="36"/>
                </a:cubicBezTo>
                <a:cubicBezTo>
                  <a:pt x="153" y="37"/>
                  <a:pt x="151" y="38"/>
                  <a:pt x="149" y="39"/>
                </a:cubicBezTo>
                <a:cubicBezTo>
                  <a:pt x="148" y="39"/>
                  <a:pt x="148" y="39"/>
                  <a:pt x="147" y="39"/>
                </a:cubicBezTo>
                <a:cubicBezTo>
                  <a:pt x="144" y="38"/>
                  <a:pt x="140" y="33"/>
                  <a:pt x="136" y="28"/>
                </a:cubicBezTo>
                <a:cubicBezTo>
                  <a:pt x="135" y="27"/>
                  <a:pt x="134" y="26"/>
                  <a:pt x="133" y="25"/>
                </a:cubicBezTo>
                <a:cubicBezTo>
                  <a:pt x="131" y="24"/>
                  <a:pt x="130" y="25"/>
                  <a:pt x="128" y="26"/>
                </a:cubicBezTo>
                <a:cubicBezTo>
                  <a:pt x="127" y="26"/>
                  <a:pt x="127" y="26"/>
                  <a:pt x="127" y="26"/>
                </a:cubicBezTo>
                <a:cubicBezTo>
                  <a:pt x="124" y="28"/>
                  <a:pt x="122" y="29"/>
                  <a:pt x="124" y="35"/>
                </a:cubicBezTo>
                <a:cubicBezTo>
                  <a:pt x="126" y="39"/>
                  <a:pt x="127" y="46"/>
                  <a:pt x="126" y="50"/>
                </a:cubicBezTo>
                <a:cubicBezTo>
                  <a:pt x="126" y="51"/>
                  <a:pt x="126" y="51"/>
                  <a:pt x="125" y="51"/>
                </a:cubicBezTo>
                <a:cubicBezTo>
                  <a:pt x="125" y="52"/>
                  <a:pt x="125" y="52"/>
                  <a:pt x="125" y="52"/>
                </a:cubicBezTo>
                <a:cubicBezTo>
                  <a:pt x="123" y="53"/>
                  <a:pt x="121" y="54"/>
                  <a:pt x="119" y="55"/>
                </a:cubicBezTo>
                <a:cubicBezTo>
                  <a:pt x="119" y="55"/>
                  <a:pt x="118" y="55"/>
                  <a:pt x="118" y="55"/>
                </a:cubicBezTo>
                <a:cubicBezTo>
                  <a:pt x="114" y="54"/>
                  <a:pt x="109" y="51"/>
                  <a:pt x="105" y="47"/>
                </a:cubicBezTo>
                <a:cubicBezTo>
                  <a:pt x="104" y="46"/>
                  <a:pt x="103" y="45"/>
                  <a:pt x="102" y="45"/>
                </a:cubicBezTo>
                <a:cubicBezTo>
                  <a:pt x="100" y="43"/>
                  <a:pt x="98" y="44"/>
                  <a:pt x="96" y="45"/>
                </a:cubicBezTo>
                <a:cubicBezTo>
                  <a:pt x="95" y="46"/>
                  <a:pt x="95" y="46"/>
                  <a:pt x="95" y="46"/>
                </a:cubicBezTo>
                <a:cubicBezTo>
                  <a:pt x="93" y="48"/>
                  <a:pt x="91" y="49"/>
                  <a:pt x="94" y="55"/>
                </a:cubicBezTo>
                <a:cubicBezTo>
                  <a:pt x="96" y="59"/>
                  <a:pt x="99" y="65"/>
                  <a:pt x="99" y="70"/>
                </a:cubicBezTo>
                <a:cubicBezTo>
                  <a:pt x="99" y="70"/>
                  <a:pt x="98" y="71"/>
                  <a:pt x="98" y="71"/>
                </a:cubicBezTo>
                <a:cubicBezTo>
                  <a:pt x="96" y="72"/>
                  <a:pt x="94" y="74"/>
                  <a:pt x="93" y="76"/>
                </a:cubicBezTo>
                <a:cubicBezTo>
                  <a:pt x="92" y="76"/>
                  <a:pt x="92" y="76"/>
                  <a:pt x="91" y="76"/>
                </a:cubicBezTo>
                <a:cubicBezTo>
                  <a:pt x="87" y="76"/>
                  <a:pt x="81" y="72"/>
                  <a:pt x="79" y="71"/>
                </a:cubicBezTo>
                <a:cubicBezTo>
                  <a:pt x="78" y="70"/>
                  <a:pt x="78" y="70"/>
                  <a:pt x="77" y="69"/>
                </a:cubicBezTo>
                <a:cubicBezTo>
                  <a:pt x="76" y="69"/>
                  <a:pt x="76" y="69"/>
                  <a:pt x="76" y="69"/>
                </a:cubicBezTo>
                <a:cubicBezTo>
                  <a:pt x="72" y="66"/>
                  <a:pt x="70" y="68"/>
                  <a:pt x="68" y="70"/>
                </a:cubicBezTo>
                <a:cubicBezTo>
                  <a:pt x="68" y="70"/>
                  <a:pt x="68" y="70"/>
                  <a:pt x="68" y="70"/>
                </a:cubicBezTo>
                <a:cubicBezTo>
                  <a:pt x="65" y="72"/>
                  <a:pt x="64" y="74"/>
                  <a:pt x="68" y="79"/>
                </a:cubicBezTo>
                <a:cubicBezTo>
                  <a:pt x="71" y="83"/>
                  <a:pt x="74" y="89"/>
                  <a:pt x="74" y="93"/>
                </a:cubicBezTo>
                <a:cubicBezTo>
                  <a:pt x="74" y="94"/>
                  <a:pt x="74" y="94"/>
                  <a:pt x="74" y="95"/>
                </a:cubicBezTo>
                <a:cubicBezTo>
                  <a:pt x="72" y="96"/>
                  <a:pt x="71" y="98"/>
                  <a:pt x="69" y="100"/>
                </a:cubicBezTo>
                <a:cubicBezTo>
                  <a:pt x="69" y="100"/>
                  <a:pt x="69" y="101"/>
                  <a:pt x="68" y="101"/>
                </a:cubicBezTo>
                <a:cubicBezTo>
                  <a:pt x="64" y="101"/>
                  <a:pt x="57" y="99"/>
                  <a:pt x="53" y="96"/>
                </a:cubicBezTo>
                <a:cubicBezTo>
                  <a:pt x="47" y="93"/>
                  <a:pt x="46" y="95"/>
                  <a:pt x="44" y="98"/>
                </a:cubicBezTo>
                <a:cubicBezTo>
                  <a:pt x="44" y="99"/>
                  <a:pt x="44" y="99"/>
                  <a:pt x="44" y="99"/>
                </a:cubicBezTo>
                <a:cubicBezTo>
                  <a:pt x="42" y="101"/>
                  <a:pt x="41" y="103"/>
                  <a:pt x="45" y="107"/>
                </a:cubicBezTo>
                <a:cubicBezTo>
                  <a:pt x="49" y="111"/>
                  <a:pt x="53" y="116"/>
                  <a:pt x="54" y="120"/>
                </a:cubicBezTo>
                <a:cubicBezTo>
                  <a:pt x="54" y="121"/>
                  <a:pt x="54" y="121"/>
                  <a:pt x="54" y="122"/>
                </a:cubicBezTo>
                <a:cubicBezTo>
                  <a:pt x="53" y="123"/>
                  <a:pt x="52" y="125"/>
                  <a:pt x="51" y="127"/>
                </a:cubicBezTo>
                <a:cubicBezTo>
                  <a:pt x="50" y="128"/>
                  <a:pt x="50" y="128"/>
                  <a:pt x="50" y="128"/>
                </a:cubicBezTo>
                <a:cubicBezTo>
                  <a:pt x="50" y="128"/>
                  <a:pt x="50" y="128"/>
                  <a:pt x="49" y="129"/>
                </a:cubicBezTo>
                <a:cubicBezTo>
                  <a:pt x="45" y="129"/>
                  <a:pt x="38" y="128"/>
                  <a:pt x="34" y="127"/>
                </a:cubicBezTo>
                <a:cubicBezTo>
                  <a:pt x="28" y="125"/>
                  <a:pt x="27" y="127"/>
                  <a:pt x="25" y="130"/>
                </a:cubicBezTo>
                <a:cubicBezTo>
                  <a:pt x="25" y="130"/>
                  <a:pt x="25" y="130"/>
                  <a:pt x="25" y="130"/>
                </a:cubicBezTo>
                <a:cubicBezTo>
                  <a:pt x="23" y="133"/>
                  <a:pt x="22" y="135"/>
                  <a:pt x="27" y="139"/>
                </a:cubicBezTo>
                <a:cubicBezTo>
                  <a:pt x="32" y="142"/>
                  <a:pt x="37" y="146"/>
                  <a:pt x="38" y="150"/>
                </a:cubicBezTo>
                <a:cubicBezTo>
                  <a:pt x="39" y="150"/>
                  <a:pt x="39" y="151"/>
                  <a:pt x="38" y="152"/>
                </a:cubicBezTo>
                <a:cubicBezTo>
                  <a:pt x="38" y="152"/>
                  <a:pt x="38" y="152"/>
                  <a:pt x="38" y="152"/>
                </a:cubicBezTo>
                <a:cubicBezTo>
                  <a:pt x="37" y="154"/>
                  <a:pt x="37" y="156"/>
                  <a:pt x="36" y="158"/>
                </a:cubicBezTo>
                <a:cubicBezTo>
                  <a:pt x="36" y="158"/>
                  <a:pt x="35" y="159"/>
                  <a:pt x="35" y="159"/>
                </a:cubicBezTo>
                <a:cubicBezTo>
                  <a:pt x="31" y="161"/>
                  <a:pt x="24" y="160"/>
                  <a:pt x="19" y="160"/>
                </a:cubicBezTo>
                <a:cubicBezTo>
                  <a:pt x="13" y="159"/>
                  <a:pt x="12" y="161"/>
                  <a:pt x="11" y="164"/>
                </a:cubicBezTo>
                <a:cubicBezTo>
                  <a:pt x="11" y="165"/>
                  <a:pt x="11" y="165"/>
                  <a:pt x="11" y="165"/>
                </a:cubicBezTo>
                <a:cubicBezTo>
                  <a:pt x="10" y="167"/>
                  <a:pt x="10" y="169"/>
                  <a:pt x="13" y="171"/>
                </a:cubicBezTo>
                <a:cubicBezTo>
                  <a:pt x="14" y="172"/>
                  <a:pt x="14" y="172"/>
                  <a:pt x="15" y="172"/>
                </a:cubicBezTo>
                <a:cubicBezTo>
                  <a:pt x="17" y="173"/>
                  <a:pt x="18" y="174"/>
                  <a:pt x="20" y="175"/>
                </a:cubicBezTo>
                <a:cubicBezTo>
                  <a:pt x="22" y="177"/>
                  <a:pt x="26" y="179"/>
                  <a:pt x="27" y="182"/>
                </a:cubicBezTo>
                <a:cubicBezTo>
                  <a:pt x="28" y="182"/>
                  <a:pt x="28" y="183"/>
                  <a:pt x="28" y="183"/>
                </a:cubicBezTo>
                <a:cubicBezTo>
                  <a:pt x="27" y="186"/>
                  <a:pt x="27" y="188"/>
                  <a:pt x="26" y="190"/>
                </a:cubicBezTo>
                <a:cubicBezTo>
                  <a:pt x="26" y="191"/>
                  <a:pt x="26" y="191"/>
                  <a:pt x="25" y="191"/>
                </a:cubicBezTo>
                <a:cubicBezTo>
                  <a:pt x="22" y="194"/>
                  <a:pt x="15" y="194"/>
                  <a:pt x="10" y="195"/>
                </a:cubicBezTo>
                <a:cubicBezTo>
                  <a:pt x="4" y="194"/>
                  <a:pt x="3" y="197"/>
                  <a:pt x="3" y="200"/>
                </a:cubicBezTo>
                <a:cubicBezTo>
                  <a:pt x="3" y="201"/>
                  <a:pt x="3" y="201"/>
                  <a:pt x="3" y="201"/>
                </a:cubicBezTo>
                <a:cubicBezTo>
                  <a:pt x="2" y="203"/>
                  <a:pt x="2" y="205"/>
                  <a:pt x="5" y="206"/>
                </a:cubicBezTo>
                <a:cubicBezTo>
                  <a:pt x="5" y="207"/>
                  <a:pt x="7" y="207"/>
                  <a:pt x="8" y="208"/>
                </a:cubicBezTo>
                <a:cubicBezTo>
                  <a:pt x="12" y="209"/>
                  <a:pt x="16" y="211"/>
                  <a:pt x="18" y="212"/>
                </a:cubicBezTo>
                <a:cubicBezTo>
                  <a:pt x="20" y="213"/>
                  <a:pt x="21" y="214"/>
                  <a:pt x="22" y="215"/>
                </a:cubicBezTo>
                <a:cubicBezTo>
                  <a:pt x="22" y="216"/>
                  <a:pt x="22" y="216"/>
                  <a:pt x="22" y="217"/>
                </a:cubicBezTo>
                <a:cubicBezTo>
                  <a:pt x="22" y="219"/>
                  <a:pt x="22" y="221"/>
                  <a:pt x="22" y="224"/>
                </a:cubicBezTo>
                <a:cubicBezTo>
                  <a:pt x="22" y="224"/>
                  <a:pt x="21" y="225"/>
                  <a:pt x="21" y="225"/>
                </a:cubicBezTo>
                <a:cubicBezTo>
                  <a:pt x="18" y="228"/>
                  <a:pt x="11" y="230"/>
                  <a:pt x="6" y="230"/>
                </a:cubicBezTo>
                <a:cubicBezTo>
                  <a:pt x="0" y="231"/>
                  <a:pt x="0" y="234"/>
                  <a:pt x="0" y="237"/>
                </a:cubicBezTo>
                <a:cubicBezTo>
                  <a:pt x="0" y="238"/>
                  <a:pt x="0" y="238"/>
                  <a:pt x="0" y="238"/>
                </a:cubicBezTo>
                <a:cubicBezTo>
                  <a:pt x="0" y="240"/>
                  <a:pt x="0" y="241"/>
                  <a:pt x="2" y="242"/>
                </a:cubicBezTo>
                <a:cubicBezTo>
                  <a:pt x="3" y="243"/>
                  <a:pt x="5" y="244"/>
                  <a:pt x="6" y="244"/>
                </a:cubicBezTo>
                <a:cubicBezTo>
                  <a:pt x="13" y="245"/>
                  <a:pt x="18" y="247"/>
                  <a:pt x="21" y="249"/>
                </a:cubicBezTo>
                <a:cubicBezTo>
                  <a:pt x="22" y="249"/>
                  <a:pt x="22" y="250"/>
                  <a:pt x="22" y="250"/>
                </a:cubicBezTo>
                <a:cubicBezTo>
                  <a:pt x="22" y="252"/>
                  <a:pt x="22" y="254"/>
                  <a:pt x="22" y="256"/>
                </a:cubicBezTo>
                <a:cubicBezTo>
                  <a:pt x="23" y="257"/>
                  <a:pt x="23" y="257"/>
                  <a:pt x="23" y="257"/>
                </a:cubicBezTo>
                <a:cubicBezTo>
                  <a:pt x="23" y="258"/>
                  <a:pt x="22" y="258"/>
                  <a:pt x="22" y="259"/>
                </a:cubicBezTo>
                <a:cubicBezTo>
                  <a:pt x="19" y="262"/>
                  <a:pt x="13" y="265"/>
                  <a:pt x="8" y="266"/>
                </a:cubicBezTo>
                <a:cubicBezTo>
                  <a:pt x="2" y="268"/>
                  <a:pt x="3" y="270"/>
                  <a:pt x="3" y="273"/>
                </a:cubicBezTo>
                <a:cubicBezTo>
                  <a:pt x="4" y="274"/>
                  <a:pt x="4" y="274"/>
                  <a:pt x="4" y="274"/>
                </a:cubicBezTo>
                <a:cubicBezTo>
                  <a:pt x="4" y="276"/>
                  <a:pt x="4" y="278"/>
                  <a:pt x="6" y="279"/>
                </a:cubicBezTo>
                <a:cubicBezTo>
                  <a:pt x="7" y="279"/>
                  <a:pt x="8" y="280"/>
                  <a:pt x="11" y="280"/>
                </a:cubicBezTo>
                <a:cubicBezTo>
                  <a:pt x="16" y="279"/>
                  <a:pt x="22" y="280"/>
                  <a:pt x="26" y="282"/>
                </a:cubicBezTo>
                <a:cubicBezTo>
                  <a:pt x="27" y="283"/>
                  <a:pt x="27" y="283"/>
                  <a:pt x="27" y="284"/>
                </a:cubicBezTo>
                <a:cubicBezTo>
                  <a:pt x="28" y="286"/>
                  <a:pt x="28" y="288"/>
                  <a:pt x="29" y="290"/>
                </a:cubicBezTo>
                <a:cubicBezTo>
                  <a:pt x="29" y="291"/>
                  <a:pt x="29" y="291"/>
                  <a:pt x="28" y="292"/>
                </a:cubicBezTo>
                <a:cubicBezTo>
                  <a:pt x="26" y="295"/>
                  <a:pt x="21" y="299"/>
                  <a:pt x="16" y="302"/>
                </a:cubicBezTo>
                <a:cubicBezTo>
                  <a:pt x="11" y="304"/>
                  <a:pt x="11" y="306"/>
                  <a:pt x="12" y="309"/>
                </a:cubicBezTo>
                <a:cubicBezTo>
                  <a:pt x="13" y="310"/>
                  <a:pt x="13" y="310"/>
                  <a:pt x="13" y="310"/>
                </a:cubicBezTo>
                <a:cubicBezTo>
                  <a:pt x="13" y="312"/>
                  <a:pt x="14" y="313"/>
                  <a:pt x="15" y="314"/>
                </a:cubicBezTo>
                <a:cubicBezTo>
                  <a:pt x="16" y="315"/>
                  <a:pt x="18" y="315"/>
                  <a:pt x="20" y="314"/>
                </a:cubicBezTo>
                <a:cubicBezTo>
                  <a:pt x="25" y="313"/>
                  <a:pt x="32" y="313"/>
                  <a:pt x="36" y="315"/>
                </a:cubicBezTo>
                <a:cubicBezTo>
                  <a:pt x="37" y="315"/>
                  <a:pt x="37" y="315"/>
                  <a:pt x="37" y="316"/>
                </a:cubicBezTo>
                <a:cubicBezTo>
                  <a:pt x="38" y="318"/>
                  <a:pt x="39" y="320"/>
                  <a:pt x="40" y="322"/>
                </a:cubicBezTo>
                <a:cubicBezTo>
                  <a:pt x="40" y="323"/>
                  <a:pt x="40" y="323"/>
                  <a:pt x="40" y="324"/>
                </a:cubicBezTo>
                <a:cubicBezTo>
                  <a:pt x="38" y="327"/>
                  <a:pt x="33" y="332"/>
                  <a:pt x="29" y="335"/>
                </a:cubicBezTo>
                <a:cubicBezTo>
                  <a:pt x="24" y="339"/>
                  <a:pt x="25" y="341"/>
                  <a:pt x="27" y="343"/>
                </a:cubicBezTo>
                <a:cubicBezTo>
                  <a:pt x="27" y="344"/>
                  <a:pt x="27" y="344"/>
                  <a:pt x="27" y="344"/>
                </a:cubicBezTo>
                <a:cubicBezTo>
                  <a:pt x="28" y="345"/>
                  <a:pt x="28" y="347"/>
                  <a:pt x="29" y="347"/>
                </a:cubicBezTo>
                <a:cubicBezTo>
                  <a:pt x="31" y="348"/>
                  <a:pt x="33" y="348"/>
                  <a:pt x="35" y="347"/>
                </a:cubicBezTo>
                <a:cubicBezTo>
                  <a:pt x="40" y="345"/>
                  <a:pt x="47" y="344"/>
                  <a:pt x="51" y="345"/>
                </a:cubicBezTo>
                <a:cubicBezTo>
                  <a:pt x="51" y="345"/>
                  <a:pt x="52" y="345"/>
                  <a:pt x="52" y="346"/>
                </a:cubicBezTo>
                <a:cubicBezTo>
                  <a:pt x="53" y="347"/>
                  <a:pt x="53" y="347"/>
                  <a:pt x="53" y="347"/>
                </a:cubicBezTo>
                <a:cubicBezTo>
                  <a:pt x="54" y="348"/>
                  <a:pt x="55" y="350"/>
                  <a:pt x="56" y="352"/>
                </a:cubicBezTo>
                <a:cubicBezTo>
                  <a:pt x="56" y="352"/>
                  <a:pt x="56" y="353"/>
                  <a:pt x="56" y="353"/>
                </a:cubicBezTo>
                <a:cubicBezTo>
                  <a:pt x="55" y="357"/>
                  <a:pt x="51" y="363"/>
                  <a:pt x="47" y="366"/>
                </a:cubicBezTo>
                <a:cubicBezTo>
                  <a:pt x="43" y="370"/>
                  <a:pt x="44" y="372"/>
                  <a:pt x="46" y="375"/>
                </a:cubicBezTo>
                <a:cubicBezTo>
                  <a:pt x="47" y="376"/>
                  <a:pt x="47" y="376"/>
                  <a:pt x="47" y="376"/>
                </a:cubicBezTo>
                <a:cubicBezTo>
                  <a:pt x="47" y="376"/>
                  <a:pt x="48" y="377"/>
                  <a:pt x="49" y="378"/>
                </a:cubicBezTo>
                <a:cubicBezTo>
                  <a:pt x="50" y="378"/>
                  <a:pt x="51" y="379"/>
                  <a:pt x="55" y="377"/>
                </a:cubicBezTo>
                <a:cubicBezTo>
                  <a:pt x="60" y="375"/>
                  <a:pt x="66" y="372"/>
                  <a:pt x="70" y="372"/>
                </a:cubicBezTo>
                <a:cubicBezTo>
                  <a:pt x="71" y="372"/>
                  <a:pt x="71" y="373"/>
                  <a:pt x="72" y="373"/>
                </a:cubicBezTo>
                <a:cubicBezTo>
                  <a:pt x="73" y="375"/>
                  <a:pt x="75" y="377"/>
                  <a:pt x="76" y="378"/>
                </a:cubicBezTo>
                <a:cubicBezTo>
                  <a:pt x="77" y="379"/>
                  <a:pt x="77" y="379"/>
                  <a:pt x="77" y="380"/>
                </a:cubicBezTo>
                <a:cubicBezTo>
                  <a:pt x="76" y="384"/>
                  <a:pt x="73" y="390"/>
                  <a:pt x="70" y="394"/>
                </a:cubicBezTo>
                <a:cubicBezTo>
                  <a:pt x="66" y="399"/>
                  <a:pt x="68" y="401"/>
                  <a:pt x="70" y="403"/>
                </a:cubicBezTo>
                <a:cubicBezTo>
                  <a:pt x="71" y="403"/>
                  <a:pt x="71" y="403"/>
                  <a:pt x="71" y="403"/>
                </a:cubicBezTo>
                <a:cubicBezTo>
                  <a:pt x="72" y="404"/>
                  <a:pt x="72" y="405"/>
                  <a:pt x="73" y="405"/>
                </a:cubicBezTo>
                <a:cubicBezTo>
                  <a:pt x="74" y="406"/>
                  <a:pt x="76" y="407"/>
                  <a:pt x="80" y="403"/>
                </a:cubicBezTo>
                <a:cubicBezTo>
                  <a:pt x="84" y="400"/>
                  <a:pt x="90" y="397"/>
                  <a:pt x="94" y="397"/>
                </a:cubicBezTo>
                <a:cubicBezTo>
                  <a:pt x="94" y="397"/>
                  <a:pt x="95" y="397"/>
                  <a:pt x="95" y="397"/>
                </a:cubicBezTo>
                <a:cubicBezTo>
                  <a:pt x="95" y="397"/>
                  <a:pt x="95" y="397"/>
                  <a:pt x="95" y="397"/>
                </a:cubicBezTo>
                <a:cubicBezTo>
                  <a:pt x="97" y="399"/>
                  <a:pt x="99" y="400"/>
                  <a:pt x="101" y="402"/>
                </a:cubicBezTo>
                <a:cubicBezTo>
                  <a:pt x="101" y="402"/>
                  <a:pt x="101" y="402"/>
                  <a:pt x="101" y="403"/>
                </a:cubicBezTo>
                <a:cubicBezTo>
                  <a:pt x="102" y="407"/>
                  <a:pt x="99" y="413"/>
                  <a:pt x="97" y="418"/>
                </a:cubicBezTo>
                <a:cubicBezTo>
                  <a:pt x="94" y="423"/>
                  <a:pt x="96" y="425"/>
                  <a:pt x="99" y="427"/>
                </a:cubicBezTo>
                <a:cubicBezTo>
                  <a:pt x="99" y="427"/>
                  <a:pt x="99" y="427"/>
                  <a:pt x="99" y="427"/>
                </a:cubicBezTo>
                <a:cubicBezTo>
                  <a:pt x="100" y="427"/>
                  <a:pt x="100" y="428"/>
                  <a:pt x="101" y="428"/>
                </a:cubicBezTo>
                <a:cubicBezTo>
                  <a:pt x="102" y="429"/>
                  <a:pt x="104" y="430"/>
                  <a:pt x="108" y="426"/>
                </a:cubicBezTo>
                <a:cubicBezTo>
                  <a:pt x="112" y="422"/>
                  <a:pt x="117" y="418"/>
                  <a:pt x="121" y="417"/>
                </a:cubicBezTo>
                <a:cubicBezTo>
                  <a:pt x="121" y="417"/>
                  <a:pt x="122" y="417"/>
                  <a:pt x="122" y="417"/>
                </a:cubicBezTo>
                <a:cubicBezTo>
                  <a:pt x="124" y="418"/>
                  <a:pt x="126" y="419"/>
                  <a:pt x="128" y="420"/>
                </a:cubicBezTo>
                <a:cubicBezTo>
                  <a:pt x="128" y="421"/>
                  <a:pt x="128" y="421"/>
                  <a:pt x="128" y="421"/>
                </a:cubicBezTo>
                <a:cubicBezTo>
                  <a:pt x="129" y="421"/>
                  <a:pt x="129" y="421"/>
                  <a:pt x="129" y="422"/>
                </a:cubicBezTo>
                <a:cubicBezTo>
                  <a:pt x="130" y="426"/>
                  <a:pt x="129" y="433"/>
                  <a:pt x="127" y="437"/>
                </a:cubicBezTo>
                <a:cubicBezTo>
                  <a:pt x="126" y="443"/>
                  <a:pt x="128" y="444"/>
                  <a:pt x="129" y="445"/>
                </a:cubicBezTo>
                <a:cubicBezTo>
                  <a:pt x="129" y="445"/>
                  <a:pt x="130" y="445"/>
                  <a:pt x="130" y="446"/>
                </a:cubicBezTo>
                <a:cubicBezTo>
                  <a:pt x="131" y="446"/>
                  <a:pt x="131" y="446"/>
                  <a:pt x="131" y="446"/>
                </a:cubicBezTo>
                <a:cubicBezTo>
                  <a:pt x="134" y="447"/>
                  <a:pt x="136" y="449"/>
                  <a:pt x="139" y="443"/>
                </a:cubicBezTo>
                <a:cubicBezTo>
                  <a:pt x="142" y="439"/>
                  <a:pt x="147" y="434"/>
                  <a:pt x="151" y="433"/>
                </a:cubicBezTo>
                <a:cubicBezTo>
                  <a:pt x="151" y="432"/>
                  <a:pt x="152" y="432"/>
                  <a:pt x="152" y="433"/>
                </a:cubicBezTo>
                <a:cubicBezTo>
                  <a:pt x="153" y="433"/>
                  <a:pt x="153" y="433"/>
                  <a:pt x="153" y="433"/>
                </a:cubicBezTo>
                <a:cubicBezTo>
                  <a:pt x="155" y="434"/>
                  <a:pt x="157" y="434"/>
                  <a:pt x="159" y="435"/>
                </a:cubicBezTo>
                <a:cubicBezTo>
                  <a:pt x="159" y="435"/>
                  <a:pt x="160" y="436"/>
                  <a:pt x="160" y="436"/>
                </a:cubicBezTo>
                <a:cubicBezTo>
                  <a:pt x="161" y="440"/>
                  <a:pt x="161" y="447"/>
                  <a:pt x="160" y="452"/>
                </a:cubicBezTo>
                <a:cubicBezTo>
                  <a:pt x="160" y="457"/>
                  <a:pt x="161" y="458"/>
                  <a:pt x="162" y="458"/>
                </a:cubicBezTo>
                <a:cubicBezTo>
                  <a:pt x="163" y="459"/>
                  <a:pt x="164" y="459"/>
                  <a:pt x="165" y="460"/>
                </a:cubicBezTo>
                <a:cubicBezTo>
                  <a:pt x="165" y="460"/>
                  <a:pt x="165" y="460"/>
                  <a:pt x="165" y="460"/>
                </a:cubicBezTo>
                <a:cubicBezTo>
                  <a:pt x="168" y="461"/>
                  <a:pt x="171" y="462"/>
                  <a:pt x="173" y="456"/>
                </a:cubicBezTo>
                <a:cubicBezTo>
                  <a:pt x="175" y="451"/>
                  <a:pt x="179" y="446"/>
                  <a:pt x="183" y="443"/>
                </a:cubicBezTo>
                <a:cubicBezTo>
                  <a:pt x="183" y="443"/>
                  <a:pt x="184" y="443"/>
                  <a:pt x="184" y="443"/>
                </a:cubicBezTo>
                <a:cubicBezTo>
                  <a:pt x="186" y="444"/>
                  <a:pt x="189" y="444"/>
                  <a:pt x="191" y="445"/>
                </a:cubicBezTo>
                <a:cubicBezTo>
                  <a:pt x="192" y="445"/>
                  <a:pt x="192" y="445"/>
                  <a:pt x="192" y="446"/>
                </a:cubicBezTo>
                <a:cubicBezTo>
                  <a:pt x="194" y="449"/>
                  <a:pt x="195" y="456"/>
                  <a:pt x="195" y="461"/>
                </a:cubicBezTo>
                <a:cubicBezTo>
                  <a:pt x="195" y="466"/>
                  <a:pt x="197" y="467"/>
                  <a:pt x="197" y="467"/>
                </a:cubicBezTo>
                <a:cubicBezTo>
                  <a:pt x="198" y="468"/>
                  <a:pt x="199" y="468"/>
                  <a:pt x="200" y="468"/>
                </a:cubicBezTo>
                <a:cubicBezTo>
                  <a:pt x="202" y="468"/>
                  <a:pt x="202" y="468"/>
                  <a:pt x="202" y="468"/>
                </a:cubicBezTo>
                <a:cubicBezTo>
                  <a:pt x="204" y="469"/>
                  <a:pt x="207" y="469"/>
                  <a:pt x="208" y="463"/>
                </a:cubicBezTo>
                <a:cubicBezTo>
                  <a:pt x="210" y="458"/>
                  <a:pt x="213" y="452"/>
                  <a:pt x="216" y="449"/>
                </a:cubicBezTo>
                <a:cubicBezTo>
                  <a:pt x="216" y="449"/>
                  <a:pt x="217" y="449"/>
                  <a:pt x="217" y="449"/>
                </a:cubicBezTo>
                <a:cubicBezTo>
                  <a:pt x="220" y="449"/>
                  <a:pt x="222" y="449"/>
                  <a:pt x="224" y="449"/>
                </a:cubicBezTo>
                <a:cubicBezTo>
                  <a:pt x="225" y="449"/>
                  <a:pt x="225" y="450"/>
                  <a:pt x="226" y="450"/>
                </a:cubicBezTo>
                <a:cubicBezTo>
                  <a:pt x="228" y="453"/>
                  <a:pt x="230" y="460"/>
                  <a:pt x="231" y="465"/>
                </a:cubicBezTo>
                <a:cubicBezTo>
                  <a:pt x="232" y="467"/>
                  <a:pt x="232" y="469"/>
                  <a:pt x="234" y="470"/>
                </a:cubicBezTo>
                <a:cubicBezTo>
                  <a:pt x="235" y="471"/>
                  <a:pt x="236" y="471"/>
                  <a:pt x="237" y="471"/>
                </a:cubicBezTo>
                <a:cubicBezTo>
                  <a:pt x="238" y="471"/>
                  <a:pt x="238" y="471"/>
                  <a:pt x="238" y="471"/>
                </a:cubicBezTo>
                <a:cubicBezTo>
                  <a:pt x="241" y="471"/>
                  <a:pt x="244" y="471"/>
                  <a:pt x="244" y="465"/>
                </a:cubicBezTo>
                <a:cubicBezTo>
                  <a:pt x="245" y="460"/>
                  <a:pt x="247" y="453"/>
                  <a:pt x="250" y="450"/>
                </a:cubicBezTo>
                <a:cubicBezTo>
                  <a:pt x="250" y="449"/>
                  <a:pt x="250" y="449"/>
                  <a:pt x="251" y="449"/>
                </a:cubicBezTo>
                <a:cubicBezTo>
                  <a:pt x="253" y="449"/>
                  <a:pt x="255" y="449"/>
                  <a:pt x="258" y="448"/>
                </a:cubicBezTo>
                <a:cubicBezTo>
                  <a:pt x="258" y="448"/>
                  <a:pt x="258" y="448"/>
                  <a:pt x="258" y="448"/>
                </a:cubicBezTo>
                <a:cubicBezTo>
                  <a:pt x="259" y="448"/>
                  <a:pt x="259" y="448"/>
                  <a:pt x="259" y="449"/>
                </a:cubicBezTo>
                <a:cubicBezTo>
                  <a:pt x="263" y="452"/>
                  <a:pt x="266" y="458"/>
                  <a:pt x="267" y="463"/>
                </a:cubicBezTo>
                <a:cubicBezTo>
                  <a:pt x="268" y="465"/>
                  <a:pt x="269" y="467"/>
                  <a:pt x="270" y="467"/>
                </a:cubicBezTo>
                <a:cubicBezTo>
                  <a:pt x="271" y="468"/>
                  <a:pt x="273" y="468"/>
                  <a:pt x="274" y="467"/>
                </a:cubicBezTo>
                <a:cubicBezTo>
                  <a:pt x="275" y="467"/>
                  <a:pt x="275" y="467"/>
                  <a:pt x="275" y="467"/>
                </a:cubicBezTo>
                <a:cubicBezTo>
                  <a:pt x="278" y="467"/>
                  <a:pt x="281" y="466"/>
                  <a:pt x="280" y="460"/>
                </a:cubicBezTo>
                <a:cubicBezTo>
                  <a:pt x="280" y="455"/>
                  <a:pt x="281" y="449"/>
                  <a:pt x="283" y="445"/>
                </a:cubicBezTo>
                <a:cubicBezTo>
                  <a:pt x="283" y="444"/>
                  <a:pt x="284" y="444"/>
                  <a:pt x="284" y="444"/>
                </a:cubicBezTo>
                <a:cubicBezTo>
                  <a:pt x="287" y="443"/>
                  <a:pt x="289" y="443"/>
                  <a:pt x="291" y="442"/>
                </a:cubicBezTo>
                <a:cubicBezTo>
                  <a:pt x="292" y="442"/>
                  <a:pt x="292" y="442"/>
                  <a:pt x="293" y="443"/>
                </a:cubicBezTo>
                <a:cubicBezTo>
                  <a:pt x="296" y="445"/>
                  <a:pt x="300" y="450"/>
                  <a:pt x="302" y="455"/>
                </a:cubicBezTo>
                <a:cubicBezTo>
                  <a:pt x="303" y="457"/>
                  <a:pt x="304" y="458"/>
                  <a:pt x="305" y="459"/>
                </a:cubicBezTo>
                <a:cubicBezTo>
                  <a:pt x="307" y="460"/>
                  <a:pt x="308" y="459"/>
                  <a:pt x="310" y="459"/>
                </a:cubicBezTo>
                <a:cubicBezTo>
                  <a:pt x="311" y="458"/>
                  <a:pt x="311" y="458"/>
                  <a:pt x="311" y="458"/>
                </a:cubicBezTo>
                <a:cubicBezTo>
                  <a:pt x="314" y="457"/>
                  <a:pt x="316" y="457"/>
                  <a:pt x="315" y="451"/>
                </a:cubicBezTo>
                <a:cubicBezTo>
                  <a:pt x="314" y="446"/>
                  <a:pt x="314" y="439"/>
                  <a:pt x="315" y="435"/>
                </a:cubicBezTo>
                <a:cubicBezTo>
                  <a:pt x="316" y="434"/>
                  <a:pt x="316" y="434"/>
                  <a:pt x="316" y="434"/>
                </a:cubicBezTo>
                <a:cubicBezTo>
                  <a:pt x="319" y="433"/>
                  <a:pt x="321" y="432"/>
                  <a:pt x="323" y="431"/>
                </a:cubicBezTo>
                <a:cubicBezTo>
                  <a:pt x="323" y="431"/>
                  <a:pt x="324" y="431"/>
                  <a:pt x="324" y="431"/>
                </a:cubicBezTo>
                <a:cubicBezTo>
                  <a:pt x="328" y="433"/>
                  <a:pt x="332" y="437"/>
                  <a:pt x="336" y="442"/>
                </a:cubicBezTo>
                <a:cubicBezTo>
                  <a:pt x="337" y="443"/>
                  <a:pt x="338" y="444"/>
                  <a:pt x="339" y="445"/>
                </a:cubicBezTo>
                <a:cubicBezTo>
                  <a:pt x="341" y="446"/>
                  <a:pt x="342" y="445"/>
                  <a:pt x="344" y="444"/>
                </a:cubicBezTo>
                <a:cubicBezTo>
                  <a:pt x="345" y="444"/>
                  <a:pt x="345" y="444"/>
                  <a:pt x="345" y="444"/>
                </a:cubicBezTo>
                <a:cubicBezTo>
                  <a:pt x="348" y="442"/>
                  <a:pt x="350" y="441"/>
                  <a:pt x="348" y="436"/>
                </a:cubicBezTo>
                <a:cubicBezTo>
                  <a:pt x="346" y="431"/>
                  <a:pt x="345" y="424"/>
                  <a:pt x="346" y="420"/>
                </a:cubicBezTo>
                <a:cubicBezTo>
                  <a:pt x="346" y="420"/>
                  <a:pt x="346" y="419"/>
                  <a:pt x="346" y="419"/>
                </a:cubicBezTo>
                <a:cubicBezTo>
                  <a:pt x="348" y="418"/>
                  <a:pt x="351" y="416"/>
                  <a:pt x="352" y="415"/>
                </a:cubicBezTo>
                <a:cubicBezTo>
                  <a:pt x="353" y="415"/>
                  <a:pt x="354" y="415"/>
                  <a:pt x="354" y="415"/>
                </a:cubicBezTo>
                <a:cubicBezTo>
                  <a:pt x="357" y="416"/>
                  <a:pt x="363" y="419"/>
                  <a:pt x="367" y="424"/>
                </a:cubicBezTo>
                <a:cubicBezTo>
                  <a:pt x="368" y="424"/>
                  <a:pt x="369" y="425"/>
                  <a:pt x="369" y="426"/>
                </a:cubicBezTo>
                <a:cubicBezTo>
                  <a:pt x="372" y="427"/>
                  <a:pt x="373" y="426"/>
                  <a:pt x="376" y="425"/>
                </a:cubicBezTo>
                <a:cubicBezTo>
                  <a:pt x="376" y="424"/>
                  <a:pt x="376" y="424"/>
                  <a:pt x="376" y="424"/>
                </a:cubicBezTo>
                <a:cubicBezTo>
                  <a:pt x="379" y="422"/>
                  <a:pt x="381" y="421"/>
                  <a:pt x="378" y="416"/>
                </a:cubicBezTo>
                <a:cubicBezTo>
                  <a:pt x="375" y="411"/>
                  <a:pt x="373" y="405"/>
                  <a:pt x="373" y="401"/>
                </a:cubicBezTo>
                <a:cubicBezTo>
                  <a:pt x="373" y="400"/>
                  <a:pt x="373" y="400"/>
                  <a:pt x="374" y="399"/>
                </a:cubicBezTo>
                <a:cubicBezTo>
                  <a:pt x="376" y="398"/>
                  <a:pt x="377" y="396"/>
                  <a:pt x="379" y="395"/>
                </a:cubicBezTo>
                <a:cubicBezTo>
                  <a:pt x="380" y="394"/>
                  <a:pt x="380" y="394"/>
                  <a:pt x="381" y="394"/>
                </a:cubicBezTo>
                <a:cubicBezTo>
                  <a:pt x="385" y="395"/>
                  <a:pt x="390" y="398"/>
                  <a:pt x="393" y="399"/>
                </a:cubicBezTo>
                <a:cubicBezTo>
                  <a:pt x="393" y="400"/>
                  <a:pt x="394" y="400"/>
                  <a:pt x="395" y="401"/>
                </a:cubicBezTo>
                <a:cubicBezTo>
                  <a:pt x="395" y="401"/>
                  <a:pt x="396" y="401"/>
                  <a:pt x="396" y="402"/>
                </a:cubicBezTo>
                <a:cubicBezTo>
                  <a:pt x="400" y="404"/>
                  <a:pt x="402" y="403"/>
                  <a:pt x="403" y="401"/>
                </a:cubicBezTo>
                <a:cubicBezTo>
                  <a:pt x="404" y="400"/>
                  <a:pt x="404" y="400"/>
                  <a:pt x="404" y="400"/>
                </a:cubicBezTo>
                <a:cubicBezTo>
                  <a:pt x="406" y="398"/>
                  <a:pt x="408" y="396"/>
                  <a:pt x="404" y="391"/>
                </a:cubicBezTo>
                <a:cubicBezTo>
                  <a:pt x="401" y="387"/>
                  <a:pt x="398" y="381"/>
                  <a:pt x="397" y="377"/>
                </a:cubicBezTo>
                <a:cubicBezTo>
                  <a:pt x="397" y="377"/>
                  <a:pt x="397" y="376"/>
                  <a:pt x="398" y="376"/>
                </a:cubicBezTo>
                <a:cubicBezTo>
                  <a:pt x="399" y="374"/>
                  <a:pt x="401" y="372"/>
                  <a:pt x="402" y="370"/>
                </a:cubicBezTo>
                <a:cubicBezTo>
                  <a:pt x="403" y="370"/>
                  <a:pt x="403" y="370"/>
                  <a:pt x="404" y="370"/>
                </a:cubicBezTo>
                <a:cubicBezTo>
                  <a:pt x="408" y="369"/>
                  <a:pt x="414" y="372"/>
                  <a:pt x="419" y="374"/>
                </a:cubicBezTo>
                <a:cubicBezTo>
                  <a:pt x="424" y="377"/>
                  <a:pt x="426" y="375"/>
                  <a:pt x="427" y="372"/>
                </a:cubicBezTo>
                <a:cubicBezTo>
                  <a:pt x="428" y="371"/>
                  <a:pt x="428" y="371"/>
                  <a:pt x="428" y="371"/>
                </a:cubicBezTo>
                <a:cubicBezTo>
                  <a:pt x="430" y="369"/>
                  <a:pt x="431" y="367"/>
                  <a:pt x="427" y="363"/>
                </a:cubicBezTo>
                <a:close/>
                <a:moveTo>
                  <a:pt x="297" y="418"/>
                </a:moveTo>
                <a:cubicBezTo>
                  <a:pt x="242" y="436"/>
                  <a:pt x="182" y="429"/>
                  <a:pt x="132" y="398"/>
                </a:cubicBezTo>
                <a:cubicBezTo>
                  <a:pt x="95" y="374"/>
                  <a:pt x="67" y="338"/>
                  <a:pt x="53" y="296"/>
                </a:cubicBezTo>
                <a:cubicBezTo>
                  <a:pt x="19" y="195"/>
                  <a:pt x="74" y="86"/>
                  <a:pt x="175" y="52"/>
                </a:cubicBezTo>
                <a:cubicBezTo>
                  <a:pt x="230" y="34"/>
                  <a:pt x="290" y="41"/>
                  <a:pt x="339" y="72"/>
                </a:cubicBezTo>
                <a:cubicBezTo>
                  <a:pt x="377" y="96"/>
                  <a:pt x="405" y="132"/>
                  <a:pt x="419" y="174"/>
                </a:cubicBezTo>
                <a:cubicBezTo>
                  <a:pt x="435" y="223"/>
                  <a:pt x="431" y="275"/>
                  <a:pt x="408" y="321"/>
                </a:cubicBezTo>
                <a:cubicBezTo>
                  <a:pt x="385" y="367"/>
                  <a:pt x="346" y="402"/>
                  <a:pt x="297" y="41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0" name="Freeform 997">
            <a:extLst>
              <a:ext uri="{FF2B5EF4-FFF2-40B4-BE49-F238E27FC236}">
                <a16:creationId xmlns:a16="http://schemas.microsoft.com/office/drawing/2014/main" id="{57192C88-7FBB-4DA7-8C26-1F3097EDAA22}"/>
              </a:ext>
            </a:extLst>
          </p:cNvPr>
          <p:cNvSpPr>
            <a:spLocks noEditPoints="1"/>
          </p:cNvSpPr>
          <p:nvPr/>
        </p:nvSpPr>
        <p:spPr bwMode="auto">
          <a:xfrm>
            <a:off x="5252508" y="2741589"/>
            <a:ext cx="149768" cy="149768"/>
          </a:xfrm>
          <a:custGeom>
            <a:avLst/>
            <a:gdLst>
              <a:gd name="T0" fmla="*/ 14 w 54"/>
              <a:gd name="T1" fmla="*/ 48 h 55"/>
              <a:gd name="T2" fmla="*/ 7 w 54"/>
              <a:gd name="T3" fmla="*/ 15 h 55"/>
              <a:gd name="T4" fmla="*/ 40 w 54"/>
              <a:gd name="T5" fmla="*/ 7 h 55"/>
              <a:gd name="T6" fmla="*/ 47 w 54"/>
              <a:gd name="T7" fmla="*/ 40 h 55"/>
              <a:gd name="T8" fmla="*/ 14 w 54"/>
              <a:gd name="T9" fmla="*/ 48 h 55"/>
              <a:gd name="T10" fmla="*/ 39 w 54"/>
              <a:gd name="T11" fmla="*/ 8 h 55"/>
              <a:gd name="T12" fmla="*/ 8 w 54"/>
              <a:gd name="T13" fmla="*/ 16 h 55"/>
              <a:gd name="T14" fmla="*/ 15 w 54"/>
              <a:gd name="T15" fmla="*/ 46 h 55"/>
              <a:gd name="T16" fmla="*/ 46 w 54"/>
              <a:gd name="T17" fmla="*/ 39 h 55"/>
              <a:gd name="T18" fmla="*/ 39 w 54"/>
              <a:gd name="T19" fmla="*/ 8 h 55"/>
              <a:gd name="T20" fmla="*/ 17 w 54"/>
              <a:gd name="T21" fmla="*/ 43 h 55"/>
              <a:gd name="T22" fmla="*/ 11 w 54"/>
              <a:gd name="T23" fmla="*/ 17 h 55"/>
              <a:gd name="T24" fmla="*/ 37 w 54"/>
              <a:gd name="T25" fmla="*/ 11 h 55"/>
              <a:gd name="T26" fmla="*/ 43 w 54"/>
              <a:gd name="T27" fmla="*/ 37 h 55"/>
              <a:gd name="T28" fmla="*/ 17 w 54"/>
              <a:gd name="T29" fmla="*/ 43 h 55"/>
              <a:gd name="T30" fmla="*/ 36 w 54"/>
              <a:gd name="T31" fmla="*/ 13 h 55"/>
              <a:gd name="T32" fmla="*/ 13 w 54"/>
              <a:gd name="T33" fmla="*/ 18 h 55"/>
              <a:gd name="T34" fmla="*/ 18 w 54"/>
              <a:gd name="T35" fmla="*/ 42 h 55"/>
              <a:gd name="T36" fmla="*/ 41 w 54"/>
              <a:gd name="T37" fmla="*/ 36 h 55"/>
              <a:gd name="T38" fmla="*/ 36 w 54"/>
              <a:gd name="T39" fmla="*/ 1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5">
                <a:moveTo>
                  <a:pt x="14" y="48"/>
                </a:moveTo>
                <a:cubicBezTo>
                  <a:pt x="3" y="41"/>
                  <a:pt x="0" y="26"/>
                  <a:pt x="7" y="15"/>
                </a:cubicBezTo>
                <a:cubicBezTo>
                  <a:pt x="14" y="3"/>
                  <a:pt x="29" y="0"/>
                  <a:pt x="40" y="7"/>
                </a:cubicBezTo>
                <a:cubicBezTo>
                  <a:pt x="51" y="14"/>
                  <a:pt x="54" y="29"/>
                  <a:pt x="47" y="40"/>
                </a:cubicBezTo>
                <a:cubicBezTo>
                  <a:pt x="40" y="51"/>
                  <a:pt x="25" y="55"/>
                  <a:pt x="14" y="48"/>
                </a:cubicBezTo>
                <a:close/>
                <a:moveTo>
                  <a:pt x="39" y="8"/>
                </a:moveTo>
                <a:cubicBezTo>
                  <a:pt x="29" y="2"/>
                  <a:pt x="15" y="5"/>
                  <a:pt x="8" y="16"/>
                </a:cubicBezTo>
                <a:cubicBezTo>
                  <a:pt x="2" y="26"/>
                  <a:pt x="5" y="40"/>
                  <a:pt x="15" y="46"/>
                </a:cubicBezTo>
                <a:cubicBezTo>
                  <a:pt x="25" y="53"/>
                  <a:pt x="39" y="50"/>
                  <a:pt x="46" y="39"/>
                </a:cubicBezTo>
                <a:cubicBezTo>
                  <a:pt x="52" y="29"/>
                  <a:pt x="49" y="15"/>
                  <a:pt x="39" y="8"/>
                </a:cubicBezTo>
                <a:close/>
                <a:moveTo>
                  <a:pt x="17" y="43"/>
                </a:moveTo>
                <a:cubicBezTo>
                  <a:pt x="8" y="38"/>
                  <a:pt x="6" y="26"/>
                  <a:pt x="11" y="17"/>
                </a:cubicBezTo>
                <a:cubicBezTo>
                  <a:pt x="17" y="8"/>
                  <a:pt x="29" y="6"/>
                  <a:pt x="37" y="11"/>
                </a:cubicBezTo>
                <a:cubicBezTo>
                  <a:pt x="46" y="17"/>
                  <a:pt x="48" y="28"/>
                  <a:pt x="43" y="37"/>
                </a:cubicBezTo>
                <a:cubicBezTo>
                  <a:pt x="37" y="46"/>
                  <a:pt x="25" y="49"/>
                  <a:pt x="17" y="43"/>
                </a:cubicBezTo>
                <a:close/>
                <a:moveTo>
                  <a:pt x="36" y="13"/>
                </a:moveTo>
                <a:cubicBezTo>
                  <a:pt x="28" y="8"/>
                  <a:pt x="18" y="10"/>
                  <a:pt x="13" y="18"/>
                </a:cubicBezTo>
                <a:cubicBezTo>
                  <a:pt x="8" y="26"/>
                  <a:pt x="10" y="37"/>
                  <a:pt x="18" y="42"/>
                </a:cubicBezTo>
                <a:cubicBezTo>
                  <a:pt x="26" y="47"/>
                  <a:pt x="36" y="45"/>
                  <a:pt x="41" y="36"/>
                </a:cubicBezTo>
                <a:cubicBezTo>
                  <a:pt x="47" y="28"/>
                  <a:pt x="44" y="18"/>
                  <a:pt x="36" y="1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1" name="Freeform 998">
            <a:extLst>
              <a:ext uri="{FF2B5EF4-FFF2-40B4-BE49-F238E27FC236}">
                <a16:creationId xmlns:a16="http://schemas.microsoft.com/office/drawing/2014/main" id="{662651ED-B3E3-48E8-9E48-44C7D788FDAD}"/>
              </a:ext>
            </a:extLst>
          </p:cNvPr>
          <p:cNvSpPr>
            <a:spLocks noEditPoints="1"/>
          </p:cNvSpPr>
          <p:nvPr/>
        </p:nvSpPr>
        <p:spPr bwMode="auto">
          <a:xfrm>
            <a:off x="4343200" y="3543918"/>
            <a:ext cx="71318" cy="71318"/>
          </a:xfrm>
          <a:custGeom>
            <a:avLst/>
            <a:gdLst>
              <a:gd name="T0" fmla="*/ 7 w 26"/>
              <a:gd name="T1" fmla="*/ 23 h 26"/>
              <a:gd name="T2" fmla="*/ 4 w 26"/>
              <a:gd name="T3" fmla="*/ 7 h 26"/>
              <a:gd name="T4" fmla="*/ 19 w 26"/>
              <a:gd name="T5" fmla="*/ 4 h 26"/>
              <a:gd name="T6" fmla="*/ 23 w 26"/>
              <a:gd name="T7" fmla="*/ 19 h 26"/>
              <a:gd name="T8" fmla="*/ 7 w 26"/>
              <a:gd name="T9" fmla="*/ 23 h 26"/>
              <a:gd name="T10" fmla="*/ 17 w 26"/>
              <a:gd name="T11" fmla="*/ 8 h 26"/>
              <a:gd name="T12" fmla="*/ 8 w 26"/>
              <a:gd name="T13" fmla="*/ 10 h 26"/>
              <a:gd name="T14" fmla="*/ 10 w 26"/>
              <a:gd name="T15" fmla="*/ 19 h 26"/>
              <a:gd name="T16" fmla="*/ 19 w 26"/>
              <a:gd name="T17" fmla="*/ 17 h 26"/>
              <a:gd name="T18" fmla="*/ 17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7" y="23"/>
                </a:moveTo>
                <a:cubicBezTo>
                  <a:pt x="2" y="20"/>
                  <a:pt x="0" y="13"/>
                  <a:pt x="4" y="7"/>
                </a:cubicBezTo>
                <a:cubicBezTo>
                  <a:pt x="7" y="2"/>
                  <a:pt x="14" y="0"/>
                  <a:pt x="19" y="4"/>
                </a:cubicBezTo>
                <a:cubicBezTo>
                  <a:pt x="25" y="7"/>
                  <a:pt x="26" y="14"/>
                  <a:pt x="23" y="19"/>
                </a:cubicBezTo>
                <a:cubicBezTo>
                  <a:pt x="19" y="25"/>
                  <a:pt x="12" y="26"/>
                  <a:pt x="7" y="23"/>
                </a:cubicBezTo>
                <a:close/>
                <a:moveTo>
                  <a:pt x="17" y="8"/>
                </a:moveTo>
                <a:cubicBezTo>
                  <a:pt x="14" y="6"/>
                  <a:pt x="10" y="7"/>
                  <a:pt x="8" y="10"/>
                </a:cubicBezTo>
                <a:cubicBezTo>
                  <a:pt x="6" y="13"/>
                  <a:pt x="6" y="17"/>
                  <a:pt x="10" y="19"/>
                </a:cubicBezTo>
                <a:cubicBezTo>
                  <a:pt x="13" y="21"/>
                  <a:pt x="17" y="20"/>
                  <a:pt x="19" y="17"/>
                </a:cubicBezTo>
                <a:cubicBezTo>
                  <a:pt x="21" y="14"/>
                  <a:pt x="20" y="10"/>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2" name="Freeform 999">
            <a:extLst>
              <a:ext uri="{FF2B5EF4-FFF2-40B4-BE49-F238E27FC236}">
                <a16:creationId xmlns:a16="http://schemas.microsoft.com/office/drawing/2014/main" id="{AED611CB-C632-4AD7-B659-B9961FA4222F}"/>
              </a:ext>
            </a:extLst>
          </p:cNvPr>
          <p:cNvSpPr>
            <a:spLocks noEditPoints="1"/>
          </p:cNvSpPr>
          <p:nvPr/>
        </p:nvSpPr>
        <p:spPr bwMode="auto">
          <a:xfrm>
            <a:off x="4756845" y="3383453"/>
            <a:ext cx="310236" cy="199691"/>
          </a:xfrm>
          <a:custGeom>
            <a:avLst/>
            <a:gdLst>
              <a:gd name="T0" fmla="*/ 16 w 87"/>
              <a:gd name="T1" fmla="*/ 11 h 56"/>
              <a:gd name="T2" fmla="*/ 19 w 87"/>
              <a:gd name="T3" fmla="*/ 11 h 56"/>
              <a:gd name="T4" fmla="*/ 24 w 87"/>
              <a:gd name="T5" fmla="*/ 15 h 56"/>
              <a:gd name="T6" fmla="*/ 20 w 87"/>
              <a:gd name="T7" fmla="*/ 15 h 56"/>
              <a:gd name="T8" fmla="*/ 24 w 87"/>
              <a:gd name="T9" fmla="*/ 15 h 56"/>
              <a:gd name="T10" fmla="*/ 27 w 87"/>
              <a:gd name="T11" fmla="*/ 16 h 56"/>
              <a:gd name="T12" fmla="*/ 28 w 87"/>
              <a:gd name="T13" fmla="*/ 20 h 56"/>
              <a:gd name="T14" fmla="*/ 35 w 87"/>
              <a:gd name="T15" fmla="*/ 21 h 56"/>
              <a:gd name="T16" fmla="*/ 31 w 87"/>
              <a:gd name="T17" fmla="*/ 21 h 56"/>
              <a:gd name="T18" fmla="*/ 35 w 87"/>
              <a:gd name="T19" fmla="*/ 21 h 56"/>
              <a:gd name="T20" fmla="*/ 37 w 87"/>
              <a:gd name="T21" fmla="*/ 23 h 56"/>
              <a:gd name="T22" fmla="*/ 39 w 87"/>
              <a:gd name="T23" fmla="*/ 26 h 56"/>
              <a:gd name="T24" fmla="*/ 45 w 87"/>
              <a:gd name="T25" fmla="*/ 28 h 56"/>
              <a:gd name="T26" fmla="*/ 41 w 87"/>
              <a:gd name="T27" fmla="*/ 28 h 56"/>
              <a:gd name="T28" fmla="*/ 45 w 87"/>
              <a:gd name="T29" fmla="*/ 28 h 56"/>
              <a:gd name="T30" fmla="*/ 48 w 87"/>
              <a:gd name="T31" fmla="*/ 29 h 56"/>
              <a:gd name="T32" fmla="*/ 49 w 87"/>
              <a:gd name="T33" fmla="*/ 33 h 56"/>
              <a:gd name="T34" fmla="*/ 56 w 87"/>
              <a:gd name="T35" fmla="*/ 35 h 56"/>
              <a:gd name="T36" fmla="*/ 52 w 87"/>
              <a:gd name="T37" fmla="*/ 35 h 56"/>
              <a:gd name="T38" fmla="*/ 56 w 87"/>
              <a:gd name="T39" fmla="*/ 35 h 56"/>
              <a:gd name="T40" fmla="*/ 58 w 87"/>
              <a:gd name="T41" fmla="*/ 36 h 56"/>
              <a:gd name="T42" fmla="*/ 60 w 87"/>
              <a:gd name="T43" fmla="*/ 39 h 56"/>
              <a:gd name="T44" fmla="*/ 66 w 87"/>
              <a:gd name="T45" fmla="*/ 41 h 56"/>
              <a:gd name="T46" fmla="*/ 62 w 87"/>
              <a:gd name="T47" fmla="*/ 41 h 56"/>
              <a:gd name="T48" fmla="*/ 66 w 87"/>
              <a:gd name="T49" fmla="*/ 41 h 56"/>
              <a:gd name="T50" fmla="*/ 68 w 87"/>
              <a:gd name="T51" fmla="*/ 42 h 56"/>
              <a:gd name="T52" fmla="*/ 70 w 87"/>
              <a:gd name="T53" fmla="*/ 46 h 56"/>
              <a:gd name="T54" fmla="*/ 77 w 87"/>
              <a:gd name="T55" fmla="*/ 48 h 56"/>
              <a:gd name="T56" fmla="*/ 73 w 87"/>
              <a:gd name="T57" fmla="*/ 48 h 56"/>
              <a:gd name="T58" fmla="*/ 77 w 87"/>
              <a:gd name="T59" fmla="*/ 48 h 56"/>
              <a:gd name="T60" fmla="*/ 79 w 87"/>
              <a:gd name="T61" fmla="*/ 49 h 56"/>
              <a:gd name="T62" fmla="*/ 80 w 87"/>
              <a:gd name="T63" fmla="*/ 53 h 56"/>
              <a:gd name="T64" fmla="*/ 87 w 87"/>
              <a:gd name="T65" fmla="*/ 54 h 56"/>
              <a:gd name="T66" fmla="*/ 83 w 87"/>
              <a:gd name="T67" fmla="*/ 55 h 56"/>
              <a:gd name="T68" fmla="*/ 87 w 87"/>
              <a:gd name="T69" fmla="*/ 54 h 56"/>
              <a:gd name="T70" fmla="*/ 13 w 87"/>
              <a:gd name="T71" fmla="*/ 10 h 56"/>
              <a:gd name="T72" fmla="*/ 14 w 87"/>
              <a:gd name="T73" fmla="*/ 8 h 56"/>
              <a:gd name="T74" fmla="*/ 18 w 87"/>
              <a:gd name="T75" fmla="*/ 1 h 56"/>
              <a:gd name="T76" fmla="*/ 8 w 87"/>
              <a:gd name="T77"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56">
                <a:moveTo>
                  <a:pt x="18" y="13"/>
                </a:moveTo>
                <a:lnTo>
                  <a:pt x="16" y="11"/>
                </a:lnTo>
                <a:lnTo>
                  <a:pt x="16" y="10"/>
                </a:lnTo>
                <a:lnTo>
                  <a:pt x="19" y="11"/>
                </a:lnTo>
                <a:lnTo>
                  <a:pt x="18" y="13"/>
                </a:lnTo>
                <a:close/>
                <a:moveTo>
                  <a:pt x="24" y="15"/>
                </a:moveTo>
                <a:lnTo>
                  <a:pt x="22" y="13"/>
                </a:lnTo>
                <a:lnTo>
                  <a:pt x="20" y="15"/>
                </a:lnTo>
                <a:lnTo>
                  <a:pt x="23" y="16"/>
                </a:lnTo>
                <a:lnTo>
                  <a:pt x="24" y="15"/>
                </a:lnTo>
                <a:close/>
                <a:moveTo>
                  <a:pt x="30" y="18"/>
                </a:moveTo>
                <a:lnTo>
                  <a:pt x="27" y="16"/>
                </a:lnTo>
                <a:lnTo>
                  <a:pt x="26" y="18"/>
                </a:lnTo>
                <a:lnTo>
                  <a:pt x="28" y="20"/>
                </a:lnTo>
                <a:lnTo>
                  <a:pt x="30" y="18"/>
                </a:lnTo>
                <a:close/>
                <a:moveTo>
                  <a:pt x="35" y="21"/>
                </a:moveTo>
                <a:lnTo>
                  <a:pt x="32" y="19"/>
                </a:lnTo>
                <a:lnTo>
                  <a:pt x="31" y="21"/>
                </a:lnTo>
                <a:lnTo>
                  <a:pt x="33" y="23"/>
                </a:lnTo>
                <a:lnTo>
                  <a:pt x="35" y="21"/>
                </a:lnTo>
                <a:close/>
                <a:moveTo>
                  <a:pt x="40" y="25"/>
                </a:moveTo>
                <a:lnTo>
                  <a:pt x="37" y="23"/>
                </a:lnTo>
                <a:lnTo>
                  <a:pt x="36" y="25"/>
                </a:lnTo>
                <a:lnTo>
                  <a:pt x="39" y="26"/>
                </a:lnTo>
                <a:lnTo>
                  <a:pt x="40" y="25"/>
                </a:lnTo>
                <a:close/>
                <a:moveTo>
                  <a:pt x="45" y="28"/>
                </a:moveTo>
                <a:lnTo>
                  <a:pt x="43" y="26"/>
                </a:lnTo>
                <a:lnTo>
                  <a:pt x="41" y="28"/>
                </a:lnTo>
                <a:lnTo>
                  <a:pt x="44" y="30"/>
                </a:lnTo>
                <a:lnTo>
                  <a:pt x="45" y="28"/>
                </a:lnTo>
                <a:close/>
                <a:moveTo>
                  <a:pt x="50" y="31"/>
                </a:moveTo>
                <a:lnTo>
                  <a:pt x="48" y="29"/>
                </a:lnTo>
                <a:lnTo>
                  <a:pt x="47" y="31"/>
                </a:lnTo>
                <a:lnTo>
                  <a:pt x="49" y="33"/>
                </a:lnTo>
                <a:lnTo>
                  <a:pt x="50" y="31"/>
                </a:lnTo>
                <a:close/>
                <a:moveTo>
                  <a:pt x="56" y="35"/>
                </a:moveTo>
                <a:lnTo>
                  <a:pt x="53" y="33"/>
                </a:lnTo>
                <a:lnTo>
                  <a:pt x="52" y="35"/>
                </a:lnTo>
                <a:lnTo>
                  <a:pt x="54" y="36"/>
                </a:lnTo>
                <a:lnTo>
                  <a:pt x="56" y="35"/>
                </a:lnTo>
                <a:close/>
                <a:moveTo>
                  <a:pt x="60" y="38"/>
                </a:moveTo>
                <a:lnTo>
                  <a:pt x="58" y="36"/>
                </a:lnTo>
                <a:lnTo>
                  <a:pt x="57" y="38"/>
                </a:lnTo>
                <a:lnTo>
                  <a:pt x="60" y="39"/>
                </a:lnTo>
                <a:lnTo>
                  <a:pt x="60" y="38"/>
                </a:lnTo>
                <a:close/>
                <a:moveTo>
                  <a:pt x="66" y="41"/>
                </a:moveTo>
                <a:lnTo>
                  <a:pt x="64" y="39"/>
                </a:lnTo>
                <a:lnTo>
                  <a:pt x="62" y="41"/>
                </a:lnTo>
                <a:lnTo>
                  <a:pt x="64" y="43"/>
                </a:lnTo>
                <a:lnTo>
                  <a:pt x="66" y="41"/>
                </a:lnTo>
                <a:close/>
                <a:moveTo>
                  <a:pt x="71" y="45"/>
                </a:moveTo>
                <a:lnTo>
                  <a:pt x="68" y="42"/>
                </a:lnTo>
                <a:lnTo>
                  <a:pt x="67" y="45"/>
                </a:lnTo>
                <a:lnTo>
                  <a:pt x="70" y="46"/>
                </a:lnTo>
                <a:lnTo>
                  <a:pt x="71" y="45"/>
                </a:lnTo>
                <a:close/>
                <a:moveTo>
                  <a:pt x="77" y="48"/>
                </a:moveTo>
                <a:lnTo>
                  <a:pt x="74" y="46"/>
                </a:lnTo>
                <a:lnTo>
                  <a:pt x="73" y="48"/>
                </a:lnTo>
                <a:lnTo>
                  <a:pt x="75" y="49"/>
                </a:lnTo>
                <a:lnTo>
                  <a:pt x="77" y="48"/>
                </a:lnTo>
                <a:close/>
                <a:moveTo>
                  <a:pt x="81" y="51"/>
                </a:moveTo>
                <a:lnTo>
                  <a:pt x="79" y="49"/>
                </a:lnTo>
                <a:lnTo>
                  <a:pt x="77" y="51"/>
                </a:lnTo>
                <a:lnTo>
                  <a:pt x="80" y="53"/>
                </a:lnTo>
                <a:lnTo>
                  <a:pt x="81" y="51"/>
                </a:lnTo>
                <a:close/>
                <a:moveTo>
                  <a:pt x="87" y="54"/>
                </a:moveTo>
                <a:lnTo>
                  <a:pt x="84" y="52"/>
                </a:lnTo>
                <a:lnTo>
                  <a:pt x="83" y="55"/>
                </a:lnTo>
                <a:lnTo>
                  <a:pt x="85" y="56"/>
                </a:lnTo>
                <a:lnTo>
                  <a:pt x="87" y="54"/>
                </a:lnTo>
                <a:close/>
                <a:moveTo>
                  <a:pt x="8" y="16"/>
                </a:moveTo>
                <a:lnTo>
                  <a:pt x="13" y="10"/>
                </a:lnTo>
                <a:lnTo>
                  <a:pt x="13" y="10"/>
                </a:lnTo>
                <a:lnTo>
                  <a:pt x="14" y="8"/>
                </a:lnTo>
                <a:lnTo>
                  <a:pt x="13" y="8"/>
                </a:lnTo>
                <a:lnTo>
                  <a:pt x="18" y="1"/>
                </a:lnTo>
                <a:lnTo>
                  <a:pt x="0" y="0"/>
                </a:lnTo>
                <a:lnTo>
                  <a:pt x="8" y="16"/>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3" name="Freeform 1000">
            <a:extLst>
              <a:ext uri="{FF2B5EF4-FFF2-40B4-BE49-F238E27FC236}">
                <a16:creationId xmlns:a16="http://schemas.microsoft.com/office/drawing/2014/main" id="{C96D4385-89E6-445B-BCA8-5D882A109968}"/>
              </a:ext>
            </a:extLst>
          </p:cNvPr>
          <p:cNvSpPr>
            <a:spLocks noEditPoints="1"/>
          </p:cNvSpPr>
          <p:nvPr/>
        </p:nvSpPr>
        <p:spPr bwMode="auto">
          <a:xfrm>
            <a:off x="6600423" y="3265777"/>
            <a:ext cx="103413" cy="103410"/>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9 h 38"/>
              <a:gd name="T12" fmla="*/ 8 w 37"/>
              <a:gd name="T13" fmla="*/ 19 h 38"/>
              <a:gd name="T14" fmla="*/ 19 w 37"/>
              <a:gd name="T15" fmla="*/ 30 h 38"/>
              <a:gd name="T16" fmla="*/ 29 w 37"/>
              <a:gd name="T17" fmla="*/ 19 h 38"/>
              <a:gd name="T18" fmla="*/ 19 w 37"/>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9"/>
                </a:moveTo>
                <a:cubicBezTo>
                  <a:pt x="13" y="9"/>
                  <a:pt x="8" y="13"/>
                  <a:pt x="8" y="19"/>
                </a:cubicBezTo>
                <a:cubicBezTo>
                  <a:pt x="8" y="25"/>
                  <a:pt x="13" y="30"/>
                  <a:pt x="19" y="30"/>
                </a:cubicBezTo>
                <a:cubicBezTo>
                  <a:pt x="24" y="30"/>
                  <a:pt x="29" y="25"/>
                  <a:pt x="29" y="19"/>
                </a:cubicBezTo>
                <a:cubicBezTo>
                  <a:pt x="29" y="13"/>
                  <a:pt x="24" y="9"/>
                  <a:pt x="19"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4" name="Freeform 1001">
            <a:extLst>
              <a:ext uri="{FF2B5EF4-FFF2-40B4-BE49-F238E27FC236}">
                <a16:creationId xmlns:a16="http://schemas.microsoft.com/office/drawing/2014/main" id="{B7519E69-5186-4B11-AE88-4E3629B56744}"/>
              </a:ext>
            </a:extLst>
          </p:cNvPr>
          <p:cNvSpPr>
            <a:spLocks noEditPoints="1"/>
          </p:cNvSpPr>
          <p:nvPr/>
        </p:nvSpPr>
        <p:spPr bwMode="auto">
          <a:xfrm>
            <a:off x="6315150" y="3333531"/>
            <a:ext cx="367290" cy="370855"/>
          </a:xfrm>
          <a:custGeom>
            <a:avLst/>
            <a:gdLst>
              <a:gd name="T0" fmla="*/ 29 w 134"/>
              <a:gd name="T1" fmla="*/ 116 h 135"/>
              <a:gd name="T2" fmla="*/ 40 w 134"/>
              <a:gd name="T3" fmla="*/ 123 h 135"/>
              <a:gd name="T4" fmla="*/ 51 w 134"/>
              <a:gd name="T5" fmla="*/ 127 h 135"/>
              <a:gd name="T6" fmla="*/ 64 w 134"/>
              <a:gd name="T7" fmla="*/ 129 h 135"/>
              <a:gd name="T8" fmla="*/ 75 w 134"/>
              <a:gd name="T9" fmla="*/ 129 h 135"/>
              <a:gd name="T10" fmla="*/ 88 w 134"/>
              <a:gd name="T11" fmla="*/ 126 h 135"/>
              <a:gd name="T12" fmla="*/ 98 w 134"/>
              <a:gd name="T13" fmla="*/ 121 h 135"/>
              <a:gd name="T14" fmla="*/ 107 w 134"/>
              <a:gd name="T15" fmla="*/ 115 h 135"/>
              <a:gd name="T16" fmla="*/ 115 w 134"/>
              <a:gd name="T17" fmla="*/ 107 h 135"/>
              <a:gd name="T18" fmla="*/ 122 w 134"/>
              <a:gd name="T19" fmla="*/ 96 h 135"/>
              <a:gd name="T20" fmla="*/ 126 w 134"/>
              <a:gd name="T21" fmla="*/ 86 h 135"/>
              <a:gd name="T22" fmla="*/ 129 w 134"/>
              <a:gd name="T23" fmla="*/ 73 h 135"/>
              <a:gd name="T24" fmla="*/ 129 w 134"/>
              <a:gd name="T25" fmla="*/ 62 h 135"/>
              <a:gd name="T26" fmla="*/ 126 w 134"/>
              <a:gd name="T27" fmla="*/ 49 h 135"/>
              <a:gd name="T28" fmla="*/ 122 w 134"/>
              <a:gd name="T29" fmla="*/ 38 h 135"/>
              <a:gd name="T30" fmla="*/ 114 w 134"/>
              <a:gd name="T31" fmla="*/ 27 h 135"/>
              <a:gd name="T32" fmla="*/ 106 w 134"/>
              <a:gd name="T33" fmla="*/ 20 h 135"/>
              <a:gd name="T34" fmla="*/ 95 w 134"/>
              <a:gd name="T35" fmla="*/ 12 h 135"/>
              <a:gd name="T36" fmla="*/ 85 w 134"/>
              <a:gd name="T37" fmla="*/ 8 h 135"/>
              <a:gd name="T38" fmla="*/ 71 w 134"/>
              <a:gd name="T39" fmla="*/ 6 h 135"/>
              <a:gd name="T40" fmla="*/ 60 w 134"/>
              <a:gd name="T41" fmla="*/ 6 h 135"/>
              <a:gd name="T42" fmla="*/ 47 w 134"/>
              <a:gd name="T43" fmla="*/ 9 h 135"/>
              <a:gd name="T44" fmla="*/ 37 w 134"/>
              <a:gd name="T45" fmla="*/ 14 h 135"/>
              <a:gd name="T46" fmla="*/ 27 w 134"/>
              <a:gd name="T47" fmla="*/ 20 h 135"/>
              <a:gd name="T48" fmla="*/ 20 w 134"/>
              <a:gd name="T49" fmla="*/ 28 h 135"/>
              <a:gd name="T50" fmla="*/ 12 w 134"/>
              <a:gd name="T51" fmla="*/ 40 h 135"/>
              <a:gd name="T52" fmla="*/ 8 w 134"/>
              <a:gd name="T53" fmla="*/ 50 h 135"/>
              <a:gd name="T54" fmla="*/ 6 w 134"/>
              <a:gd name="T55" fmla="*/ 63 h 135"/>
              <a:gd name="T56" fmla="*/ 6 w 134"/>
              <a:gd name="T57" fmla="*/ 74 h 135"/>
              <a:gd name="T58" fmla="*/ 9 w 134"/>
              <a:gd name="T59" fmla="*/ 87 h 135"/>
              <a:gd name="T60" fmla="*/ 13 w 134"/>
              <a:gd name="T61" fmla="*/ 97 h 135"/>
              <a:gd name="T62" fmla="*/ 21 w 134"/>
              <a:gd name="T63" fmla="*/ 108 h 135"/>
              <a:gd name="T64" fmla="*/ 38 w 134"/>
              <a:gd name="T65" fmla="*/ 97 h 135"/>
              <a:gd name="T66" fmla="*/ 96 w 134"/>
              <a:gd name="T67" fmla="*/ 38 h 135"/>
              <a:gd name="T68" fmla="*/ 38 w 134"/>
              <a:gd name="T69"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5">
                <a:moveTo>
                  <a:pt x="21" y="116"/>
                </a:moveTo>
                <a:cubicBezTo>
                  <a:pt x="23" y="117"/>
                  <a:pt x="25" y="119"/>
                  <a:pt x="29" y="116"/>
                </a:cubicBezTo>
                <a:cubicBezTo>
                  <a:pt x="32" y="113"/>
                  <a:pt x="36" y="111"/>
                  <a:pt x="39" y="111"/>
                </a:cubicBezTo>
                <a:cubicBezTo>
                  <a:pt x="41" y="113"/>
                  <a:pt x="41" y="119"/>
                  <a:pt x="40" y="123"/>
                </a:cubicBezTo>
                <a:cubicBezTo>
                  <a:pt x="39" y="129"/>
                  <a:pt x="41" y="129"/>
                  <a:pt x="44" y="130"/>
                </a:cubicBezTo>
                <a:cubicBezTo>
                  <a:pt x="46" y="131"/>
                  <a:pt x="48" y="132"/>
                  <a:pt x="51" y="127"/>
                </a:cubicBezTo>
                <a:cubicBezTo>
                  <a:pt x="53" y="123"/>
                  <a:pt x="56" y="120"/>
                  <a:pt x="58" y="119"/>
                </a:cubicBezTo>
                <a:cubicBezTo>
                  <a:pt x="60" y="119"/>
                  <a:pt x="63" y="125"/>
                  <a:pt x="64" y="129"/>
                </a:cubicBezTo>
                <a:cubicBezTo>
                  <a:pt x="65" y="135"/>
                  <a:pt x="67" y="134"/>
                  <a:pt x="70" y="134"/>
                </a:cubicBezTo>
                <a:cubicBezTo>
                  <a:pt x="72" y="134"/>
                  <a:pt x="74" y="134"/>
                  <a:pt x="75" y="129"/>
                </a:cubicBezTo>
                <a:cubicBezTo>
                  <a:pt x="75" y="125"/>
                  <a:pt x="77" y="120"/>
                  <a:pt x="79" y="118"/>
                </a:cubicBezTo>
                <a:cubicBezTo>
                  <a:pt x="81" y="118"/>
                  <a:pt x="85" y="122"/>
                  <a:pt x="88" y="126"/>
                </a:cubicBezTo>
                <a:cubicBezTo>
                  <a:pt x="91" y="131"/>
                  <a:pt x="93" y="129"/>
                  <a:pt x="95" y="128"/>
                </a:cubicBezTo>
                <a:cubicBezTo>
                  <a:pt x="97" y="127"/>
                  <a:pt x="100" y="126"/>
                  <a:pt x="98" y="121"/>
                </a:cubicBezTo>
                <a:cubicBezTo>
                  <a:pt x="97" y="117"/>
                  <a:pt x="96" y="113"/>
                  <a:pt x="97" y="111"/>
                </a:cubicBezTo>
                <a:cubicBezTo>
                  <a:pt x="100" y="111"/>
                  <a:pt x="104" y="113"/>
                  <a:pt x="107" y="115"/>
                </a:cubicBezTo>
                <a:cubicBezTo>
                  <a:pt x="111" y="119"/>
                  <a:pt x="113" y="116"/>
                  <a:pt x="114" y="115"/>
                </a:cubicBezTo>
                <a:cubicBezTo>
                  <a:pt x="116" y="113"/>
                  <a:pt x="118" y="112"/>
                  <a:pt x="115" y="107"/>
                </a:cubicBezTo>
                <a:cubicBezTo>
                  <a:pt x="112" y="103"/>
                  <a:pt x="110" y="98"/>
                  <a:pt x="111" y="96"/>
                </a:cubicBezTo>
                <a:cubicBezTo>
                  <a:pt x="113" y="95"/>
                  <a:pt x="118" y="95"/>
                  <a:pt x="122" y="96"/>
                </a:cubicBezTo>
                <a:cubicBezTo>
                  <a:pt x="127" y="98"/>
                  <a:pt x="128" y="95"/>
                  <a:pt x="129" y="93"/>
                </a:cubicBezTo>
                <a:cubicBezTo>
                  <a:pt x="130" y="91"/>
                  <a:pt x="131" y="89"/>
                  <a:pt x="126" y="86"/>
                </a:cubicBezTo>
                <a:cubicBezTo>
                  <a:pt x="122" y="83"/>
                  <a:pt x="118" y="79"/>
                  <a:pt x="118" y="77"/>
                </a:cubicBezTo>
                <a:cubicBezTo>
                  <a:pt x="120" y="75"/>
                  <a:pt x="125" y="73"/>
                  <a:pt x="129" y="73"/>
                </a:cubicBezTo>
                <a:cubicBezTo>
                  <a:pt x="134" y="72"/>
                  <a:pt x="134" y="69"/>
                  <a:pt x="134" y="67"/>
                </a:cubicBezTo>
                <a:cubicBezTo>
                  <a:pt x="134" y="65"/>
                  <a:pt x="134" y="62"/>
                  <a:pt x="129" y="62"/>
                </a:cubicBezTo>
                <a:cubicBezTo>
                  <a:pt x="124" y="61"/>
                  <a:pt x="119" y="59"/>
                  <a:pt x="118" y="56"/>
                </a:cubicBezTo>
                <a:cubicBezTo>
                  <a:pt x="119" y="54"/>
                  <a:pt x="122" y="51"/>
                  <a:pt x="126" y="49"/>
                </a:cubicBezTo>
                <a:cubicBezTo>
                  <a:pt x="131" y="46"/>
                  <a:pt x="130" y="43"/>
                  <a:pt x="129" y="41"/>
                </a:cubicBezTo>
                <a:cubicBezTo>
                  <a:pt x="128" y="39"/>
                  <a:pt x="127" y="37"/>
                  <a:pt x="122" y="38"/>
                </a:cubicBezTo>
                <a:cubicBezTo>
                  <a:pt x="117" y="39"/>
                  <a:pt x="111" y="39"/>
                  <a:pt x="110" y="38"/>
                </a:cubicBezTo>
                <a:cubicBezTo>
                  <a:pt x="110" y="35"/>
                  <a:pt x="112" y="31"/>
                  <a:pt x="114" y="27"/>
                </a:cubicBezTo>
                <a:cubicBezTo>
                  <a:pt x="117" y="23"/>
                  <a:pt x="115" y="21"/>
                  <a:pt x="114" y="20"/>
                </a:cubicBezTo>
                <a:cubicBezTo>
                  <a:pt x="112" y="18"/>
                  <a:pt x="111" y="16"/>
                  <a:pt x="106" y="20"/>
                </a:cubicBezTo>
                <a:cubicBezTo>
                  <a:pt x="102" y="22"/>
                  <a:pt x="97" y="24"/>
                  <a:pt x="95" y="24"/>
                </a:cubicBezTo>
                <a:cubicBezTo>
                  <a:pt x="94" y="21"/>
                  <a:pt x="94" y="16"/>
                  <a:pt x="95" y="12"/>
                </a:cubicBezTo>
                <a:cubicBezTo>
                  <a:pt x="96" y="7"/>
                  <a:pt x="94" y="6"/>
                  <a:pt x="92" y="5"/>
                </a:cubicBezTo>
                <a:cubicBezTo>
                  <a:pt x="90" y="5"/>
                  <a:pt x="87" y="3"/>
                  <a:pt x="85" y="8"/>
                </a:cubicBezTo>
                <a:cubicBezTo>
                  <a:pt x="82" y="12"/>
                  <a:pt x="78" y="16"/>
                  <a:pt x="76" y="16"/>
                </a:cubicBezTo>
                <a:cubicBezTo>
                  <a:pt x="74" y="15"/>
                  <a:pt x="72" y="10"/>
                  <a:pt x="71" y="6"/>
                </a:cubicBezTo>
                <a:cubicBezTo>
                  <a:pt x="71" y="0"/>
                  <a:pt x="68" y="1"/>
                  <a:pt x="66" y="1"/>
                </a:cubicBezTo>
                <a:cubicBezTo>
                  <a:pt x="64" y="1"/>
                  <a:pt x="61" y="0"/>
                  <a:pt x="60" y="6"/>
                </a:cubicBezTo>
                <a:cubicBezTo>
                  <a:pt x="60" y="11"/>
                  <a:pt x="57" y="16"/>
                  <a:pt x="55" y="17"/>
                </a:cubicBezTo>
                <a:cubicBezTo>
                  <a:pt x="53" y="16"/>
                  <a:pt x="49" y="13"/>
                  <a:pt x="47" y="9"/>
                </a:cubicBezTo>
                <a:cubicBezTo>
                  <a:pt x="44" y="4"/>
                  <a:pt x="42" y="6"/>
                  <a:pt x="40" y="7"/>
                </a:cubicBezTo>
                <a:cubicBezTo>
                  <a:pt x="38" y="7"/>
                  <a:pt x="35" y="8"/>
                  <a:pt x="37" y="14"/>
                </a:cubicBezTo>
                <a:cubicBezTo>
                  <a:pt x="38" y="17"/>
                  <a:pt x="38" y="22"/>
                  <a:pt x="37" y="24"/>
                </a:cubicBezTo>
                <a:cubicBezTo>
                  <a:pt x="35" y="24"/>
                  <a:pt x="31" y="23"/>
                  <a:pt x="27" y="20"/>
                </a:cubicBezTo>
                <a:cubicBezTo>
                  <a:pt x="23" y="17"/>
                  <a:pt x="21" y="19"/>
                  <a:pt x="20" y="21"/>
                </a:cubicBezTo>
                <a:cubicBezTo>
                  <a:pt x="18" y="22"/>
                  <a:pt x="16" y="24"/>
                  <a:pt x="20" y="28"/>
                </a:cubicBezTo>
                <a:cubicBezTo>
                  <a:pt x="22" y="32"/>
                  <a:pt x="24" y="36"/>
                  <a:pt x="24" y="39"/>
                </a:cubicBezTo>
                <a:cubicBezTo>
                  <a:pt x="22" y="40"/>
                  <a:pt x="17" y="40"/>
                  <a:pt x="12" y="40"/>
                </a:cubicBezTo>
                <a:cubicBezTo>
                  <a:pt x="7" y="38"/>
                  <a:pt x="6" y="41"/>
                  <a:pt x="5" y="43"/>
                </a:cubicBezTo>
                <a:cubicBezTo>
                  <a:pt x="4" y="45"/>
                  <a:pt x="3" y="47"/>
                  <a:pt x="8" y="50"/>
                </a:cubicBezTo>
                <a:cubicBezTo>
                  <a:pt x="12" y="52"/>
                  <a:pt x="15" y="55"/>
                  <a:pt x="16" y="57"/>
                </a:cubicBezTo>
                <a:cubicBezTo>
                  <a:pt x="15" y="60"/>
                  <a:pt x="10" y="62"/>
                  <a:pt x="6" y="63"/>
                </a:cubicBezTo>
                <a:cubicBezTo>
                  <a:pt x="0" y="64"/>
                  <a:pt x="0" y="66"/>
                  <a:pt x="0" y="69"/>
                </a:cubicBezTo>
                <a:cubicBezTo>
                  <a:pt x="1" y="71"/>
                  <a:pt x="0" y="73"/>
                  <a:pt x="6" y="74"/>
                </a:cubicBezTo>
                <a:cubicBezTo>
                  <a:pt x="10" y="75"/>
                  <a:pt x="15" y="76"/>
                  <a:pt x="16" y="78"/>
                </a:cubicBezTo>
                <a:cubicBezTo>
                  <a:pt x="16" y="80"/>
                  <a:pt x="13" y="85"/>
                  <a:pt x="9" y="87"/>
                </a:cubicBezTo>
                <a:cubicBezTo>
                  <a:pt x="4" y="90"/>
                  <a:pt x="5" y="92"/>
                  <a:pt x="6" y="94"/>
                </a:cubicBezTo>
                <a:cubicBezTo>
                  <a:pt x="7" y="96"/>
                  <a:pt x="8" y="99"/>
                  <a:pt x="13" y="97"/>
                </a:cubicBezTo>
                <a:cubicBezTo>
                  <a:pt x="17" y="96"/>
                  <a:pt x="22" y="96"/>
                  <a:pt x="24" y="97"/>
                </a:cubicBezTo>
                <a:cubicBezTo>
                  <a:pt x="25" y="99"/>
                  <a:pt x="23" y="104"/>
                  <a:pt x="21" y="108"/>
                </a:cubicBezTo>
                <a:cubicBezTo>
                  <a:pt x="17" y="113"/>
                  <a:pt x="20" y="114"/>
                  <a:pt x="21" y="116"/>
                </a:cubicBezTo>
                <a:close/>
                <a:moveTo>
                  <a:pt x="38" y="97"/>
                </a:moveTo>
                <a:cubicBezTo>
                  <a:pt x="22" y="81"/>
                  <a:pt x="22" y="55"/>
                  <a:pt x="38" y="38"/>
                </a:cubicBezTo>
                <a:cubicBezTo>
                  <a:pt x="54" y="22"/>
                  <a:pt x="80" y="22"/>
                  <a:pt x="96" y="38"/>
                </a:cubicBezTo>
                <a:cubicBezTo>
                  <a:pt x="113" y="54"/>
                  <a:pt x="113" y="81"/>
                  <a:pt x="97" y="97"/>
                </a:cubicBezTo>
                <a:cubicBezTo>
                  <a:pt x="80" y="113"/>
                  <a:pt x="54" y="113"/>
                  <a:pt x="38" y="9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5" name="Freeform 1002">
            <a:extLst>
              <a:ext uri="{FF2B5EF4-FFF2-40B4-BE49-F238E27FC236}">
                <a16:creationId xmlns:a16="http://schemas.microsoft.com/office/drawing/2014/main" id="{7CD1A6DD-767E-4479-97D2-34DA20EDD97B}"/>
              </a:ext>
            </a:extLst>
          </p:cNvPr>
          <p:cNvSpPr>
            <a:spLocks noEditPoints="1"/>
          </p:cNvSpPr>
          <p:nvPr/>
        </p:nvSpPr>
        <p:spPr bwMode="auto">
          <a:xfrm>
            <a:off x="6646779" y="2424222"/>
            <a:ext cx="103413" cy="106977"/>
          </a:xfrm>
          <a:custGeom>
            <a:avLst/>
            <a:gdLst>
              <a:gd name="T0" fmla="*/ 27 w 37"/>
              <a:gd name="T1" fmla="*/ 39 h 39"/>
              <a:gd name="T2" fmla="*/ 27 w 37"/>
              <a:gd name="T3" fmla="*/ 39 h 39"/>
              <a:gd name="T4" fmla="*/ 26 w 37"/>
              <a:gd name="T5" fmla="*/ 39 h 39"/>
              <a:gd name="T6" fmla="*/ 1 w 37"/>
              <a:gd name="T7" fmla="*/ 5 h 39"/>
              <a:gd name="T8" fmla="*/ 1 w 37"/>
              <a:gd name="T9" fmla="*/ 4 h 39"/>
              <a:gd name="T10" fmla="*/ 1 w 37"/>
              <a:gd name="T11" fmla="*/ 3 h 39"/>
              <a:gd name="T12" fmla="*/ 12 w 37"/>
              <a:gd name="T13" fmla="*/ 0 h 39"/>
              <a:gd name="T14" fmla="*/ 30 w 37"/>
              <a:gd name="T15" fmla="*/ 8 h 39"/>
              <a:gd name="T16" fmla="*/ 28 w 37"/>
              <a:gd name="T17" fmla="*/ 39 h 39"/>
              <a:gd name="T18" fmla="*/ 27 w 37"/>
              <a:gd name="T19" fmla="*/ 39 h 39"/>
              <a:gd name="T20" fmla="*/ 4 w 37"/>
              <a:gd name="T21" fmla="*/ 5 h 39"/>
              <a:gd name="T22" fmla="*/ 27 w 37"/>
              <a:gd name="T23" fmla="*/ 36 h 39"/>
              <a:gd name="T24" fmla="*/ 28 w 37"/>
              <a:gd name="T25" fmla="*/ 10 h 39"/>
              <a:gd name="T26" fmla="*/ 12 w 37"/>
              <a:gd name="T27" fmla="*/ 3 h 39"/>
              <a:gd name="T28" fmla="*/ 4 w 37"/>
              <a:gd name="T29"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7" y="39"/>
                </a:moveTo>
                <a:cubicBezTo>
                  <a:pt x="27" y="39"/>
                  <a:pt x="27" y="39"/>
                  <a:pt x="27" y="39"/>
                </a:cubicBezTo>
                <a:cubicBezTo>
                  <a:pt x="26" y="39"/>
                  <a:pt x="26" y="39"/>
                  <a:pt x="26" y="39"/>
                </a:cubicBezTo>
                <a:cubicBezTo>
                  <a:pt x="1" y="5"/>
                  <a:pt x="1" y="5"/>
                  <a:pt x="1" y="5"/>
                </a:cubicBezTo>
                <a:cubicBezTo>
                  <a:pt x="1" y="5"/>
                  <a:pt x="0" y="4"/>
                  <a:pt x="1" y="4"/>
                </a:cubicBezTo>
                <a:cubicBezTo>
                  <a:pt x="1" y="3"/>
                  <a:pt x="1" y="3"/>
                  <a:pt x="1" y="3"/>
                </a:cubicBezTo>
                <a:cubicBezTo>
                  <a:pt x="5" y="1"/>
                  <a:pt x="8" y="0"/>
                  <a:pt x="12" y="0"/>
                </a:cubicBezTo>
                <a:cubicBezTo>
                  <a:pt x="19" y="0"/>
                  <a:pt x="25" y="3"/>
                  <a:pt x="30" y="8"/>
                </a:cubicBezTo>
                <a:cubicBezTo>
                  <a:pt x="37" y="17"/>
                  <a:pt x="36" y="31"/>
                  <a:pt x="28" y="39"/>
                </a:cubicBezTo>
                <a:lnTo>
                  <a:pt x="27" y="39"/>
                </a:lnTo>
                <a:close/>
                <a:moveTo>
                  <a:pt x="4" y="5"/>
                </a:moveTo>
                <a:cubicBezTo>
                  <a:pt x="27" y="36"/>
                  <a:pt x="27" y="36"/>
                  <a:pt x="27" y="36"/>
                </a:cubicBezTo>
                <a:cubicBezTo>
                  <a:pt x="34" y="29"/>
                  <a:pt x="34" y="18"/>
                  <a:pt x="28" y="10"/>
                </a:cubicBezTo>
                <a:cubicBezTo>
                  <a:pt x="24" y="5"/>
                  <a:pt x="18" y="3"/>
                  <a:pt x="12" y="3"/>
                </a:cubicBezTo>
                <a:cubicBezTo>
                  <a:pt x="9" y="3"/>
                  <a:pt x="7" y="3"/>
                  <a:pt x="4"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6" name="Freeform 1003">
            <a:extLst>
              <a:ext uri="{FF2B5EF4-FFF2-40B4-BE49-F238E27FC236}">
                <a16:creationId xmlns:a16="http://schemas.microsoft.com/office/drawing/2014/main" id="{CBB615B1-C060-4D19-A3AA-7BD21A59F010}"/>
              </a:ext>
            </a:extLst>
          </p:cNvPr>
          <p:cNvSpPr>
            <a:spLocks noEditPoints="1"/>
          </p:cNvSpPr>
          <p:nvPr/>
        </p:nvSpPr>
        <p:spPr bwMode="auto">
          <a:xfrm>
            <a:off x="6614687" y="2442053"/>
            <a:ext cx="99846" cy="106977"/>
          </a:xfrm>
          <a:custGeom>
            <a:avLst/>
            <a:gdLst>
              <a:gd name="T0" fmla="*/ 24 w 36"/>
              <a:gd name="T1" fmla="*/ 39 h 39"/>
              <a:gd name="T2" fmla="*/ 7 w 36"/>
              <a:gd name="T3" fmla="*/ 31 h 39"/>
              <a:gd name="T4" fmla="*/ 9 w 36"/>
              <a:gd name="T5" fmla="*/ 0 h 39"/>
              <a:gd name="T6" fmla="*/ 10 w 36"/>
              <a:gd name="T7" fmla="*/ 0 h 39"/>
              <a:gd name="T8" fmla="*/ 11 w 36"/>
              <a:gd name="T9" fmla="*/ 0 h 39"/>
              <a:gd name="T10" fmla="*/ 36 w 36"/>
              <a:gd name="T11" fmla="*/ 34 h 39"/>
              <a:gd name="T12" fmla="*/ 36 w 36"/>
              <a:gd name="T13" fmla="*/ 35 h 39"/>
              <a:gd name="T14" fmla="*/ 36 w 36"/>
              <a:gd name="T15" fmla="*/ 36 h 39"/>
              <a:gd name="T16" fmla="*/ 24 w 36"/>
              <a:gd name="T17" fmla="*/ 39 h 39"/>
              <a:gd name="T18" fmla="*/ 10 w 36"/>
              <a:gd name="T19" fmla="*/ 3 h 39"/>
              <a:gd name="T20" fmla="*/ 9 w 36"/>
              <a:gd name="T21" fmla="*/ 29 h 39"/>
              <a:gd name="T22" fmla="*/ 24 w 36"/>
              <a:gd name="T23" fmla="*/ 36 h 39"/>
              <a:gd name="T24" fmla="*/ 33 w 36"/>
              <a:gd name="T25" fmla="*/ 34 h 39"/>
              <a:gd name="T26" fmla="*/ 10 w 36"/>
              <a:gd name="T2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0" y="8"/>
                  <a:pt x="9" y="0"/>
                </a:cubicBezTo>
                <a:cubicBezTo>
                  <a:pt x="10" y="0"/>
                  <a:pt x="10" y="0"/>
                  <a:pt x="10" y="0"/>
                </a:cubicBezTo>
                <a:cubicBezTo>
                  <a:pt x="11" y="0"/>
                  <a:pt x="11" y="0"/>
                  <a:pt x="11" y="0"/>
                </a:cubicBezTo>
                <a:cubicBezTo>
                  <a:pt x="36" y="34"/>
                  <a:pt x="36" y="34"/>
                  <a:pt x="36" y="34"/>
                </a:cubicBezTo>
                <a:cubicBezTo>
                  <a:pt x="36" y="34"/>
                  <a:pt x="36" y="35"/>
                  <a:pt x="36" y="35"/>
                </a:cubicBezTo>
                <a:cubicBezTo>
                  <a:pt x="36" y="35"/>
                  <a:pt x="36" y="36"/>
                  <a:pt x="36" y="36"/>
                </a:cubicBezTo>
                <a:cubicBezTo>
                  <a:pt x="32" y="38"/>
                  <a:pt x="28" y="39"/>
                  <a:pt x="24" y="39"/>
                </a:cubicBezTo>
                <a:close/>
                <a:moveTo>
                  <a:pt x="10" y="3"/>
                </a:moveTo>
                <a:cubicBezTo>
                  <a:pt x="3" y="10"/>
                  <a:pt x="3" y="21"/>
                  <a:pt x="9" y="29"/>
                </a:cubicBezTo>
                <a:cubicBezTo>
                  <a:pt x="13" y="34"/>
                  <a:pt x="18" y="36"/>
                  <a:pt x="24" y="36"/>
                </a:cubicBezTo>
                <a:cubicBezTo>
                  <a:pt x="27" y="36"/>
                  <a:pt x="30" y="36"/>
                  <a:pt x="33" y="34"/>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7" name="Freeform 1004">
            <a:extLst>
              <a:ext uri="{FF2B5EF4-FFF2-40B4-BE49-F238E27FC236}">
                <a16:creationId xmlns:a16="http://schemas.microsoft.com/office/drawing/2014/main" id="{B5404A6D-62B7-40C0-BF71-89586E5DB46F}"/>
              </a:ext>
            </a:extLst>
          </p:cNvPr>
          <p:cNvSpPr>
            <a:spLocks noEditPoints="1"/>
          </p:cNvSpPr>
          <p:nvPr/>
        </p:nvSpPr>
        <p:spPr bwMode="auto">
          <a:xfrm>
            <a:off x="6325847" y="2638177"/>
            <a:ext cx="556282" cy="545583"/>
          </a:xfrm>
          <a:custGeom>
            <a:avLst/>
            <a:gdLst>
              <a:gd name="T0" fmla="*/ 101 w 203"/>
              <a:gd name="T1" fmla="*/ 199 h 199"/>
              <a:gd name="T2" fmla="*/ 37 w 203"/>
              <a:gd name="T3" fmla="*/ 175 h 199"/>
              <a:gd name="T4" fmla="*/ 2 w 203"/>
              <a:gd name="T5" fmla="*/ 108 h 199"/>
              <a:gd name="T6" fmla="*/ 25 w 203"/>
              <a:gd name="T7" fmla="*/ 35 h 199"/>
              <a:gd name="T8" fmla="*/ 101 w 203"/>
              <a:gd name="T9" fmla="*/ 0 h 199"/>
              <a:gd name="T10" fmla="*/ 165 w 203"/>
              <a:gd name="T11" fmla="*/ 23 h 199"/>
              <a:gd name="T12" fmla="*/ 200 w 203"/>
              <a:gd name="T13" fmla="*/ 91 h 199"/>
              <a:gd name="T14" fmla="*/ 177 w 203"/>
              <a:gd name="T15" fmla="*/ 164 h 199"/>
              <a:gd name="T16" fmla="*/ 101 w 203"/>
              <a:gd name="T17" fmla="*/ 199 h 199"/>
              <a:gd name="T18" fmla="*/ 101 w 203"/>
              <a:gd name="T19" fmla="*/ 5 h 199"/>
              <a:gd name="T20" fmla="*/ 29 w 203"/>
              <a:gd name="T21" fmla="*/ 38 h 199"/>
              <a:gd name="T22" fmla="*/ 7 w 203"/>
              <a:gd name="T23" fmla="*/ 107 h 199"/>
              <a:gd name="T24" fmla="*/ 40 w 203"/>
              <a:gd name="T25" fmla="*/ 171 h 199"/>
              <a:gd name="T26" fmla="*/ 101 w 203"/>
              <a:gd name="T27" fmla="*/ 194 h 199"/>
              <a:gd name="T28" fmla="*/ 101 w 203"/>
              <a:gd name="T29" fmla="*/ 194 h 199"/>
              <a:gd name="T30" fmla="*/ 173 w 203"/>
              <a:gd name="T31" fmla="*/ 160 h 199"/>
              <a:gd name="T32" fmla="*/ 195 w 203"/>
              <a:gd name="T33" fmla="*/ 92 h 199"/>
              <a:gd name="T34" fmla="*/ 162 w 203"/>
              <a:gd name="T35" fmla="*/ 27 h 199"/>
              <a:gd name="T36" fmla="*/ 101 w 203"/>
              <a:gd name="T37" fmla="*/ 5 h 199"/>
              <a:gd name="T38" fmla="*/ 101 w 203"/>
              <a:gd name="T39" fmla="*/ 137 h 199"/>
              <a:gd name="T40" fmla="*/ 76 w 203"/>
              <a:gd name="T41" fmla="*/ 128 h 199"/>
              <a:gd name="T42" fmla="*/ 63 w 203"/>
              <a:gd name="T43" fmla="*/ 102 h 199"/>
              <a:gd name="T44" fmla="*/ 72 w 203"/>
              <a:gd name="T45" fmla="*/ 75 h 199"/>
              <a:gd name="T46" fmla="*/ 101 w 203"/>
              <a:gd name="T47" fmla="*/ 61 h 199"/>
              <a:gd name="T48" fmla="*/ 126 w 203"/>
              <a:gd name="T49" fmla="*/ 70 h 199"/>
              <a:gd name="T50" fmla="*/ 139 w 203"/>
              <a:gd name="T51" fmla="*/ 96 h 199"/>
              <a:gd name="T52" fmla="*/ 130 w 203"/>
              <a:gd name="T53" fmla="*/ 124 h 199"/>
              <a:gd name="T54" fmla="*/ 101 w 203"/>
              <a:gd name="T55" fmla="*/ 137 h 199"/>
              <a:gd name="T56" fmla="*/ 101 w 203"/>
              <a:gd name="T57" fmla="*/ 67 h 199"/>
              <a:gd name="T58" fmla="*/ 76 w 203"/>
              <a:gd name="T59" fmla="*/ 78 h 199"/>
              <a:gd name="T60" fmla="*/ 69 w 203"/>
              <a:gd name="T61" fmla="*/ 102 h 199"/>
              <a:gd name="T62" fmla="*/ 80 w 203"/>
              <a:gd name="T63" fmla="*/ 124 h 199"/>
              <a:gd name="T64" fmla="*/ 101 w 203"/>
              <a:gd name="T65" fmla="*/ 132 h 199"/>
              <a:gd name="T66" fmla="*/ 126 w 203"/>
              <a:gd name="T67" fmla="*/ 120 h 199"/>
              <a:gd name="T68" fmla="*/ 134 w 203"/>
              <a:gd name="T69" fmla="*/ 97 h 199"/>
              <a:gd name="T70" fmla="*/ 122 w 203"/>
              <a:gd name="T71" fmla="*/ 74 h 199"/>
              <a:gd name="T72" fmla="*/ 101 w 203"/>
              <a:gd name="T73" fmla="*/ 6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199">
                <a:moveTo>
                  <a:pt x="101" y="199"/>
                </a:moveTo>
                <a:cubicBezTo>
                  <a:pt x="77" y="199"/>
                  <a:pt x="55" y="191"/>
                  <a:pt x="37" y="175"/>
                </a:cubicBezTo>
                <a:cubicBezTo>
                  <a:pt x="16" y="158"/>
                  <a:pt x="4" y="134"/>
                  <a:pt x="2" y="108"/>
                </a:cubicBezTo>
                <a:cubicBezTo>
                  <a:pt x="0" y="81"/>
                  <a:pt x="8" y="55"/>
                  <a:pt x="25" y="35"/>
                </a:cubicBezTo>
                <a:cubicBezTo>
                  <a:pt x="44" y="13"/>
                  <a:pt x="72" y="0"/>
                  <a:pt x="101" y="0"/>
                </a:cubicBezTo>
                <a:cubicBezTo>
                  <a:pt x="125" y="0"/>
                  <a:pt x="147" y="8"/>
                  <a:pt x="165" y="23"/>
                </a:cubicBezTo>
                <a:cubicBezTo>
                  <a:pt x="186" y="41"/>
                  <a:pt x="198" y="65"/>
                  <a:pt x="200" y="91"/>
                </a:cubicBezTo>
                <a:cubicBezTo>
                  <a:pt x="203" y="118"/>
                  <a:pt x="194" y="143"/>
                  <a:pt x="177" y="164"/>
                </a:cubicBezTo>
                <a:cubicBezTo>
                  <a:pt x="158" y="186"/>
                  <a:pt x="130" y="199"/>
                  <a:pt x="101" y="199"/>
                </a:cubicBezTo>
                <a:close/>
                <a:moveTo>
                  <a:pt x="101" y="5"/>
                </a:moveTo>
                <a:cubicBezTo>
                  <a:pt x="73" y="5"/>
                  <a:pt x="47" y="17"/>
                  <a:pt x="29" y="38"/>
                </a:cubicBezTo>
                <a:cubicBezTo>
                  <a:pt x="13" y="58"/>
                  <a:pt x="5" y="82"/>
                  <a:pt x="7" y="107"/>
                </a:cubicBezTo>
                <a:cubicBezTo>
                  <a:pt x="9" y="132"/>
                  <a:pt x="21" y="155"/>
                  <a:pt x="40" y="171"/>
                </a:cubicBezTo>
                <a:cubicBezTo>
                  <a:pt x="57" y="186"/>
                  <a:pt x="79" y="194"/>
                  <a:pt x="101" y="194"/>
                </a:cubicBezTo>
                <a:cubicBezTo>
                  <a:pt x="101" y="194"/>
                  <a:pt x="101" y="194"/>
                  <a:pt x="101" y="194"/>
                </a:cubicBezTo>
                <a:cubicBezTo>
                  <a:pt x="129" y="194"/>
                  <a:pt x="155" y="181"/>
                  <a:pt x="173" y="160"/>
                </a:cubicBezTo>
                <a:cubicBezTo>
                  <a:pt x="189" y="141"/>
                  <a:pt x="197" y="117"/>
                  <a:pt x="195" y="92"/>
                </a:cubicBezTo>
                <a:cubicBezTo>
                  <a:pt x="193" y="67"/>
                  <a:pt x="181" y="44"/>
                  <a:pt x="162" y="27"/>
                </a:cubicBezTo>
                <a:cubicBezTo>
                  <a:pt x="145" y="13"/>
                  <a:pt x="123" y="5"/>
                  <a:pt x="101" y="5"/>
                </a:cubicBezTo>
                <a:close/>
                <a:moveTo>
                  <a:pt x="101" y="137"/>
                </a:moveTo>
                <a:cubicBezTo>
                  <a:pt x="92" y="137"/>
                  <a:pt x="83" y="134"/>
                  <a:pt x="76" y="128"/>
                </a:cubicBezTo>
                <a:cubicBezTo>
                  <a:pt x="69" y="122"/>
                  <a:pt x="64" y="113"/>
                  <a:pt x="63" y="102"/>
                </a:cubicBezTo>
                <a:cubicBezTo>
                  <a:pt x="62" y="92"/>
                  <a:pt x="66" y="83"/>
                  <a:pt x="72" y="75"/>
                </a:cubicBezTo>
                <a:cubicBezTo>
                  <a:pt x="79" y="66"/>
                  <a:pt x="90" y="61"/>
                  <a:pt x="101" y="61"/>
                </a:cubicBezTo>
                <a:cubicBezTo>
                  <a:pt x="110" y="61"/>
                  <a:pt x="119" y="65"/>
                  <a:pt x="126" y="70"/>
                </a:cubicBezTo>
                <a:cubicBezTo>
                  <a:pt x="133" y="77"/>
                  <a:pt x="138" y="86"/>
                  <a:pt x="139" y="96"/>
                </a:cubicBezTo>
                <a:cubicBezTo>
                  <a:pt x="140" y="106"/>
                  <a:pt x="137" y="116"/>
                  <a:pt x="130" y="124"/>
                </a:cubicBezTo>
                <a:cubicBezTo>
                  <a:pt x="123" y="132"/>
                  <a:pt x="112" y="137"/>
                  <a:pt x="101" y="137"/>
                </a:cubicBezTo>
                <a:close/>
                <a:moveTo>
                  <a:pt x="101" y="67"/>
                </a:moveTo>
                <a:cubicBezTo>
                  <a:pt x="91" y="67"/>
                  <a:pt x="82" y="71"/>
                  <a:pt x="76" y="78"/>
                </a:cubicBezTo>
                <a:cubicBezTo>
                  <a:pt x="71" y="85"/>
                  <a:pt x="68" y="93"/>
                  <a:pt x="69" y="102"/>
                </a:cubicBezTo>
                <a:cubicBezTo>
                  <a:pt x="69" y="111"/>
                  <a:pt x="73" y="119"/>
                  <a:pt x="80" y="124"/>
                </a:cubicBezTo>
                <a:cubicBezTo>
                  <a:pt x="86" y="129"/>
                  <a:pt x="93" y="132"/>
                  <a:pt x="101" y="132"/>
                </a:cubicBezTo>
                <a:cubicBezTo>
                  <a:pt x="111" y="132"/>
                  <a:pt x="120" y="128"/>
                  <a:pt x="126" y="120"/>
                </a:cubicBezTo>
                <a:cubicBezTo>
                  <a:pt x="132" y="114"/>
                  <a:pt x="134" y="105"/>
                  <a:pt x="134" y="97"/>
                </a:cubicBezTo>
                <a:cubicBezTo>
                  <a:pt x="133" y="88"/>
                  <a:pt x="129" y="80"/>
                  <a:pt x="122" y="74"/>
                </a:cubicBezTo>
                <a:cubicBezTo>
                  <a:pt x="116" y="69"/>
                  <a:pt x="109" y="67"/>
                  <a:pt x="101" y="6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8" name="Freeform 1005">
            <a:extLst>
              <a:ext uri="{FF2B5EF4-FFF2-40B4-BE49-F238E27FC236}">
                <a16:creationId xmlns:a16="http://schemas.microsoft.com/office/drawing/2014/main" id="{F67A30C4-795F-4E16-8BC5-47F740A9D06F}"/>
              </a:ext>
            </a:extLst>
          </p:cNvPr>
          <p:cNvSpPr>
            <a:spLocks noEditPoints="1"/>
          </p:cNvSpPr>
          <p:nvPr/>
        </p:nvSpPr>
        <p:spPr bwMode="auto">
          <a:xfrm>
            <a:off x="6261661" y="2570425"/>
            <a:ext cx="681090" cy="677523"/>
          </a:xfrm>
          <a:custGeom>
            <a:avLst/>
            <a:gdLst>
              <a:gd name="T0" fmla="*/ 103 w 248"/>
              <a:gd name="T1" fmla="*/ 246 h 247"/>
              <a:gd name="T2" fmla="*/ 72 w 248"/>
              <a:gd name="T3" fmla="*/ 236 h 247"/>
              <a:gd name="T4" fmla="*/ 45 w 248"/>
              <a:gd name="T5" fmla="*/ 219 h 247"/>
              <a:gd name="T6" fmla="*/ 23 w 248"/>
              <a:gd name="T7" fmla="*/ 195 h 247"/>
              <a:gd name="T8" fmla="*/ 15 w 248"/>
              <a:gd name="T9" fmla="*/ 172 h 247"/>
              <a:gd name="T10" fmla="*/ 0 w 248"/>
              <a:gd name="T11" fmla="*/ 134 h 247"/>
              <a:gd name="T12" fmla="*/ 2 w 248"/>
              <a:gd name="T13" fmla="*/ 101 h 247"/>
              <a:gd name="T14" fmla="*/ 12 w 248"/>
              <a:gd name="T15" fmla="*/ 70 h 247"/>
              <a:gd name="T16" fmla="*/ 29 w 248"/>
              <a:gd name="T17" fmla="*/ 44 h 247"/>
              <a:gd name="T18" fmla="*/ 51 w 248"/>
              <a:gd name="T19" fmla="*/ 34 h 247"/>
              <a:gd name="T20" fmla="*/ 76 w 248"/>
              <a:gd name="T21" fmla="*/ 18 h 247"/>
              <a:gd name="T22" fmla="*/ 105 w 248"/>
              <a:gd name="T23" fmla="*/ 9 h 247"/>
              <a:gd name="T24" fmla="*/ 135 w 248"/>
              <a:gd name="T25" fmla="*/ 8 h 247"/>
              <a:gd name="T26" fmla="*/ 165 w 248"/>
              <a:gd name="T27" fmla="*/ 15 h 247"/>
              <a:gd name="T28" fmla="*/ 191 w 248"/>
              <a:gd name="T29" fmla="*/ 29 h 247"/>
              <a:gd name="T30" fmla="*/ 203 w 248"/>
              <a:gd name="T31" fmla="*/ 53 h 247"/>
              <a:gd name="T32" fmla="*/ 218 w 248"/>
              <a:gd name="T33" fmla="*/ 75 h 247"/>
              <a:gd name="T34" fmla="*/ 235 w 248"/>
              <a:gd name="T35" fmla="*/ 94 h 247"/>
              <a:gd name="T36" fmla="*/ 229 w 248"/>
              <a:gd name="T37" fmla="*/ 128 h 247"/>
              <a:gd name="T38" fmla="*/ 234 w 248"/>
              <a:gd name="T39" fmla="*/ 154 h 247"/>
              <a:gd name="T40" fmla="*/ 223 w 248"/>
              <a:gd name="T41" fmla="*/ 181 h 247"/>
              <a:gd name="T42" fmla="*/ 212 w 248"/>
              <a:gd name="T43" fmla="*/ 208 h 247"/>
              <a:gd name="T44" fmla="*/ 190 w 248"/>
              <a:gd name="T45" fmla="*/ 227 h 247"/>
              <a:gd name="T46" fmla="*/ 162 w 248"/>
              <a:gd name="T47" fmla="*/ 241 h 247"/>
              <a:gd name="T48" fmla="*/ 132 w 248"/>
              <a:gd name="T49" fmla="*/ 247 h 247"/>
              <a:gd name="T50" fmla="*/ 135 w 248"/>
              <a:gd name="T51" fmla="*/ 242 h 247"/>
              <a:gd name="T52" fmla="*/ 162 w 248"/>
              <a:gd name="T53" fmla="*/ 236 h 247"/>
              <a:gd name="T54" fmla="*/ 171 w 248"/>
              <a:gd name="T55" fmla="*/ 211 h 247"/>
              <a:gd name="T56" fmla="*/ 190 w 248"/>
              <a:gd name="T57" fmla="*/ 198 h 247"/>
              <a:gd name="T58" fmla="*/ 214 w 248"/>
              <a:gd name="T59" fmla="*/ 194 h 247"/>
              <a:gd name="T60" fmla="*/ 231 w 248"/>
              <a:gd name="T61" fmla="*/ 174 h 247"/>
              <a:gd name="T62" fmla="*/ 237 w 248"/>
              <a:gd name="T63" fmla="*/ 148 h 247"/>
              <a:gd name="T64" fmla="*/ 238 w 248"/>
              <a:gd name="T65" fmla="*/ 119 h 247"/>
              <a:gd name="T66" fmla="*/ 233 w 248"/>
              <a:gd name="T67" fmla="*/ 89 h 247"/>
              <a:gd name="T68" fmla="*/ 212 w 248"/>
              <a:gd name="T69" fmla="*/ 78 h 247"/>
              <a:gd name="T70" fmla="*/ 216 w 248"/>
              <a:gd name="T71" fmla="*/ 55 h 247"/>
              <a:gd name="T72" fmla="*/ 201 w 248"/>
              <a:gd name="T73" fmla="*/ 33 h 247"/>
              <a:gd name="T74" fmla="*/ 177 w 248"/>
              <a:gd name="T75" fmla="*/ 22 h 247"/>
              <a:gd name="T76" fmla="*/ 154 w 248"/>
              <a:gd name="T77" fmla="*/ 29 h 247"/>
              <a:gd name="T78" fmla="*/ 141 w 248"/>
              <a:gd name="T79" fmla="*/ 10 h 247"/>
              <a:gd name="T80" fmla="*/ 114 w 248"/>
              <a:gd name="T81" fmla="*/ 5 h 247"/>
              <a:gd name="T82" fmla="*/ 85 w 248"/>
              <a:gd name="T83" fmla="*/ 11 h 247"/>
              <a:gd name="T84" fmla="*/ 59 w 248"/>
              <a:gd name="T85" fmla="*/ 24 h 247"/>
              <a:gd name="T86" fmla="*/ 53 w 248"/>
              <a:gd name="T87" fmla="*/ 51 h 247"/>
              <a:gd name="T88" fmla="*/ 41 w 248"/>
              <a:gd name="T89" fmla="*/ 68 h 247"/>
              <a:gd name="T90" fmla="*/ 16 w 248"/>
              <a:gd name="T91" fmla="*/ 73 h 247"/>
              <a:gd name="T92" fmla="*/ 7 w 248"/>
              <a:gd name="T93" fmla="*/ 102 h 247"/>
              <a:gd name="T94" fmla="*/ 6 w 248"/>
              <a:gd name="T95" fmla="*/ 133 h 247"/>
              <a:gd name="T96" fmla="*/ 12 w 248"/>
              <a:gd name="T97" fmla="*/ 163 h 247"/>
              <a:gd name="T98" fmla="*/ 36 w 248"/>
              <a:gd name="T99" fmla="*/ 168 h 247"/>
              <a:gd name="T100" fmla="*/ 46 w 248"/>
              <a:gd name="T101" fmla="*/ 189 h 247"/>
              <a:gd name="T102" fmla="*/ 50 w 248"/>
              <a:gd name="T103" fmla="*/ 216 h 247"/>
              <a:gd name="T104" fmla="*/ 73 w 248"/>
              <a:gd name="T105" fmla="*/ 231 h 247"/>
              <a:gd name="T106" fmla="*/ 100 w 248"/>
              <a:gd name="T107" fmla="*/ 235 h 247"/>
              <a:gd name="T108" fmla="*/ 118 w 248"/>
              <a:gd name="T109" fmla="*/ 223 h 247"/>
              <a:gd name="T110" fmla="*/ 210 w 248"/>
              <a:gd name="T111" fmla="*/ 116 h 247"/>
              <a:gd name="T112" fmla="*/ 124 w 248"/>
              <a:gd name="T113" fmla="*/ 20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8" h="247">
                <a:moveTo>
                  <a:pt x="132" y="247"/>
                </a:moveTo>
                <a:cubicBezTo>
                  <a:pt x="128" y="247"/>
                  <a:pt x="126" y="244"/>
                  <a:pt x="124" y="239"/>
                </a:cubicBezTo>
                <a:cubicBezTo>
                  <a:pt x="123" y="234"/>
                  <a:pt x="120" y="230"/>
                  <a:pt x="119" y="228"/>
                </a:cubicBezTo>
                <a:cubicBezTo>
                  <a:pt x="117" y="230"/>
                  <a:pt x="115" y="234"/>
                  <a:pt x="114" y="238"/>
                </a:cubicBezTo>
                <a:cubicBezTo>
                  <a:pt x="113" y="240"/>
                  <a:pt x="111" y="246"/>
                  <a:pt x="105" y="246"/>
                </a:cubicBezTo>
                <a:cubicBezTo>
                  <a:pt x="104" y="246"/>
                  <a:pt x="104" y="246"/>
                  <a:pt x="103" y="246"/>
                </a:cubicBezTo>
                <a:cubicBezTo>
                  <a:pt x="102" y="245"/>
                  <a:pt x="102" y="245"/>
                  <a:pt x="102" y="245"/>
                </a:cubicBezTo>
                <a:cubicBezTo>
                  <a:pt x="98" y="245"/>
                  <a:pt x="94" y="243"/>
                  <a:pt x="94" y="235"/>
                </a:cubicBezTo>
                <a:cubicBezTo>
                  <a:pt x="94" y="230"/>
                  <a:pt x="93" y="225"/>
                  <a:pt x="92" y="223"/>
                </a:cubicBezTo>
                <a:cubicBezTo>
                  <a:pt x="90" y="225"/>
                  <a:pt x="87" y="228"/>
                  <a:pt x="84" y="231"/>
                </a:cubicBezTo>
                <a:cubicBezTo>
                  <a:pt x="82" y="235"/>
                  <a:pt x="79" y="237"/>
                  <a:pt x="76" y="237"/>
                </a:cubicBezTo>
                <a:cubicBezTo>
                  <a:pt x="75" y="237"/>
                  <a:pt x="73" y="236"/>
                  <a:pt x="72" y="236"/>
                </a:cubicBezTo>
                <a:cubicBezTo>
                  <a:pt x="71" y="236"/>
                  <a:pt x="71" y="236"/>
                  <a:pt x="71" y="236"/>
                </a:cubicBezTo>
                <a:cubicBezTo>
                  <a:pt x="67" y="234"/>
                  <a:pt x="64" y="231"/>
                  <a:pt x="66" y="223"/>
                </a:cubicBezTo>
                <a:cubicBezTo>
                  <a:pt x="68" y="218"/>
                  <a:pt x="68" y="214"/>
                  <a:pt x="67" y="212"/>
                </a:cubicBezTo>
                <a:cubicBezTo>
                  <a:pt x="65" y="212"/>
                  <a:pt x="61" y="214"/>
                  <a:pt x="58" y="217"/>
                </a:cubicBezTo>
                <a:cubicBezTo>
                  <a:pt x="55" y="220"/>
                  <a:pt x="53" y="221"/>
                  <a:pt x="50" y="221"/>
                </a:cubicBezTo>
                <a:cubicBezTo>
                  <a:pt x="48" y="221"/>
                  <a:pt x="46" y="220"/>
                  <a:pt x="45" y="219"/>
                </a:cubicBezTo>
                <a:cubicBezTo>
                  <a:pt x="44" y="218"/>
                  <a:pt x="44" y="218"/>
                  <a:pt x="44" y="218"/>
                </a:cubicBezTo>
                <a:cubicBezTo>
                  <a:pt x="41" y="215"/>
                  <a:pt x="38" y="212"/>
                  <a:pt x="43" y="205"/>
                </a:cubicBezTo>
                <a:cubicBezTo>
                  <a:pt x="45" y="200"/>
                  <a:pt x="46" y="196"/>
                  <a:pt x="46" y="194"/>
                </a:cubicBezTo>
                <a:cubicBezTo>
                  <a:pt x="43" y="194"/>
                  <a:pt x="39" y="195"/>
                  <a:pt x="35" y="197"/>
                </a:cubicBezTo>
                <a:cubicBezTo>
                  <a:pt x="33" y="198"/>
                  <a:pt x="31" y="199"/>
                  <a:pt x="29" y="199"/>
                </a:cubicBezTo>
                <a:cubicBezTo>
                  <a:pt x="25" y="199"/>
                  <a:pt x="24" y="196"/>
                  <a:pt x="23" y="195"/>
                </a:cubicBezTo>
                <a:cubicBezTo>
                  <a:pt x="22" y="194"/>
                  <a:pt x="22" y="194"/>
                  <a:pt x="22" y="194"/>
                </a:cubicBezTo>
                <a:cubicBezTo>
                  <a:pt x="20" y="192"/>
                  <a:pt x="17" y="188"/>
                  <a:pt x="24" y="181"/>
                </a:cubicBezTo>
                <a:cubicBezTo>
                  <a:pt x="28" y="177"/>
                  <a:pt x="30" y="173"/>
                  <a:pt x="31" y="171"/>
                </a:cubicBezTo>
                <a:cubicBezTo>
                  <a:pt x="30" y="171"/>
                  <a:pt x="28" y="171"/>
                  <a:pt x="26" y="171"/>
                </a:cubicBezTo>
                <a:cubicBezTo>
                  <a:pt x="24" y="171"/>
                  <a:pt x="22" y="171"/>
                  <a:pt x="19" y="172"/>
                </a:cubicBezTo>
                <a:cubicBezTo>
                  <a:pt x="18" y="172"/>
                  <a:pt x="17" y="172"/>
                  <a:pt x="15" y="172"/>
                </a:cubicBezTo>
                <a:cubicBezTo>
                  <a:pt x="10" y="172"/>
                  <a:pt x="8" y="168"/>
                  <a:pt x="8" y="166"/>
                </a:cubicBezTo>
                <a:cubicBezTo>
                  <a:pt x="7" y="165"/>
                  <a:pt x="7" y="165"/>
                  <a:pt x="7" y="165"/>
                </a:cubicBezTo>
                <a:cubicBezTo>
                  <a:pt x="6" y="161"/>
                  <a:pt x="5" y="157"/>
                  <a:pt x="13" y="153"/>
                </a:cubicBezTo>
                <a:cubicBezTo>
                  <a:pt x="17" y="151"/>
                  <a:pt x="20" y="147"/>
                  <a:pt x="21" y="146"/>
                </a:cubicBezTo>
                <a:cubicBezTo>
                  <a:pt x="19" y="144"/>
                  <a:pt x="15" y="143"/>
                  <a:pt x="10" y="143"/>
                </a:cubicBezTo>
                <a:cubicBezTo>
                  <a:pt x="1" y="143"/>
                  <a:pt x="1" y="137"/>
                  <a:pt x="0" y="134"/>
                </a:cubicBezTo>
                <a:cubicBezTo>
                  <a:pt x="0" y="134"/>
                  <a:pt x="0" y="134"/>
                  <a:pt x="0" y="134"/>
                </a:cubicBezTo>
                <a:cubicBezTo>
                  <a:pt x="0" y="129"/>
                  <a:pt x="1" y="125"/>
                  <a:pt x="9" y="124"/>
                </a:cubicBezTo>
                <a:cubicBezTo>
                  <a:pt x="14" y="122"/>
                  <a:pt x="18" y="120"/>
                  <a:pt x="19" y="118"/>
                </a:cubicBezTo>
                <a:cubicBezTo>
                  <a:pt x="17" y="116"/>
                  <a:pt x="14" y="114"/>
                  <a:pt x="9" y="113"/>
                </a:cubicBezTo>
                <a:cubicBezTo>
                  <a:pt x="0" y="110"/>
                  <a:pt x="1" y="105"/>
                  <a:pt x="2" y="102"/>
                </a:cubicBezTo>
                <a:cubicBezTo>
                  <a:pt x="2" y="101"/>
                  <a:pt x="2" y="101"/>
                  <a:pt x="2" y="101"/>
                </a:cubicBezTo>
                <a:cubicBezTo>
                  <a:pt x="2" y="99"/>
                  <a:pt x="3" y="94"/>
                  <a:pt x="12" y="94"/>
                </a:cubicBezTo>
                <a:cubicBezTo>
                  <a:pt x="12" y="94"/>
                  <a:pt x="12" y="94"/>
                  <a:pt x="12" y="94"/>
                </a:cubicBezTo>
                <a:cubicBezTo>
                  <a:pt x="18" y="94"/>
                  <a:pt x="22" y="92"/>
                  <a:pt x="24" y="91"/>
                </a:cubicBezTo>
                <a:cubicBezTo>
                  <a:pt x="23" y="89"/>
                  <a:pt x="20" y="86"/>
                  <a:pt x="16" y="83"/>
                </a:cubicBezTo>
                <a:cubicBezTo>
                  <a:pt x="8" y="79"/>
                  <a:pt x="10" y="74"/>
                  <a:pt x="11" y="71"/>
                </a:cubicBezTo>
                <a:cubicBezTo>
                  <a:pt x="12" y="70"/>
                  <a:pt x="12" y="70"/>
                  <a:pt x="12" y="70"/>
                </a:cubicBezTo>
                <a:cubicBezTo>
                  <a:pt x="13" y="69"/>
                  <a:pt x="14" y="65"/>
                  <a:pt x="19" y="65"/>
                </a:cubicBezTo>
                <a:cubicBezTo>
                  <a:pt x="21" y="65"/>
                  <a:pt x="22" y="65"/>
                  <a:pt x="24" y="66"/>
                </a:cubicBezTo>
                <a:cubicBezTo>
                  <a:pt x="26" y="66"/>
                  <a:pt x="29" y="67"/>
                  <a:pt x="32" y="67"/>
                </a:cubicBezTo>
                <a:cubicBezTo>
                  <a:pt x="34" y="67"/>
                  <a:pt x="35" y="67"/>
                  <a:pt x="36" y="66"/>
                </a:cubicBezTo>
                <a:cubicBezTo>
                  <a:pt x="35" y="64"/>
                  <a:pt x="33" y="60"/>
                  <a:pt x="30" y="57"/>
                </a:cubicBezTo>
                <a:cubicBezTo>
                  <a:pt x="24" y="50"/>
                  <a:pt x="27" y="46"/>
                  <a:pt x="29" y="44"/>
                </a:cubicBezTo>
                <a:cubicBezTo>
                  <a:pt x="29" y="43"/>
                  <a:pt x="29" y="43"/>
                  <a:pt x="29" y="43"/>
                </a:cubicBezTo>
                <a:cubicBezTo>
                  <a:pt x="31" y="42"/>
                  <a:pt x="32" y="39"/>
                  <a:pt x="36" y="39"/>
                </a:cubicBezTo>
                <a:cubicBezTo>
                  <a:pt x="38" y="39"/>
                  <a:pt x="40" y="40"/>
                  <a:pt x="42" y="42"/>
                </a:cubicBezTo>
                <a:cubicBezTo>
                  <a:pt x="46" y="44"/>
                  <a:pt x="51" y="45"/>
                  <a:pt x="53" y="45"/>
                </a:cubicBezTo>
                <a:cubicBezTo>
                  <a:pt x="53" y="45"/>
                  <a:pt x="53" y="45"/>
                  <a:pt x="53" y="45"/>
                </a:cubicBezTo>
                <a:cubicBezTo>
                  <a:pt x="54" y="43"/>
                  <a:pt x="53" y="39"/>
                  <a:pt x="51" y="34"/>
                </a:cubicBezTo>
                <a:cubicBezTo>
                  <a:pt x="47" y="27"/>
                  <a:pt x="50" y="24"/>
                  <a:pt x="53" y="21"/>
                </a:cubicBezTo>
                <a:cubicBezTo>
                  <a:pt x="54" y="21"/>
                  <a:pt x="54" y="21"/>
                  <a:pt x="54" y="21"/>
                </a:cubicBezTo>
                <a:cubicBezTo>
                  <a:pt x="55" y="20"/>
                  <a:pt x="57" y="19"/>
                  <a:pt x="59" y="19"/>
                </a:cubicBezTo>
                <a:cubicBezTo>
                  <a:pt x="62" y="19"/>
                  <a:pt x="64" y="20"/>
                  <a:pt x="67" y="23"/>
                </a:cubicBezTo>
                <a:cubicBezTo>
                  <a:pt x="70" y="27"/>
                  <a:pt x="74" y="29"/>
                  <a:pt x="76" y="30"/>
                </a:cubicBezTo>
                <a:cubicBezTo>
                  <a:pt x="77" y="28"/>
                  <a:pt x="77" y="23"/>
                  <a:pt x="76" y="18"/>
                </a:cubicBezTo>
                <a:cubicBezTo>
                  <a:pt x="75" y="10"/>
                  <a:pt x="78" y="8"/>
                  <a:pt x="82" y="6"/>
                </a:cubicBezTo>
                <a:cubicBezTo>
                  <a:pt x="83" y="6"/>
                  <a:pt x="83" y="6"/>
                  <a:pt x="83" y="6"/>
                </a:cubicBezTo>
                <a:cubicBezTo>
                  <a:pt x="84" y="6"/>
                  <a:pt x="85" y="5"/>
                  <a:pt x="87" y="5"/>
                </a:cubicBezTo>
                <a:cubicBezTo>
                  <a:pt x="90" y="5"/>
                  <a:pt x="93" y="8"/>
                  <a:pt x="95" y="12"/>
                </a:cubicBezTo>
                <a:cubicBezTo>
                  <a:pt x="97" y="16"/>
                  <a:pt x="100" y="19"/>
                  <a:pt x="102" y="21"/>
                </a:cubicBezTo>
                <a:cubicBezTo>
                  <a:pt x="103" y="19"/>
                  <a:pt x="105" y="15"/>
                  <a:pt x="105" y="9"/>
                </a:cubicBezTo>
                <a:cubicBezTo>
                  <a:pt x="106" y="1"/>
                  <a:pt x="110" y="0"/>
                  <a:pt x="114" y="0"/>
                </a:cubicBezTo>
                <a:cubicBezTo>
                  <a:pt x="115" y="0"/>
                  <a:pt x="115" y="0"/>
                  <a:pt x="115" y="0"/>
                </a:cubicBezTo>
                <a:cubicBezTo>
                  <a:pt x="115" y="0"/>
                  <a:pt x="116" y="0"/>
                  <a:pt x="116" y="0"/>
                </a:cubicBezTo>
                <a:cubicBezTo>
                  <a:pt x="121" y="0"/>
                  <a:pt x="124" y="2"/>
                  <a:pt x="125" y="8"/>
                </a:cubicBezTo>
                <a:cubicBezTo>
                  <a:pt x="126" y="13"/>
                  <a:pt x="128" y="16"/>
                  <a:pt x="129" y="18"/>
                </a:cubicBezTo>
                <a:cubicBezTo>
                  <a:pt x="131" y="17"/>
                  <a:pt x="134" y="13"/>
                  <a:pt x="135" y="8"/>
                </a:cubicBezTo>
                <a:cubicBezTo>
                  <a:pt x="136" y="7"/>
                  <a:pt x="138" y="1"/>
                  <a:pt x="143" y="1"/>
                </a:cubicBezTo>
                <a:cubicBezTo>
                  <a:pt x="145" y="1"/>
                  <a:pt x="146" y="1"/>
                  <a:pt x="146" y="1"/>
                </a:cubicBezTo>
                <a:cubicBezTo>
                  <a:pt x="147" y="1"/>
                  <a:pt x="147" y="1"/>
                  <a:pt x="147" y="1"/>
                </a:cubicBezTo>
                <a:cubicBezTo>
                  <a:pt x="150" y="2"/>
                  <a:pt x="155" y="3"/>
                  <a:pt x="154" y="12"/>
                </a:cubicBezTo>
                <a:cubicBezTo>
                  <a:pt x="154" y="17"/>
                  <a:pt x="155" y="21"/>
                  <a:pt x="156" y="23"/>
                </a:cubicBezTo>
                <a:cubicBezTo>
                  <a:pt x="158" y="22"/>
                  <a:pt x="162" y="19"/>
                  <a:pt x="165" y="15"/>
                </a:cubicBezTo>
                <a:cubicBezTo>
                  <a:pt x="167" y="12"/>
                  <a:pt x="170" y="10"/>
                  <a:pt x="173" y="10"/>
                </a:cubicBezTo>
                <a:cubicBezTo>
                  <a:pt x="175" y="10"/>
                  <a:pt x="176" y="11"/>
                  <a:pt x="177" y="11"/>
                </a:cubicBezTo>
                <a:cubicBezTo>
                  <a:pt x="178" y="12"/>
                  <a:pt x="178" y="12"/>
                  <a:pt x="178" y="12"/>
                </a:cubicBezTo>
                <a:cubicBezTo>
                  <a:pt x="180" y="13"/>
                  <a:pt x="185" y="15"/>
                  <a:pt x="182" y="24"/>
                </a:cubicBezTo>
                <a:cubicBezTo>
                  <a:pt x="181" y="28"/>
                  <a:pt x="181" y="32"/>
                  <a:pt x="181" y="35"/>
                </a:cubicBezTo>
                <a:cubicBezTo>
                  <a:pt x="183" y="35"/>
                  <a:pt x="188" y="32"/>
                  <a:pt x="191" y="29"/>
                </a:cubicBezTo>
                <a:cubicBezTo>
                  <a:pt x="194" y="27"/>
                  <a:pt x="196" y="26"/>
                  <a:pt x="199" y="26"/>
                </a:cubicBezTo>
                <a:cubicBezTo>
                  <a:pt x="201" y="26"/>
                  <a:pt x="203" y="28"/>
                  <a:pt x="204" y="29"/>
                </a:cubicBezTo>
                <a:cubicBezTo>
                  <a:pt x="205" y="29"/>
                  <a:pt x="205" y="29"/>
                  <a:pt x="205" y="29"/>
                </a:cubicBezTo>
                <a:cubicBezTo>
                  <a:pt x="207" y="31"/>
                  <a:pt x="211" y="35"/>
                  <a:pt x="206" y="42"/>
                </a:cubicBezTo>
                <a:cubicBezTo>
                  <a:pt x="204" y="46"/>
                  <a:pt x="202" y="50"/>
                  <a:pt x="202" y="53"/>
                </a:cubicBezTo>
                <a:cubicBezTo>
                  <a:pt x="202" y="53"/>
                  <a:pt x="203" y="53"/>
                  <a:pt x="203" y="53"/>
                </a:cubicBezTo>
                <a:cubicBezTo>
                  <a:pt x="206" y="53"/>
                  <a:pt x="210" y="52"/>
                  <a:pt x="213" y="50"/>
                </a:cubicBezTo>
                <a:cubicBezTo>
                  <a:pt x="216" y="49"/>
                  <a:pt x="218" y="48"/>
                  <a:pt x="219" y="48"/>
                </a:cubicBezTo>
                <a:cubicBezTo>
                  <a:pt x="223" y="48"/>
                  <a:pt x="225" y="51"/>
                  <a:pt x="226" y="53"/>
                </a:cubicBezTo>
                <a:cubicBezTo>
                  <a:pt x="227" y="53"/>
                  <a:pt x="227" y="53"/>
                  <a:pt x="227" y="53"/>
                </a:cubicBezTo>
                <a:cubicBezTo>
                  <a:pt x="228" y="56"/>
                  <a:pt x="231" y="60"/>
                  <a:pt x="224" y="66"/>
                </a:cubicBezTo>
                <a:cubicBezTo>
                  <a:pt x="221" y="69"/>
                  <a:pt x="218" y="73"/>
                  <a:pt x="218" y="75"/>
                </a:cubicBezTo>
                <a:cubicBezTo>
                  <a:pt x="219" y="76"/>
                  <a:pt x="221" y="76"/>
                  <a:pt x="224" y="76"/>
                </a:cubicBezTo>
                <a:cubicBezTo>
                  <a:pt x="226" y="76"/>
                  <a:pt x="228" y="76"/>
                  <a:pt x="229" y="76"/>
                </a:cubicBezTo>
                <a:cubicBezTo>
                  <a:pt x="231" y="75"/>
                  <a:pt x="232" y="75"/>
                  <a:pt x="233" y="75"/>
                </a:cubicBezTo>
                <a:cubicBezTo>
                  <a:pt x="239" y="75"/>
                  <a:pt x="240" y="79"/>
                  <a:pt x="241" y="82"/>
                </a:cubicBezTo>
                <a:cubicBezTo>
                  <a:pt x="241" y="82"/>
                  <a:pt x="241" y="82"/>
                  <a:pt x="241" y="82"/>
                </a:cubicBezTo>
                <a:cubicBezTo>
                  <a:pt x="242" y="85"/>
                  <a:pt x="244" y="90"/>
                  <a:pt x="235" y="94"/>
                </a:cubicBezTo>
                <a:cubicBezTo>
                  <a:pt x="232" y="96"/>
                  <a:pt x="228" y="99"/>
                  <a:pt x="227" y="101"/>
                </a:cubicBezTo>
                <a:cubicBezTo>
                  <a:pt x="228" y="102"/>
                  <a:pt x="233" y="104"/>
                  <a:pt x="238" y="105"/>
                </a:cubicBezTo>
                <a:cubicBezTo>
                  <a:pt x="246" y="105"/>
                  <a:pt x="248" y="109"/>
                  <a:pt x="248" y="113"/>
                </a:cubicBezTo>
                <a:cubicBezTo>
                  <a:pt x="248" y="114"/>
                  <a:pt x="248" y="114"/>
                  <a:pt x="248" y="114"/>
                </a:cubicBezTo>
                <a:cubicBezTo>
                  <a:pt x="248" y="117"/>
                  <a:pt x="248" y="122"/>
                  <a:pt x="239" y="124"/>
                </a:cubicBezTo>
                <a:cubicBezTo>
                  <a:pt x="235" y="125"/>
                  <a:pt x="231" y="127"/>
                  <a:pt x="229" y="128"/>
                </a:cubicBezTo>
                <a:cubicBezTo>
                  <a:pt x="230" y="130"/>
                  <a:pt x="234" y="133"/>
                  <a:pt x="239" y="135"/>
                </a:cubicBezTo>
                <a:cubicBezTo>
                  <a:pt x="247" y="137"/>
                  <a:pt x="247" y="142"/>
                  <a:pt x="246" y="146"/>
                </a:cubicBezTo>
                <a:cubicBezTo>
                  <a:pt x="246" y="146"/>
                  <a:pt x="246" y="146"/>
                  <a:pt x="246" y="146"/>
                </a:cubicBezTo>
                <a:cubicBezTo>
                  <a:pt x="246" y="149"/>
                  <a:pt x="245" y="154"/>
                  <a:pt x="237" y="154"/>
                </a:cubicBezTo>
                <a:cubicBezTo>
                  <a:pt x="236" y="154"/>
                  <a:pt x="236" y="154"/>
                  <a:pt x="235" y="154"/>
                </a:cubicBezTo>
                <a:cubicBezTo>
                  <a:pt x="235" y="154"/>
                  <a:pt x="234" y="154"/>
                  <a:pt x="234" y="154"/>
                </a:cubicBezTo>
                <a:cubicBezTo>
                  <a:pt x="230" y="154"/>
                  <a:pt x="226" y="155"/>
                  <a:pt x="224" y="155"/>
                </a:cubicBezTo>
                <a:cubicBezTo>
                  <a:pt x="225" y="157"/>
                  <a:pt x="228" y="161"/>
                  <a:pt x="232" y="164"/>
                </a:cubicBezTo>
                <a:cubicBezTo>
                  <a:pt x="239" y="169"/>
                  <a:pt x="238" y="173"/>
                  <a:pt x="236" y="176"/>
                </a:cubicBezTo>
                <a:cubicBezTo>
                  <a:pt x="236" y="177"/>
                  <a:pt x="236" y="177"/>
                  <a:pt x="236" y="177"/>
                </a:cubicBezTo>
                <a:cubicBezTo>
                  <a:pt x="235" y="179"/>
                  <a:pt x="233" y="182"/>
                  <a:pt x="229" y="182"/>
                </a:cubicBezTo>
                <a:cubicBezTo>
                  <a:pt x="227" y="182"/>
                  <a:pt x="225" y="182"/>
                  <a:pt x="223" y="181"/>
                </a:cubicBezTo>
                <a:cubicBezTo>
                  <a:pt x="221" y="181"/>
                  <a:pt x="217" y="180"/>
                  <a:pt x="215" y="180"/>
                </a:cubicBezTo>
                <a:cubicBezTo>
                  <a:pt x="214" y="180"/>
                  <a:pt x="213" y="180"/>
                  <a:pt x="213" y="180"/>
                </a:cubicBezTo>
                <a:cubicBezTo>
                  <a:pt x="213" y="182"/>
                  <a:pt x="215" y="187"/>
                  <a:pt x="218" y="191"/>
                </a:cubicBezTo>
                <a:cubicBezTo>
                  <a:pt x="223" y="197"/>
                  <a:pt x="222" y="201"/>
                  <a:pt x="219" y="204"/>
                </a:cubicBezTo>
                <a:cubicBezTo>
                  <a:pt x="218" y="204"/>
                  <a:pt x="218" y="204"/>
                  <a:pt x="218" y="204"/>
                </a:cubicBezTo>
                <a:cubicBezTo>
                  <a:pt x="217" y="206"/>
                  <a:pt x="215" y="208"/>
                  <a:pt x="212" y="208"/>
                </a:cubicBezTo>
                <a:cubicBezTo>
                  <a:pt x="210" y="208"/>
                  <a:pt x="208" y="207"/>
                  <a:pt x="205" y="205"/>
                </a:cubicBezTo>
                <a:cubicBezTo>
                  <a:pt x="202" y="203"/>
                  <a:pt x="197" y="201"/>
                  <a:pt x="195" y="201"/>
                </a:cubicBezTo>
                <a:cubicBezTo>
                  <a:pt x="195" y="203"/>
                  <a:pt x="196" y="208"/>
                  <a:pt x="198" y="212"/>
                </a:cubicBezTo>
                <a:cubicBezTo>
                  <a:pt x="202" y="220"/>
                  <a:pt x="198" y="223"/>
                  <a:pt x="195" y="225"/>
                </a:cubicBezTo>
                <a:cubicBezTo>
                  <a:pt x="195" y="225"/>
                  <a:pt x="195" y="225"/>
                  <a:pt x="195" y="225"/>
                </a:cubicBezTo>
                <a:cubicBezTo>
                  <a:pt x="194" y="226"/>
                  <a:pt x="192" y="227"/>
                  <a:pt x="190" y="227"/>
                </a:cubicBezTo>
                <a:cubicBezTo>
                  <a:pt x="187" y="227"/>
                  <a:pt x="185" y="226"/>
                  <a:pt x="182" y="223"/>
                </a:cubicBezTo>
                <a:cubicBezTo>
                  <a:pt x="179" y="220"/>
                  <a:pt x="174" y="217"/>
                  <a:pt x="172" y="217"/>
                </a:cubicBezTo>
                <a:cubicBezTo>
                  <a:pt x="171" y="219"/>
                  <a:pt x="171" y="224"/>
                  <a:pt x="172" y="228"/>
                </a:cubicBezTo>
                <a:cubicBezTo>
                  <a:pt x="175" y="237"/>
                  <a:pt x="169" y="239"/>
                  <a:pt x="167" y="240"/>
                </a:cubicBezTo>
                <a:cubicBezTo>
                  <a:pt x="166" y="240"/>
                  <a:pt x="166" y="240"/>
                  <a:pt x="166" y="240"/>
                </a:cubicBezTo>
                <a:cubicBezTo>
                  <a:pt x="165" y="241"/>
                  <a:pt x="164" y="241"/>
                  <a:pt x="162" y="241"/>
                </a:cubicBezTo>
                <a:cubicBezTo>
                  <a:pt x="159" y="241"/>
                  <a:pt x="156" y="239"/>
                  <a:pt x="154" y="235"/>
                </a:cubicBezTo>
                <a:cubicBezTo>
                  <a:pt x="151" y="230"/>
                  <a:pt x="148" y="227"/>
                  <a:pt x="146" y="226"/>
                </a:cubicBezTo>
                <a:cubicBezTo>
                  <a:pt x="145" y="228"/>
                  <a:pt x="144" y="232"/>
                  <a:pt x="144" y="237"/>
                </a:cubicBezTo>
                <a:cubicBezTo>
                  <a:pt x="143" y="246"/>
                  <a:pt x="138" y="247"/>
                  <a:pt x="135" y="247"/>
                </a:cubicBezTo>
                <a:cubicBezTo>
                  <a:pt x="134" y="247"/>
                  <a:pt x="134" y="247"/>
                  <a:pt x="134" y="247"/>
                </a:cubicBezTo>
                <a:cubicBezTo>
                  <a:pt x="134" y="247"/>
                  <a:pt x="133" y="247"/>
                  <a:pt x="132" y="247"/>
                </a:cubicBezTo>
                <a:close/>
                <a:moveTo>
                  <a:pt x="118" y="223"/>
                </a:moveTo>
                <a:cubicBezTo>
                  <a:pt x="119" y="223"/>
                  <a:pt x="119" y="223"/>
                  <a:pt x="119" y="223"/>
                </a:cubicBezTo>
                <a:cubicBezTo>
                  <a:pt x="124" y="223"/>
                  <a:pt x="128" y="233"/>
                  <a:pt x="129" y="238"/>
                </a:cubicBezTo>
                <a:cubicBezTo>
                  <a:pt x="130" y="242"/>
                  <a:pt x="132" y="242"/>
                  <a:pt x="132" y="242"/>
                </a:cubicBezTo>
                <a:cubicBezTo>
                  <a:pt x="133" y="242"/>
                  <a:pt x="133" y="242"/>
                  <a:pt x="134" y="242"/>
                </a:cubicBezTo>
                <a:cubicBezTo>
                  <a:pt x="135" y="242"/>
                  <a:pt x="135" y="242"/>
                  <a:pt x="135" y="242"/>
                </a:cubicBezTo>
                <a:cubicBezTo>
                  <a:pt x="137" y="241"/>
                  <a:pt x="138" y="241"/>
                  <a:pt x="138" y="237"/>
                </a:cubicBezTo>
                <a:cubicBezTo>
                  <a:pt x="139" y="231"/>
                  <a:pt x="140" y="224"/>
                  <a:pt x="143" y="221"/>
                </a:cubicBezTo>
                <a:cubicBezTo>
                  <a:pt x="144" y="221"/>
                  <a:pt x="144" y="220"/>
                  <a:pt x="145" y="220"/>
                </a:cubicBezTo>
                <a:cubicBezTo>
                  <a:pt x="145" y="220"/>
                  <a:pt x="145" y="220"/>
                  <a:pt x="145" y="220"/>
                </a:cubicBezTo>
                <a:cubicBezTo>
                  <a:pt x="151" y="220"/>
                  <a:pt x="156" y="228"/>
                  <a:pt x="159" y="232"/>
                </a:cubicBezTo>
                <a:cubicBezTo>
                  <a:pt x="160" y="234"/>
                  <a:pt x="161" y="236"/>
                  <a:pt x="162" y="236"/>
                </a:cubicBezTo>
                <a:cubicBezTo>
                  <a:pt x="163" y="236"/>
                  <a:pt x="163" y="235"/>
                  <a:pt x="164" y="235"/>
                </a:cubicBezTo>
                <a:cubicBezTo>
                  <a:pt x="165" y="235"/>
                  <a:pt x="165" y="235"/>
                  <a:pt x="165" y="235"/>
                </a:cubicBezTo>
                <a:cubicBezTo>
                  <a:pt x="167" y="234"/>
                  <a:pt x="168" y="234"/>
                  <a:pt x="167" y="229"/>
                </a:cubicBezTo>
                <a:cubicBezTo>
                  <a:pt x="166" y="224"/>
                  <a:pt x="166" y="217"/>
                  <a:pt x="168" y="213"/>
                </a:cubicBezTo>
                <a:cubicBezTo>
                  <a:pt x="168" y="212"/>
                  <a:pt x="169" y="212"/>
                  <a:pt x="169" y="212"/>
                </a:cubicBezTo>
                <a:cubicBezTo>
                  <a:pt x="170" y="212"/>
                  <a:pt x="171" y="211"/>
                  <a:pt x="171" y="211"/>
                </a:cubicBezTo>
                <a:cubicBezTo>
                  <a:pt x="176" y="211"/>
                  <a:pt x="182" y="216"/>
                  <a:pt x="186" y="220"/>
                </a:cubicBezTo>
                <a:cubicBezTo>
                  <a:pt x="188" y="222"/>
                  <a:pt x="189" y="222"/>
                  <a:pt x="190" y="222"/>
                </a:cubicBezTo>
                <a:cubicBezTo>
                  <a:pt x="190" y="222"/>
                  <a:pt x="191" y="222"/>
                  <a:pt x="192" y="221"/>
                </a:cubicBezTo>
                <a:cubicBezTo>
                  <a:pt x="192" y="220"/>
                  <a:pt x="192" y="220"/>
                  <a:pt x="192" y="220"/>
                </a:cubicBezTo>
                <a:cubicBezTo>
                  <a:pt x="194" y="219"/>
                  <a:pt x="195" y="218"/>
                  <a:pt x="193" y="214"/>
                </a:cubicBezTo>
                <a:cubicBezTo>
                  <a:pt x="191" y="211"/>
                  <a:pt x="188" y="202"/>
                  <a:pt x="190" y="198"/>
                </a:cubicBezTo>
                <a:cubicBezTo>
                  <a:pt x="190" y="197"/>
                  <a:pt x="191" y="196"/>
                  <a:pt x="192" y="196"/>
                </a:cubicBezTo>
                <a:cubicBezTo>
                  <a:pt x="196" y="195"/>
                  <a:pt x="204" y="198"/>
                  <a:pt x="208" y="201"/>
                </a:cubicBezTo>
                <a:cubicBezTo>
                  <a:pt x="210" y="202"/>
                  <a:pt x="211" y="202"/>
                  <a:pt x="212" y="202"/>
                </a:cubicBezTo>
                <a:cubicBezTo>
                  <a:pt x="213" y="202"/>
                  <a:pt x="213" y="202"/>
                  <a:pt x="214" y="201"/>
                </a:cubicBezTo>
                <a:cubicBezTo>
                  <a:pt x="215" y="200"/>
                  <a:pt x="215" y="200"/>
                  <a:pt x="215" y="200"/>
                </a:cubicBezTo>
                <a:cubicBezTo>
                  <a:pt x="216" y="198"/>
                  <a:pt x="217" y="198"/>
                  <a:pt x="214" y="194"/>
                </a:cubicBezTo>
                <a:cubicBezTo>
                  <a:pt x="211" y="190"/>
                  <a:pt x="205" y="182"/>
                  <a:pt x="208" y="177"/>
                </a:cubicBezTo>
                <a:cubicBezTo>
                  <a:pt x="208" y="176"/>
                  <a:pt x="208" y="176"/>
                  <a:pt x="209" y="176"/>
                </a:cubicBezTo>
                <a:cubicBezTo>
                  <a:pt x="212" y="174"/>
                  <a:pt x="219" y="174"/>
                  <a:pt x="225" y="176"/>
                </a:cubicBezTo>
                <a:cubicBezTo>
                  <a:pt x="227" y="177"/>
                  <a:pt x="228" y="177"/>
                  <a:pt x="229" y="177"/>
                </a:cubicBezTo>
                <a:cubicBezTo>
                  <a:pt x="230" y="177"/>
                  <a:pt x="230" y="177"/>
                  <a:pt x="231" y="175"/>
                </a:cubicBezTo>
                <a:cubicBezTo>
                  <a:pt x="231" y="174"/>
                  <a:pt x="231" y="174"/>
                  <a:pt x="231" y="174"/>
                </a:cubicBezTo>
                <a:cubicBezTo>
                  <a:pt x="232" y="172"/>
                  <a:pt x="233" y="171"/>
                  <a:pt x="229" y="169"/>
                </a:cubicBezTo>
                <a:cubicBezTo>
                  <a:pt x="224" y="165"/>
                  <a:pt x="218" y="158"/>
                  <a:pt x="219" y="153"/>
                </a:cubicBezTo>
                <a:cubicBezTo>
                  <a:pt x="219" y="153"/>
                  <a:pt x="219" y="152"/>
                  <a:pt x="220" y="152"/>
                </a:cubicBezTo>
                <a:cubicBezTo>
                  <a:pt x="223" y="149"/>
                  <a:pt x="229" y="148"/>
                  <a:pt x="234" y="148"/>
                </a:cubicBezTo>
                <a:cubicBezTo>
                  <a:pt x="235" y="148"/>
                  <a:pt x="235" y="148"/>
                  <a:pt x="235" y="148"/>
                </a:cubicBezTo>
                <a:cubicBezTo>
                  <a:pt x="236" y="148"/>
                  <a:pt x="236" y="148"/>
                  <a:pt x="237" y="148"/>
                </a:cubicBezTo>
                <a:cubicBezTo>
                  <a:pt x="240" y="148"/>
                  <a:pt x="240" y="148"/>
                  <a:pt x="241" y="145"/>
                </a:cubicBezTo>
                <a:cubicBezTo>
                  <a:pt x="241" y="144"/>
                  <a:pt x="241" y="144"/>
                  <a:pt x="241" y="144"/>
                </a:cubicBezTo>
                <a:cubicBezTo>
                  <a:pt x="241" y="142"/>
                  <a:pt x="242" y="141"/>
                  <a:pt x="237" y="140"/>
                </a:cubicBezTo>
                <a:cubicBezTo>
                  <a:pt x="233" y="138"/>
                  <a:pt x="224" y="133"/>
                  <a:pt x="223" y="128"/>
                </a:cubicBezTo>
                <a:cubicBezTo>
                  <a:pt x="223" y="127"/>
                  <a:pt x="223" y="127"/>
                  <a:pt x="224" y="126"/>
                </a:cubicBezTo>
                <a:cubicBezTo>
                  <a:pt x="226" y="123"/>
                  <a:pt x="233" y="120"/>
                  <a:pt x="238" y="119"/>
                </a:cubicBezTo>
                <a:cubicBezTo>
                  <a:pt x="243" y="118"/>
                  <a:pt x="243" y="117"/>
                  <a:pt x="242" y="114"/>
                </a:cubicBezTo>
                <a:cubicBezTo>
                  <a:pt x="242" y="113"/>
                  <a:pt x="242" y="113"/>
                  <a:pt x="242" y="113"/>
                </a:cubicBezTo>
                <a:cubicBezTo>
                  <a:pt x="242" y="111"/>
                  <a:pt x="242" y="110"/>
                  <a:pt x="238" y="110"/>
                </a:cubicBezTo>
                <a:cubicBezTo>
                  <a:pt x="232" y="109"/>
                  <a:pt x="222" y="107"/>
                  <a:pt x="221" y="102"/>
                </a:cubicBezTo>
                <a:cubicBezTo>
                  <a:pt x="221" y="101"/>
                  <a:pt x="221" y="101"/>
                  <a:pt x="221" y="100"/>
                </a:cubicBezTo>
                <a:cubicBezTo>
                  <a:pt x="223" y="96"/>
                  <a:pt x="228" y="92"/>
                  <a:pt x="233" y="89"/>
                </a:cubicBezTo>
                <a:cubicBezTo>
                  <a:pt x="237" y="87"/>
                  <a:pt x="237" y="86"/>
                  <a:pt x="236" y="84"/>
                </a:cubicBezTo>
                <a:cubicBezTo>
                  <a:pt x="236" y="83"/>
                  <a:pt x="236" y="83"/>
                  <a:pt x="236" y="83"/>
                </a:cubicBezTo>
                <a:cubicBezTo>
                  <a:pt x="235" y="81"/>
                  <a:pt x="235" y="81"/>
                  <a:pt x="233" y="81"/>
                </a:cubicBezTo>
                <a:cubicBezTo>
                  <a:pt x="232" y="81"/>
                  <a:pt x="231" y="81"/>
                  <a:pt x="230" y="81"/>
                </a:cubicBezTo>
                <a:cubicBezTo>
                  <a:pt x="228" y="81"/>
                  <a:pt x="226" y="82"/>
                  <a:pt x="224" y="82"/>
                </a:cubicBezTo>
                <a:cubicBezTo>
                  <a:pt x="220" y="82"/>
                  <a:pt x="214" y="81"/>
                  <a:pt x="212" y="78"/>
                </a:cubicBezTo>
                <a:cubicBezTo>
                  <a:pt x="212" y="77"/>
                  <a:pt x="212" y="77"/>
                  <a:pt x="212" y="76"/>
                </a:cubicBezTo>
                <a:cubicBezTo>
                  <a:pt x="212" y="72"/>
                  <a:pt x="216" y="66"/>
                  <a:pt x="221" y="62"/>
                </a:cubicBezTo>
                <a:cubicBezTo>
                  <a:pt x="224" y="59"/>
                  <a:pt x="223" y="58"/>
                  <a:pt x="222" y="56"/>
                </a:cubicBezTo>
                <a:cubicBezTo>
                  <a:pt x="222" y="56"/>
                  <a:pt x="222" y="56"/>
                  <a:pt x="222" y="56"/>
                </a:cubicBezTo>
                <a:cubicBezTo>
                  <a:pt x="221" y="54"/>
                  <a:pt x="220" y="54"/>
                  <a:pt x="219" y="54"/>
                </a:cubicBezTo>
                <a:cubicBezTo>
                  <a:pt x="219" y="54"/>
                  <a:pt x="218" y="54"/>
                  <a:pt x="216" y="55"/>
                </a:cubicBezTo>
                <a:cubicBezTo>
                  <a:pt x="211" y="57"/>
                  <a:pt x="207" y="58"/>
                  <a:pt x="203" y="58"/>
                </a:cubicBezTo>
                <a:cubicBezTo>
                  <a:pt x="201" y="58"/>
                  <a:pt x="199" y="58"/>
                  <a:pt x="197" y="56"/>
                </a:cubicBezTo>
                <a:cubicBezTo>
                  <a:pt x="197" y="56"/>
                  <a:pt x="197" y="55"/>
                  <a:pt x="197" y="55"/>
                </a:cubicBezTo>
                <a:cubicBezTo>
                  <a:pt x="196" y="51"/>
                  <a:pt x="198" y="44"/>
                  <a:pt x="201" y="39"/>
                </a:cubicBezTo>
                <a:cubicBezTo>
                  <a:pt x="204" y="36"/>
                  <a:pt x="203" y="35"/>
                  <a:pt x="201" y="33"/>
                </a:cubicBezTo>
                <a:cubicBezTo>
                  <a:pt x="201" y="33"/>
                  <a:pt x="201" y="33"/>
                  <a:pt x="201" y="33"/>
                </a:cubicBezTo>
                <a:cubicBezTo>
                  <a:pt x="200" y="32"/>
                  <a:pt x="199" y="31"/>
                  <a:pt x="199" y="31"/>
                </a:cubicBezTo>
                <a:cubicBezTo>
                  <a:pt x="198" y="31"/>
                  <a:pt x="197" y="32"/>
                  <a:pt x="195" y="34"/>
                </a:cubicBezTo>
                <a:cubicBezTo>
                  <a:pt x="191" y="37"/>
                  <a:pt x="185" y="40"/>
                  <a:pt x="180" y="40"/>
                </a:cubicBezTo>
                <a:cubicBezTo>
                  <a:pt x="179" y="40"/>
                  <a:pt x="178" y="40"/>
                  <a:pt x="178" y="40"/>
                </a:cubicBezTo>
                <a:cubicBezTo>
                  <a:pt x="177" y="39"/>
                  <a:pt x="177" y="39"/>
                  <a:pt x="176" y="38"/>
                </a:cubicBezTo>
                <a:cubicBezTo>
                  <a:pt x="175" y="35"/>
                  <a:pt x="175" y="27"/>
                  <a:pt x="177" y="22"/>
                </a:cubicBezTo>
                <a:cubicBezTo>
                  <a:pt x="179" y="18"/>
                  <a:pt x="178" y="17"/>
                  <a:pt x="176" y="16"/>
                </a:cubicBezTo>
                <a:cubicBezTo>
                  <a:pt x="175" y="16"/>
                  <a:pt x="175" y="16"/>
                  <a:pt x="175" y="16"/>
                </a:cubicBezTo>
                <a:cubicBezTo>
                  <a:pt x="174" y="16"/>
                  <a:pt x="173" y="15"/>
                  <a:pt x="173" y="15"/>
                </a:cubicBezTo>
                <a:cubicBezTo>
                  <a:pt x="172" y="15"/>
                  <a:pt x="171" y="16"/>
                  <a:pt x="169" y="18"/>
                </a:cubicBezTo>
                <a:cubicBezTo>
                  <a:pt x="167" y="22"/>
                  <a:pt x="160" y="29"/>
                  <a:pt x="155" y="29"/>
                </a:cubicBezTo>
                <a:cubicBezTo>
                  <a:pt x="155" y="29"/>
                  <a:pt x="154" y="29"/>
                  <a:pt x="154" y="29"/>
                </a:cubicBezTo>
                <a:cubicBezTo>
                  <a:pt x="154" y="29"/>
                  <a:pt x="153" y="28"/>
                  <a:pt x="153" y="28"/>
                </a:cubicBezTo>
                <a:cubicBezTo>
                  <a:pt x="150" y="24"/>
                  <a:pt x="149" y="17"/>
                  <a:pt x="149" y="12"/>
                </a:cubicBezTo>
                <a:cubicBezTo>
                  <a:pt x="149" y="7"/>
                  <a:pt x="148" y="7"/>
                  <a:pt x="146" y="7"/>
                </a:cubicBezTo>
                <a:cubicBezTo>
                  <a:pt x="145" y="7"/>
                  <a:pt x="145" y="7"/>
                  <a:pt x="145" y="7"/>
                </a:cubicBezTo>
                <a:cubicBezTo>
                  <a:pt x="145" y="6"/>
                  <a:pt x="144" y="6"/>
                  <a:pt x="143" y="6"/>
                </a:cubicBezTo>
                <a:cubicBezTo>
                  <a:pt x="143" y="6"/>
                  <a:pt x="142" y="6"/>
                  <a:pt x="141" y="10"/>
                </a:cubicBezTo>
                <a:cubicBezTo>
                  <a:pt x="139" y="15"/>
                  <a:pt x="134" y="24"/>
                  <a:pt x="129" y="24"/>
                </a:cubicBezTo>
                <a:cubicBezTo>
                  <a:pt x="128" y="24"/>
                  <a:pt x="128" y="24"/>
                  <a:pt x="127" y="24"/>
                </a:cubicBezTo>
                <a:cubicBezTo>
                  <a:pt x="124" y="21"/>
                  <a:pt x="121" y="15"/>
                  <a:pt x="119" y="9"/>
                </a:cubicBezTo>
                <a:cubicBezTo>
                  <a:pt x="119" y="5"/>
                  <a:pt x="117" y="5"/>
                  <a:pt x="116" y="5"/>
                </a:cubicBezTo>
                <a:cubicBezTo>
                  <a:pt x="116" y="5"/>
                  <a:pt x="116" y="5"/>
                  <a:pt x="115" y="5"/>
                </a:cubicBezTo>
                <a:cubicBezTo>
                  <a:pt x="114" y="5"/>
                  <a:pt x="114" y="5"/>
                  <a:pt x="114" y="5"/>
                </a:cubicBezTo>
                <a:cubicBezTo>
                  <a:pt x="112" y="5"/>
                  <a:pt x="111" y="5"/>
                  <a:pt x="111" y="10"/>
                </a:cubicBezTo>
                <a:cubicBezTo>
                  <a:pt x="110" y="15"/>
                  <a:pt x="108" y="25"/>
                  <a:pt x="103" y="26"/>
                </a:cubicBezTo>
                <a:cubicBezTo>
                  <a:pt x="102" y="27"/>
                  <a:pt x="101" y="26"/>
                  <a:pt x="101" y="26"/>
                </a:cubicBezTo>
                <a:cubicBezTo>
                  <a:pt x="97" y="25"/>
                  <a:pt x="93" y="19"/>
                  <a:pt x="90" y="14"/>
                </a:cubicBezTo>
                <a:cubicBezTo>
                  <a:pt x="89" y="13"/>
                  <a:pt x="88" y="11"/>
                  <a:pt x="87" y="11"/>
                </a:cubicBezTo>
                <a:cubicBezTo>
                  <a:pt x="86" y="11"/>
                  <a:pt x="86" y="11"/>
                  <a:pt x="85" y="11"/>
                </a:cubicBezTo>
                <a:cubicBezTo>
                  <a:pt x="84" y="12"/>
                  <a:pt x="84" y="12"/>
                  <a:pt x="84" y="12"/>
                </a:cubicBezTo>
                <a:cubicBezTo>
                  <a:pt x="82" y="12"/>
                  <a:pt x="81" y="13"/>
                  <a:pt x="82" y="17"/>
                </a:cubicBezTo>
                <a:cubicBezTo>
                  <a:pt x="83" y="22"/>
                  <a:pt x="83" y="32"/>
                  <a:pt x="78" y="35"/>
                </a:cubicBezTo>
                <a:cubicBezTo>
                  <a:pt x="78" y="36"/>
                  <a:pt x="77" y="36"/>
                  <a:pt x="77" y="36"/>
                </a:cubicBezTo>
                <a:cubicBezTo>
                  <a:pt x="72" y="35"/>
                  <a:pt x="67" y="31"/>
                  <a:pt x="63" y="27"/>
                </a:cubicBezTo>
                <a:cubicBezTo>
                  <a:pt x="62" y="25"/>
                  <a:pt x="60" y="24"/>
                  <a:pt x="59" y="24"/>
                </a:cubicBezTo>
                <a:cubicBezTo>
                  <a:pt x="59" y="24"/>
                  <a:pt x="58" y="25"/>
                  <a:pt x="57" y="25"/>
                </a:cubicBezTo>
                <a:cubicBezTo>
                  <a:pt x="56" y="26"/>
                  <a:pt x="56" y="26"/>
                  <a:pt x="56" y="26"/>
                </a:cubicBezTo>
                <a:cubicBezTo>
                  <a:pt x="54" y="27"/>
                  <a:pt x="54" y="28"/>
                  <a:pt x="56" y="32"/>
                </a:cubicBezTo>
                <a:cubicBezTo>
                  <a:pt x="58" y="36"/>
                  <a:pt x="60" y="45"/>
                  <a:pt x="58" y="49"/>
                </a:cubicBezTo>
                <a:cubicBezTo>
                  <a:pt x="58" y="50"/>
                  <a:pt x="57" y="50"/>
                  <a:pt x="57" y="50"/>
                </a:cubicBezTo>
                <a:cubicBezTo>
                  <a:pt x="56" y="51"/>
                  <a:pt x="55" y="51"/>
                  <a:pt x="53" y="51"/>
                </a:cubicBezTo>
                <a:cubicBezTo>
                  <a:pt x="50" y="51"/>
                  <a:pt x="44" y="49"/>
                  <a:pt x="40" y="46"/>
                </a:cubicBezTo>
                <a:cubicBezTo>
                  <a:pt x="37" y="45"/>
                  <a:pt x="36" y="45"/>
                  <a:pt x="36" y="45"/>
                </a:cubicBezTo>
                <a:cubicBezTo>
                  <a:pt x="35" y="45"/>
                  <a:pt x="35" y="45"/>
                  <a:pt x="34" y="47"/>
                </a:cubicBezTo>
                <a:cubicBezTo>
                  <a:pt x="33" y="47"/>
                  <a:pt x="33" y="47"/>
                  <a:pt x="33" y="47"/>
                </a:cubicBezTo>
                <a:cubicBezTo>
                  <a:pt x="31" y="49"/>
                  <a:pt x="31" y="50"/>
                  <a:pt x="34" y="53"/>
                </a:cubicBezTo>
                <a:cubicBezTo>
                  <a:pt x="38" y="57"/>
                  <a:pt x="41" y="63"/>
                  <a:pt x="41" y="68"/>
                </a:cubicBezTo>
                <a:cubicBezTo>
                  <a:pt x="41" y="68"/>
                  <a:pt x="41" y="69"/>
                  <a:pt x="41" y="69"/>
                </a:cubicBezTo>
                <a:cubicBezTo>
                  <a:pt x="39" y="71"/>
                  <a:pt x="36" y="72"/>
                  <a:pt x="32" y="72"/>
                </a:cubicBezTo>
                <a:cubicBezTo>
                  <a:pt x="29" y="72"/>
                  <a:pt x="25" y="72"/>
                  <a:pt x="22" y="71"/>
                </a:cubicBezTo>
                <a:cubicBezTo>
                  <a:pt x="21" y="71"/>
                  <a:pt x="20" y="70"/>
                  <a:pt x="19" y="70"/>
                </a:cubicBezTo>
                <a:cubicBezTo>
                  <a:pt x="18" y="70"/>
                  <a:pt x="18" y="71"/>
                  <a:pt x="17" y="73"/>
                </a:cubicBezTo>
                <a:cubicBezTo>
                  <a:pt x="16" y="73"/>
                  <a:pt x="16" y="73"/>
                  <a:pt x="16" y="73"/>
                </a:cubicBezTo>
                <a:cubicBezTo>
                  <a:pt x="15" y="76"/>
                  <a:pt x="15" y="76"/>
                  <a:pt x="19" y="79"/>
                </a:cubicBezTo>
                <a:cubicBezTo>
                  <a:pt x="24" y="82"/>
                  <a:pt x="29" y="87"/>
                  <a:pt x="30" y="91"/>
                </a:cubicBezTo>
                <a:cubicBezTo>
                  <a:pt x="30" y="92"/>
                  <a:pt x="30" y="92"/>
                  <a:pt x="30" y="93"/>
                </a:cubicBezTo>
                <a:cubicBezTo>
                  <a:pt x="28" y="98"/>
                  <a:pt x="17" y="99"/>
                  <a:pt x="12" y="99"/>
                </a:cubicBezTo>
                <a:cubicBezTo>
                  <a:pt x="12" y="99"/>
                  <a:pt x="12" y="99"/>
                  <a:pt x="12" y="99"/>
                </a:cubicBezTo>
                <a:cubicBezTo>
                  <a:pt x="8" y="99"/>
                  <a:pt x="8" y="100"/>
                  <a:pt x="7" y="102"/>
                </a:cubicBezTo>
                <a:cubicBezTo>
                  <a:pt x="7" y="103"/>
                  <a:pt x="7" y="103"/>
                  <a:pt x="7" y="103"/>
                </a:cubicBezTo>
                <a:cubicBezTo>
                  <a:pt x="7" y="105"/>
                  <a:pt x="7" y="106"/>
                  <a:pt x="11" y="108"/>
                </a:cubicBezTo>
                <a:cubicBezTo>
                  <a:pt x="16" y="109"/>
                  <a:pt x="22" y="113"/>
                  <a:pt x="25" y="116"/>
                </a:cubicBezTo>
                <a:cubicBezTo>
                  <a:pt x="25" y="117"/>
                  <a:pt x="25" y="117"/>
                  <a:pt x="25" y="118"/>
                </a:cubicBezTo>
                <a:cubicBezTo>
                  <a:pt x="24" y="123"/>
                  <a:pt x="15" y="127"/>
                  <a:pt x="10" y="129"/>
                </a:cubicBezTo>
                <a:cubicBezTo>
                  <a:pt x="5" y="130"/>
                  <a:pt x="6" y="131"/>
                  <a:pt x="6" y="133"/>
                </a:cubicBezTo>
                <a:cubicBezTo>
                  <a:pt x="6" y="134"/>
                  <a:pt x="6" y="134"/>
                  <a:pt x="6" y="134"/>
                </a:cubicBezTo>
                <a:cubicBezTo>
                  <a:pt x="6" y="136"/>
                  <a:pt x="6" y="137"/>
                  <a:pt x="11" y="137"/>
                </a:cubicBezTo>
                <a:cubicBezTo>
                  <a:pt x="16" y="138"/>
                  <a:pt x="23" y="139"/>
                  <a:pt x="26" y="143"/>
                </a:cubicBezTo>
                <a:cubicBezTo>
                  <a:pt x="27" y="143"/>
                  <a:pt x="27" y="144"/>
                  <a:pt x="27" y="144"/>
                </a:cubicBezTo>
                <a:cubicBezTo>
                  <a:pt x="27" y="150"/>
                  <a:pt x="19" y="156"/>
                  <a:pt x="15" y="158"/>
                </a:cubicBezTo>
                <a:cubicBezTo>
                  <a:pt x="11" y="160"/>
                  <a:pt x="11" y="161"/>
                  <a:pt x="12" y="163"/>
                </a:cubicBezTo>
                <a:cubicBezTo>
                  <a:pt x="13" y="164"/>
                  <a:pt x="13" y="164"/>
                  <a:pt x="13" y="164"/>
                </a:cubicBezTo>
                <a:cubicBezTo>
                  <a:pt x="13" y="166"/>
                  <a:pt x="14" y="167"/>
                  <a:pt x="15" y="167"/>
                </a:cubicBezTo>
                <a:cubicBezTo>
                  <a:pt x="16" y="167"/>
                  <a:pt x="17" y="167"/>
                  <a:pt x="18" y="166"/>
                </a:cubicBezTo>
                <a:cubicBezTo>
                  <a:pt x="21" y="166"/>
                  <a:pt x="24" y="165"/>
                  <a:pt x="26" y="165"/>
                </a:cubicBezTo>
                <a:cubicBezTo>
                  <a:pt x="29" y="165"/>
                  <a:pt x="32" y="166"/>
                  <a:pt x="34" y="167"/>
                </a:cubicBezTo>
                <a:cubicBezTo>
                  <a:pt x="35" y="167"/>
                  <a:pt x="35" y="168"/>
                  <a:pt x="36" y="168"/>
                </a:cubicBezTo>
                <a:cubicBezTo>
                  <a:pt x="38" y="173"/>
                  <a:pt x="31" y="182"/>
                  <a:pt x="28" y="185"/>
                </a:cubicBezTo>
                <a:cubicBezTo>
                  <a:pt x="25" y="188"/>
                  <a:pt x="25" y="189"/>
                  <a:pt x="26" y="191"/>
                </a:cubicBezTo>
                <a:cubicBezTo>
                  <a:pt x="27" y="192"/>
                  <a:pt x="27" y="192"/>
                  <a:pt x="27" y="192"/>
                </a:cubicBezTo>
                <a:cubicBezTo>
                  <a:pt x="28" y="193"/>
                  <a:pt x="28" y="193"/>
                  <a:pt x="29" y="193"/>
                </a:cubicBezTo>
                <a:cubicBezTo>
                  <a:pt x="30" y="193"/>
                  <a:pt x="31" y="193"/>
                  <a:pt x="33" y="192"/>
                </a:cubicBezTo>
                <a:cubicBezTo>
                  <a:pt x="37" y="190"/>
                  <a:pt x="43" y="189"/>
                  <a:pt x="46" y="189"/>
                </a:cubicBezTo>
                <a:cubicBezTo>
                  <a:pt x="47" y="189"/>
                  <a:pt x="48" y="189"/>
                  <a:pt x="49" y="189"/>
                </a:cubicBezTo>
                <a:cubicBezTo>
                  <a:pt x="49" y="189"/>
                  <a:pt x="50" y="189"/>
                  <a:pt x="50" y="190"/>
                </a:cubicBezTo>
                <a:cubicBezTo>
                  <a:pt x="54" y="194"/>
                  <a:pt x="50" y="204"/>
                  <a:pt x="47" y="208"/>
                </a:cubicBezTo>
                <a:cubicBezTo>
                  <a:pt x="45" y="212"/>
                  <a:pt x="45" y="212"/>
                  <a:pt x="47" y="214"/>
                </a:cubicBezTo>
                <a:cubicBezTo>
                  <a:pt x="48" y="214"/>
                  <a:pt x="48" y="214"/>
                  <a:pt x="48" y="214"/>
                </a:cubicBezTo>
                <a:cubicBezTo>
                  <a:pt x="49" y="215"/>
                  <a:pt x="50" y="216"/>
                  <a:pt x="50" y="216"/>
                </a:cubicBezTo>
                <a:cubicBezTo>
                  <a:pt x="51" y="216"/>
                  <a:pt x="52" y="215"/>
                  <a:pt x="54" y="213"/>
                </a:cubicBezTo>
                <a:cubicBezTo>
                  <a:pt x="58" y="210"/>
                  <a:pt x="64" y="206"/>
                  <a:pt x="68" y="206"/>
                </a:cubicBezTo>
                <a:cubicBezTo>
                  <a:pt x="68" y="206"/>
                  <a:pt x="68" y="206"/>
                  <a:pt x="68" y="206"/>
                </a:cubicBezTo>
                <a:cubicBezTo>
                  <a:pt x="69" y="206"/>
                  <a:pt x="70" y="206"/>
                  <a:pt x="70" y="207"/>
                </a:cubicBezTo>
                <a:cubicBezTo>
                  <a:pt x="74" y="210"/>
                  <a:pt x="73" y="220"/>
                  <a:pt x="72" y="225"/>
                </a:cubicBezTo>
                <a:cubicBezTo>
                  <a:pt x="70" y="229"/>
                  <a:pt x="71" y="230"/>
                  <a:pt x="73" y="231"/>
                </a:cubicBezTo>
                <a:cubicBezTo>
                  <a:pt x="74" y="231"/>
                  <a:pt x="74" y="231"/>
                  <a:pt x="74" y="231"/>
                </a:cubicBezTo>
                <a:cubicBezTo>
                  <a:pt x="75" y="231"/>
                  <a:pt x="76" y="232"/>
                  <a:pt x="76" y="232"/>
                </a:cubicBezTo>
                <a:cubicBezTo>
                  <a:pt x="77" y="232"/>
                  <a:pt x="79" y="230"/>
                  <a:pt x="80" y="229"/>
                </a:cubicBezTo>
                <a:cubicBezTo>
                  <a:pt x="83" y="224"/>
                  <a:pt x="88" y="219"/>
                  <a:pt x="92" y="218"/>
                </a:cubicBezTo>
                <a:cubicBezTo>
                  <a:pt x="92" y="218"/>
                  <a:pt x="93" y="218"/>
                  <a:pt x="93" y="218"/>
                </a:cubicBezTo>
                <a:cubicBezTo>
                  <a:pt x="98" y="220"/>
                  <a:pt x="100" y="230"/>
                  <a:pt x="100" y="235"/>
                </a:cubicBezTo>
                <a:cubicBezTo>
                  <a:pt x="100" y="240"/>
                  <a:pt x="101" y="240"/>
                  <a:pt x="103" y="240"/>
                </a:cubicBezTo>
                <a:cubicBezTo>
                  <a:pt x="104" y="240"/>
                  <a:pt x="104" y="240"/>
                  <a:pt x="104" y="240"/>
                </a:cubicBezTo>
                <a:cubicBezTo>
                  <a:pt x="104" y="240"/>
                  <a:pt x="105" y="240"/>
                  <a:pt x="105" y="240"/>
                </a:cubicBezTo>
                <a:cubicBezTo>
                  <a:pt x="106" y="240"/>
                  <a:pt x="107" y="240"/>
                  <a:pt x="108" y="236"/>
                </a:cubicBezTo>
                <a:cubicBezTo>
                  <a:pt x="110" y="231"/>
                  <a:pt x="113" y="225"/>
                  <a:pt x="117" y="223"/>
                </a:cubicBezTo>
                <a:cubicBezTo>
                  <a:pt x="118" y="223"/>
                  <a:pt x="118" y="223"/>
                  <a:pt x="118" y="223"/>
                </a:cubicBezTo>
                <a:close/>
                <a:moveTo>
                  <a:pt x="124" y="210"/>
                </a:moveTo>
                <a:cubicBezTo>
                  <a:pt x="104" y="210"/>
                  <a:pt x="84" y="202"/>
                  <a:pt x="68" y="189"/>
                </a:cubicBezTo>
                <a:cubicBezTo>
                  <a:pt x="32" y="158"/>
                  <a:pt x="28" y="104"/>
                  <a:pt x="58" y="68"/>
                </a:cubicBezTo>
                <a:cubicBezTo>
                  <a:pt x="75" y="48"/>
                  <a:pt x="99" y="37"/>
                  <a:pt x="124" y="37"/>
                </a:cubicBezTo>
                <a:cubicBezTo>
                  <a:pt x="144" y="37"/>
                  <a:pt x="164" y="44"/>
                  <a:pt x="180" y="58"/>
                </a:cubicBezTo>
                <a:cubicBezTo>
                  <a:pt x="197" y="72"/>
                  <a:pt x="208" y="93"/>
                  <a:pt x="210" y="116"/>
                </a:cubicBezTo>
                <a:cubicBezTo>
                  <a:pt x="212" y="139"/>
                  <a:pt x="205" y="162"/>
                  <a:pt x="190" y="179"/>
                </a:cubicBezTo>
                <a:cubicBezTo>
                  <a:pt x="173" y="198"/>
                  <a:pt x="149" y="210"/>
                  <a:pt x="124" y="210"/>
                </a:cubicBezTo>
                <a:close/>
                <a:moveTo>
                  <a:pt x="124" y="43"/>
                </a:moveTo>
                <a:cubicBezTo>
                  <a:pt x="100" y="43"/>
                  <a:pt x="78" y="53"/>
                  <a:pt x="62" y="71"/>
                </a:cubicBezTo>
                <a:cubicBezTo>
                  <a:pt x="34" y="105"/>
                  <a:pt x="38" y="156"/>
                  <a:pt x="72" y="185"/>
                </a:cubicBezTo>
                <a:cubicBezTo>
                  <a:pt x="86" y="197"/>
                  <a:pt x="105" y="204"/>
                  <a:pt x="124" y="204"/>
                </a:cubicBezTo>
                <a:cubicBezTo>
                  <a:pt x="148" y="204"/>
                  <a:pt x="170" y="194"/>
                  <a:pt x="186" y="176"/>
                </a:cubicBezTo>
                <a:cubicBezTo>
                  <a:pt x="200" y="159"/>
                  <a:pt x="206" y="138"/>
                  <a:pt x="205" y="117"/>
                </a:cubicBezTo>
                <a:cubicBezTo>
                  <a:pt x="203" y="95"/>
                  <a:pt x="193" y="76"/>
                  <a:pt x="176" y="62"/>
                </a:cubicBezTo>
                <a:cubicBezTo>
                  <a:pt x="162" y="49"/>
                  <a:pt x="143" y="43"/>
                  <a:pt x="124"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9" name="Freeform 1006">
            <a:extLst>
              <a:ext uri="{FF2B5EF4-FFF2-40B4-BE49-F238E27FC236}">
                <a16:creationId xmlns:a16="http://schemas.microsoft.com/office/drawing/2014/main" id="{0D547872-FDEF-49EE-A93A-2C434499BE1A}"/>
              </a:ext>
            </a:extLst>
          </p:cNvPr>
          <p:cNvSpPr>
            <a:spLocks noEditPoints="1"/>
          </p:cNvSpPr>
          <p:nvPr/>
        </p:nvSpPr>
        <p:spPr bwMode="auto">
          <a:xfrm>
            <a:off x="6464919" y="2777248"/>
            <a:ext cx="288840" cy="263877"/>
          </a:xfrm>
          <a:custGeom>
            <a:avLst/>
            <a:gdLst>
              <a:gd name="T0" fmla="*/ 50 w 105"/>
              <a:gd name="T1" fmla="*/ 97 h 97"/>
              <a:gd name="T2" fmla="*/ 50 w 105"/>
              <a:gd name="T3" fmla="*/ 97 h 97"/>
              <a:gd name="T4" fmla="*/ 19 w 105"/>
              <a:gd name="T5" fmla="*/ 86 h 97"/>
              <a:gd name="T6" fmla="*/ 1 w 105"/>
              <a:gd name="T7" fmla="*/ 52 h 97"/>
              <a:gd name="T8" fmla="*/ 13 w 105"/>
              <a:gd name="T9" fmla="*/ 17 h 97"/>
              <a:gd name="T10" fmla="*/ 50 w 105"/>
              <a:gd name="T11" fmla="*/ 0 h 97"/>
              <a:gd name="T12" fmla="*/ 82 w 105"/>
              <a:gd name="T13" fmla="*/ 11 h 97"/>
              <a:gd name="T14" fmla="*/ 87 w 105"/>
              <a:gd name="T15" fmla="*/ 80 h 97"/>
              <a:gd name="T16" fmla="*/ 50 w 105"/>
              <a:gd name="T17" fmla="*/ 97 h 97"/>
              <a:gd name="T18" fmla="*/ 50 w 105"/>
              <a:gd name="T19" fmla="*/ 5 h 97"/>
              <a:gd name="T20" fmla="*/ 17 w 105"/>
              <a:gd name="T21" fmla="*/ 20 h 97"/>
              <a:gd name="T22" fmla="*/ 7 w 105"/>
              <a:gd name="T23" fmla="*/ 52 h 97"/>
              <a:gd name="T24" fmla="*/ 22 w 105"/>
              <a:gd name="T25" fmla="*/ 81 h 97"/>
              <a:gd name="T26" fmla="*/ 50 w 105"/>
              <a:gd name="T27" fmla="*/ 92 h 97"/>
              <a:gd name="T28" fmla="*/ 83 w 105"/>
              <a:gd name="T29" fmla="*/ 76 h 97"/>
              <a:gd name="T30" fmla="*/ 78 w 105"/>
              <a:gd name="T31" fmla="*/ 15 h 97"/>
              <a:gd name="T32" fmla="*/ 50 w 105"/>
              <a:gd name="T33" fmla="*/ 5 h 97"/>
              <a:gd name="T34" fmla="*/ 50 w 105"/>
              <a:gd name="T35" fmla="*/ 80 h 97"/>
              <a:gd name="T36" fmla="*/ 30 w 105"/>
              <a:gd name="T37" fmla="*/ 72 h 97"/>
              <a:gd name="T38" fmla="*/ 26 w 105"/>
              <a:gd name="T39" fmla="*/ 28 h 97"/>
              <a:gd name="T40" fmla="*/ 50 w 105"/>
              <a:gd name="T41" fmla="*/ 17 h 97"/>
              <a:gd name="T42" fmla="*/ 70 w 105"/>
              <a:gd name="T43" fmla="*/ 24 h 97"/>
              <a:gd name="T44" fmla="*/ 74 w 105"/>
              <a:gd name="T45" fmla="*/ 69 h 97"/>
              <a:gd name="T46" fmla="*/ 50 w 105"/>
              <a:gd name="T47" fmla="*/ 80 h 97"/>
              <a:gd name="T48" fmla="*/ 50 w 105"/>
              <a:gd name="T49" fmla="*/ 22 h 97"/>
              <a:gd name="T50" fmla="*/ 30 w 105"/>
              <a:gd name="T51" fmla="*/ 32 h 97"/>
              <a:gd name="T52" fmla="*/ 33 w 105"/>
              <a:gd name="T53" fmla="*/ 68 h 97"/>
              <a:gd name="T54" fmla="*/ 50 w 105"/>
              <a:gd name="T55" fmla="*/ 74 h 97"/>
              <a:gd name="T56" fmla="*/ 70 w 105"/>
              <a:gd name="T57" fmla="*/ 65 h 97"/>
              <a:gd name="T58" fmla="*/ 67 w 105"/>
              <a:gd name="T59" fmla="*/ 29 h 97"/>
              <a:gd name="T60" fmla="*/ 50 w 105"/>
              <a:gd name="T61"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97">
                <a:moveTo>
                  <a:pt x="50" y="97"/>
                </a:moveTo>
                <a:cubicBezTo>
                  <a:pt x="50" y="97"/>
                  <a:pt x="50" y="97"/>
                  <a:pt x="50" y="97"/>
                </a:cubicBezTo>
                <a:cubicBezTo>
                  <a:pt x="39" y="97"/>
                  <a:pt x="27" y="93"/>
                  <a:pt x="19" y="86"/>
                </a:cubicBezTo>
                <a:cubicBezTo>
                  <a:pt x="9" y="77"/>
                  <a:pt x="3" y="65"/>
                  <a:pt x="1" y="52"/>
                </a:cubicBezTo>
                <a:cubicBezTo>
                  <a:pt x="0" y="39"/>
                  <a:pt x="4" y="27"/>
                  <a:pt x="13" y="17"/>
                </a:cubicBezTo>
                <a:cubicBezTo>
                  <a:pt x="22" y="6"/>
                  <a:pt x="36" y="0"/>
                  <a:pt x="50" y="0"/>
                </a:cubicBezTo>
                <a:cubicBezTo>
                  <a:pt x="62" y="0"/>
                  <a:pt x="73" y="4"/>
                  <a:pt x="82" y="11"/>
                </a:cubicBezTo>
                <a:cubicBezTo>
                  <a:pt x="102" y="29"/>
                  <a:pt x="105" y="59"/>
                  <a:pt x="87" y="80"/>
                </a:cubicBezTo>
                <a:cubicBezTo>
                  <a:pt x="78" y="91"/>
                  <a:pt x="64" y="97"/>
                  <a:pt x="50" y="97"/>
                </a:cubicBezTo>
                <a:close/>
                <a:moveTo>
                  <a:pt x="50" y="5"/>
                </a:moveTo>
                <a:cubicBezTo>
                  <a:pt x="37" y="5"/>
                  <a:pt x="25" y="11"/>
                  <a:pt x="17" y="20"/>
                </a:cubicBezTo>
                <a:cubicBezTo>
                  <a:pt x="10" y="29"/>
                  <a:pt x="6" y="40"/>
                  <a:pt x="7" y="52"/>
                </a:cubicBezTo>
                <a:cubicBezTo>
                  <a:pt x="8" y="63"/>
                  <a:pt x="13" y="74"/>
                  <a:pt x="22" y="81"/>
                </a:cubicBezTo>
                <a:cubicBezTo>
                  <a:pt x="30" y="88"/>
                  <a:pt x="40" y="92"/>
                  <a:pt x="50" y="92"/>
                </a:cubicBezTo>
                <a:cubicBezTo>
                  <a:pt x="63" y="92"/>
                  <a:pt x="75" y="86"/>
                  <a:pt x="83" y="76"/>
                </a:cubicBezTo>
                <a:cubicBezTo>
                  <a:pt x="99" y="58"/>
                  <a:pt x="96" y="31"/>
                  <a:pt x="78" y="15"/>
                </a:cubicBezTo>
                <a:cubicBezTo>
                  <a:pt x="70" y="9"/>
                  <a:pt x="60" y="5"/>
                  <a:pt x="50" y="5"/>
                </a:cubicBezTo>
                <a:close/>
                <a:moveTo>
                  <a:pt x="50" y="80"/>
                </a:moveTo>
                <a:cubicBezTo>
                  <a:pt x="43" y="80"/>
                  <a:pt x="35" y="77"/>
                  <a:pt x="30" y="72"/>
                </a:cubicBezTo>
                <a:cubicBezTo>
                  <a:pt x="17" y="61"/>
                  <a:pt x="15" y="41"/>
                  <a:pt x="26" y="28"/>
                </a:cubicBezTo>
                <a:cubicBezTo>
                  <a:pt x="32" y="21"/>
                  <a:pt x="41" y="17"/>
                  <a:pt x="50" y="17"/>
                </a:cubicBezTo>
                <a:cubicBezTo>
                  <a:pt x="57" y="17"/>
                  <a:pt x="65" y="20"/>
                  <a:pt x="70" y="24"/>
                </a:cubicBezTo>
                <a:cubicBezTo>
                  <a:pt x="84" y="36"/>
                  <a:pt x="85" y="55"/>
                  <a:pt x="74" y="69"/>
                </a:cubicBezTo>
                <a:cubicBezTo>
                  <a:pt x="68" y="76"/>
                  <a:pt x="59" y="80"/>
                  <a:pt x="50" y="80"/>
                </a:cubicBezTo>
                <a:close/>
                <a:moveTo>
                  <a:pt x="50" y="22"/>
                </a:moveTo>
                <a:cubicBezTo>
                  <a:pt x="42" y="22"/>
                  <a:pt x="35" y="26"/>
                  <a:pt x="30" y="32"/>
                </a:cubicBezTo>
                <a:cubicBezTo>
                  <a:pt x="21" y="42"/>
                  <a:pt x="22" y="59"/>
                  <a:pt x="33" y="68"/>
                </a:cubicBezTo>
                <a:cubicBezTo>
                  <a:pt x="38" y="72"/>
                  <a:pt x="44" y="74"/>
                  <a:pt x="50" y="74"/>
                </a:cubicBezTo>
                <a:cubicBezTo>
                  <a:pt x="58" y="74"/>
                  <a:pt x="65" y="71"/>
                  <a:pt x="70" y="65"/>
                </a:cubicBezTo>
                <a:cubicBezTo>
                  <a:pt x="79" y="54"/>
                  <a:pt x="78" y="38"/>
                  <a:pt x="67" y="29"/>
                </a:cubicBezTo>
                <a:cubicBezTo>
                  <a:pt x="62" y="25"/>
                  <a:pt x="56" y="22"/>
                  <a:pt x="50" y="2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0" name="Freeform 1007">
            <a:extLst>
              <a:ext uri="{FF2B5EF4-FFF2-40B4-BE49-F238E27FC236}">
                <a16:creationId xmlns:a16="http://schemas.microsoft.com/office/drawing/2014/main" id="{984E3546-A543-4247-A4DF-C9EFCC26621A}"/>
              </a:ext>
            </a:extLst>
          </p:cNvPr>
          <p:cNvSpPr>
            <a:spLocks noEditPoints="1"/>
          </p:cNvSpPr>
          <p:nvPr/>
        </p:nvSpPr>
        <p:spPr bwMode="auto">
          <a:xfrm>
            <a:off x="3366140" y="5369665"/>
            <a:ext cx="1886369" cy="1059075"/>
          </a:xfrm>
          <a:custGeom>
            <a:avLst/>
            <a:gdLst>
              <a:gd name="T0" fmla="*/ 651 w 686"/>
              <a:gd name="T1" fmla="*/ 292 h 385"/>
              <a:gd name="T2" fmla="*/ 651 w 686"/>
              <a:gd name="T3" fmla="*/ 292 h 385"/>
              <a:gd name="T4" fmla="*/ 240 w 686"/>
              <a:gd name="T5" fmla="*/ 193 h 385"/>
              <a:gd name="T6" fmla="*/ 241 w 686"/>
              <a:gd name="T7" fmla="*/ 193 h 385"/>
              <a:gd name="T8" fmla="*/ 431 w 686"/>
              <a:gd name="T9" fmla="*/ 135 h 385"/>
              <a:gd name="T10" fmla="*/ 338 w 686"/>
              <a:gd name="T11" fmla="*/ 181 h 385"/>
              <a:gd name="T12" fmla="*/ 431 w 686"/>
              <a:gd name="T13" fmla="*/ 135 h 385"/>
              <a:gd name="T14" fmla="*/ 611 w 686"/>
              <a:gd name="T15" fmla="*/ 351 h 385"/>
              <a:gd name="T16" fmla="*/ 639 w 686"/>
              <a:gd name="T17" fmla="*/ 300 h 385"/>
              <a:gd name="T18" fmla="*/ 648 w 686"/>
              <a:gd name="T19" fmla="*/ 294 h 385"/>
              <a:gd name="T20" fmla="*/ 651 w 686"/>
              <a:gd name="T21" fmla="*/ 292 h 385"/>
              <a:gd name="T22" fmla="*/ 665 w 686"/>
              <a:gd name="T23" fmla="*/ 288 h 385"/>
              <a:gd name="T24" fmla="*/ 665 w 686"/>
              <a:gd name="T25" fmla="*/ 289 h 385"/>
              <a:gd name="T26" fmla="*/ 650 w 686"/>
              <a:gd name="T27" fmla="*/ 293 h 385"/>
              <a:gd name="T28" fmla="*/ 645 w 686"/>
              <a:gd name="T29" fmla="*/ 295 h 385"/>
              <a:gd name="T30" fmla="*/ 18 w 686"/>
              <a:gd name="T31" fmla="*/ 150 h 385"/>
              <a:gd name="T32" fmla="*/ 18 w 686"/>
              <a:gd name="T33" fmla="*/ 150 h 385"/>
              <a:gd name="T34" fmla="*/ 1 w 686"/>
              <a:gd name="T35" fmla="*/ 99 h 385"/>
              <a:gd name="T36" fmla="*/ 1 w 686"/>
              <a:gd name="T37" fmla="*/ 115 h 385"/>
              <a:gd name="T38" fmla="*/ 58 w 686"/>
              <a:gd name="T39" fmla="*/ 236 h 385"/>
              <a:gd name="T40" fmla="*/ 234 w 686"/>
              <a:gd name="T41" fmla="*/ 282 h 385"/>
              <a:gd name="T42" fmla="*/ 411 w 686"/>
              <a:gd name="T43" fmla="*/ 234 h 385"/>
              <a:gd name="T44" fmla="*/ 441 w 686"/>
              <a:gd name="T45" fmla="*/ 257 h 385"/>
              <a:gd name="T46" fmla="*/ 622 w 686"/>
              <a:gd name="T47" fmla="*/ 382 h 385"/>
              <a:gd name="T48" fmla="*/ 620 w 686"/>
              <a:gd name="T49" fmla="*/ 381 h 385"/>
              <a:gd name="T50" fmla="*/ 648 w 686"/>
              <a:gd name="T51" fmla="*/ 379 h 385"/>
              <a:gd name="T52" fmla="*/ 676 w 686"/>
              <a:gd name="T53" fmla="*/ 292 h 385"/>
              <a:gd name="T54" fmla="*/ 675 w 686"/>
              <a:gd name="T55" fmla="*/ 291 h 385"/>
              <a:gd name="T56" fmla="*/ 495 w 686"/>
              <a:gd name="T57" fmla="*/ 189 h 385"/>
              <a:gd name="T58" fmla="*/ 455 w 686"/>
              <a:gd name="T59" fmla="*/ 185 h 385"/>
              <a:gd name="T60" fmla="*/ 464 w 686"/>
              <a:gd name="T61" fmla="*/ 141 h 385"/>
              <a:gd name="T62" fmla="*/ 241 w 686"/>
              <a:gd name="T63" fmla="*/ 242 h 385"/>
              <a:gd name="T64" fmla="*/ 64 w 686"/>
              <a:gd name="T65" fmla="*/ 196 h 385"/>
              <a:gd name="T66" fmla="*/ 8 w 686"/>
              <a:gd name="T67" fmla="*/ 115 h 385"/>
              <a:gd name="T68" fmla="*/ 8 w 686"/>
              <a:gd name="T69" fmla="*/ 115 h 385"/>
              <a:gd name="T70" fmla="*/ 8 w 686"/>
              <a:gd name="T71" fmla="*/ 114 h 385"/>
              <a:gd name="T72" fmla="*/ 8 w 686"/>
              <a:gd name="T73" fmla="*/ 114 h 385"/>
              <a:gd name="T74" fmla="*/ 7 w 686"/>
              <a:gd name="T75" fmla="*/ 76 h 385"/>
              <a:gd name="T76" fmla="*/ 8 w 686"/>
              <a:gd name="T77" fmla="*/ 65 h 385"/>
              <a:gd name="T78" fmla="*/ 25 w 686"/>
              <a:gd name="T79" fmla="*/ 110 h 385"/>
              <a:gd name="T80" fmla="*/ 75 w 686"/>
              <a:gd name="T81" fmla="*/ 0 h 385"/>
              <a:gd name="T82" fmla="*/ 103 w 686"/>
              <a:gd name="T83" fmla="*/ 138 h 385"/>
              <a:gd name="T84" fmla="*/ 376 w 686"/>
              <a:gd name="T85" fmla="*/ 138 h 385"/>
              <a:gd name="T86" fmla="*/ 420 w 686"/>
              <a:gd name="T87" fmla="*/ 20 h 385"/>
              <a:gd name="T88" fmla="*/ 415 w 686"/>
              <a:gd name="T89" fmla="*/ 40 h 385"/>
              <a:gd name="T90" fmla="*/ 239 w 686"/>
              <a:gd name="T91" fmla="*/ 165 h 385"/>
              <a:gd name="T92" fmla="*/ 64 w 686"/>
              <a:gd name="T93" fmla="*/ 39 h 385"/>
              <a:gd name="T94" fmla="*/ 75 w 686"/>
              <a:gd name="T95"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6" h="385">
                <a:moveTo>
                  <a:pt x="651" y="292"/>
                </a:moveTo>
                <a:cubicBezTo>
                  <a:pt x="651" y="292"/>
                  <a:pt x="651" y="292"/>
                  <a:pt x="651" y="292"/>
                </a:cubicBezTo>
                <a:cubicBezTo>
                  <a:pt x="651" y="292"/>
                  <a:pt x="651" y="292"/>
                  <a:pt x="650" y="293"/>
                </a:cubicBezTo>
                <a:cubicBezTo>
                  <a:pt x="651" y="292"/>
                  <a:pt x="651" y="292"/>
                  <a:pt x="651" y="292"/>
                </a:cubicBezTo>
                <a:moveTo>
                  <a:pt x="318" y="185"/>
                </a:moveTo>
                <a:cubicBezTo>
                  <a:pt x="293" y="191"/>
                  <a:pt x="266" y="193"/>
                  <a:pt x="240" y="193"/>
                </a:cubicBezTo>
                <a:cubicBezTo>
                  <a:pt x="233" y="193"/>
                  <a:pt x="226" y="193"/>
                  <a:pt x="219" y="193"/>
                </a:cubicBezTo>
                <a:cubicBezTo>
                  <a:pt x="226" y="193"/>
                  <a:pt x="234" y="193"/>
                  <a:pt x="241" y="193"/>
                </a:cubicBezTo>
                <a:cubicBezTo>
                  <a:pt x="267" y="193"/>
                  <a:pt x="293" y="191"/>
                  <a:pt x="318" y="185"/>
                </a:cubicBezTo>
                <a:moveTo>
                  <a:pt x="431" y="135"/>
                </a:moveTo>
                <a:cubicBezTo>
                  <a:pt x="423" y="142"/>
                  <a:pt x="414" y="148"/>
                  <a:pt x="403" y="154"/>
                </a:cubicBezTo>
                <a:cubicBezTo>
                  <a:pt x="384" y="165"/>
                  <a:pt x="362" y="174"/>
                  <a:pt x="338" y="181"/>
                </a:cubicBezTo>
                <a:cubicBezTo>
                  <a:pt x="371" y="172"/>
                  <a:pt x="402" y="158"/>
                  <a:pt x="428" y="137"/>
                </a:cubicBezTo>
                <a:cubicBezTo>
                  <a:pt x="429" y="137"/>
                  <a:pt x="430" y="136"/>
                  <a:pt x="431" y="135"/>
                </a:cubicBezTo>
                <a:moveTo>
                  <a:pt x="611" y="352"/>
                </a:moveTo>
                <a:cubicBezTo>
                  <a:pt x="611" y="351"/>
                  <a:pt x="611" y="351"/>
                  <a:pt x="611" y="351"/>
                </a:cubicBezTo>
                <a:cubicBezTo>
                  <a:pt x="611" y="352"/>
                  <a:pt x="611" y="352"/>
                  <a:pt x="611" y="352"/>
                </a:cubicBezTo>
                <a:moveTo>
                  <a:pt x="639" y="300"/>
                </a:moveTo>
                <a:cubicBezTo>
                  <a:pt x="641" y="298"/>
                  <a:pt x="643" y="297"/>
                  <a:pt x="645" y="295"/>
                </a:cubicBezTo>
                <a:cubicBezTo>
                  <a:pt x="646" y="295"/>
                  <a:pt x="647" y="294"/>
                  <a:pt x="648" y="294"/>
                </a:cubicBezTo>
                <a:cubicBezTo>
                  <a:pt x="645" y="295"/>
                  <a:pt x="642" y="298"/>
                  <a:pt x="639" y="300"/>
                </a:cubicBezTo>
                <a:moveTo>
                  <a:pt x="651" y="292"/>
                </a:moveTo>
                <a:cubicBezTo>
                  <a:pt x="651" y="292"/>
                  <a:pt x="651" y="292"/>
                  <a:pt x="651" y="292"/>
                </a:cubicBezTo>
                <a:cubicBezTo>
                  <a:pt x="656" y="290"/>
                  <a:pt x="660" y="288"/>
                  <a:pt x="665" y="288"/>
                </a:cubicBezTo>
                <a:cubicBezTo>
                  <a:pt x="668" y="288"/>
                  <a:pt x="670" y="289"/>
                  <a:pt x="673" y="290"/>
                </a:cubicBezTo>
                <a:cubicBezTo>
                  <a:pt x="671" y="289"/>
                  <a:pt x="668" y="289"/>
                  <a:pt x="665" y="289"/>
                </a:cubicBezTo>
                <a:cubicBezTo>
                  <a:pt x="659" y="289"/>
                  <a:pt x="653" y="291"/>
                  <a:pt x="648" y="294"/>
                </a:cubicBezTo>
                <a:cubicBezTo>
                  <a:pt x="649" y="293"/>
                  <a:pt x="650" y="293"/>
                  <a:pt x="650" y="293"/>
                </a:cubicBezTo>
                <a:cubicBezTo>
                  <a:pt x="650" y="293"/>
                  <a:pt x="649" y="293"/>
                  <a:pt x="648" y="294"/>
                </a:cubicBezTo>
                <a:cubicBezTo>
                  <a:pt x="647" y="294"/>
                  <a:pt x="646" y="295"/>
                  <a:pt x="645" y="295"/>
                </a:cubicBezTo>
                <a:cubicBezTo>
                  <a:pt x="647" y="294"/>
                  <a:pt x="649" y="293"/>
                  <a:pt x="651" y="292"/>
                </a:cubicBezTo>
                <a:moveTo>
                  <a:pt x="18" y="150"/>
                </a:moveTo>
                <a:cubicBezTo>
                  <a:pt x="8" y="135"/>
                  <a:pt x="1" y="119"/>
                  <a:pt x="1" y="100"/>
                </a:cubicBezTo>
                <a:cubicBezTo>
                  <a:pt x="1" y="117"/>
                  <a:pt x="7" y="134"/>
                  <a:pt x="18" y="150"/>
                </a:cubicBezTo>
                <a:moveTo>
                  <a:pt x="7" y="66"/>
                </a:moveTo>
                <a:cubicBezTo>
                  <a:pt x="3" y="77"/>
                  <a:pt x="1" y="88"/>
                  <a:pt x="1" y="99"/>
                </a:cubicBezTo>
                <a:cubicBezTo>
                  <a:pt x="1" y="98"/>
                  <a:pt x="1" y="98"/>
                  <a:pt x="1" y="98"/>
                </a:cubicBezTo>
                <a:cubicBezTo>
                  <a:pt x="1" y="112"/>
                  <a:pt x="1" y="101"/>
                  <a:pt x="1" y="115"/>
                </a:cubicBezTo>
                <a:cubicBezTo>
                  <a:pt x="1" y="128"/>
                  <a:pt x="0" y="141"/>
                  <a:pt x="1" y="154"/>
                </a:cubicBezTo>
                <a:cubicBezTo>
                  <a:pt x="4" y="189"/>
                  <a:pt x="30" y="217"/>
                  <a:pt x="58" y="236"/>
                </a:cubicBezTo>
                <a:cubicBezTo>
                  <a:pt x="90" y="257"/>
                  <a:pt x="129" y="270"/>
                  <a:pt x="167" y="276"/>
                </a:cubicBezTo>
                <a:cubicBezTo>
                  <a:pt x="189" y="280"/>
                  <a:pt x="211" y="282"/>
                  <a:pt x="234" y="282"/>
                </a:cubicBezTo>
                <a:cubicBezTo>
                  <a:pt x="274" y="282"/>
                  <a:pt x="313" y="276"/>
                  <a:pt x="351" y="263"/>
                </a:cubicBezTo>
                <a:cubicBezTo>
                  <a:pt x="370" y="256"/>
                  <a:pt x="392" y="247"/>
                  <a:pt x="411" y="234"/>
                </a:cubicBezTo>
                <a:cubicBezTo>
                  <a:pt x="441" y="252"/>
                  <a:pt x="441" y="252"/>
                  <a:pt x="441" y="252"/>
                </a:cubicBezTo>
                <a:cubicBezTo>
                  <a:pt x="441" y="254"/>
                  <a:pt x="441" y="256"/>
                  <a:pt x="441" y="257"/>
                </a:cubicBezTo>
                <a:cubicBezTo>
                  <a:pt x="441" y="267"/>
                  <a:pt x="443" y="278"/>
                  <a:pt x="452" y="283"/>
                </a:cubicBezTo>
                <a:cubicBezTo>
                  <a:pt x="622" y="382"/>
                  <a:pt x="622" y="382"/>
                  <a:pt x="622" y="382"/>
                </a:cubicBezTo>
                <a:cubicBezTo>
                  <a:pt x="618" y="380"/>
                  <a:pt x="615" y="376"/>
                  <a:pt x="613" y="371"/>
                </a:cubicBezTo>
                <a:cubicBezTo>
                  <a:pt x="615" y="375"/>
                  <a:pt x="617" y="378"/>
                  <a:pt x="620" y="381"/>
                </a:cubicBezTo>
                <a:cubicBezTo>
                  <a:pt x="624" y="384"/>
                  <a:pt x="628" y="385"/>
                  <a:pt x="632" y="385"/>
                </a:cubicBezTo>
                <a:cubicBezTo>
                  <a:pt x="637" y="385"/>
                  <a:pt x="643" y="382"/>
                  <a:pt x="648" y="379"/>
                </a:cubicBezTo>
                <a:cubicBezTo>
                  <a:pt x="669" y="368"/>
                  <a:pt x="683" y="344"/>
                  <a:pt x="685" y="321"/>
                </a:cubicBezTo>
                <a:cubicBezTo>
                  <a:pt x="686" y="311"/>
                  <a:pt x="685" y="299"/>
                  <a:pt x="676" y="292"/>
                </a:cubicBezTo>
                <a:cubicBezTo>
                  <a:pt x="676" y="292"/>
                  <a:pt x="675" y="291"/>
                  <a:pt x="675" y="291"/>
                </a:cubicBezTo>
                <a:cubicBezTo>
                  <a:pt x="675" y="291"/>
                  <a:pt x="675" y="291"/>
                  <a:pt x="675" y="291"/>
                </a:cubicBezTo>
                <a:cubicBezTo>
                  <a:pt x="505" y="192"/>
                  <a:pt x="505" y="192"/>
                  <a:pt x="505" y="192"/>
                </a:cubicBezTo>
                <a:cubicBezTo>
                  <a:pt x="502" y="190"/>
                  <a:pt x="498" y="189"/>
                  <a:pt x="495" y="189"/>
                </a:cubicBezTo>
                <a:cubicBezTo>
                  <a:pt x="488" y="189"/>
                  <a:pt x="481" y="193"/>
                  <a:pt x="475" y="197"/>
                </a:cubicBezTo>
                <a:cubicBezTo>
                  <a:pt x="455" y="185"/>
                  <a:pt x="455" y="185"/>
                  <a:pt x="455" y="185"/>
                </a:cubicBezTo>
                <a:cubicBezTo>
                  <a:pt x="461" y="174"/>
                  <a:pt x="464" y="162"/>
                  <a:pt x="464" y="148"/>
                </a:cubicBezTo>
                <a:cubicBezTo>
                  <a:pt x="464" y="141"/>
                  <a:pt x="464" y="141"/>
                  <a:pt x="464" y="141"/>
                </a:cubicBezTo>
                <a:cubicBezTo>
                  <a:pt x="446" y="183"/>
                  <a:pt x="398" y="210"/>
                  <a:pt x="358" y="224"/>
                </a:cubicBezTo>
                <a:cubicBezTo>
                  <a:pt x="320" y="236"/>
                  <a:pt x="280" y="242"/>
                  <a:pt x="241" y="242"/>
                </a:cubicBezTo>
                <a:cubicBezTo>
                  <a:pt x="218" y="242"/>
                  <a:pt x="196" y="241"/>
                  <a:pt x="174" y="237"/>
                </a:cubicBezTo>
                <a:cubicBezTo>
                  <a:pt x="135" y="230"/>
                  <a:pt x="97" y="218"/>
                  <a:pt x="64" y="196"/>
                </a:cubicBezTo>
                <a:cubicBezTo>
                  <a:pt x="36" y="177"/>
                  <a:pt x="11" y="150"/>
                  <a:pt x="8" y="115"/>
                </a:cubicBezTo>
                <a:cubicBezTo>
                  <a:pt x="8" y="115"/>
                  <a:pt x="8" y="115"/>
                  <a:pt x="8" y="115"/>
                </a:cubicBezTo>
                <a:cubicBezTo>
                  <a:pt x="8" y="115"/>
                  <a:pt x="8" y="115"/>
                  <a:pt x="8" y="115"/>
                </a:cubicBezTo>
                <a:cubicBezTo>
                  <a:pt x="8" y="115"/>
                  <a:pt x="8" y="115"/>
                  <a:pt x="8" y="115"/>
                </a:cubicBezTo>
                <a:cubicBezTo>
                  <a:pt x="8" y="115"/>
                  <a:pt x="8" y="115"/>
                  <a:pt x="8" y="115"/>
                </a:cubicBezTo>
                <a:cubicBezTo>
                  <a:pt x="8" y="115"/>
                  <a:pt x="8" y="115"/>
                  <a:pt x="8" y="114"/>
                </a:cubicBezTo>
                <a:cubicBezTo>
                  <a:pt x="8" y="114"/>
                  <a:pt x="8" y="114"/>
                  <a:pt x="8" y="114"/>
                </a:cubicBezTo>
                <a:cubicBezTo>
                  <a:pt x="8" y="114"/>
                  <a:pt x="8" y="114"/>
                  <a:pt x="8" y="114"/>
                </a:cubicBezTo>
                <a:cubicBezTo>
                  <a:pt x="8" y="115"/>
                  <a:pt x="8" y="115"/>
                  <a:pt x="8" y="115"/>
                </a:cubicBezTo>
                <a:cubicBezTo>
                  <a:pt x="6" y="102"/>
                  <a:pt x="7" y="89"/>
                  <a:pt x="7" y="76"/>
                </a:cubicBezTo>
                <a:cubicBezTo>
                  <a:pt x="7" y="66"/>
                  <a:pt x="7" y="68"/>
                  <a:pt x="7" y="66"/>
                </a:cubicBezTo>
                <a:moveTo>
                  <a:pt x="8" y="65"/>
                </a:moveTo>
                <a:cubicBezTo>
                  <a:pt x="8" y="65"/>
                  <a:pt x="8" y="65"/>
                  <a:pt x="8" y="65"/>
                </a:cubicBezTo>
                <a:cubicBezTo>
                  <a:pt x="9" y="82"/>
                  <a:pt x="15" y="97"/>
                  <a:pt x="25" y="110"/>
                </a:cubicBezTo>
                <a:cubicBezTo>
                  <a:pt x="15" y="96"/>
                  <a:pt x="9" y="81"/>
                  <a:pt x="8" y="65"/>
                </a:cubicBezTo>
                <a:moveTo>
                  <a:pt x="75" y="0"/>
                </a:moveTo>
                <a:cubicBezTo>
                  <a:pt x="75" y="0"/>
                  <a:pt x="75" y="0"/>
                  <a:pt x="75" y="0"/>
                </a:cubicBezTo>
                <a:cubicBezTo>
                  <a:pt x="29" y="43"/>
                  <a:pt x="38" y="101"/>
                  <a:pt x="103" y="138"/>
                </a:cubicBezTo>
                <a:cubicBezTo>
                  <a:pt x="141" y="160"/>
                  <a:pt x="190" y="171"/>
                  <a:pt x="240" y="171"/>
                </a:cubicBezTo>
                <a:cubicBezTo>
                  <a:pt x="289" y="171"/>
                  <a:pt x="338" y="160"/>
                  <a:pt x="376" y="138"/>
                </a:cubicBezTo>
                <a:cubicBezTo>
                  <a:pt x="431" y="106"/>
                  <a:pt x="445" y="60"/>
                  <a:pt x="420" y="20"/>
                </a:cubicBezTo>
                <a:cubicBezTo>
                  <a:pt x="420" y="20"/>
                  <a:pt x="420" y="20"/>
                  <a:pt x="420" y="20"/>
                </a:cubicBezTo>
                <a:cubicBezTo>
                  <a:pt x="431" y="37"/>
                  <a:pt x="434" y="55"/>
                  <a:pt x="431" y="73"/>
                </a:cubicBezTo>
                <a:cubicBezTo>
                  <a:pt x="428" y="62"/>
                  <a:pt x="423" y="51"/>
                  <a:pt x="415" y="40"/>
                </a:cubicBezTo>
                <a:cubicBezTo>
                  <a:pt x="427" y="73"/>
                  <a:pt x="410" y="109"/>
                  <a:pt x="366" y="134"/>
                </a:cubicBezTo>
                <a:cubicBezTo>
                  <a:pt x="331" y="155"/>
                  <a:pt x="285" y="165"/>
                  <a:pt x="239" y="165"/>
                </a:cubicBezTo>
                <a:cubicBezTo>
                  <a:pt x="193" y="165"/>
                  <a:pt x="147" y="155"/>
                  <a:pt x="112" y="134"/>
                </a:cubicBezTo>
                <a:cubicBezTo>
                  <a:pt x="67" y="109"/>
                  <a:pt x="51" y="72"/>
                  <a:pt x="64" y="39"/>
                </a:cubicBezTo>
                <a:cubicBezTo>
                  <a:pt x="55" y="50"/>
                  <a:pt x="50" y="61"/>
                  <a:pt x="47" y="72"/>
                </a:cubicBezTo>
                <a:cubicBezTo>
                  <a:pt x="42" y="47"/>
                  <a:pt x="51" y="22"/>
                  <a:pt x="75" y="0"/>
                </a:cubicBezTo>
              </a:path>
            </a:pathLst>
          </a:custGeom>
          <a:solidFill>
            <a:srgbClr val="C6C7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1" name="Freeform 1008">
            <a:extLst>
              <a:ext uri="{FF2B5EF4-FFF2-40B4-BE49-F238E27FC236}">
                <a16:creationId xmlns:a16="http://schemas.microsoft.com/office/drawing/2014/main" id="{D14F6824-FDD7-4227-ACED-16695C2C33E0}"/>
              </a:ext>
            </a:extLst>
          </p:cNvPr>
          <p:cNvSpPr>
            <a:spLocks/>
          </p:cNvSpPr>
          <p:nvPr/>
        </p:nvSpPr>
        <p:spPr bwMode="auto">
          <a:xfrm>
            <a:off x="3383970" y="5530132"/>
            <a:ext cx="1276597" cy="517056"/>
          </a:xfrm>
          <a:custGeom>
            <a:avLst/>
            <a:gdLst>
              <a:gd name="T0" fmla="*/ 2 w 465"/>
              <a:gd name="T1" fmla="*/ 57 h 189"/>
              <a:gd name="T2" fmla="*/ 1 w 465"/>
              <a:gd name="T3" fmla="*/ 18 h 189"/>
              <a:gd name="T4" fmla="*/ 1 w 465"/>
              <a:gd name="T5" fmla="*/ 0 h 189"/>
              <a:gd name="T6" fmla="*/ 126 w 465"/>
              <a:gd name="T7" fmla="*/ 119 h 189"/>
              <a:gd name="T8" fmla="*/ 316 w 465"/>
              <a:gd name="T9" fmla="*/ 127 h 189"/>
              <a:gd name="T10" fmla="*/ 422 w 465"/>
              <a:gd name="T11" fmla="*/ 79 h 189"/>
              <a:gd name="T12" fmla="*/ 465 w 465"/>
              <a:gd name="T13" fmla="*/ 2 h 189"/>
              <a:gd name="T14" fmla="*/ 465 w 465"/>
              <a:gd name="T15" fmla="*/ 51 h 189"/>
              <a:gd name="T16" fmla="*/ 352 w 465"/>
              <a:gd name="T17" fmla="*/ 166 h 189"/>
              <a:gd name="T18" fmla="*/ 168 w 465"/>
              <a:gd name="T19" fmla="*/ 179 h 189"/>
              <a:gd name="T20" fmla="*/ 58 w 465"/>
              <a:gd name="T21" fmla="*/ 138 h 189"/>
              <a:gd name="T22" fmla="*/ 2 w 465"/>
              <a:gd name="T23" fmla="*/ 57 h 189"/>
              <a:gd name="T24" fmla="*/ 2 w 465"/>
              <a:gd name="T25" fmla="*/ 57 h 189"/>
              <a:gd name="T26" fmla="*/ 2 w 465"/>
              <a:gd name="T27"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189">
                <a:moveTo>
                  <a:pt x="2" y="57"/>
                </a:moveTo>
                <a:cubicBezTo>
                  <a:pt x="0" y="44"/>
                  <a:pt x="1" y="31"/>
                  <a:pt x="1" y="18"/>
                </a:cubicBezTo>
                <a:cubicBezTo>
                  <a:pt x="1" y="3"/>
                  <a:pt x="1" y="15"/>
                  <a:pt x="1" y="0"/>
                </a:cubicBezTo>
                <a:cubicBezTo>
                  <a:pt x="1" y="64"/>
                  <a:pt x="73" y="103"/>
                  <a:pt x="126" y="119"/>
                </a:cubicBezTo>
                <a:cubicBezTo>
                  <a:pt x="188" y="138"/>
                  <a:pt x="253" y="140"/>
                  <a:pt x="316" y="127"/>
                </a:cubicBezTo>
                <a:cubicBezTo>
                  <a:pt x="354" y="118"/>
                  <a:pt x="392" y="104"/>
                  <a:pt x="422" y="79"/>
                </a:cubicBezTo>
                <a:cubicBezTo>
                  <a:pt x="445" y="60"/>
                  <a:pt x="465" y="33"/>
                  <a:pt x="465" y="2"/>
                </a:cubicBezTo>
                <a:cubicBezTo>
                  <a:pt x="465" y="51"/>
                  <a:pt x="465" y="51"/>
                  <a:pt x="465" y="51"/>
                </a:cubicBezTo>
                <a:cubicBezTo>
                  <a:pt x="464" y="111"/>
                  <a:pt x="401" y="148"/>
                  <a:pt x="352" y="166"/>
                </a:cubicBezTo>
                <a:cubicBezTo>
                  <a:pt x="293" y="186"/>
                  <a:pt x="228" y="189"/>
                  <a:pt x="168" y="179"/>
                </a:cubicBezTo>
                <a:cubicBezTo>
                  <a:pt x="129" y="172"/>
                  <a:pt x="91" y="160"/>
                  <a:pt x="58" y="138"/>
                </a:cubicBezTo>
                <a:cubicBezTo>
                  <a:pt x="30" y="119"/>
                  <a:pt x="5" y="92"/>
                  <a:pt x="2" y="57"/>
                </a:cubicBezTo>
                <a:cubicBezTo>
                  <a:pt x="1" y="56"/>
                  <a:pt x="2" y="56"/>
                  <a:pt x="2" y="57"/>
                </a:cubicBezTo>
                <a:cubicBezTo>
                  <a:pt x="2" y="57"/>
                  <a:pt x="2" y="57"/>
                  <a:pt x="2" y="57"/>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2" name="Freeform 1009">
            <a:extLst>
              <a:ext uri="{FF2B5EF4-FFF2-40B4-BE49-F238E27FC236}">
                <a16:creationId xmlns:a16="http://schemas.microsoft.com/office/drawing/2014/main" id="{FF482A87-C275-4C5C-885C-E49B089236B3}"/>
              </a:ext>
            </a:extLst>
          </p:cNvPr>
          <p:cNvSpPr>
            <a:spLocks noEditPoints="1"/>
          </p:cNvSpPr>
          <p:nvPr/>
        </p:nvSpPr>
        <p:spPr bwMode="auto">
          <a:xfrm>
            <a:off x="3323349" y="5127183"/>
            <a:ext cx="1401405" cy="809461"/>
          </a:xfrm>
          <a:custGeom>
            <a:avLst/>
            <a:gdLst>
              <a:gd name="T0" fmla="*/ 91 w 509"/>
              <a:gd name="T1" fmla="*/ 242 h 294"/>
              <a:gd name="T2" fmla="*/ 418 w 509"/>
              <a:gd name="T3" fmla="*/ 242 h 294"/>
              <a:gd name="T4" fmla="*/ 417 w 509"/>
              <a:gd name="T5" fmla="*/ 52 h 294"/>
              <a:gd name="T6" fmla="*/ 90 w 509"/>
              <a:gd name="T7" fmla="*/ 52 h 294"/>
              <a:gd name="T8" fmla="*/ 91 w 509"/>
              <a:gd name="T9" fmla="*/ 242 h 294"/>
              <a:gd name="T10" fmla="*/ 117 w 509"/>
              <a:gd name="T11" fmla="*/ 68 h 294"/>
              <a:gd name="T12" fmla="*/ 390 w 509"/>
              <a:gd name="T13" fmla="*/ 68 h 294"/>
              <a:gd name="T14" fmla="*/ 391 w 509"/>
              <a:gd name="T15" fmla="*/ 226 h 294"/>
              <a:gd name="T16" fmla="*/ 118 w 509"/>
              <a:gd name="T17" fmla="*/ 226 h 294"/>
              <a:gd name="T18" fmla="*/ 117 w 509"/>
              <a:gd name="T19" fmla="*/ 6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94">
                <a:moveTo>
                  <a:pt x="91" y="242"/>
                </a:moveTo>
                <a:cubicBezTo>
                  <a:pt x="182" y="294"/>
                  <a:pt x="328" y="294"/>
                  <a:pt x="418" y="242"/>
                </a:cubicBezTo>
                <a:cubicBezTo>
                  <a:pt x="509" y="190"/>
                  <a:pt x="508" y="105"/>
                  <a:pt x="417" y="52"/>
                </a:cubicBezTo>
                <a:cubicBezTo>
                  <a:pt x="327" y="0"/>
                  <a:pt x="180" y="0"/>
                  <a:pt x="90" y="52"/>
                </a:cubicBezTo>
                <a:cubicBezTo>
                  <a:pt x="0" y="105"/>
                  <a:pt x="0" y="190"/>
                  <a:pt x="91" y="242"/>
                </a:cubicBezTo>
                <a:moveTo>
                  <a:pt x="117" y="68"/>
                </a:moveTo>
                <a:cubicBezTo>
                  <a:pt x="192" y="24"/>
                  <a:pt x="314" y="24"/>
                  <a:pt x="390" y="68"/>
                </a:cubicBezTo>
                <a:cubicBezTo>
                  <a:pt x="466" y="112"/>
                  <a:pt x="466" y="183"/>
                  <a:pt x="391" y="226"/>
                </a:cubicBezTo>
                <a:cubicBezTo>
                  <a:pt x="316" y="270"/>
                  <a:pt x="194" y="270"/>
                  <a:pt x="118" y="226"/>
                </a:cubicBezTo>
                <a:cubicBezTo>
                  <a:pt x="42" y="183"/>
                  <a:pt x="42" y="112"/>
                  <a:pt x="117" y="68"/>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43" name="Picture 1010">
            <a:extLst>
              <a:ext uri="{FF2B5EF4-FFF2-40B4-BE49-F238E27FC236}">
                <a16:creationId xmlns:a16="http://schemas.microsoft.com/office/drawing/2014/main" id="{BCDAF8DC-7F02-479F-BF70-F03AFB499C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3117" y="5209200"/>
            <a:ext cx="1098301" cy="370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4" name="Freeform 1011">
            <a:extLst>
              <a:ext uri="{FF2B5EF4-FFF2-40B4-BE49-F238E27FC236}">
                <a16:creationId xmlns:a16="http://schemas.microsoft.com/office/drawing/2014/main" id="{05060B8C-F1F3-4B81-8F74-7820FC0AC0CF}"/>
              </a:ext>
            </a:extLst>
          </p:cNvPr>
          <p:cNvSpPr>
            <a:spLocks/>
          </p:cNvSpPr>
          <p:nvPr/>
        </p:nvSpPr>
        <p:spPr bwMode="auto">
          <a:xfrm>
            <a:off x="4492968" y="5744087"/>
            <a:ext cx="263878" cy="246047"/>
          </a:xfrm>
          <a:custGeom>
            <a:avLst/>
            <a:gdLst>
              <a:gd name="T0" fmla="*/ 0 w 95"/>
              <a:gd name="T1" fmla="*/ 40 h 90"/>
              <a:gd name="T2" fmla="*/ 0 w 95"/>
              <a:gd name="T3" fmla="*/ 36 h 90"/>
              <a:gd name="T4" fmla="*/ 1 w 95"/>
              <a:gd name="T5" fmla="*/ 33 h 90"/>
              <a:gd name="T6" fmla="*/ 1 w 95"/>
              <a:gd name="T7" fmla="*/ 31 h 90"/>
              <a:gd name="T8" fmla="*/ 3 w 95"/>
              <a:gd name="T9" fmla="*/ 28 h 90"/>
              <a:gd name="T10" fmla="*/ 3 w 95"/>
              <a:gd name="T11" fmla="*/ 26 h 90"/>
              <a:gd name="T12" fmla="*/ 5 w 95"/>
              <a:gd name="T13" fmla="*/ 23 h 90"/>
              <a:gd name="T14" fmla="*/ 6 w 95"/>
              <a:gd name="T15" fmla="*/ 20 h 90"/>
              <a:gd name="T16" fmla="*/ 10 w 95"/>
              <a:gd name="T17" fmla="*/ 15 h 90"/>
              <a:gd name="T18" fmla="*/ 12 w 95"/>
              <a:gd name="T19" fmla="*/ 12 h 90"/>
              <a:gd name="T20" fmla="*/ 14 w 95"/>
              <a:gd name="T21" fmla="*/ 10 h 90"/>
              <a:gd name="T22" fmla="*/ 16 w 95"/>
              <a:gd name="T23" fmla="*/ 8 h 90"/>
              <a:gd name="T24" fmla="*/ 18 w 95"/>
              <a:gd name="T25" fmla="*/ 6 h 90"/>
              <a:gd name="T26" fmla="*/ 20 w 95"/>
              <a:gd name="T27" fmla="*/ 5 h 90"/>
              <a:gd name="T28" fmla="*/ 22 w 95"/>
              <a:gd name="T29" fmla="*/ 3 h 90"/>
              <a:gd name="T30" fmla="*/ 25 w 95"/>
              <a:gd name="T31" fmla="*/ 2 h 90"/>
              <a:gd name="T32" fmla="*/ 26 w 95"/>
              <a:gd name="T33" fmla="*/ 2 h 90"/>
              <a:gd name="T34" fmla="*/ 27 w 95"/>
              <a:gd name="T35" fmla="*/ 1 h 90"/>
              <a:gd name="T36" fmla="*/ 29 w 95"/>
              <a:gd name="T37" fmla="*/ 1 h 90"/>
              <a:gd name="T38" fmla="*/ 31 w 95"/>
              <a:gd name="T39" fmla="*/ 0 h 90"/>
              <a:gd name="T40" fmla="*/ 32 w 95"/>
              <a:gd name="T41" fmla="*/ 0 h 90"/>
              <a:gd name="T42" fmla="*/ 34 w 95"/>
              <a:gd name="T43" fmla="*/ 0 h 90"/>
              <a:gd name="T44" fmla="*/ 35 w 95"/>
              <a:gd name="T45" fmla="*/ 0 h 90"/>
              <a:gd name="T46" fmla="*/ 37 w 95"/>
              <a:gd name="T47" fmla="*/ 1 h 90"/>
              <a:gd name="T48" fmla="*/ 94 w 95"/>
              <a:gd name="T49" fmla="*/ 34 h 90"/>
              <a:gd name="T50" fmla="*/ 90 w 95"/>
              <a:gd name="T51" fmla="*/ 33 h 90"/>
              <a:gd name="T52" fmla="*/ 88 w 95"/>
              <a:gd name="T53" fmla="*/ 33 h 90"/>
              <a:gd name="T54" fmla="*/ 84 w 95"/>
              <a:gd name="T55" fmla="*/ 34 h 90"/>
              <a:gd name="T56" fmla="*/ 81 w 95"/>
              <a:gd name="T57" fmla="*/ 35 h 90"/>
              <a:gd name="T58" fmla="*/ 74 w 95"/>
              <a:gd name="T59" fmla="*/ 39 h 90"/>
              <a:gd name="T60" fmla="*/ 66 w 95"/>
              <a:gd name="T61" fmla="*/ 48 h 90"/>
              <a:gd name="T62" fmla="*/ 63 w 95"/>
              <a:gd name="T63" fmla="*/ 53 h 90"/>
              <a:gd name="T64" fmla="*/ 58 w 95"/>
              <a:gd name="T65" fmla="*/ 64 h 90"/>
              <a:gd name="T66" fmla="*/ 57 w 95"/>
              <a:gd name="T67" fmla="*/ 70 h 90"/>
              <a:gd name="T68" fmla="*/ 57 w 95"/>
              <a:gd name="T69" fmla="*/ 81 h 90"/>
              <a:gd name="T70" fmla="*/ 60 w 95"/>
              <a:gd name="T71" fmla="*/ 88 h 90"/>
              <a:gd name="T72" fmla="*/ 6 w 95"/>
              <a:gd name="T73" fmla="*/ 58 h 90"/>
              <a:gd name="T74" fmla="*/ 2 w 95"/>
              <a:gd name="T75" fmla="*/ 54 h 90"/>
              <a:gd name="T76" fmla="*/ 1 w 95"/>
              <a:gd name="T77" fmla="*/ 52 h 90"/>
              <a:gd name="T78" fmla="*/ 0 w 95"/>
              <a:gd name="T79" fmla="*/ 48 h 90"/>
              <a:gd name="T80" fmla="*/ 0 w 95"/>
              <a:gd name="T81" fmla="*/ 47 h 90"/>
              <a:gd name="T82" fmla="*/ 0 w 95"/>
              <a:gd name="T83" fmla="*/ 44 h 90"/>
              <a:gd name="T84" fmla="*/ 0 w 95"/>
              <a:gd name="T85"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90">
                <a:moveTo>
                  <a:pt x="0" y="42"/>
                </a:moveTo>
                <a:cubicBezTo>
                  <a:pt x="0" y="41"/>
                  <a:pt x="0" y="41"/>
                  <a:pt x="0" y="41"/>
                </a:cubicBezTo>
                <a:cubicBezTo>
                  <a:pt x="0" y="40"/>
                  <a:pt x="0" y="40"/>
                  <a:pt x="0" y="40"/>
                </a:cubicBezTo>
                <a:cubicBezTo>
                  <a:pt x="0" y="39"/>
                  <a:pt x="0" y="39"/>
                  <a:pt x="0" y="38"/>
                </a:cubicBezTo>
                <a:cubicBezTo>
                  <a:pt x="0" y="38"/>
                  <a:pt x="0" y="38"/>
                  <a:pt x="0" y="37"/>
                </a:cubicBezTo>
                <a:cubicBezTo>
                  <a:pt x="0" y="37"/>
                  <a:pt x="0" y="37"/>
                  <a:pt x="0" y="36"/>
                </a:cubicBezTo>
                <a:cubicBezTo>
                  <a:pt x="0" y="36"/>
                  <a:pt x="0" y="35"/>
                  <a:pt x="0" y="35"/>
                </a:cubicBezTo>
                <a:cubicBezTo>
                  <a:pt x="1" y="35"/>
                  <a:pt x="1" y="34"/>
                  <a:pt x="1" y="34"/>
                </a:cubicBezTo>
                <a:cubicBezTo>
                  <a:pt x="1" y="33"/>
                  <a:pt x="1" y="33"/>
                  <a:pt x="1" y="33"/>
                </a:cubicBezTo>
                <a:cubicBezTo>
                  <a:pt x="1" y="32"/>
                  <a:pt x="1" y="32"/>
                  <a:pt x="1" y="32"/>
                </a:cubicBezTo>
                <a:cubicBezTo>
                  <a:pt x="1" y="32"/>
                  <a:pt x="1" y="32"/>
                  <a:pt x="1" y="32"/>
                </a:cubicBezTo>
                <a:cubicBezTo>
                  <a:pt x="1" y="31"/>
                  <a:pt x="1" y="31"/>
                  <a:pt x="1" y="31"/>
                </a:cubicBezTo>
                <a:cubicBezTo>
                  <a:pt x="2" y="31"/>
                  <a:pt x="2" y="31"/>
                  <a:pt x="2" y="30"/>
                </a:cubicBezTo>
                <a:cubicBezTo>
                  <a:pt x="2" y="30"/>
                  <a:pt x="2" y="29"/>
                  <a:pt x="2" y="29"/>
                </a:cubicBezTo>
                <a:cubicBezTo>
                  <a:pt x="2" y="29"/>
                  <a:pt x="2" y="28"/>
                  <a:pt x="3" y="28"/>
                </a:cubicBezTo>
                <a:cubicBezTo>
                  <a:pt x="3" y="28"/>
                  <a:pt x="3" y="27"/>
                  <a:pt x="3" y="27"/>
                </a:cubicBezTo>
                <a:cubicBezTo>
                  <a:pt x="3" y="26"/>
                  <a:pt x="3" y="26"/>
                  <a:pt x="3" y="26"/>
                </a:cubicBezTo>
                <a:cubicBezTo>
                  <a:pt x="3" y="26"/>
                  <a:pt x="3" y="26"/>
                  <a:pt x="3" y="26"/>
                </a:cubicBezTo>
                <a:cubicBezTo>
                  <a:pt x="4" y="26"/>
                  <a:pt x="4" y="26"/>
                  <a:pt x="4" y="26"/>
                </a:cubicBezTo>
                <a:cubicBezTo>
                  <a:pt x="4" y="25"/>
                  <a:pt x="4" y="25"/>
                  <a:pt x="4" y="25"/>
                </a:cubicBezTo>
                <a:cubicBezTo>
                  <a:pt x="4" y="24"/>
                  <a:pt x="4" y="24"/>
                  <a:pt x="5" y="23"/>
                </a:cubicBezTo>
                <a:cubicBezTo>
                  <a:pt x="5" y="23"/>
                  <a:pt x="5" y="22"/>
                  <a:pt x="5" y="22"/>
                </a:cubicBezTo>
                <a:cubicBezTo>
                  <a:pt x="6" y="21"/>
                  <a:pt x="6" y="21"/>
                  <a:pt x="6" y="21"/>
                </a:cubicBezTo>
                <a:cubicBezTo>
                  <a:pt x="6" y="20"/>
                  <a:pt x="6" y="20"/>
                  <a:pt x="6" y="20"/>
                </a:cubicBezTo>
                <a:cubicBezTo>
                  <a:pt x="6" y="20"/>
                  <a:pt x="6" y="20"/>
                  <a:pt x="6" y="20"/>
                </a:cubicBezTo>
                <a:cubicBezTo>
                  <a:pt x="7" y="19"/>
                  <a:pt x="8" y="18"/>
                  <a:pt x="8" y="17"/>
                </a:cubicBezTo>
                <a:cubicBezTo>
                  <a:pt x="9" y="17"/>
                  <a:pt x="9" y="16"/>
                  <a:pt x="10" y="15"/>
                </a:cubicBezTo>
                <a:cubicBezTo>
                  <a:pt x="10" y="15"/>
                  <a:pt x="10" y="14"/>
                  <a:pt x="11" y="14"/>
                </a:cubicBezTo>
                <a:cubicBezTo>
                  <a:pt x="11" y="13"/>
                  <a:pt x="11" y="13"/>
                  <a:pt x="12" y="13"/>
                </a:cubicBezTo>
                <a:cubicBezTo>
                  <a:pt x="12" y="12"/>
                  <a:pt x="12" y="12"/>
                  <a:pt x="12" y="12"/>
                </a:cubicBezTo>
                <a:cubicBezTo>
                  <a:pt x="13" y="11"/>
                  <a:pt x="13" y="11"/>
                  <a:pt x="13" y="11"/>
                </a:cubicBezTo>
                <a:cubicBezTo>
                  <a:pt x="13" y="11"/>
                  <a:pt x="13" y="11"/>
                  <a:pt x="13" y="11"/>
                </a:cubicBezTo>
                <a:cubicBezTo>
                  <a:pt x="14" y="10"/>
                  <a:pt x="14" y="10"/>
                  <a:pt x="14" y="10"/>
                </a:cubicBezTo>
                <a:cubicBezTo>
                  <a:pt x="14" y="10"/>
                  <a:pt x="14" y="10"/>
                  <a:pt x="14" y="10"/>
                </a:cubicBezTo>
                <a:cubicBezTo>
                  <a:pt x="15" y="9"/>
                  <a:pt x="15" y="9"/>
                  <a:pt x="15" y="9"/>
                </a:cubicBezTo>
                <a:cubicBezTo>
                  <a:pt x="16" y="8"/>
                  <a:pt x="16" y="8"/>
                  <a:pt x="16" y="8"/>
                </a:cubicBezTo>
                <a:cubicBezTo>
                  <a:pt x="17" y="7"/>
                  <a:pt x="17" y="7"/>
                  <a:pt x="17" y="7"/>
                </a:cubicBezTo>
                <a:cubicBezTo>
                  <a:pt x="18" y="7"/>
                  <a:pt x="18" y="7"/>
                  <a:pt x="18" y="7"/>
                </a:cubicBezTo>
                <a:cubicBezTo>
                  <a:pt x="18" y="6"/>
                  <a:pt x="18" y="6"/>
                  <a:pt x="18" y="6"/>
                </a:cubicBezTo>
                <a:cubicBezTo>
                  <a:pt x="18" y="6"/>
                  <a:pt x="18" y="6"/>
                  <a:pt x="18" y="6"/>
                </a:cubicBezTo>
                <a:cubicBezTo>
                  <a:pt x="19" y="5"/>
                  <a:pt x="19" y="5"/>
                  <a:pt x="19" y="5"/>
                </a:cubicBezTo>
                <a:cubicBezTo>
                  <a:pt x="20" y="5"/>
                  <a:pt x="20" y="5"/>
                  <a:pt x="20" y="5"/>
                </a:cubicBezTo>
                <a:cubicBezTo>
                  <a:pt x="21" y="4"/>
                  <a:pt x="21" y="4"/>
                  <a:pt x="21" y="4"/>
                </a:cubicBezTo>
                <a:cubicBezTo>
                  <a:pt x="22" y="3"/>
                  <a:pt x="22" y="3"/>
                  <a:pt x="22" y="3"/>
                </a:cubicBezTo>
                <a:cubicBezTo>
                  <a:pt x="22" y="3"/>
                  <a:pt x="22" y="3"/>
                  <a:pt x="22" y="3"/>
                </a:cubicBezTo>
                <a:cubicBezTo>
                  <a:pt x="23" y="3"/>
                  <a:pt x="23" y="3"/>
                  <a:pt x="23" y="3"/>
                </a:cubicBezTo>
                <a:cubicBezTo>
                  <a:pt x="24" y="2"/>
                  <a:pt x="24" y="2"/>
                  <a:pt x="24" y="2"/>
                </a:cubicBezTo>
                <a:cubicBezTo>
                  <a:pt x="25" y="2"/>
                  <a:pt x="25" y="2"/>
                  <a:pt x="25" y="2"/>
                </a:cubicBezTo>
                <a:cubicBezTo>
                  <a:pt x="25" y="2"/>
                  <a:pt x="25" y="2"/>
                  <a:pt x="25" y="2"/>
                </a:cubicBezTo>
                <a:cubicBezTo>
                  <a:pt x="25" y="2"/>
                  <a:pt x="25" y="2"/>
                  <a:pt x="25" y="2"/>
                </a:cubicBezTo>
                <a:cubicBezTo>
                  <a:pt x="26" y="2"/>
                  <a:pt x="26" y="2"/>
                  <a:pt x="26" y="2"/>
                </a:cubicBezTo>
                <a:cubicBezTo>
                  <a:pt x="27" y="1"/>
                  <a:pt x="27" y="1"/>
                  <a:pt x="27" y="1"/>
                </a:cubicBezTo>
                <a:cubicBezTo>
                  <a:pt x="27" y="1"/>
                  <a:pt x="27" y="1"/>
                  <a:pt x="27" y="1"/>
                </a:cubicBezTo>
                <a:cubicBezTo>
                  <a:pt x="27" y="1"/>
                  <a:pt x="27" y="1"/>
                  <a:pt x="27" y="1"/>
                </a:cubicBezTo>
                <a:cubicBezTo>
                  <a:pt x="28" y="1"/>
                  <a:pt x="28" y="1"/>
                  <a:pt x="28" y="1"/>
                </a:cubicBezTo>
                <a:cubicBezTo>
                  <a:pt x="29" y="1"/>
                  <a:pt x="29" y="1"/>
                  <a:pt x="29" y="1"/>
                </a:cubicBezTo>
                <a:cubicBezTo>
                  <a:pt x="29" y="1"/>
                  <a:pt x="29" y="1"/>
                  <a:pt x="29" y="1"/>
                </a:cubicBezTo>
                <a:cubicBezTo>
                  <a:pt x="29" y="1"/>
                  <a:pt x="29" y="1"/>
                  <a:pt x="29" y="1"/>
                </a:cubicBezTo>
                <a:cubicBezTo>
                  <a:pt x="30" y="0"/>
                  <a:pt x="30" y="0"/>
                  <a:pt x="30" y="0"/>
                </a:cubicBezTo>
                <a:cubicBezTo>
                  <a:pt x="31" y="0"/>
                  <a:pt x="31" y="0"/>
                  <a:pt x="31" y="0"/>
                </a:cubicBezTo>
                <a:cubicBezTo>
                  <a:pt x="31" y="0"/>
                  <a:pt x="31" y="0"/>
                  <a:pt x="31" y="0"/>
                </a:cubicBezTo>
                <a:cubicBezTo>
                  <a:pt x="31" y="0"/>
                  <a:pt x="31" y="0"/>
                  <a:pt x="31" y="0"/>
                </a:cubicBezTo>
                <a:cubicBezTo>
                  <a:pt x="32" y="0"/>
                  <a:pt x="32" y="0"/>
                  <a:pt x="32" y="0"/>
                </a:cubicBezTo>
                <a:cubicBezTo>
                  <a:pt x="32" y="0"/>
                  <a:pt x="32" y="0"/>
                  <a:pt x="33" y="0"/>
                </a:cubicBezTo>
                <a:cubicBezTo>
                  <a:pt x="33" y="0"/>
                  <a:pt x="33" y="0"/>
                  <a:pt x="33" y="0"/>
                </a:cubicBezTo>
                <a:cubicBezTo>
                  <a:pt x="34" y="0"/>
                  <a:pt x="34" y="0"/>
                  <a:pt x="34" y="0"/>
                </a:cubicBezTo>
                <a:cubicBezTo>
                  <a:pt x="34" y="0"/>
                  <a:pt x="34" y="0"/>
                  <a:pt x="34" y="0"/>
                </a:cubicBezTo>
                <a:cubicBezTo>
                  <a:pt x="34" y="0"/>
                  <a:pt x="35" y="0"/>
                  <a:pt x="35" y="0"/>
                </a:cubicBezTo>
                <a:cubicBezTo>
                  <a:pt x="35" y="0"/>
                  <a:pt x="35" y="0"/>
                  <a:pt x="35" y="0"/>
                </a:cubicBezTo>
                <a:cubicBezTo>
                  <a:pt x="36" y="1"/>
                  <a:pt x="36" y="1"/>
                  <a:pt x="36" y="1"/>
                </a:cubicBezTo>
                <a:cubicBezTo>
                  <a:pt x="36" y="1"/>
                  <a:pt x="36" y="1"/>
                  <a:pt x="37" y="1"/>
                </a:cubicBezTo>
                <a:cubicBezTo>
                  <a:pt x="37" y="1"/>
                  <a:pt x="37" y="1"/>
                  <a:pt x="37" y="1"/>
                </a:cubicBezTo>
                <a:cubicBezTo>
                  <a:pt x="38" y="1"/>
                  <a:pt x="38" y="1"/>
                  <a:pt x="39" y="2"/>
                </a:cubicBezTo>
                <a:cubicBezTo>
                  <a:pt x="95" y="35"/>
                  <a:pt x="95" y="35"/>
                  <a:pt x="95" y="35"/>
                </a:cubicBezTo>
                <a:cubicBezTo>
                  <a:pt x="95" y="34"/>
                  <a:pt x="94" y="34"/>
                  <a:pt x="94" y="34"/>
                </a:cubicBezTo>
                <a:cubicBezTo>
                  <a:pt x="93" y="34"/>
                  <a:pt x="93" y="33"/>
                  <a:pt x="92" y="33"/>
                </a:cubicBezTo>
                <a:cubicBezTo>
                  <a:pt x="92" y="33"/>
                  <a:pt x="92" y="33"/>
                  <a:pt x="92" y="33"/>
                </a:cubicBezTo>
                <a:cubicBezTo>
                  <a:pt x="91" y="33"/>
                  <a:pt x="91" y="33"/>
                  <a:pt x="90" y="33"/>
                </a:cubicBezTo>
                <a:cubicBezTo>
                  <a:pt x="90" y="33"/>
                  <a:pt x="90" y="33"/>
                  <a:pt x="90" y="33"/>
                </a:cubicBezTo>
                <a:cubicBezTo>
                  <a:pt x="89" y="33"/>
                  <a:pt x="89" y="33"/>
                  <a:pt x="88" y="33"/>
                </a:cubicBezTo>
                <a:cubicBezTo>
                  <a:pt x="88" y="33"/>
                  <a:pt x="88" y="33"/>
                  <a:pt x="88" y="33"/>
                </a:cubicBezTo>
                <a:cubicBezTo>
                  <a:pt x="87" y="33"/>
                  <a:pt x="87" y="33"/>
                  <a:pt x="86" y="33"/>
                </a:cubicBezTo>
                <a:cubicBezTo>
                  <a:pt x="86" y="33"/>
                  <a:pt x="86" y="33"/>
                  <a:pt x="86" y="33"/>
                </a:cubicBezTo>
                <a:cubicBezTo>
                  <a:pt x="85" y="34"/>
                  <a:pt x="84" y="34"/>
                  <a:pt x="84" y="34"/>
                </a:cubicBezTo>
                <a:cubicBezTo>
                  <a:pt x="84" y="34"/>
                  <a:pt x="84" y="34"/>
                  <a:pt x="84" y="34"/>
                </a:cubicBezTo>
                <a:cubicBezTo>
                  <a:pt x="83" y="34"/>
                  <a:pt x="82" y="35"/>
                  <a:pt x="81" y="35"/>
                </a:cubicBezTo>
                <a:cubicBezTo>
                  <a:pt x="81" y="35"/>
                  <a:pt x="81" y="35"/>
                  <a:pt x="81" y="35"/>
                </a:cubicBezTo>
                <a:cubicBezTo>
                  <a:pt x="81" y="35"/>
                  <a:pt x="80" y="36"/>
                  <a:pt x="79" y="36"/>
                </a:cubicBezTo>
                <a:cubicBezTo>
                  <a:pt x="77" y="37"/>
                  <a:pt x="76" y="38"/>
                  <a:pt x="74" y="39"/>
                </a:cubicBezTo>
                <a:cubicBezTo>
                  <a:pt x="74" y="39"/>
                  <a:pt x="74" y="39"/>
                  <a:pt x="74" y="39"/>
                </a:cubicBezTo>
                <a:cubicBezTo>
                  <a:pt x="73" y="41"/>
                  <a:pt x="71" y="42"/>
                  <a:pt x="70" y="43"/>
                </a:cubicBezTo>
                <a:cubicBezTo>
                  <a:pt x="70" y="43"/>
                  <a:pt x="70" y="43"/>
                  <a:pt x="70" y="43"/>
                </a:cubicBezTo>
                <a:cubicBezTo>
                  <a:pt x="69" y="45"/>
                  <a:pt x="67" y="46"/>
                  <a:pt x="66" y="48"/>
                </a:cubicBezTo>
                <a:cubicBezTo>
                  <a:pt x="66" y="48"/>
                  <a:pt x="66" y="48"/>
                  <a:pt x="66" y="48"/>
                </a:cubicBezTo>
                <a:cubicBezTo>
                  <a:pt x="65" y="50"/>
                  <a:pt x="64" y="51"/>
                  <a:pt x="63" y="53"/>
                </a:cubicBezTo>
                <a:cubicBezTo>
                  <a:pt x="63" y="53"/>
                  <a:pt x="63" y="53"/>
                  <a:pt x="63" y="53"/>
                </a:cubicBezTo>
                <a:cubicBezTo>
                  <a:pt x="62" y="55"/>
                  <a:pt x="61" y="57"/>
                  <a:pt x="60" y="59"/>
                </a:cubicBezTo>
                <a:cubicBezTo>
                  <a:pt x="60" y="59"/>
                  <a:pt x="60" y="59"/>
                  <a:pt x="60" y="59"/>
                </a:cubicBezTo>
                <a:cubicBezTo>
                  <a:pt x="59" y="61"/>
                  <a:pt x="59" y="63"/>
                  <a:pt x="58" y="64"/>
                </a:cubicBezTo>
                <a:cubicBezTo>
                  <a:pt x="58" y="65"/>
                  <a:pt x="58" y="65"/>
                  <a:pt x="58" y="65"/>
                </a:cubicBezTo>
                <a:cubicBezTo>
                  <a:pt x="57" y="66"/>
                  <a:pt x="57" y="68"/>
                  <a:pt x="57" y="70"/>
                </a:cubicBezTo>
                <a:cubicBezTo>
                  <a:pt x="57" y="70"/>
                  <a:pt x="57" y="70"/>
                  <a:pt x="57" y="70"/>
                </a:cubicBezTo>
                <a:cubicBezTo>
                  <a:pt x="56" y="72"/>
                  <a:pt x="56" y="74"/>
                  <a:pt x="56" y="76"/>
                </a:cubicBezTo>
                <a:cubicBezTo>
                  <a:pt x="56" y="78"/>
                  <a:pt x="56" y="79"/>
                  <a:pt x="57" y="81"/>
                </a:cubicBezTo>
                <a:cubicBezTo>
                  <a:pt x="57" y="81"/>
                  <a:pt x="57" y="81"/>
                  <a:pt x="57" y="81"/>
                </a:cubicBezTo>
                <a:cubicBezTo>
                  <a:pt x="57" y="82"/>
                  <a:pt x="57" y="84"/>
                  <a:pt x="58" y="85"/>
                </a:cubicBezTo>
                <a:cubicBezTo>
                  <a:pt x="58" y="85"/>
                  <a:pt x="58" y="85"/>
                  <a:pt x="58" y="85"/>
                </a:cubicBezTo>
                <a:cubicBezTo>
                  <a:pt x="58" y="86"/>
                  <a:pt x="59" y="87"/>
                  <a:pt x="60" y="88"/>
                </a:cubicBezTo>
                <a:cubicBezTo>
                  <a:pt x="60" y="88"/>
                  <a:pt x="60" y="88"/>
                  <a:pt x="60" y="88"/>
                </a:cubicBezTo>
                <a:cubicBezTo>
                  <a:pt x="61" y="89"/>
                  <a:pt x="62" y="90"/>
                  <a:pt x="63" y="90"/>
                </a:cubicBezTo>
                <a:cubicBezTo>
                  <a:pt x="6" y="58"/>
                  <a:pt x="6" y="58"/>
                  <a:pt x="6" y="58"/>
                </a:cubicBezTo>
                <a:cubicBezTo>
                  <a:pt x="5" y="57"/>
                  <a:pt x="5" y="56"/>
                  <a:pt x="4" y="55"/>
                </a:cubicBezTo>
                <a:cubicBezTo>
                  <a:pt x="3" y="55"/>
                  <a:pt x="3" y="55"/>
                  <a:pt x="3" y="55"/>
                </a:cubicBezTo>
                <a:cubicBezTo>
                  <a:pt x="3" y="54"/>
                  <a:pt x="3" y="54"/>
                  <a:pt x="2" y="54"/>
                </a:cubicBezTo>
                <a:cubicBezTo>
                  <a:pt x="2" y="53"/>
                  <a:pt x="2" y="53"/>
                  <a:pt x="1" y="52"/>
                </a:cubicBezTo>
                <a:cubicBezTo>
                  <a:pt x="1" y="52"/>
                  <a:pt x="1" y="52"/>
                  <a:pt x="1" y="52"/>
                </a:cubicBezTo>
                <a:cubicBezTo>
                  <a:pt x="1" y="52"/>
                  <a:pt x="1" y="52"/>
                  <a:pt x="1" y="52"/>
                </a:cubicBezTo>
                <a:cubicBezTo>
                  <a:pt x="1" y="52"/>
                  <a:pt x="1" y="51"/>
                  <a:pt x="1" y="51"/>
                </a:cubicBezTo>
                <a:cubicBezTo>
                  <a:pt x="1" y="50"/>
                  <a:pt x="1" y="50"/>
                  <a:pt x="0" y="50"/>
                </a:cubicBezTo>
                <a:cubicBezTo>
                  <a:pt x="0" y="49"/>
                  <a:pt x="0" y="49"/>
                  <a:pt x="0" y="48"/>
                </a:cubicBezTo>
                <a:cubicBezTo>
                  <a:pt x="0" y="48"/>
                  <a:pt x="0" y="48"/>
                  <a:pt x="0" y="48"/>
                </a:cubicBezTo>
                <a:cubicBezTo>
                  <a:pt x="0" y="48"/>
                  <a:pt x="0" y="48"/>
                  <a:pt x="0" y="48"/>
                </a:cubicBezTo>
                <a:cubicBezTo>
                  <a:pt x="0" y="47"/>
                  <a:pt x="0" y="47"/>
                  <a:pt x="0" y="47"/>
                </a:cubicBezTo>
                <a:cubicBezTo>
                  <a:pt x="0" y="47"/>
                  <a:pt x="0" y="47"/>
                  <a:pt x="0" y="46"/>
                </a:cubicBezTo>
                <a:cubicBezTo>
                  <a:pt x="0" y="46"/>
                  <a:pt x="0" y="45"/>
                  <a:pt x="0" y="45"/>
                </a:cubicBezTo>
                <a:cubicBezTo>
                  <a:pt x="0" y="45"/>
                  <a:pt x="0" y="44"/>
                  <a:pt x="0" y="44"/>
                </a:cubicBezTo>
                <a:cubicBezTo>
                  <a:pt x="0" y="44"/>
                  <a:pt x="0" y="43"/>
                  <a:pt x="0" y="43"/>
                </a:cubicBezTo>
                <a:cubicBezTo>
                  <a:pt x="0" y="43"/>
                  <a:pt x="0" y="43"/>
                  <a:pt x="0" y="43"/>
                </a:cubicBezTo>
                <a:lnTo>
                  <a:pt x="0" y="42"/>
                </a:lnTo>
                <a:close/>
              </a:path>
            </a:pathLst>
          </a:custGeom>
          <a:solidFill>
            <a:srgbClr val="2E3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Freeform 1012">
            <a:extLst>
              <a:ext uri="{FF2B5EF4-FFF2-40B4-BE49-F238E27FC236}">
                <a16:creationId xmlns:a16="http://schemas.microsoft.com/office/drawing/2014/main" id="{A32BE6BF-E0DC-49FE-B38B-1BABA9251238}"/>
              </a:ext>
            </a:extLst>
          </p:cNvPr>
          <p:cNvSpPr>
            <a:spLocks/>
          </p:cNvSpPr>
          <p:nvPr/>
        </p:nvSpPr>
        <p:spPr bwMode="auto">
          <a:xfrm>
            <a:off x="4646303" y="5822537"/>
            <a:ext cx="128373" cy="185427"/>
          </a:xfrm>
          <a:custGeom>
            <a:avLst/>
            <a:gdLst>
              <a:gd name="T0" fmla="*/ 23 w 46"/>
              <a:gd name="T1" fmla="*/ 7 h 67"/>
              <a:gd name="T2" fmla="*/ 0 w 46"/>
              <a:gd name="T3" fmla="*/ 47 h 67"/>
              <a:gd name="T4" fmla="*/ 23 w 46"/>
              <a:gd name="T5" fmla="*/ 60 h 67"/>
              <a:gd name="T6" fmla="*/ 46 w 46"/>
              <a:gd name="T7" fmla="*/ 20 h 67"/>
              <a:gd name="T8" fmla="*/ 23 w 46"/>
              <a:gd name="T9" fmla="*/ 7 h 67"/>
            </a:gdLst>
            <a:ahLst/>
            <a:cxnLst>
              <a:cxn ang="0">
                <a:pos x="T0" y="T1"/>
              </a:cxn>
              <a:cxn ang="0">
                <a:pos x="T2" y="T3"/>
              </a:cxn>
              <a:cxn ang="0">
                <a:pos x="T4" y="T5"/>
              </a:cxn>
              <a:cxn ang="0">
                <a:pos x="T6" y="T7"/>
              </a:cxn>
              <a:cxn ang="0">
                <a:pos x="T8" y="T9"/>
              </a:cxn>
            </a:cxnLst>
            <a:rect l="0" t="0" r="r" b="b"/>
            <a:pathLst>
              <a:path w="46" h="67">
                <a:moveTo>
                  <a:pt x="23" y="7"/>
                </a:moveTo>
                <a:cubicBezTo>
                  <a:pt x="10" y="14"/>
                  <a:pt x="0" y="32"/>
                  <a:pt x="0" y="47"/>
                </a:cubicBezTo>
                <a:cubicBezTo>
                  <a:pt x="0" y="61"/>
                  <a:pt x="10" y="67"/>
                  <a:pt x="23" y="60"/>
                </a:cubicBezTo>
                <a:cubicBezTo>
                  <a:pt x="36" y="53"/>
                  <a:pt x="46" y="35"/>
                  <a:pt x="46" y="20"/>
                </a:cubicBezTo>
                <a:cubicBezTo>
                  <a:pt x="46" y="6"/>
                  <a:pt x="36" y="0"/>
                  <a:pt x="23" y="7"/>
                </a:cubicBezTo>
                <a:close/>
              </a:path>
            </a:pathLst>
          </a:custGeom>
          <a:solidFill>
            <a:srgbClr val="84B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6" name="Freeform 1013">
            <a:extLst>
              <a:ext uri="{FF2B5EF4-FFF2-40B4-BE49-F238E27FC236}">
                <a16:creationId xmlns:a16="http://schemas.microsoft.com/office/drawing/2014/main" id="{3662E028-A23C-4BC2-AB38-78029DA1615D}"/>
              </a:ext>
            </a:extLst>
          </p:cNvPr>
          <p:cNvSpPr>
            <a:spLocks/>
          </p:cNvSpPr>
          <p:nvPr/>
        </p:nvSpPr>
        <p:spPr bwMode="auto">
          <a:xfrm>
            <a:off x="4596380" y="5769047"/>
            <a:ext cx="645431" cy="542019"/>
          </a:xfrm>
          <a:custGeom>
            <a:avLst/>
            <a:gdLst>
              <a:gd name="T0" fmla="*/ 1 w 235"/>
              <a:gd name="T1" fmla="*/ 73 h 198"/>
              <a:gd name="T2" fmla="*/ 28 w 235"/>
              <a:gd name="T3" fmla="*/ 18 h 198"/>
              <a:gd name="T4" fmla="*/ 64 w 235"/>
              <a:gd name="T5" fmla="*/ 8 h 198"/>
              <a:gd name="T6" fmla="*/ 235 w 235"/>
              <a:gd name="T7" fmla="*/ 106 h 198"/>
              <a:gd name="T8" fmla="*/ 193 w 235"/>
              <a:gd name="T9" fmla="*/ 121 h 198"/>
              <a:gd name="T10" fmla="*/ 187 w 235"/>
              <a:gd name="T11" fmla="*/ 128 h 198"/>
              <a:gd name="T12" fmla="*/ 187 w 235"/>
              <a:gd name="T13" fmla="*/ 128 h 198"/>
              <a:gd name="T14" fmla="*/ 171 w 235"/>
              <a:gd name="T15" fmla="*/ 164 h 198"/>
              <a:gd name="T16" fmla="*/ 182 w 235"/>
              <a:gd name="T17" fmla="*/ 198 h 198"/>
              <a:gd name="T18" fmla="*/ 12 w 235"/>
              <a:gd name="T19" fmla="*/ 99 h 198"/>
              <a:gd name="T20" fmla="*/ 1 w 235"/>
              <a:gd name="T21"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98">
                <a:moveTo>
                  <a:pt x="1" y="73"/>
                </a:moveTo>
                <a:cubicBezTo>
                  <a:pt x="1" y="52"/>
                  <a:pt x="13" y="31"/>
                  <a:pt x="28" y="18"/>
                </a:cubicBezTo>
                <a:cubicBezTo>
                  <a:pt x="37" y="9"/>
                  <a:pt x="52" y="0"/>
                  <a:pt x="64" y="8"/>
                </a:cubicBezTo>
                <a:cubicBezTo>
                  <a:pt x="235" y="106"/>
                  <a:pt x="235" y="106"/>
                  <a:pt x="235" y="106"/>
                </a:cubicBezTo>
                <a:cubicBezTo>
                  <a:pt x="220" y="98"/>
                  <a:pt x="203" y="111"/>
                  <a:pt x="193" y="121"/>
                </a:cubicBezTo>
                <a:cubicBezTo>
                  <a:pt x="191" y="123"/>
                  <a:pt x="189" y="126"/>
                  <a:pt x="187" y="128"/>
                </a:cubicBezTo>
                <a:cubicBezTo>
                  <a:pt x="187" y="128"/>
                  <a:pt x="187" y="128"/>
                  <a:pt x="187" y="128"/>
                </a:cubicBezTo>
                <a:cubicBezTo>
                  <a:pt x="179" y="139"/>
                  <a:pt x="174" y="151"/>
                  <a:pt x="171" y="164"/>
                </a:cubicBezTo>
                <a:cubicBezTo>
                  <a:pt x="170" y="176"/>
                  <a:pt x="171" y="191"/>
                  <a:pt x="182" y="198"/>
                </a:cubicBezTo>
                <a:cubicBezTo>
                  <a:pt x="12" y="99"/>
                  <a:pt x="12" y="99"/>
                  <a:pt x="12" y="99"/>
                </a:cubicBezTo>
                <a:cubicBezTo>
                  <a:pt x="3" y="93"/>
                  <a:pt x="0" y="82"/>
                  <a:pt x="1" y="73"/>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7" name="Freeform 1014">
            <a:extLst>
              <a:ext uri="{FF2B5EF4-FFF2-40B4-BE49-F238E27FC236}">
                <a16:creationId xmlns:a16="http://schemas.microsoft.com/office/drawing/2014/main" id="{A757F5B3-9AD3-4DA3-B288-CE7742966796}"/>
              </a:ext>
            </a:extLst>
          </p:cNvPr>
          <p:cNvSpPr>
            <a:spLocks/>
          </p:cNvSpPr>
          <p:nvPr/>
        </p:nvSpPr>
        <p:spPr bwMode="auto">
          <a:xfrm>
            <a:off x="5063514" y="6032925"/>
            <a:ext cx="210390" cy="292405"/>
          </a:xfrm>
          <a:custGeom>
            <a:avLst/>
            <a:gdLst>
              <a:gd name="T0" fmla="*/ 38 w 76"/>
              <a:gd name="T1" fmla="*/ 12 h 106"/>
              <a:gd name="T2" fmla="*/ 1 w 76"/>
              <a:gd name="T3" fmla="*/ 71 h 106"/>
              <a:gd name="T4" fmla="*/ 10 w 76"/>
              <a:gd name="T5" fmla="*/ 99 h 106"/>
              <a:gd name="T6" fmla="*/ 38 w 76"/>
              <a:gd name="T7" fmla="*/ 98 h 106"/>
              <a:gd name="T8" fmla="*/ 75 w 76"/>
              <a:gd name="T9" fmla="*/ 39 h 106"/>
              <a:gd name="T10" fmla="*/ 66 w 76"/>
              <a:gd name="T11" fmla="*/ 11 h 106"/>
              <a:gd name="T12" fmla="*/ 38 w 76"/>
              <a:gd name="T13" fmla="*/ 12 h 106"/>
              <a:gd name="T14" fmla="*/ 38 w 76"/>
              <a:gd name="T15" fmla="*/ 1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6">
                <a:moveTo>
                  <a:pt x="38" y="12"/>
                </a:moveTo>
                <a:cubicBezTo>
                  <a:pt x="18" y="24"/>
                  <a:pt x="3" y="48"/>
                  <a:pt x="1" y="71"/>
                </a:cubicBezTo>
                <a:cubicBezTo>
                  <a:pt x="0" y="81"/>
                  <a:pt x="1" y="93"/>
                  <a:pt x="10" y="99"/>
                </a:cubicBezTo>
                <a:cubicBezTo>
                  <a:pt x="18" y="106"/>
                  <a:pt x="30" y="103"/>
                  <a:pt x="38" y="98"/>
                </a:cubicBezTo>
                <a:cubicBezTo>
                  <a:pt x="58" y="86"/>
                  <a:pt x="73" y="62"/>
                  <a:pt x="75" y="39"/>
                </a:cubicBezTo>
                <a:cubicBezTo>
                  <a:pt x="76" y="29"/>
                  <a:pt x="75" y="17"/>
                  <a:pt x="66" y="11"/>
                </a:cubicBezTo>
                <a:cubicBezTo>
                  <a:pt x="58" y="4"/>
                  <a:pt x="46" y="7"/>
                  <a:pt x="38" y="12"/>
                </a:cubicBezTo>
                <a:cubicBezTo>
                  <a:pt x="17" y="24"/>
                  <a:pt x="59" y="0"/>
                  <a:pt x="38" y="12"/>
                </a:cubicBezTo>
                <a:close/>
              </a:path>
            </a:pathLst>
          </a:custGeom>
          <a:solidFill>
            <a:srgbClr val="674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8" name="Freeform 1015">
            <a:extLst>
              <a:ext uri="{FF2B5EF4-FFF2-40B4-BE49-F238E27FC236}">
                <a16:creationId xmlns:a16="http://schemas.microsoft.com/office/drawing/2014/main" id="{B85DA769-04A8-4EA4-A697-84E0C8C152FA}"/>
              </a:ext>
            </a:extLst>
          </p:cNvPr>
          <p:cNvSpPr>
            <a:spLocks/>
          </p:cNvSpPr>
          <p:nvPr/>
        </p:nvSpPr>
        <p:spPr bwMode="auto">
          <a:xfrm>
            <a:off x="3505211" y="5298347"/>
            <a:ext cx="1034115" cy="524188"/>
          </a:xfrm>
          <a:custGeom>
            <a:avLst/>
            <a:gdLst>
              <a:gd name="T0" fmla="*/ 187 w 376"/>
              <a:gd name="T1" fmla="*/ 0 h 191"/>
              <a:gd name="T2" fmla="*/ 51 w 376"/>
              <a:gd name="T3" fmla="*/ 33 h 191"/>
              <a:gd name="T4" fmla="*/ 13 w 376"/>
              <a:gd name="T5" fmla="*/ 65 h 191"/>
              <a:gd name="T6" fmla="*/ 61 w 376"/>
              <a:gd name="T7" fmla="*/ 160 h 191"/>
              <a:gd name="T8" fmla="*/ 188 w 376"/>
              <a:gd name="T9" fmla="*/ 191 h 191"/>
              <a:gd name="T10" fmla="*/ 315 w 376"/>
              <a:gd name="T11" fmla="*/ 160 h 191"/>
              <a:gd name="T12" fmla="*/ 364 w 376"/>
              <a:gd name="T13" fmla="*/ 66 h 191"/>
              <a:gd name="T14" fmla="*/ 324 w 376"/>
              <a:gd name="T15" fmla="*/ 33 h 191"/>
              <a:gd name="T16" fmla="*/ 187 w 376"/>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191">
                <a:moveTo>
                  <a:pt x="187" y="0"/>
                </a:moveTo>
                <a:cubicBezTo>
                  <a:pt x="138" y="0"/>
                  <a:pt x="89" y="11"/>
                  <a:pt x="51" y="33"/>
                </a:cubicBezTo>
                <a:cubicBezTo>
                  <a:pt x="35" y="43"/>
                  <a:pt x="22" y="53"/>
                  <a:pt x="13" y="65"/>
                </a:cubicBezTo>
                <a:cubicBezTo>
                  <a:pt x="0" y="98"/>
                  <a:pt x="16" y="135"/>
                  <a:pt x="61" y="160"/>
                </a:cubicBezTo>
                <a:cubicBezTo>
                  <a:pt x="96" y="181"/>
                  <a:pt x="142" y="191"/>
                  <a:pt x="188" y="191"/>
                </a:cubicBezTo>
                <a:cubicBezTo>
                  <a:pt x="234" y="191"/>
                  <a:pt x="280" y="181"/>
                  <a:pt x="315" y="160"/>
                </a:cubicBezTo>
                <a:cubicBezTo>
                  <a:pt x="359" y="135"/>
                  <a:pt x="376" y="99"/>
                  <a:pt x="364" y="66"/>
                </a:cubicBezTo>
                <a:cubicBezTo>
                  <a:pt x="355" y="54"/>
                  <a:pt x="341" y="43"/>
                  <a:pt x="324" y="33"/>
                </a:cubicBezTo>
                <a:cubicBezTo>
                  <a:pt x="286" y="11"/>
                  <a:pt x="237" y="0"/>
                  <a:pt x="187" y="0"/>
                </a:cubicBezTo>
              </a:path>
            </a:pathLst>
          </a:custGeom>
          <a:solidFill>
            <a:srgbClr val="D8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49" name="Picture 1016">
            <a:extLst>
              <a:ext uri="{FF2B5EF4-FFF2-40B4-BE49-F238E27FC236}">
                <a16:creationId xmlns:a16="http://schemas.microsoft.com/office/drawing/2014/main" id="{D678F5AE-3F7E-4DB6-B0CF-492A69AD77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0171" y="5244859"/>
            <a:ext cx="991324" cy="24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0" name="Freeform 1017">
            <a:extLst>
              <a:ext uri="{FF2B5EF4-FFF2-40B4-BE49-F238E27FC236}">
                <a16:creationId xmlns:a16="http://schemas.microsoft.com/office/drawing/2014/main" id="{58875CEE-E471-4519-B044-54699E114C1E}"/>
              </a:ext>
            </a:extLst>
          </p:cNvPr>
          <p:cNvSpPr>
            <a:spLocks/>
          </p:cNvSpPr>
          <p:nvPr/>
        </p:nvSpPr>
        <p:spPr bwMode="auto">
          <a:xfrm>
            <a:off x="2396211" y="5540829"/>
            <a:ext cx="994891" cy="520623"/>
          </a:xfrm>
          <a:custGeom>
            <a:avLst/>
            <a:gdLst>
              <a:gd name="T0" fmla="*/ 180 w 361"/>
              <a:gd name="T1" fmla="*/ 0 h 190"/>
              <a:gd name="T2" fmla="*/ 64 w 361"/>
              <a:gd name="T3" fmla="*/ 28 h 190"/>
              <a:gd name="T4" fmla="*/ 64 w 361"/>
              <a:gd name="T5" fmla="*/ 162 h 190"/>
              <a:gd name="T6" fmla="*/ 180 w 361"/>
              <a:gd name="T7" fmla="*/ 190 h 190"/>
              <a:gd name="T8" fmla="*/ 296 w 361"/>
              <a:gd name="T9" fmla="*/ 162 h 190"/>
              <a:gd name="T10" fmla="*/ 296 w 361"/>
              <a:gd name="T11" fmla="*/ 28 h 190"/>
              <a:gd name="T12" fmla="*/ 180 w 361"/>
              <a:gd name="T13" fmla="*/ 0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180" y="0"/>
                </a:moveTo>
                <a:cubicBezTo>
                  <a:pt x="138" y="0"/>
                  <a:pt x="96" y="9"/>
                  <a:pt x="64" y="28"/>
                </a:cubicBezTo>
                <a:cubicBezTo>
                  <a:pt x="0" y="65"/>
                  <a:pt x="0" y="125"/>
                  <a:pt x="64" y="162"/>
                </a:cubicBezTo>
                <a:cubicBezTo>
                  <a:pt x="96" y="181"/>
                  <a:pt x="138" y="190"/>
                  <a:pt x="180" y="190"/>
                </a:cubicBezTo>
                <a:cubicBezTo>
                  <a:pt x="222" y="190"/>
                  <a:pt x="264" y="181"/>
                  <a:pt x="296" y="162"/>
                </a:cubicBezTo>
                <a:cubicBezTo>
                  <a:pt x="361" y="125"/>
                  <a:pt x="361" y="65"/>
                  <a:pt x="296" y="28"/>
                </a:cubicBezTo>
                <a:cubicBezTo>
                  <a:pt x="264" y="9"/>
                  <a:pt x="222" y="0"/>
                  <a:pt x="180" y="0"/>
                </a:cubicBezTo>
              </a:path>
            </a:pathLst>
          </a:custGeom>
          <a:solidFill>
            <a:srgbClr val="DBD6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1" name="Freeform 1018">
            <a:extLst>
              <a:ext uri="{FF2B5EF4-FFF2-40B4-BE49-F238E27FC236}">
                <a16:creationId xmlns:a16="http://schemas.microsoft.com/office/drawing/2014/main" id="{F2FE2097-3231-4E04-AF42-1FAF0F2CA0DE}"/>
              </a:ext>
            </a:extLst>
          </p:cNvPr>
          <p:cNvSpPr>
            <a:spLocks/>
          </p:cNvSpPr>
          <p:nvPr/>
        </p:nvSpPr>
        <p:spPr bwMode="auto">
          <a:xfrm>
            <a:off x="2752803" y="4200046"/>
            <a:ext cx="295972" cy="85582"/>
          </a:xfrm>
          <a:custGeom>
            <a:avLst/>
            <a:gdLst>
              <a:gd name="T0" fmla="*/ 0 w 83"/>
              <a:gd name="T1" fmla="*/ 0 h 24"/>
              <a:gd name="T2" fmla="*/ 83 w 83"/>
              <a:gd name="T3" fmla="*/ 4 h 24"/>
              <a:gd name="T4" fmla="*/ 83 w 83"/>
              <a:gd name="T5" fmla="*/ 17 h 24"/>
              <a:gd name="T6" fmla="*/ 2 w 83"/>
              <a:gd name="T7" fmla="*/ 24 h 24"/>
              <a:gd name="T8" fmla="*/ 0 w 83"/>
              <a:gd name="T9" fmla="*/ 0 h 24"/>
            </a:gdLst>
            <a:ahLst/>
            <a:cxnLst>
              <a:cxn ang="0">
                <a:pos x="T0" y="T1"/>
              </a:cxn>
              <a:cxn ang="0">
                <a:pos x="T2" y="T3"/>
              </a:cxn>
              <a:cxn ang="0">
                <a:pos x="T4" y="T5"/>
              </a:cxn>
              <a:cxn ang="0">
                <a:pos x="T6" y="T7"/>
              </a:cxn>
              <a:cxn ang="0">
                <a:pos x="T8" y="T9"/>
              </a:cxn>
            </a:cxnLst>
            <a:rect l="0" t="0" r="r" b="b"/>
            <a:pathLst>
              <a:path w="83" h="24">
                <a:moveTo>
                  <a:pt x="0" y="0"/>
                </a:moveTo>
                <a:lnTo>
                  <a:pt x="83" y="4"/>
                </a:lnTo>
                <a:lnTo>
                  <a:pt x="83" y="17"/>
                </a:lnTo>
                <a:lnTo>
                  <a:pt x="2" y="24"/>
                </a:lnTo>
                <a:lnTo>
                  <a:pt x="0" y="0"/>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2" name="Freeform 1019">
            <a:extLst>
              <a:ext uri="{FF2B5EF4-FFF2-40B4-BE49-F238E27FC236}">
                <a16:creationId xmlns:a16="http://schemas.microsoft.com/office/drawing/2014/main" id="{C69B92A6-B44F-4360-9C64-34002A8A0525}"/>
              </a:ext>
            </a:extLst>
          </p:cNvPr>
          <p:cNvSpPr>
            <a:spLocks/>
          </p:cNvSpPr>
          <p:nvPr/>
        </p:nvSpPr>
        <p:spPr bwMode="auto">
          <a:xfrm>
            <a:off x="3041643" y="4082372"/>
            <a:ext cx="527755" cy="395815"/>
          </a:xfrm>
          <a:custGeom>
            <a:avLst/>
            <a:gdLst>
              <a:gd name="T0" fmla="*/ 2 w 192"/>
              <a:gd name="T1" fmla="*/ 112 h 144"/>
              <a:gd name="T2" fmla="*/ 4 w 192"/>
              <a:gd name="T3" fmla="*/ 116 h 144"/>
              <a:gd name="T4" fmla="*/ 101 w 192"/>
              <a:gd name="T5" fmla="*/ 143 h 144"/>
              <a:gd name="T6" fmla="*/ 108 w 192"/>
              <a:gd name="T7" fmla="*/ 141 h 144"/>
              <a:gd name="T8" fmla="*/ 191 w 192"/>
              <a:gd name="T9" fmla="*/ 32 h 144"/>
              <a:gd name="T10" fmla="*/ 189 w 192"/>
              <a:gd name="T11" fmla="*/ 28 h 144"/>
              <a:gd name="T12" fmla="*/ 91 w 192"/>
              <a:gd name="T13" fmla="*/ 1 h 144"/>
              <a:gd name="T14" fmla="*/ 84 w 192"/>
              <a:gd name="T15" fmla="*/ 3 h 144"/>
              <a:gd name="T16" fmla="*/ 2 w 192"/>
              <a:gd name="T17" fmla="*/ 1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44">
                <a:moveTo>
                  <a:pt x="2" y="112"/>
                </a:moveTo>
                <a:cubicBezTo>
                  <a:pt x="0" y="114"/>
                  <a:pt x="1" y="116"/>
                  <a:pt x="4" y="116"/>
                </a:cubicBezTo>
                <a:cubicBezTo>
                  <a:pt x="101" y="143"/>
                  <a:pt x="101" y="143"/>
                  <a:pt x="101" y="143"/>
                </a:cubicBezTo>
                <a:cubicBezTo>
                  <a:pt x="104" y="144"/>
                  <a:pt x="107" y="143"/>
                  <a:pt x="108" y="141"/>
                </a:cubicBezTo>
                <a:cubicBezTo>
                  <a:pt x="191" y="32"/>
                  <a:pt x="191" y="32"/>
                  <a:pt x="191" y="32"/>
                </a:cubicBezTo>
                <a:cubicBezTo>
                  <a:pt x="192" y="30"/>
                  <a:pt x="191" y="29"/>
                  <a:pt x="189" y="28"/>
                </a:cubicBezTo>
                <a:cubicBezTo>
                  <a:pt x="91" y="1"/>
                  <a:pt x="91" y="1"/>
                  <a:pt x="91" y="1"/>
                </a:cubicBezTo>
                <a:cubicBezTo>
                  <a:pt x="89" y="0"/>
                  <a:pt x="86" y="1"/>
                  <a:pt x="84" y="3"/>
                </a:cubicBezTo>
                <a:cubicBezTo>
                  <a:pt x="2" y="112"/>
                  <a:pt x="2" y="112"/>
                  <a:pt x="2" y="112"/>
                </a:cubicBezTo>
              </a:path>
            </a:pathLst>
          </a:custGeom>
          <a:solidFill>
            <a:srgbClr val="384D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3" name="Freeform 1020">
            <a:extLst>
              <a:ext uri="{FF2B5EF4-FFF2-40B4-BE49-F238E27FC236}">
                <a16:creationId xmlns:a16="http://schemas.microsoft.com/office/drawing/2014/main" id="{E7A64CDC-DAB4-481D-BD3D-D89354D79E5B}"/>
              </a:ext>
            </a:extLst>
          </p:cNvPr>
          <p:cNvSpPr>
            <a:spLocks/>
          </p:cNvSpPr>
          <p:nvPr/>
        </p:nvSpPr>
        <p:spPr bwMode="auto">
          <a:xfrm>
            <a:off x="3095130" y="4114464"/>
            <a:ext cx="438608" cy="310233"/>
          </a:xfrm>
          <a:custGeom>
            <a:avLst/>
            <a:gdLst>
              <a:gd name="T0" fmla="*/ 0 w 123"/>
              <a:gd name="T1" fmla="*/ 67 h 87"/>
              <a:gd name="T2" fmla="*/ 72 w 123"/>
              <a:gd name="T3" fmla="*/ 87 h 87"/>
              <a:gd name="T4" fmla="*/ 123 w 123"/>
              <a:gd name="T5" fmla="*/ 20 h 87"/>
              <a:gd name="T6" fmla="*/ 51 w 123"/>
              <a:gd name="T7" fmla="*/ 0 h 87"/>
              <a:gd name="T8" fmla="*/ 0 w 123"/>
              <a:gd name="T9" fmla="*/ 67 h 87"/>
            </a:gdLst>
            <a:ahLst/>
            <a:cxnLst>
              <a:cxn ang="0">
                <a:pos x="T0" y="T1"/>
              </a:cxn>
              <a:cxn ang="0">
                <a:pos x="T2" y="T3"/>
              </a:cxn>
              <a:cxn ang="0">
                <a:pos x="T4" y="T5"/>
              </a:cxn>
              <a:cxn ang="0">
                <a:pos x="T6" y="T7"/>
              </a:cxn>
              <a:cxn ang="0">
                <a:pos x="T8" y="T9"/>
              </a:cxn>
            </a:cxnLst>
            <a:rect l="0" t="0" r="r" b="b"/>
            <a:pathLst>
              <a:path w="123" h="87">
                <a:moveTo>
                  <a:pt x="0" y="67"/>
                </a:moveTo>
                <a:lnTo>
                  <a:pt x="72" y="87"/>
                </a:lnTo>
                <a:lnTo>
                  <a:pt x="123" y="20"/>
                </a:lnTo>
                <a:lnTo>
                  <a:pt x="51" y="0"/>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4" name="Freeform 1021">
            <a:extLst>
              <a:ext uri="{FF2B5EF4-FFF2-40B4-BE49-F238E27FC236}">
                <a16:creationId xmlns:a16="http://schemas.microsoft.com/office/drawing/2014/main" id="{2C92A706-3380-43AE-9873-E3FC359994CD}"/>
              </a:ext>
            </a:extLst>
          </p:cNvPr>
          <p:cNvSpPr>
            <a:spLocks/>
          </p:cNvSpPr>
          <p:nvPr/>
        </p:nvSpPr>
        <p:spPr bwMode="auto">
          <a:xfrm>
            <a:off x="3095130" y="4114464"/>
            <a:ext cx="438608" cy="310233"/>
          </a:xfrm>
          <a:custGeom>
            <a:avLst/>
            <a:gdLst>
              <a:gd name="T0" fmla="*/ 0 w 123"/>
              <a:gd name="T1" fmla="*/ 67 h 87"/>
              <a:gd name="T2" fmla="*/ 72 w 123"/>
              <a:gd name="T3" fmla="*/ 87 h 87"/>
              <a:gd name="T4" fmla="*/ 123 w 123"/>
              <a:gd name="T5" fmla="*/ 20 h 87"/>
              <a:gd name="T6" fmla="*/ 51 w 123"/>
              <a:gd name="T7" fmla="*/ 0 h 87"/>
              <a:gd name="T8" fmla="*/ 0 w 123"/>
              <a:gd name="T9" fmla="*/ 67 h 87"/>
            </a:gdLst>
            <a:ahLst/>
            <a:cxnLst>
              <a:cxn ang="0">
                <a:pos x="T0" y="T1"/>
              </a:cxn>
              <a:cxn ang="0">
                <a:pos x="T2" y="T3"/>
              </a:cxn>
              <a:cxn ang="0">
                <a:pos x="T4" y="T5"/>
              </a:cxn>
              <a:cxn ang="0">
                <a:pos x="T6" y="T7"/>
              </a:cxn>
              <a:cxn ang="0">
                <a:pos x="T8" y="T9"/>
              </a:cxn>
            </a:cxnLst>
            <a:rect l="0" t="0" r="r" b="b"/>
            <a:pathLst>
              <a:path w="123" h="87">
                <a:moveTo>
                  <a:pt x="0" y="67"/>
                </a:moveTo>
                <a:lnTo>
                  <a:pt x="72" y="87"/>
                </a:lnTo>
                <a:lnTo>
                  <a:pt x="123" y="20"/>
                </a:lnTo>
                <a:lnTo>
                  <a:pt x="51" y="0"/>
                </a:lnTo>
                <a:lnTo>
                  <a:pt x="0"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5" name="Freeform 1022">
            <a:extLst>
              <a:ext uri="{FF2B5EF4-FFF2-40B4-BE49-F238E27FC236}">
                <a16:creationId xmlns:a16="http://schemas.microsoft.com/office/drawing/2014/main" id="{28706324-A2CB-4D1C-99A0-21B2C41B1136}"/>
              </a:ext>
            </a:extLst>
          </p:cNvPr>
          <p:cNvSpPr>
            <a:spLocks/>
          </p:cNvSpPr>
          <p:nvPr/>
        </p:nvSpPr>
        <p:spPr bwMode="auto">
          <a:xfrm>
            <a:off x="3184279" y="4403304"/>
            <a:ext cx="42791" cy="21395"/>
          </a:xfrm>
          <a:custGeom>
            <a:avLst/>
            <a:gdLst>
              <a:gd name="T0" fmla="*/ 1 w 15"/>
              <a:gd name="T1" fmla="*/ 2 h 7"/>
              <a:gd name="T2" fmla="*/ 3 w 15"/>
              <a:gd name="T3" fmla="*/ 5 h 7"/>
              <a:gd name="T4" fmla="*/ 8 w 15"/>
              <a:gd name="T5" fmla="*/ 6 h 7"/>
              <a:gd name="T6" fmla="*/ 14 w 15"/>
              <a:gd name="T7" fmla="*/ 5 h 7"/>
              <a:gd name="T8" fmla="*/ 12 w 15"/>
              <a:gd name="T9" fmla="*/ 2 h 7"/>
              <a:gd name="T10" fmla="*/ 7 w 15"/>
              <a:gd name="T11" fmla="*/ 0 h 7"/>
              <a:gd name="T12" fmla="*/ 1 w 1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 y="2"/>
                </a:moveTo>
                <a:cubicBezTo>
                  <a:pt x="0" y="3"/>
                  <a:pt x="1" y="5"/>
                  <a:pt x="3" y="5"/>
                </a:cubicBezTo>
                <a:cubicBezTo>
                  <a:pt x="8" y="6"/>
                  <a:pt x="8" y="6"/>
                  <a:pt x="8" y="6"/>
                </a:cubicBezTo>
                <a:cubicBezTo>
                  <a:pt x="10" y="7"/>
                  <a:pt x="13" y="6"/>
                  <a:pt x="14" y="5"/>
                </a:cubicBezTo>
                <a:cubicBezTo>
                  <a:pt x="15" y="4"/>
                  <a:pt x="14" y="2"/>
                  <a:pt x="12" y="2"/>
                </a:cubicBezTo>
                <a:cubicBezTo>
                  <a:pt x="7" y="0"/>
                  <a:pt x="7" y="0"/>
                  <a:pt x="7" y="0"/>
                </a:cubicBezTo>
                <a:cubicBezTo>
                  <a:pt x="5" y="0"/>
                  <a:pt x="2" y="0"/>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6" name="Freeform 1023">
            <a:extLst>
              <a:ext uri="{FF2B5EF4-FFF2-40B4-BE49-F238E27FC236}">
                <a16:creationId xmlns:a16="http://schemas.microsoft.com/office/drawing/2014/main" id="{28F1929D-97B1-4F7D-8228-B8EC38E675DA}"/>
              </a:ext>
            </a:extLst>
          </p:cNvPr>
          <p:cNvSpPr>
            <a:spLocks/>
          </p:cNvSpPr>
          <p:nvPr/>
        </p:nvSpPr>
        <p:spPr bwMode="auto">
          <a:xfrm>
            <a:off x="3380403" y="4271364"/>
            <a:ext cx="28527" cy="28527"/>
          </a:xfrm>
          <a:custGeom>
            <a:avLst/>
            <a:gdLst>
              <a:gd name="T0" fmla="*/ 0 w 8"/>
              <a:gd name="T1" fmla="*/ 7 h 8"/>
              <a:gd name="T2" fmla="*/ 3 w 8"/>
              <a:gd name="T3" fmla="*/ 8 h 8"/>
              <a:gd name="T4" fmla="*/ 8 w 8"/>
              <a:gd name="T5" fmla="*/ 0 h 8"/>
              <a:gd name="T6" fmla="*/ 6 w 8"/>
              <a:gd name="T7" fmla="*/ 0 h 8"/>
              <a:gd name="T8" fmla="*/ 0 w 8"/>
              <a:gd name="T9" fmla="*/ 7 h 8"/>
            </a:gdLst>
            <a:ahLst/>
            <a:cxnLst>
              <a:cxn ang="0">
                <a:pos x="T0" y="T1"/>
              </a:cxn>
              <a:cxn ang="0">
                <a:pos x="T2" y="T3"/>
              </a:cxn>
              <a:cxn ang="0">
                <a:pos x="T4" y="T5"/>
              </a:cxn>
              <a:cxn ang="0">
                <a:pos x="T6" y="T7"/>
              </a:cxn>
              <a:cxn ang="0">
                <a:pos x="T8" y="T9"/>
              </a:cxn>
            </a:cxnLst>
            <a:rect l="0" t="0" r="r" b="b"/>
            <a:pathLst>
              <a:path w="8" h="8">
                <a:moveTo>
                  <a:pt x="0" y="7"/>
                </a:moveTo>
                <a:lnTo>
                  <a:pt x="3" y="8"/>
                </a:lnTo>
                <a:lnTo>
                  <a:pt x="8" y="0"/>
                </a:lnTo>
                <a:lnTo>
                  <a:pt x="6" y="0"/>
                </a:lnTo>
                <a:lnTo>
                  <a:pt x="0" y="7"/>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7" name="Freeform 1024">
            <a:extLst>
              <a:ext uri="{FF2B5EF4-FFF2-40B4-BE49-F238E27FC236}">
                <a16:creationId xmlns:a16="http://schemas.microsoft.com/office/drawing/2014/main" id="{61E322AE-FBC2-4616-9104-56F64D5E052E}"/>
              </a:ext>
            </a:extLst>
          </p:cNvPr>
          <p:cNvSpPr>
            <a:spLocks/>
          </p:cNvSpPr>
          <p:nvPr/>
        </p:nvSpPr>
        <p:spPr bwMode="auto">
          <a:xfrm>
            <a:off x="3359008" y="4242837"/>
            <a:ext cx="46358" cy="49923"/>
          </a:xfrm>
          <a:custGeom>
            <a:avLst/>
            <a:gdLst>
              <a:gd name="T0" fmla="*/ 0 w 13"/>
              <a:gd name="T1" fmla="*/ 14 h 14"/>
              <a:gd name="T2" fmla="*/ 3 w 13"/>
              <a:gd name="T3" fmla="*/ 14 h 14"/>
              <a:gd name="T4" fmla="*/ 13 w 13"/>
              <a:gd name="T5" fmla="*/ 1 h 14"/>
              <a:gd name="T6" fmla="*/ 10 w 13"/>
              <a:gd name="T7" fmla="*/ 0 h 14"/>
              <a:gd name="T8" fmla="*/ 0 w 13"/>
              <a:gd name="T9" fmla="*/ 14 h 14"/>
            </a:gdLst>
            <a:ahLst/>
            <a:cxnLst>
              <a:cxn ang="0">
                <a:pos x="T0" y="T1"/>
              </a:cxn>
              <a:cxn ang="0">
                <a:pos x="T2" y="T3"/>
              </a:cxn>
              <a:cxn ang="0">
                <a:pos x="T4" y="T5"/>
              </a:cxn>
              <a:cxn ang="0">
                <a:pos x="T6" y="T7"/>
              </a:cxn>
              <a:cxn ang="0">
                <a:pos x="T8" y="T9"/>
              </a:cxn>
            </a:cxnLst>
            <a:rect l="0" t="0" r="r" b="b"/>
            <a:pathLst>
              <a:path w="13" h="14">
                <a:moveTo>
                  <a:pt x="0" y="14"/>
                </a:moveTo>
                <a:lnTo>
                  <a:pt x="3" y="14"/>
                </a:lnTo>
                <a:lnTo>
                  <a:pt x="13" y="1"/>
                </a:lnTo>
                <a:lnTo>
                  <a:pt x="10" y="0"/>
                </a:lnTo>
                <a:lnTo>
                  <a:pt x="0" y="14"/>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8" name="Freeform 1025">
            <a:extLst>
              <a:ext uri="{FF2B5EF4-FFF2-40B4-BE49-F238E27FC236}">
                <a16:creationId xmlns:a16="http://schemas.microsoft.com/office/drawing/2014/main" id="{255B49F6-2C08-4C86-BA06-B54A1EAAE2D9}"/>
              </a:ext>
            </a:extLst>
          </p:cNvPr>
          <p:cNvSpPr>
            <a:spLocks/>
          </p:cNvSpPr>
          <p:nvPr/>
        </p:nvSpPr>
        <p:spPr bwMode="auto">
          <a:xfrm>
            <a:off x="3337612" y="4257101"/>
            <a:ext cx="28527" cy="28527"/>
          </a:xfrm>
          <a:custGeom>
            <a:avLst/>
            <a:gdLst>
              <a:gd name="T0" fmla="*/ 0 w 8"/>
              <a:gd name="T1" fmla="*/ 7 h 8"/>
              <a:gd name="T2" fmla="*/ 2 w 8"/>
              <a:gd name="T3" fmla="*/ 8 h 8"/>
              <a:gd name="T4" fmla="*/ 8 w 8"/>
              <a:gd name="T5" fmla="*/ 0 h 8"/>
              <a:gd name="T6" fmla="*/ 5 w 8"/>
              <a:gd name="T7" fmla="*/ 0 h 8"/>
              <a:gd name="T8" fmla="*/ 0 w 8"/>
              <a:gd name="T9" fmla="*/ 7 h 8"/>
            </a:gdLst>
            <a:ahLst/>
            <a:cxnLst>
              <a:cxn ang="0">
                <a:pos x="T0" y="T1"/>
              </a:cxn>
              <a:cxn ang="0">
                <a:pos x="T2" y="T3"/>
              </a:cxn>
              <a:cxn ang="0">
                <a:pos x="T4" y="T5"/>
              </a:cxn>
              <a:cxn ang="0">
                <a:pos x="T6" y="T7"/>
              </a:cxn>
              <a:cxn ang="0">
                <a:pos x="T8" y="T9"/>
              </a:cxn>
            </a:cxnLst>
            <a:rect l="0" t="0" r="r" b="b"/>
            <a:pathLst>
              <a:path w="8" h="8">
                <a:moveTo>
                  <a:pt x="0" y="7"/>
                </a:moveTo>
                <a:lnTo>
                  <a:pt x="2" y="8"/>
                </a:lnTo>
                <a:lnTo>
                  <a:pt x="8" y="0"/>
                </a:lnTo>
                <a:lnTo>
                  <a:pt x="5" y="0"/>
                </a:lnTo>
                <a:lnTo>
                  <a:pt x="0" y="7"/>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9" name="Freeform 1026">
            <a:extLst>
              <a:ext uri="{FF2B5EF4-FFF2-40B4-BE49-F238E27FC236}">
                <a16:creationId xmlns:a16="http://schemas.microsoft.com/office/drawing/2014/main" id="{DDCCBC3C-0BFF-435D-9B6C-AA13F507C5D9}"/>
              </a:ext>
            </a:extLst>
          </p:cNvPr>
          <p:cNvSpPr>
            <a:spLocks/>
          </p:cNvSpPr>
          <p:nvPr/>
        </p:nvSpPr>
        <p:spPr bwMode="auto">
          <a:xfrm>
            <a:off x="3312652" y="4235705"/>
            <a:ext cx="39226" cy="46356"/>
          </a:xfrm>
          <a:custGeom>
            <a:avLst/>
            <a:gdLst>
              <a:gd name="T0" fmla="*/ 0 w 11"/>
              <a:gd name="T1" fmla="*/ 12 h 13"/>
              <a:gd name="T2" fmla="*/ 3 w 11"/>
              <a:gd name="T3" fmla="*/ 13 h 13"/>
              <a:gd name="T4" fmla="*/ 11 w 11"/>
              <a:gd name="T5" fmla="*/ 1 h 13"/>
              <a:gd name="T6" fmla="*/ 9 w 11"/>
              <a:gd name="T7" fmla="*/ 0 h 13"/>
              <a:gd name="T8" fmla="*/ 0 w 11"/>
              <a:gd name="T9" fmla="*/ 12 h 13"/>
            </a:gdLst>
            <a:ahLst/>
            <a:cxnLst>
              <a:cxn ang="0">
                <a:pos x="T0" y="T1"/>
              </a:cxn>
              <a:cxn ang="0">
                <a:pos x="T2" y="T3"/>
              </a:cxn>
              <a:cxn ang="0">
                <a:pos x="T4" y="T5"/>
              </a:cxn>
              <a:cxn ang="0">
                <a:pos x="T6" y="T7"/>
              </a:cxn>
              <a:cxn ang="0">
                <a:pos x="T8" y="T9"/>
              </a:cxn>
            </a:cxnLst>
            <a:rect l="0" t="0" r="r" b="b"/>
            <a:pathLst>
              <a:path w="11" h="13">
                <a:moveTo>
                  <a:pt x="0" y="12"/>
                </a:moveTo>
                <a:lnTo>
                  <a:pt x="3" y="13"/>
                </a:lnTo>
                <a:lnTo>
                  <a:pt x="11" y="1"/>
                </a:lnTo>
                <a:lnTo>
                  <a:pt x="9" y="0"/>
                </a:lnTo>
                <a:lnTo>
                  <a:pt x="0" y="12"/>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0" name="Freeform 1027">
            <a:extLst>
              <a:ext uri="{FF2B5EF4-FFF2-40B4-BE49-F238E27FC236}">
                <a16:creationId xmlns:a16="http://schemas.microsoft.com/office/drawing/2014/main" id="{A26E5D48-ECA0-4754-9AA7-C6799BE8BD49}"/>
              </a:ext>
            </a:extLst>
          </p:cNvPr>
          <p:cNvSpPr>
            <a:spLocks/>
          </p:cNvSpPr>
          <p:nvPr/>
        </p:nvSpPr>
        <p:spPr bwMode="auto">
          <a:xfrm>
            <a:off x="3287689" y="4207178"/>
            <a:ext cx="60622" cy="67751"/>
          </a:xfrm>
          <a:custGeom>
            <a:avLst/>
            <a:gdLst>
              <a:gd name="T0" fmla="*/ 0 w 17"/>
              <a:gd name="T1" fmla="*/ 18 h 19"/>
              <a:gd name="T2" fmla="*/ 3 w 17"/>
              <a:gd name="T3" fmla="*/ 19 h 19"/>
              <a:gd name="T4" fmla="*/ 17 w 17"/>
              <a:gd name="T5" fmla="*/ 1 h 19"/>
              <a:gd name="T6" fmla="*/ 14 w 17"/>
              <a:gd name="T7" fmla="*/ 0 h 19"/>
              <a:gd name="T8" fmla="*/ 0 w 17"/>
              <a:gd name="T9" fmla="*/ 18 h 19"/>
            </a:gdLst>
            <a:ahLst/>
            <a:cxnLst>
              <a:cxn ang="0">
                <a:pos x="T0" y="T1"/>
              </a:cxn>
              <a:cxn ang="0">
                <a:pos x="T2" y="T3"/>
              </a:cxn>
              <a:cxn ang="0">
                <a:pos x="T4" y="T5"/>
              </a:cxn>
              <a:cxn ang="0">
                <a:pos x="T6" y="T7"/>
              </a:cxn>
              <a:cxn ang="0">
                <a:pos x="T8" y="T9"/>
              </a:cxn>
            </a:cxnLst>
            <a:rect l="0" t="0" r="r" b="b"/>
            <a:pathLst>
              <a:path w="17" h="19">
                <a:moveTo>
                  <a:pt x="0" y="18"/>
                </a:moveTo>
                <a:lnTo>
                  <a:pt x="3" y="19"/>
                </a:lnTo>
                <a:lnTo>
                  <a:pt x="17" y="1"/>
                </a:lnTo>
                <a:lnTo>
                  <a:pt x="14" y="0"/>
                </a:lnTo>
                <a:lnTo>
                  <a:pt x="0" y="18"/>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1" name="Freeform 1028">
            <a:extLst>
              <a:ext uri="{FF2B5EF4-FFF2-40B4-BE49-F238E27FC236}">
                <a16:creationId xmlns:a16="http://schemas.microsoft.com/office/drawing/2014/main" id="{EE65ECCE-38CC-496C-9434-96BF1C3809B5}"/>
              </a:ext>
            </a:extLst>
          </p:cNvPr>
          <p:cNvSpPr>
            <a:spLocks/>
          </p:cNvSpPr>
          <p:nvPr/>
        </p:nvSpPr>
        <p:spPr bwMode="auto">
          <a:xfrm>
            <a:off x="3266294" y="4210745"/>
            <a:ext cx="53490" cy="57055"/>
          </a:xfrm>
          <a:custGeom>
            <a:avLst/>
            <a:gdLst>
              <a:gd name="T0" fmla="*/ 0 w 15"/>
              <a:gd name="T1" fmla="*/ 15 h 16"/>
              <a:gd name="T2" fmla="*/ 3 w 15"/>
              <a:gd name="T3" fmla="*/ 16 h 16"/>
              <a:gd name="T4" fmla="*/ 15 w 15"/>
              <a:gd name="T5" fmla="*/ 0 h 16"/>
              <a:gd name="T6" fmla="*/ 12 w 15"/>
              <a:gd name="T7" fmla="*/ 0 h 16"/>
              <a:gd name="T8" fmla="*/ 0 w 15"/>
              <a:gd name="T9" fmla="*/ 15 h 16"/>
            </a:gdLst>
            <a:ahLst/>
            <a:cxnLst>
              <a:cxn ang="0">
                <a:pos x="T0" y="T1"/>
              </a:cxn>
              <a:cxn ang="0">
                <a:pos x="T2" y="T3"/>
              </a:cxn>
              <a:cxn ang="0">
                <a:pos x="T4" y="T5"/>
              </a:cxn>
              <a:cxn ang="0">
                <a:pos x="T6" y="T7"/>
              </a:cxn>
              <a:cxn ang="0">
                <a:pos x="T8" y="T9"/>
              </a:cxn>
            </a:cxnLst>
            <a:rect l="0" t="0" r="r" b="b"/>
            <a:pathLst>
              <a:path w="15" h="16">
                <a:moveTo>
                  <a:pt x="0" y="15"/>
                </a:moveTo>
                <a:lnTo>
                  <a:pt x="3" y="16"/>
                </a:lnTo>
                <a:lnTo>
                  <a:pt x="15" y="0"/>
                </a:lnTo>
                <a:lnTo>
                  <a:pt x="12" y="0"/>
                </a:lnTo>
                <a:lnTo>
                  <a:pt x="0" y="15"/>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2" name="Freeform 1029">
            <a:extLst>
              <a:ext uri="{FF2B5EF4-FFF2-40B4-BE49-F238E27FC236}">
                <a16:creationId xmlns:a16="http://schemas.microsoft.com/office/drawing/2014/main" id="{5224C7C4-61A1-4A62-9BD8-F1D6DFAD9C26}"/>
              </a:ext>
            </a:extLst>
          </p:cNvPr>
          <p:cNvSpPr>
            <a:spLocks/>
          </p:cNvSpPr>
          <p:nvPr/>
        </p:nvSpPr>
        <p:spPr bwMode="auto">
          <a:xfrm>
            <a:off x="3244898" y="4225009"/>
            <a:ext cx="32094" cy="35659"/>
          </a:xfrm>
          <a:custGeom>
            <a:avLst/>
            <a:gdLst>
              <a:gd name="T0" fmla="*/ 0 w 9"/>
              <a:gd name="T1" fmla="*/ 9 h 10"/>
              <a:gd name="T2" fmla="*/ 2 w 9"/>
              <a:gd name="T3" fmla="*/ 10 h 10"/>
              <a:gd name="T4" fmla="*/ 9 w 9"/>
              <a:gd name="T5" fmla="*/ 1 h 10"/>
              <a:gd name="T6" fmla="*/ 7 w 9"/>
              <a:gd name="T7" fmla="*/ 0 h 10"/>
              <a:gd name="T8" fmla="*/ 0 w 9"/>
              <a:gd name="T9" fmla="*/ 9 h 10"/>
            </a:gdLst>
            <a:ahLst/>
            <a:cxnLst>
              <a:cxn ang="0">
                <a:pos x="T0" y="T1"/>
              </a:cxn>
              <a:cxn ang="0">
                <a:pos x="T2" y="T3"/>
              </a:cxn>
              <a:cxn ang="0">
                <a:pos x="T4" y="T5"/>
              </a:cxn>
              <a:cxn ang="0">
                <a:pos x="T6" y="T7"/>
              </a:cxn>
              <a:cxn ang="0">
                <a:pos x="T8" y="T9"/>
              </a:cxn>
            </a:cxnLst>
            <a:rect l="0" t="0" r="r" b="b"/>
            <a:pathLst>
              <a:path w="9" h="10">
                <a:moveTo>
                  <a:pt x="0" y="9"/>
                </a:moveTo>
                <a:lnTo>
                  <a:pt x="2" y="10"/>
                </a:lnTo>
                <a:lnTo>
                  <a:pt x="9" y="1"/>
                </a:lnTo>
                <a:lnTo>
                  <a:pt x="7" y="0"/>
                </a:lnTo>
                <a:lnTo>
                  <a:pt x="0" y="9"/>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Freeform 1030">
            <a:extLst>
              <a:ext uri="{FF2B5EF4-FFF2-40B4-BE49-F238E27FC236}">
                <a16:creationId xmlns:a16="http://schemas.microsoft.com/office/drawing/2014/main" id="{4C16AA29-E982-43F0-81BD-03161AFB2236}"/>
              </a:ext>
            </a:extLst>
          </p:cNvPr>
          <p:cNvSpPr>
            <a:spLocks/>
          </p:cNvSpPr>
          <p:nvPr/>
        </p:nvSpPr>
        <p:spPr bwMode="auto">
          <a:xfrm>
            <a:off x="3219938" y="4192914"/>
            <a:ext cx="57055" cy="64186"/>
          </a:xfrm>
          <a:custGeom>
            <a:avLst/>
            <a:gdLst>
              <a:gd name="T0" fmla="*/ 0 w 16"/>
              <a:gd name="T1" fmla="*/ 17 h 18"/>
              <a:gd name="T2" fmla="*/ 3 w 16"/>
              <a:gd name="T3" fmla="*/ 18 h 18"/>
              <a:gd name="T4" fmla="*/ 16 w 16"/>
              <a:gd name="T5" fmla="*/ 1 h 18"/>
              <a:gd name="T6" fmla="*/ 13 w 16"/>
              <a:gd name="T7" fmla="*/ 0 h 18"/>
              <a:gd name="T8" fmla="*/ 0 w 16"/>
              <a:gd name="T9" fmla="*/ 17 h 18"/>
            </a:gdLst>
            <a:ahLst/>
            <a:cxnLst>
              <a:cxn ang="0">
                <a:pos x="T0" y="T1"/>
              </a:cxn>
              <a:cxn ang="0">
                <a:pos x="T2" y="T3"/>
              </a:cxn>
              <a:cxn ang="0">
                <a:pos x="T4" y="T5"/>
              </a:cxn>
              <a:cxn ang="0">
                <a:pos x="T6" y="T7"/>
              </a:cxn>
              <a:cxn ang="0">
                <a:pos x="T8" y="T9"/>
              </a:cxn>
            </a:cxnLst>
            <a:rect l="0" t="0" r="r" b="b"/>
            <a:pathLst>
              <a:path w="16" h="18">
                <a:moveTo>
                  <a:pt x="0" y="17"/>
                </a:moveTo>
                <a:lnTo>
                  <a:pt x="3" y="18"/>
                </a:lnTo>
                <a:lnTo>
                  <a:pt x="16" y="1"/>
                </a:lnTo>
                <a:lnTo>
                  <a:pt x="13" y="0"/>
                </a:lnTo>
                <a:lnTo>
                  <a:pt x="0" y="17"/>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4" name="Freeform 1031">
            <a:extLst>
              <a:ext uri="{FF2B5EF4-FFF2-40B4-BE49-F238E27FC236}">
                <a16:creationId xmlns:a16="http://schemas.microsoft.com/office/drawing/2014/main" id="{7DD86E78-A76E-4D39-A850-A0812A6A6B6D}"/>
              </a:ext>
            </a:extLst>
          </p:cNvPr>
          <p:cNvSpPr>
            <a:spLocks/>
          </p:cNvSpPr>
          <p:nvPr/>
        </p:nvSpPr>
        <p:spPr bwMode="auto">
          <a:xfrm>
            <a:off x="3430326" y="4228573"/>
            <a:ext cx="7132" cy="7132"/>
          </a:xfrm>
          <a:custGeom>
            <a:avLst/>
            <a:gdLst>
              <a:gd name="T0" fmla="*/ 2 w 2"/>
              <a:gd name="T1" fmla="*/ 1 h 2"/>
              <a:gd name="T2" fmla="*/ 2 w 2"/>
              <a:gd name="T3" fmla="*/ 0 h 2"/>
              <a:gd name="T4" fmla="*/ 0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0" y="1"/>
                </a:cubicBezTo>
                <a:cubicBezTo>
                  <a:pt x="0" y="1"/>
                  <a:pt x="0"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5" name="Freeform 1032">
            <a:extLst>
              <a:ext uri="{FF2B5EF4-FFF2-40B4-BE49-F238E27FC236}">
                <a16:creationId xmlns:a16="http://schemas.microsoft.com/office/drawing/2014/main" id="{139A4274-7F1E-4882-9CAE-9F7712E5F826}"/>
              </a:ext>
            </a:extLst>
          </p:cNvPr>
          <p:cNvSpPr>
            <a:spLocks/>
          </p:cNvSpPr>
          <p:nvPr/>
        </p:nvSpPr>
        <p:spPr bwMode="auto">
          <a:xfrm>
            <a:off x="3416062" y="4214310"/>
            <a:ext cx="3567" cy="7132"/>
          </a:xfrm>
          <a:custGeom>
            <a:avLst/>
            <a:gdLst>
              <a:gd name="T0" fmla="*/ 2 w 2"/>
              <a:gd name="T1" fmla="*/ 1 h 2"/>
              <a:gd name="T2" fmla="*/ 2 w 2"/>
              <a:gd name="T3" fmla="*/ 0 h 2"/>
              <a:gd name="T4" fmla="*/ 0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0" y="1"/>
                </a:cubicBezTo>
                <a:cubicBezTo>
                  <a:pt x="0" y="1"/>
                  <a:pt x="0" y="1"/>
                  <a:pt x="1" y="2"/>
                </a:cubicBezTo>
                <a:cubicBezTo>
                  <a:pt x="1" y="2"/>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6" name="Freeform 1033">
            <a:extLst>
              <a:ext uri="{FF2B5EF4-FFF2-40B4-BE49-F238E27FC236}">
                <a16:creationId xmlns:a16="http://schemas.microsoft.com/office/drawing/2014/main" id="{A5FCE08F-DD6D-40B2-982D-7B762422B34D}"/>
              </a:ext>
            </a:extLst>
          </p:cNvPr>
          <p:cNvSpPr>
            <a:spLocks/>
          </p:cNvSpPr>
          <p:nvPr/>
        </p:nvSpPr>
        <p:spPr bwMode="auto">
          <a:xfrm>
            <a:off x="3383970" y="4217877"/>
            <a:ext cx="7132" cy="3565"/>
          </a:xfrm>
          <a:custGeom>
            <a:avLst/>
            <a:gdLst>
              <a:gd name="T0" fmla="*/ 2 w 2"/>
              <a:gd name="T1" fmla="*/ 2 h 2"/>
              <a:gd name="T2" fmla="*/ 2 w 2"/>
              <a:gd name="T3" fmla="*/ 0 h 2"/>
              <a:gd name="T4" fmla="*/ 0 w 2"/>
              <a:gd name="T5" fmla="*/ 1 h 2"/>
              <a:gd name="T6" fmla="*/ 1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2" y="1"/>
                  <a:pt x="2" y="1"/>
                  <a:pt x="2" y="0"/>
                </a:cubicBezTo>
                <a:cubicBezTo>
                  <a:pt x="1" y="0"/>
                  <a:pt x="1" y="1"/>
                  <a:pt x="0" y="1"/>
                </a:cubicBezTo>
                <a:cubicBezTo>
                  <a:pt x="0" y="2"/>
                  <a:pt x="0" y="2"/>
                  <a:pt x="1" y="2"/>
                </a:cubicBezTo>
                <a:cubicBezTo>
                  <a:pt x="1" y="2"/>
                  <a:pt x="2" y="2"/>
                  <a:pt x="2" y="2"/>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7" name="Freeform 1034">
            <a:extLst>
              <a:ext uri="{FF2B5EF4-FFF2-40B4-BE49-F238E27FC236}">
                <a16:creationId xmlns:a16="http://schemas.microsoft.com/office/drawing/2014/main" id="{84AD9EFD-6EA4-41C5-8AF0-2414C17E04A0}"/>
              </a:ext>
            </a:extLst>
          </p:cNvPr>
          <p:cNvSpPr>
            <a:spLocks/>
          </p:cNvSpPr>
          <p:nvPr/>
        </p:nvSpPr>
        <p:spPr bwMode="auto">
          <a:xfrm>
            <a:off x="3366140" y="4210745"/>
            <a:ext cx="7132" cy="3565"/>
          </a:xfrm>
          <a:custGeom>
            <a:avLst/>
            <a:gdLst>
              <a:gd name="T0" fmla="*/ 2 w 2"/>
              <a:gd name="T1" fmla="*/ 1 h 2"/>
              <a:gd name="T2" fmla="*/ 1 w 2"/>
              <a:gd name="T3" fmla="*/ 0 h 2"/>
              <a:gd name="T4" fmla="*/ 0 w 2"/>
              <a:gd name="T5" fmla="*/ 1 h 2"/>
              <a:gd name="T6" fmla="*/ 0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1" y="0"/>
                </a:cubicBezTo>
                <a:cubicBezTo>
                  <a:pt x="1" y="0"/>
                  <a:pt x="0" y="0"/>
                  <a:pt x="0" y="1"/>
                </a:cubicBezTo>
                <a:cubicBezTo>
                  <a:pt x="0" y="1"/>
                  <a:pt x="0" y="2"/>
                  <a:pt x="0" y="2"/>
                </a:cubicBezTo>
                <a:cubicBezTo>
                  <a:pt x="1" y="2"/>
                  <a:pt x="1"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8" name="Freeform 1035">
            <a:extLst>
              <a:ext uri="{FF2B5EF4-FFF2-40B4-BE49-F238E27FC236}">
                <a16:creationId xmlns:a16="http://schemas.microsoft.com/office/drawing/2014/main" id="{7C16AE88-C7C2-4FCB-8508-265E9EDFBBAB}"/>
              </a:ext>
            </a:extLst>
          </p:cNvPr>
          <p:cNvSpPr>
            <a:spLocks/>
          </p:cNvSpPr>
          <p:nvPr/>
        </p:nvSpPr>
        <p:spPr bwMode="auto">
          <a:xfrm>
            <a:off x="3362575" y="4175086"/>
            <a:ext cx="10699" cy="3565"/>
          </a:xfrm>
          <a:custGeom>
            <a:avLst/>
            <a:gdLst>
              <a:gd name="T0" fmla="*/ 2 w 3"/>
              <a:gd name="T1" fmla="*/ 1 h 2"/>
              <a:gd name="T2" fmla="*/ 2 w 3"/>
              <a:gd name="T3" fmla="*/ 0 h 2"/>
              <a:gd name="T4" fmla="*/ 1 w 3"/>
              <a:gd name="T5" fmla="*/ 1 h 2"/>
              <a:gd name="T6" fmla="*/ 1 w 3"/>
              <a:gd name="T7" fmla="*/ 2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3" y="1"/>
                  <a:pt x="3" y="0"/>
                  <a:pt x="2" y="0"/>
                </a:cubicBezTo>
                <a:cubicBezTo>
                  <a:pt x="2" y="0"/>
                  <a:pt x="1" y="0"/>
                  <a:pt x="1" y="1"/>
                </a:cubicBezTo>
                <a:cubicBezTo>
                  <a:pt x="0" y="1"/>
                  <a:pt x="1"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9" name="Freeform 1036">
            <a:extLst>
              <a:ext uri="{FF2B5EF4-FFF2-40B4-BE49-F238E27FC236}">
                <a16:creationId xmlns:a16="http://schemas.microsoft.com/office/drawing/2014/main" id="{2555441C-E6D9-4563-AED5-4A6A17852533}"/>
              </a:ext>
            </a:extLst>
          </p:cNvPr>
          <p:cNvSpPr>
            <a:spLocks/>
          </p:cNvSpPr>
          <p:nvPr/>
        </p:nvSpPr>
        <p:spPr bwMode="auto">
          <a:xfrm>
            <a:off x="3337612" y="4175086"/>
            <a:ext cx="7132" cy="3565"/>
          </a:xfrm>
          <a:custGeom>
            <a:avLst/>
            <a:gdLst>
              <a:gd name="T0" fmla="*/ 2 w 3"/>
              <a:gd name="T1" fmla="*/ 1 h 2"/>
              <a:gd name="T2" fmla="*/ 2 w 3"/>
              <a:gd name="T3" fmla="*/ 0 h 2"/>
              <a:gd name="T4" fmla="*/ 1 w 3"/>
              <a:gd name="T5" fmla="*/ 1 h 2"/>
              <a:gd name="T6" fmla="*/ 1 w 3"/>
              <a:gd name="T7" fmla="*/ 2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3" y="1"/>
                  <a:pt x="3" y="0"/>
                  <a:pt x="2" y="0"/>
                </a:cubicBezTo>
                <a:cubicBezTo>
                  <a:pt x="2" y="0"/>
                  <a:pt x="1" y="0"/>
                  <a:pt x="1" y="1"/>
                </a:cubicBezTo>
                <a:cubicBezTo>
                  <a:pt x="0" y="1"/>
                  <a:pt x="1"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0" name="Freeform 1037">
            <a:extLst>
              <a:ext uri="{FF2B5EF4-FFF2-40B4-BE49-F238E27FC236}">
                <a16:creationId xmlns:a16="http://schemas.microsoft.com/office/drawing/2014/main" id="{FB9D63CC-C42D-41DD-A02F-5B5721950AE4}"/>
              </a:ext>
            </a:extLst>
          </p:cNvPr>
          <p:cNvSpPr>
            <a:spLocks/>
          </p:cNvSpPr>
          <p:nvPr/>
        </p:nvSpPr>
        <p:spPr bwMode="auto">
          <a:xfrm>
            <a:off x="3298388" y="4189349"/>
            <a:ext cx="7132" cy="3565"/>
          </a:xfrm>
          <a:custGeom>
            <a:avLst/>
            <a:gdLst>
              <a:gd name="T0" fmla="*/ 2 w 3"/>
              <a:gd name="T1" fmla="*/ 1 h 1"/>
              <a:gd name="T2" fmla="*/ 2 w 3"/>
              <a:gd name="T3" fmla="*/ 0 h 1"/>
              <a:gd name="T4" fmla="*/ 1 w 3"/>
              <a:gd name="T5" fmla="*/ 0 h 1"/>
              <a:gd name="T6" fmla="*/ 1 w 3"/>
              <a:gd name="T7" fmla="*/ 1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3" y="0"/>
                  <a:pt x="3" y="0"/>
                  <a:pt x="2" y="0"/>
                </a:cubicBezTo>
                <a:cubicBezTo>
                  <a:pt x="2" y="0"/>
                  <a:pt x="1" y="0"/>
                  <a:pt x="1" y="0"/>
                </a:cubicBezTo>
                <a:cubicBezTo>
                  <a:pt x="0" y="1"/>
                  <a:pt x="1" y="1"/>
                  <a:pt x="1" y="1"/>
                </a:cubicBezTo>
                <a:cubicBezTo>
                  <a:pt x="1" y="1"/>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1" name="Freeform 1038">
            <a:extLst>
              <a:ext uri="{FF2B5EF4-FFF2-40B4-BE49-F238E27FC236}">
                <a16:creationId xmlns:a16="http://schemas.microsoft.com/office/drawing/2014/main" id="{84114E34-61DF-4EC7-9B73-16811E74B610}"/>
              </a:ext>
            </a:extLst>
          </p:cNvPr>
          <p:cNvSpPr>
            <a:spLocks/>
          </p:cNvSpPr>
          <p:nvPr/>
        </p:nvSpPr>
        <p:spPr bwMode="auto">
          <a:xfrm>
            <a:off x="3287689" y="4167954"/>
            <a:ext cx="3567" cy="7132"/>
          </a:xfrm>
          <a:custGeom>
            <a:avLst/>
            <a:gdLst>
              <a:gd name="T0" fmla="*/ 2 w 2"/>
              <a:gd name="T1" fmla="*/ 1 h 2"/>
              <a:gd name="T2" fmla="*/ 2 w 2"/>
              <a:gd name="T3" fmla="*/ 0 h 2"/>
              <a:gd name="T4" fmla="*/ 1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1" y="1"/>
                </a:cubicBezTo>
                <a:cubicBezTo>
                  <a:pt x="0" y="1"/>
                  <a:pt x="0" y="1"/>
                  <a:pt x="1" y="2"/>
                </a:cubicBezTo>
                <a:cubicBezTo>
                  <a:pt x="1" y="2"/>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2" name="Freeform 1039">
            <a:extLst>
              <a:ext uri="{FF2B5EF4-FFF2-40B4-BE49-F238E27FC236}">
                <a16:creationId xmlns:a16="http://schemas.microsoft.com/office/drawing/2014/main" id="{E2D6DEBC-6BF5-4FF6-AAC9-6E310746114B}"/>
              </a:ext>
            </a:extLst>
          </p:cNvPr>
          <p:cNvSpPr>
            <a:spLocks/>
          </p:cNvSpPr>
          <p:nvPr/>
        </p:nvSpPr>
        <p:spPr bwMode="auto">
          <a:xfrm>
            <a:off x="3287689" y="4171519"/>
            <a:ext cx="146204" cy="60619"/>
          </a:xfrm>
          <a:custGeom>
            <a:avLst/>
            <a:gdLst>
              <a:gd name="T0" fmla="*/ 41 w 41"/>
              <a:gd name="T1" fmla="*/ 17 h 17"/>
              <a:gd name="T2" fmla="*/ 37 w 41"/>
              <a:gd name="T3" fmla="*/ 13 h 17"/>
              <a:gd name="T4" fmla="*/ 28 w 41"/>
              <a:gd name="T5" fmla="*/ 14 h 17"/>
              <a:gd name="T6" fmla="*/ 23 w 41"/>
              <a:gd name="T7" fmla="*/ 11 h 17"/>
              <a:gd name="T8" fmla="*/ 23 w 41"/>
              <a:gd name="T9" fmla="*/ 1 h 17"/>
              <a:gd name="T10" fmla="*/ 15 w 41"/>
              <a:gd name="T11" fmla="*/ 1 h 17"/>
              <a:gd name="T12" fmla="*/ 4 w 41"/>
              <a:gd name="T13" fmla="*/ 5 h 17"/>
              <a:gd name="T14" fmla="*/ 0 w 41"/>
              <a:gd name="T15" fmla="*/ 0 h 17"/>
              <a:gd name="T16" fmla="*/ 0 w 41"/>
              <a:gd name="T17" fmla="*/ 0 h 17"/>
              <a:gd name="T18" fmla="*/ 3 w 41"/>
              <a:gd name="T19" fmla="*/ 6 h 17"/>
              <a:gd name="T20" fmla="*/ 15 w 41"/>
              <a:gd name="T21" fmla="*/ 1 h 17"/>
              <a:gd name="T22" fmla="*/ 22 w 41"/>
              <a:gd name="T23" fmla="*/ 1 h 17"/>
              <a:gd name="T24" fmla="*/ 23 w 41"/>
              <a:gd name="T25" fmla="*/ 11 h 17"/>
              <a:gd name="T26" fmla="*/ 28 w 41"/>
              <a:gd name="T27" fmla="*/ 14 h 17"/>
              <a:gd name="T28" fmla="*/ 37 w 41"/>
              <a:gd name="T29" fmla="*/ 13 h 17"/>
              <a:gd name="T30" fmla="*/ 41 w 41"/>
              <a:gd name="T31" fmla="*/ 17 h 17"/>
              <a:gd name="T32" fmla="*/ 41 w 41"/>
              <a:gd name="T33" fmla="*/ 17 h 17"/>
              <a:gd name="T34" fmla="*/ 41 w 41"/>
              <a:gd name="T3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17">
                <a:moveTo>
                  <a:pt x="41" y="17"/>
                </a:moveTo>
                <a:lnTo>
                  <a:pt x="37" y="13"/>
                </a:lnTo>
                <a:lnTo>
                  <a:pt x="28" y="14"/>
                </a:lnTo>
                <a:lnTo>
                  <a:pt x="23" y="11"/>
                </a:lnTo>
                <a:lnTo>
                  <a:pt x="23" y="1"/>
                </a:lnTo>
                <a:lnTo>
                  <a:pt x="15" y="1"/>
                </a:lnTo>
                <a:lnTo>
                  <a:pt x="4" y="5"/>
                </a:lnTo>
                <a:lnTo>
                  <a:pt x="0" y="0"/>
                </a:lnTo>
                <a:lnTo>
                  <a:pt x="0" y="0"/>
                </a:lnTo>
                <a:lnTo>
                  <a:pt x="3" y="6"/>
                </a:lnTo>
                <a:lnTo>
                  <a:pt x="15" y="1"/>
                </a:lnTo>
                <a:lnTo>
                  <a:pt x="22" y="1"/>
                </a:lnTo>
                <a:lnTo>
                  <a:pt x="23" y="11"/>
                </a:lnTo>
                <a:lnTo>
                  <a:pt x="28" y="14"/>
                </a:lnTo>
                <a:lnTo>
                  <a:pt x="37" y="13"/>
                </a:lnTo>
                <a:lnTo>
                  <a:pt x="41" y="17"/>
                </a:lnTo>
                <a:lnTo>
                  <a:pt x="41" y="17"/>
                </a:lnTo>
                <a:lnTo>
                  <a:pt x="41" y="17"/>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3" name="Freeform 1040">
            <a:extLst>
              <a:ext uri="{FF2B5EF4-FFF2-40B4-BE49-F238E27FC236}">
                <a16:creationId xmlns:a16="http://schemas.microsoft.com/office/drawing/2014/main" id="{4C7F14F7-8779-4DA9-BAFA-A48EEE32EC59}"/>
              </a:ext>
            </a:extLst>
          </p:cNvPr>
          <p:cNvSpPr>
            <a:spLocks/>
          </p:cNvSpPr>
          <p:nvPr/>
        </p:nvSpPr>
        <p:spPr bwMode="auto">
          <a:xfrm>
            <a:off x="3401799" y="4192914"/>
            <a:ext cx="82017" cy="110542"/>
          </a:xfrm>
          <a:custGeom>
            <a:avLst/>
            <a:gdLst>
              <a:gd name="T0" fmla="*/ 0 w 23"/>
              <a:gd name="T1" fmla="*/ 31 h 31"/>
              <a:gd name="T2" fmla="*/ 0 w 23"/>
              <a:gd name="T3" fmla="*/ 31 h 31"/>
              <a:gd name="T4" fmla="*/ 23 w 23"/>
              <a:gd name="T5" fmla="*/ 1 h 31"/>
              <a:gd name="T6" fmla="*/ 22 w 23"/>
              <a:gd name="T7" fmla="*/ 0 h 31"/>
              <a:gd name="T8" fmla="*/ 0 w 23"/>
              <a:gd name="T9" fmla="*/ 31 h 31"/>
            </a:gdLst>
            <a:ahLst/>
            <a:cxnLst>
              <a:cxn ang="0">
                <a:pos x="T0" y="T1"/>
              </a:cxn>
              <a:cxn ang="0">
                <a:pos x="T2" y="T3"/>
              </a:cxn>
              <a:cxn ang="0">
                <a:pos x="T4" y="T5"/>
              </a:cxn>
              <a:cxn ang="0">
                <a:pos x="T6" y="T7"/>
              </a:cxn>
              <a:cxn ang="0">
                <a:pos x="T8" y="T9"/>
              </a:cxn>
            </a:cxnLst>
            <a:rect l="0" t="0" r="r" b="b"/>
            <a:pathLst>
              <a:path w="23" h="31">
                <a:moveTo>
                  <a:pt x="0" y="31"/>
                </a:moveTo>
                <a:lnTo>
                  <a:pt x="0" y="31"/>
                </a:lnTo>
                <a:lnTo>
                  <a:pt x="23" y="1"/>
                </a:lnTo>
                <a:lnTo>
                  <a:pt x="22" y="0"/>
                </a:lnTo>
                <a:lnTo>
                  <a:pt x="0" y="31"/>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4" name="Freeform 1041">
            <a:extLst>
              <a:ext uri="{FF2B5EF4-FFF2-40B4-BE49-F238E27FC236}">
                <a16:creationId xmlns:a16="http://schemas.microsoft.com/office/drawing/2014/main" id="{D6060F98-5785-4C5F-8E4B-413E26B7D4BF}"/>
              </a:ext>
            </a:extLst>
          </p:cNvPr>
          <p:cNvSpPr>
            <a:spLocks/>
          </p:cNvSpPr>
          <p:nvPr/>
        </p:nvSpPr>
        <p:spPr bwMode="auto">
          <a:xfrm>
            <a:off x="3216371" y="4249969"/>
            <a:ext cx="185427" cy="53488"/>
          </a:xfrm>
          <a:custGeom>
            <a:avLst/>
            <a:gdLst>
              <a:gd name="T0" fmla="*/ 0 w 52"/>
              <a:gd name="T1" fmla="*/ 0 h 15"/>
              <a:gd name="T2" fmla="*/ 0 w 52"/>
              <a:gd name="T3" fmla="*/ 0 h 15"/>
              <a:gd name="T4" fmla="*/ 52 w 52"/>
              <a:gd name="T5" fmla="*/ 15 h 15"/>
              <a:gd name="T6" fmla="*/ 52 w 52"/>
              <a:gd name="T7" fmla="*/ 15 h 15"/>
              <a:gd name="T8" fmla="*/ 0 w 52"/>
              <a:gd name="T9" fmla="*/ 0 h 15"/>
            </a:gdLst>
            <a:ahLst/>
            <a:cxnLst>
              <a:cxn ang="0">
                <a:pos x="T0" y="T1"/>
              </a:cxn>
              <a:cxn ang="0">
                <a:pos x="T2" y="T3"/>
              </a:cxn>
              <a:cxn ang="0">
                <a:pos x="T4" y="T5"/>
              </a:cxn>
              <a:cxn ang="0">
                <a:pos x="T6" y="T7"/>
              </a:cxn>
              <a:cxn ang="0">
                <a:pos x="T8" y="T9"/>
              </a:cxn>
            </a:cxnLst>
            <a:rect l="0" t="0" r="r" b="b"/>
            <a:pathLst>
              <a:path w="52" h="15">
                <a:moveTo>
                  <a:pt x="0" y="0"/>
                </a:moveTo>
                <a:lnTo>
                  <a:pt x="0" y="0"/>
                </a:lnTo>
                <a:lnTo>
                  <a:pt x="52" y="15"/>
                </a:lnTo>
                <a:lnTo>
                  <a:pt x="52" y="15"/>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5" name="Freeform 1042">
            <a:extLst>
              <a:ext uri="{FF2B5EF4-FFF2-40B4-BE49-F238E27FC236}">
                <a16:creationId xmlns:a16="http://schemas.microsoft.com/office/drawing/2014/main" id="{9918337C-3A92-49EF-8A89-06A042C373EA}"/>
              </a:ext>
            </a:extLst>
          </p:cNvPr>
          <p:cNvSpPr>
            <a:spLocks/>
          </p:cNvSpPr>
          <p:nvPr/>
        </p:nvSpPr>
        <p:spPr bwMode="auto">
          <a:xfrm>
            <a:off x="3330480" y="4349814"/>
            <a:ext cx="39226" cy="35659"/>
          </a:xfrm>
          <a:custGeom>
            <a:avLst/>
            <a:gdLst>
              <a:gd name="T0" fmla="*/ 0 w 11"/>
              <a:gd name="T1" fmla="*/ 8 h 10"/>
              <a:gd name="T2" fmla="*/ 5 w 11"/>
              <a:gd name="T3" fmla="*/ 10 h 10"/>
              <a:gd name="T4" fmla="*/ 11 w 11"/>
              <a:gd name="T5" fmla="*/ 1 h 10"/>
              <a:gd name="T6" fmla="*/ 7 w 11"/>
              <a:gd name="T7" fmla="*/ 0 h 10"/>
              <a:gd name="T8" fmla="*/ 0 w 11"/>
              <a:gd name="T9" fmla="*/ 8 h 10"/>
            </a:gdLst>
            <a:ahLst/>
            <a:cxnLst>
              <a:cxn ang="0">
                <a:pos x="T0" y="T1"/>
              </a:cxn>
              <a:cxn ang="0">
                <a:pos x="T2" y="T3"/>
              </a:cxn>
              <a:cxn ang="0">
                <a:pos x="T4" y="T5"/>
              </a:cxn>
              <a:cxn ang="0">
                <a:pos x="T6" y="T7"/>
              </a:cxn>
              <a:cxn ang="0">
                <a:pos x="T8" y="T9"/>
              </a:cxn>
            </a:cxnLst>
            <a:rect l="0" t="0" r="r" b="b"/>
            <a:pathLst>
              <a:path w="11" h="10">
                <a:moveTo>
                  <a:pt x="0" y="8"/>
                </a:moveTo>
                <a:lnTo>
                  <a:pt x="5" y="10"/>
                </a:lnTo>
                <a:lnTo>
                  <a:pt x="11" y="1"/>
                </a:lnTo>
                <a:lnTo>
                  <a:pt x="7" y="0"/>
                </a:lnTo>
                <a:lnTo>
                  <a:pt x="0" y="8"/>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6" name="Freeform 1043">
            <a:extLst>
              <a:ext uri="{FF2B5EF4-FFF2-40B4-BE49-F238E27FC236}">
                <a16:creationId xmlns:a16="http://schemas.microsoft.com/office/drawing/2014/main" id="{285B6B68-B66B-4BA4-B747-09A75044CBFF}"/>
              </a:ext>
            </a:extLst>
          </p:cNvPr>
          <p:cNvSpPr>
            <a:spLocks/>
          </p:cNvSpPr>
          <p:nvPr/>
        </p:nvSpPr>
        <p:spPr bwMode="auto">
          <a:xfrm>
            <a:off x="3309085" y="4324854"/>
            <a:ext cx="49923" cy="53488"/>
          </a:xfrm>
          <a:custGeom>
            <a:avLst/>
            <a:gdLst>
              <a:gd name="T0" fmla="*/ 0 w 14"/>
              <a:gd name="T1" fmla="*/ 14 h 15"/>
              <a:gd name="T2" fmla="*/ 4 w 14"/>
              <a:gd name="T3" fmla="*/ 15 h 15"/>
              <a:gd name="T4" fmla="*/ 14 w 14"/>
              <a:gd name="T5" fmla="*/ 1 h 15"/>
              <a:gd name="T6" fmla="*/ 10 w 14"/>
              <a:gd name="T7" fmla="*/ 0 h 15"/>
              <a:gd name="T8" fmla="*/ 0 w 14"/>
              <a:gd name="T9" fmla="*/ 14 h 15"/>
            </a:gdLst>
            <a:ahLst/>
            <a:cxnLst>
              <a:cxn ang="0">
                <a:pos x="T0" y="T1"/>
              </a:cxn>
              <a:cxn ang="0">
                <a:pos x="T2" y="T3"/>
              </a:cxn>
              <a:cxn ang="0">
                <a:pos x="T4" y="T5"/>
              </a:cxn>
              <a:cxn ang="0">
                <a:pos x="T6" y="T7"/>
              </a:cxn>
              <a:cxn ang="0">
                <a:pos x="T8" y="T9"/>
              </a:cxn>
            </a:cxnLst>
            <a:rect l="0" t="0" r="r" b="b"/>
            <a:pathLst>
              <a:path w="14" h="15">
                <a:moveTo>
                  <a:pt x="0" y="14"/>
                </a:moveTo>
                <a:lnTo>
                  <a:pt x="4" y="15"/>
                </a:lnTo>
                <a:lnTo>
                  <a:pt x="14" y="1"/>
                </a:lnTo>
                <a:lnTo>
                  <a:pt x="10" y="0"/>
                </a:lnTo>
                <a:lnTo>
                  <a:pt x="0" y="14"/>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7" name="Freeform 1044">
            <a:extLst>
              <a:ext uri="{FF2B5EF4-FFF2-40B4-BE49-F238E27FC236}">
                <a16:creationId xmlns:a16="http://schemas.microsoft.com/office/drawing/2014/main" id="{75BDB45C-FB56-4885-B15F-36830999B373}"/>
              </a:ext>
            </a:extLst>
          </p:cNvPr>
          <p:cNvSpPr>
            <a:spLocks/>
          </p:cNvSpPr>
          <p:nvPr/>
        </p:nvSpPr>
        <p:spPr bwMode="auto">
          <a:xfrm>
            <a:off x="3284125" y="4303459"/>
            <a:ext cx="64186" cy="67751"/>
          </a:xfrm>
          <a:custGeom>
            <a:avLst/>
            <a:gdLst>
              <a:gd name="T0" fmla="*/ 0 w 18"/>
              <a:gd name="T1" fmla="*/ 17 h 19"/>
              <a:gd name="T2" fmla="*/ 4 w 18"/>
              <a:gd name="T3" fmla="*/ 19 h 19"/>
              <a:gd name="T4" fmla="*/ 18 w 18"/>
              <a:gd name="T5" fmla="*/ 1 h 19"/>
              <a:gd name="T6" fmla="*/ 14 w 18"/>
              <a:gd name="T7" fmla="*/ 0 h 19"/>
              <a:gd name="T8" fmla="*/ 0 w 18"/>
              <a:gd name="T9" fmla="*/ 17 h 19"/>
            </a:gdLst>
            <a:ahLst/>
            <a:cxnLst>
              <a:cxn ang="0">
                <a:pos x="T0" y="T1"/>
              </a:cxn>
              <a:cxn ang="0">
                <a:pos x="T2" y="T3"/>
              </a:cxn>
              <a:cxn ang="0">
                <a:pos x="T4" y="T5"/>
              </a:cxn>
              <a:cxn ang="0">
                <a:pos x="T6" y="T7"/>
              </a:cxn>
              <a:cxn ang="0">
                <a:pos x="T8" y="T9"/>
              </a:cxn>
            </a:cxnLst>
            <a:rect l="0" t="0" r="r" b="b"/>
            <a:pathLst>
              <a:path w="18" h="19">
                <a:moveTo>
                  <a:pt x="0" y="17"/>
                </a:moveTo>
                <a:lnTo>
                  <a:pt x="4" y="19"/>
                </a:lnTo>
                <a:lnTo>
                  <a:pt x="18" y="1"/>
                </a:lnTo>
                <a:lnTo>
                  <a:pt x="14" y="0"/>
                </a:lnTo>
                <a:lnTo>
                  <a:pt x="0" y="17"/>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Freeform 1045">
            <a:extLst>
              <a:ext uri="{FF2B5EF4-FFF2-40B4-BE49-F238E27FC236}">
                <a16:creationId xmlns:a16="http://schemas.microsoft.com/office/drawing/2014/main" id="{D30291BD-C865-43ED-80E7-0AFE7B61E1FA}"/>
              </a:ext>
            </a:extLst>
          </p:cNvPr>
          <p:cNvSpPr>
            <a:spLocks/>
          </p:cNvSpPr>
          <p:nvPr/>
        </p:nvSpPr>
        <p:spPr bwMode="auto">
          <a:xfrm>
            <a:off x="3259162" y="4342683"/>
            <a:ext cx="28527" cy="21395"/>
          </a:xfrm>
          <a:custGeom>
            <a:avLst/>
            <a:gdLst>
              <a:gd name="T0" fmla="*/ 0 w 8"/>
              <a:gd name="T1" fmla="*/ 5 h 6"/>
              <a:gd name="T2" fmla="*/ 5 w 8"/>
              <a:gd name="T3" fmla="*/ 6 h 6"/>
              <a:gd name="T4" fmla="*/ 8 w 8"/>
              <a:gd name="T5" fmla="*/ 1 h 6"/>
              <a:gd name="T6" fmla="*/ 4 w 8"/>
              <a:gd name="T7" fmla="*/ 0 h 6"/>
              <a:gd name="T8" fmla="*/ 0 w 8"/>
              <a:gd name="T9" fmla="*/ 5 h 6"/>
            </a:gdLst>
            <a:ahLst/>
            <a:cxnLst>
              <a:cxn ang="0">
                <a:pos x="T0" y="T1"/>
              </a:cxn>
              <a:cxn ang="0">
                <a:pos x="T2" y="T3"/>
              </a:cxn>
              <a:cxn ang="0">
                <a:pos x="T4" y="T5"/>
              </a:cxn>
              <a:cxn ang="0">
                <a:pos x="T6" y="T7"/>
              </a:cxn>
              <a:cxn ang="0">
                <a:pos x="T8" y="T9"/>
              </a:cxn>
            </a:cxnLst>
            <a:rect l="0" t="0" r="r" b="b"/>
            <a:pathLst>
              <a:path w="8" h="6">
                <a:moveTo>
                  <a:pt x="0" y="5"/>
                </a:moveTo>
                <a:lnTo>
                  <a:pt x="5" y="6"/>
                </a:lnTo>
                <a:lnTo>
                  <a:pt x="8" y="1"/>
                </a:lnTo>
                <a:lnTo>
                  <a:pt x="4" y="0"/>
                </a:lnTo>
                <a:lnTo>
                  <a:pt x="0" y="5"/>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9" name="Freeform 1046">
            <a:extLst>
              <a:ext uri="{FF2B5EF4-FFF2-40B4-BE49-F238E27FC236}">
                <a16:creationId xmlns:a16="http://schemas.microsoft.com/office/drawing/2014/main" id="{B6019912-F2EC-455D-9895-3331FA89FED8}"/>
              </a:ext>
            </a:extLst>
          </p:cNvPr>
          <p:cNvSpPr>
            <a:spLocks/>
          </p:cNvSpPr>
          <p:nvPr/>
        </p:nvSpPr>
        <p:spPr bwMode="auto">
          <a:xfrm>
            <a:off x="3230635" y="4307023"/>
            <a:ext cx="32094" cy="10697"/>
          </a:xfrm>
          <a:custGeom>
            <a:avLst/>
            <a:gdLst>
              <a:gd name="T0" fmla="*/ 1 w 12"/>
              <a:gd name="T1" fmla="*/ 0 h 5"/>
              <a:gd name="T2" fmla="*/ 7 w 12"/>
              <a:gd name="T3" fmla="*/ 2 h 5"/>
              <a:gd name="T4" fmla="*/ 7 w 12"/>
              <a:gd name="T5" fmla="*/ 3 h 5"/>
              <a:gd name="T6" fmla="*/ 6 w 12"/>
              <a:gd name="T7" fmla="*/ 3 h 5"/>
              <a:gd name="T8" fmla="*/ 6 w 12"/>
              <a:gd name="T9" fmla="*/ 3 h 5"/>
              <a:gd name="T10" fmla="*/ 0 w 12"/>
              <a:gd name="T11" fmla="*/ 2 h 5"/>
              <a:gd name="T12" fmla="*/ 0 w 12"/>
              <a:gd name="T13" fmla="*/ 2 h 5"/>
              <a:gd name="T14" fmla="*/ 10 w 12"/>
              <a:gd name="T15" fmla="*/ 5 h 5"/>
              <a:gd name="T16" fmla="*/ 10 w 12"/>
              <a:gd name="T17" fmla="*/ 5 h 5"/>
              <a:gd name="T18" fmla="*/ 11 w 12"/>
              <a:gd name="T19" fmla="*/ 4 h 5"/>
              <a:gd name="T20" fmla="*/ 11 w 12"/>
              <a:gd name="T21" fmla="*/ 3 h 5"/>
              <a:gd name="T22" fmla="*/ 1 w 12"/>
              <a:gd name="T23" fmla="*/ 0 h 5"/>
              <a:gd name="T24" fmla="*/ 1 w 12"/>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5">
                <a:moveTo>
                  <a:pt x="1" y="0"/>
                </a:moveTo>
                <a:cubicBezTo>
                  <a:pt x="7" y="2"/>
                  <a:pt x="7" y="2"/>
                  <a:pt x="7" y="2"/>
                </a:cubicBezTo>
                <a:cubicBezTo>
                  <a:pt x="7" y="2"/>
                  <a:pt x="7" y="2"/>
                  <a:pt x="7" y="3"/>
                </a:cubicBezTo>
                <a:cubicBezTo>
                  <a:pt x="7" y="3"/>
                  <a:pt x="6" y="3"/>
                  <a:pt x="6" y="3"/>
                </a:cubicBezTo>
                <a:cubicBezTo>
                  <a:pt x="6" y="3"/>
                  <a:pt x="6" y="3"/>
                  <a:pt x="6" y="3"/>
                </a:cubicBezTo>
                <a:cubicBezTo>
                  <a:pt x="0" y="2"/>
                  <a:pt x="0" y="2"/>
                  <a:pt x="0" y="2"/>
                </a:cubicBezTo>
                <a:cubicBezTo>
                  <a:pt x="0" y="2"/>
                  <a:pt x="0" y="2"/>
                  <a:pt x="0" y="2"/>
                </a:cubicBezTo>
                <a:cubicBezTo>
                  <a:pt x="10" y="5"/>
                  <a:pt x="10" y="5"/>
                  <a:pt x="10" y="5"/>
                </a:cubicBezTo>
                <a:cubicBezTo>
                  <a:pt x="10" y="5"/>
                  <a:pt x="10" y="5"/>
                  <a:pt x="10" y="5"/>
                </a:cubicBezTo>
                <a:cubicBezTo>
                  <a:pt x="10" y="5"/>
                  <a:pt x="11" y="4"/>
                  <a:pt x="11" y="4"/>
                </a:cubicBezTo>
                <a:cubicBezTo>
                  <a:pt x="12" y="4"/>
                  <a:pt x="12" y="3"/>
                  <a:pt x="11" y="3"/>
                </a:cubicBezTo>
                <a:cubicBezTo>
                  <a:pt x="1" y="0"/>
                  <a:pt x="1" y="0"/>
                  <a:pt x="1" y="0"/>
                </a:cubicBezTo>
                <a:cubicBezTo>
                  <a:pt x="1" y="0"/>
                  <a:pt x="1" y="0"/>
                  <a:pt x="1"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Freeform 1047">
            <a:extLst>
              <a:ext uri="{FF2B5EF4-FFF2-40B4-BE49-F238E27FC236}">
                <a16:creationId xmlns:a16="http://schemas.microsoft.com/office/drawing/2014/main" id="{DC160620-226F-48D4-90B2-13044ECA8A14}"/>
              </a:ext>
            </a:extLst>
          </p:cNvPr>
          <p:cNvSpPr>
            <a:spLocks/>
          </p:cNvSpPr>
          <p:nvPr/>
        </p:nvSpPr>
        <p:spPr bwMode="auto">
          <a:xfrm>
            <a:off x="3216371" y="4303459"/>
            <a:ext cx="35659" cy="10697"/>
          </a:xfrm>
          <a:custGeom>
            <a:avLst/>
            <a:gdLst>
              <a:gd name="T0" fmla="*/ 2 w 12"/>
              <a:gd name="T1" fmla="*/ 0 h 4"/>
              <a:gd name="T2" fmla="*/ 1 w 12"/>
              <a:gd name="T3" fmla="*/ 0 h 4"/>
              <a:gd name="T4" fmla="*/ 1 w 12"/>
              <a:gd name="T5" fmla="*/ 1 h 4"/>
              <a:gd name="T6" fmla="*/ 5 w 12"/>
              <a:gd name="T7" fmla="*/ 3 h 4"/>
              <a:gd name="T8" fmla="*/ 11 w 12"/>
              <a:gd name="T9" fmla="*/ 4 h 4"/>
              <a:gd name="T10" fmla="*/ 11 w 12"/>
              <a:gd name="T11" fmla="*/ 4 h 4"/>
              <a:gd name="T12" fmla="*/ 12 w 12"/>
              <a:gd name="T13" fmla="*/ 4 h 4"/>
              <a:gd name="T14" fmla="*/ 12 w 12"/>
              <a:gd name="T15" fmla="*/ 3 h 4"/>
              <a:gd name="T16" fmla="*/ 6 w 12"/>
              <a:gd name="T17" fmla="*/ 1 h 4"/>
              <a:gd name="T18" fmla="*/ 2 w 12"/>
              <a:gd name="T19" fmla="*/ 0 h 4"/>
              <a:gd name="T20" fmla="*/ 2 w 12"/>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4">
                <a:moveTo>
                  <a:pt x="2" y="0"/>
                </a:moveTo>
                <a:cubicBezTo>
                  <a:pt x="2" y="0"/>
                  <a:pt x="1" y="0"/>
                  <a:pt x="1" y="0"/>
                </a:cubicBezTo>
                <a:cubicBezTo>
                  <a:pt x="0" y="1"/>
                  <a:pt x="0" y="1"/>
                  <a:pt x="1" y="1"/>
                </a:cubicBezTo>
                <a:cubicBezTo>
                  <a:pt x="5" y="3"/>
                  <a:pt x="5" y="3"/>
                  <a:pt x="5" y="3"/>
                </a:cubicBezTo>
                <a:cubicBezTo>
                  <a:pt x="11" y="4"/>
                  <a:pt x="11" y="4"/>
                  <a:pt x="11" y="4"/>
                </a:cubicBezTo>
                <a:cubicBezTo>
                  <a:pt x="11" y="4"/>
                  <a:pt x="11" y="4"/>
                  <a:pt x="11" y="4"/>
                </a:cubicBezTo>
                <a:cubicBezTo>
                  <a:pt x="11" y="4"/>
                  <a:pt x="12" y="4"/>
                  <a:pt x="12" y="4"/>
                </a:cubicBezTo>
                <a:cubicBezTo>
                  <a:pt x="12" y="3"/>
                  <a:pt x="12" y="3"/>
                  <a:pt x="12" y="3"/>
                </a:cubicBezTo>
                <a:cubicBezTo>
                  <a:pt x="6" y="1"/>
                  <a:pt x="6" y="1"/>
                  <a:pt x="6" y="1"/>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1" name="Freeform 1048">
            <a:extLst>
              <a:ext uri="{FF2B5EF4-FFF2-40B4-BE49-F238E27FC236}">
                <a16:creationId xmlns:a16="http://schemas.microsoft.com/office/drawing/2014/main" id="{6EF44C1D-D168-4A90-8E10-2142C486F1CD}"/>
              </a:ext>
            </a:extLst>
          </p:cNvPr>
          <p:cNvSpPr>
            <a:spLocks/>
          </p:cNvSpPr>
          <p:nvPr/>
        </p:nvSpPr>
        <p:spPr bwMode="auto">
          <a:xfrm>
            <a:off x="3212806" y="4310591"/>
            <a:ext cx="32094" cy="7132"/>
          </a:xfrm>
          <a:custGeom>
            <a:avLst/>
            <a:gdLst>
              <a:gd name="T0" fmla="*/ 2 w 12"/>
              <a:gd name="T1" fmla="*/ 0 h 3"/>
              <a:gd name="T2" fmla="*/ 1 w 12"/>
              <a:gd name="T3" fmla="*/ 0 h 3"/>
              <a:gd name="T4" fmla="*/ 1 w 12"/>
              <a:gd name="T5" fmla="*/ 1 h 3"/>
              <a:gd name="T6" fmla="*/ 5 w 12"/>
              <a:gd name="T7" fmla="*/ 3 h 3"/>
              <a:gd name="T8" fmla="*/ 5 w 12"/>
              <a:gd name="T9" fmla="*/ 2 h 3"/>
              <a:gd name="T10" fmla="*/ 6 w 12"/>
              <a:gd name="T11" fmla="*/ 1 h 3"/>
              <a:gd name="T12" fmla="*/ 6 w 12"/>
              <a:gd name="T13" fmla="*/ 1 h 3"/>
              <a:gd name="T14" fmla="*/ 12 w 12"/>
              <a:gd name="T15" fmla="*/ 3 h 3"/>
              <a:gd name="T16" fmla="*/ 12 w 12"/>
              <a:gd name="T17" fmla="*/ 3 h 3"/>
              <a:gd name="T18" fmla="*/ 2 w 12"/>
              <a:gd name="T19" fmla="*/ 0 h 3"/>
              <a:gd name="T20" fmla="*/ 2 w 12"/>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2" y="0"/>
                </a:moveTo>
                <a:cubicBezTo>
                  <a:pt x="1" y="0"/>
                  <a:pt x="1" y="0"/>
                  <a:pt x="1" y="0"/>
                </a:cubicBezTo>
                <a:cubicBezTo>
                  <a:pt x="0" y="1"/>
                  <a:pt x="0" y="1"/>
                  <a:pt x="1" y="1"/>
                </a:cubicBezTo>
                <a:cubicBezTo>
                  <a:pt x="5" y="3"/>
                  <a:pt x="5" y="3"/>
                  <a:pt x="5" y="3"/>
                </a:cubicBezTo>
                <a:cubicBezTo>
                  <a:pt x="4" y="3"/>
                  <a:pt x="4" y="2"/>
                  <a:pt x="5" y="2"/>
                </a:cubicBezTo>
                <a:cubicBezTo>
                  <a:pt x="5" y="1"/>
                  <a:pt x="6" y="1"/>
                  <a:pt x="6" y="1"/>
                </a:cubicBezTo>
                <a:cubicBezTo>
                  <a:pt x="6" y="1"/>
                  <a:pt x="6" y="1"/>
                  <a:pt x="6" y="1"/>
                </a:cubicBezTo>
                <a:cubicBezTo>
                  <a:pt x="12" y="3"/>
                  <a:pt x="12" y="3"/>
                  <a:pt x="12" y="3"/>
                </a:cubicBezTo>
                <a:cubicBezTo>
                  <a:pt x="12" y="3"/>
                  <a:pt x="12" y="3"/>
                  <a:pt x="12"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2" name="Freeform 1049">
            <a:extLst>
              <a:ext uri="{FF2B5EF4-FFF2-40B4-BE49-F238E27FC236}">
                <a16:creationId xmlns:a16="http://schemas.microsoft.com/office/drawing/2014/main" id="{3C20A42D-2E82-4D2C-840F-24732138B255}"/>
              </a:ext>
            </a:extLst>
          </p:cNvPr>
          <p:cNvSpPr>
            <a:spLocks/>
          </p:cNvSpPr>
          <p:nvPr/>
        </p:nvSpPr>
        <p:spPr bwMode="auto">
          <a:xfrm>
            <a:off x="3223503" y="4314155"/>
            <a:ext cx="32094" cy="14264"/>
          </a:xfrm>
          <a:custGeom>
            <a:avLst/>
            <a:gdLst>
              <a:gd name="T0" fmla="*/ 2 w 12"/>
              <a:gd name="T1" fmla="*/ 0 h 5"/>
              <a:gd name="T2" fmla="*/ 1 w 12"/>
              <a:gd name="T3" fmla="*/ 1 h 5"/>
              <a:gd name="T4" fmla="*/ 1 w 12"/>
              <a:gd name="T5" fmla="*/ 2 h 5"/>
              <a:gd name="T6" fmla="*/ 1 w 12"/>
              <a:gd name="T7" fmla="*/ 2 h 5"/>
              <a:gd name="T8" fmla="*/ 11 w 12"/>
              <a:gd name="T9" fmla="*/ 5 h 5"/>
              <a:gd name="T10" fmla="*/ 11 w 12"/>
              <a:gd name="T11" fmla="*/ 5 h 5"/>
              <a:gd name="T12" fmla="*/ 12 w 12"/>
              <a:gd name="T13" fmla="*/ 4 h 5"/>
              <a:gd name="T14" fmla="*/ 12 w 12"/>
              <a:gd name="T15" fmla="*/ 3 h 5"/>
              <a:gd name="T16" fmla="*/ 8 w 12"/>
              <a:gd name="T17" fmla="*/ 2 h 5"/>
              <a:gd name="T18" fmla="*/ 2 w 12"/>
              <a:gd name="T19" fmla="*/ 0 h 5"/>
              <a:gd name="T20" fmla="*/ 2 w 12"/>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5">
                <a:moveTo>
                  <a:pt x="2" y="0"/>
                </a:moveTo>
                <a:cubicBezTo>
                  <a:pt x="2" y="0"/>
                  <a:pt x="1" y="0"/>
                  <a:pt x="1" y="1"/>
                </a:cubicBezTo>
                <a:cubicBezTo>
                  <a:pt x="0" y="1"/>
                  <a:pt x="0" y="2"/>
                  <a:pt x="1" y="2"/>
                </a:cubicBezTo>
                <a:cubicBezTo>
                  <a:pt x="1" y="2"/>
                  <a:pt x="1" y="2"/>
                  <a:pt x="1" y="2"/>
                </a:cubicBezTo>
                <a:cubicBezTo>
                  <a:pt x="11" y="5"/>
                  <a:pt x="11" y="5"/>
                  <a:pt x="11" y="5"/>
                </a:cubicBezTo>
                <a:cubicBezTo>
                  <a:pt x="11" y="5"/>
                  <a:pt x="11" y="5"/>
                  <a:pt x="11" y="5"/>
                </a:cubicBezTo>
                <a:cubicBezTo>
                  <a:pt x="11" y="5"/>
                  <a:pt x="12" y="5"/>
                  <a:pt x="12" y="4"/>
                </a:cubicBezTo>
                <a:cubicBezTo>
                  <a:pt x="12" y="4"/>
                  <a:pt x="12" y="3"/>
                  <a:pt x="12" y="3"/>
                </a:cubicBezTo>
                <a:cubicBezTo>
                  <a:pt x="8" y="2"/>
                  <a:pt x="8" y="2"/>
                  <a:pt x="8" y="2"/>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Freeform 1050">
            <a:extLst>
              <a:ext uri="{FF2B5EF4-FFF2-40B4-BE49-F238E27FC236}">
                <a16:creationId xmlns:a16="http://schemas.microsoft.com/office/drawing/2014/main" id="{FA3A91AD-F554-4CA2-B81C-7DEBDEF196FB}"/>
              </a:ext>
            </a:extLst>
          </p:cNvPr>
          <p:cNvSpPr>
            <a:spLocks/>
          </p:cNvSpPr>
          <p:nvPr/>
        </p:nvSpPr>
        <p:spPr bwMode="auto">
          <a:xfrm>
            <a:off x="3216371" y="4324854"/>
            <a:ext cx="35659" cy="14264"/>
          </a:xfrm>
          <a:custGeom>
            <a:avLst/>
            <a:gdLst>
              <a:gd name="T0" fmla="*/ 2 w 12"/>
              <a:gd name="T1" fmla="*/ 0 h 5"/>
              <a:gd name="T2" fmla="*/ 0 w 12"/>
              <a:gd name="T3" fmla="*/ 1 h 5"/>
              <a:gd name="T4" fmla="*/ 0 w 12"/>
              <a:gd name="T5" fmla="*/ 2 h 5"/>
              <a:gd name="T6" fmla="*/ 10 w 12"/>
              <a:gd name="T7" fmla="*/ 5 h 5"/>
              <a:gd name="T8" fmla="*/ 10 w 12"/>
              <a:gd name="T9" fmla="*/ 5 h 5"/>
              <a:gd name="T10" fmla="*/ 11 w 12"/>
              <a:gd name="T11" fmla="*/ 4 h 5"/>
              <a:gd name="T12" fmla="*/ 11 w 12"/>
              <a:gd name="T13" fmla="*/ 3 h 5"/>
              <a:gd name="T14" fmla="*/ 2 w 12"/>
              <a:gd name="T15" fmla="*/ 0 h 5"/>
              <a:gd name="T16" fmla="*/ 2 w 1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2" y="0"/>
                </a:moveTo>
                <a:cubicBezTo>
                  <a:pt x="1" y="0"/>
                  <a:pt x="1" y="0"/>
                  <a:pt x="0" y="1"/>
                </a:cubicBezTo>
                <a:cubicBezTo>
                  <a:pt x="0" y="1"/>
                  <a:pt x="0" y="2"/>
                  <a:pt x="0" y="2"/>
                </a:cubicBezTo>
                <a:cubicBezTo>
                  <a:pt x="10" y="5"/>
                  <a:pt x="10" y="5"/>
                  <a:pt x="10" y="5"/>
                </a:cubicBezTo>
                <a:cubicBezTo>
                  <a:pt x="10" y="5"/>
                  <a:pt x="10" y="5"/>
                  <a:pt x="10" y="5"/>
                </a:cubicBezTo>
                <a:cubicBezTo>
                  <a:pt x="10" y="5"/>
                  <a:pt x="11" y="5"/>
                  <a:pt x="11" y="4"/>
                </a:cubicBezTo>
                <a:cubicBezTo>
                  <a:pt x="12" y="3"/>
                  <a:pt x="12" y="3"/>
                  <a:pt x="11"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4" name="Freeform 1051">
            <a:extLst>
              <a:ext uri="{FF2B5EF4-FFF2-40B4-BE49-F238E27FC236}">
                <a16:creationId xmlns:a16="http://schemas.microsoft.com/office/drawing/2014/main" id="{156DAC26-157E-4BF6-8E9E-EDC1C322CFCF}"/>
              </a:ext>
            </a:extLst>
          </p:cNvPr>
          <p:cNvSpPr>
            <a:spLocks/>
          </p:cNvSpPr>
          <p:nvPr/>
        </p:nvSpPr>
        <p:spPr bwMode="auto">
          <a:xfrm>
            <a:off x="3202108" y="4317722"/>
            <a:ext cx="14264" cy="10697"/>
          </a:xfrm>
          <a:custGeom>
            <a:avLst/>
            <a:gdLst>
              <a:gd name="T0" fmla="*/ 2 w 5"/>
              <a:gd name="T1" fmla="*/ 0 h 4"/>
              <a:gd name="T2" fmla="*/ 1 w 5"/>
              <a:gd name="T3" fmla="*/ 1 h 4"/>
              <a:gd name="T4" fmla="*/ 1 w 5"/>
              <a:gd name="T5" fmla="*/ 3 h 4"/>
              <a:gd name="T6" fmla="*/ 3 w 5"/>
              <a:gd name="T7" fmla="*/ 4 h 4"/>
              <a:gd name="T8" fmla="*/ 3 w 5"/>
              <a:gd name="T9" fmla="*/ 4 h 4"/>
              <a:gd name="T10" fmla="*/ 5 w 5"/>
              <a:gd name="T11" fmla="*/ 3 h 4"/>
              <a:gd name="T12" fmla="*/ 5 w 5"/>
              <a:gd name="T13" fmla="*/ 1 h 4"/>
              <a:gd name="T14" fmla="*/ 3 w 5"/>
              <a:gd name="T15" fmla="*/ 0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cubicBezTo>
                  <a:pt x="2" y="0"/>
                  <a:pt x="1" y="1"/>
                  <a:pt x="1" y="1"/>
                </a:cubicBezTo>
                <a:cubicBezTo>
                  <a:pt x="0" y="2"/>
                  <a:pt x="0" y="3"/>
                  <a:pt x="1" y="3"/>
                </a:cubicBezTo>
                <a:cubicBezTo>
                  <a:pt x="3" y="4"/>
                  <a:pt x="3" y="4"/>
                  <a:pt x="3" y="4"/>
                </a:cubicBezTo>
                <a:cubicBezTo>
                  <a:pt x="3" y="4"/>
                  <a:pt x="3" y="4"/>
                  <a:pt x="3" y="4"/>
                </a:cubicBezTo>
                <a:cubicBezTo>
                  <a:pt x="4" y="4"/>
                  <a:pt x="4" y="3"/>
                  <a:pt x="5" y="3"/>
                </a:cubicBezTo>
                <a:cubicBezTo>
                  <a:pt x="5" y="2"/>
                  <a:pt x="5" y="1"/>
                  <a:pt x="5" y="1"/>
                </a:cubicBezTo>
                <a:cubicBezTo>
                  <a:pt x="3" y="0"/>
                  <a:pt x="3" y="0"/>
                  <a:pt x="3"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5" name="Freeform 1052">
            <a:extLst>
              <a:ext uri="{FF2B5EF4-FFF2-40B4-BE49-F238E27FC236}">
                <a16:creationId xmlns:a16="http://schemas.microsoft.com/office/drawing/2014/main" id="{2B3D74ED-4854-4DBF-BE84-38E480982156}"/>
              </a:ext>
            </a:extLst>
          </p:cNvPr>
          <p:cNvSpPr>
            <a:spLocks/>
          </p:cNvSpPr>
          <p:nvPr/>
        </p:nvSpPr>
        <p:spPr bwMode="auto">
          <a:xfrm>
            <a:off x="3202108" y="4331986"/>
            <a:ext cx="39226" cy="17828"/>
          </a:xfrm>
          <a:custGeom>
            <a:avLst/>
            <a:gdLst>
              <a:gd name="T0" fmla="*/ 2 w 14"/>
              <a:gd name="T1" fmla="*/ 0 h 6"/>
              <a:gd name="T2" fmla="*/ 0 w 14"/>
              <a:gd name="T3" fmla="*/ 1 h 6"/>
              <a:gd name="T4" fmla="*/ 0 w 14"/>
              <a:gd name="T5" fmla="*/ 2 h 6"/>
              <a:gd name="T6" fmla="*/ 12 w 14"/>
              <a:gd name="T7" fmla="*/ 6 h 6"/>
              <a:gd name="T8" fmla="*/ 12 w 14"/>
              <a:gd name="T9" fmla="*/ 6 h 6"/>
              <a:gd name="T10" fmla="*/ 14 w 14"/>
              <a:gd name="T11" fmla="*/ 5 h 6"/>
              <a:gd name="T12" fmla="*/ 14 w 14"/>
              <a:gd name="T13" fmla="*/ 3 h 6"/>
              <a:gd name="T14" fmla="*/ 2 w 14"/>
              <a:gd name="T15" fmla="*/ 0 h 6"/>
              <a:gd name="T16" fmla="*/ 2 w 1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
                <a:moveTo>
                  <a:pt x="2" y="0"/>
                </a:moveTo>
                <a:cubicBezTo>
                  <a:pt x="1" y="0"/>
                  <a:pt x="1" y="0"/>
                  <a:pt x="0" y="1"/>
                </a:cubicBezTo>
                <a:cubicBezTo>
                  <a:pt x="0" y="1"/>
                  <a:pt x="0" y="2"/>
                  <a:pt x="0" y="2"/>
                </a:cubicBezTo>
                <a:cubicBezTo>
                  <a:pt x="12" y="6"/>
                  <a:pt x="12" y="6"/>
                  <a:pt x="12" y="6"/>
                </a:cubicBezTo>
                <a:cubicBezTo>
                  <a:pt x="12" y="6"/>
                  <a:pt x="12" y="6"/>
                  <a:pt x="12" y="6"/>
                </a:cubicBezTo>
                <a:cubicBezTo>
                  <a:pt x="12" y="6"/>
                  <a:pt x="13" y="5"/>
                  <a:pt x="14" y="5"/>
                </a:cubicBezTo>
                <a:cubicBezTo>
                  <a:pt x="14" y="4"/>
                  <a:pt x="14" y="3"/>
                  <a:pt x="14"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Freeform 1053">
            <a:extLst>
              <a:ext uri="{FF2B5EF4-FFF2-40B4-BE49-F238E27FC236}">
                <a16:creationId xmlns:a16="http://schemas.microsoft.com/office/drawing/2014/main" id="{C10D6A95-651D-4F75-9528-BFF8F5ACB9E7}"/>
              </a:ext>
            </a:extLst>
          </p:cNvPr>
          <p:cNvSpPr>
            <a:spLocks/>
          </p:cNvSpPr>
          <p:nvPr/>
        </p:nvSpPr>
        <p:spPr bwMode="auto">
          <a:xfrm>
            <a:off x="3198543" y="4328419"/>
            <a:ext cx="3567" cy="10697"/>
          </a:xfrm>
          <a:custGeom>
            <a:avLst/>
            <a:gdLst>
              <a:gd name="T0" fmla="*/ 2 w 2"/>
              <a:gd name="T1" fmla="*/ 0 h 3"/>
              <a:gd name="T2" fmla="*/ 0 w 2"/>
              <a:gd name="T3" fmla="*/ 1 h 3"/>
              <a:gd name="T4" fmla="*/ 0 w 2"/>
              <a:gd name="T5" fmla="*/ 1 h 3"/>
              <a:gd name="T6" fmla="*/ 0 w 2"/>
              <a:gd name="T7" fmla="*/ 3 h 3"/>
              <a:gd name="T8" fmla="*/ 0 w 2"/>
              <a:gd name="T9" fmla="*/ 3 h 3"/>
              <a:gd name="T10" fmla="*/ 1 w 2"/>
              <a:gd name="T11" fmla="*/ 2 h 3"/>
              <a:gd name="T12" fmla="*/ 2 w 2"/>
              <a:gd name="T13" fmla="*/ 1 h 3"/>
              <a:gd name="T14" fmla="*/ 2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cubicBezTo>
                  <a:pt x="1" y="0"/>
                  <a:pt x="1" y="0"/>
                  <a:pt x="0" y="1"/>
                </a:cubicBezTo>
                <a:cubicBezTo>
                  <a:pt x="0" y="1"/>
                  <a:pt x="0" y="1"/>
                  <a:pt x="0" y="1"/>
                </a:cubicBezTo>
                <a:cubicBezTo>
                  <a:pt x="0" y="2"/>
                  <a:pt x="0" y="2"/>
                  <a:pt x="0" y="3"/>
                </a:cubicBezTo>
                <a:cubicBezTo>
                  <a:pt x="0" y="3"/>
                  <a:pt x="0" y="3"/>
                  <a:pt x="0" y="3"/>
                </a:cubicBezTo>
                <a:cubicBezTo>
                  <a:pt x="0" y="3"/>
                  <a:pt x="1" y="2"/>
                  <a:pt x="1" y="2"/>
                </a:cubicBezTo>
                <a:cubicBezTo>
                  <a:pt x="2" y="1"/>
                  <a:pt x="2" y="1"/>
                  <a:pt x="2" y="1"/>
                </a:cubicBezTo>
                <a:cubicBezTo>
                  <a:pt x="2" y="1"/>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Freeform 1054">
            <a:extLst>
              <a:ext uri="{FF2B5EF4-FFF2-40B4-BE49-F238E27FC236}">
                <a16:creationId xmlns:a16="http://schemas.microsoft.com/office/drawing/2014/main" id="{CC36FE36-AF20-4D45-8975-686F3F746DC8}"/>
              </a:ext>
            </a:extLst>
          </p:cNvPr>
          <p:cNvSpPr>
            <a:spLocks/>
          </p:cNvSpPr>
          <p:nvPr/>
        </p:nvSpPr>
        <p:spPr bwMode="auto">
          <a:xfrm>
            <a:off x="3316217" y="4356946"/>
            <a:ext cx="128373" cy="156900"/>
          </a:xfrm>
          <a:custGeom>
            <a:avLst/>
            <a:gdLst>
              <a:gd name="T0" fmla="*/ 38 w 46"/>
              <a:gd name="T1" fmla="*/ 0 h 57"/>
              <a:gd name="T2" fmla="*/ 46 w 46"/>
              <a:gd name="T3" fmla="*/ 16 h 57"/>
              <a:gd name="T4" fmla="*/ 30 w 46"/>
              <a:gd name="T5" fmla="*/ 48 h 57"/>
              <a:gd name="T6" fmla="*/ 21 w 46"/>
              <a:gd name="T7" fmla="*/ 57 h 57"/>
              <a:gd name="T8" fmla="*/ 0 w 46"/>
              <a:gd name="T9" fmla="*/ 50 h 57"/>
              <a:gd name="T10" fmla="*/ 5 w 46"/>
              <a:gd name="T11" fmla="*/ 18 h 57"/>
              <a:gd name="T12" fmla="*/ 13 w 46"/>
              <a:gd name="T13" fmla="*/ 14 h 57"/>
              <a:gd name="T14" fmla="*/ 18 w 46"/>
              <a:gd name="T15" fmla="*/ 24 h 57"/>
              <a:gd name="T16" fmla="*/ 38 w 46"/>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7">
                <a:moveTo>
                  <a:pt x="38" y="0"/>
                </a:moveTo>
                <a:cubicBezTo>
                  <a:pt x="38" y="0"/>
                  <a:pt x="46" y="7"/>
                  <a:pt x="46" y="16"/>
                </a:cubicBezTo>
                <a:cubicBezTo>
                  <a:pt x="46" y="26"/>
                  <a:pt x="33" y="45"/>
                  <a:pt x="30" y="48"/>
                </a:cubicBezTo>
                <a:cubicBezTo>
                  <a:pt x="28" y="51"/>
                  <a:pt x="21" y="57"/>
                  <a:pt x="21" y="57"/>
                </a:cubicBezTo>
                <a:cubicBezTo>
                  <a:pt x="0" y="50"/>
                  <a:pt x="0" y="50"/>
                  <a:pt x="0" y="50"/>
                </a:cubicBezTo>
                <a:cubicBezTo>
                  <a:pt x="0" y="50"/>
                  <a:pt x="5" y="24"/>
                  <a:pt x="5" y="18"/>
                </a:cubicBezTo>
                <a:cubicBezTo>
                  <a:pt x="5" y="12"/>
                  <a:pt x="12" y="11"/>
                  <a:pt x="13" y="14"/>
                </a:cubicBezTo>
                <a:cubicBezTo>
                  <a:pt x="14" y="16"/>
                  <a:pt x="18" y="24"/>
                  <a:pt x="18" y="24"/>
                </a:cubicBezTo>
                <a:cubicBezTo>
                  <a:pt x="18" y="24"/>
                  <a:pt x="27" y="15"/>
                  <a:pt x="38" y="0"/>
                </a:cubicBez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8" name="Freeform 1055">
            <a:extLst>
              <a:ext uri="{FF2B5EF4-FFF2-40B4-BE49-F238E27FC236}">
                <a16:creationId xmlns:a16="http://schemas.microsoft.com/office/drawing/2014/main" id="{7E9EB7E3-FFDD-4C74-9A6F-379929072089}"/>
              </a:ext>
            </a:extLst>
          </p:cNvPr>
          <p:cNvSpPr>
            <a:spLocks/>
          </p:cNvSpPr>
          <p:nvPr/>
        </p:nvSpPr>
        <p:spPr bwMode="auto">
          <a:xfrm>
            <a:off x="2891874" y="5818970"/>
            <a:ext cx="228218" cy="71318"/>
          </a:xfrm>
          <a:custGeom>
            <a:avLst/>
            <a:gdLst>
              <a:gd name="T0" fmla="*/ 13 w 82"/>
              <a:gd name="T1" fmla="*/ 2 h 27"/>
              <a:gd name="T2" fmla="*/ 6 w 82"/>
              <a:gd name="T3" fmla="*/ 1 h 27"/>
              <a:gd name="T4" fmla="*/ 0 w 82"/>
              <a:gd name="T5" fmla="*/ 12 h 27"/>
              <a:gd name="T6" fmla="*/ 4 w 82"/>
              <a:gd name="T7" fmla="*/ 25 h 27"/>
              <a:gd name="T8" fmla="*/ 21 w 82"/>
              <a:gd name="T9" fmla="*/ 27 h 27"/>
              <a:gd name="T10" fmla="*/ 48 w 82"/>
              <a:gd name="T11" fmla="*/ 25 h 27"/>
              <a:gd name="T12" fmla="*/ 75 w 82"/>
              <a:gd name="T13" fmla="*/ 17 h 27"/>
              <a:gd name="T14" fmla="*/ 65 w 82"/>
              <a:gd name="T15" fmla="*/ 2 h 27"/>
              <a:gd name="T16" fmla="*/ 36 w 82"/>
              <a:gd name="T17" fmla="*/ 1 h 27"/>
              <a:gd name="T18" fmla="*/ 25 w 82"/>
              <a:gd name="T19" fmla="*/ 6 h 27"/>
              <a:gd name="T20" fmla="*/ 13 w 82"/>
              <a:gd name="T2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27">
                <a:moveTo>
                  <a:pt x="13" y="2"/>
                </a:moveTo>
                <a:cubicBezTo>
                  <a:pt x="13" y="2"/>
                  <a:pt x="9" y="1"/>
                  <a:pt x="6" y="1"/>
                </a:cubicBezTo>
                <a:cubicBezTo>
                  <a:pt x="4" y="1"/>
                  <a:pt x="0" y="9"/>
                  <a:pt x="0" y="12"/>
                </a:cubicBezTo>
                <a:cubicBezTo>
                  <a:pt x="0" y="16"/>
                  <a:pt x="2" y="24"/>
                  <a:pt x="4" y="25"/>
                </a:cubicBezTo>
                <a:cubicBezTo>
                  <a:pt x="21" y="27"/>
                  <a:pt x="21" y="27"/>
                  <a:pt x="21" y="27"/>
                </a:cubicBezTo>
                <a:cubicBezTo>
                  <a:pt x="32" y="21"/>
                  <a:pt x="42" y="24"/>
                  <a:pt x="48" y="25"/>
                </a:cubicBezTo>
                <a:cubicBezTo>
                  <a:pt x="51" y="25"/>
                  <a:pt x="69" y="24"/>
                  <a:pt x="75" y="17"/>
                </a:cubicBezTo>
                <a:cubicBezTo>
                  <a:pt x="82" y="10"/>
                  <a:pt x="76" y="2"/>
                  <a:pt x="65" y="2"/>
                </a:cubicBezTo>
                <a:cubicBezTo>
                  <a:pt x="54" y="2"/>
                  <a:pt x="38" y="1"/>
                  <a:pt x="36" y="1"/>
                </a:cubicBezTo>
                <a:cubicBezTo>
                  <a:pt x="33" y="0"/>
                  <a:pt x="32" y="6"/>
                  <a:pt x="25" y="6"/>
                </a:cubicBezTo>
                <a:cubicBezTo>
                  <a:pt x="19" y="5"/>
                  <a:pt x="15" y="6"/>
                  <a:pt x="13" y="2"/>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9" name="Freeform 1056">
            <a:extLst>
              <a:ext uri="{FF2B5EF4-FFF2-40B4-BE49-F238E27FC236}">
                <a16:creationId xmlns:a16="http://schemas.microsoft.com/office/drawing/2014/main" id="{C7D102B4-3888-4438-8820-DB47D18D4EE9}"/>
              </a:ext>
            </a:extLst>
          </p:cNvPr>
          <p:cNvSpPr>
            <a:spLocks/>
          </p:cNvSpPr>
          <p:nvPr/>
        </p:nvSpPr>
        <p:spPr bwMode="auto">
          <a:xfrm>
            <a:off x="2913270" y="5711993"/>
            <a:ext cx="74885" cy="139069"/>
          </a:xfrm>
          <a:custGeom>
            <a:avLst/>
            <a:gdLst>
              <a:gd name="T0" fmla="*/ 26 w 26"/>
              <a:gd name="T1" fmla="*/ 0 h 51"/>
              <a:gd name="T2" fmla="*/ 26 w 26"/>
              <a:gd name="T3" fmla="*/ 45 h 51"/>
              <a:gd name="T4" fmla="*/ 13 w 26"/>
              <a:gd name="T5" fmla="*/ 51 h 51"/>
              <a:gd name="T6" fmla="*/ 0 w 26"/>
              <a:gd name="T7" fmla="*/ 45 h 51"/>
              <a:gd name="T8" fmla="*/ 0 w 26"/>
              <a:gd name="T9" fmla="*/ 0 h 51"/>
              <a:gd name="T10" fmla="*/ 26 w 26"/>
              <a:gd name="T11" fmla="*/ 0 h 51"/>
            </a:gdLst>
            <a:ahLst/>
            <a:cxnLst>
              <a:cxn ang="0">
                <a:pos x="T0" y="T1"/>
              </a:cxn>
              <a:cxn ang="0">
                <a:pos x="T2" y="T3"/>
              </a:cxn>
              <a:cxn ang="0">
                <a:pos x="T4" y="T5"/>
              </a:cxn>
              <a:cxn ang="0">
                <a:pos x="T6" y="T7"/>
              </a:cxn>
              <a:cxn ang="0">
                <a:pos x="T8" y="T9"/>
              </a:cxn>
              <a:cxn ang="0">
                <a:pos x="T10" y="T11"/>
              </a:cxn>
            </a:cxnLst>
            <a:rect l="0" t="0" r="r" b="b"/>
            <a:pathLst>
              <a:path w="26" h="51">
                <a:moveTo>
                  <a:pt x="26" y="0"/>
                </a:moveTo>
                <a:cubicBezTo>
                  <a:pt x="26" y="45"/>
                  <a:pt x="26" y="45"/>
                  <a:pt x="26" y="45"/>
                </a:cubicBezTo>
                <a:cubicBezTo>
                  <a:pt x="26" y="48"/>
                  <a:pt x="20" y="51"/>
                  <a:pt x="13" y="51"/>
                </a:cubicBezTo>
                <a:cubicBezTo>
                  <a:pt x="6" y="51"/>
                  <a:pt x="0" y="48"/>
                  <a:pt x="0" y="45"/>
                </a:cubicBezTo>
                <a:cubicBezTo>
                  <a:pt x="0" y="0"/>
                  <a:pt x="0" y="0"/>
                  <a:pt x="0" y="0"/>
                </a:cubicBezTo>
                <a:lnTo>
                  <a:pt x="26"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0" name="Freeform 1057">
            <a:extLst>
              <a:ext uri="{FF2B5EF4-FFF2-40B4-BE49-F238E27FC236}">
                <a16:creationId xmlns:a16="http://schemas.microsoft.com/office/drawing/2014/main" id="{6AF47CEF-00EF-41D7-B131-F98CBD5A4BAF}"/>
              </a:ext>
            </a:extLst>
          </p:cNvPr>
          <p:cNvSpPr>
            <a:spLocks/>
          </p:cNvSpPr>
          <p:nvPr/>
        </p:nvSpPr>
        <p:spPr bwMode="auto">
          <a:xfrm>
            <a:off x="2631561" y="5772614"/>
            <a:ext cx="224654" cy="78450"/>
          </a:xfrm>
          <a:custGeom>
            <a:avLst/>
            <a:gdLst>
              <a:gd name="T0" fmla="*/ 13 w 82"/>
              <a:gd name="T1" fmla="*/ 1 h 28"/>
              <a:gd name="T2" fmla="*/ 7 w 82"/>
              <a:gd name="T3" fmla="*/ 1 h 28"/>
              <a:gd name="T4" fmla="*/ 1 w 82"/>
              <a:gd name="T5" fmla="*/ 12 h 28"/>
              <a:gd name="T6" fmla="*/ 5 w 82"/>
              <a:gd name="T7" fmla="*/ 25 h 28"/>
              <a:gd name="T8" fmla="*/ 22 w 82"/>
              <a:gd name="T9" fmla="*/ 26 h 28"/>
              <a:gd name="T10" fmla="*/ 49 w 82"/>
              <a:gd name="T11" fmla="*/ 24 h 28"/>
              <a:gd name="T12" fmla="*/ 76 w 82"/>
              <a:gd name="T13" fmla="*/ 17 h 28"/>
              <a:gd name="T14" fmla="*/ 65 w 82"/>
              <a:gd name="T15" fmla="*/ 1 h 28"/>
              <a:gd name="T16" fmla="*/ 36 w 82"/>
              <a:gd name="T17" fmla="*/ 0 h 28"/>
              <a:gd name="T18" fmla="*/ 26 w 82"/>
              <a:gd name="T19" fmla="*/ 5 h 28"/>
              <a:gd name="T20" fmla="*/ 13 w 82"/>
              <a:gd name="T21"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28">
                <a:moveTo>
                  <a:pt x="13" y="1"/>
                </a:moveTo>
                <a:cubicBezTo>
                  <a:pt x="13" y="1"/>
                  <a:pt x="9" y="1"/>
                  <a:pt x="7" y="1"/>
                </a:cubicBezTo>
                <a:cubicBezTo>
                  <a:pt x="5" y="0"/>
                  <a:pt x="1" y="8"/>
                  <a:pt x="1" y="12"/>
                </a:cubicBezTo>
                <a:cubicBezTo>
                  <a:pt x="0" y="15"/>
                  <a:pt x="2" y="23"/>
                  <a:pt x="5" y="25"/>
                </a:cubicBezTo>
                <a:cubicBezTo>
                  <a:pt x="5" y="25"/>
                  <a:pt x="19" y="28"/>
                  <a:pt x="22" y="26"/>
                </a:cubicBezTo>
                <a:cubicBezTo>
                  <a:pt x="33" y="20"/>
                  <a:pt x="47" y="24"/>
                  <a:pt x="49" y="24"/>
                </a:cubicBezTo>
                <a:cubicBezTo>
                  <a:pt x="51" y="24"/>
                  <a:pt x="69" y="23"/>
                  <a:pt x="76" y="17"/>
                </a:cubicBezTo>
                <a:cubicBezTo>
                  <a:pt x="82" y="10"/>
                  <a:pt x="76" y="1"/>
                  <a:pt x="65" y="1"/>
                </a:cubicBezTo>
                <a:cubicBezTo>
                  <a:pt x="55" y="2"/>
                  <a:pt x="38" y="0"/>
                  <a:pt x="36" y="0"/>
                </a:cubicBezTo>
                <a:cubicBezTo>
                  <a:pt x="34" y="0"/>
                  <a:pt x="32" y="6"/>
                  <a:pt x="26" y="5"/>
                </a:cubicBezTo>
                <a:cubicBezTo>
                  <a:pt x="19" y="5"/>
                  <a:pt x="15" y="5"/>
                  <a:pt x="13" y="1"/>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Freeform 1058">
            <a:extLst>
              <a:ext uri="{FF2B5EF4-FFF2-40B4-BE49-F238E27FC236}">
                <a16:creationId xmlns:a16="http://schemas.microsoft.com/office/drawing/2014/main" id="{320F951F-BAFA-4289-A9EC-7C91464391BC}"/>
              </a:ext>
            </a:extLst>
          </p:cNvPr>
          <p:cNvSpPr>
            <a:spLocks/>
          </p:cNvSpPr>
          <p:nvPr/>
        </p:nvSpPr>
        <p:spPr bwMode="auto">
          <a:xfrm>
            <a:off x="2656524" y="5665637"/>
            <a:ext cx="71318" cy="139069"/>
          </a:xfrm>
          <a:custGeom>
            <a:avLst/>
            <a:gdLst>
              <a:gd name="T0" fmla="*/ 26 w 26"/>
              <a:gd name="T1" fmla="*/ 0 h 50"/>
              <a:gd name="T2" fmla="*/ 26 w 26"/>
              <a:gd name="T3" fmla="*/ 44 h 50"/>
              <a:gd name="T4" fmla="*/ 13 w 26"/>
              <a:gd name="T5" fmla="*/ 50 h 50"/>
              <a:gd name="T6" fmla="*/ 0 w 26"/>
              <a:gd name="T7" fmla="*/ 44 h 50"/>
              <a:gd name="T8" fmla="*/ 0 w 26"/>
              <a:gd name="T9" fmla="*/ 0 h 50"/>
              <a:gd name="T10" fmla="*/ 26 w 26"/>
              <a:gd name="T11" fmla="*/ 0 h 50"/>
            </a:gdLst>
            <a:ahLst/>
            <a:cxnLst>
              <a:cxn ang="0">
                <a:pos x="T0" y="T1"/>
              </a:cxn>
              <a:cxn ang="0">
                <a:pos x="T2" y="T3"/>
              </a:cxn>
              <a:cxn ang="0">
                <a:pos x="T4" y="T5"/>
              </a:cxn>
              <a:cxn ang="0">
                <a:pos x="T6" y="T7"/>
              </a:cxn>
              <a:cxn ang="0">
                <a:pos x="T8" y="T9"/>
              </a:cxn>
              <a:cxn ang="0">
                <a:pos x="T10" y="T11"/>
              </a:cxn>
            </a:cxnLst>
            <a:rect l="0" t="0" r="r" b="b"/>
            <a:pathLst>
              <a:path w="26" h="50">
                <a:moveTo>
                  <a:pt x="26" y="0"/>
                </a:moveTo>
                <a:cubicBezTo>
                  <a:pt x="26" y="44"/>
                  <a:pt x="26" y="44"/>
                  <a:pt x="26" y="44"/>
                </a:cubicBezTo>
                <a:cubicBezTo>
                  <a:pt x="26" y="48"/>
                  <a:pt x="20" y="50"/>
                  <a:pt x="13" y="50"/>
                </a:cubicBezTo>
                <a:cubicBezTo>
                  <a:pt x="5" y="50"/>
                  <a:pt x="0" y="48"/>
                  <a:pt x="0" y="44"/>
                </a:cubicBezTo>
                <a:cubicBezTo>
                  <a:pt x="0" y="0"/>
                  <a:pt x="0" y="0"/>
                  <a:pt x="0" y="0"/>
                </a:cubicBezTo>
                <a:lnTo>
                  <a:pt x="26"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Freeform 1059">
            <a:extLst>
              <a:ext uri="{FF2B5EF4-FFF2-40B4-BE49-F238E27FC236}">
                <a16:creationId xmlns:a16="http://schemas.microsoft.com/office/drawing/2014/main" id="{B93C1188-E15F-4AF3-BF7A-C3AD9FB5CB95}"/>
              </a:ext>
            </a:extLst>
          </p:cNvPr>
          <p:cNvSpPr>
            <a:spLocks/>
          </p:cNvSpPr>
          <p:nvPr/>
        </p:nvSpPr>
        <p:spPr bwMode="auto">
          <a:xfrm>
            <a:off x="2627997" y="4877569"/>
            <a:ext cx="420778" cy="930702"/>
          </a:xfrm>
          <a:custGeom>
            <a:avLst/>
            <a:gdLst>
              <a:gd name="T0" fmla="*/ 0 w 153"/>
              <a:gd name="T1" fmla="*/ 41 h 339"/>
              <a:gd name="T2" fmla="*/ 8 w 153"/>
              <a:gd name="T3" fmla="*/ 56 h 339"/>
              <a:gd name="T4" fmla="*/ 63 w 153"/>
              <a:gd name="T5" fmla="*/ 110 h 339"/>
              <a:gd name="T6" fmla="*/ 64 w 153"/>
              <a:gd name="T7" fmla="*/ 114 h 339"/>
              <a:gd name="T8" fmla="*/ 90 w 153"/>
              <a:gd name="T9" fmla="*/ 202 h 339"/>
              <a:gd name="T10" fmla="*/ 102 w 153"/>
              <a:gd name="T11" fmla="*/ 333 h 339"/>
              <a:gd name="T12" fmla="*/ 105 w 153"/>
              <a:gd name="T13" fmla="*/ 337 h 339"/>
              <a:gd name="T14" fmla="*/ 131 w 153"/>
              <a:gd name="T15" fmla="*/ 334 h 339"/>
              <a:gd name="T16" fmla="*/ 133 w 153"/>
              <a:gd name="T17" fmla="*/ 332 h 339"/>
              <a:gd name="T18" fmla="*/ 153 w 153"/>
              <a:gd name="T19" fmla="*/ 169 h 339"/>
              <a:gd name="T20" fmla="*/ 146 w 153"/>
              <a:gd name="T21" fmla="*/ 46 h 339"/>
              <a:gd name="T22" fmla="*/ 144 w 153"/>
              <a:gd name="T23" fmla="*/ 21 h 339"/>
              <a:gd name="T24" fmla="*/ 143 w 153"/>
              <a:gd name="T25" fmla="*/ 16 h 339"/>
              <a:gd name="T26" fmla="*/ 116 w 153"/>
              <a:gd name="T27" fmla="*/ 13 h 339"/>
              <a:gd name="T28" fmla="*/ 7 w 153"/>
              <a:gd name="T29" fmla="*/ 0 h 339"/>
              <a:gd name="T30" fmla="*/ 6 w 153"/>
              <a:gd name="T31" fmla="*/ 7 h 339"/>
              <a:gd name="T32" fmla="*/ 0 w 153"/>
              <a:gd name="T33" fmla="*/ 4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339">
                <a:moveTo>
                  <a:pt x="0" y="41"/>
                </a:moveTo>
                <a:cubicBezTo>
                  <a:pt x="0" y="45"/>
                  <a:pt x="3" y="50"/>
                  <a:pt x="8" y="56"/>
                </a:cubicBezTo>
                <a:cubicBezTo>
                  <a:pt x="24" y="77"/>
                  <a:pt x="63" y="110"/>
                  <a:pt x="63" y="110"/>
                </a:cubicBezTo>
                <a:cubicBezTo>
                  <a:pt x="63" y="110"/>
                  <a:pt x="64" y="111"/>
                  <a:pt x="64" y="114"/>
                </a:cubicBezTo>
                <a:cubicBezTo>
                  <a:pt x="70" y="130"/>
                  <a:pt x="89" y="192"/>
                  <a:pt x="90" y="202"/>
                </a:cubicBezTo>
                <a:cubicBezTo>
                  <a:pt x="91" y="214"/>
                  <a:pt x="100" y="327"/>
                  <a:pt x="102" y="333"/>
                </a:cubicBezTo>
                <a:cubicBezTo>
                  <a:pt x="102" y="335"/>
                  <a:pt x="103" y="336"/>
                  <a:pt x="105" y="337"/>
                </a:cubicBezTo>
                <a:cubicBezTo>
                  <a:pt x="111" y="339"/>
                  <a:pt x="123" y="339"/>
                  <a:pt x="131" y="334"/>
                </a:cubicBezTo>
                <a:cubicBezTo>
                  <a:pt x="132" y="333"/>
                  <a:pt x="133" y="333"/>
                  <a:pt x="133" y="332"/>
                </a:cubicBezTo>
                <a:cubicBezTo>
                  <a:pt x="133" y="332"/>
                  <a:pt x="153" y="202"/>
                  <a:pt x="153" y="169"/>
                </a:cubicBezTo>
                <a:cubicBezTo>
                  <a:pt x="153" y="157"/>
                  <a:pt x="149" y="87"/>
                  <a:pt x="146" y="46"/>
                </a:cubicBezTo>
                <a:cubicBezTo>
                  <a:pt x="145" y="36"/>
                  <a:pt x="144" y="27"/>
                  <a:pt x="144" y="21"/>
                </a:cubicBezTo>
                <a:cubicBezTo>
                  <a:pt x="144" y="18"/>
                  <a:pt x="143" y="16"/>
                  <a:pt x="143" y="16"/>
                </a:cubicBezTo>
                <a:cubicBezTo>
                  <a:pt x="116" y="13"/>
                  <a:pt x="116" y="13"/>
                  <a:pt x="116" y="13"/>
                </a:cubicBezTo>
                <a:cubicBezTo>
                  <a:pt x="7" y="0"/>
                  <a:pt x="7" y="0"/>
                  <a:pt x="7" y="0"/>
                </a:cubicBezTo>
                <a:cubicBezTo>
                  <a:pt x="7" y="0"/>
                  <a:pt x="7" y="3"/>
                  <a:pt x="6" y="7"/>
                </a:cubicBezTo>
                <a:cubicBezTo>
                  <a:pt x="3" y="15"/>
                  <a:pt x="0" y="30"/>
                  <a:pt x="0" y="41"/>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3" name="Freeform 1060">
            <a:extLst>
              <a:ext uri="{FF2B5EF4-FFF2-40B4-BE49-F238E27FC236}">
                <a16:creationId xmlns:a16="http://schemas.microsoft.com/office/drawing/2014/main" id="{1B554432-3FEB-4C0B-A9D7-F21054285835}"/>
              </a:ext>
            </a:extLst>
          </p:cNvPr>
          <p:cNvSpPr>
            <a:spLocks/>
          </p:cNvSpPr>
          <p:nvPr/>
        </p:nvSpPr>
        <p:spPr bwMode="auto">
          <a:xfrm>
            <a:off x="2642260" y="4984547"/>
            <a:ext cx="178296" cy="805896"/>
          </a:xfrm>
          <a:custGeom>
            <a:avLst/>
            <a:gdLst>
              <a:gd name="T0" fmla="*/ 1 w 65"/>
              <a:gd name="T1" fmla="*/ 0 h 293"/>
              <a:gd name="T2" fmla="*/ 3 w 65"/>
              <a:gd name="T3" fmla="*/ 138 h 293"/>
              <a:gd name="T4" fmla="*/ 0 w 65"/>
              <a:gd name="T5" fmla="*/ 283 h 293"/>
              <a:gd name="T6" fmla="*/ 36 w 65"/>
              <a:gd name="T7" fmla="*/ 283 h 293"/>
              <a:gd name="T8" fmla="*/ 65 w 65"/>
              <a:gd name="T9" fmla="*/ 17 h 293"/>
              <a:gd name="T10" fmla="*/ 1 w 65"/>
              <a:gd name="T11" fmla="*/ 0 h 293"/>
            </a:gdLst>
            <a:ahLst/>
            <a:cxnLst>
              <a:cxn ang="0">
                <a:pos x="T0" y="T1"/>
              </a:cxn>
              <a:cxn ang="0">
                <a:pos x="T2" y="T3"/>
              </a:cxn>
              <a:cxn ang="0">
                <a:pos x="T4" y="T5"/>
              </a:cxn>
              <a:cxn ang="0">
                <a:pos x="T6" y="T7"/>
              </a:cxn>
              <a:cxn ang="0">
                <a:pos x="T8" y="T9"/>
              </a:cxn>
              <a:cxn ang="0">
                <a:pos x="T10" y="T11"/>
              </a:cxn>
            </a:cxnLst>
            <a:rect l="0" t="0" r="r" b="b"/>
            <a:pathLst>
              <a:path w="65" h="293">
                <a:moveTo>
                  <a:pt x="1" y="0"/>
                </a:moveTo>
                <a:cubicBezTo>
                  <a:pt x="1" y="0"/>
                  <a:pt x="3" y="119"/>
                  <a:pt x="3" y="138"/>
                </a:cubicBezTo>
                <a:cubicBezTo>
                  <a:pt x="3" y="157"/>
                  <a:pt x="0" y="283"/>
                  <a:pt x="0" y="283"/>
                </a:cubicBezTo>
                <a:cubicBezTo>
                  <a:pt x="0" y="283"/>
                  <a:pt x="18" y="293"/>
                  <a:pt x="36" y="283"/>
                </a:cubicBezTo>
                <a:cubicBezTo>
                  <a:pt x="40" y="235"/>
                  <a:pt x="65" y="17"/>
                  <a:pt x="65" y="17"/>
                </a:cubicBezTo>
                <a:lnTo>
                  <a:pt x="1"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4" name="Freeform 1061">
            <a:extLst>
              <a:ext uri="{FF2B5EF4-FFF2-40B4-BE49-F238E27FC236}">
                <a16:creationId xmlns:a16="http://schemas.microsoft.com/office/drawing/2014/main" id="{75F322A3-0F3A-4DAD-A659-462CE3F8D601}"/>
              </a:ext>
            </a:extLst>
          </p:cNvPr>
          <p:cNvSpPr>
            <a:spLocks/>
          </p:cNvSpPr>
          <p:nvPr/>
        </p:nvSpPr>
        <p:spPr bwMode="auto">
          <a:xfrm>
            <a:off x="2627997" y="4185782"/>
            <a:ext cx="395817" cy="795197"/>
          </a:xfrm>
          <a:custGeom>
            <a:avLst/>
            <a:gdLst>
              <a:gd name="T0" fmla="*/ 0 w 145"/>
              <a:gd name="T1" fmla="*/ 93 h 289"/>
              <a:gd name="T2" fmla="*/ 10 w 145"/>
              <a:gd name="T3" fmla="*/ 175 h 289"/>
              <a:gd name="T4" fmla="*/ 1 w 145"/>
              <a:gd name="T5" fmla="*/ 250 h 289"/>
              <a:gd name="T6" fmla="*/ 6 w 145"/>
              <a:gd name="T7" fmla="*/ 259 h 289"/>
              <a:gd name="T8" fmla="*/ 100 w 145"/>
              <a:gd name="T9" fmla="*/ 289 h 289"/>
              <a:gd name="T10" fmla="*/ 123 w 145"/>
              <a:gd name="T11" fmla="*/ 284 h 289"/>
              <a:gd name="T12" fmla="*/ 144 w 145"/>
              <a:gd name="T13" fmla="*/ 273 h 289"/>
              <a:gd name="T14" fmla="*/ 145 w 145"/>
              <a:gd name="T15" fmla="*/ 272 h 289"/>
              <a:gd name="T16" fmla="*/ 138 w 145"/>
              <a:gd name="T17" fmla="*/ 226 h 289"/>
              <a:gd name="T18" fmla="*/ 138 w 145"/>
              <a:gd name="T19" fmla="*/ 215 h 289"/>
              <a:gd name="T20" fmla="*/ 139 w 145"/>
              <a:gd name="T21" fmla="*/ 165 h 289"/>
              <a:gd name="T22" fmla="*/ 140 w 145"/>
              <a:gd name="T23" fmla="*/ 160 h 289"/>
              <a:gd name="T24" fmla="*/ 140 w 145"/>
              <a:gd name="T25" fmla="*/ 159 h 289"/>
              <a:gd name="T26" fmla="*/ 140 w 145"/>
              <a:gd name="T27" fmla="*/ 153 h 289"/>
              <a:gd name="T28" fmla="*/ 140 w 145"/>
              <a:gd name="T29" fmla="*/ 150 h 289"/>
              <a:gd name="T30" fmla="*/ 140 w 145"/>
              <a:gd name="T31" fmla="*/ 144 h 289"/>
              <a:gd name="T32" fmla="*/ 141 w 145"/>
              <a:gd name="T33" fmla="*/ 113 h 289"/>
              <a:gd name="T34" fmla="*/ 141 w 145"/>
              <a:gd name="T35" fmla="*/ 103 h 289"/>
              <a:gd name="T36" fmla="*/ 141 w 145"/>
              <a:gd name="T37" fmla="*/ 88 h 289"/>
              <a:gd name="T38" fmla="*/ 141 w 145"/>
              <a:gd name="T39" fmla="*/ 84 h 289"/>
              <a:gd name="T40" fmla="*/ 141 w 145"/>
              <a:gd name="T41" fmla="*/ 82 h 289"/>
              <a:gd name="T42" fmla="*/ 142 w 145"/>
              <a:gd name="T43" fmla="*/ 68 h 289"/>
              <a:gd name="T44" fmla="*/ 142 w 145"/>
              <a:gd name="T45" fmla="*/ 62 h 289"/>
              <a:gd name="T46" fmla="*/ 142 w 145"/>
              <a:gd name="T47" fmla="*/ 51 h 289"/>
              <a:gd name="T48" fmla="*/ 142 w 145"/>
              <a:gd name="T49" fmla="*/ 51 h 289"/>
              <a:gd name="T50" fmla="*/ 142 w 145"/>
              <a:gd name="T51" fmla="*/ 51 h 289"/>
              <a:gd name="T52" fmla="*/ 142 w 145"/>
              <a:gd name="T53" fmla="*/ 51 h 289"/>
              <a:gd name="T54" fmla="*/ 128 w 145"/>
              <a:gd name="T55" fmla="*/ 42 h 289"/>
              <a:gd name="T56" fmla="*/ 112 w 145"/>
              <a:gd name="T57" fmla="*/ 33 h 289"/>
              <a:gd name="T58" fmla="*/ 112 w 145"/>
              <a:gd name="T59" fmla="*/ 33 h 289"/>
              <a:gd name="T60" fmla="*/ 106 w 145"/>
              <a:gd name="T61" fmla="*/ 30 h 289"/>
              <a:gd name="T62" fmla="*/ 100 w 145"/>
              <a:gd name="T63" fmla="*/ 26 h 289"/>
              <a:gd name="T64" fmla="*/ 95 w 145"/>
              <a:gd name="T65" fmla="*/ 24 h 289"/>
              <a:gd name="T66" fmla="*/ 87 w 145"/>
              <a:gd name="T67" fmla="*/ 20 h 289"/>
              <a:gd name="T68" fmla="*/ 80 w 145"/>
              <a:gd name="T69" fmla="*/ 16 h 289"/>
              <a:gd name="T70" fmla="*/ 69 w 145"/>
              <a:gd name="T71" fmla="*/ 10 h 289"/>
              <a:gd name="T72" fmla="*/ 62 w 145"/>
              <a:gd name="T73" fmla="*/ 6 h 289"/>
              <a:gd name="T74" fmla="*/ 60 w 145"/>
              <a:gd name="T75" fmla="*/ 5 h 289"/>
              <a:gd name="T76" fmla="*/ 53 w 145"/>
              <a:gd name="T77" fmla="*/ 1 h 289"/>
              <a:gd name="T78" fmla="*/ 52 w 145"/>
              <a:gd name="T79" fmla="*/ 0 h 289"/>
              <a:gd name="T80" fmla="*/ 52 w 145"/>
              <a:gd name="T81" fmla="*/ 0 h 289"/>
              <a:gd name="T82" fmla="*/ 51 w 145"/>
              <a:gd name="T83" fmla="*/ 0 h 289"/>
              <a:gd name="T84" fmla="*/ 50 w 145"/>
              <a:gd name="T85" fmla="*/ 0 h 289"/>
              <a:gd name="T86" fmla="*/ 50 w 145"/>
              <a:gd name="T87" fmla="*/ 0 h 289"/>
              <a:gd name="T88" fmla="*/ 48 w 145"/>
              <a:gd name="T89" fmla="*/ 1 h 289"/>
              <a:gd name="T90" fmla="*/ 40 w 145"/>
              <a:gd name="T91" fmla="*/ 6 h 289"/>
              <a:gd name="T92" fmla="*/ 33 w 145"/>
              <a:gd name="T93" fmla="*/ 9 h 289"/>
              <a:gd name="T94" fmla="*/ 27 w 145"/>
              <a:gd name="T95" fmla="*/ 13 h 289"/>
              <a:gd name="T96" fmla="*/ 26 w 145"/>
              <a:gd name="T97" fmla="*/ 13 h 289"/>
              <a:gd name="T98" fmla="*/ 21 w 145"/>
              <a:gd name="T99" fmla="*/ 16 h 289"/>
              <a:gd name="T100" fmla="*/ 13 w 145"/>
              <a:gd name="T101" fmla="*/ 22 h 289"/>
              <a:gd name="T102" fmla="*/ 4 w 145"/>
              <a:gd name="T103" fmla="*/ 34 h 289"/>
              <a:gd name="T104" fmla="*/ 0 w 145"/>
              <a:gd name="T105" fmla="*/ 52 h 289"/>
              <a:gd name="T106" fmla="*/ 0 w 145"/>
              <a:gd name="T107" fmla="*/ 9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289">
                <a:moveTo>
                  <a:pt x="0" y="93"/>
                </a:moveTo>
                <a:cubicBezTo>
                  <a:pt x="10" y="175"/>
                  <a:pt x="10" y="175"/>
                  <a:pt x="10" y="175"/>
                </a:cubicBezTo>
                <a:cubicBezTo>
                  <a:pt x="10" y="175"/>
                  <a:pt x="2" y="237"/>
                  <a:pt x="1" y="250"/>
                </a:cubicBezTo>
                <a:cubicBezTo>
                  <a:pt x="1" y="252"/>
                  <a:pt x="3" y="255"/>
                  <a:pt x="6" y="259"/>
                </a:cubicBezTo>
                <a:cubicBezTo>
                  <a:pt x="18" y="272"/>
                  <a:pt x="53" y="289"/>
                  <a:pt x="100" y="289"/>
                </a:cubicBezTo>
                <a:cubicBezTo>
                  <a:pt x="109" y="289"/>
                  <a:pt x="117" y="287"/>
                  <a:pt x="123" y="284"/>
                </a:cubicBezTo>
                <a:cubicBezTo>
                  <a:pt x="134" y="281"/>
                  <a:pt x="141" y="276"/>
                  <a:pt x="144" y="273"/>
                </a:cubicBezTo>
                <a:cubicBezTo>
                  <a:pt x="145" y="273"/>
                  <a:pt x="145" y="272"/>
                  <a:pt x="145" y="272"/>
                </a:cubicBezTo>
                <a:cubicBezTo>
                  <a:pt x="138" y="226"/>
                  <a:pt x="138" y="226"/>
                  <a:pt x="138" y="226"/>
                </a:cubicBezTo>
                <a:cubicBezTo>
                  <a:pt x="138" y="215"/>
                  <a:pt x="138" y="215"/>
                  <a:pt x="138" y="215"/>
                </a:cubicBezTo>
                <a:cubicBezTo>
                  <a:pt x="139" y="165"/>
                  <a:pt x="139" y="165"/>
                  <a:pt x="139" y="165"/>
                </a:cubicBezTo>
                <a:cubicBezTo>
                  <a:pt x="140" y="160"/>
                  <a:pt x="140" y="160"/>
                  <a:pt x="140" y="160"/>
                </a:cubicBezTo>
                <a:cubicBezTo>
                  <a:pt x="140" y="159"/>
                  <a:pt x="140" y="159"/>
                  <a:pt x="140" y="159"/>
                </a:cubicBezTo>
                <a:cubicBezTo>
                  <a:pt x="140" y="153"/>
                  <a:pt x="140" y="153"/>
                  <a:pt x="140" y="153"/>
                </a:cubicBezTo>
                <a:cubicBezTo>
                  <a:pt x="140" y="150"/>
                  <a:pt x="140" y="150"/>
                  <a:pt x="140" y="150"/>
                </a:cubicBezTo>
                <a:cubicBezTo>
                  <a:pt x="140" y="144"/>
                  <a:pt x="140" y="144"/>
                  <a:pt x="140" y="144"/>
                </a:cubicBezTo>
                <a:cubicBezTo>
                  <a:pt x="141" y="113"/>
                  <a:pt x="141" y="113"/>
                  <a:pt x="141" y="113"/>
                </a:cubicBezTo>
                <a:cubicBezTo>
                  <a:pt x="141" y="103"/>
                  <a:pt x="141" y="103"/>
                  <a:pt x="141" y="103"/>
                </a:cubicBezTo>
                <a:cubicBezTo>
                  <a:pt x="141" y="88"/>
                  <a:pt x="141" y="88"/>
                  <a:pt x="141" y="88"/>
                </a:cubicBezTo>
                <a:cubicBezTo>
                  <a:pt x="141" y="84"/>
                  <a:pt x="141" y="84"/>
                  <a:pt x="141" y="84"/>
                </a:cubicBezTo>
                <a:cubicBezTo>
                  <a:pt x="141" y="82"/>
                  <a:pt x="141" y="82"/>
                  <a:pt x="141" y="82"/>
                </a:cubicBezTo>
                <a:cubicBezTo>
                  <a:pt x="142" y="68"/>
                  <a:pt x="142" y="68"/>
                  <a:pt x="142" y="68"/>
                </a:cubicBezTo>
                <a:cubicBezTo>
                  <a:pt x="142" y="62"/>
                  <a:pt x="142" y="62"/>
                  <a:pt x="142" y="62"/>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28" y="42"/>
                  <a:pt x="128" y="42"/>
                  <a:pt x="128" y="42"/>
                </a:cubicBezTo>
                <a:cubicBezTo>
                  <a:pt x="112" y="33"/>
                  <a:pt x="112" y="33"/>
                  <a:pt x="112" y="33"/>
                </a:cubicBezTo>
                <a:cubicBezTo>
                  <a:pt x="112" y="33"/>
                  <a:pt x="112" y="33"/>
                  <a:pt x="112" y="33"/>
                </a:cubicBezTo>
                <a:cubicBezTo>
                  <a:pt x="106" y="30"/>
                  <a:pt x="106" y="30"/>
                  <a:pt x="106" y="30"/>
                </a:cubicBezTo>
                <a:cubicBezTo>
                  <a:pt x="100" y="26"/>
                  <a:pt x="100" y="26"/>
                  <a:pt x="100" y="26"/>
                </a:cubicBezTo>
                <a:cubicBezTo>
                  <a:pt x="95" y="24"/>
                  <a:pt x="95" y="24"/>
                  <a:pt x="95" y="24"/>
                </a:cubicBezTo>
                <a:cubicBezTo>
                  <a:pt x="87" y="20"/>
                  <a:pt x="87" y="20"/>
                  <a:pt x="87" y="20"/>
                </a:cubicBezTo>
                <a:cubicBezTo>
                  <a:pt x="80" y="16"/>
                  <a:pt x="80" y="16"/>
                  <a:pt x="80" y="16"/>
                </a:cubicBezTo>
                <a:cubicBezTo>
                  <a:pt x="69" y="10"/>
                  <a:pt x="69" y="10"/>
                  <a:pt x="69" y="10"/>
                </a:cubicBezTo>
                <a:cubicBezTo>
                  <a:pt x="62" y="6"/>
                  <a:pt x="62" y="6"/>
                  <a:pt x="62" y="6"/>
                </a:cubicBezTo>
                <a:cubicBezTo>
                  <a:pt x="60" y="5"/>
                  <a:pt x="60" y="5"/>
                  <a:pt x="60" y="5"/>
                </a:cubicBezTo>
                <a:cubicBezTo>
                  <a:pt x="53" y="1"/>
                  <a:pt x="53" y="1"/>
                  <a:pt x="53" y="1"/>
                </a:cubicBezTo>
                <a:cubicBezTo>
                  <a:pt x="52" y="0"/>
                  <a:pt x="52" y="0"/>
                  <a:pt x="52" y="0"/>
                </a:cubicBezTo>
                <a:cubicBezTo>
                  <a:pt x="52" y="0"/>
                  <a:pt x="52" y="0"/>
                  <a:pt x="52" y="0"/>
                </a:cubicBezTo>
                <a:cubicBezTo>
                  <a:pt x="51" y="0"/>
                  <a:pt x="51" y="0"/>
                  <a:pt x="51" y="0"/>
                </a:cubicBezTo>
                <a:cubicBezTo>
                  <a:pt x="50" y="0"/>
                  <a:pt x="50" y="0"/>
                  <a:pt x="50" y="0"/>
                </a:cubicBezTo>
                <a:cubicBezTo>
                  <a:pt x="50" y="0"/>
                  <a:pt x="50" y="0"/>
                  <a:pt x="50" y="0"/>
                </a:cubicBezTo>
                <a:cubicBezTo>
                  <a:pt x="48" y="1"/>
                  <a:pt x="48" y="1"/>
                  <a:pt x="48" y="1"/>
                </a:cubicBezTo>
                <a:cubicBezTo>
                  <a:pt x="40" y="6"/>
                  <a:pt x="40" y="6"/>
                  <a:pt x="40" y="6"/>
                </a:cubicBezTo>
                <a:cubicBezTo>
                  <a:pt x="33" y="9"/>
                  <a:pt x="33" y="9"/>
                  <a:pt x="33" y="9"/>
                </a:cubicBezTo>
                <a:cubicBezTo>
                  <a:pt x="27" y="13"/>
                  <a:pt x="27" y="13"/>
                  <a:pt x="27" y="13"/>
                </a:cubicBezTo>
                <a:cubicBezTo>
                  <a:pt x="26" y="13"/>
                  <a:pt x="26" y="13"/>
                  <a:pt x="26" y="13"/>
                </a:cubicBezTo>
                <a:cubicBezTo>
                  <a:pt x="21" y="16"/>
                  <a:pt x="21" y="16"/>
                  <a:pt x="21" y="16"/>
                </a:cubicBezTo>
                <a:cubicBezTo>
                  <a:pt x="18" y="18"/>
                  <a:pt x="15" y="20"/>
                  <a:pt x="13" y="22"/>
                </a:cubicBezTo>
                <a:cubicBezTo>
                  <a:pt x="9" y="25"/>
                  <a:pt x="6" y="30"/>
                  <a:pt x="4" y="34"/>
                </a:cubicBezTo>
                <a:cubicBezTo>
                  <a:pt x="1" y="40"/>
                  <a:pt x="0" y="45"/>
                  <a:pt x="0" y="52"/>
                </a:cubicBezTo>
                <a:lnTo>
                  <a:pt x="0" y="93"/>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5" name="Freeform 1062">
            <a:extLst>
              <a:ext uri="{FF2B5EF4-FFF2-40B4-BE49-F238E27FC236}">
                <a16:creationId xmlns:a16="http://schemas.microsoft.com/office/drawing/2014/main" id="{4931A769-E474-403E-8489-550A86EBF9B3}"/>
              </a:ext>
            </a:extLst>
          </p:cNvPr>
          <p:cNvSpPr>
            <a:spLocks/>
          </p:cNvSpPr>
          <p:nvPr/>
        </p:nvSpPr>
        <p:spPr bwMode="auto">
          <a:xfrm>
            <a:off x="2938230" y="4328419"/>
            <a:ext cx="442173" cy="456437"/>
          </a:xfrm>
          <a:custGeom>
            <a:avLst/>
            <a:gdLst>
              <a:gd name="T0" fmla="*/ 29 w 161"/>
              <a:gd name="T1" fmla="*/ 0 h 167"/>
              <a:gd name="T2" fmla="*/ 91 w 161"/>
              <a:gd name="T3" fmla="*/ 98 h 167"/>
              <a:gd name="T4" fmla="*/ 139 w 161"/>
              <a:gd name="T5" fmla="*/ 52 h 167"/>
              <a:gd name="T6" fmla="*/ 161 w 161"/>
              <a:gd name="T7" fmla="*/ 67 h 167"/>
              <a:gd name="T8" fmla="*/ 66 w 161"/>
              <a:gd name="T9" fmla="*/ 150 h 167"/>
              <a:gd name="T10" fmla="*/ 0 w 161"/>
              <a:gd name="T11" fmla="*/ 72 h 167"/>
              <a:gd name="T12" fmla="*/ 29 w 161"/>
              <a:gd name="T13" fmla="*/ 0 h 167"/>
            </a:gdLst>
            <a:ahLst/>
            <a:cxnLst>
              <a:cxn ang="0">
                <a:pos x="T0" y="T1"/>
              </a:cxn>
              <a:cxn ang="0">
                <a:pos x="T2" y="T3"/>
              </a:cxn>
              <a:cxn ang="0">
                <a:pos x="T4" y="T5"/>
              </a:cxn>
              <a:cxn ang="0">
                <a:pos x="T6" y="T7"/>
              </a:cxn>
              <a:cxn ang="0">
                <a:pos x="T8" y="T9"/>
              </a:cxn>
              <a:cxn ang="0">
                <a:pos x="T10" y="T11"/>
              </a:cxn>
              <a:cxn ang="0">
                <a:pos x="T12" y="T13"/>
              </a:cxn>
            </a:cxnLst>
            <a:rect l="0" t="0" r="r" b="b"/>
            <a:pathLst>
              <a:path w="161" h="167">
                <a:moveTo>
                  <a:pt x="29" y="0"/>
                </a:moveTo>
                <a:cubicBezTo>
                  <a:pt x="36" y="6"/>
                  <a:pt x="86" y="99"/>
                  <a:pt x="91" y="98"/>
                </a:cubicBezTo>
                <a:cubicBezTo>
                  <a:pt x="96" y="96"/>
                  <a:pt x="139" y="52"/>
                  <a:pt x="139" y="52"/>
                </a:cubicBezTo>
                <a:cubicBezTo>
                  <a:pt x="161" y="67"/>
                  <a:pt x="161" y="67"/>
                  <a:pt x="161" y="67"/>
                </a:cubicBezTo>
                <a:cubicBezTo>
                  <a:pt x="161" y="67"/>
                  <a:pt x="90" y="167"/>
                  <a:pt x="66" y="150"/>
                </a:cubicBezTo>
                <a:cubicBezTo>
                  <a:pt x="42" y="134"/>
                  <a:pt x="0" y="72"/>
                  <a:pt x="0" y="72"/>
                </a:cubicBezTo>
                <a:lnTo>
                  <a:pt x="29" y="0"/>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6" name="Freeform 1063">
            <a:extLst>
              <a:ext uri="{FF2B5EF4-FFF2-40B4-BE49-F238E27FC236}">
                <a16:creationId xmlns:a16="http://schemas.microsoft.com/office/drawing/2014/main" id="{B64A7166-E4D1-4B5D-ABF8-9552CB289B58}"/>
              </a:ext>
            </a:extLst>
          </p:cNvPr>
          <p:cNvSpPr>
            <a:spLocks/>
          </p:cNvSpPr>
          <p:nvPr/>
        </p:nvSpPr>
        <p:spPr bwMode="auto">
          <a:xfrm>
            <a:off x="2759934" y="4132295"/>
            <a:ext cx="142637" cy="149768"/>
          </a:xfrm>
          <a:custGeom>
            <a:avLst/>
            <a:gdLst>
              <a:gd name="T0" fmla="*/ 35 w 40"/>
              <a:gd name="T1" fmla="*/ 3 h 42"/>
              <a:gd name="T2" fmla="*/ 40 w 40"/>
              <a:gd name="T3" fmla="*/ 42 h 42"/>
              <a:gd name="T4" fmla="*/ 0 w 40"/>
              <a:gd name="T5" fmla="*/ 35 h 42"/>
              <a:gd name="T6" fmla="*/ 6 w 40"/>
              <a:gd name="T7" fmla="*/ 0 h 42"/>
              <a:gd name="T8" fmla="*/ 35 w 40"/>
              <a:gd name="T9" fmla="*/ 3 h 42"/>
            </a:gdLst>
            <a:ahLst/>
            <a:cxnLst>
              <a:cxn ang="0">
                <a:pos x="T0" y="T1"/>
              </a:cxn>
              <a:cxn ang="0">
                <a:pos x="T2" y="T3"/>
              </a:cxn>
              <a:cxn ang="0">
                <a:pos x="T4" y="T5"/>
              </a:cxn>
              <a:cxn ang="0">
                <a:pos x="T6" y="T7"/>
              </a:cxn>
              <a:cxn ang="0">
                <a:pos x="T8" y="T9"/>
              </a:cxn>
            </a:cxnLst>
            <a:rect l="0" t="0" r="r" b="b"/>
            <a:pathLst>
              <a:path w="40" h="42">
                <a:moveTo>
                  <a:pt x="35" y="3"/>
                </a:moveTo>
                <a:lnTo>
                  <a:pt x="40" y="42"/>
                </a:lnTo>
                <a:lnTo>
                  <a:pt x="0" y="35"/>
                </a:lnTo>
                <a:lnTo>
                  <a:pt x="6" y="0"/>
                </a:lnTo>
                <a:lnTo>
                  <a:pt x="35" y="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Freeform 1064">
            <a:extLst>
              <a:ext uri="{FF2B5EF4-FFF2-40B4-BE49-F238E27FC236}">
                <a16:creationId xmlns:a16="http://schemas.microsoft.com/office/drawing/2014/main" id="{65C8C613-D581-40FF-93A0-F4956ECC0C36}"/>
              </a:ext>
            </a:extLst>
          </p:cNvPr>
          <p:cNvSpPr>
            <a:spLocks/>
          </p:cNvSpPr>
          <p:nvPr/>
        </p:nvSpPr>
        <p:spPr bwMode="auto">
          <a:xfrm>
            <a:off x="2877611" y="4053845"/>
            <a:ext cx="60622" cy="185427"/>
          </a:xfrm>
          <a:custGeom>
            <a:avLst/>
            <a:gdLst>
              <a:gd name="T0" fmla="*/ 0 w 21"/>
              <a:gd name="T1" fmla="*/ 43 h 68"/>
              <a:gd name="T2" fmla="*/ 2 w 21"/>
              <a:gd name="T3" fmla="*/ 46 h 68"/>
              <a:gd name="T4" fmla="*/ 2 w 21"/>
              <a:gd name="T5" fmla="*/ 45 h 68"/>
              <a:gd name="T6" fmla="*/ 2 w 21"/>
              <a:gd name="T7" fmla="*/ 5 h 68"/>
              <a:gd name="T8" fmla="*/ 20 w 21"/>
              <a:gd name="T9" fmla="*/ 0 h 68"/>
              <a:gd name="T10" fmla="*/ 21 w 21"/>
              <a:gd name="T11" fmla="*/ 45 h 68"/>
              <a:gd name="T12" fmla="*/ 13 w 21"/>
              <a:gd name="T13" fmla="*/ 60 h 68"/>
              <a:gd name="T14" fmla="*/ 0 w 21"/>
              <a:gd name="T15" fmla="*/ 68 h 68"/>
              <a:gd name="T16" fmla="*/ 0 w 21"/>
              <a:gd name="T17" fmla="*/ 4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8">
                <a:moveTo>
                  <a:pt x="0" y="43"/>
                </a:moveTo>
                <a:cubicBezTo>
                  <a:pt x="2" y="46"/>
                  <a:pt x="2" y="46"/>
                  <a:pt x="2" y="46"/>
                </a:cubicBezTo>
                <a:cubicBezTo>
                  <a:pt x="2" y="46"/>
                  <a:pt x="2" y="45"/>
                  <a:pt x="2" y="45"/>
                </a:cubicBezTo>
                <a:cubicBezTo>
                  <a:pt x="2" y="5"/>
                  <a:pt x="2" y="5"/>
                  <a:pt x="2" y="5"/>
                </a:cubicBezTo>
                <a:cubicBezTo>
                  <a:pt x="20" y="0"/>
                  <a:pt x="20" y="0"/>
                  <a:pt x="20" y="0"/>
                </a:cubicBezTo>
                <a:cubicBezTo>
                  <a:pt x="20" y="0"/>
                  <a:pt x="21" y="32"/>
                  <a:pt x="21" y="45"/>
                </a:cubicBezTo>
                <a:cubicBezTo>
                  <a:pt x="20" y="57"/>
                  <a:pt x="13" y="60"/>
                  <a:pt x="13" y="60"/>
                </a:cubicBezTo>
                <a:cubicBezTo>
                  <a:pt x="0" y="68"/>
                  <a:pt x="0" y="68"/>
                  <a:pt x="0" y="68"/>
                </a:cubicBezTo>
                <a:lnTo>
                  <a:pt x="0" y="4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Freeform 1065">
            <a:extLst>
              <a:ext uri="{FF2B5EF4-FFF2-40B4-BE49-F238E27FC236}">
                <a16:creationId xmlns:a16="http://schemas.microsoft.com/office/drawing/2014/main" id="{B1CB4A45-2F39-48CD-8CEB-AB8C06ADC05E}"/>
              </a:ext>
            </a:extLst>
          </p:cNvPr>
          <p:cNvSpPr>
            <a:spLocks/>
          </p:cNvSpPr>
          <p:nvPr/>
        </p:nvSpPr>
        <p:spPr bwMode="auto">
          <a:xfrm>
            <a:off x="2713579" y="3975395"/>
            <a:ext cx="228218" cy="242482"/>
          </a:xfrm>
          <a:custGeom>
            <a:avLst/>
            <a:gdLst>
              <a:gd name="T0" fmla="*/ 83 w 83"/>
              <a:gd name="T1" fmla="*/ 8 h 88"/>
              <a:gd name="T2" fmla="*/ 83 w 83"/>
              <a:gd name="T3" fmla="*/ 28 h 88"/>
              <a:gd name="T4" fmla="*/ 74 w 83"/>
              <a:gd name="T5" fmla="*/ 33 h 88"/>
              <a:gd name="T6" fmla="*/ 72 w 83"/>
              <a:gd name="T7" fmla="*/ 53 h 88"/>
              <a:gd name="T8" fmla="*/ 65 w 83"/>
              <a:gd name="T9" fmla="*/ 67 h 88"/>
              <a:gd name="T10" fmla="*/ 59 w 83"/>
              <a:gd name="T11" fmla="*/ 68 h 88"/>
              <a:gd name="T12" fmla="*/ 56 w 83"/>
              <a:gd name="T13" fmla="*/ 63 h 88"/>
              <a:gd name="T14" fmla="*/ 34 w 83"/>
              <a:gd name="T15" fmla="*/ 88 h 88"/>
              <a:gd name="T16" fmla="*/ 20 w 83"/>
              <a:gd name="T17" fmla="*/ 84 h 88"/>
              <a:gd name="T18" fmla="*/ 12 w 83"/>
              <a:gd name="T19" fmla="*/ 71 h 88"/>
              <a:gd name="T20" fmla="*/ 0 w 83"/>
              <a:gd name="T21" fmla="*/ 35 h 88"/>
              <a:gd name="T22" fmla="*/ 7 w 83"/>
              <a:gd name="T23" fmla="*/ 24 h 88"/>
              <a:gd name="T24" fmla="*/ 56 w 83"/>
              <a:gd name="T25" fmla="*/ 3 h 88"/>
              <a:gd name="T26" fmla="*/ 83 w 83"/>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88">
                <a:moveTo>
                  <a:pt x="83" y="8"/>
                </a:moveTo>
                <a:cubicBezTo>
                  <a:pt x="83" y="28"/>
                  <a:pt x="83" y="28"/>
                  <a:pt x="83" y="28"/>
                </a:cubicBezTo>
                <a:cubicBezTo>
                  <a:pt x="83" y="28"/>
                  <a:pt x="75" y="31"/>
                  <a:pt x="74" y="33"/>
                </a:cubicBezTo>
                <a:cubicBezTo>
                  <a:pt x="72" y="36"/>
                  <a:pt x="75" y="50"/>
                  <a:pt x="72" y="53"/>
                </a:cubicBezTo>
                <a:cubicBezTo>
                  <a:pt x="70" y="57"/>
                  <a:pt x="65" y="67"/>
                  <a:pt x="65" y="67"/>
                </a:cubicBezTo>
                <a:cubicBezTo>
                  <a:pt x="59" y="68"/>
                  <a:pt x="59" y="68"/>
                  <a:pt x="59" y="68"/>
                </a:cubicBezTo>
                <a:cubicBezTo>
                  <a:pt x="59" y="68"/>
                  <a:pt x="56" y="62"/>
                  <a:pt x="56" y="63"/>
                </a:cubicBezTo>
                <a:cubicBezTo>
                  <a:pt x="55" y="64"/>
                  <a:pt x="42" y="88"/>
                  <a:pt x="34" y="88"/>
                </a:cubicBezTo>
                <a:cubicBezTo>
                  <a:pt x="27" y="88"/>
                  <a:pt x="20" y="84"/>
                  <a:pt x="20" y="84"/>
                </a:cubicBezTo>
                <a:cubicBezTo>
                  <a:pt x="20" y="84"/>
                  <a:pt x="13" y="72"/>
                  <a:pt x="12" y="71"/>
                </a:cubicBezTo>
                <a:cubicBezTo>
                  <a:pt x="11" y="70"/>
                  <a:pt x="0" y="35"/>
                  <a:pt x="0" y="35"/>
                </a:cubicBezTo>
                <a:cubicBezTo>
                  <a:pt x="7" y="24"/>
                  <a:pt x="7" y="24"/>
                  <a:pt x="7" y="24"/>
                </a:cubicBezTo>
                <a:cubicBezTo>
                  <a:pt x="18" y="8"/>
                  <a:pt x="37" y="0"/>
                  <a:pt x="56" y="3"/>
                </a:cubicBezTo>
                <a:lnTo>
                  <a:pt x="83" y="8"/>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9" name="Freeform 1066">
            <a:extLst>
              <a:ext uri="{FF2B5EF4-FFF2-40B4-BE49-F238E27FC236}">
                <a16:creationId xmlns:a16="http://schemas.microsoft.com/office/drawing/2014/main" id="{83D34977-DE69-4DC7-93AA-30EBE8FAF4F9}"/>
              </a:ext>
            </a:extLst>
          </p:cNvPr>
          <p:cNvSpPr>
            <a:spLocks/>
          </p:cNvSpPr>
          <p:nvPr/>
        </p:nvSpPr>
        <p:spPr bwMode="auto">
          <a:xfrm>
            <a:off x="2734974" y="4225009"/>
            <a:ext cx="217522" cy="103410"/>
          </a:xfrm>
          <a:custGeom>
            <a:avLst/>
            <a:gdLst>
              <a:gd name="T0" fmla="*/ 79 w 79"/>
              <a:gd name="T1" fmla="*/ 25 h 37"/>
              <a:gd name="T2" fmla="*/ 59 w 79"/>
              <a:gd name="T3" fmla="*/ 9 h 37"/>
              <a:gd name="T4" fmla="*/ 10 w 79"/>
              <a:gd name="T5" fmla="*/ 0 h 37"/>
              <a:gd name="T6" fmla="*/ 2 w 79"/>
              <a:gd name="T7" fmla="*/ 8 h 37"/>
              <a:gd name="T8" fmla="*/ 79 w 79"/>
              <a:gd name="T9" fmla="*/ 25 h 37"/>
            </a:gdLst>
            <a:ahLst/>
            <a:cxnLst>
              <a:cxn ang="0">
                <a:pos x="T0" y="T1"/>
              </a:cxn>
              <a:cxn ang="0">
                <a:pos x="T2" y="T3"/>
              </a:cxn>
              <a:cxn ang="0">
                <a:pos x="T4" y="T5"/>
              </a:cxn>
              <a:cxn ang="0">
                <a:pos x="T6" y="T7"/>
              </a:cxn>
              <a:cxn ang="0">
                <a:pos x="T8" y="T9"/>
              </a:cxn>
            </a:cxnLst>
            <a:rect l="0" t="0" r="r" b="b"/>
            <a:pathLst>
              <a:path w="79" h="37">
                <a:moveTo>
                  <a:pt x="79" y="25"/>
                </a:moveTo>
                <a:cubicBezTo>
                  <a:pt x="59" y="9"/>
                  <a:pt x="59" y="9"/>
                  <a:pt x="59" y="9"/>
                </a:cubicBezTo>
                <a:cubicBezTo>
                  <a:pt x="59" y="9"/>
                  <a:pt x="15" y="21"/>
                  <a:pt x="10" y="0"/>
                </a:cubicBezTo>
                <a:cubicBezTo>
                  <a:pt x="2" y="8"/>
                  <a:pt x="2" y="8"/>
                  <a:pt x="2" y="8"/>
                </a:cubicBezTo>
                <a:cubicBezTo>
                  <a:pt x="2" y="8"/>
                  <a:pt x="0" y="37"/>
                  <a:pt x="79"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0" name="Freeform 1067">
            <a:extLst>
              <a:ext uri="{FF2B5EF4-FFF2-40B4-BE49-F238E27FC236}">
                <a16:creationId xmlns:a16="http://schemas.microsoft.com/office/drawing/2014/main" id="{09C6CAB2-A06B-42F9-A47B-925C436A99D9}"/>
              </a:ext>
            </a:extLst>
          </p:cNvPr>
          <p:cNvSpPr>
            <a:spLocks/>
          </p:cNvSpPr>
          <p:nvPr/>
        </p:nvSpPr>
        <p:spPr bwMode="auto">
          <a:xfrm>
            <a:off x="2877611" y="4114464"/>
            <a:ext cx="32094" cy="57055"/>
          </a:xfrm>
          <a:custGeom>
            <a:avLst/>
            <a:gdLst>
              <a:gd name="T0" fmla="*/ 11 w 11"/>
              <a:gd name="T1" fmla="*/ 6 h 21"/>
              <a:gd name="T2" fmla="*/ 4 w 11"/>
              <a:gd name="T3" fmla="*/ 1 h 21"/>
              <a:gd name="T4" fmla="*/ 2 w 11"/>
              <a:gd name="T5" fmla="*/ 17 h 21"/>
              <a:gd name="T6" fmla="*/ 10 w 11"/>
              <a:gd name="T7" fmla="*/ 18 h 21"/>
              <a:gd name="T8" fmla="*/ 11 w 11"/>
              <a:gd name="T9" fmla="*/ 6 h 21"/>
            </a:gdLst>
            <a:ahLst/>
            <a:cxnLst>
              <a:cxn ang="0">
                <a:pos x="T0" y="T1"/>
              </a:cxn>
              <a:cxn ang="0">
                <a:pos x="T2" y="T3"/>
              </a:cxn>
              <a:cxn ang="0">
                <a:pos x="T4" y="T5"/>
              </a:cxn>
              <a:cxn ang="0">
                <a:pos x="T6" y="T7"/>
              </a:cxn>
              <a:cxn ang="0">
                <a:pos x="T8" y="T9"/>
              </a:cxn>
            </a:cxnLst>
            <a:rect l="0" t="0" r="r" b="b"/>
            <a:pathLst>
              <a:path w="11" h="21">
                <a:moveTo>
                  <a:pt x="11" y="6"/>
                </a:moveTo>
                <a:cubicBezTo>
                  <a:pt x="11" y="6"/>
                  <a:pt x="8" y="1"/>
                  <a:pt x="4" y="1"/>
                </a:cubicBezTo>
                <a:cubicBezTo>
                  <a:pt x="0" y="0"/>
                  <a:pt x="1" y="13"/>
                  <a:pt x="2" y="17"/>
                </a:cubicBezTo>
                <a:cubicBezTo>
                  <a:pt x="4" y="21"/>
                  <a:pt x="10" y="18"/>
                  <a:pt x="10" y="18"/>
                </a:cubicBezTo>
                <a:lnTo>
                  <a:pt x="11" y="6"/>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1" name="Freeform 1068">
            <a:extLst>
              <a:ext uri="{FF2B5EF4-FFF2-40B4-BE49-F238E27FC236}">
                <a16:creationId xmlns:a16="http://schemas.microsoft.com/office/drawing/2014/main" id="{7ADD9077-5A28-497A-AF53-2F6E7F5E17F9}"/>
              </a:ext>
            </a:extLst>
          </p:cNvPr>
          <p:cNvSpPr>
            <a:spLocks/>
          </p:cNvSpPr>
          <p:nvPr/>
        </p:nvSpPr>
        <p:spPr bwMode="auto">
          <a:xfrm>
            <a:off x="2920402" y="4520978"/>
            <a:ext cx="103413" cy="445738"/>
          </a:xfrm>
          <a:custGeom>
            <a:avLst/>
            <a:gdLst>
              <a:gd name="T0" fmla="*/ 1 w 38"/>
              <a:gd name="T1" fmla="*/ 85 h 163"/>
              <a:gd name="T2" fmla="*/ 9 w 38"/>
              <a:gd name="T3" fmla="*/ 144 h 163"/>
              <a:gd name="T4" fmla="*/ 16 w 38"/>
              <a:gd name="T5" fmla="*/ 163 h 163"/>
              <a:gd name="T6" fmla="*/ 37 w 38"/>
              <a:gd name="T7" fmla="*/ 152 h 163"/>
              <a:gd name="T8" fmla="*/ 38 w 38"/>
              <a:gd name="T9" fmla="*/ 151 h 163"/>
              <a:gd name="T10" fmla="*/ 31 w 38"/>
              <a:gd name="T11" fmla="*/ 105 h 163"/>
              <a:gd name="T12" fmla="*/ 31 w 38"/>
              <a:gd name="T13" fmla="*/ 94 h 163"/>
              <a:gd name="T14" fmla="*/ 32 w 38"/>
              <a:gd name="T15" fmla="*/ 44 h 163"/>
              <a:gd name="T16" fmla="*/ 33 w 38"/>
              <a:gd name="T17" fmla="*/ 39 h 163"/>
              <a:gd name="T18" fmla="*/ 33 w 38"/>
              <a:gd name="T19" fmla="*/ 38 h 163"/>
              <a:gd name="T20" fmla="*/ 33 w 38"/>
              <a:gd name="T21" fmla="*/ 38 h 163"/>
              <a:gd name="T22" fmla="*/ 26 w 38"/>
              <a:gd name="T23" fmla="*/ 30 h 163"/>
              <a:gd name="T24" fmla="*/ 25 w 38"/>
              <a:gd name="T25" fmla="*/ 29 h 163"/>
              <a:gd name="T26" fmla="*/ 24 w 38"/>
              <a:gd name="T27" fmla="*/ 28 h 163"/>
              <a:gd name="T28" fmla="*/ 23 w 38"/>
              <a:gd name="T29" fmla="*/ 26 h 163"/>
              <a:gd name="T30" fmla="*/ 23 w 38"/>
              <a:gd name="T31" fmla="*/ 26 h 163"/>
              <a:gd name="T32" fmla="*/ 16 w 38"/>
              <a:gd name="T33" fmla="*/ 16 h 163"/>
              <a:gd name="T34" fmla="*/ 3 w 38"/>
              <a:gd name="T35" fmla="*/ 0 h 163"/>
              <a:gd name="T36" fmla="*/ 2 w 38"/>
              <a:gd name="T37" fmla="*/ 10 h 163"/>
              <a:gd name="T38" fmla="*/ 1 w 38"/>
              <a:gd name="T39" fmla="*/ 17 h 163"/>
              <a:gd name="T40" fmla="*/ 1 w 38"/>
              <a:gd name="T41" fmla="*/ 22 h 163"/>
              <a:gd name="T42" fmla="*/ 1 w 38"/>
              <a:gd name="T43" fmla="*/ 34 h 163"/>
              <a:gd name="T44" fmla="*/ 1 w 38"/>
              <a:gd name="T45" fmla="*/ 8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163">
                <a:moveTo>
                  <a:pt x="1" y="85"/>
                </a:moveTo>
                <a:cubicBezTo>
                  <a:pt x="2" y="105"/>
                  <a:pt x="5" y="126"/>
                  <a:pt x="9" y="144"/>
                </a:cubicBezTo>
                <a:cubicBezTo>
                  <a:pt x="11" y="151"/>
                  <a:pt x="14" y="158"/>
                  <a:pt x="16" y="163"/>
                </a:cubicBezTo>
                <a:cubicBezTo>
                  <a:pt x="27" y="160"/>
                  <a:pt x="34" y="155"/>
                  <a:pt x="37" y="152"/>
                </a:cubicBezTo>
                <a:cubicBezTo>
                  <a:pt x="38" y="152"/>
                  <a:pt x="38" y="151"/>
                  <a:pt x="38" y="151"/>
                </a:cubicBezTo>
                <a:cubicBezTo>
                  <a:pt x="31" y="105"/>
                  <a:pt x="31" y="105"/>
                  <a:pt x="31" y="105"/>
                </a:cubicBezTo>
                <a:cubicBezTo>
                  <a:pt x="31" y="94"/>
                  <a:pt x="31" y="94"/>
                  <a:pt x="31" y="94"/>
                </a:cubicBezTo>
                <a:cubicBezTo>
                  <a:pt x="32" y="44"/>
                  <a:pt x="32" y="44"/>
                  <a:pt x="32" y="44"/>
                </a:cubicBezTo>
                <a:cubicBezTo>
                  <a:pt x="33" y="39"/>
                  <a:pt x="33" y="39"/>
                  <a:pt x="33" y="39"/>
                </a:cubicBezTo>
                <a:cubicBezTo>
                  <a:pt x="33" y="38"/>
                  <a:pt x="33" y="38"/>
                  <a:pt x="33" y="38"/>
                </a:cubicBezTo>
                <a:cubicBezTo>
                  <a:pt x="33" y="38"/>
                  <a:pt x="33" y="38"/>
                  <a:pt x="33" y="38"/>
                </a:cubicBezTo>
                <a:cubicBezTo>
                  <a:pt x="26" y="30"/>
                  <a:pt x="26" y="30"/>
                  <a:pt x="26" y="30"/>
                </a:cubicBezTo>
                <a:cubicBezTo>
                  <a:pt x="25" y="29"/>
                  <a:pt x="25" y="29"/>
                  <a:pt x="25" y="29"/>
                </a:cubicBezTo>
                <a:cubicBezTo>
                  <a:pt x="24" y="28"/>
                  <a:pt x="24" y="28"/>
                  <a:pt x="24" y="28"/>
                </a:cubicBezTo>
                <a:cubicBezTo>
                  <a:pt x="23" y="26"/>
                  <a:pt x="23" y="26"/>
                  <a:pt x="23" y="26"/>
                </a:cubicBezTo>
                <a:cubicBezTo>
                  <a:pt x="23" y="26"/>
                  <a:pt x="23" y="26"/>
                  <a:pt x="23" y="26"/>
                </a:cubicBezTo>
                <a:cubicBezTo>
                  <a:pt x="16" y="16"/>
                  <a:pt x="16" y="16"/>
                  <a:pt x="16" y="16"/>
                </a:cubicBezTo>
                <a:cubicBezTo>
                  <a:pt x="3" y="0"/>
                  <a:pt x="3" y="0"/>
                  <a:pt x="3" y="0"/>
                </a:cubicBezTo>
                <a:cubicBezTo>
                  <a:pt x="3" y="0"/>
                  <a:pt x="2" y="3"/>
                  <a:pt x="2" y="10"/>
                </a:cubicBezTo>
                <a:cubicBezTo>
                  <a:pt x="2" y="12"/>
                  <a:pt x="2" y="15"/>
                  <a:pt x="1" y="17"/>
                </a:cubicBezTo>
                <a:cubicBezTo>
                  <a:pt x="1" y="19"/>
                  <a:pt x="1" y="21"/>
                  <a:pt x="1" y="22"/>
                </a:cubicBezTo>
                <a:cubicBezTo>
                  <a:pt x="1" y="26"/>
                  <a:pt x="1" y="30"/>
                  <a:pt x="1" y="34"/>
                </a:cubicBezTo>
                <a:cubicBezTo>
                  <a:pt x="0" y="49"/>
                  <a:pt x="0" y="66"/>
                  <a:pt x="1" y="85"/>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2" name="Freeform 1069">
            <a:extLst>
              <a:ext uri="{FF2B5EF4-FFF2-40B4-BE49-F238E27FC236}">
                <a16:creationId xmlns:a16="http://schemas.microsoft.com/office/drawing/2014/main" id="{885A4A2C-3727-4E7B-A37D-2B9C641ABA95}"/>
              </a:ext>
            </a:extLst>
          </p:cNvPr>
          <p:cNvSpPr>
            <a:spLocks/>
          </p:cNvSpPr>
          <p:nvPr/>
        </p:nvSpPr>
        <p:spPr bwMode="auto">
          <a:xfrm>
            <a:off x="3048774" y="4192914"/>
            <a:ext cx="167599" cy="89147"/>
          </a:xfrm>
          <a:custGeom>
            <a:avLst/>
            <a:gdLst>
              <a:gd name="T0" fmla="*/ 0 w 62"/>
              <a:gd name="T1" fmla="*/ 12 h 32"/>
              <a:gd name="T2" fmla="*/ 1 w 62"/>
              <a:gd name="T3" fmla="*/ 9 h 32"/>
              <a:gd name="T4" fmla="*/ 17 w 62"/>
              <a:gd name="T5" fmla="*/ 1 h 32"/>
              <a:gd name="T6" fmla="*/ 27 w 62"/>
              <a:gd name="T7" fmla="*/ 3 h 32"/>
              <a:gd name="T8" fmla="*/ 32 w 62"/>
              <a:gd name="T9" fmla="*/ 7 h 32"/>
              <a:gd name="T10" fmla="*/ 34 w 62"/>
              <a:gd name="T11" fmla="*/ 7 h 32"/>
              <a:gd name="T12" fmla="*/ 56 w 62"/>
              <a:gd name="T13" fmla="*/ 7 h 32"/>
              <a:gd name="T14" fmla="*/ 57 w 62"/>
              <a:gd name="T15" fmla="*/ 13 h 32"/>
              <a:gd name="T16" fmla="*/ 36 w 62"/>
              <a:gd name="T17" fmla="*/ 16 h 32"/>
              <a:gd name="T18" fmla="*/ 34 w 62"/>
              <a:gd name="T19" fmla="*/ 17 h 32"/>
              <a:gd name="T20" fmla="*/ 36 w 62"/>
              <a:gd name="T21" fmla="*/ 21 h 32"/>
              <a:gd name="T22" fmla="*/ 45 w 62"/>
              <a:gd name="T23" fmla="*/ 22 h 32"/>
              <a:gd name="T24" fmla="*/ 47 w 62"/>
              <a:gd name="T25" fmla="*/ 23 h 32"/>
              <a:gd name="T26" fmla="*/ 45 w 62"/>
              <a:gd name="T27" fmla="*/ 29 h 32"/>
              <a:gd name="T28" fmla="*/ 33 w 62"/>
              <a:gd name="T29" fmla="*/ 31 h 32"/>
              <a:gd name="T30" fmla="*/ 7 w 62"/>
              <a:gd name="T31" fmla="*/ 27 h 32"/>
              <a:gd name="T32" fmla="*/ 1 w 62"/>
              <a:gd name="T33" fmla="*/ 25 h 32"/>
              <a:gd name="T34" fmla="*/ 0 w 62"/>
              <a:gd name="T35"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32">
                <a:moveTo>
                  <a:pt x="0" y="12"/>
                </a:moveTo>
                <a:cubicBezTo>
                  <a:pt x="0" y="11"/>
                  <a:pt x="0" y="10"/>
                  <a:pt x="1" y="9"/>
                </a:cubicBezTo>
                <a:cubicBezTo>
                  <a:pt x="5" y="7"/>
                  <a:pt x="15" y="1"/>
                  <a:pt x="17" y="1"/>
                </a:cubicBezTo>
                <a:cubicBezTo>
                  <a:pt x="19" y="0"/>
                  <a:pt x="27" y="2"/>
                  <a:pt x="27" y="3"/>
                </a:cubicBezTo>
                <a:cubicBezTo>
                  <a:pt x="28" y="3"/>
                  <a:pt x="31" y="3"/>
                  <a:pt x="32" y="7"/>
                </a:cubicBezTo>
                <a:cubicBezTo>
                  <a:pt x="33" y="7"/>
                  <a:pt x="34" y="7"/>
                  <a:pt x="34" y="7"/>
                </a:cubicBezTo>
                <a:cubicBezTo>
                  <a:pt x="39" y="7"/>
                  <a:pt x="52" y="8"/>
                  <a:pt x="56" y="7"/>
                </a:cubicBezTo>
                <a:cubicBezTo>
                  <a:pt x="60" y="6"/>
                  <a:pt x="62" y="11"/>
                  <a:pt x="57" y="13"/>
                </a:cubicBezTo>
                <a:cubicBezTo>
                  <a:pt x="51" y="15"/>
                  <a:pt x="39" y="16"/>
                  <a:pt x="36" y="16"/>
                </a:cubicBezTo>
                <a:cubicBezTo>
                  <a:pt x="35" y="16"/>
                  <a:pt x="35" y="16"/>
                  <a:pt x="34" y="17"/>
                </a:cubicBezTo>
                <a:cubicBezTo>
                  <a:pt x="33" y="18"/>
                  <a:pt x="34" y="21"/>
                  <a:pt x="36" y="21"/>
                </a:cubicBezTo>
                <a:cubicBezTo>
                  <a:pt x="45" y="22"/>
                  <a:pt x="45" y="22"/>
                  <a:pt x="45" y="22"/>
                </a:cubicBezTo>
                <a:cubicBezTo>
                  <a:pt x="46" y="22"/>
                  <a:pt x="46" y="22"/>
                  <a:pt x="47" y="23"/>
                </a:cubicBezTo>
                <a:cubicBezTo>
                  <a:pt x="48" y="24"/>
                  <a:pt x="49" y="27"/>
                  <a:pt x="45" y="29"/>
                </a:cubicBezTo>
                <a:cubicBezTo>
                  <a:pt x="39" y="32"/>
                  <a:pt x="35" y="31"/>
                  <a:pt x="33" y="31"/>
                </a:cubicBezTo>
                <a:cubicBezTo>
                  <a:pt x="30" y="30"/>
                  <a:pt x="17" y="30"/>
                  <a:pt x="7" y="27"/>
                </a:cubicBezTo>
                <a:cubicBezTo>
                  <a:pt x="6" y="27"/>
                  <a:pt x="1" y="25"/>
                  <a:pt x="1" y="25"/>
                </a:cubicBezTo>
                <a:lnTo>
                  <a:pt x="0" y="12"/>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03" name="Picture 1070">
            <a:extLst>
              <a:ext uri="{FF2B5EF4-FFF2-40B4-BE49-F238E27FC236}">
                <a16:creationId xmlns:a16="http://schemas.microsoft.com/office/drawing/2014/main" id="{0357E154-AF9C-4157-A834-D4E3481677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19166" y="4938191"/>
            <a:ext cx="110544" cy="7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4" name="Picture 1071">
            <a:extLst>
              <a:ext uri="{FF2B5EF4-FFF2-40B4-BE49-F238E27FC236}">
                <a16:creationId xmlns:a16="http://schemas.microsoft.com/office/drawing/2014/main" id="{748F9117-FD67-41DD-8B6B-B169976635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54980" y="4699274"/>
            <a:ext cx="206823" cy="33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5" name="Picture 1072">
            <a:extLst>
              <a:ext uri="{FF2B5EF4-FFF2-40B4-BE49-F238E27FC236}">
                <a16:creationId xmlns:a16="http://schemas.microsoft.com/office/drawing/2014/main" id="{03405FBD-AFBE-4D4D-B99B-153DC3E5F8D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51567" y="4742065"/>
            <a:ext cx="228218" cy="937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6" name="Picture 1073">
            <a:extLst>
              <a:ext uri="{FF2B5EF4-FFF2-40B4-BE49-F238E27FC236}">
                <a16:creationId xmlns:a16="http://schemas.microsoft.com/office/drawing/2014/main" id="{99345BF2-8141-4E3C-8E78-53800632582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50486" y="4956019"/>
            <a:ext cx="106977" cy="7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7" name="Picture 1074">
            <a:extLst>
              <a:ext uri="{FF2B5EF4-FFF2-40B4-BE49-F238E27FC236}">
                <a16:creationId xmlns:a16="http://schemas.microsoft.com/office/drawing/2014/main" id="{E1BA265A-0860-4D2D-93DE-4F4927025A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11262" y="4709973"/>
            <a:ext cx="206823" cy="33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8" name="Picture 1075">
            <a:extLst>
              <a:ext uri="{FF2B5EF4-FFF2-40B4-BE49-F238E27FC236}">
                <a16:creationId xmlns:a16="http://schemas.microsoft.com/office/drawing/2014/main" id="{C1594C1E-8524-4C02-A39A-3AE8134612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93277" y="4759895"/>
            <a:ext cx="231785" cy="937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9" name="Picture 1076">
            <a:extLst>
              <a:ext uri="{FF2B5EF4-FFF2-40B4-BE49-F238E27FC236}">
                <a16:creationId xmlns:a16="http://schemas.microsoft.com/office/drawing/2014/main" id="{B323B63E-A824-4D67-91EF-D873FFEA37A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57927" y="4578033"/>
            <a:ext cx="164032" cy="1251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0" name="Picture 1077">
            <a:extLst>
              <a:ext uri="{FF2B5EF4-FFF2-40B4-BE49-F238E27FC236}">
                <a16:creationId xmlns:a16="http://schemas.microsoft.com/office/drawing/2014/main" id="{D192ADE0-21D0-48FF-B050-0B56E2EFAC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43817" y="4160822"/>
            <a:ext cx="338763" cy="55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 name="Picture 1078">
            <a:extLst>
              <a:ext uri="{FF2B5EF4-FFF2-40B4-BE49-F238E27FC236}">
                <a16:creationId xmlns:a16="http://schemas.microsoft.com/office/drawing/2014/main" id="{66B7F973-210E-4A53-A94B-0ED9D6C0E77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65522" y="4235705"/>
            <a:ext cx="377987" cy="159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2" name="Oval 1079">
            <a:extLst>
              <a:ext uri="{FF2B5EF4-FFF2-40B4-BE49-F238E27FC236}">
                <a16:creationId xmlns:a16="http://schemas.microsoft.com/office/drawing/2014/main" id="{303F7918-D791-4252-992C-27A2394832F9}"/>
              </a:ext>
            </a:extLst>
          </p:cNvPr>
          <p:cNvSpPr>
            <a:spLocks noChangeArrowheads="1"/>
          </p:cNvSpPr>
          <p:nvPr/>
        </p:nvSpPr>
        <p:spPr bwMode="auto">
          <a:xfrm>
            <a:off x="3323349" y="3180195"/>
            <a:ext cx="324499" cy="328064"/>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Oval 1080">
            <a:extLst>
              <a:ext uri="{FF2B5EF4-FFF2-40B4-BE49-F238E27FC236}">
                <a16:creationId xmlns:a16="http://schemas.microsoft.com/office/drawing/2014/main" id="{8DE61B31-BE46-4240-80B2-A8BD2D0E95A5}"/>
              </a:ext>
            </a:extLst>
          </p:cNvPr>
          <p:cNvSpPr>
            <a:spLocks noChangeArrowheads="1"/>
          </p:cNvSpPr>
          <p:nvPr/>
        </p:nvSpPr>
        <p:spPr bwMode="auto">
          <a:xfrm>
            <a:off x="3073735" y="2930581"/>
            <a:ext cx="823727" cy="827292"/>
          </a:xfrm>
          <a:prstGeom prst="ellipse">
            <a:avLst/>
          </a:pr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1081">
            <a:extLst>
              <a:ext uri="{FF2B5EF4-FFF2-40B4-BE49-F238E27FC236}">
                <a16:creationId xmlns:a16="http://schemas.microsoft.com/office/drawing/2014/main" id="{12004566-B7CF-4826-A9A3-8481EE4506FE}"/>
              </a:ext>
            </a:extLst>
          </p:cNvPr>
          <p:cNvSpPr>
            <a:spLocks noEditPoints="1"/>
          </p:cNvSpPr>
          <p:nvPr/>
        </p:nvSpPr>
        <p:spPr bwMode="auto">
          <a:xfrm>
            <a:off x="2984588" y="2837868"/>
            <a:ext cx="1005587" cy="1005587"/>
          </a:xfrm>
          <a:custGeom>
            <a:avLst/>
            <a:gdLst>
              <a:gd name="T0" fmla="*/ 278 w 366"/>
              <a:gd name="T1" fmla="*/ 35 h 366"/>
              <a:gd name="T2" fmla="*/ 254 w 366"/>
              <a:gd name="T3" fmla="*/ 33 h 366"/>
              <a:gd name="T4" fmla="*/ 234 w 366"/>
              <a:gd name="T5" fmla="*/ 25 h 366"/>
              <a:gd name="T6" fmla="*/ 215 w 366"/>
              <a:gd name="T7" fmla="*/ 10 h 366"/>
              <a:gd name="T8" fmla="*/ 194 w 366"/>
              <a:gd name="T9" fmla="*/ 1 h 366"/>
              <a:gd name="T10" fmla="*/ 173 w 366"/>
              <a:gd name="T11" fmla="*/ 7 h 366"/>
              <a:gd name="T12" fmla="*/ 152 w 366"/>
              <a:gd name="T13" fmla="*/ 20 h 366"/>
              <a:gd name="T14" fmla="*/ 132 w 366"/>
              <a:gd name="T15" fmla="*/ 25 h 366"/>
              <a:gd name="T16" fmla="*/ 107 w 366"/>
              <a:gd name="T17" fmla="*/ 24 h 366"/>
              <a:gd name="T18" fmla="*/ 85 w 366"/>
              <a:gd name="T19" fmla="*/ 29 h 366"/>
              <a:gd name="T20" fmla="*/ 71 w 366"/>
              <a:gd name="T21" fmla="*/ 46 h 366"/>
              <a:gd name="T22" fmla="*/ 62 w 366"/>
              <a:gd name="T23" fmla="*/ 69 h 366"/>
              <a:gd name="T24" fmla="*/ 48 w 366"/>
              <a:gd name="T25" fmla="*/ 85 h 366"/>
              <a:gd name="T26" fmla="*/ 27 w 366"/>
              <a:gd name="T27" fmla="*/ 99 h 366"/>
              <a:gd name="T28" fmla="*/ 13 w 366"/>
              <a:gd name="T29" fmla="*/ 116 h 366"/>
              <a:gd name="T30" fmla="*/ 12 w 366"/>
              <a:gd name="T31" fmla="*/ 138 h 366"/>
              <a:gd name="T32" fmla="*/ 18 w 366"/>
              <a:gd name="T33" fmla="*/ 162 h 366"/>
              <a:gd name="T34" fmla="*/ 16 w 366"/>
              <a:gd name="T35" fmla="*/ 183 h 366"/>
              <a:gd name="T36" fmla="*/ 7 w 366"/>
              <a:gd name="T37" fmla="*/ 206 h 366"/>
              <a:gd name="T38" fmla="*/ 6 w 366"/>
              <a:gd name="T39" fmla="*/ 229 h 366"/>
              <a:gd name="T40" fmla="*/ 18 w 366"/>
              <a:gd name="T41" fmla="*/ 247 h 366"/>
              <a:gd name="T42" fmla="*/ 37 w 366"/>
              <a:gd name="T43" fmla="*/ 263 h 366"/>
              <a:gd name="T44" fmla="*/ 48 w 366"/>
              <a:gd name="T45" fmla="*/ 281 h 366"/>
              <a:gd name="T46" fmla="*/ 54 w 366"/>
              <a:gd name="T47" fmla="*/ 305 h 366"/>
              <a:gd name="T48" fmla="*/ 66 w 366"/>
              <a:gd name="T49" fmla="*/ 324 h 366"/>
              <a:gd name="T50" fmla="*/ 87 w 366"/>
              <a:gd name="T51" fmla="*/ 332 h 366"/>
              <a:gd name="T52" fmla="*/ 112 w 366"/>
              <a:gd name="T53" fmla="*/ 334 h 366"/>
              <a:gd name="T54" fmla="*/ 131 w 366"/>
              <a:gd name="T55" fmla="*/ 342 h 366"/>
              <a:gd name="T56" fmla="*/ 150 w 366"/>
              <a:gd name="T57" fmla="*/ 357 h 366"/>
              <a:gd name="T58" fmla="*/ 171 w 366"/>
              <a:gd name="T59" fmla="*/ 366 h 366"/>
              <a:gd name="T60" fmla="*/ 193 w 366"/>
              <a:gd name="T61" fmla="*/ 360 h 366"/>
              <a:gd name="T62" fmla="*/ 214 w 366"/>
              <a:gd name="T63" fmla="*/ 347 h 366"/>
              <a:gd name="T64" fmla="*/ 234 w 366"/>
              <a:gd name="T65" fmla="*/ 342 h 366"/>
              <a:gd name="T66" fmla="*/ 259 w 366"/>
              <a:gd name="T67" fmla="*/ 343 h 366"/>
              <a:gd name="T68" fmla="*/ 280 w 366"/>
              <a:gd name="T69" fmla="*/ 338 h 366"/>
              <a:gd name="T70" fmla="*/ 294 w 366"/>
              <a:gd name="T71" fmla="*/ 320 h 366"/>
              <a:gd name="T72" fmla="*/ 304 w 366"/>
              <a:gd name="T73" fmla="*/ 297 h 366"/>
              <a:gd name="T74" fmla="*/ 317 w 366"/>
              <a:gd name="T75" fmla="*/ 281 h 366"/>
              <a:gd name="T76" fmla="*/ 338 w 366"/>
              <a:gd name="T77" fmla="*/ 268 h 366"/>
              <a:gd name="T78" fmla="*/ 352 w 366"/>
              <a:gd name="T79" fmla="*/ 251 h 366"/>
              <a:gd name="T80" fmla="*/ 354 w 366"/>
              <a:gd name="T81" fmla="*/ 229 h 366"/>
              <a:gd name="T82" fmla="*/ 348 w 366"/>
              <a:gd name="T83" fmla="*/ 204 h 366"/>
              <a:gd name="T84" fmla="*/ 349 w 366"/>
              <a:gd name="T85" fmla="*/ 184 h 366"/>
              <a:gd name="T86" fmla="*/ 358 w 366"/>
              <a:gd name="T87" fmla="*/ 160 h 366"/>
              <a:gd name="T88" fmla="*/ 360 w 366"/>
              <a:gd name="T89" fmla="*/ 138 h 366"/>
              <a:gd name="T90" fmla="*/ 348 w 366"/>
              <a:gd name="T91" fmla="*/ 119 h 366"/>
              <a:gd name="T92" fmla="*/ 329 w 366"/>
              <a:gd name="T93" fmla="*/ 103 h 366"/>
              <a:gd name="T94" fmla="*/ 318 w 366"/>
              <a:gd name="T95" fmla="*/ 86 h 366"/>
              <a:gd name="T96" fmla="*/ 311 w 366"/>
              <a:gd name="T97" fmla="*/ 62 h 366"/>
              <a:gd name="T98" fmla="*/ 299 w 366"/>
              <a:gd name="T99" fmla="*/ 43 h 366"/>
              <a:gd name="T100" fmla="*/ 67 w 366"/>
              <a:gd name="T101" fmla="*/ 8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6" h="366">
                <a:moveTo>
                  <a:pt x="290" y="43"/>
                </a:moveTo>
                <a:cubicBezTo>
                  <a:pt x="287" y="46"/>
                  <a:pt x="283" y="48"/>
                  <a:pt x="281" y="49"/>
                </a:cubicBezTo>
                <a:cubicBezTo>
                  <a:pt x="279" y="48"/>
                  <a:pt x="278" y="47"/>
                  <a:pt x="276" y="46"/>
                </a:cubicBezTo>
                <a:cubicBezTo>
                  <a:pt x="276" y="43"/>
                  <a:pt x="277" y="39"/>
                  <a:pt x="278" y="35"/>
                </a:cubicBezTo>
                <a:cubicBezTo>
                  <a:pt x="281" y="29"/>
                  <a:pt x="278" y="28"/>
                  <a:pt x="276" y="26"/>
                </a:cubicBezTo>
                <a:cubicBezTo>
                  <a:pt x="274" y="25"/>
                  <a:pt x="271" y="23"/>
                  <a:pt x="267" y="28"/>
                </a:cubicBezTo>
                <a:cubicBezTo>
                  <a:pt x="265" y="31"/>
                  <a:pt x="261" y="34"/>
                  <a:pt x="258" y="35"/>
                </a:cubicBezTo>
                <a:cubicBezTo>
                  <a:pt x="257" y="35"/>
                  <a:pt x="255" y="34"/>
                  <a:pt x="254" y="33"/>
                </a:cubicBezTo>
                <a:cubicBezTo>
                  <a:pt x="253" y="30"/>
                  <a:pt x="253" y="26"/>
                  <a:pt x="254" y="22"/>
                </a:cubicBezTo>
                <a:cubicBezTo>
                  <a:pt x="256" y="16"/>
                  <a:pt x="252" y="15"/>
                  <a:pt x="250" y="14"/>
                </a:cubicBezTo>
                <a:cubicBezTo>
                  <a:pt x="248" y="13"/>
                  <a:pt x="245" y="11"/>
                  <a:pt x="242" y="17"/>
                </a:cubicBezTo>
                <a:cubicBezTo>
                  <a:pt x="240" y="20"/>
                  <a:pt x="237" y="24"/>
                  <a:pt x="234" y="25"/>
                </a:cubicBezTo>
                <a:cubicBezTo>
                  <a:pt x="233" y="25"/>
                  <a:pt x="231" y="24"/>
                  <a:pt x="229" y="24"/>
                </a:cubicBezTo>
                <a:cubicBezTo>
                  <a:pt x="228" y="21"/>
                  <a:pt x="228" y="17"/>
                  <a:pt x="228" y="12"/>
                </a:cubicBezTo>
                <a:cubicBezTo>
                  <a:pt x="228" y="6"/>
                  <a:pt x="225" y="6"/>
                  <a:pt x="223" y="5"/>
                </a:cubicBezTo>
                <a:cubicBezTo>
                  <a:pt x="220" y="5"/>
                  <a:pt x="217" y="4"/>
                  <a:pt x="215" y="10"/>
                </a:cubicBezTo>
                <a:cubicBezTo>
                  <a:pt x="214" y="13"/>
                  <a:pt x="211" y="17"/>
                  <a:pt x="209" y="19"/>
                </a:cubicBezTo>
                <a:cubicBezTo>
                  <a:pt x="207" y="19"/>
                  <a:pt x="205" y="19"/>
                  <a:pt x="204" y="18"/>
                </a:cubicBezTo>
                <a:cubicBezTo>
                  <a:pt x="202" y="16"/>
                  <a:pt x="201" y="12"/>
                  <a:pt x="201" y="8"/>
                </a:cubicBezTo>
                <a:cubicBezTo>
                  <a:pt x="200" y="1"/>
                  <a:pt x="197" y="1"/>
                  <a:pt x="194" y="1"/>
                </a:cubicBezTo>
                <a:cubicBezTo>
                  <a:pt x="192" y="1"/>
                  <a:pt x="189" y="0"/>
                  <a:pt x="187" y="7"/>
                </a:cubicBezTo>
                <a:cubicBezTo>
                  <a:pt x="187" y="11"/>
                  <a:pt x="185" y="15"/>
                  <a:pt x="183" y="17"/>
                </a:cubicBezTo>
                <a:cubicBezTo>
                  <a:pt x="181" y="17"/>
                  <a:pt x="179" y="17"/>
                  <a:pt x="178" y="17"/>
                </a:cubicBezTo>
                <a:cubicBezTo>
                  <a:pt x="176" y="15"/>
                  <a:pt x="174" y="11"/>
                  <a:pt x="173" y="7"/>
                </a:cubicBezTo>
                <a:cubicBezTo>
                  <a:pt x="171" y="1"/>
                  <a:pt x="168" y="1"/>
                  <a:pt x="166" y="2"/>
                </a:cubicBezTo>
                <a:cubicBezTo>
                  <a:pt x="163" y="2"/>
                  <a:pt x="160" y="2"/>
                  <a:pt x="160" y="8"/>
                </a:cubicBezTo>
                <a:cubicBezTo>
                  <a:pt x="159" y="12"/>
                  <a:pt x="158" y="17"/>
                  <a:pt x="157" y="19"/>
                </a:cubicBezTo>
                <a:cubicBezTo>
                  <a:pt x="155" y="19"/>
                  <a:pt x="153" y="20"/>
                  <a:pt x="152" y="20"/>
                </a:cubicBezTo>
                <a:cubicBezTo>
                  <a:pt x="149" y="18"/>
                  <a:pt x="147" y="14"/>
                  <a:pt x="145" y="11"/>
                </a:cubicBezTo>
                <a:cubicBezTo>
                  <a:pt x="143" y="5"/>
                  <a:pt x="140" y="6"/>
                  <a:pt x="138" y="7"/>
                </a:cubicBezTo>
                <a:cubicBezTo>
                  <a:pt x="135" y="7"/>
                  <a:pt x="132" y="8"/>
                  <a:pt x="133" y="14"/>
                </a:cubicBezTo>
                <a:cubicBezTo>
                  <a:pt x="133" y="18"/>
                  <a:pt x="133" y="23"/>
                  <a:pt x="132" y="25"/>
                </a:cubicBezTo>
                <a:cubicBezTo>
                  <a:pt x="130" y="26"/>
                  <a:pt x="128" y="26"/>
                  <a:pt x="126" y="27"/>
                </a:cubicBezTo>
                <a:cubicBezTo>
                  <a:pt x="124" y="26"/>
                  <a:pt x="121" y="22"/>
                  <a:pt x="119" y="19"/>
                </a:cubicBezTo>
                <a:cubicBezTo>
                  <a:pt x="116" y="13"/>
                  <a:pt x="113" y="15"/>
                  <a:pt x="110" y="16"/>
                </a:cubicBezTo>
                <a:cubicBezTo>
                  <a:pt x="108" y="17"/>
                  <a:pt x="105" y="18"/>
                  <a:pt x="107" y="24"/>
                </a:cubicBezTo>
                <a:cubicBezTo>
                  <a:pt x="108" y="28"/>
                  <a:pt x="108" y="32"/>
                  <a:pt x="107" y="35"/>
                </a:cubicBezTo>
                <a:cubicBezTo>
                  <a:pt x="106" y="36"/>
                  <a:pt x="104" y="37"/>
                  <a:pt x="103" y="38"/>
                </a:cubicBezTo>
                <a:cubicBezTo>
                  <a:pt x="100" y="37"/>
                  <a:pt x="96" y="34"/>
                  <a:pt x="94" y="31"/>
                </a:cubicBezTo>
                <a:cubicBezTo>
                  <a:pt x="90" y="26"/>
                  <a:pt x="87" y="28"/>
                  <a:pt x="85" y="29"/>
                </a:cubicBezTo>
                <a:cubicBezTo>
                  <a:pt x="83" y="30"/>
                  <a:pt x="80" y="32"/>
                  <a:pt x="83" y="38"/>
                </a:cubicBezTo>
                <a:cubicBezTo>
                  <a:pt x="84" y="41"/>
                  <a:pt x="85" y="46"/>
                  <a:pt x="85" y="49"/>
                </a:cubicBezTo>
                <a:cubicBezTo>
                  <a:pt x="84" y="50"/>
                  <a:pt x="82" y="51"/>
                  <a:pt x="81" y="52"/>
                </a:cubicBezTo>
                <a:cubicBezTo>
                  <a:pt x="78" y="51"/>
                  <a:pt x="74" y="49"/>
                  <a:pt x="71" y="46"/>
                </a:cubicBezTo>
                <a:cubicBezTo>
                  <a:pt x="66" y="42"/>
                  <a:pt x="64" y="45"/>
                  <a:pt x="62" y="46"/>
                </a:cubicBezTo>
                <a:cubicBezTo>
                  <a:pt x="60" y="48"/>
                  <a:pt x="58" y="50"/>
                  <a:pt x="61" y="55"/>
                </a:cubicBezTo>
                <a:cubicBezTo>
                  <a:pt x="63" y="59"/>
                  <a:pt x="65" y="63"/>
                  <a:pt x="65" y="66"/>
                </a:cubicBezTo>
                <a:cubicBezTo>
                  <a:pt x="64" y="67"/>
                  <a:pt x="63" y="68"/>
                  <a:pt x="62" y="69"/>
                </a:cubicBezTo>
                <a:cubicBezTo>
                  <a:pt x="59" y="69"/>
                  <a:pt x="54" y="68"/>
                  <a:pt x="51" y="66"/>
                </a:cubicBezTo>
                <a:cubicBezTo>
                  <a:pt x="46" y="62"/>
                  <a:pt x="44" y="65"/>
                  <a:pt x="42" y="67"/>
                </a:cubicBezTo>
                <a:cubicBezTo>
                  <a:pt x="41" y="69"/>
                  <a:pt x="38" y="71"/>
                  <a:pt x="42" y="76"/>
                </a:cubicBezTo>
                <a:cubicBezTo>
                  <a:pt x="45" y="79"/>
                  <a:pt x="48" y="83"/>
                  <a:pt x="48" y="85"/>
                </a:cubicBezTo>
                <a:cubicBezTo>
                  <a:pt x="47" y="87"/>
                  <a:pt x="46" y="88"/>
                  <a:pt x="45" y="90"/>
                </a:cubicBezTo>
                <a:cubicBezTo>
                  <a:pt x="42" y="90"/>
                  <a:pt x="38" y="89"/>
                  <a:pt x="34" y="88"/>
                </a:cubicBezTo>
                <a:cubicBezTo>
                  <a:pt x="28" y="85"/>
                  <a:pt x="27" y="88"/>
                  <a:pt x="26" y="90"/>
                </a:cubicBezTo>
                <a:cubicBezTo>
                  <a:pt x="24" y="92"/>
                  <a:pt x="22" y="95"/>
                  <a:pt x="27" y="99"/>
                </a:cubicBezTo>
                <a:cubicBezTo>
                  <a:pt x="30" y="102"/>
                  <a:pt x="34" y="105"/>
                  <a:pt x="35" y="108"/>
                </a:cubicBezTo>
                <a:cubicBezTo>
                  <a:pt x="34" y="109"/>
                  <a:pt x="33" y="111"/>
                  <a:pt x="32" y="113"/>
                </a:cubicBezTo>
                <a:cubicBezTo>
                  <a:pt x="29" y="113"/>
                  <a:pt x="25" y="113"/>
                  <a:pt x="21" y="112"/>
                </a:cubicBezTo>
                <a:cubicBezTo>
                  <a:pt x="15" y="110"/>
                  <a:pt x="14" y="114"/>
                  <a:pt x="13" y="116"/>
                </a:cubicBezTo>
                <a:cubicBezTo>
                  <a:pt x="12" y="118"/>
                  <a:pt x="11" y="121"/>
                  <a:pt x="16" y="124"/>
                </a:cubicBezTo>
                <a:cubicBezTo>
                  <a:pt x="20" y="126"/>
                  <a:pt x="23" y="129"/>
                  <a:pt x="25" y="132"/>
                </a:cubicBezTo>
                <a:cubicBezTo>
                  <a:pt x="24" y="133"/>
                  <a:pt x="23" y="135"/>
                  <a:pt x="23" y="137"/>
                </a:cubicBezTo>
                <a:cubicBezTo>
                  <a:pt x="20" y="138"/>
                  <a:pt x="16" y="138"/>
                  <a:pt x="12" y="138"/>
                </a:cubicBezTo>
                <a:cubicBezTo>
                  <a:pt x="5" y="138"/>
                  <a:pt x="5" y="141"/>
                  <a:pt x="5" y="143"/>
                </a:cubicBezTo>
                <a:cubicBezTo>
                  <a:pt x="4" y="146"/>
                  <a:pt x="3" y="149"/>
                  <a:pt x="9" y="151"/>
                </a:cubicBezTo>
                <a:cubicBezTo>
                  <a:pt x="13" y="153"/>
                  <a:pt x="17" y="155"/>
                  <a:pt x="18" y="157"/>
                </a:cubicBezTo>
                <a:cubicBezTo>
                  <a:pt x="18" y="159"/>
                  <a:pt x="18" y="161"/>
                  <a:pt x="18" y="162"/>
                </a:cubicBezTo>
                <a:cubicBezTo>
                  <a:pt x="15" y="164"/>
                  <a:pt x="11" y="165"/>
                  <a:pt x="7" y="166"/>
                </a:cubicBezTo>
                <a:cubicBezTo>
                  <a:pt x="0" y="166"/>
                  <a:pt x="1" y="169"/>
                  <a:pt x="0" y="172"/>
                </a:cubicBezTo>
                <a:cubicBezTo>
                  <a:pt x="0" y="174"/>
                  <a:pt x="0" y="177"/>
                  <a:pt x="6" y="179"/>
                </a:cubicBezTo>
                <a:cubicBezTo>
                  <a:pt x="10" y="180"/>
                  <a:pt x="14" y="181"/>
                  <a:pt x="16" y="183"/>
                </a:cubicBezTo>
                <a:cubicBezTo>
                  <a:pt x="16" y="185"/>
                  <a:pt x="16" y="187"/>
                  <a:pt x="16" y="189"/>
                </a:cubicBezTo>
                <a:cubicBezTo>
                  <a:pt x="14" y="190"/>
                  <a:pt x="10" y="192"/>
                  <a:pt x="6" y="193"/>
                </a:cubicBezTo>
                <a:cubicBezTo>
                  <a:pt x="0" y="195"/>
                  <a:pt x="1" y="198"/>
                  <a:pt x="1" y="200"/>
                </a:cubicBezTo>
                <a:cubicBezTo>
                  <a:pt x="1" y="203"/>
                  <a:pt x="1" y="206"/>
                  <a:pt x="7" y="206"/>
                </a:cubicBezTo>
                <a:cubicBezTo>
                  <a:pt x="11" y="207"/>
                  <a:pt x="16" y="208"/>
                  <a:pt x="18" y="209"/>
                </a:cubicBezTo>
                <a:cubicBezTo>
                  <a:pt x="19" y="211"/>
                  <a:pt x="19" y="213"/>
                  <a:pt x="19" y="214"/>
                </a:cubicBezTo>
                <a:cubicBezTo>
                  <a:pt x="18" y="217"/>
                  <a:pt x="14" y="219"/>
                  <a:pt x="10" y="221"/>
                </a:cubicBezTo>
                <a:cubicBezTo>
                  <a:pt x="4" y="223"/>
                  <a:pt x="5" y="226"/>
                  <a:pt x="6" y="229"/>
                </a:cubicBezTo>
                <a:cubicBezTo>
                  <a:pt x="6" y="231"/>
                  <a:pt x="7" y="234"/>
                  <a:pt x="13" y="234"/>
                </a:cubicBezTo>
                <a:cubicBezTo>
                  <a:pt x="17" y="233"/>
                  <a:pt x="22" y="233"/>
                  <a:pt x="24" y="235"/>
                </a:cubicBezTo>
                <a:cubicBezTo>
                  <a:pt x="25" y="236"/>
                  <a:pt x="26" y="238"/>
                  <a:pt x="26" y="240"/>
                </a:cubicBezTo>
                <a:cubicBezTo>
                  <a:pt x="25" y="242"/>
                  <a:pt x="21" y="245"/>
                  <a:pt x="18" y="247"/>
                </a:cubicBezTo>
                <a:cubicBezTo>
                  <a:pt x="12" y="251"/>
                  <a:pt x="14" y="254"/>
                  <a:pt x="15" y="256"/>
                </a:cubicBezTo>
                <a:cubicBezTo>
                  <a:pt x="16" y="258"/>
                  <a:pt x="17" y="261"/>
                  <a:pt x="23" y="259"/>
                </a:cubicBezTo>
                <a:cubicBezTo>
                  <a:pt x="27" y="258"/>
                  <a:pt x="32" y="258"/>
                  <a:pt x="34" y="259"/>
                </a:cubicBezTo>
                <a:cubicBezTo>
                  <a:pt x="35" y="260"/>
                  <a:pt x="36" y="262"/>
                  <a:pt x="37" y="263"/>
                </a:cubicBezTo>
                <a:cubicBezTo>
                  <a:pt x="36" y="266"/>
                  <a:pt x="33" y="270"/>
                  <a:pt x="30" y="272"/>
                </a:cubicBezTo>
                <a:cubicBezTo>
                  <a:pt x="25" y="276"/>
                  <a:pt x="27" y="279"/>
                  <a:pt x="28" y="281"/>
                </a:cubicBezTo>
                <a:cubicBezTo>
                  <a:pt x="30" y="283"/>
                  <a:pt x="31" y="286"/>
                  <a:pt x="37" y="283"/>
                </a:cubicBezTo>
                <a:cubicBezTo>
                  <a:pt x="41" y="282"/>
                  <a:pt x="45" y="281"/>
                  <a:pt x="48" y="281"/>
                </a:cubicBezTo>
                <a:cubicBezTo>
                  <a:pt x="49" y="282"/>
                  <a:pt x="50" y="284"/>
                  <a:pt x="51" y="285"/>
                </a:cubicBezTo>
                <a:cubicBezTo>
                  <a:pt x="51" y="288"/>
                  <a:pt x="48" y="292"/>
                  <a:pt x="46" y="295"/>
                </a:cubicBezTo>
                <a:cubicBezTo>
                  <a:pt x="41" y="300"/>
                  <a:pt x="44" y="302"/>
                  <a:pt x="46" y="304"/>
                </a:cubicBezTo>
                <a:cubicBezTo>
                  <a:pt x="47" y="306"/>
                  <a:pt x="49" y="309"/>
                  <a:pt x="54" y="305"/>
                </a:cubicBezTo>
                <a:cubicBezTo>
                  <a:pt x="58" y="303"/>
                  <a:pt x="62" y="301"/>
                  <a:pt x="65" y="301"/>
                </a:cubicBezTo>
                <a:cubicBezTo>
                  <a:pt x="66" y="302"/>
                  <a:pt x="67" y="303"/>
                  <a:pt x="69" y="305"/>
                </a:cubicBezTo>
                <a:cubicBezTo>
                  <a:pt x="69" y="307"/>
                  <a:pt x="67" y="312"/>
                  <a:pt x="65" y="315"/>
                </a:cubicBezTo>
                <a:cubicBezTo>
                  <a:pt x="61" y="321"/>
                  <a:pt x="64" y="322"/>
                  <a:pt x="66" y="324"/>
                </a:cubicBezTo>
                <a:cubicBezTo>
                  <a:pt x="68" y="325"/>
                  <a:pt x="70" y="328"/>
                  <a:pt x="75" y="324"/>
                </a:cubicBezTo>
                <a:cubicBezTo>
                  <a:pt x="78" y="321"/>
                  <a:pt x="82" y="318"/>
                  <a:pt x="85" y="318"/>
                </a:cubicBezTo>
                <a:cubicBezTo>
                  <a:pt x="86" y="319"/>
                  <a:pt x="88" y="320"/>
                  <a:pt x="89" y="321"/>
                </a:cubicBezTo>
                <a:cubicBezTo>
                  <a:pt x="89" y="324"/>
                  <a:pt x="88" y="328"/>
                  <a:pt x="87" y="332"/>
                </a:cubicBezTo>
                <a:cubicBezTo>
                  <a:pt x="84" y="338"/>
                  <a:pt x="88" y="339"/>
                  <a:pt x="90" y="340"/>
                </a:cubicBezTo>
                <a:cubicBezTo>
                  <a:pt x="92" y="342"/>
                  <a:pt x="94" y="344"/>
                  <a:pt x="98" y="339"/>
                </a:cubicBezTo>
                <a:cubicBezTo>
                  <a:pt x="101" y="336"/>
                  <a:pt x="104" y="332"/>
                  <a:pt x="107" y="332"/>
                </a:cubicBezTo>
                <a:cubicBezTo>
                  <a:pt x="109" y="332"/>
                  <a:pt x="110" y="333"/>
                  <a:pt x="112" y="334"/>
                </a:cubicBezTo>
                <a:cubicBezTo>
                  <a:pt x="113" y="337"/>
                  <a:pt x="112" y="341"/>
                  <a:pt x="111" y="345"/>
                </a:cubicBezTo>
                <a:cubicBezTo>
                  <a:pt x="110" y="351"/>
                  <a:pt x="113" y="352"/>
                  <a:pt x="115" y="353"/>
                </a:cubicBezTo>
                <a:cubicBezTo>
                  <a:pt x="117" y="354"/>
                  <a:pt x="120" y="356"/>
                  <a:pt x="124" y="350"/>
                </a:cubicBezTo>
                <a:cubicBezTo>
                  <a:pt x="126" y="347"/>
                  <a:pt x="129" y="343"/>
                  <a:pt x="131" y="342"/>
                </a:cubicBezTo>
                <a:cubicBezTo>
                  <a:pt x="133" y="342"/>
                  <a:pt x="134" y="343"/>
                  <a:pt x="136" y="343"/>
                </a:cubicBezTo>
                <a:cubicBezTo>
                  <a:pt x="137" y="346"/>
                  <a:pt x="138" y="350"/>
                  <a:pt x="138" y="354"/>
                </a:cubicBezTo>
                <a:cubicBezTo>
                  <a:pt x="137" y="361"/>
                  <a:pt x="140" y="361"/>
                  <a:pt x="143" y="362"/>
                </a:cubicBezTo>
                <a:cubicBezTo>
                  <a:pt x="145" y="362"/>
                  <a:pt x="148" y="363"/>
                  <a:pt x="150" y="357"/>
                </a:cubicBezTo>
                <a:cubicBezTo>
                  <a:pt x="152" y="353"/>
                  <a:pt x="154" y="349"/>
                  <a:pt x="156" y="348"/>
                </a:cubicBezTo>
                <a:cubicBezTo>
                  <a:pt x="158" y="348"/>
                  <a:pt x="160" y="348"/>
                  <a:pt x="162" y="348"/>
                </a:cubicBezTo>
                <a:cubicBezTo>
                  <a:pt x="163" y="351"/>
                  <a:pt x="164" y="355"/>
                  <a:pt x="165" y="359"/>
                </a:cubicBezTo>
                <a:cubicBezTo>
                  <a:pt x="165" y="366"/>
                  <a:pt x="169" y="365"/>
                  <a:pt x="171" y="366"/>
                </a:cubicBezTo>
                <a:cubicBezTo>
                  <a:pt x="173" y="366"/>
                  <a:pt x="177" y="366"/>
                  <a:pt x="178" y="360"/>
                </a:cubicBezTo>
                <a:cubicBezTo>
                  <a:pt x="179" y="356"/>
                  <a:pt x="181" y="352"/>
                  <a:pt x="182" y="350"/>
                </a:cubicBezTo>
                <a:cubicBezTo>
                  <a:pt x="184" y="350"/>
                  <a:pt x="186" y="350"/>
                  <a:pt x="188" y="350"/>
                </a:cubicBezTo>
                <a:cubicBezTo>
                  <a:pt x="190" y="352"/>
                  <a:pt x="192" y="356"/>
                  <a:pt x="193" y="360"/>
                </a:cubicBezTo>
                <a:cubicBezTo>
                  <a:pt x="194" y="366"/>
                  <a:pt x="197" y="365"/>
                  <a:pt x="200" y="365"/>
                </a:cubicBezTo>
                <a:cubicBezTo>
                  <a:pt x="202" y="365"/>
                  <a:pt x="205" y="365"/>
                  <a:pt x="206" y="359"/>
                </a:cubicBezTo>
                <a:cubicBezTo>
                  <a:pt x="206" y="355"/>
                  <a:pt x="207" y="350"/>
                  <a:pt x="208" y="348"/>
                </a:cubicBezTo>
                <a:cubicBezTo>
                  <a:pt x="210" y="347"/>
                  <a:pt x="212" y="347"/>
                  <a:pt x="214" y="347"/>
                </a:cubicBezTo>
                <a:cubicBezTo>
                  <a:pt x="216" y="349"/>
                  <a:pt x="218" y="353"/>
                  <a:pt x="220" y="356"/>
                </a:cubicBezTo>
                <a:cubicBezTo>
                  <a:pt x="222" y="362"/>
                  <a:pt x="226" y="361"/>
                  <a:pt x="228" y="360"/>
                </a:cubicBezTo>
                <a:cubicBezTo>
                  <a:pt x="230" y="360"/>
                  <a:pt x="234" y="359"/>
                  <a:pt x="233" y="353"/>
                </a:cubicBezTo>
                <a:cubicBezTo>
                  <a:pt x="232" y="349"/>
                  <a:pt x="233" y="344"/>
                  <a:pt x="234" y="342"/>
                </a:cubicBezTo>
                <a:cubicBezTo>
                  <a:pt x="236" y="341"/>
                  <a:pt x="237" y="341"/>
                  <a:pt x="239" y="340"/>
                </a:cubicBezTo>
                <a:cubicBezTo>
                  <a:pt x="241" y="341"/>
                  <a:pt x="244" y="345"/>
                  <a:pt x="247" y="348"/>
                </a:cubicBezTo>
                <a:cubicBezTo>
                  <a:pt x="250" y="354"/>
                  <a:pt x="253" y="352"/>
                  <a:pt x="255" y="351"/>
                </a:cubicBezTo>
                <a:cubicBezTo>
                  <a:pt x="257" y="350"/>
                  <a:pt x="260" y="349"/>
                  <a:pt x="259" y="343"/>
                </a:cubicBezTo>
                <a:cubicBezTo>
                  <a:pt x="258" y="339"/>
                  <a:pt x="257" y="335"/>
                  <a:pt x="258" y="332"/>
                </a:cubicBezTo>
                <a:cubicBezTo>
                  <a:pt x="260" y="331"/>
                  <a:pt x="261" y="330"/>
                  <a:pt x="263" y="329"/>
                </a:cubicBezTo>
                <a:cubicBezTo>
                  <a:pt x="265" y="330"/>
                  <a:pt x="269" y="333"/>
                  <a:pt x="272" y="336"/>
                </a:cubicBezTo>
                <a:cubicBezTo>
                  <a:pt x="276" y="341"/>
                  <a:pt x="278" y="339"/>
                  <a:pt x="280" y="338"/>
                </a:cubicBezTo>
                <a:cubicBezTo>
                  <a:pt x="282" y="336"/>
                  <a:pt x="285" y="335"/>
                  <a:pt x="283" y="329"/>
                </a:cubicBezTo>
                <a:cubicBezTo>
                  <a:pt x="281" y="326"/>
                  <a:pt x="280" y="321"/>
                  <a:pt x="280" y="318"/>
                </a:cubicBezTo>
                <a:cubicBezTo>
                  <a:pt x="282" y="317"/>
                  <a:pt x="283" y="316"/>
                  <a:pt x="285" y="315"/>
                </a:cubicBezTo>
                <a:cubicBezTo>
                  <a:pt x="287" y="315"/>
                  <a:pt x="291" y="318"/>
                  <a:pt x="294" y="320"/>
                </a:cubicBezTo>
                <a:cubicBezTo>
                  <a:pt x="299" y="325"/>
                  <a:pt x="301" y="322"/>
                  <a:pt x="303" y="321"/>
                </a:cubicBezTo>
                <a:cubicBezTo>
                  <a:pt x="305" y="319"/>
                  <a:pt x="308" y="317"/>
                  <a:pt x="304" y="312"/>
                </a:cubicBezTo>
                <a:cubicBezTo>
                  <a:pt x="302" y="308"/>
                  <a:pt x="300" y="304"/>
                  <a:pt x="300" y="301"/>
                </a:cubicBezTo>
                <a:cubicBezTo>
                  <a:pt x="301" y="300"/>
                  <a:pt x="303" y="299"/>
                  <a:pt x="304" y="297"/>
                </a:cubicBezTo>
                <a:cubicBezTo>
                  <a:pt x="307" y="297"/>
                  <a:pt x="311" y="299"/>
                  <a:pt x="314" y="301"/>
                </a:cubicBezTo>
                <a:cubicBezTo>
                  <a:pt x="320" y="305"/>
                  <a:pt x="322" y="302"/>
                  <a:pt x="323" y="300"/>
                </a:cubicBezTo>
                <a:cubicBezTo>
                  <a:pt x="325" y="298"/>
                  <a:pt x="327" y="296"/>
                  <a:pt x="323" y="291"/>
                </a:cubicBezTo>
                <a:cubicBezTo>
                  <a:pt x="320" y="288"/>
                  <a:pt x="318" y="284"/>
                  <a:pt x="317" y="281"/>
                </a:cubicBezTo>
                <a:cubicBezTo>
                  <a:pt x="318" y="280"/>
                  <a:pt x="319" y="279"/>
                  <a:pt x="320" y="277"/>
                </a:cubicBezTo>
                <a:cubicBezTo>
                  <a:pt x="323" y="277"/>
                  <a:pt x="328" y="278"/>
                  <a:pt x="331" y="279"/>
                </a:cubicBezTo>
                <a:cubicBezTo>
                  <a:pt x="337" y="282"/>
                  <a:pt x="339" y="279"/>
                  <a:pt x="340" y="277"/>
                </a:cubicBezTo>
                <a:cubicBezTo>
                  <a:pt x="341" y="275"/>
                  <a:pt x="343" y="272"/>
                  <a:pt x="338" y="268"/>
                </a:cubicBezTo>
                <a:cubicBezTo>
                  <a:pt x="335" y="265"/>
                  <a:pt x="332" y="262"/>
                  <a:pt x="331" y="259"/>
                </a:cubicBezTo>
                <a:cubicBezTo>
                  <a:pt x="332" y="258"/>
                  <a:pt x="332" y="256"/>
                  <a:pt x="333" y="254"/>
                </a:cubicBezTo>
                <a:cubicBezTo>
                  <a:pt x="336" y="254"/>
                  <a:pt x="341" y="254"/>
                  <a:pt x="344" y="255"/>
                </a:cubicBezTo>
                <a:cubicBezTo>
                  <a:pt x="351" y="256"/>
                  <a:pt x="351" y="253"/>
                  <a:pt x="352" y="251"/>
                </a:cubicBezTo>
                <a:cubicBezTo>
                  <a:pt x="353" y="249"/>
                  <a:pt x="355" y="246"/>
                  <a:pt x="349" y="243"/>
                </a:cubicBezTo>
                <a:cubicBezTo>
                  <a:pt x="346" y="240"/>
                  <a:pt x="342" y="238"/>
                  <a:pt x="341" y="235"/>
                </a:cubicBezTo>
                <a:cubicBezTo>
                  <a:pt x="341" y="233"/>
                  <a:pt x="342" y="232"/>
                  <a:pt x="342" y="230"/>
                </a:cubicBezTo>
                <a:cubicBezTo>
                  <a:pt x="345" y="229"/>
                  <a:pt x="350" y="228"/>
                  <a:pt x="354" y="229"/>
                </a:cubicBezTo>
                <a:cubicBezTo>
                  <a:pt x="360" y="229"/>
                  <a:pt x="360" y="226"/>
                  <a:pt x="361" y="223"/>
                </a:cubicBezTo>
                <a:cubicBezTo>
                  <a:pt x="361" y="221"/>
                  <a:pt x="362" y="218"/>
                  <a:pt x="357" y="216"/>
                </a:cubicBezTo>
                <a:cubicBezTo>
                  <a:pt x="353" y="214"/>
                  <a:pt x="349" y="212"/>
                  <a:pt x="347" y="210"/>
                </a:cubicBezTo>
                <a:cubicBezTo>
                  <a:pt x="347" y="208"/>
                  <a:pt x="347" y="206"/>
                  <a:pt x="348" y="204"/>
                </a:cubicBezTo>
                <a:cubicBezTo>
                  <a:pt x="350" y="203"/>
                  <a:pt x="355" y="202"/>
                  <a:pt x="359" y="201"/>
                </a:cubicBezTo>
                <a:cubicBezTo>
                  <a:pt x="365" y="201"/>
                  <a:pt x="365" y="197"/>
                  <a:pt x="365" y="195"/>
                </a:cubicBezTo>
                <a:cubicBezTo>
                  <a:pt x="365" y="193"/>
                  <a:pt x="366" y="189"/>
                  <a:pt x="359" y="188"/>
                </a:cubicBezTo>
                <a:cubicBezTo>
                  <a:pt x="355" y="187"/>
                  <a:pt x="351" y="186"/>
                  <a:pt x="349" y="184"/>
                </a:cubicBezTo>
                <a:cubicBezTo>
                  <a:pt x="349" y="182"/>
                  <a:pt x="349" y="180"/>
                  <a:pt x="349" y="178"/>
                </a:cubicBezTo>
                <a:cubicBezTo>
                  <a:pt x="351" y="176"/>
                  <a:pt x="355" y="175"/>
                  <a:pt x="359" y="174"/>
                </a:cubicBezTo>
                <a:cubicBezTo>
                  <a:pt x="365" y="172"/>
                  <a:pt x="365" y="169"/>
                  <a:pt x="364" y="166"/>
                </a:cubicBezTo>
                <a:cubicBezTo>
                  <a:pt x="364" y="164"/>
                  <a:pt x="364" y="161"/>
                  <a:pt x="358" y="160"/>
                </a:cubicBezTo>
                <a:cubicBezTo>
                  <a:pt x="354" y="160"/>
                  <a:pt x="349" y="159"/>
                  <a:pt x="347" y="158"/>
                </a:cubicBezTo>
                <a:cubicBezTo>
                  <a:pt x="347" y="156"/>
                  <a:pt x="346" y="154"/>
                  <a:pt x="346" y="152"/>
                </a:cubicBezTo>
                <a:cubicBezTo>
                  <a:pt x="348" y="150"/>
                  <a:pt x="352" y="148"/>
                  <a:pt x="356" y="146"/>
                </a:cubicBezTo>
                <a:cubicBezTo>
                  <a:pt x="361" y="144"/>
                  <a:pt x="360" y="141"/>
                  <a:pt x="360" y="138"/>
                </a:cubicBezTo>
                <a:cubicBezTo>
                  <a:pt x="359" y="136"/>
                  <a:pt x="359" y="133"/>
                  <a:pt x="352" y="133"/>
                </a:cubicBezTo>
                <a:cubicBezTo>
                  <a:pt x="348" y="134"/>
                  <a:pt x="344" y="133"/>
                  <a:pt x="341" y="132"/>
                </a:cubicBezTo>
                <a:cubicBezTo>
                  <a:pt x="340" y="131"/>
                  <a:pt x="340" y="129"/>
                  <a:pt x="339" y="127"/>
                </a:cubicBezTo>
                <a:cubicBezTo>
                  <a:pt x="341" y="125"/>
                  <a:pt x="344" y="122"/>
                  <a:pt x="348" y="119"/>
                </a:cubicBezTo>
                <a:cubicBezTo>
                  <a:pt x="353" y="116"/>
                  <a:pt x="351" y="113"/>
                  <a:pt x="350" y="111"/>
                </a:cubicBezTo>
                <a:cubicBezTo>
                  <a:pt x="349" y="109"/>
                  <a:pt x="348" y="106"/>
                  <a:pt x="342" y="107"/>
                </a:cubicBezTo>
                <a:cubicBezTo>
                  <a:pt x="338" y="108"/>
                  <a:pt x="334" y="109"/>
                  <a:pt x="331" y="108"/>
                </a:cubicBezTo>
                <a:cubicBezTo>
                  <a:pt x="330" y="107"/>
                  <a:pt x="329" y="105"/>
                  <a:pt x="329" y="103"/>
                </a:cubicBezTo>
                <a:cubicBezTo>
                  <a:pt x="329" y="101"/>
                  <a:pt x="332" y="97"/>
                  <a:pt x="336" y="94"/>
                </a:cubicBezTo>
                <a:cubicBezTo>
                  <a:pt x="340" y="90"/>
                  <a:pt x="338" y="88"/>
                  <a:pt x="337" y="86"/>
                </a:cubicBezTo>
                <a:cubicBezTo>
                  <a:pt x="336" y="84"/>
                  <a:pt x="334" y="81"/>
                  <a:pt x="328" y="83"/>
                </a:cubicBezTo>
                <a:cubicBezTo>
                  <a:pt x="325" y="85"/>
                  <a:pt x="320" y="86"/>
                  <a:pt x="318" y="86"/>
                </a:cubicBezTo>
                <a:cubicBezTo>
                  <a:pt x="316" y="84"/>
                  <a:pt x="315" y="83"/>
                  <a:pt x="314" y="82"/>
                </a:cubicBezTo>
                <a:cubicBezTo>
                  <a:pt x="315" y="79"/>
                  <a:pt x="317" y="75"/>
                  <a:pt x="320" y="72"/>
                </a:cubicBezTo>
                <a:cubicBezTo>
                  <a:pt x="324" y="67"/>
                  <a:pt x="321" y="65"/>
                  <a:pt x="320" y="63"/>
                </a:cubicBezTo>
                <a:cubicBezTo>
                  <a:pt x="318" y="61"/>
                  <a:pt x="316" y="58"/>
                  <a:pt x="311" y="62"/>
                </a:cubicBezTo>
                <a:cubicBezTo>
                  <a:pt x="308" y="64"/>
                  <a:pt x="303" y="66"/>
                  <a:pt x="301" y="66"/>
                </a:cubicBezTo>
                <a:cubicBezTo>
                  <a:pt x="299" y="65"/>
                  <a:pt x="298" y="63"/>
                  <a:pt x="297" y="62"/>
                </a:cubicBezTo>
                <a:cubicBezTo>
                  <a:pt x="297" y="59"/>
                  <a:pt x="298" y="55"/>
                  <a:pt x="301" y="52"/>
                </a:cubicBezTo>
                <a:cubicBezTo>
                  <a:pt x="304" y="46"/>
                  <a:pt x="301" y="44"/>
                  <a:pt x="299" y="43"/>
                </a:cubicBezTo>
                <a:cubicBezTo>
                  <a:pt x="297" y="41"/>
                  <a:pt x="295" y="39"/>
                  <a:pt x="290" y="43"/>
                </a:cubicBezTo>
                <a:close/>
                <a:moveTo>
                  <a:pt x="298" y="279"/>
                </a:moveTo>
                <a:cubicBezTo>
                  <a:pt x="245" y="343"/>
                  <a:pt x="151" y="351"/>
                  <a:pt x="87" y="299"/>
                </a:cubicBezTo>
                <a:cubicBezTo>
                  <a:pt x="23" y="246"/>
                  <a:pt x="15" y="151"/>
                  <a:pt x="67" y="88"/>
                </a:cubicBezTo>
                <a:cubicBezTo>
                  <a:pt x="120" y="24"/>
                  <a:pt x="215" y="15"/>
                  <a:pt x="278" y="68"/>
                </a:cubicBezTo>
                <a:cubicBezTo>
                  <a:pt x="342" y="121"/>
                  <a:pt x="351" y="215"/>
                  <a:pt x="298" y="279"/>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1082">
            <a:extLst>
              <a:ext uri="{FF2B5EF4-FFF2-40B4-BE49-F238E27FC236}">
                <a16:creationId xmlns:a16="http://schemas.microsoft.com/office/drawing/2014/main" id="{13330471-C40D-4281-92A2-B4DF52FB289F}"/>
              </a:ext>
            </a:extLst>
          </p:cNvPr>
          <p:cNvSpPr>
            <a:spLocks/>
          </p:cNvSpPr>
          <p:nvPr/>
        </p:nvSpPr>
        <p:spPr bwMode="auto">
          <a:xfrm>
            <a:off x="3419629" y="3044691"/>
            <a:ext cx="153335" cy="342328"/>
          </a:xfrm>
          <a:custGeom>
            <a:avLst/>
            <a:gdLst>
              <a:gd name="T0" fmla="*/ 27 w 55"/>
              <a:gd name="T1" fmla="*/ 0 h 125"/>
              <a:gd name="T2" fmla="*/ 0 w 55"/>
              <a:gd name="T3" fmla="*/ 40 h 125"/>
              <a:gd name="T4" fmla="*/ 16 w 55"/>
              <a:gd name="T5" fmla="*/ 41 h 125"/>
              <a:gd name="T6" fmla="*/ 9 w 55"/>
              <a:gd name="T7" fmla="*/ 125 h 125"/>
              <a:gd name="T8" fmla="*/ 48 w 55"/>
              <a:gd name="T9" fmla="*/ 125 h 125"/>
              <a:gd name="T10" fmla="*/ 36 w 55"/>
              <a:gd name="T11" fmla="*/ 41 h 125"/>
              <a:gd name="T12" fmla="*/ 55 w 55"/>
              <a:gd name="T13" fmla="*/ 42 h 125"/>
              <a:gd name="T14" fmla="*/ 27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7" y="0"/>
                </a:moveTo>
                <a:cubicBezTo>
                  <a:pt x="0" y="40"/>
                  <a:pt x="0" y="40"/>
                  <a:pt x="0" y="40"/>
                </a:cubicBezTo>
                <a:cubicBezTo>
                  <a:pt x="16" y="41"/>
                  <a:pt x="16" y="41"/>
                  <a:pt x="16" y="41"/>
                </a:cubicBezTo>
                <a:cubicBezTo>
                  <a:pt x="9" y="125"/>
                  <a:pt x="9" y="125"/>
                  <a:pt x="9" y="125"/>
                </a:cubicBezTo>
                <a:cubicBezTo>
                  <a:pt x="33" y="113"/>
                  <a:pt x="48" y="125"/>
                  <a:pt x="48" y="125"/>
                </a:cubicBezTo>
                <a:cubicBezTo>
                  <a:pt x="36" y="41"/>
                  <a:pt x="36" y="41"/>
                  <a:pt x="36" y="41"/>
                </a:cubicBezTo>
                <a:cubicBezTo>
                  <a:pt x="55" y="42"/>
                  <a:pt x="55" y="42"/>
                  <a:pt x="55" y="42"/>
                </a:cubicBezTo>
                <a:lnTo>
                  <a:pt x="27"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1083">
            <a:extLst>
              <a:ext uri="{FF2B5EF4-FFF2-40B4-BE49-F238E27FC236}">
                <a16:creationId xmlns:a16="http://schemas.microsoft.com/office/drawing/2014/main" id="{883BEDC7-1690-4F1F-8A6A-ABA873595247}"/>
              </a:ext>
            </a:extLst>
          </p:cNvPr>
          <p:cNvSpPr>
            <a:spLocks/>
          </p:cNvSpPr>
          <p:nvPr/>
        </p:nvSpPr>
        <p:spPr bwMode="auto">
          <a:xfrm>
            <a:off x="3255597" y="3255081"/>
            <a:ext cx="153335" cy="345892"/>
          </a:xfrm>
          <a:custGeom>
            <a:avLst/>
            <a:gdLst>
              <a:gd name="T0" fmla="*/ 28 w 55"/>
              <a:gd name="T1" fmla="*/ 0 h 125"/>
              <a:gd name="T2" fmla="*/ 0 w 55"/>
              <a:gd name="T3" fmla="*/ 40 h 125"/>
              <a:gd name="T4" fmla="*/ 16 w 55"/>
              <a:gd name="T5" fmla="*/ 40 h 125"/>
              <a:gd name="T6" fmla="*/ 10 w 55"/>
              <a:gd name="T7" fmla="*/ 125 h 125"/>
              <a:gd name="T8" fmla="*/ 48 w 55"/>
              <a:gd name="T9" fmla="*/ 125 h 125"/>
              <a:gd name="T10" fmla="*/ 37 w 55"/>
              <a:gd name="T11" fmla="*/ 41 h 125"/>
              <a:gd name="T12" fmla="*/ 55 w 55"/>
              <a:gd name="T13" fmla="*/ 41 h 125"/>
              <a:gd name="T14" fmla="*/ 28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8" y="0"/>
                </a:moveTo>
                <a:cubicBezTo>
                  <a:pt x="0" y="40"/>
                  <a:pt x="0" y="40"/>
                  <a:pt x="0" y="40"/>
                </a:cubicBezTo>
                <a:cubicBezTo>
                  <a:pt x="16" y="40"/>
                  <a:pt x="16" y="40"/>
                  <a:pt x="16" y="40"/>
                </a:cubicBezTo>
                <a:cubicBezTo>
                  <a:pt x="10" y="125"/>
                  <a:pt x="10" y="125"/>
                  <a:pt x="10" y="125"/>
                </a:cubicBezTo>
                <a:cubicBezTo>
                  <a:pt x="34" y="112"/>
                  <a:pt x="48" y="125"/>
                  <a:pt x="48" y="125"/>
                </a:cubicBezTo>
                <a:cubicBezTo>
                  <a:pt x="37" y="41"/>
                  <a:pt x="37" y="41"/>
                  <a:pt x="37" y="41"/>
                </a:cubicBezTo>
                <a:cubicBezTo>
                  <a:pt x="55" y="41"/>
                  <a:pt x="55" y="41"/>
                  <a:pt x="55" y="41"/>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1084">
            <a:extLst>
              <a:ext uri="{FF2B5EF4-FFF2-40B4-BE49-F238E27FC236}">
                <a16:creationId xmlns:a16="http://schemas.microsoft.com/office/drawing/2014/main" id="{595CAE5B-0AE3-467B-AFFA-640687E0F51D}"/>
              </a:ext>
            </a:extLst>
          </p:cNvPr>
          <p:cNvSpPr>
            <a:spLocks/>
          </p:cNvSpPr>
          <p:nvPr/>
        </p:nvSpPr>
        <p:spPr bwMode="auto">
          <a:xfrm>
            <a:off x="3601490" y="3190894"/>
            <a:ext cx="153335" cy="342328"/>
          </a:xfrm>
          <a:custGeom>
            <a:avLst/>
            <a:gdLst>
              <a:gd name="T0" fmla="*/ 27 w 55"/>
              <a:gd name="T1" fmla="*/ 0 h 125"/>
              <a:gd name="T2" fmla="*/ 0 w 55"/>
              <a:gd name="T3" fmla="*/ 41 h 125"/>
              <a:gd name="T4" fmla="*/ 16 w 55"/>
              <a:gd name="T5" fmla="*/ 41 h 125"/>
              <a:gd name="T6" fmla="*/ 10 w 55"/>
              <a:gd name="T7" fmla="*/ 125 h 125"/>
              <a:gd name="T8" fmla="*/ 48 w 55"/>
              <a:gd name="T9" fmla="*/ 125 h 125"/>
              <a:gd name="T10" fmla="*/ 37 w 55"/>
              <a:gd name="T11" fmla="*/ 41 h 125"/>
              <a:gd name="T12" fmla="*/ 55 w 55"/>
              <a:gd name="T13" fmla="*/ 42 h 125"/>
              <a:gd name="T14" fmla="*/ 27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7" y="0"/>
                </a:moveTo>
                <a:cubicBezTo>
                  <a:pt x="0" y="41"/>
                  <a:pt x="0" y="41"/>
                  <a:pt x="0" y="41"/>
                </a:cubicBezTo>
                <a:cubicBezTo>
                  <a:pt x="16" y="41"/>
                  <a:pt x="16" y="41"/>
                  <a:pt x="16" y="41"/>
                </a:cubicBezTo>
                <a:cubicBezTo>
                  <a:pt x="10" y="125"/>
                  <a:pt x="10" y="125"/>
                  <a:pt x="10" y="125"/>
                </a:cubicBezTo>
                <a:cubicBezTo>
                  <a:pt x="34" y="113"/>
                  <a:pt x="48" y="125"/>
                  <a:pt x="48" y="125"/>
                </a:cubicBezTo>
                <a:cubicBezTo>
                  <a:pt x="37" y="41"/>
                  <a:pt x="37" y="41"/>
                  <a:pt x="37" y="41"/>
                </a:cubicBezTo>
                <a:cubicBezTo>
                  <a:pt x="55" y="42"/>
                  <a:pt x="55" y="42"/>
                  <a:pt x="55" y="42"/>
                </a:cubicBez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868393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1">
    <p:bg>
      <p:bgRef idx="1001">
        <a:schemeClr val="bg1"/>
      </p:bgRef>
    </p:bg>
    <p:spTree>
      <p:nvGrpSpPr>
        <p:cNvPr id="1" name=""/>
        <p:cNvGrpSpPr/>
        <p:nvPr/>
      </p:nvGrpSpPr>
      <p:grpSpPr>
        <a:xfrm>
          <a:off x="0" y="0"/>
          <a:ext cx="0" cy="0"/>
          <a:chOff x="0" y="0"/>
          <a:chExt cx="0" cy="0"/>
        </a:xfrm>
      </p:grpSpPr>
      <p:sp>
        <p:nvSpPr>
          <p:cNvPr id="1849" name="Freeform: Shape 1848">
            <a:extLst>
              <a:ext uri="{FF2B5EF4-FFF2-40B4-BE49-F238E27FC236}">
                <a16:creationId xmlns:a16="http://schemas.microsoft.com/office/drawing/2014/main" id="{A95FCE94-24C2-4E38-9EAF-93B7ADE08920}"/>
              </a:ext>
            </a:extLst>
          </p:cNvPr>
          <p:cNvSpPr>
            <a:spLocks/>
          </p:cNvSpPr>
          <p:nvPr userDrawn="1"/>
        </p:nvSpPr>
        <p:spPr bwMode="auto">
          <a:xfrm flipH="1" flipV="1">
            <a:off x="2" y="1026686"/>
            <a:ext cx="12191998" cy="5450314"/>
          </a:xfrm>
          <a:custGeom>
            <a:avLst/>
            <a:gdLst>
              <a:gd name="connsiteX0" fmla="*/ 4240261 w 12191998"/>
              <a:gd name="connsiteY0" fmla="*/ 5449795 h 5450314"/>
              <a:gd name="connsiteX1" fmla="*/ 0 w 12191998"/>
              <a:gd name="connsiteY1" fmla="*/ 2213282 h 5450314"/>
              <a:gd name="connsiteX2" fmla="*/ 0 w 12191998"/>
              <a:gd name="connsiteY2" fmla="*/ 74652 h 5450314"/>
              <a:gd name="connsiteX3" fmla="*/ 0 w 12191998"/>
              <a:gd name="connsiteY3" fmla="*/ 0 h 5450314"/>
              <a:gd name="connsiteX4" fmla="*/ 12191998 w 12191998"/>
              <a:gd name="connsiteY4" fmla="*/ 0 h 5450314"/>
              <a:gd name="connsiteX5" fmla="*/ 12191998 w 12191998"/>
              <a:gd name="connsiteY5" fmla="*/ 128199 h 5450314"/>
              <a:gd name="connsiteX6" fmla="*/ 12191998 w 12191998"/>
              <a:gd name="connsiteY6" fmla="*/ 3402388 h 5450314"/>
              <a:gd name="connsiteX7" fmla="*/ 8021576 w 12191998"/>
              <a:gd name="connsiteY7" fmla="*/ 2284807 h 5450314"/>
              <a:gd name="connsiteX8" fmla="*/ 4240261 w 12191998"/>
              <a:gd name="connsiteY8" fmla="*/ 5449795 h 545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8" h="5450314">
                <a:moveTo>
                  <a:pt x="4240261" y="5449795"/>
                </a:moveTo>
                <a:cubicBezTo>
                  <a:pt x="1107457" y="5405092"/>
                  <a:pt x="0" y="2213282"/>
                  <a:pt x="0" y="2213282"/>
                </a:cubicBezTo>
                <a:cubicBezTo>
                  <a:pt x="0" y="2213282"/>
                  <a:pt x="0" y="2213282"/>
                  <a:pt x="0" y="74652"/>
                </a:cubicBezTo>
                <a:lnTo>
                  <a:pt x="0" y="0"/>
                </a:lnTo>
                <a:lnTo>
                  <a:pt x="12191998" y="0"/>
                </a:lnTo>
                <a:lnTo>
                  <a:pt x="12191998" y="128199"/>
                </a:lnTo>
                <a:cubicBezTo>
                  <a:pt x="12191998" y="963792"/>
                  <a:pt x="12191998" y="2033352"/>
                  <a:pt x="12191998" y="3402388"/>
                </a:cubicBezTo>
                <a:cubicBezTo>
                  <a:pt x="10934885" y="2848068"/>
                  <a:pt x="9508162" y="2481502"/>
                  <a:pt x="8021576" y="2284807"/>
                </a:cubicBezTo>
                <a:cubicBezTo>
                  <a:pt x="6794395" y="4466325"/>
                  <a:pt x="6086022" y="5476617"/>
                  <a:pt x="4240261" y="5449795"/>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9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600" b="0" dirty="0">
                <a:solidFill>
                  <a:schemeClr val="accent1"/>
                </a:solidFill>
              </a:defRPr>
            </a:lvl1pPr>
          </a:lstStyle>
          <a:p>
            <a:pPr marL="0" lvl="0"/>
            <a:r>
              <a:rPr lang="en-US" dirty="0"/>
              <a:t>Click to insert title</a:t>
            </a:r>
          </a:p>
        </p:txBody>
      </p:sp>
      <p:grpSp>
        <p:nvGrpSpPr>
          <p:cNvPr id="930" name="Group 929">
            <a:extLst>
              <a:ext uri="{FF2B5EF4-FFF2-40B4-BE49-F238E27FC236}">
                <a16:creationId xmlns:a16="http://schemas.microsoft.com/office/drawing/2014/main" id="{F9C17E0B-1815-40B2-B033-93D56C02DF7D}"/>
              </a:ext>
            </a:extLst>
          </p:cNvPr>
          <p:cNvGrpSpPr/>
          <p:nvPr userDrawn="1"/>
        </p:nvGrpSpPr>
        <p:grpSpPr>
          <a:xfrm>
            <a:off x="2652740" y="4308474"/>
            <a:ext cx="5272069" cy="2051051"/>
            <a:chOff x="-6542088" y="-2343150"/>
            <a:chExt cx="2897188" cy="1127125"/>
          </a:xfrm>
          <a:solidFill>
            <a:schemeClr val="accent2">
              <a:lumMod val="20000"/>
              <a:lumOff val="80000"/>
              <a:alpha val="50000"/>
            </a:schemeClr>
          </a:solidFill>
        </p:grpSpPr>
        <p:sp>
          <p:nvSpPr>
            <p:cNvPr id="931" name="Freeform 568">
              <a:extLst>
                <a:ext uri="{FF2B5EF4-FFF2-40B4-BE49-F238E27FC236}">
                  <a16:creationId xmlns:a16="http://schemas.microsoft.com/office/drawing/2014/main" id="{7B33D8AF-6632-4DF1-873C-2EB7EB9D36EE}"/>
                </a:ext>
              </a:extLst>
            </p:cNvPr>
            <p:cNvSpPr>
              <a:spLocks noEditPoints="1"/>
            </p:cNvSpPr>
            <p:nvPr/>
          </p:nvSpPr>
          <p:spPr bwMode="auto">
            <a:xfrm>
              <a:off x="-6203950" y="-1476375"/>
              <a:ext cx="261938" cy="260350"/>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2" name="Freeform 569">
              <a:extLst>
                <a:ext uri="{FF2B5EF4-FFF2-40B4-BE49-F238E27FC236}">
                  <a16:creationId xmlns:a16="http://schemas.microsoft.com/office/drawing/2014/main" id="{98267F84-1B2C-4D71-8840-D5D9A7237955}"/>
                </a:ext>
              </a:extLst>
            </p:cNvPr>
            <p:cNvSpPr>
              <a:spLocks noEditPoints="1"/>
            </p:cNvSpPr>
            <p:nvPr/>
          </p:nvSpPr>
          <p:spPr bwMode="auto">
            <a:xfrm>
              <a:off x="-6542088" y="-2128838"/>
              <a:ext cx="334963" cy="331788"/>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3" name="Freeform 570">
              <a:extLst>
                <a:ext uri="{FF2B5EF4-FFF2-40B4-BE49-F238E27FC236}">
                  <a16:creationId xmlns:a16="http://schemas.microsoft.com/office/drawing/2014/main" id="{78587557-9CF8-4B85-A234-A08879E20E9E}"/>
                </a:ext>
              </a:extLst>
            </p:cNvPr>
            <p:cNvSpPr>
              <a:spLocks noEditPoints="1"/>
            </p:cNvSpPr>
            <p:nvPr/>
          </p:nvSpPr>
          <p:spPr bwMode="auto">
            <a:xfrm>
              <a:off x="-6022975" y="-1855788"/>
              <a:ext cx="522288" cy="515938"/>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4" name="Freeform 571">
              <a:extLst>
                <a:ext uri="{FF2B5EF4-FFF2-40B4-BE49-F238E27FC236}">
                  <a16:creationId xmlns:a16="http://schemas.microsoft.com/office/drawing/2014/main" id="{CE3403AA-D8F0-4DD4-ABFB-11AFEB8BD1B3}"/>
                </a:ext>
              </a:extLst>
            </p:cNvPr>
            <p:cNvSpPr>
              <a:spLocks noEditPoints="1"/>
            </p:cNvSpPr>
            <p:nvPr/>
          </p:nvSpPr>
          <p:spPr bwMode="auto">
            <a:xfrm>
              <a:off x="-5978525" y="-1811338"/>
              <a:ext cx="430213" cy="427038"/>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5" name="Freeform 572">
              <a:extLst>
                <a:ext uri="{FF2B5EF4-FFF2-40B4-BE49-F238E27FC236}">
                  <a16:creationId xmlns:a16="http://schemas.microsoft.com/office/drawing/2014/main" id="{E9FC91B7-950C-4C6F-AE12-812210728E72}"/>
                </a:ext>
              </a:extLst>
            </p:cNvPr>
            <p:cNvSpPr>
              <a:spLocks noEditPoints="1"/>
            </p:cNvSpPr>
            <p:nvPr/>
          </p:nvSpPr>
          <p:spPr bwMode="auto">
            <a:xfrm>
              <a:off x="-6403975" y="-1838325"/>
              <a:ext cx="398463" cy="400050"/>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6" name="Freeform 573">
              <a:extLst>
                <a:ext uri="{FF2B5EF4-FFF2-40B4-BE49-F238E27FC236}">
                  <a16:creationId xmlns:a16="http://schemas.microsoft.com/office/drawing/2014/main" id="{8521CD70-42C1-4AF7-9E15-E72C2E7C825B}"/>
                </a:ext>
              </a:extLst>
            </p:cNvPr>
            <p:cNvSpPr>
              <a:spLocks noEditPoints="1"/>
            </p:cNvSpPr>
            <p:nvPr/>
          </p:nvSpPr>
          <p:spPr bwMode="auto">
            <a:xfrm>
              <a:off x="-4665662" y="-1955800"/>
              <a:ext cx="25400" cy="46038"/>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7" name="Freeform 574">
              <a:extLst>
                <a:ext uri="{FF2B5EF4-FFF2-40B4-BE49-F238E27FC236}">
                  <a16:creationId xmlns:a16="http://schemas.microsoft.com/office/drawing/2014/main" id="{43A398A3-ADE2-49BB-9E82-D32C18B3AC60}"/>
                </a:ext>
              </a:extLst>
            </p:cNvPr>
            <p:cNvSpPr>
              <a:spLocks noEditPoints="1"/>
            </p:cNvSpPr>
            <p:nvPr/>
          </p:nvSpPr>
          <p:spPr bwMode="auto">
            <a:xfrm>
              <a:off x="-4689475" y="-1955800"/>
              <a:ext cx="25400" cy="46038"/>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8" name="Freeform 575">
              <a:extLst>
                <a:ext uri="{FF2B5EF4-FFF2-40B4-BE49-F238E27FC236}">
                  <a16:creationId xmlns:a16="http://schemas.microsoft.com/office/drawing/2014/main" id="{60DED82D-4DF0-4D36-B1EE-EDDF9E93A544}"/>
                </a:ext>
              </a:extLst>
            </p:cNvPr>
            <p:cNvSpPr>
              <a:spLocks noEditPoints="1"/>
            </p:cNvSpPr>
            <p:nvPr/>
          </p:nvSpPr>
          <p:spPr bwMode="auto">
            <a:xfrm>
              <a:off x="-4887912" y="-1971675"/>
              <a:ext cx="88900" cy="90488"/>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9" name="Freeform 576">
              <a:extLst>
                <a:ext uri="{FF2B5EF4-FFF2-40B4-BE49-F238E27FC236}">
                  <a16:creationId xmlns:a16="http://schemas.microsoft.com/office/drawing/2014/main" id="{9A3929F7-6E75-4D78-91B9-A0C46D558155}"/>
                </a:ext>
              </a:extLst>
            </p:cNvPr>
            <p:cNvSpPr>
              <a:spLocks noEditPoints="1"/>
            </p:cNvSpPr>
            <p:nvPr/>
          </p:nvSpPr>
          <p:spPr bwMode="auto">
            <a:xfrm>
              <a:off x="-4783137" y="-1935163"/>
              <a:ext cx="42863" cy="44450"/>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0" name="Freeform 577">
              <a:extLst>
                <a:ext uri="{FF2B5EF4-FFF2-40B4-BE49-F238E27FC236}">
                  <a16:creationId xmlns:a16="http://schemas.microsoft.com/office/drawing/2014/main" id="{EE5ACE98-A1D1-4A61-99BD-72E42B85787A}"/>
                </a:ext>
              </a:extLst>
            </p:cNvPr>
            <p:cNvSpPr>
              <a:spLocks noEditPoints="1"/>
            </p:cNvSpPr>
            <p:nvPr/>
          </p:nvSpPr>
          <p:spPr bwMode="auto">
            <a:xfrm>
              <a:off x="-4591050" y="-2147888"/>
              <a:ext cx="466725" cy="465138"/>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1" name="Freeform 578">
              <a:extLst>
                <a:ext uri="{FF2B5EF4-FFF2-40B4-BE49-F238E27FC236}">
                  <a16:creationId xmlns:a16="http://schemas.microsoft.com/office/drawing/2014/main" id="{72F8130B-F62A-42DB-8A6A-9FEDA58A7518}"/>
                </a:ext>
              </a:extLst>
            </p:cNvPr>
            <p:cNvSpPr>
              <a:spLocks noEditPoints="1"/>
            </p:cNvSpPr>
            <p:nvPr/>
          </p:nvSpPr>
          <p:spPr bwMode="auto">
            <a:xfrm>
              <a:off x="-4964112" y="-1884363"/>
              <a:ext cx="425450" cy="423863"/>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2" name="Freeform 579">
              <a:extLst>
                <a:ext uri="{FF2B5EF4-FFF2-40B4-BE49-F238E27FC236}">
                  <a16:creationId xmlns:a16="http://schemas.microsoft.com/office/drawing/2014/main" id="{6773E346-DF28-4568-8040-2EB1A5F8A73F}"/>
                </a:ext>
              </a:extLst>
            </p:cNvPr>
            <p:cNvSpPr>
              <a:spLocks noEditPoints="1"/>
            </p:cNvSpPr>
            <p:nvPr/>
          </p:nvSpPr>
          <p:spPr bwMode="auto">
            <a:xfrm>
              <a:off x="-4451350" y="-2006600"/>
              <a:ext cx="187325" cy="187325"/>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3" name="Freeform 580">
              <a:extLst>
                <a:ext uri="{FF2B5EF4-FFF2-40B4-BE49-F238E27FC236}">
                  <a16:creationId xmlns:a16="http://schemas.microsoft.com/office/drawing/2014/main" id="{0B933284-47F8-4794-B367-E14083025D8E}"/>
                </a:ext>
              </a:extLst>
            </p:cNvPr>
            <p:cNvSpPr>
              <a:spLocks noEditPoints="1"/>
            </p:cNvSpPr>
            <p:nvPr/>
          </p:nvSpPr>
          <p:spPr bwMode="auto">
            <a:xfrm>
              <a:off x="-4892675" y="-2300288"/>
              <a:ext cx="319088" cy="307975"/>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4" name="Freeform 581">
              <a:extLst>
                <a:ext uri="{FF2B5EF4-FFF2-40B4-BE49-F238E27FC236}">
                  <a16:creationId xmlns:a16="http://schemas.microsoft.com/office/drawing/2014/main" id="{DD1A2BC3-82DA-4449-B438-C1CAD710E119}"/>
                </a:ext>
              </a:extLst>
            </p:cNvPr>
            <p:cNvSpPr>
              <a:spLocks noEditPoints="1"/>
            </p:cNvSpPr>
            <p:nvPr/>
          </p:nvSpPr>
          <p:spPr bwMode="auto">
            <a:xfrm>
              <a:off x="-4937125" y="-2343150"/>
              <a:ext cx="395288" cy="393700"/>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5" name="Freeform 582">
              <a:extLst>
                <a:ext uri="{FF2B5EF4-FFF2-40B4-BE49-F238E27FC236}">
                  <a16:creationId xmlns:a16="http://schemas.microsoft.com/office/drawing/2014/main" id="{DDB2CFC6-0C52-4C28-857C-094BBE34C6EF}"/>
                </a:ext>
              </a:extLst>
            </p:cNvPr>
            <p:cNvSpPr>
              <a:spLocks noEditPoints="1"/>
            </p:cNvSpPr>
            <p:nvPr/>
          </p:nvSpPr>
          <p:spPr bwMode="auto">
            <a:xfrm>
              <a:off x="-4816475" y="-2219325"/>
              <a:ext cx="155575" cy="146050"/>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6" name="Freeform 583">
              <a:extLst>
                <a:ext uri="{FF2B5EF4-FFF2-40B4-BE49-F238E27FC236}">
                  <a16:creationId xmlns:a16="http://schemas.microsoft.com/office/drawing/2014/main" id="{F04FEBF2-B82B-439A-A279-98AF71AE6293}"/>
                </a:ext>
              </a:extLst>
            </p:cNvPr>
            <p:cNvSpPr>
              <a:spLocks noEditPoints="1"/>
            </p:cNvSpPr>
            <p:nvPr/>
          </p:nvSpPr>
          <p:spPr bwMode="auto">
            <a:xfrm>
              <a:off x="-5599113" y="-2306638"/>
              <a:ext cx="701675" cy="700088"/>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8"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close/>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2"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4"/>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close/>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close/>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7" name="Freeform 584">
              <a:extLst>
                <a:ext uri="{FF2B5EF4-FFF2-40B4-BE49-F238E27FC236}">
                  <a16:creationId xmlns:a16="http://schemas.microsoft.com/office/drawing/2014/main" id="{FA8E4A15-8613-4B77-BC9A-6B6848C288E8}"/>
                </a:ext>
              </a:extLst>
            </p:cNvPr>
            <p:cNvSpPr>
              <a:spLocks noEditPoints="1"/>
            </p:cNvSpPr>
            <p:nvPr/>
          </p:nvSpPr>
          <p:spPr bwMode="auto">
            <a:xfrm>
              <a:off x="-4537075" y="-2198688"/>
              <a:ext cx="60325" cy="60325"/>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8" name="Freeform 585">
              <a:extLst>
                <a:ext uri="{FF2B5EF4-FFF2-40B4-BE49-F238E27FC236}">
                  <a16:creationId xmlns:a16="http://schemas.microsoft.com/office/drawing/2014/main" id="{30D79F29-2E10-4374-91E5-FECB8AD00528}"/>
                </a:ext>
              </a:extLst>
            </p:cNvPr>
            <p:cNvSpPr>
              <a:spLocks noEditPoints="1"/>
            </p:cNvSpPr>
            <p:nvPr/>
          </p:nvSpPr>
          <p:spPr bwMode="auto">
            <a:xfrm>
              <a:off x="-3786187" y="-1784350"/>
              <a:ext cx="15875" cy="28575"/>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9" name="Freeform 586">
              <a:extLst>
                <a:ext uri="{FF2B5EF4-FFF2-40B4-BE49-F238E27FC236}">
                  <a16:creationId xmlns:a16="http://schemas.microsoft.com/office/drawing/2014/main" id="{C4E2CE0F-5C47-4C48-B4D8-9C428CC6FDE8}"/>
                </a:ext>
              </a:extLst>
            </p:cNvPr>
            <p:cNvSpPr>
              <a:spLocks noEditPoints="1"/>
            </p:cNvSpPr>
            <p:nvPr/>
          </p:nvSpPr>
          <p:spPr bwMode="auto">
            <a:xfrm>
              <a:off x="-3802062" y="-1784350"/>
              <a:ext cx="15875" cy="28575"/>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0" name="Freeform 587">
              <a:extLst>
                <a:ext uri="{FF2B5EF4-FFF2-40B4-BE49-F238E27FC236}">
                  <a16:creationId xmlns:a16="http://schemas.microsoft.com/office/drawing/2014/main" id="{CC1D422E-48BE-4CD8-BC11-70706FE3998F}"/>
                </a:ext>
              </a:extLst>
            </p:cNvPr>
            <p:cNvSpPr>
              <a:spLocks noEditPoints="1"/>
            </p:cNvSpPr>
            <p:nvPr/>
          </p:nvSpPr>
          <p:spPr bwMode="auto">
            <a:xfrm>
              <a:off x="-3927475" y="-1997075"/>
              <a:ext cx="198438" cy="192088"/>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1" name="Freeform 588">
              <a:extLst>
                <a:ext uri="{FF2B5EF4-FFF2-40B4-BE49-F238E27FC236}">
                  <a16:creationId xmlns:a16="http://schemas.microsoft.com/office/drawing/2014/main" id="{8EB254F0-2B40-4012-9ED7-DE03649C8E36}"/>
                </a:ext>
              </a:extLst>
            </p:cNvPr>
            <p:cNvSpPr>
              <a:spLocks noEditPoints="1"/>
            </p:cNvSpPr>
            <p:nvPr/>
          </p:nvSpPr>
          <p:spPr bwMode="auto">
            <a:xfrm>
              <a:off x="-3954462" y="-2024063"/>
              <a:ext cx="244475" cy="244475"/>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2" name="Freeform 589">
              <a:extLst>
                <a:ext uri="{FF2B5EF4-FFF2-40B4-BE49-F238E27FC236}">
                  <a16:creationId xmlns:a16="http://schemas.microsoft.com/office/drawing/2014/main" id="{89A6DC2F-61D7-40F2-B4C8-AA6DCBD2C9DF}"/>
                </a:ext>
              </a:extLst>
            </p:cNvPr>
            <p:cNvSpPr>
              <a:spLocks noEditPoints="1"/>
            </p:cNvSpPr>
            <p:nvPr/>
          </p:nvSpPr>
          <p:spPr bwMode="auto">
            <a:xfrm>
              <a:off x="-3881437" y="-1946275"/>
              <a:ext cx="98425" cy="90488"/>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3" name="Freeform 590">
              <a:extLst>
                <a:ext uri="{FF2B5EF4-FFF2-40B4-BE49-F238E27FC236}">
                  <a16:creationId xmlns:a16="http://schemas.microsoft.com/office/drawing/2014/main" id="{9378D063-411D-4F56-BA4F-E14CCC9F6CD2}"/>
                </a:ext>
              </a:extLst>
            </p:cNvPr>
            <p:cNvSpPr>
              <a:spLocks noEditPoints="1"/>
            </p:cNvSpPr>
            <p:nvPr/>
          </p:nvSpPr>
          <p:spPr bwMode="auto">
            <a:xfrm>
              <a:off x="-3706812" y="-1935163"/>
              <a:ext cx="38100" cy="38100"/>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4" name="Freeform 591">
              <a:extLst>
                <a:ext uri="{FF2B5EF4-FFF2-40B4-BE49-F238E27FC236}">
                  <a16:creationId xmlns:a16="http://schemas.microsoft.com/office/drawing/2014/main" id="{AC28482C-C3DD-4CB3-8AE5-51FB617B88E6}"/>
                </a:ext>
              </a:extLst>
            </p:cNvPr>
            <p:cNvSpPr>
              <a:spLocks noEditPoints="1"/>
            </p:cNvSpPr>
            <p:nvPr/>
          </p:nvSpPr>
          <p:spPr bwMode="auto">
            <a:xfrm>
              <a:off x="-4902200" y="-1874838"/>
              <a:ext cx="28575" cy="26988"/>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5" name="Freeform 592">
              <a:extLst>
                <a:ext uri="{FF2B5EF4-FFF2-40B4-BE49-F238E27FC236}">
                  <a16:creationId xmlns:a16="http://schemas.microsoft.com/office/drawing/2014/main" id="{94A4DA3A-1496-4709-AEA1-5E3BC079407A}"/>
                </a:ext>
              </a:extLst>
            </p:cNvPr>
            <p:cNvSpPr>
              <a:spLocks noEditPoints="1"/>
            </p:cNvSpPr>
            <p:nvPr/>
          </p:nvSpPr>
          <p:spPr bwMode="auto">
            <a:xfrm>
              <a:off x="-4737100" y="-1939925"/>
              <a:ext cx="123825" cy="79375"/>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6" name="Freeform 593">
              <a:extLst>
                <a:ext uri="{FF2B5EF4-FFF2-40B4-BE49-F238E27FC236}">
                  <a16:creationId xmlns:a16="http://schemas.microsoft.com/office/drawing/2014/main" id="{32D9CA6E-E928-43DC-981F-9070539E922B}"/>
                </a:ext>
              </a:extLst>
            </p:cNvPr>
            <p:cNvSpPr>
              <a:spLocks noEditPoints="1"/>
            </p:cNvSpPr>
            <p:nvPr/>
          </p:nvSpPr>
          <p:spPr bwMode="auto">
            <a:xfrm>
              <a:off x="-3994150" y="-1987550"/>
              <a:ext cx="41275" cy="41275"/>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7" name="Freeform 594">
              <a:extLst>
                <a:ext uri="{FF2B5EF4-FFF2-40B4-BE49-F238E27FC236}">
                  <a16:creationId xmlns:a16="http://schemas.microsoft.com/office/drawing/2014/main" id="{979426C8-FEE6-4CFE-8777-F1FC4608BBBC}"/>
                </a:ext>
              </a:extLst>
            </p:cNvPr>
            <p:cNvSpPr>
              <a:spLocks noEditPoints="1"/>
            </p:cNvSpPr>
            <p:nvPr/>
          </p:nvSpPr>
          <p:spPr bwMode="auto">
            <a:xfrm>
              <a:off x="-4110037" y="-1960563"/>
              <a:ext cx="149225" cy="149225"/>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8" name="Freeform 595">
              <a:extLst>
                <a:ext uri="{FF2B5EF4-FFF2-40B4-BE49-F238E27FC236}">
                  <a16:creationId xmlns:a16="http://schemas.microsoft.com/office/drawing/2014/main" id="{96929979-AF4A-48D2-9F6E-403F24C29C9F}"/>
                </a:ext>
              </a:extLst>
            </p:cNvPr>
            <p:cNvSpPr>
              <a:spLocks noEditPoints="1"/>
            </p:cNvSpPr>
            <p:nvPr/>
          </p:nvSpPr>
          <p:spPr bwMode="auto">
            <a:xfrm>
              <a:off x="-3779837" y="-1757363"/>
              <a:ext cx="120650" cy="117475"/>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9" name="Freeform 596">
              <a:extLst>
                <a:ext uri="{FF2B5EF4-FFF2-40B4-BE49-F238E27FC236}">
                  <a16:creationId xmlns:a16="http://schemas.microsoft.com/office/drawing/2014/main" id="{630D8308-A622-4181-9A2C-BF5809F84EC9}"/>
                </a:ext>
              </a:extLst>
            </p:cNvPr>
            <p:cNvSpPr>
              <a:spLocks noEditPoints="1"/>
            </p:cNvSpPr>
            <p:nvPr/>
          </p:nvSpPr>
          <p:spPr bwMode="auto">
            <a:xfrm>
              <a:off x="-3794125" y="-1771650"/>
              <a:ext cx="149225" cy="146050"/>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0" name="Freeform 597">
              <a:extLst>
                <a:ext uri="{FF2B5EF4-FFF2-40B4-BE49-F238E27FC236}">
                  <a16:creationId xmlns:a16="http://schemas.microsoft.com/office/drawing/2014/main" id="{869936B9-B3A4-48E5-9A80-76E48EF76BAA}"/>
                </a:ext>
              </a:extLst>
            </p:cNvPr>
            <p:cNvSpPr>
              <a:spLocks noEditPoints="1"/>
            </p:cNvSpPr>
            <p:nvPr/>
          </p:nvSpPr>
          <p:spPr bwMode="auto">
            <a:xfrm>
              <a:off x="-3749675" y="-1728788"/>
              <a:ext cx="61913" cy="58738"/>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7" name="Oval 678">
            <a:extLst>
              <a:ext uri="{FF2B5EF4-FFF2-40B4-BE49-F238E27FC236}">
                <a16:creationId xmlns:a16="http://schemas.microsoft.com/office/drawing/2014/main" id="{170A6C16-315E-42D9-860F-24D455E3C41A}"/>
              </a:ext>
            </a:extLst>
          </p:cNvPr>
          <p:cNvSpPr>
            <a:spLocks noChangeArrowheads="1"/>
          </p:cNvSpPr>
          <p:nvPr/>
        </p:nvSpPr>
        <p:spPr bwMode="auto">
          <a:xfrm>
            <a:off x="9440863" y="3765550"/>
            <a:ext cx="339725" cy="34131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8" name="Oval 679">
            <a:extLst>
              <a:ext uri="{FF2B5EF4-FFF2-40B4-BE49-F238E27FC236}">
                <a16:creationId xmlns:a16="http://schemas.microsoft.com/office/drawing/2014/main" id="{FF4A923A-4037-4367-9BC9-CD71734BBAB5}"/>
              </a:ext>
            </a:extLst>
          </p:cNvPr>
          <p:cNvSpPr>
            <a:spLocks noChangeArrowheads="1"/>
          </p:cNvSpPr>
          <p:nvPr/>
        </p:nvSpPr>
        <p:spPr bwMode="auto">
          <a:xfrm>
            <a:off x="9177338" y="3503613"/>
            <a:ext cx="865188" cy="866775"/>
          </a:xfrm>
          <a:prstGeom prst="ellipse">
            <a:avLst/>
          </a:pr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9" name="Freeform 680">
            <a:extLst>
              <a:ext uri="{FF2B5EF4-FFF2-40B4-BE49-F238E27FC236}">
                <a16:creationId xmlns:a16="http://schemas.microsoft.com/office/drawing/2014/main" id="{7CC66E47-53B7-4A7C-B483-FAA9CBA2C58F}"/>
              </a:ext>
            </a:extLst>
          </p:cNvPr>
          <p:cNvSpPr>
            <a:spLocks/>
          </p:cNvSpPr>
          <p:nvPr/>
        </p:nvSpPr>
        <p:spPr bwMode="auto">
          <a:xfrm>
            <a:off x="9394825" y="3894138"/>
            <a:ext cx="433388" cy="304800"/>
          </a:xfrm>
          <a:custGeom>
            <a:avLst/>
            <a:gdLst>
              <a:gd name="T0" fmla="*/ 103 w 201"/>
              <a:gd name="T1" fmla="*/ 1 h 142"/>
              <a:gd name="T2" fmla="*/ 41 w 201"/>
              <a:gd name="T3" fmla="*/ 22 h 142"/>
              <a:gd name="T4" fmla="*/ 0 w 201"/>
              <a:gd name="T5" fmla="*/ 115 h 142"/>
              <a:gd name="T6" fmla="*/ 31 w 201"/>
              <a:gd name="T7" fmla="*/ 117 h 142"/>
              <a:gd name="T8" fmla="*/ 201 w 201"/>
              <a:gd name="T9" fmla="*/ 110 h 142"/>
              <a:gd name="T10" fmla="*/ 141 w 201"/>
              <a:gd name="T11" fmla="*/ 10 h 142"/>
              <a:gd name="T12" fmla="*/ 103 w 201"/>
              <a:gd name="T13" fmla="*/ 1 h 142"/>
            </a:gdLst>
            <a:ahLst/>
            <a:cxnLst>
              <a:cxn ang="0">
                <a:pos x="T0" y="T1"/>
              </a:cxn>
              <a:cxn ang="0">
                <a:pos x="T2" y="T3"/>
              </a:cxn>
              <a:cxn ang="0">
                <a:pos x="T4" y="T5"/>
              </a:cxn>
              <a:cxn ang="0">
                <a:pos x="T6" y="T7"/>
              </a:cxn>
              <a:cxn ang="0">
                <a:pos x="T8" y="T9"/>
              </a:cxn>
              <a:cxn ang="0">
                <a:pos x="T10" y="T11"/>
              </a:cxn>
              <a:cxn ang="0">
                <a:pos x="T12" y="T13"/>
              </a:cxn>
            </a:cxnLst>
            <a:rect l="0" t="0" r="r" b="b"/>
            <a:pathLst>
              <a:path w="201" h="142">
                <a:moveTo>
                  <a:pt x="103" y="1"/>
                </a:moveTo>
                <a:cubicBezTo>
                  <a:pt x="103" y="1"/>
                  <a:pt x="63" y="0"/>
                  <a:pt x="41" y="22"/>
                </a:cubicBezTo>
                <a:cubicBezTo>
                  <a:pt x="22" y="40"/>
                  <a:pt x="0" y="115"/>
                  <a:pt x="0" y="115"/>
                </a:cubicBezTo>
                <a:cubicBezTo>
                  <a:pt x="0" y="115"/>
                  <a:pt x="14" y="111"/>
                  <a:pt x="31" y="117"/>
                </a:cubicBezTo>
                <a:cubicBezTo>
                  <a:pt x="90" y="139"/>
                  <a:pt x="184" y="142"/>
                  <a:pt x="201" y="110"/>
                </a:cubicBezTo>
                <a:cubicBezTo>
                  <a:pt x="201" y="110"/>
                  <a:pt x="188" y="28"/>
                  <a:pt x="141" y="10"/>
                </a:cubicBezTo>
                <a:cubicBezTo>
                  <a:pt x="124" y="3"/>
                  <a:pt x="103" y="1"/>
                  <a:pt x="103" y="1"/>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Freeform 681">
            <a:extLst>
              <a:ext uri="{FF2B5EF4-FFF2-40B4-BE49-F238E27FC236}">
                <a16:creationId xmlns:a16="http://schemas.microsoft.com/office/drawing/2014/main" id="{90C8A037-806D-4DB2-95B1-593E99350E5C}"/>
              </a:ext>
            </a:extLst>
          </p:cNvPr>
          <p:cNvSpPr>
            <a:spLocks/>
          </p:cNvSpPr>
          <p:nvPr/>
        </p:nvSpPr>
        <p:spPr bwMode="auto">
          <a:xfrm>
            <a:off x="9580563" y="3870325"/>
            <a:ext cx="68263" cy="76200"/>
          </a:xfrm>
          <a:custGeom>
            <a:avLst/>
            <a:gdLst>
              <a:gd name="T0" fmla="*/ 0 w 32"/>
              <a:gd name="T1" fmla="*/ 0 h 35"/>
              <a:gd name="T2" fmla="*/ 0 w 32"/>
              <a:gd name="T3" fmla="*/ 19 h 35"/>
              <a:gd name="T4" fmla="*/ 13 w 32"/>
              <a:gd name="T5" fmla="*/ 35 h 35"/>
              <a:gd name="T6" fmla="*/ 31 w 32"/>
              <a:gd name="T7" fmla="*/ 18 h 35"/>
              <a:gd name="T8" fmla="*/ 31 w 32"/>
              <a:gd name="T9" fmla="*/ 0 h 35"/>
              <a:gd name="T10" fmla="*/ 0 w 32"/>
              <a:gd name="T11" fmla="*/ 0 h 35"/>
            </a:gdLst>
            <a:ahLst/>
            <a:cxnLst>
              <a:cxn ang="0">
                <a:pos x="T0" y="T1"/>
              </a:cxn>
              <a:cxn ang="0">
                <a:pos x="T2" y="T3"/>
              </a:cxn>
              <a:cxn ang="0">
                <a:pos x="T4" y="T5"/>
              </a:cxn>
              <a:cxn ang="0">
                <a:pos x="T6" y="T7"/>
              </a:cxn>
              <a:cxn ang="0">
                <a:pos x="T8" y="T9"/>
              </a:cxn>
              <a:cxn ang="0">
                <a:pos x="T10" y="T11"/>
              </a:cxn>
            </a:cxnLst>
            <a:rect l="0" t="0" r="r" b="b"/>
            <a:pathLst>
              <a:path w="32" h="35">
                <a:moveTo>
                  <a:pt x="0" y="0"/>
                </a:moveTo>
                <a:cubicBezTo>
                  <a:pt x="0" y="19"/>
                  <a:pt x="0" y="19"/>
                  <a:pt x="0" y="19"/>
                </a:cubicBezTo>
                <a:cubicBezTo>
                  <a:pt x="0" y="19"/>
                  <a:pt x="0" y="32"/>
                  <a:pt x="13" y="35"/>
                </a:cubicBezTo>
                <a:cubicBezTo>
                  <a:pt x="32" y="35"/>
                  <a:pt x="31" y="18"/>
                  <a:pt x="31" y="18"/>
                </a:cubicBezTo>
                <a:cubicBezTo>
                  <a:pt x="31" y="0"/>
                  <a:pt x="31" y="0"/>
                  <a:pt x="3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Freeform 682">
            <a:extLst>
              <a:ext uri="{FF2B5EF4-FFF2-40B4-BE49-F238E27FC236}">
                <a16:creationId xmlns:a16="http://schemas.microsoft.com/office/drawing/2014/main" id="{3218FA59-E4F6-4584-998C-6963156BB136}"/>
              </a:ext>
            </a:extLst>
          </p:cNvPr>
          <p:cNvSpPr>
            <a:spLocks/>
          </p:cNvSpPr>
          <p:nvPr/>
        </p:nvSpPr>
        <p:spPr bwMode="auto">
          <a:xfrm>
            <a:off x="9498013" y="3663950"/>
            <a:ext cx="230188" cy="225425"/>
          </a:xfrm>
          <a:custGeom>
            <a:avLst/>
            <a:gdLst>
              <a:gd name="T0" fmla="*/ 97 w 107"/>
              <a:gd name="T1" fmla="*/ 49 h 105"/>
              <a:gd name="T2" fmla="*/ 96 w 107"/>
              <a:gd name="T3" fmla="*/ 49 h 105"/>
              <a:gd name="T4" fmla="*/ 96 w 107"/>
              <a:gd name="T5" fmla="*/ 22 h 105"/>
              <a:gd name="T6" fmla="*/ 26 w 107"/>
              <a:gd name="T7" fmla="*/ 14 h 105"/>
              <a:gd name="T8" fmla="*/ 10 w 107"/>
              <a:gd name="T9" fmla="*/ 49 h 105"/>
              <a:gd name="T10" fmla="*/ 0 w 107"/>
              <a:gd name="T11" fmla="*/ 59 h 105"/>
              <a:gd name="T12" fmla="*/ 10 w 107"/>
              <a:gd name="T13" fmla="*/ 69 h 105"/>
              <a:gd name="T14" fmla="*/ 11 w 107"/>
              <a:gd name="T15" fmla="*/ 69 h 105"/>
              <a:gd name="T16" fmla="*/ 53 w 107"/>
              <a:gd name="T17" fmla="*/ 105 h 105"/>
              <a:gd name="T18" fmla="*/ 95 w 107"/>
              <a:gd name="T19" fmla="*/ 69 h 105"/>
              <a:gd name="T20" fmla="*/ 97 w 107"/>
              <a:gd name="T21" fmla="*/ 69 h 105"/>
              <a:gd name="T22" fmla="*/ 107 w 107"/>
              <a:gd name="T23" fmla="*/ 59 h 105"/>
              <a:gd name="T24" fmla="*/ 97 w 107"/>
              <a:gd name="T25"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05">
                <a:moveTo>
                  <a:pt x="97" y="49"/>
                </a:moveTo>
                <a:cubicBezTo>
                  <a:pt x="96" y="49"/>
                  <a:pt x="96" y="49"/>
                  <a:pt x="96" y="49"/>
                </a:cubicBezTo>
                <a:cubicBezTo>
                  <a:pt x="96" y="22"/>
                  <a:pt x="96" y="22"/>
                  <a:pt x="96" y="22"/>
                </a:cubicBezTo>
                <a:cubicBezTo>
                  <a:pt x="96" y="22"/>
                  <a:pt x="46" y="0"/>
                  <a:pt x="26" y="14"/>
                </a:cubicBezTo>
                <a:cubicBezTo>
                  <a:pt x="14" y="23"/>
                  <a:pt x="11" y="39"/>
                  <a:pt x="10" y="49"/>
                </a:cubicBezTo>
                <a:cubicBezTo>
                  <a:pt x="5" y="49"/>
                  <a:pt x="0" y="54"/>
                  <a:pt x="0" y="59"/>
                </a:cubicBezTo>
                <a:cubicBezTo>
                  <a:pt x="0" y="65"/>
                  <a:pt x="5" y="69"/>
                  <a:pt x="10" y="69"/>
                </a:cubicBezTo>
                <a:cubicBezTo>
                  <a:pt x="11" y="69"/>
                  <a:pt x="11" y="69"/>
                  <a:pt x="11" y="69"/>
                </a:cubicBezTo>
                <a:cubicBezTo>
                  <a:pt x="15" y="89"/>
                  <a:pt x="32" y="105"/>
                  <a:pt x="53" y="105"/>
                </a:cubicBezTo>
                <a:cubicBezTo>
                  <a:pt x="74" y="105"/>
                  <a:pt x="91" y="89"/>
                  <a:pt x="95" y="69"/>
                </a:cubicBezTo>
                <a:cubicBezTo>
                  <a:pt x="95" y="69"/>
                  <a:pt x="96" y="69"/>
                  <a:pt x="97" y="69"/>
                </a:cubicBezTo>
                <a:cubicBezTo>
                  <a:pt x="102" y="69"/>
                  <a:pt x="107" y="65"/>
                  <a:pt x="107" y="59"/>
                </a:cubicBezTo>
                <a:cubicBezTo>
                  <a:pt x="107" y="54"/>
                  <a:pt x="102" y="49"/>
                  <a:pt x="97"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Freeform 683">
            <a:extLst>
              <a:ext uri="{FF2B5EF4-FFF2-40B4-BE49-F238E27FC236}">
                <a16:creationId xmlns:a16="http://schemas.microsoft.com/office/drawing/2014/main" id="{9FB709C1-CF80-48CB-8A80-BF1DEFF164F5}"/>
              </a:ext>
            </a:extLst>
          </p:cNvPr>
          <p:cNvSpPr>
            <a:spLocks/>
          </p:cNvSpPr>
          <p:nvPr/>
        </p:nvSpPr>
        <p:spPr bwMode="auto">
          <a:xfrm>
            <a:off x="9491663" y="3589338"/>
            <a:ext cx="266700" cy="188913"/>
          </a:xfrm>
          <a:custGeom>
            <a:avLst/>
            <a:gdLst>
              <a:gd name="T0" fmla="*/ 13 w 124"/>
              <a:gd name="T1" fmla="*/ 85 h 88"/>
              <a:gd name="T2" fmla="*/ 26 w 124"/>
              <a:gd name="T3" fmla="*/ 32 h 88"/>
              <a:gd name="T4" fmla="*/ 81 w 124"/>
              <a:gd name="T5" fmla="*/ 20 h 88"/>
              <a:gd name="T6" fmla="*/ 97 w 124"/>
              <a:gd name="T7" fmla="*/ 88 h 88"/>
              <a:gd name="T8" fmla="*/ 90 w 124"/>
              <a:gd name="T9" fmla="*/ 74 h 88"/>
              <a:gd name="T10" fmla="*/ 57 w 124"/>
              <a:gd name="T11" fmla="*/ 72 h 88"/>
              <a:gd name="T12" fmla="*/ 31 w 124"/>
              <a:gd name="T13" fmla="*/ 68 h 88"/>
              <a:gd name="T14" fmla="*/ 13 w 124"/>
              <a:gd name="T15" fmla="*/ 85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88">
                <a:moveTo>
                  <a:pt x="13" y="85"/>
                </a:moveTo>
                <a:cubicBezTo>
                  <a:pt x="13" y="85"/>
                  <a:pt x="0" y="39"/>
                  <a:pt x="26" y="32"/>
                </a:cubicBezTo>
                <a:cubicBezTo>
                  <a:pt x="26" y="32"/>
                  <a:pt x="38" y="0"/>
                  <a:pt x="81" y="20"/>
                </a:cubicBezTo>
                <a:cubicBezTo>
                  <a:pt x="124" y="40"/>
                  <a:pt x="97" y="88"/>
                  <a:pt x="97" y="88"/>
                </a:cubicBezTo>
                <a:cubicBezTo>
                  <a:pt x="97" y="88"/>
                  <a:pt x="98" y="70"/>
                  <a:pt x="90" y="74"/>
                </a:cubicBezTo>
                <a:cubicBezTo>
                  <a:pt x="83" y="78"/>
                  <a:pt x="70" y="75"/>
                  <a:pt x="57" y="72"/>
                </a:cubicBezTo>
                <a:cubicBezTo>
                  <a:pt x="47" y="69"/>
                  <a:pt x="37" y="67"/>
                  <a:pt x="31" y="68"/>
                </a:cubicBezTo>
                <a:cubicBezTo>
                  <a:pt x="16" y="71"/>
                  <a:pt x="13" y="85"/>
                  <a:pt x="13" y="85"/>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684">
            <a:extLst>
              <a:ext uri="{FF2B5EF4-FFF2-40B4-BE49-F238E27FC236}">
                <a16:creationId xmlns:a16="http://schemas.microsoft.com/office/drawing/2014/main" id="{8D81D038-34D8-4A0B-A6E4-26127239D2DF}"/>
              </a:ext>
            </a:extLst>
          </p:cNvPr>
          <p:cNvSpPr>
            <a:spLocks/>
          </p:cNvSpPr>
          <p:nvPr/>
        </p:nvSpPr>
        <p:spPr bwMode="auto">
          <a:xfrm>
            <a:off x="9442450" y="3989388"/>
            <a:ext cx="341313" cy="206375"/>
          </a:xfrm>
          <a:custGeom>
            <a:avLst/>
            <a:gdLst>
              <a:gd name="T0" fmla="*/ 149 w 159"/>
              <a:gd name="T1" fmla="*/ 0 h 96"/>
              <a:gd name="T2" fmla="*/ 9 w 159"/>
              <a:gd name="T3" fmla="*/ 0 h 96"/>
              <a:gd name="T4" fmla="*/ 0 w 159"/>
              <a:gd name="T5" fmla="*/ 9 h 96"/>
              <a:gd name="T6" fmla="*/ 0 w 159"/>
              <a:gd name="T7" fmla="*/ 96 h 96"/>
              <a:gd name="T8" fmla="*/ 159 w 159"/>
              <a:gd name="T9" fmla="*/ 96 h 96"/>
              <a:gd name="T10" fmla="*/ 159 w 159"/>
              <a:gd name="T11" fmla="*/ 9 h 96"/>
              <a:gd name="T12" fmla="*/ 149 w 159"/>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59" h="96">
                <a:moveTo>
                  <a:pt x="149" y="0"/>
                </a:moveTo>
                <a:cubicBezTo>
                  <a:pt x="9" y="0"/>
                  <a:pt x="9" y="0"/>
                  <a:pt x="9" y="0"/>
                </a:cubicBezTo>
                <a:cubicBezTo>
                  <a:pt x="4" y="0"/>
                  <a:pt x="0" y="4"/>
                  <a:pt x="0" y="9"/>
                </a:cubicBezTo>
                <a:cubicBezTo>
                  <a:pt x="0" y="96"/>
                  <a:pt x="0" y="96"/>
                  <a:pt x="0" y="96"/>
                </a:cubicBezTo>
                <a:cubicBezTo>
                  <a:pt x="159" y="96"/>
                  <a:pt x="159" y="96"/>
                  <a:pt x="159" y="96"/>
                </a:cubicBezTo>
                <a:cubicBezTo>
                  <a:pt x="159" y="9"/>
                  <a:pt x="159" y="9"/>
                  <a:pt x="159" y="9"/>
                </a:cubicBezTo>
                <a:cubicBezTo>
                  <a:pt x="159" y="4"/>
                  <a:pt x="154" y="0"/>
                  <a:pt x="149" y="0"/>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685">
            <a:extLst>
              <a:ext uri="{FF2B5EF4-FFF2-40B4-BE49-F238E27FC236}">
                <a16:creationId xmlns:a16="http://schemas.microsoft.com/office/drawing/2014/main" id="{151FCC58-5856-4C0E-9129-C9F0C2AF918A}"/>
              </a:ext>
            </a:extLst>
          </p:cNvPr>
          <p:cNvSpPr>
            <a:spLocks/>
          </p:cNvSpPr>
          <p:nvPr/>
        </p:nvSpPr>
        <p:spPr bwMode="auto">
          <a:xfrm>
            <a:off x="9434513" y="4198938"/>
            <a:ext cx="358775" cy="25400"/>
          </a:xfrm>
          <a:custGeom>
            <a:avLst/>
            <a:gdLst>
              <a:gd name="T0" fmla="*/ 161 w 167"/>
              <a:gd name="T1" fmla="*/ 12 h 12"/>
              <a:gd name="T2" fmla="*/ 6 w 167"/>
              <a:gd name="T3" fmla="*/ 12 h 12"/>
              <a:gd name="T4" fmla="*/ 0 w 167"/>
              <a:gd name="T5" fmla="*/ 6 h 12"/>
              <a:gd name="T6" fmla="*/ 6 w 167"/>
              <a:gd name="T7" fmla="*/ 0 h 12"/>
              <a:gd name="T8" fmla="*/ 161 w 167"/>
              <a:gd name="T9" fmla="*/ 0 h 12"/>
              <a:gd name="T10" fmla="*/ 167 w 167"/>
              <a:gd name="T11" fmla="*/ 6 h 12"/>
              <a:gd name="T12" fmla="*/ 161 w 16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7" h="12">
                <a:moveTo>
                  <a:pt x="161" y="12"/>
                </a:moveTo>
                <a:cubicBezTo>
                  <a:pt x="6" y="12"/>
                  <a:pt x="6" y="12"/>
                  <a:pt x="6" y="12"/>
                </a:cubicBezTo>
                <a:cubicBezTo>
                  <a:pt x="3" y="12"/>
                  <a:pt x="0" y="10"/>
                  <a:pt x="0" y="6"/>
                </a:cubicBezTo>
                <a:cubicBezTo>
                  <a:pt x="0" y="3"/>
                  <a:pt x="3" y="0"/>
                  <a:pt x="6" y="0"/>
                </a:cubicBezTo>
                <a:cubicBezTo>
                  <a:pt x="161" y="0"/>
                  <a:pt x="161" y="0"/>
                  <a:pt x="161" y="0"/>
                </a:cubicBezTo>
                <a:cubicBezTo>
                  <a:pt x="164" y="0"/>
                  <a:pt x="167" y="3"/>
                  <a:pt x="167" y="6"/>
                </a:cubicBezTo>
                <a:cubicBezTo>
                  <a:pt x="167" y="10"/>
                  <a:pt x="164" y="12"/>
                  <a:pt x="161" y="1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5" name="Freeform 686">
            <a:extLst>
              <a:ext uri="{FF2B5EF4-FFF2-40B4-BE49-F238E27FC236}">
                <a16:creationId xmlns:a16="http://schemas.microsoft.com/office/drawing/2014/main" id="{9BCB7359-05FA-446A-9FE7-4EA222A1406A}"/>
              </a:ext>
            </a:extLst>
          </p:cNvPr>
          <p:cNvSpPr>
            <a:spLocks/>
          </p:cNvSpPr>
          <p:nvPr/>
        </p:nvSpPr>
        <p:spPr bwMode="auto">
          <a:xfrm>
            <a:off x="9577388" y="4076700"/>
            <a:ext cx="66675" cy="66675"/>
          </a:xfrm>
          <a:custGeom>
            <a:avLst/>
            <a:gdLst>
              <a:gd name="T0" fmla="*/ 30 w 31"/>
              <a:gd name="T1" fmla="*/ 15 h 31"/>
              <a:gd name="T2" fmla="*/ 24 w 31"/>
              <a:gd name="T3" fmla="*/ 4 h 31"/>
              <a:gd name="T4" fmla="*/ 12 w 31"/>
              <a:gd name="T5" fmla="*/ 2 h 31"/>
              <a:gd name="T6" fmla="*/ 11 w 31"/>
              <a:gd name="T7" fmla="*/ 2 h 31"/>
              <a:gd name="T8" fmla="*/ 10 w 31"/>
              <a:gd name="T9" fmla="*/ 2 h 31"/>
              <a:gd name="T10" fmla="*/ 4 w 31"/>
              <a:gd name="T11" fmla="*/ 8 h 31"/>
              <a:gd name="T12" fmla="*/ 9 w 31"/>
              <a:gd name="T13" fmla="*/ 27 h 31"/>
              <a:gd name="T14" fmla="*/ 28 w 31"/>
              <a:gd name="T15" fmla="*/ 22 h 31"/>
              <a:gd name="T16" fmla="*/ 30 w 31"/>
              <a:gd name="T1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30" y="15"/>
                </a:moveTo>
                <a:cubicBezTo>
                  <a:pt x="30" y="10"/>
                  <a:pt x="24" y="7"/>
                  <a:pt x="24" y="4"/>
                </a:cubicBezTo>
                <a:cubicBezTo>
                  <a:pt x="24" y="4"/>
                  <a:pt x="18" y="0"/>
                  <a:pt x="12" y="2"/>
                </a:cubicBezTo>
                <a:cubicBezTo>
                  <a:pt x="11" y="2"/>
                  <a:pt x="11" y="2"/>
                  <a:pt x="11" y="2"/>
                </a:cubicBezTo>
                <a:cubicBezTo>
                  <a:pt x="10" y="2"/>
                  <a:pt x="10" y="2"/>
                  <a:pt x="10" y="2"/>
                </a:cubicBezTo>
                <a:cubicBezTo>
                  <a:pt x="7" y="4"/>
                  <a:pt x="6" y="5"/>
                  <a:pt x="4" y="8"/>
                </a:cubicBezTo>
                <a:cubicBezTo>
                  <a:pt x="0" y="15"/>
                  <a:pt x="2" y="24"/>
                  <a:pt x="9" y="27"/>
                </a:cubicBezTo>
                <a:cubicBezTo>
                  <a:pt x="16" y="31"/>
                  <a:pt x="24" y="29"/>
                  <a:pt x="28" y="22"/>
                </a:cubicBezTo>
                <a:cubicBezTo>
                  <a:pt x="30" y="20"/>
                  <a:pt x="31" y="17"/>
                  <a:pt x="30"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687">
            <a:extLst>
              <a:ext uri="{FF2B5EF4-FFF2-40B4-BE49-F238E27FC236}">
                <a16:creationId xmlns:a16="http://schemas.microsoft.com/office/drawing/2014/main" id="{388CAD72-1EEE-488C-8B39-A7D0E57D92AE}"/>
              </a:ext>
            </a:extLst>
          </p:cNvPr>
          <p:cNvSpPr>
            <a:spLocks noEditPoints="1"/>
          </p:cNvSpPr>
          <p:nvPr/>
        </p:nvSpPr>
        <p:spPr bwMode="auto">
          <a:xfrm>
            <a:off x="9083675" y="3408363"/>
            <a:ext cx="1055688" cy="1057275"/>
          </a:xfrm>
          <a:custGeom>
            <a:avLst/>
            <a:gdLst>
              <a:gd name="T0" fmla="*/ 374 w 491"/>
              <a:gd name="T1" fmla="*/ 46 h 492"/>
              <a:gd name="T2" fmla="*/ 341 w 491"/>
              <a:gd name="T3" fmla="*/ 44 h 492"/>
              <a:gd name="T4" fmla="*/ 315 w 491"/>
              <a:gd name="T5" fmla="*/ 33 h 492"/>
              <a:gd name="T6" fmla="*/ 289 w 491"/>
              <a:gd name="T7" fmla="*/ 12 h 492"/>
              <a:gd name="T8" fmla="*/ 261 w 491"/>
              <a:gd name="T9" fmla="*/ 1 h 492"/>
              <a:gd name="T10" fmla="*/ 232 w 491"/>
              <a:gd name="T11" fmla="*/ 9 h 492"/>
              <a:gd name="T12" fmla="*/ 204 w 491"/>
              <a:gd name="T13" fmla="*/ 26 h 492"/>
              <a:gd name="T14" fmla="*/ 177 w 491"/>
              <a:gd name="T15" fmla="*/ 33 h 492"/>
              <a:gd name="T16" fmla="*/ 143 w 491"/>
              <a:gd name="T17" fmla="*/ 31 h 492"/>
              <a:gd name="T18" fmla="*/ 114 w 491"/>
              <a:gd name="T19" fmla="*/ 39 h 492"/>
              <a:gd name="T20" fmla="*/ 95 w 491"/>
              <a:gd name="T21" fmla="*/ 62 h 492"/>
              <a:gd name="T22" fmla="*/ 83 w 491"/>
              <a:gd name="T23" fmla="*/ 93 h 492"/>
              <a:gd name="T24" fmla="*/ 65 w 491"/>
              <a:gd name="T25" fmla="*/ 114 h 492"/>
              <a:gd name="T26" fmla="*/ 37 w 491"/>
              <a:gd name="T27" fmla="*/ 132 h 492"/>
              <a:gd name="T28" fmla="*/ 17 w 491"/>
              <a:gd name="T29" fmla="*/ 155 h 492"/>
              <a:gd name="T30" fmla="*/ 16 w 491"/>
              <a:gd name="T31" fmla="*/ 185 h 492"/>
              <a:gd name="T32" fmla="*/ 24 w 491"/>
              <a:gd name="T33" fmla="*/ 218 h 492"/>
              <a:gd name="T34" fmla="*/ 22 w 491"/>
              <a:gd name="T35" fmla="*/ 245 h 492"/>
              <a:gd name="T36" fmla="*/ 10 w 491"/>
              <a:gd name="T37" fmla="*/ 277 h 492"/>
              <a:gd name="T38" fmla="*/ 8 w 491"/>
              <a:gd name="T39" fmla="*/ 306 h 492"/>
              <a:gd name="T40" fmla="*/ 24 w 491"/>
              <a:gd name="T41" fmla="*/ 332 h 492"/>
              <a:gd name="T42" fmla="*/ 49 w 491"/>
              <a:gd name="T43" fmla="*/ 353 h 492"/>
              <a:gd name="T44" fmla="*/ 64 w 491"/>
              <a:gd name="T45" fmla="*/ 377 h 492"/>
              <a:gd name="T46" fmla="*/ 73 w 491"/>
              <a:gd name="T47" fmla="*/ 409 h 492"/>
              <a:gd name="T48" fmla="*/ 89 w 491"/>
              <a:gd name="T49" fmla="*/ 434 h 492"/>
              <a:gd name="T50" fmla="*/ 117 w 491"/>
              <a:gd name="T51" fmla="*/ 445 h 492"/>
              <a:gd name="T52" fmla="*/ 150 w 491"/>
              <a:gd name="T53" fmla="*/ 448 h 492"/>
              <a:gd name="T54" fmla="*/ 176 w 491"/>
              <a:gd name="T55" fmla="*/ 458 h 492"/>
              <a:gd name="T56" fmla="*/ 202 w 491"/>
              <a:gd name="T57" fmla="*/ 479 h 492"/>
              <a:gd name="T58" fmla="*/ 230 w 491"/>
              <a:gd name="T59" fmla="*/ 490 h 492"/>
              <a:gd name="T60" fmla="*/ 259 w 491"/>
              <a:gd name="T61" fmla="*/ 483 h 492"/>
              <a:gd name="T62" fmla="*/ 287 w 491"/>
              <a:gd name="T63" fmla="*/ 465 h 492"/>
              <a:gd name="T64" fmla="*/ 314 w 491"/>
              <a:gd name="T65" fmla="*/ 458 h 492"/>
              <a:gd name="T66" fmla="*/ 347 w 491"/>
              <a:gd name="T67" fmla="*/ 460 h 492"/>
              <a:gd name="T68" fmla="*/ 376 w 491"/>
              <a:gd name="T69" fmla="*/ 453 h 492"/>
              <a:gd name="T70" fmla="*/ 395 w 491"/>
              <a:gd name="T71" fmla="*/ 430 h 492"/>
              <a:gd name="T72" fmla="*/ 408 w 491"/>
              <a:gd name="T73" fmla="*/ 399 h 492"/>
              <a:gd name="T74" fmla="*/ 426 w 491"/>
              <a:gd name="T75" fmla="*/ 377 h 492"/>
              <a:gd name="T76" fmla="*/ 454 w 491"/>
              <a:gd name="T77" fmla="*/ 359 h 492"/>
              <a:gd name="T78" fmla="*/ 473 w 491"/>
              <a:gd name="T79" fmla="*/ 336 h 492"/>
              <a:gd name="T80" fmla="*/ 475 w 491"/>
              <a:gd name="T81" fmla="*/ 306 h 492"/>
              <a:gd name="T82" fmla="*/ 467 w 491"/>
              <a:gd name="T83" fmla="*/ 274 h 492"/>
              <a:gd name="T84" fmla="*/ 469 w 491"/>
              <a:gd name="T85" fmla="*/ 246 h 492"/>
              <a:gd name="T86" fmla="*/ 481 w 491"/>
              <a:gd name="T87" fmla="*/ 215 h 492"/>
              <a:gd name="T88" fmla="*/ 483 w 491"/>
              <a:gd name="T89" fmla="*/ 185 h 492"/>
              <a:gd name="T90" fmla="*/ 467 w 491"/>
              <a:gd name="T91" fmla="*/ 160 h 492"/>
              <a:gd name="T92" fmla="*/ 441 w 491"/>
              <a:gd name="T93" fmla="*/ 138 h 492"/>
              <a:gd name="T94" fmla="*/ 426 w 491"/>
              <a:gd name="T95" fmla="*/ 115 h 492"/>
              <a:gd name="T96" fmla="*/ 418 w 491"/>
              <a:gd name="T97" fmla="*/ 82 h 492"/>
              <a:gd name="T98" fmla="*/ 402 w 491"/>
              <a:gd name="T99" fmla="*/ 57 h 492"/>
              <a:gd name="T100" fmla="*/ 91 w 491"/>
              <a:gd name="T101" fmla="*/ 11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1" h="492">
                <a:moveTo>
                  <a:pt x="390" y="58"/>
                </a:moveTo>
                <a:cubicBezTo>
                  <a:pt x="386" y="61"/>
                  <a:pt x="381" y="65"/>
                  <a:pt x="377" y="65"/>
                </a:cubicBezTo>
                <a:cubicBezTo>
                  <a:pt x="375" y="64"/>
                  <a:pt x="373" y="62"/>
                  <a:pt x="371" y="61"/>
                </a:cubicBezTo>
                <a:cubicBezTo>
                  <a:pt x="370" y="57"/>
                  <a:pt x="372" y="51"/>
                  <a:pt x="374" y="46"/>
                </a:cubicBezTo>
                <a:cubicBezTo>
                  <a:pt x="377" y="38"/>
                  <a:pt x="373" y="37"/>
                  <a:pt x="370" y="35"/>
                </a:cubicBezTo>
                <a:cubicBezTo>
                  <a:pt x="368" y="33"/>
                  <a:pt x="364" y="30"/>
                  <a:pt x="359" y="37"/>
                </a:cubicBezTo>
                <a:cubicBezTo>
                  <a:pt x="355" y="41"/>
                  <a:pt x="351" y="46"/>
                  <a:pt x="347" y="47"/>
                </a:cubicBezTo>
                <a:cubicBezTo>
                  <a:pt x="345" y="46"/>
                  <a:pt x="343" y="45"/>
                  <a:pt x="341" y="44"/>
                </a:cubicBezTo>
                <a:cubicBezTo>
                  <a:pt x="339" y="40"/>
                  <a:pt x="340" y="34"/>
                  <a:pt x="341" y="29"/>
                </a:cubicBezTo>
                <a:cubicBezTo>
                  <a:pt x="343" y="20"/>
                  <a:pt x="339" y="19"/>
                  <a:pt x="336" y="18"/>
                </a:cubicBezTo>
                <a:cubicBezTo>
                  <a:pt x="333" y="17"/>
                  <a:pt x="329" y="15"/>
                  <a:pt x="325" y="22"/>
                </a:cubicBezTo>
                <a:cubicBezTo>
                  <a:pt x="322" y="27"/>
                  <a:pt x="318" y="32"/>
                  <a:pt x="315" y="33"/>
                </a:cubicBezTo>
                <a:cubicBezTo>
                  <a:pt x="312" y="33"/>
                  <a:pt x="310" y="32"/>
                  <a:pt x="308" y="31"/>
                </a:cubicBezTo>
                <a:cubicBezTo>
                  <a:pt x="306" y="28"/>
                  <a:pt x="306" y="22"/>
                  <a:pt x="306" y="16"/>
                </a:cubicBezTo>
                <a:cubicBezTo>
                  <a:pt x="307" y="8"/>
                  <a:pt x="302" y="7"/>
                  <a:pt x="299" y="7"/>
                </a:cubicBezTo>
                <a:cubicBezTo>
                  <a:pt x="296" y="6"/>
                  <a:pt x="292" y="4"/>
                  <a:pt x="289" y="12"/>
                </a:cubicBezTo>
                <a:cubicBezTo>
                  <a:pt x="287" y="17"/>
                  <a:pt x="284" y="23"/>
                  <a:pt x="281" y="25"/>
                </a:cubicBezTo>
                <a:cubicBezTo>
                  <a:pt x="278" y="25"/>
                  <a:pt x="276" y="24"/>
                  <a:pt x="273" y="24"/>
                </a:cubicBezTo>
                <a:cubicBezTo>
                  <a:pt x="271" y="21"/>
                  <a:pt x="270" y="15"/>
                  <a:pt x="269" y="10"/>
                </a:cubicBezTo>
                <a:cubicBezTo>
                  <a:pt x="269" y="1"/>
                  <a:pt x="264" y="1"/>
                  <a:pt x="261" y="1"/>
                </a:cubicBezTo>
                <a:cubicBezTo>
                  <a:pt x="258" y="1"/>
                  <a:pt x="253" y="0"/>
                  <a:pt x="252" y="8"/>
                </a:cubicBezTo>
                <a:cubicBezTo>
                  <a:pt x="250" y="14"/>
                  <a:pt x="248" y="20"/>
                  <a:pt x="246" y="22"/>
                </a:cubicBezTo>
                <a:cubicBezTo>
                  <a:pt x="243" y="22"/>
                  <a:pt x="241" y="22"/>
                  <a:pt x="238" y="23"/>
                </a:cubicBezTo>
                <a:cubicBezTo>
                  <a:pt x="236" y="20"/>
                  <a:pt x="233" y="14"/>
                  <a:pt x="232" y="9"/>
                </a:cubicBezTo>
                <a:cubicBezTo>
                  <a:pt x="230" y="0"/>
                  <a:pt x="226" y="1"/>
                  <a:pt x="223" y="2"/>
                </a:cubicBezTo>
                <a:cubicBezTo>
                  <a:pt x="219" y="2"/>
                  <a:pt x="215" y="2"/>
                  <a:pt x="214" y="10"/>
                </a:cubicBezTo>
                <a:cubicBezTo>
                  <a:pt x="214" y="16"/>
                  <a:pt x="213" y="22"/>
                  <a:pt x="211" y="25"/>
                </a:cubicBezTo>
                <a:cubicBezTo>
                  <a:pt x="208" y="25"/>
                  <a:pt x="206" y="26"/>
                  <a:pt x="204" y="26"/>
                </a:cubicBezTo>
                <a:cubicBezTo>
                  <a:pt x="201" y="24"/>
                  <a:pt x="197" y="19"/>
                  <a:pt x="195" y="14"/>
                </a:cubicBezTo>
                <a:cubicBezTo>
                  <a:pt x="192" y="6"/>
                  <a:pt x="188" y="7"/>
                  <a:pt x="185" y="8"/>
                </a:cubicBezTo>
                <a:cubicBezTo>
                  <a:pt x="181" y="9"/>
                  <a:pt x="177" y="10"/>
                  <a:pt x="178" y="18"/>
                </a:cubicBezTo>
                <a:cubicBezTo>
                  <a:pt x="178" y="24"/>
                  <a:pt x="178" y="30"/>
                  <a:pt x="177" y="33"/>
                </a:cubicBezTo>
                <a:cubicBezTo>
                  <a:pt x="174" y="34"/>
                  <a:pt x="172" y="35"/>
                  <a:pt x="170" y="36"/>
                </a:cubicBezTo>
                <a:cubicBezTo>
                  <a:pt x="166" y="34"/>
                  <a:pt x="162" y="29"/>
                  <a:pt x="159" y="24"/>
                </a:cubicBezTo>
                <a:cubicBezTo>
                  <a:pt x="155" y="17"/>
                  <a:pt x="151" y="19"/>
                  <a:pt x="148" y="21"/>
                </a:cubicBezTo>
                <a:cubicBezTo>
                  <a:pt x="145" y="22"/>
                  <a:pt x="141" y="23"/>
                  <a:pt x="143" y="31"/>
                </a:cubicBezTo>
                <a:cubicBezTo>
                  <a:pt x="145" y="37"/>
                  <a:pt x="145" y="43"/>
                  <a:pt x="144" y="47"/>
                </a:cubicBezTo>
                <a:cubicBezTo>
                  <a:pt x="142" y="48"/>
                  <a:pt x="140" y="49"/>
                  <a:pt x="138" y="50"/>
                </a:cubicBezTo>
                <a:cubicBezTo>
                  <a:pt x="134" y="49"/>
                  <a:pt x="129" y="45"/>
                  <a:pt x="126" y="41"/>
                </a:cubicBezTo>
                <a:cubicBezTo>
                  <a:pt x="120" y="34"/>
                  <a:pt x="117" y="37"/>
                  <a:pt x="114" y="39"/>
                </a:cubicBezTo>
                <a:cubicBezTo>
                  <a:pt x="111" y="40"/>
                  <a:pt x="107" y="42"/>
                  <a:pt x="111" y="50"/>
                </a:cubicBezTo>
                <a:cubicBezTo>
                  <a:pt x="113" y="55"/>
                  <a:pt x="115" y="61"/>
                  <a:pt x="114" y="65"/>
                </a:cubicBezTo>
                <a:cubicBezTo>
                  <a:pt x="112" y="66"/>
                  <a:pt x="110" y="68"/>
                  <a:pt x="108" y="69"/>
                </a:cubicBezTo>
                <a:cubicBezTo>
                  <a:pt x="105" y="69"/>
                  <a:pt x="99" y="65"/>
                  <a:pt x="95" y="62"/>
                </a:cubicBezTo>
                <a:cubicBezTo>
                  <a:pt x="89" y="56"/>
                  <a:pt x="86" y="60"/>
                  <a:pt x="83" y="62"/>
                </a:cubicBezTo>
                <a:cubicBezTo>
                  <a:pt x="81" y="64"/>
                  <a:pt x="77" y="66"/>
                  <a:pt x="82" y="73"/>
                </a:cubicBezTo>
                <a:cubicBezTo>
                  <a:pt x="85" y="78"/>
                  <a:pt x="87" y="84"/>
                  <a:pt x="88" y="88"/>
                </a:cubicBezTo>
                <a:cubicBezTo>
                  <a:pt x="86" y="89"/>
                  <a:pt x="84" y="91"/>
                  <a:pt x="83" y="93"/>
                </a:cubicBezTo>
                <a:cubicBezTo>
                  <a:pt x="79" y="93"/>
                  <a:pt x="73" y="90"/>
                  <a:pt x="68" y="88"/>
                </a:cubicBezTo>
                <a:cubicBezTo>
                  <a:pt x="61" y="83"/>
                  <a:pt x="59" y="87"/>
                  <a:pt x="57" y="89"/>
                </a:cubicBezTo>
                <a:cubicBezTo>
                  <a:pt x="54" y="92"/>
                  <a:pt x="51" y="95"/>
                  <a:pt x="57" y="101"/>
                </a:cubicBezTo>
                <a:cubicBezTo>
                  <a:pt x="61" y="105"/>
                  <a:pt x="64" y="111"/>
                  <a:pt x="65" y="114"/>
                </a:cubicBezTo>
                <a:cubicBezTo>
                  <a:pt x="63" y="116"/>
                  <a:pt x="62" y="118"/>
                  <a:pt x="61" y="120"/>
                </a:cubicBezTo>
                <a:cubicBezTo>
                  <a:pt x="57" y="121"/>
                  <a:pt x="51" y="119"/>
                  <a:pt x="46" y="117"/>
                </a:cubicBezTo>
                <a:cubicBezTo>
                  <a:pt x="38" y="114"/>
                  <a:pt x="36" y="118"/>
                  <a:pt x="34" y="121"/>
                </a:cubicBezTo>
                <a:cubicBezTo>
                  <a:pt x="33" y="123"/>
                  <a:pt x="30" y="127"/>
                  <a:pt x="37" y="132"/>
                </a:cubicBezTo>
                <a:cubicBezTo>
                  <a:pt x="41" y="136"/>
                  <a:pt x="45" y="140"/>
                  <a:pt x="46" y="144"/>
                </a:cubicBezTo>
                <a:cubicBezTo>
                  <a:pt x="45" y="146"/>
                  <a:pt x="44" y="148"/>
                  <a:pt x="43" y="151"/>
                </a:cubicBezTo>
                <a:cubicBezTo>
                  <a:pt x="40" y="152"/>
                  <a:pt x="33" y="151"/>
                  <a:pt x="28" y="150"/>
                </a:cubicBezTo>
                <a:cubicBezTo>
                  <a:pt x="20" y="148"/>
                  <a:pt x="19" y="152"/>
                  <a:pt x="17" y="155"/>
                </a:cubicBezTo>
                <a:cubicBezTo>
                  <a:pt x="16" y="158"/>
                  <a:pt x="14" y="162"/>
                  <a:pt x="22" y="166"/>
                </a:cubicBezTo>
                <a:cubicBezTo>
                  <a:pt x="26" y="169"/>
                  <a:pt x="31" y="173"/>
                  <a:pt x="33" y="176"/>
                </a:cubicBezTo>
                <a:cubicBezTo>
                  <a:pt x="32" y="179"/>
                  <a:pt x="31" y="181"/>
                  <a:pt x="31" y="183"/>
                </a:cubicBezTo>
                <a:cubicBezTo>
                  <a:pt x="27" y="185"/>
                  <a:pt x="21" y="185"/>
                  <a:pt x="16" y="185"/>
                </a:cubicBezTo>
                <a:cubicBezTo>
                  <a:pt x="7" y="184"/>
                  <a:pt x="7" y="189"/>
                  <a:pt x="6" y="192"/>
                </a:cubicBezTo>
                <a:cubicBezTo>
                  <a:pt x="5" y="195"/>
                  <a:pt x="4" y="199"/>
                  <a:pt x="12" y="202"/>
                </a:cubicBezTo>
                <a:cubicBezTo>
                  <a:pt x="17" y="204"/>
                  <a:pt x="22" y="208"/>
                  <a:pt x="25" y="210"/>
                </a:cubicBezTo>
                <a:cubicBezTo>
                  <a:pt x="24" y="213"/>
                  <a:pt x="24" y="215"/>
                  <a:pt x="24" y="218"/>
                </a:cubicBezTo>
                <a:cubicBezTo>
                  <a:pt x="21" y="220"/>
                  <a:pt x="14" y="221"/>
                  <a:pt x="9" y="222"/>
                </a:cubicBezTo>
                <a:cubicBezTo>
                  <a:pt x="1" y="222"/>
                  <a:pt x="1" y="227"/>
                  <a:pt x="1" y="230"/>
                </a:cubicBezTo>
                <a:cubicBezTo>
                  <a:pt x="0" y="233"/>
                  <a:pt x="0" y="238"/>
                  <a:pt x="8" y="239"/>
                </a:cubicBezTo>
                <a:cubicBezTo>
                  <a:pt x="13" y="241"/>
                  <a:pt x="19" y="243"/>
                  <a:pt x="22" y="245"/>
                </a:cubicBezTo>
                <a:cubicBezTo>
                  <a:pt x="22" y="248"/>
                  <a:pt x="22" y="250"/>
                  <a:pt x="22" y="253"/>
                </a:cubicBezTo>
                <a:cubicBezTo>
                  <a:pt x="19" y="255"/>
                  <a:pt x="14" y="258"/>
                  <a:pt x="8" y="259"/>
                </a:cubicBezTo>
                <a:cubicBezTo>
                  <a:pt x="0" y="261"/>
                  <a:pt x="1" y="265"/>
                  <a:pt x="1" y="269"/>
                </a:cubicBezTo>
                <a:cubicBezTo>
                  <a:pt x="1" y="272"/>
                  <a:pt x="1" y="276"/>
                  <a:pt x="10" y="277"/>
                </a:cubicBezTo>
                <a:cubicBezTo>
                  <a:pt x="15" y="277"/>
                  <a:pt x="22" y="278"/>
                  <a:pt x="25" y="280"/>
                </a:cubicBezTo>
                <a:cubicBezTo>
                  <a:pt x="25" y="283"/>
                  <a:pt x="25" y="285"/>
                  <a:pt x="26" y="288"/>
                </a:cubicBezTo>
                <a:cubicBezTo>
                  <a:pt x="24" y="290"/>
                  <a:pt x="18" y="294"/>
                  <a:pt x="13" y="296"/>
                </a:cubicBezTo>
                <a:cubicBezTo>
                  <a:pt x="5" y="299"/>
                  <a:pt x="7" y="303"/>
                  <a:pt x="8" y="306"/>
                </a:cubicBezTo>
                <a:cubicBezTo>
                  <a:pt x="9" y="310"/>
                  <a:pt x="9" y="314"/>
                  <a:pt x="18" y="313"/>
                </a:cubicBezTo>
                <a:cubicBezTo>
                  <a:pt x="23" y="313"/>
                  <a:pt x="29" y="313"/>
                  <a:pt x="33" y="314"/>
                </a:cubicBezTo>
                <a:cubicBezTo>
                  <a:pt x="33" y="317"/>
                  <a:pt x="34" y="319"/>
                  <a:pt x="35" y="321"/>
                </a:cubicBezTo>
                <a:cubicBezTo>
                  <a:pt x="33" y="325"/>
                  <a:pt x="29" y="329"/>
                  <a:pt x="24" y="332"/>
                </a:cubicBezTo>
                <a:cubicBezTo>
                  <a:pt x="17" y="336"/>
                  <a:pt x="19" y="340"/>
                  <a:pt x="20" y="343"/>
                </a:cubicBezTo>
                <a:cubicBezTo>
                  <a:pt x="21" y="346"/>
                  <a:pt x="23" y="350"/>
                  <a:pt x="31" y="348"/>
                </a:cubicBezTo>
                <a:cubicBezTo>
                  <a:pt x="36" y="347"/>
                  <a:pt x="42" y="346"/>
                  <a:pt x="46" y="347"/>
                </a:cubicBezTo>
                <a:cubicBezTo>
                  <a:pt x="47" y="349"/>
                  <a:pt x="48" y="351"/>
                  <a:pt x="49" y="353"/>
                </a:cubicBezTo>
                <a:cubicBezTo>
                  <a:pt x="48" y="357"/>
                  <a:pt x="44" y="362"/>
                  <a:pt x="40" y="365"/>
                </a:cubicBezTo>
                <a:cubicBezTo>
                  <a:pt x="33" y="371"/>
                  <a:pt x="36" y="374"/>
                  <a:pt x="38" y="377"/>
                </a:cubicBezTo>
                <a:cubicBezTo>
                  <a:pt x="40" y="380"/>
                  <a:pt x="42" y="384"/>
                  <a:pt x="50" y="380"/>
                </a:cubicBezTo>
                <a:cubicBezTo>
                  <a:pt x="54" y="378"/>
                  <a:pt x="61" y="376"/>
                  <a:pt x="64" y="377"/>
                </a:cubicBezTo>
                <a:cubicBezTo>
                  <a:pt x="66" y="379"/>
                  <a:pt x="67" y="381"/>
                  <a:pt x="69" y="383"/>
                </a:cubicBezTo>
                <a:cubicBezTo>
                  <a:pt x="68" y="386"/>
                  <a:pt x="65" y="392"/>
                  <a:pt x="61" y="396"/>
                </a:cubicBezTo>
                <a:cubicBezTo>
                  <a:pt x="56" y="402"/>
                  <a:pt x="59" y="405"/>
                  <a:pt x="61" y="408"/>
                </a:cubicBezTo>
                <a:cubicBezTo>
                  <a:pt x="63" y="410"/>
                  <a:pt x="66" y="414"/>
                  <a:pt x="73" y="409"/>
                </a:cubicBezTo>
                <a:cubicBezTo>
                  <a:pt x="78" y="406"/>
                  <a:pt x="83" y="404"/>
                  <a:pt x="87" y="403"/>
                </a:cubicBezTo>
                <a:cubicBezTo>
                  <a:pt x="89" y="405"/>
                  <a:pt x="90" y="407"/>
                  <a:pt x="92" y="409"/>
                </a:cubicBezTo>
                <a:cubicBezTo>
                  <a:pt x="92" y="412"/>
                  <a:pt x="90" y="418"/>
                  <a:pt x="87" y="423"/>
                </a:cubicBezTo>
                <a:cubicBezTo>
                  <a:pt x="82" y="430"/>
                  <a:pt x="86" y="432"/>
                  <a:pt x="89" y="434"/>
                </a:cubicBezTo>
                <a:cubicBezTo>
                  <a:pt x="91" y="437"/>
                  <a:pt x="94" y="440"/>
                  <a:pt x="101" y="434"/>
                </a:cubicBezTo>
                <a:cubicBezTo>
                  <a:pt x="105" y="430"/>
                  <a:pt x="110" y="427"/>
                  <a:pt x="114" y="426"/>
                </a:cubicBezTo>
                <a:cubicBezTo>
                  <a:pt x="116" y="428"/>
                  <a:pt x="118" y="429"/>
                  <a:pt x="120" y="430"/>
                </a:cubicBezTo>
                <a:cubicBezTo>
                  <a:pt x="120" y="434"/>
                  <a:pt x="119" y="440"/>
                  <a:pt x="117" y="445"/>
                </a:cubicBezTo>
                <a:cubicBezTo>
                  <a:pt x="113" y="453"/>
                  <a:pt x="117" y="455"/>
                  <a:pt x="120" y="457"/>
                </a:cubicBezTo>
                <a:cubicBezTo>
                  <a:pt x="123" y="458"/>
                  <a:pt x="127" y="461"/>
                  <a:pt x="132" y="454"/>
                </a:cubicBezTo>
                <a:cubicBezTo>
                  <a:pt x="135" y="450"/>
                  <a:pt x="140" y="446"/>
                  <a:pt x="144" y="445"/>
                </a:cubicBezTo>
                <a:cubicBezTo>
                  <a:pt x="146" y="446"/>
                  <a:pt x="148" y="447"/>
                  <a:pt x="150" y="448"/>
                </a:cubicBezTo>
                <a:cubicBezTo>
                  <a:pt x="151" y="452"/>
                  <a:pt x="151" y="458"/>
                  <a:pt x="149" y="463"/>
                </a:cubicBezTo>
                <a:cubicBezTo>
                  <a:pt x="147" y="471"/>
                  <a:pt x="152" y="472"/>
                  <a:pt x="155" y="474"/>
                </a:cubicBezTo>
                <a:cubicBezTo>
                  <a:pt x="158" y="475"/>
                  <a:pt x="162" y="477"/>
                  <a:pt x="166" y="470"/>
                </a:cubicBezTo>
                <a:cubicBezTo>
                  <a:pt x="169" y="465"/>
                  <a:pt x="173" y="460"/>
                  <a:pt x="176" y="458"/>
                </a:cubicBezTo>
                <a:cubicBezTo>
                  <a:pt x="178" y="459"/>
                  <a:pt x="181" y="460"/>
                  <a:pt x="183" y="460"/>
                </a:cubicBezTo>
                <a:cubicBezTo>
                  <a:pt x="184" y="464"/>
                  <a:pt x="185" y="470"/>
                  <a:pt x="185" y="475"/>
                </a:cubicBezTo>
                <a:cubicBezTo>
                  <a:pt x="184" y="484"/>
                  <a:pt x="188" y="484"/>
                  <a:pt x="192" y="485"/>
                </a:cubicBezTo>
                <a:cubicBezTo>
                  <a:pt x="195" y="486"/>
                  <a:pt x="199" y="487"/>
                  <a:pt x="202" y="479"/>
                </a:cubicBezTo>
                <a:cubicBezTo>
                  <a:pt x="204" y="474"/>
                  <a:pt x="207" y="469"/>
                  <a:pt x="210" y="466"/>
                </a:cubicBezTo>
                <a:cubicBezTo>
                  <a:pt x="212" y="467"/>
                  <a:pt x="215" y="467"/>
                  <a:pt x="217" y="467"/>
                </a:cubicBezTo>
                <a:cubicBezTo>
                  <a:pt x="219" y="470"/>
                  <a:pt x="221" y="477"/>
                  <a:pt x="221" y="482"/>
                </a:cubicBezTo>
                <a:cubicBezTo>
                  <a:pt x="222" y="491"/>
                  <a:pt x="226" y="490"/>
                  <a:pt x="230" y="490"/>
                </a:cubicBezTo>
                <a:cubicBezTo>
                  <a:pt x="233" y="491"/>
                  <a:pt x="237" y="492"/>
                  <a:pt x="239" y="483"/>
                </a:cubicBezTo>
                <a:cubicBezTo>
                  <a:pt x="240" y="478"/>
                  <a:pt x="242" y="472"/>
                  <a:pt x="245" y="469"/>
                </a:cubicBezTo>
                <a:cubicBezTo>
                  <a:pt x="247" y="469"/>
                  <a:pt x="250" y="469"/>
                  <a:pt x="252" y="469"/>
                </a:cubicBezTo>
                <a:cubicBezTo>
                  <a:pt x="255" y="472"/>
                  <a:pt x="257" y="478"/>
                  <a:pt x="259" y="483"/>
                </a:cubicBezTo>
                <a:cubicBezTo>
                  <a:pt x="260" y="491"/>
                  <a:pt x="265" y="490"/>
                  <a:pt x="268" y="490"/>
                </a:cubicBezTo>
                <a:cubicBezTo>
                  <a:pt x="271" y="490"/>
                  <a:pt x="276" y="490"/>
                  <a:pt x="276" y="481"/>
                </a:cubicBezTo>
                <a:cubicBezTo>
                  <a:pt x="276" y="476"/>
                  <a:pt x="278" y="470"/>
                  <a:pt x="280" y="466"/>
                </a:cubicBezTo>
                <a:cubicBezTo>
                  <a:pt x="282" y="466"/>
                  <a:pt x="285" y="466"/>
                  <a:pt x="287" y="465"/>
                </a:cubicBezTo>
                <a:cubicBezTo>
                  <a:pt x="290" y="468"/>
                  <a:pt x="293" y="473"/>
                  <a:pt x="295" y="478"/>
                </a:cubicBezTo>
                <a:cubicBezTo>
                  <a:pt x="299" y="486"/>
                  <a:pt x="303" y="484"/>
                  <a:pt x="306" y="483"/>
                </a:cubicBezTo>
                <a:cubicBezTo>
                  <a:pt x="309" y="483"/>
                  <a:pt x="314" y="482"/>
                  <a:pt x="313" y="473"/>
                </a:cubicBezTo>
                <a:cubicBezTo>
                  <a:pt x="312" y="468"/>
                  <a:pt x="312" y="462"/>
                  <a:pt x="314" y="458"/>
                </a:cubicBezTo>
                <a:cubicBezTo>
                  <a:pt x="316" y="458"/>
                  <a:pt x="319" y="457"/>
                  <a:pt x="321" y="456"/>
                </a:cubicBezTo>
                <a:cubicBezTo>
                  <a:pt x="324" y="458"/>
                  <a:pt x="328" y="463"/>
                  <a:pt x="331" y="467"/>
                </a:cubicBezTo>
                <a:cubicBezTo>
                  <a:pt x="335" y="475"/>
                  <a:pt x="339" y="472"/>
                  <a:pt x="342" y="471"/>
                </a:cubicBezTo>
                <a:cubicBezTo>
                  <a:pt x="345" y="470"/>
                  <a:pt x="350" y="468"/>
                  <a:pt x="347" y="460"/>
                </a:cubicBezTo>
                <a:cubicBezTo>
                  <a:pt x="346" y="455"/>
                  <a:pt x="345" y="449"/>
                  <a:pt x="346" y="445"/>
                </a:cubicBezTo>
                <a:cubicBezTo>
                  <a:pt x="348" y="444"/>
                  <a:pt x="351" y="443"/>
                  <a:pt x="353" y="442"/>
                </a:cubicBezTo>
                <a:cubicBezTo>
                  <a:pt x="356" y="443"/>
                  <a:pt x="361" y="447"/>
                  <a:pt x="365" y="451"/>
                </a:cubicBezTo>
                <a:cubicBezTo>
                  <a:pt x="370" y="458"/>
                  <a:pt x="374" y="455"/>
                  <a:pt x="376" y="453"/>
                </a:cubicBezTo>
                <a:cubicBezTo>
                  <a:pt x="379" y="451"/>
                  <a:pt x="383" y="449"/>
                  <a:pt x="380" y="442"/>
                </a:cubicBezTo>
                <a:cubicBezTo>
                  <a:pt x="378" y="437"/>
                  <a:pt x="376" y="431"/>
                  <a:pt x="376" y="427"/>
                </a:cubicBezTo>
                <a:cubicBezTo>
                  <a:pt x="378" y="425"/>
                  <a:pt x="380" y="424"/>
                  <a:pt x="382" y="422"/>
                </a:cubicBezTo>
                <a:cubicBezTo>
                  <a:pt x="386" y="423"/>
                  <a:pt x="391" y="426"/>
                  <a:pt x="395" y="430"/>
                </a:cubicBezTo>
                <a:cubicBezTo>
                  <a:pt x="402" y="435"/>
                  <a:pt x="405" y="432"/>
                  <a:pt x="407" y="430"/>
                </a:cubicBezTo>
                <a:cubicBezTo>
                  <a:pt x="410" y="428"/>
                  <a:pt x="413" y="425"/>
                  <a:pt x="409" y="418"/>
                </a:cubicBezTo>
                <a:cubicBezTo>
                  <a:pt x="406" y="414"/>
                  <a:pt x="403" y="408"/>
                  <a:pt x="403" y="404"/>
                </a:cubicBezTo>
                <a:cubicBezTo>
                  <a:pt x="405" y="402"/>
                  <a:pt x="406" y="401"/>
                  <a:pt x="408" y="399"/>
                </a:cubicBezTo>
                <a:cubicBezTo>
                  <a:pt x="412" y="399"/>
                  <a:pt x="418" y="401"/>
                  <a:pt x="422" y="404"/>
                </a:cubicBezTo>
                <a:cubicBezTo>
                  <a:pt x="429" y="409"/>
                  <a:pt x="432" y="405"/>
                  <a:pt x="434" y="402"/>
                </a:cubicBezTo>
                <a:cubicBezTo>
                  <a:pt x="436" y="400"/>
                  <a:pt x="439" y="397"/>
                  <a:pt x="434" y="390"/>
                </a:cubicBezTo>
                <a:cubicBezTo>
                  <a:pt x="430" y="386"/>
                  <a:pt x="427" y="381"/>
                  <a:pt x="426" y="377"/>
                </a:cubicBezTo>
                <a:cubicBezTo>
                  <a:pt x="427" y="375"/>
                  <a:pt x="429" y="373"/>
                  <a:pt x="430" y="371"/>
                </a:cubicBezTo>
                <a:cubicBezTo>
                  <a:pt x="434" y="371"/>
                  <a:pt x="440" y="372"/>
                  <a:pt x="445" y="374"/>
                </a:cubicBezTo>
                <a:cubicBezTo>
                  <a:pt x="453" y="378"/>
                  <a:pt x="455" y="374"/>
                  <a:pt x="456" y="371"/>
                </a:cubicBezTo>
                <a:cubicBezTo>
                  <a:pt x="458" y="368"/>
                  <a:pt x="461" y="364"/>
                  <a:pt x="454" y="359"/>
                </a:cubicBezTo>
                <a:cubicBezTo>
                  <a:pt x="450" y="356"/>
                  <a:pt x="445" y="351"/>
                  <a:pt x="444" y="348"/>
                </a:cubicBezTo>
                <a:cubicBezTo>
                  <a:pt x="445" y="345"/>
                  <a:pt x="446" y="343"/>
                  <a:pt x="447" y="341"/>
                </a:cubicBezTo>
                <a:cubicBezTo>
                  <a:pt x="451" y="340"/>
                  <a:pt x="457" y="340"/>
                  <a:pt x="463" y="342"/>
                </a:cubicBezTo>
                <a:cubicBezTo>
                  <a:pt x="471" y="344"/>
                  <a:pt x="472" y="339"/>
                  <a:pt x="473" y="336"/>
                </a:cubicBezTo>
                <a:cubicBezTo>
                  <a:pt x="474" y="333"/>
                  <a:pt x="477" y="329"/>
                  <a:pt x="469" y="325"/>
                </a:cubicBezTo>
                <a:cubicBezTo>
                  <a:pt x="464" y="322"/>
                  <a:pt x="459" y="318"/>
                  <a:pt x="458" y="315"/>
                </a:cubicBezTo>
                <a:cubicBezTo>
                  <a:pt x="458" y="313"/>
                  <a:pt x="459" y="311"/>
                  <a:pt x="460" y="308"/>
                </a:cubicBezTo>
                <a:cubicBezTo>
                  <a:pt x="463" y="307"/>
                  <a:pt x="469" y="306"/>
                  <a:pt x="475" y="306"/>
                </a:cubicBezTo>
                <a:cubicBezTo>
                  <a:pt x="483" y="307"/>
                  <a:pt x="484" y="303"/>
                  <a:pt x="484" y="300"/>
                </a:cubicBezTo>
                <a:cubicBezTo>
                  <a:pt x="485" y="296"/>
                  <a:pt x="487" y="292"/>
                  <a:pt x="479" y="289"/>
                </a:cubicBezTo>
                <a:cubicBezTo>
                  <a:pt x="474" y="287"/>
                  <a:pt x="468" y="284"/>
                  <a:pt x="466" y="281"/>
                </a:cubicBezTo>
                <a:cubicBezTo>
                  <a:pt x="466" y="279"/>
                  <a:pt x="467" y="276"/>
                  <a:pt x="467" y="274"/>
                </a:cubicBezTo>
                <a:cubicBezTo>
                  <a:pt x="470" y="272"/>
                  <a:pt x="476" y="270"/>
                  <a:pt x="481" y="270"/>
                </a:cubicBezTo>
                <a:cubicBezTo>
                  <a:pt x="490" y="269"/>
                  <a:pt x="490" y="265"/>
                  <a:pt x="490" y="261"/>
                </a:cubicBezTo>
                <a:cubicBezTo>
                  <a:pt x="490" y="258"/>
                  <a:pt x="491" y="254"/>
                  <a:pt x="483" y="252"/>
                </a:cubicBezTo>
                <a:cubicBezTo>
                  <a:pt x="477" y="251"/>
                  <a:pt x="471" y="249"/>
                  <a:pt x="469" y="246"/>
                </a:cubicBezTo>
                <a:cubicBezTo>
                  <a:pt x="469" y="244"/>
                  <a:pt x="469" y="241"/>
                  <a:pt x="469" y="239"/>
                </a:cubicBezTo>
                <a:cubicBezTo>
                  <a:pt x="471" y="236"/>
                  <a:pt x="477" y="234"/>
                  <a:pt x="482" y="233"/>
                </a:cubicBezTo>
                <a:cubicBezTo>
                  <a:pt x="491" y="231"/>
                  <a:pt x="490" y="226"/>
                  <a:pt x="489" y="223"/>
                </a:cubicBezTo>
                <a:cubicBezTo>
                  <a:pt x="489" y="220"/>
                  <a:pt x="489" y="215"/>
                  <a:pt x="481" y="215"/>
                </a:cubicBezTo>
                <a:cubicBezTo>
                  <a:pt x="475" y="215"/>
                  <a:pt x="469" y="213"/>
                  <a:pt x="466" y="211"/>
                </a:cubicBezTo>
                <a:cubicBezTo>
                  <a:pt x="466" y="209"/>
                  <a:pt x="465" y="206"/>
                  <a:pt x="465" y="204"/>
                </a:cubicBezTo>
                <a:cubicBezTo>
                  <a:pt x="467" y="201"/>
                  <a:pt x="472" y="198"/>
                  <a:pt x="477" y="196"/>
                </a:cubicBezTo>
                <a:cubicBezTo>
                  <a:pt x="485" y="192"/>
                  <a:pt x="484" y="188"/>
                  <a:pt x="483" y="185"/>
                </a:cubicBezTo>
                <a:cubicBezTo>
                  <a:pt x="482" y="182"/>
                  <a:pt x="481" y="177"/>
                  <a:pt x="473" y="179"/>
                </a:cubicBezTo>
                <a:cubicBezTo>
                  <a:pt x="468" y="179"/>
                  <a:pt x="461" y="179"/>
                  <a:pt x="458" y="177"/>
                </a:cubicBezTo>
                <a:cubicBezTo>
                  <a:pt x="457" y="175"/>
                  <a:pt x="456" y="173"/>
                  <a:pt x="456" y="170"/>
                </a:cubicBezTo>
                <a:cubicBezTo>
                  <a:pt x="457" y="167"/>
                  <a:pt x="462" y="163"/>
                  <a:pt x="467" y="160"/>
                </a:cubicBezTo>
                <a:cubicBezTo>
                  <a:pt x="474" y="156"/>
                  <a:pt x="472" y="152"/>
                  <a:pt x="470" y="149"/>
                </a:cubicBezTo>
                <a:cubicBezTo>
                  <a:pt x="469" y="146"/>
                  <a:pt x="468" y="141"/>
                  <a:pt x="460" y="144"/>
                </a:cubicBezTo>
                <a:cubicBezTo>
                  <a:pt x="454" y="145"/>
                  <a:pt x="448" y="146"/>
                  <a:pt x="445" y="145"/>
                </a:cubicBezTo>
                <a:cubicBezTo>
                  <a:pt x="443" y="143"/>
                  <a:pt x="442" y="140"/>
                  <a:pt x="441" y="138"/>
                </a:cubicBezTo>
                <a:cubicBezTo>
                  <a:pt x="442" y="135"/>
                  <a:pt x="446" y="130"/>
                  <a:pt x="451" y="126"/>
                </a:cubicBezTo>
                <a:cubicBezTo>
                  <a:pt x="457" y="121"/>
                  <a:pt x="454" y="117"/>
                  <a:pt x="452" y="115"/>
                </a:cubicBezTo>
                <a:cubicBezTo>
                  <a:pt x="451" y="112"/>
                  <a:pt x="449" y="108"/>
                  <a:pt x="441" y="111"/>
                </a:cubicBezTo>
                <a:cubicBezTo>
                  <a:pt x="436" y="114"/>
                  <a:pt x="430" y="115"/>
                  <a:pt x="426" y="115"/>
                </a:cubicBezTo>
                <a:cubicBezTo>
                  <a:pt x="425" y="113"/>
                  <a:pt x="423" y="111"/>
                  <a:pt x="422" y="109"/>
                </a:cubicBezTo>
                <a:cubicBezTo>
                  <a:pt x="423" y="105"/>
                  <a:pt x="426" y="100"/>
                  <a:pt x="429" y="96"/>
                </a:cubicBezTo>
                <a:cubicBezTo>
                  <a:pt x="435" y="89"/>
                  <a:pt x="432" y="86"/>
                  <a:pt x="429" y="84"/>
                </a:cubicBezTo>
                <a:cubicBezTo>
                  <a:pt x="427" y="81"/>
                  <a:pt x="425" y="78"/>
                  <a:pt x="418" y="82"/>
                </a:cubicBezTo>
                <a:cubicBezTo>
                  <a:pt x="413" y="85"/>
                  <a:pt x="407" y="88"/>
                  <a:pt x="404" y="88"/>
                </a:cubicBezTo>
                <a:cubicBezTo>
                  <a:pt x="402" y="86"/>
                  <a:pt x="400" y="85"/>
                  <a:pt x="398" y="83"/>
                </a:cubicBezTo>
                <a:cubicBezTo>
                  <a:pt x="398" y="79"/>
                  <a:pt x="401" y="73"/>
                  <a:pt x="404" y="69"/>
                </a:cubicBezTo>
                <a:cubicBezTo>
                  <a:pt x="408" y="62"/>
                  <a:pt x="404" y="59"/>
                  <a:pt x="402" y="57"/>
                </a:cubicBezTo>
                <a:cubicBezTo>
                  <a:pt x="399" y="55"/>
                  <a:pt x="396" y="52"/>
                  <a:pt x="390" y="58"/>
                </a:cubicBezTo>
                <a:moveTo>
                  <a:pt x="400" y="374"/>
                </a:moveTo>
                <a:cubicBezTo>
                  <a:pt x="329" y="460"/>
                  <a:pt x="202" y="471"/>
                  <a:pt x="117" y="401"/>
                </a:cubicBezTo>
                <a:cubicBezTo>
                  <a:pt x="31" y="330"/>
                  <a:pt x="20" y="203"/>
                  <a:pt x="91" y="117"/>
                </a:cubicBezTo>
                <a:cubicBezTo>
                  <a:pt x="161" y="32"/>
                  <a:pt x="288" y="20"/>
                  <a:pt x="374" y="91"/>
                </a:cubicBezTo>
                <a:cubicBezTo>
                  <a:pt x="459" y="162"/>
                  <a:pt x="471" y="289"/>
                  <a:pt x="400" y="37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688">
            <a:extLst>
              <a:ext uri="{FF2B5EF4-FFF2-40B4-BE49-F238E27FC236}">
                <a16:creationId xmlns:a16="http://schemas.microsoft.com/office/drawing/2014/main" id="{2D4FB049-8092-4AC6-8017-2C5888F4C2D4}"/>
              </a:ext>
            </a:extLst>
          </p:cNvPr>
          <p:cNvSpPr>
            <a:spLocks/>
          </p:cNvSpPr>
          <p:nvPr/>
        </p:nvSpPr>
        <p:spPr bwMode="auto">
          <a:xfrm>
            <a:off x="8204200" y="4527550"/>
            <a:ext cx="876300" cy="876300"/>
          </a:xfrm>
          <a:custGeom>
            <a:avLst/>
            <a:gdLst>
              <a:gd name="T0" fmla="*/ 311 w 408"/>
              <a:gd name="T1" fmla="*/ 38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70 w 408"/>
              <a:gd name="T13" fmla="*/ 22 h 408"/>
              <a:gd name="T14" fmla="*/ 147 w 408"/>
              <a:gd name="T15" fmla="*/ 27 h 408"/>
              <a:gd name="T16" fmla="*/ 120 w 408"/>
              <a:gd name="T17" fmla="*/ 26 h 408"/>
              <a:gd name="T18" fmla="*/ 95 w 408"/>
              <a:gd name="T19" fmla="*/ 32 h 408"/>
              <a:gd name="T20" fmla="*/ 80 w 408"/>
              <a:gd name="T21" fmla="*/ 51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4 h 408"/>
              <a:gd name="T40" fmla="*/ 21 w 408"/>
              <a:gd name="T41" fmla="*/ 275 h 408"/>
              <a:gd name="T42" fmla="*/ 42 w 408"/>
              <a:gd name="T43" fmla="*/ 293 h 408"/>
              <a:gd name="T44" fmla="*/ 54 w 408"/>
              <a:gd name="T45" fmla="*/ 313 h 408"/>
              <a:gd name="T46" fmla="*/ 61 w 408"/>
              <a:gd name="T47" fmla="*/ 340 h 408"/>
              <a:gd name="T48" fmla="*/ 74 w 408"/>
              <a:gd name="T49" fmla="*/ 361 h 408"/>
              <a:gd name="T50" fmla="*/ 98 w 408"/>
              <a:gd name="T51" fmla="*/ 370 h 408"/>
              <a:gd name="T52" fmla="*/ 125 w 408"/>
              <a:gd name="T53" fmla="*/ 372 h 408"/>
              <a:gd name="T54" fmla="*/ 147 w 408"/>
              <a:gd name="T55" fmla="*/ 380 h 408"/>
              <a:gd name="T56" fmla="*/ 168 w 408"/>
              <a:gd name="T57" fmla="*/ 398 h 408"/>
              <a:gd name="T58" fmla="*/ 191 w 408"/>
              <a:gd name="T59" fmla="*/ 407 h 408"/>
              <a:gd name="T60" fmla="*/ 215 w 408"/>
              <a:gd name="T61" fmla="*/ 401 h 408"/>
              <a:gd name="T62" fmla="*/ 239 w 408"/>
              <a:gd name="T63" fmla="*/ 386 h 408"/>
              <a:gd name="T64" fmla="*/ 261 w 408"/>
              <a:gd name="T65" fmla="*/ 380 h 408"/>
              <a:gd name="T66" fmla="*/ 289 w 408"/>
              <a:gd name="T67" fmla="*/ 382 h 408"/>
              <a:gd name="T68" fmla="*/ 313 w 408"/>
              <a:gd name="T69" fmla="*/ 376 h 408"/>
              <a:gd name="T70" fmla="*/ 329 w 408"/>
              <a:gd name="T71" fmla="*/ 357 h 408"/>
              <a:gd name="T72" fmla="*/ 339 w 408"/>
              <a:gd name="T73" fmla="*/ 331 h 408"/>
              <a:gd name="T74" fmla="*/ 354 w 408"/>
              <a:gd name="T75" fmla="*/ 313 h 408"/>
              <a:gd name="T76" fmla="*/ 378 w 408"/>
              <a:gd name="T77" fmla="*/ 298 h 408"/>
              <a:gd name="T78" fmla="*/ 394 w 408"/>
              <a:gd name="T79" fmla="*/ 279 h 408"/>
              <a:gd name="T80" fmla="*/ 395 w 408"/>
              <a:gd name="T81" fmla="*/ 254 h 408"/>
              <a:gd name="T82" fmla="*/ 388 w 408"/>
              <a:gd name="T83" fmla="*/ 227 h 408"/>
              <a:gd name="T84" fmla="*/ 390 w 408"/>
              <a:gd name="T85" fmla="*/ 204 h 408"/>
              <a:gd name="T86" fmla="*/ 400 w 408"/>
              <a:gd name="T87" fmla="*/ 178 h 408"/>
              <a:gd name="T88" fmla="*/ 402 w 408"/>
              <a:gd name="T89" fmla="*/ 154 h 408"/>
              <a:gd name="T90" fmla="*/ 388 w 408"/>
              <a:gd name="T91" fmla="*/ 133 h 408"/>
              <a:gd name="T92" fmla="*/ 367 w 408"/>
              <a:gd name="T93" fmla="*/ 115 h 408"/>
              <a:gd name="T94" fmla="*/ 355 w 408"/>
              <a:gd name="T95" fmla="*/ 95 h 408"/>
              <a:gd name="T96" fmla="*/ 347 w 408"/>
              <a:gd name="T97" fmla="*/ 68 h 408"/>
              <a:gd name="T98" fmla="*/ 334 w 408"/>
              <a:gd name="T99" fmla="*/ 4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408">
                <a:moveTo>
                  <a:pt x="324" y="48"/>
                </a:moveTo>
                <a:cubicBezTo>
                  <a:pt x="321" y="51"/>
                  <a:pt x="317" y="54"/>
                  <a:pt x="314" y="54"/>
                </a:cubicBezTo>
                <a:cubicBezTo>
                  <a:pt x="312" y="53"/>
                  <a:pt x="310" y="52"/>
                  <a:pt x="309" y="51"/>
                </a:cubicBezTo>
                <a:cubicBezTo>
                  <a:pt x="308" y="48"/>
                  <a:pt x="309" y="42"/>
                  <a:pt x="311" y="38"/>
                </a:cubicBezTo>
                <a:cubicBezTo>
                  <a:pt x="314" y="32"/>
                  <a:pt x="310" y="30"/>
                  <a:pt x="308" y="29"/>
                </a:cubicBezTo>
                <a:cubicBezTo>
                  <a:pt x="306" y="27"/>
                  <a:pt x="303" y="25"/>
                  <a:pt x="299" y="31"/>
                </a:cubicBezTo>
                <a:cubicBezTo>
                  <a:pt x="296" y="34"/>
                  <a:pt x="292" y="38"/>
                  <a:pt x="289" y="39"/>
                </a:cubicBezTo>
                <a:cubicBezTo>
                  <a:pt x="287" y="38"/>
                  <a:pt x="285" y="37"/>
                  <a:pt x="283" y="36"/>
                </a:cubicBezTo>
                <a:cubicBezTo>
                  <a:pt x="283" y="33"/>
                  <a:pt x="283" y="28"/>
                  <a:pt x="284" y="24"/>
                </a:cubicBezTo>
                <a:cubicBezTo>
                  <a:pt x="286" y="17"/>
                  <a:pt x="282" y="16"/>
                  <a:pt x="280" y="15"/>
                </a:cubicBezTo>
                <a:cubicBezTo>
                  <a:pt x="277" y="14"/>
                  <a:pt x="274" y="12"/>
                  <a:pt x="270" y="18"/>
                </a:cubicBezTo>
                <a:cubicBezTo>
                  <a:pt x="268" y="22"/>
                  <a:pt x="265" y="26"/>
                  <a:pt x="262" y="28"/>
                </a:cubicBezTo>
                <a:cubicBezTo>
                  <a:pt x="260" y="27"/>
                  <a:pt x="258" y="26"/>
                  <a:pt x="256" y="26"/>
                </a:cubicBezTo>
                <a:cubicBezTo>
                  <a:pt x="255" y="23"/>
                  <a:pt x="254" y="18"/>
                  <a:pt x="255" y="13"/>
                </a:cubicBezTo>
                <a:cubicBezTo>
                  <a:pt x="255" y="6"/>
                  <a:pt x="252" y="6"/>
                  <a:pt x="249" y="5"/>
                </a:cubicBezTo>
                <a:cubicBezTo>
                  <a:pt x="246" y="5"/>
                  <a:pt x="243" y="4"/>
                  <a:pt x="240" y="10"/>
                </a:cubicBezTo>
                <a:cubicBezTo>
                  <a:pt x="239" y="14"/>
                  <a:pt x="236" y="19"/>
                  <a:pt x="234" y="21"/>
                </a:cubicBezTo>
                <a:cubicBezTo>
                  <a:pt x="232" y="20"/>
                  <a:pt x="230" y="20"/>
                  <a:pt x="228" y="20"/>
                </a:cubicBezTo>
                <a:cubicBezTo>
                  <a:pt x="226" y="17"/>
                  <a:pt x="225" y="12"/>
                  <a:pt x="224" y="8"/>
                </a:cubicBezTo>
                <a:cubicBezTo>
                  <a:pt x="224" y="1"/>
                  <a:pt x="220" y="1"/>
                  <a:pt x="217" y="1"/>
                </a:cubicBezTo>
                <a:cubicBezTo>
                  <a:pt x="215" y="1"/>
                  <a:pt x="211" y="0"/>
                  <a:pt x="210" y="7"/>
                </a:cubicBezTo>
                <a:cubicBezTo>
                  <a:pt x="209" y="11"/>
                  <a:pt x="207" y="16"/>
                  <a:pt x="205" y="18"/>
                </a:cubicBezTo>
                <a:cubicBezTo>
                  <a:pt x="203" y="18"/>
                  <a:pt x="201" y="19"/>
                  <a:pt x="199" y="19"/>
                </a:cubicBezTo>
                <a:cubicBezTo>
                  <a:pt x="196" y="16"/>
                  <a:pt x="194" y="12"/>
                  <a:pt x="193" y="7"/>
                </a:cubicBezTo>
                <a:cubicBezTo>
                  <a:pt x="192" y="0"/>
                  <a:pt x="188" y="1"/>
                  <a:pt x="185" y="1"/>
                </a:cubicBezTo>
                <a:cubicBezTo>
                  <a:pt x="183" y="2"/>
                  <a:pt x="179" y="1"/>
                  <a:pt x="179" y="8"/>
                </a:cubicBezTo>
                <a:cubicBezTo>
                  <a:pt x="178" y="13"/>
                  <a:pt x="177" y="18"/>
                  <a:pt x="176" y="21"/>
                </a:cubicBezTo>
                <a:cubicBezTo>
                  <a:pt x="174" y="21"/>
                  <a:pt x="172" y="21"/>
                  <a:pt x="170" y="22"/>
                </a:cubicBezTo>
                <a:cubicBezTo>
                  <a:pt x="167" y="20"/>
                  <a:pt x="164" y="15"/>
                  <a:pt x="163" y="11"/>
                </a:cubicBezTo>
                <a:cubicBezTo>
                  <a:pt x="160" y="5"/>
                  <a:pt x="156" y="6"/>
                  <a:pt x="154" y="7"/>
                </a:cubicBezTo>
                <a:cubicBezTo>
                  <a:pt x="151" y="7"/>
                  <a:pt x="148" y="8"/>
                  <a:pt x="148" y="15"/>
                </a:cubicBezTo>
                <a:cubicBezTo>
                  <a:pt x="149" y="19"/>
                  <a:pt x="149" y="25"/>
                  <a:pt x="147" y="27"/>
                </a:cubicBezTo>
                <a:cubicBezTo>
                  <a:pt x="145" y="28"/>
                  <a:pt x="143" y="29"/>
                  <a:pt x="142" y="29"/>
                </a:cubicBezTo>
                <a:cubicBezTo>
                  <a:pt x="139" y="28"/>
                  <a:pt x="135" y="24"/>
                  <a:pt x="133" y="20"/>
                </a:cubicBezTo>
                <a:cubicBezTo>
                  <a:pt x="129" y="14"/>
                  <a:pt x="126" y="16"/>
                  <a:pt x="124" y="17"/>
                </a:cubicBezTo>
                <a:cubicBezTo>
                  <a:pt x="121" y="18"/>
                  <a:pt x="118" y="19"/>
                  <a:pt x="120" y="26"/>
                </a:cubicBezTo>
                <a:cubicBezTo>
                  <a:pt x="121" y="30"/>
                  <a:pt x="121" y="36"/>
                  <a:pt x="120" y="39"/>
                </a:cubicBezTo>
                <a:cubicBezTo>
                  <a:pt x="119" y="39"/>
                  <a:pt x="117" y="40"/>
                  <a:pt x="115" y="41"/>
                </a:cubicBezTo>
                <a:cubicBezTo>
                  <a:pt x="112" y="40"/>
                  <a:pt x="108" y="37"/>
                  <a:pt x="105" y="34"/>
                </a:cubicBezTo>
                <a:cubicBezTo>
                  <a:pt x="101" y="28"/>
                  <a:pt x="98" y="31"/>
                  <a:pt x="95" y="32"/>
                </a:cubicBezTo>
                <a:cubicBezTo>
                  <a:pt x="93" y="33"/>
                  <a:pt x="90" y="35"/>
                  <a:pt x="93" y="41"/>
                </a:cubicBezTo>
                <a:cubicBezTo>
                  <a:pt x="95" y="46"/>
                  <a:pt x="96" y="51"/>
                  <a:pt x="96" y="54"/>
                </a:cubicBezTo>
                <a:cubicBezTo>
                  <a:pt x="94" y="55"/>
                  <a:pt x="92" y="56"/>
                  <a:pt x="91" y="57"/>
                </a:cubicBezTo>
                <a:cubicBezTo>
                  <a:pt x="88" y="57"/>
                  <a:pt x="83" y="54"/>
                  <a:pt x="80" y="51"/>
                </a:cubicBezTo>
                <a:cubicBezTo>
                  <a:pt x="74" y="47"/>
                  <a:pt x="72" y="49"/>
                  <a:pt x="70" y="51"/>
                </a:cubicBezTo>
                <a:cubicBezTo>
                  <a:pt x="68" y="53"/>
                  <a:pt x="65" y="55"/>
                  <a:pt x="69" y="61"/>
                </a:cubicBezTo>
                <a:cubicBezTo>
                  <a:pt x="71" y="65"/>
                  <a:pt x="73" y="69"/>
                  <a:pt x="73" y="73"/>
                </a:cubicBezTo>
                <a:cubicBezTo>
                  <a:pt x="72" y="74"/>
                  <a:pt x="71" y="75"/>
                  <a:pt x="69" y="77"/>
                </a:cubicBezTo>
                <a:cubicBezTo>
                  <a:pt x="66" y="77"/>
                  <a:pt x="61" y="75"/>
                  <a:pt x="57" y="73"/>
                </a:cubicBezTo>
                <a:cubicBezTo>
                  <a:pt x="51" y="69"/>
                  <a:pt x="49" y="72"/>
                  <a:pt x="48" y="74"/>
                </a:cubicBezTo>
                <a:cubicBezTo>
                  <a:pt x="46" y="76"/>
                  <a:pt x="43" y="79"/>
                  <a:pt x="48" y="84"/>
                </a:cubicBezTo>
                <a:cubicBezTo>
                  <a:pt x="51" y="87"/>
                  <a:pt x="54" y="92"/>
                  <a:pt x="54" y="95"/>
                </a:cubicBezTo>
                <a:cubicBezTo>
                  <a:pt x="53" y="96"/>
                  <a:pt x="52" y="98"/>
                  <a:pt x="51" y="100"/>
                </a:cubicBezTo>
                <a:cubicBezTo>
                  <a:pt x="48" y="100"/>
                  <a:pt x="43" y="99"/>
                  <a:pt x="39" y="97"/>
                </a:cubicBezTo>
                <a:cubicBezTo>
                  <a:pt x="32" y="94"/>
                  <a:pt x="31" y="98"/>
                  <a:pt x="29" y="100"/>
                </a:cubicBezTo>
                <a:cubicBezTo>
                  <a:pt x="28" y="102"/>
                  <a:pt x="26" y="105"/>
                  <a:pt x="31" y="110"/>
                </a:cubicBezTo>
                <a:cubicBezTo>
                  <a:pt x="35" y="113"/>
                  <a:pt x="38" y="117"/>
                  <a:pt x="39" y="119"/>
                </a:cubicBezTo>
                <a:cubicBezTo>
                  <a:pt x="38" y="121"/>
                  <a:pt x="37" y="123"/>
                  <a:pt x="36" y="125"/>
                </a:cubicBezTo>
                <a:cubicBezTo>
                  <a:pt x="33" y="126"/>
                  <a:pt x="28" y="125"/>
                  <a:pt x="24" y="124"/>
                </a:cubicBezTo>
                <a:cubicBezTo>
                  <a:pt x="17" y="123"/>
                  <a:pt x="16" y="126"/>
                  <a:pt x="15" y="129"/>
                </a:cubicBezTo>
                <a:cubicBezTo>
                  <a:pt x="14" y="131"/>
                  <a:pt x="12" y="135"/>
                  <a:pt x="19" y="138"/>
                </a:cubicBezTo>
                <a:cubicBezTo>
                  <a:pt x="22" y="140"/>
                  <a:pt x="26" y="144"/>
                  <a:pt x="28" y="146"/>
                </a:cubicBezTo>
                <a:cubicBezTo>
                  <a:pt x="27" y="148"/>
                  <a:pt x="27" y="150"/>
                  <a:pt x="26" y="152"/>
                </a:cubicBezTo>
                <a:cubicBezTo>
                  <a:pt x="23" y="153"/>
                  <a:pt x="18" y="154"/>
                  <a:pt x="14" y="154"/>
                </a:cubicBezTo>
                <a:cubicBezTo>
                  <a:pt x="7" y="153"/>
                  <a:pt x="6" y="157"/>
                  <a:pt x="6" y="159"/>
                </a:cubicBezTo>
                <a:cubicBezTo>
                  <a:pt x="5" y="162"/>
                  <a:pt x="4" y="166"/>
                  <a:pt x="10" y="168"/>
                </a:cubicBezTo>
                <a:cubicBezTo>
                  <a:pt x="15" y="170"/>
                  <a:pt x="19" y="172"/>
                  <a:pt x="21" y="175"/>
                </a:cubicBezTo>
                <a:cubicBezTo>
                  <a:pt x="21" y="177"/>
                  <a:pt x="21" y="179"/>
                  <a:pt x="20" y="181"/>
                </a:cubicBezTo>
                <a:cubicBezTo>
                  <a:pt x="18" y="182"/>
                  <a:pt x="13" y="184"/>
                  <a:pt x="8" y="184"/>
                </a:cubicBezTo>
                <a:cubicBezTo>
                  <a:pt x="1" y="185"/>
                  <a:pt x="1" y="188"/>
                  <a:pt x="1" y="191"/>
                </a:cubicBezTo>
                <a:cubicBezTo>
                  <a:pt x="1" y="194"/>
                  <a:pt x="0" y="197"/>
                  <a:pt x="7" y="199"/>
                </a:cubicBezTo>
                <a:cubicBezTo>
                  <a:pt x="12" y="200"/>
                  <a:pt x="17" y="202"/>
                  <a:pt x="19" y="204"/>
                </a:cubicBezTo>
                <a:cubicBezTo>
                  <a:pt x="19" y="206"/>
                  <a:pt x="19" y="208"/>
                  <a:pt x="19" y="210"/>
                </a:cubicBezTo>
                <a:cubicBezTo>
                  <a:pt x="17" y="212"/>
                  <a:pt x="12" y="214"/>
                  <a:pt x="7" y="215"/>
                </a:cubicBezTo>
                <a:cubicBezTo>
                  <a:pt x="1" y="217"/>
                  <a:pt x="1" y="220"/>
                  <a:pt x="2" y="223"/>
                </a:cubicBezTo>
                <a:cubicBezTo>
                  <a:pt x="2" y="226"/>
                  <a:pt x="2" y="229"/>
                  <a:pt x="9" y="230"/>
                </a:cubicBezTo>
                <a:cubicBezTo>
                  <a:pt x="13" y="230"/>
                  <a:pt x="19" y="231"/>
                  <a:pt x="21" y="233"/>
                </a:cubicBezTo>
                <a:cubicBezTo>
                  <a:pt x="21" y="235"/>
                  <a:pt x="22" y="237"/>
                  <a:pt x="22" y="239"/>
                </a:cubicBezTo>
                <a:cubicBezTo>
                  <a:pt x="20" y="241"/>
                  <a:pt x="16" y="244"/>
                  <a:pt x="12" y="246"/>
                </a:cubicBezTo>
                <a:cubicBezTo>
                  <a:pt x="5" y="248"/>
                  <a:pt x="6" y="252"/>
                  <a:pt x="7" y="254"/>
                </a:cubicBezTo>
                <a:cubicBezTo>
                  <a:pt x="8" y="257"/>
                  <a:pt x="8" y="261"/>
                  <a:pt x="15" y="260"/>
                </a:cubicBezTo>
                <a:cubicBezTo>
                  <a:pt x="20" y="259"/>
                  <a:pt x="25" y="260"/>
                  <a:pt x="28" y="261"/>
                </a:cubicBezTo>
                <a:cubicBezTo>
                  <a:pt x="28" y="263"/>
                  <a:pt x="29" y="265"/>
                  <a:pt x="30" y="267"/>
                </a:cubicBezTo>
                <a:cubicBezTo>
                  <a:pt x="28" y="269"/>
                  <a:pt x="24" y="273"/>
                  <a:pt x="21" y="275"/>
                </a:cubicBezTo>
                <a:cubicBezTo>
                  <a:pt x="14" y="279"/>
                  <a:pt x="16" y="282"/>
                  <a:pt x="17" y="285"/>
                </a:cubicBezTo>
                <a:cubicBezTo>
                  <a:pt x="18" y="287"/>
                  <a:pt x="20" y="291"/>
                  <a:pt x="26" y="289"/>
                </a:cubicBezTo>
                <a:cubicBezTo>
                  <a:pt x="31" y="288"/>
                  <a:pt x="36" y="287"/>
                  <a:pt x="39" y="288"/>
                </a:cubicBezTo>
                <a:cubicBezTo>
                  <a:pt x="40" y="290"/>
                  <a:pt x="41" y="291"/>
                  <a:pt x="42" y="293"/>
                </a:cubicBezTo>
                <a:cubicBezTo>
                  <a:pt x="41" y="296"/>
                  <a:pt x="37" y="300"/>
                  <a:pt x="34" y="303"/>
                </a:cubicBezTo>
                <a:cubicBezTo>
                  <a:pt x="28" y="308"/>
                  <a:pt x="31" y="311"/>
                  <a:pt x="32" y="313"/>
                </a:cubicBezTo>
                <a:cubicBezTo>
                  <a:pt x="34" y="315"/>
                  <a:pt x="35" y="319"/>
                  <a:pt x="42" y="316"/>
                </a:cubicBezTo>
                <a:cubicBezTo>
                  <a:pt x="46" y="314"/>
                  <a:pt x="51" y="312"/>
                  <a:pt x="54" y="313"/>
                </a:cubicBezTo>
                <a:cubicBezTo>
                  <a:pt x="55" y="314"/>
                  <a:pt x="56" y="316"/>
                  <a:pt x="58" y="318"/>
                </a:cubicBezTo>
                <a:cubicBezTo>
                  <a:pt x="57" y="321"/>
                  <a:pt x="54" y="325"/>
                  <a:pt x="52" y="329"/>
                </a:cubicBezTo>
                <a:cubicBezTo>
                  <a:pt x="47" y="334"/>
                  <a:pt x="50" y="336"/>
                  <a:pt x="51" y="338"/>
                </a:cubicBezTo>
                <a:cubicBezTo>
                  <a:pt x="53" y="340"/>
                  <a:pt x="55" y="344"/>
                  <a:pt x="61" y="340"/>
                </a:cubicBezTo>
                <a:cubicBezTo>
                  <a:pt x="65" y="337"/>
                  <a:pt x="70" y="335"/>
                  <a:pt x="73" y="335"/>
                </a:cubicBezTo>
                <a:cubicBezTo>
                  <a:pt x="74" y="336"/>
                  <a:pt x="76" y="338"/>
                  <a:pt x="77" y="339"/>
                </a:cubicBezTo>
                <a:cubicBezTo>
                  <a:pt x="77" y="342"/>
                  <a:pt x="75" y="347"/>
                  <a:pt x="73" y="351"/>
                </a:cubicBezTo>
                <a:cubicBezTo>
                  <a:pt x="69" y="357"/>
                  <a:pt x="72" y="359"/>
                  <a:pt x="74" y="361"/>
                </a:cubicBezTo>
                <a:cubicBezTo>
                  <a:pt x="76" y="362"/>
                  <a:pt x="79" y="365"/>
                  <a:pt x="84" y="360"/>
                </a:cubicBezTo>
                <a:cubicBezTo>
                  <a:pt x="88" y="357"/>
                  <a:pt x="92" y="354"/>
                  <a:pt x="95" y="354"/>
                </a:cubicBezTo>
                <a:cubicBezTo>
                  <a:pt x="97" y="355"/>
                  <a:pt x="98" y="356"/>
                  <a:pt x="100" y="357"/>
                </a:cubicBezTo>
                <a:cubicBezTo>
                  <a:pt x="100" y="360"/>
                  <a:pt x="99" y="365"/>
                  <a:pt x="98" y="370"/>
                </a:cubicBezTo>
                <a:cubicBezTo>
                  <a:pt x="95" y="376"/>
                  <a:pt x="98" y="378"/>
                  <a:pt x="100" y="379"/>
                </a:cubicBezTo>
                <a:cubicBezTo>
                  <a:pt x="103" y="380"/>
                  <a:pt x="106" y="383"/>
                  <a:pt x="110" y="377"/>
                </a:cubicBezTo>
                <a:cubicBezTo>
                  <a:pt x="113" y="374"/>
                  <a:pt x="117" y="370"/>
                  <a:pt x="120" y="369"/>
                </a:cubicBezTo>
                <a:cubicBezTo>
                  <a:pt x="122" y="370"/>
                  <a:pt x="123" y="371"/>
                  <a:pt x="125" y="372"/>
                </a:cubicBezTo>
                <a:cubicBezTo>
                  <a:pt x="126" y="375"/>
                  <a:pt x="126" y="380"/>
                  <a:pt x="125" y="384"/>
                </a:cubicBezTo>
                <a:cubicBezTo>
                  <a:pt x="123" y="391"/>
                  <a:pt x="127" y="392"/>
                  <a:pt x="129" y="393"/>
                </a:cubicBezTo>
                <a:cubicBezTo>
                  <a:pt x="132" y="394"/>
                  <a:pt x="135" y="396"/>
                  <a:pt x="138" y="390"/>
                </a:cubicBezTo>
                <a:cubicBezTo>
                  <a:pt x="141" y="386"/>
                  <a:pt x="144" y="382"/>
                  <a:pt x="147" y="380"/>
                </a:cubicBezTo>
                <a:cubicBezTo>
                  <a:pt x="149" y="381"/>
                  <a:pt x="151" y="382"/>
                  <a:pt x="152" y="382"/>
                </a:cubicBezTo>
                <a:cubicBezTo>
                  <a:pt x="154" y="385"/>
                  <a:pt x="154" y="390"/>
                  <a:pt x="154" y="395"/>
                </a:cubicBezTo>
                <a:cubicBezTo>
                  <a:pt x="153" y="402"/>
                  <a:pt x="157" y="402"/>
                  <a:pt x="160" y="403"/>
                </a:cubicBezTo>
                <a:cubicBezTo>
                  <a:pt x="162" y="403"/>
                  <a:pt x="166" y="404"/>
                  <a:pt x="168" y="398"/>
                </a:cubicBezTo>
                <a:cubicBezTo>
                  <a:pt x="170" y="394"/>
                  <a:pt x="173" y="389"/>
                  <a:pt x="175" y="387"/>
                </a:cubicBezTo>
                <a:cubicBezTo>
                  <a:pt x="177" y="387"/>
                  <a:pt x="179" y="388"/>
                  <a:pt x="181" y="388"/>
                </a:cubicBezTo>
                <a:cubicBezTo>
                  <a:pt x="183" y="391"/>
                  <a:pt x="184" y="396"/>
                  <a:pt x="184" y="400"/>
                </a:cubicBezTo>
                <a:cubicBezTo>
                  <a:pt x="185" y="407"/>
                  <a:pt x="189" y="407"/>
                  <a:pt x="191" y="407"/>
                </a:cubicBezTo>
                <a:cubicBezTo>
                  <a:pt x="194" y="407"/>
                  <a:pt x="198" y="408"/>
                  <a:pt x="199" y="401"/>
                </a:cubicBezTo>
                <a:cubicBezTo>
                  <a:pt x="200" y="397"/>
                  <a:pt x="202" y="392"/>
                  <a:pt x="204" y="390"/>
                </a:cubicBezTo>
                <a:cubicBezTo>
                  <a:pt x="206" y="390"/>
                  <a:pt x="208" y="389"/>
                  <a:pt x="210" y="389"/>
                </a:cubicBezTo>
                <a:cubicBezTo>
                  <a:pt x="212" y="392"/>
                  <a:pt x="214" y="396"/>
                  <a:pt x="215" y="401"/>
                </a:cubicBezTo>
                <a:cubicBezTo>
                  <a:pt x="217" y="408"/>
                  <a:pt x="221" y="407"/>
                  <a:pt x="223" y="407"/>
                </a:cubicBezTo>
                <a:cubicBezTo>
                  <a:pt x="226" y="406"/>
                  <a:pt x="230" y="407"/>
                  <a:pt x="230" y="399"/>
                </a:cubicBezTo>
                <a:cubicBezTo>
                  <a:pt x="230" y="395"/>
                  <a:pt x="231" y="390"/>
                  <a:pt x="233" y="387"/>
                </a:cubicBezTo>
                <a:cubicBezTo>
                  <a:pt x="235" y="387"/>
                  <a:pt x="237" y="387"/>
                  <a:pt x="239" y="386"/>
                </a:cubicBezTo>
                <a:cubicBezTo>
                  <a:pt x="241" y="388"/>
                  <a:pt x="244" y="393"/>
                  <a:pt x="246" y="397"/>
                </a:cubicBezTo>
                <a:cubicBezTo>
                  <a:pt x="249" y="403"/>
                  <a:pt x="252" y="402"/>
                  <a:pt x="255" y="401"/>
                </a:cubicBezTo>
                <a:cubicBezTo>
                  <a:pt x="257" y="401"/>
                  <a:pt x="261" y="400"/>
                  <a:pt x="260" y="393"/>
                </a:cubicBezTo>
                <a:cubicBezTo>
                  <a:pt x="260" y="389"/>
                  <a:pt x="260" y="383"/>
                  <a:pt x="261" y="380"/>
                </a:cubicBezTo>
                <a:cubicBezTo>
                  <a:pt x="263" y="380"/>
                  <a:pt x="265" y="379"/>
                  <a:pt x="267" y="379"/>
                </a:cubicBezTo>
                <a:cubicBezTo>
                  <a:pt x="270" y="380"/>
                  <a:pt x="273" y="384"/>
                  <a:pt x="276" y="388"/>
                </a:cubicBezTo>
                <a:cubicBezTo>
                  <a:pt x="279" y="394"/>
                  <a:pt x="283" y="392"/>
                  <a:pt x="285" y="391"/>
                </a:cubicBezTo>
                <a:cubicBezTo>
                  <a:pt x="287" y="390"/>
                  <a:pt x="291" y="389"/>
                  <a:pt x="289" y="382"/>
                </a:cubicBezTo>
                <a:cubicBezTo>
                  <a:pt x="288" y="378"/>
                  <a:pt x="287" y="372"/>
                  <a:pt x="288" y="369"/>
                </a:cubicBezTo>
                <a:cubicBezTo>
                  <a:pt x="290" y="369"/>
                  <a:pt x="292" y="368"/>
                  <a:pt x="294" y="367"/>
                </a:cubicBezTo>
                <a:cubicBezTo>
                  <a:pt x="297" y="368"/>
                  <a:pt x="300" y="371"/>
                  <a:pt x="303" y="374"/>
                </a:cubicBezTo>
                <a:cubicBezTo>
                  <a:pt x="308" y="380"/>
                  <a:pt x="311" y="377"/>
                  <a:pt x="313" y="376"/>
                </a:cubicBezTo>
                <a:cubicBezTo>
                  <a:pt x="315" y="375"/>
                  <a:pt x="319" y="373"/>
                  <a:pt x="316" y="367"/>
                </a:cubicBezTo>
                <a:cubicBezTo>
                  <a:pt x="314" y="362"/>
                  <a:pt x="313" y="357"/>
                  <a:pt x="313" y="354"/>
                </a:cubicBezTo>
                <a:cubicBezTo>
                  <a:pt x="315" y="353"/>
                  <a:pt x="316" y="352"/>
                  <a:pt x="318" y="351"/>
                </a:cubicBezTo>
                <a:cubicBezTo>
                  <a:pt x="321" y="351"/>
                  <a:pt x="325" y="354"/>
                  <a:pt x="329" y="357"/>
                </a:cubicBezTo>
                <a:cubicBezTo>
                  <a:pt x="334" y="361"/>
                  <a:pt x="337" y="359"/>
                  <a:pt x="339" y="357"/>
                </a:cubicBezTo>
                <a:cubicBezTo>
                  <a:pt x="341" y="355"/>
                  <a:pt x="344" y="353"/>
                  <a:pt x="340" y="347"/>
                </a:cubicBezTo>
                <a:cubicBezTo>
                  <a:pt x="338" y="343"/>
                  <a:pt x="335" y="338"/>
                  <a:pt x="335" y="335"/>
                </a:cubicBezTo>
                <a:cubicBezTo>
                  <a:pt x="337" y="334"/>
                  <a:pt x="338" y="333"/>
                  <a:pt x="339" y="331"/>
                </a:cubicBezTo>
                <a:cubicBezTo>
                  <a:pt x="343" y="331"/>
                  <a:pt x="347" y="333"/>
                  <a:pt x="351" y="335"/>
                </a:cubicBezTo>
                <a:cubicBezTo>
                  <a:pt x="357" y="339"/>
                  <a:pt x="359" y="336"/>
                  <a:pt x="361" y="334"/>
                </a:cubicBezTo>
                <a:cubicBezTo>
                  <a:pt x="363" y="332"/>
                  <a:pt x="365" y="329"/>
                  <a:pt x="361" y="324"/>
                </a:cubicBezTo>
                <a:cubicBezTo>
                  <a:pt x="358" y="321"/>
                  <a:pt x="355" y="316"/>
                  <a:pt x="354" y="313"/>
                </a:cubicBezTo>
                <a:cubicBezTo>
                  <a:pt x="355" y="312"/>
                  <a:pt x="357" y="310"/>
                  <a:pt x="358" y="308"/>
                </a:cubicBezTo>
                <a:cubicBezTo>
                  <a:pt x="361" y="308"/>
                  <a:pt x="366" y="309"/>
                  <a:pt x="370" y="311"/>
                </a:cubicBezTo>
                <a:cubicBezTo>
                  <a:pt x="377" y="314"/>
                  <a:pt x="378" y="310"/>
                  <a:pt x="379" y="308"/>
                </a:cubicBezTo>
                <a:cubicBezTo>
                  <a:pt x="381" y="306"/>
                  <a:pt x="383" y="303"/>
                  <a:pt x="378" y="298"/>
                </a:cubicBezTo>
                <a:cubicBezTo>
                  <a:pt x="374" y="295"/>
                  <a:pt x="371" y="291"/>
                  <a:pt x="369" y="289"/>
                </a:cubicBezTo>
                <a:cubicBezTo>
                  <a:pt x="370" y="287"/>
                  <a:pt x="371" y="285"/>
                  <a:pt x="372" y="283"/>
                </a:cubicBezTo>
                <a:cubicBezTo>
                  <a:pt x="375" y="282"/>
                  <a:pt x="380" y="283"/>
                  <a:pt x="385" y="284"/>
                </a:cubicBezTo>
                <a:cubicBezTo>
                  <a:pt x="392" y="285"/>
                  <a:pt x="393" y="282"/>
                  <a:pt x="394" y="279"/>
                </a:cubicBezTo>
                <a:cubicBezTo>
                  <a:pt x="395" y="277"/>
                  <a:pt x="396" y="273"/>
                  <a:pt x="390" y="270"/>
                </a:cubicBezTo>
                <a:cubicBezTo>
                  <a:pt x="386" y="268"/>
                  <a:pt x="382" y="264"/>
                  <a:pt x="381" y="262"/>
                </a:cubicBezTo>
                <a:cubicBezTo>
                  <a:pt x="381" y="260"/>
                  <a:pt x="382" y="258"/>
                  <a:pt x="382" y="256"/>
                </a:cubicBezTo>
                <a:cubicBezTo>
                  <a:pt x="385" y="254"/>
                  <a:pt x="390" y="254"/>
                  <a:pt x="395" y="254"/>
                </a:cubicBezTo>
                <a:cubicBezTo>
                  <a:pt x="402" y="255"/>
                  <a:pt x="402" y="251"/>
                  <a:pt x="403" y="249"/>
                </a:cubicBezTo>
                <a:cubicBezTo>
                  <a:pt x="404" y="246"/>
                  <a:pt x="405" y="242"/>
                  <a:pt x="398" y="240"/>
                </a:cubicBezTo>
                <a:cubicBezTo>
                  <a:pt x="394" y="238"/>
                  <a:pt x="389" y="236"/>
                  <a:pt x="387" y="233"/>
                </a:cubicBezTo>
                <a:cubicBezTo>
                  <a:pt x="388" y="231"/>
                  <a:pt x="388" y="229"/>
                  <a:pt x="388" y="227"/>
                </a:cubicBezTo>
                <a:cubicBezTo>
                  <a:pt x="391" y="226"/>
                  <a:pt x="396" y="224"/>
                  <a:pt x="400" y="224"/>
                </a:cubicBezTo>
                <a:cubicBezTo>
                  <a:pt x="408" y="223"/>
                  <a:pt x="407" y="220"/>
                  <a:pt x="407" y="217"/>
                </a:cubicBezTo>
                <a:cubicBezTo>
                  <a:pt x="408" y="214"/>
                  <a:pt x="408" y="211"/>
                  <a:pt x="401" y="209"/>
                </a:cubicBezTo>
                <a:cubicBezTo>
                  <a:pt x="397" y="208"/>
                  <a:pt x="392" y="206"/>
                  <a:pt x="390" y="204"/>
                </a:cubicBezTo>
                <a:cubicBezTo>
                  <a:pt x="390" y="202"/>
                  <a:pt x="390" y="200"/>
                  <a:pt x="390" y="198"/>
                </a:cubicBezTo>
                <a:cubicBezTo>
                  <a:pt x="392" y="196"/>
                  <a:pt x="397" y="194"/>
                  <a:pt x="401" y="193"/>
                </a:cubicBezTo>
                <a:cubicBezTo>
                  <a:pt x="408" y="191"/>
                  <a:pt x="407" y="188"/>
                  <a:pt x="407" y="185"/>
                </a:cubicBezTo>
                <a:cubicBezTo>
                  <a:pt x="407" y="182"/>
                  <a:pt x="407" y="179"/>
                  <a:pt x="400" y="178"/>
                </a:cubicBezTo>
                <a:cubicBezTo>
                  <a:pt x="395" y="178"/>
                  <a:pt x="390" y="177"/>
                  <a:pt x="388" y="175"/>
                </a:cubicBezTo>
                <a:cubicBezTo>
                  <a:pt x="387" y="173"/>
                  <a:pt x="387" y="171"/>
                  <a:pt x="387" y="169"/>
                </a:cubicBezTo>
                <a:cubicBezTo>
                  <a:pt x="388" y="167"/>
                  <a:pt x="393" y="164"/>
                  <a:pt x="397" y="162"/>
                </a:cubicBezTo>
                <a:cubicBezTo>
                  <a:pt x="404" y="160"/>
                  <a:pt x="402" y="156"/>
                  <a:pt x="402" y="154"/>
                </a:cubicBezTo>
                <a:cubicBezTo>
                  <a:pt x="401" y="151"/>
                  <a:pt x="400" y="147"/>
                  <a:pt x="393" y="148"/>
                </a:cubicBezTo>
                <a:cubicBezTo>
                  <a:pt x="389" y="149"/>
                  <a:pt x="384" y="148"/>
                  <a:pt x="381" y="147"/>
                </a:cubicBezTo>
                <a:cubicBezTo>
                  <a:pt x="380" y="145"/>
                  <a:pt x="380" y="143"/>
                  <a:pt x="379" y="141"/>
                </a:cubicBezTo>
                <a:cubicBezTo>
                  <a:pt x="380" y="139"/>
                  <a:pt x="384" y="135"/>
                  <a:pt x="388" y="133"/>
                </a:cubicBezTo>
                <a:cubicBezTo>
                  <a:pt x="394" y="129"/>
                  <a:pt x="392" y="126"/>
                  <a:pt x="391" y="123"/>
                </a:cubicBezTo>
                <a:cubicBezTo>
                  <a:pt x="390" y="121"/>
                  <a:pt x="389" y="117"/>
                  <a:pt x="382" y="119"/>
                </a:cubicBezTo>
                <a:cubicBezTo>
                  <a:pt x="378" y="120"/>
                  <a:pt x="373" y="121"/>
                  <a:pt x="370" y="120"/>
                </a:cubicBezTo>
                <a:cubicBezTo>
                  <a:pt x="369" y="118"/>
                  <a:pt x="368" y="116"/>
                  <a:pt x="367" y="115"/>
                </a:cubicBezTo>
                <a:cubicBezTo>
                  <a:pt x="368" y="112"/>
                  <a:pt x="371" y="108"/>
                  <a:pt x="375" y="105"/>
                </a:cubicBezTo>
                <a:cubicBezTo>
                  <a:pt x="380" y="100"/>
                  <a:pt x="378" y="97"/>
                  <a:pt x="376" y="95"/>
                </a:cubicBezTo>
                <a:cubicBezTo>
                  <a:pt x="375" y="93"/>
                  <a:pt x="373" y="89"/>
                  <a:pt x="367" y="92"/>
                </a:cubicBezTo>
                <a:cubicBezTo>
                  <a:pt x="363" y="94"/>
                  <a:pt x="358" y="96"/>
                  <a:pt x="355" y="95"/>
                </a:cubicBezTo>
                <a:cubicBezTo>
                  <a:pt x="353" y="94"/>
                  <a:pt x="352" y="92"/>
                  <a:pt x="351" y="90"/>
                </a:cubicBezTo>
                <a:cubicBezTo>
                  <a:pt x="352" y="87"/>
                  <a:pt x="354" y="83"/>
                  <a:pt x="357" y="79"/>
                </a:cubicBezTo>
                <a:cubicBezTo>
                  <a:pt x="362" y="74"/>
                  <a:pt x="359" y="72"/>
                  <a:pt x="357" y="70"/>
                </a:cubicBezTo>
                <a:cubicBezTo>
                  <a:pt x="355" y="68"/>
                  <a:pt x="353" y="64"/>
                  <a:pt x="347" y="68"/>
                </a:cubicBezTo>
                <a:cubicBezTo>
                  <a:pt x="344" y="71"/>
                  <a:pt x="339" y="73"/>
                  <a:pt x="336" y="73"/>
                </a:cubicBezTo>
                <a:cubicBezTo>
                  <a:pt x="334" y="72"/>
                  <a:pt x="333" y="70"/>
                  <a:pt x="331" y="69"/>
                </a:cubicBezTo>
                <a:cubicBezTo>
                  <a:pt x="331" y="66"/>
                  <a:pt x="333" y="61"/>
                  <a:pt x="336" y="57"/>
                </a:cubicBezTo>
                <a:cubicBezTo>
                  <a:pt x="340" y="51"/>
                  <a:pt x="336" y="49"/>
                  <a:pt x="334" y="47"/>
                </a:cubicBezTo>
                <a:cubicBezTo>
                  <a:pt x="332" y="46"/>
                  <a:pt x="330" y="43"/>
                  <a:pt x="324"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8" name="Freeform 689">
            <a:extLst>
              <a:ext uri="{FF2B5EF4-FFF2-40B4-BE49-F238E27FC236}">
                <a16:creationId xmlns:a16="http://schemas.microsoft.com/office/drawing/2014/main" id="{5C49B3BD-0F06-4626-A8F2-A9811488B793}"/>
              </a:ext>
            </a:extLst>
          </p:cNvPr>
          <p:cNvSpPr>
            <a:spLocks noEditPoints="1"/>
          </p:cNvSpPr>
          <p:nvPr/>
        </p:nvSpPr>
        <p:spPr bwMode="auto">
          <a:xfrm>
            <a:off x="8540750" y="3916363"/>
            <a:ext cx="246063" cy="242888"/>
          </a:xfrm>
          <a:custGeom>
            <a:avLst/>
            <a:gdLst>
              <a:gd name="T0" fmla="*/ 53 w 114"/>
              <a:gd name="T1" fmla="*/ 104 h 113"/>
              <a:gd name="T2" fmla="*/ 63 w 114"/>
              <a:gd name="T3" fmla="*/ 113 h 113"/>
              <a:gd name="T4" fmla="*/ 71 w 114"/>
              <a:gd name="T5" fmla="*/ 102 h 113"/>
              <a:gd name="T6" fmla="*/ 84 w 114"/>
              <a:gd name="T7" fmla="*/ 107 h 113"/>
              <a:gd name="T8" fmla="*/ 88 w 114"/>
              <a:gd name="T9" fmla="*/ 93 h 113"/>
              <a:gd name="T10" fmla="*/ 101 w 114"/>
              <a:gd name="T11" fmla="*/ 93 h 113"/>
              <a:gd name="T12" fmla="*/ 99 w 114"/>
              <a:gd name="T13" fmla="*/ 79 h 113"/>
              <a:gd name="T14" fmla="*/ 112 w 114"/>
              <a:gd name="T15" fmla="*/ 74 h 113"/>
              <a:gd name="T16" fmla="*/ 105 w 114"/>
              <a:gd name="T17" fmla="*/ 61 h 113"/>
              <a:gd name="T18" fmla="*/ 114 w 114"/>
              <a:gd name="T19" fmla="*/ 51 h 113"/>
              <a:gd name="T20" fmla="*/ 103 w 114"/>
              <a:gd name="T21" fmla="*/ 43 h 113"/>
              <a:gd name="T22" fmla="*/ 108 w 114"/>
              <a:gd name="T23" fmla="*/ 30 h 113"/>
              <a:gd name="T24" fmla="*/ 94 w 114"/>
              <a:gd name="T25" fmla="*/ 26 h 113"/>
              <a:gd name="T26" fmla="*/ 94 w 114"/>
              <a:gd name="T27" fmla="*/ 13 h 113"/>
              <a:gd name="T28" fmla="*/ 80 w 114"/>
              <a:gd name="T29" fmla="*/ 15 h 113"/>
              <a:gd name="T30" fmla="*/ 74 w 114"/>
              <a:gd name="T31" fmla="*/ 2 h 113"/>
              <a:gd name="T32" fmla="*/ 62 w 114"/>
              <a:gd name="T33" fmla="*/ 9 h 113"/>
              <a:gd name="T34" fmla="*/ 52 w 114"/>
              <a:gd name="T35" fmla="*/ 0 h 113"/>
              <a:gd name="T36" fmla="*/ 44 w 114"/>
              <a:gd name="T37" fmla="*/ 11 h 113"/>
              <a:gd name="T38" fmla="*/ 31 w 114"/>
              <a:gd name="T39" fmla="*/ 6 h 113"/>
              <a:gd name="T40" fmla="*/ 27 w 114"/>
              <a:gd name="T41" fmla="*/ 20 h 113"/>
              <a:gd name="T42" fmla="*/ 13 w 114"/>
              <a:gd name="T43" fmla="*/ 20 h 113"/>
              <a:gd name="T44" fmla="*/ 15 w 114"/>
              <a:gd name="T45" fmla="*/ 34 h 113"/>
              <a:gd name="T46" fmla="*/ 3 w 114"/>
              <a:gd name="T47" fmla="*/ 39 h 113"/>
              <a:gd name="T48" fmla="*/ 10 w 114"/>
              <a:gd name="T49" fmla="*/ 52 h 113"/>
              <a:gd name="T50" fmla="*/ 0 w 114"/>
              <a:gd name="T51" fmla="*/ 62 h 113"/>
              <a:gd name="T52" fmla="*/ 12 w 114"/>
              <a:gd name="T53" fmla="*/ 70 h 113"/>
              <a:gd name="T54" fmla="*/ 7 w 114"/>
              <a:gd name="T55" fmla="*/ 83 h 113"/>
              <a:gd name="T56" fmla="*/ 20 w 114"/>
              <a:gd name="T57" fmla="*/ 86 h 113"/>
              <a:gd name="T58" fmla="*/ 21 w 114"/>
              <a:gd name="T59" fmla="*/ 100 h 113"/>
              <a:gd name="T60" fmla="*/ 35 w 114"/>
              <a:gd name="T61" fmla="*/ 98 h 113"/>
              <a:gd name="T62" fmla="*/ 40 w 114"/>
              <a:gd name="T63" fmla="*/ 111 h 113"/>
              <a:gd name="T64" fmla="*/ 74 w 114"/>
              <a:gd name="T65" fmla="*/ 62 h 113"/>
              <a:gd name="T66" fmla="*/ 41 w 114"/>
              <a:gd name="T67" fmla="*/ 51 h 113"/>
              <a:gd name="T68" fmla="*/ 74 w 114"/>
              <a:gd name="T69" fmla="*/ 6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13">
                <a:moveTo>
                  <a:pt x="46" y="103"/>
                </a:moveTo>
                <a:cubicBezTo>
                  <a:pt x="48" y="103"/>
                  <a:pt x="50" y="103"/>
                  <a:pt x="53" y="104"/>
                </a:cubicBezTo>
                <a:cubicBezTo>
                  <a:pt x="55" y="113"/>
                  <a:pt x="55" y="113"/>
                  <a:pt x="55" y="113"/>
                </a:cubicBezTo>
                <a:cubicBezTo>
                  <a:pt x="63" y="113"/>
                  <a:pt x="63" y="113"/>
                  <a:pt x="63" y="113"/>
                </a:cubicBezTo>
                <a:cubicBezTo>
                  <a:pt x="65" y="103"/>
                  <a:pt x="65" y="103"/>
                  <a:pt x="65" y="103"/>
                </a:cubicBezTo>
                <a:cubicBezTo>
                  <a:pt x="67" y="103"/>
                  <a:pt x="69" y="103"/>
                  <a:pt x="71" y="102"/>
                </a:cubicBezTo>
                <a:cubicBezTo>
                  <a:pt x="77" y="110"/>
                  <a:pt x="77" y="110"/>
                  <a:pt x="77" y="110"/>
                </a:cubicBezTo>
                <a:cubicBezTo>
                  <a:pt x="84" y="107"/>
                  <a:pt x="84" y="107"/>
                  <a:pt x="84" y="107"/>
                </a:cubicBezTo>
                <a:cubicBezTo>
                  <a:pt x="82" y="97"/>
                  <a:pt x="82" y="97"/>
                  <a:pt x="82" y="97"/>
                </a:cubicBezTo>
                <a:cubicBezTo>
                  <a:pt x="84" y="96"/>
                  <a:pt x="86" y="95"/>
                  <a:pt x="88" y="93"/>
                </a:cubicBezTo>
                <a:cubicBezTo>
                  <a:pt x="96" y="98"/>
                  <a:pt x="96" y="98"/>
                  <a:pt x="96" y="98"/>
                </a:cubicBezTo>
                <a:cubicBezTo>
                  <a:pt x="101" y="93"/>
                  <a:pt x="101" y="93"/>
                  <a:pt x="101" y="93"/>
                </a:cubicBezTo>
                <a:cubicBezTo>
                  <a:pt x="96" y="84"/>
                  <a:pt x="96" y="84"/>
                  <a:pt x="96" y="84"/>
                </a:cubicBezTo>
                <a:cubicBezTo>
                  <a:pt x="97" y="83"/>
                  <a:pt x="98" y="81"/>
                  <a:pt x="99" y="79"/>
                </a:cubicBezTo>
                <a:cubicBezTo>
                  <a:pt x="109" y="80"/>
                  <a:pt x="109" y="80"/>
                  <a:pt x="109" y="80"/>
                </a:cubicBezTo>
                <a:cubicBezTo>
                  <a:pt x="112" y="74"/>
                  <a:pt x="112" y="74"/>
                  <a:pt x="112" y="74"/>
                </a:cubicBezTo>
                <a:cubicBezTo>
                  <a:pt x="104" y="68"/>
                  <a:pt x="104" y="68"/>
                  <a:pt x="104" y="68"/>
                </a:cubicBezTo>
                <a:cubicBezTo>
                  <a:pt x="104" y="66"/>
                  <a:pt x="105" y="63"/>
                  <a:pt x="105" y="61"/>
                </a:cubicBezTo>
                <a:cubicBezTo>
                  <a:pt x="114" y="58"/>
                  <a:pt x="114" y="58"/>
                  <a:pt x="114" y="58"/>
                </a:cubicBezTo>
                <a:cubicBezTo>
                  <a:pt x="114" y="51"/>
                  <a:pt x="114" y="51"/>
                  <a:pt x="114" y="51"/>
                </a:cubicBezTo>
                <a:cubicBezTo>
                  <a:pt x="104" y="49"/>
                  <a:pt x="104" y="49"/>
                  <a:pt x="104" y="49"/>
                </a:cubicBezTo>
                <a:cubicBezTo>
                  <a:pt x="104" y="47"/>
                  <a:pt x="104" y="45"/>
                  <a:pt x="103" y="43"/>
                </a:cubicBezTo>
                <a:cubicBezTo>
                  <a:pt x="111" y="37"/>
                  <a:pt x="111" y="37"/>
                  <a:pt x="111" y="37"/>
                </a:cubicBezTo>
                <a:cubicBezTo>
                  <a:pt x="108" y="30"/>
                  <a:pt x="108" y="30"/>
                  <a:pt x="108" y="30"/>
                </a:cubicBezTo>
                <a:cubicBezTo>
                  <a:pt x="98" y="32"/>
                  <a:pt x="98" y="32"/>
                  <a:pt x="98" y="32"/>
                </a:cubicBezTo>
                <a:cubicBezTo>
                  <a:pt x="97" y="30"/>
                  <a:pt x="96" y="28"/>
                  <a:pt x="94" y="26"/>
                </a:cubicBezTo>
                <a:cubicBezTo>
                  <a:pt x="99" y="18"/>
                  <a:pt x="99" y="18"/>
                  <a:pt x="99" y="18"/>
                </a:cubicBezTo>
                <a:cubicBezTo>
                  <a:pt x="94" y="13"/>
                  <a:pt x="94" y="13"/>
                  <a:pt x="94" y="13"/>
                </a:cubicBezTo>
                <a:cubicBezTo>
                  <a:pt x="85" y="18"/>
                  <a:pt x="85" y="18"/>
                  <a:pt x="85" y="18"/>
                </a:cubicBezTo>
                <a:cubicBezTo>
                  <a:pt x="84" y="17"/>
                  <a:pt x="82" y="16"/>
                  <a:pt x="80" y="15"/>
                </a:cubicBezTo>
                <a:cubicBezTo>
                  <a:pt x="81" y="5"/>
                  <a:pt x="81" y="5"/>
                  <a:pt x="81" y="5"/>
                </a:cubicBezTo>
                <a:cubicBezTo>
                  <a:pt x="74" y="2"/>
                  <a:pt x="74" y="2"/>
                  <a:pt x="74" y="2"/>
                </a:cubicBezTo>
                <a:cubicBezTo>
                  <a:pt x="69" y="10"/>
                  <a:pt x="69" y="10"/>
                  <a:pt x="69" y="10"/>
                </a:cubicBezTo>
                <a:cubicBezTo>
                  <a:pt x="66" y="10"/>
                  <a:pt x="64" y="9"/>
                  <a:pt x="62" y="9"/>
                </a:cubicBezTo>
                <a:cubicBezTo>
                  <a:pt x="59" y="0"/>
                  <a:pt x="59" y="0"/>
                  <a:pt x="59" y="0"/>
                </a:cubicBezTo>
                <a:cubicBezTo>
                  <a:pt x="52" y="0"/>
                  <a:pt x="52" y="0"/>
                  <a:pt x="52" y="0"/>
                </a:cubicBezTo>
                <a:cubicBezTo>
                  <a:pt x="50" y="10"/>
                  <a:pt x="50" y="10"/>
                  <a:pt x="50" y="10"/>
                </a:cubicBezTo>
                <a:cubicBezTo>
                  <a:pt x="48" y="10"/>
                  <a:pt x="46" y="10"/>
                  <a:pt x="44" y="11"/>
                </a:cubicBezTo>
                <a:cubicBezTo>
                  <a:pt x="38" y="3"/>
                  <a:pt x="38" y="3"/>
                  <a:pt x="38" y="3"/>
                </a:cubicBezTo>
                <a:cubicBezTo>
                  <a:pt x="31" y="6"/>
                  <a:pt x="31" y="6"/>
                  <a:pt x="31" y="6"/>
                </a:cubicBezTo>
                <a:cubicBezTo>
                  <a:pt x="33" y="16"/>
                  <a:pt x="33" y="16"/>
                  <a:pt x="33" y="16"/>
                </a:cubicBezTo>
                <a:cubicBezTo>
                  <a:pt x="31" y="17"/>
                  <a:pt x="29" y="18"/>
                  <a:pt x="27" y="20"/>
                </a:cubicBezTo>
                <a:cubicBezTo>
                  <a:pt x="18" y="15"/>
                  <a:pt x="18" y="15"/>
                  <a:pt x="18" y="15"/>
                </a:cubicBezTo>
                <a:cubicBezTo>
                  <a:pt x="13" y="20"/>
                  <a:pt x="13" y="20"/>
                  <a:pt x="13" y="20"/>
                </a:cubicBezTo>
                <a:cubicBezTo>
                  <a:pt x="19" y="29"/>
                  <a:pt x="19" y="29"/>
                  <a:pt x="19" y="29"/>
                </a:cubicBezTo>
                <a:cubicBezTo>
                  <a:pt x="17" y="30"/>
                  <a:pt x="16" y="32"/>
                  <a:pt x="15" y="34"/>
                </a:cubicBezTo>
                <a:cubicBezTo>
                  <a:pt x="5" y="32"/>
                  <a:pt x="5" y="32"/>
                  <a:pt x="5" y="32"/>
                </a:cubicBezTo>
                <a:cubicBezTo>
                  <a:pt x="3" y="39"/>
                  <a:pt x="3" y="39"/>
                  <a:pt x="3" y="39"/>
                </a:cubicBezTo>
                <a:cubicBezTo>
                  <a:pt x="11" y="45"/>
                  <a:pt x="11" y="45"/>
                  <a:pt x="11" y="45"/>
                </a:cubicBezTo>
                <a:cubicBezTo>
                  <a:pt x="10" y="47"/>
                  <a:pt x="10" y="49"/>
                  <a:pt x="10" y="52"/>
                </a:cubicBezTo>
                <a:cubicBezTo>
                  <a:pt x="0" y="54"/>
                  <a:pt x="0" y="54"/>
                  <a:pt x="0" y="54"/>
                </a:cubicBezTo>
                <a:cubicBezTo>
                  <a:pt x="0" y="62"/>
                  <a:pt x="0" y="62"/>
                  <a:pt x="0" y="62"/>
                </a:cubicBezTo>
                <a:cubicBezTo>
                  <a:pt x="10" y="64"/>
                  <a:pt x="10" y="64"/>
                  <a:pt x="10" y="64"/>
                </a:cubicBezTo>
                <a:cubicBezTo>
                  <a:pt x="11" y="66"/>
                  <a:pt x="11" y="68"/>
                  <a:pt x="12" y="70"/>
                </a:cubicBezTo>
                <a:cubicBezTo>
                  <a:pt x="4" y="76"/>
                  <a:pt x="4" y="76"/>
                  <a:pt x="4" y="76"/>
                </a:cubicBezTo>
                <a:cubicBezTo>
                  <a:pt x="7" y="83"/>
                  <a:pt x="7" y="83"/>
                  <a:pt x="7" y="83"/>
                </a:cubicBezTo>
                <a:cubicBezTo>
                  <a:pt x="17" y="81"/>
                  <a:pt x="17" y="81"/>
                  <a:pt x="17" y="81"/>
                </a:cubicBezTo>
                <a:cubicBezTo>
                  <a:pt x="18" y="83"/>
                  <a:pt x="19" y="85"/>
                  <a:pt x="20" y="86"/>
                </a:cubicBezTo>
                <a:cubicBezTo>
                  <a:pt x="16" y="95"/>
                  <a:pt x="16" y="95"/>
                  <a:pt x="16" y="95"/>
                </a:cubicBezTo>
                <a:cubicBezTo>
                  <a:pt x="21" y="100"/>
                  <a:pt x="21" y="100"/>
                  <a:pt x="21" y="100"/>
                </a:cubicBezTo>
                <a:cubicBezTo>
                  <a:pt x="29" y="95"/>
                  <a:pt x="29" y="95"/>
                  <a:pt x="29" y="95"/>
                </a:cubicBezTo>
                <a:cubicBezTo>
                  <a:pt x="31" y="96"/>
                  <a:pt x="33" y="97"/>
                  <a:pt x="35" y="98"/>
                </a:cubicBezTo>
                <a:cubicBezTo>
                  <a:pt x="33" y="108"/>
                  <a:pt x="33" y="108"/>
                  <a:pt x="33" y="108"/>
                </a:cubicBezTo>
                <a:cubicBezTo>
                  <a:pt x="40" y="111"/>
                  <a:pt x="40" y="111"/>
                  <a:pt x="40" y="111"/>
                </a:cubicBezTo>
                <a:cubicBezTo>
                  <a:pt x="46" y="103"/>
                  <a:pt x="46" y="103"/>
                  <a:pt x="46" y="103"/>
                </a:cubicBezTo>
                <a:moveTo>
                  <a:pt x="74" y="62"/>
                </a:moveTo>
                <a:cubicBezTo>
                  <a:pt x="71" y="71"/>
                  <a:pt x="61" y="76"/>
                  <a:pt x="52" y="73"/>
                </a:cubicBezTo>
                <a:cubicBezTo>
                  <a:pt x="43" y="70"/>
                  <a:pt x="38" y="60"/>
                  <a:pt x="41" y="51"/>
                </a:cubicBezTo>
                <a:cubicBezTo>
                  <a:pt x="43" y="42"/>
                  <a:pt x="53" y="37"/>
                  <a:pt x="62" y="40"/>
                </a:cubicBezTo>
                <a:cubicBezTo>
                  <a:pt x="72" y="43"/>
                  <a:pt x="77" y="52"/>
                  <a:pt x="74" y="62"/>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9" name="Freeform 690">
            <a:extLst>
              <a:ext uri="{FF2B5EF4-FFF2-40B4-BE49-F238E27FC236}">
                <a16:creationId xmlns:a16="http://schemas.microsoft.com/office/drawing/2014/main" id="{C8C7A457-6F15-457E-8782-44615DD639A9}"/>
              </a:ext>
            </a:extLst>
          </p:cNvPr>
          <p:cNvSpPr>
            <a:spLocks noEditPoints="1"/>
          </p:cNvSpPr>
          <p:nvPr/>
        </p:nvSpPr>
        <p:spPr bwMode="auto">
          <a:xfrm>
            <a:off x="8788400" y="3303588"/>
            <a:ext cx="314325" cy="311150"/>
          </a:xfrm>
          <a:custGeom>
            <a:avLst/>
            <a:gdLst>
              <a:gd name="T0" fmla="*/ 67 w 146"/>
              <a:gd name="T1" fmla="*/ 133 h 145"/>
              <a:gd name="T2" fmla="*/ 80 w 146"/>
              <a:gd name="T3" fmla="*/ 145 h 145"/>
              <a:gd name="T4" fmla="*/ 91 w 146"/>
              <a:gd name="T5" fmla="*/ 131 h 145"/>
              <a:gd name="T6" fmla="*/ 107 w 146"/>
              <a:gd name="T7" fmla="*/ 137 h 145"/>
              <a:gd name="T8" fmla="*/ 112 w 146"/>
              <a:gd name="T9" fmla="*/ 120 h 145"/>
              <a:gd name="T10" fmla="*/ 129 w 146"/>
              <a:gd name="T11" fmla="*/ 119 h 145"/>
              <a:gd name="T12" fmla="*/ 127 w 146"/>
              <a:gd name="T13" fmla="*/ 102 h 145"/>
              <a:gd name="T14" fmla="*/ 143 w 146"/>
              <a:gd name="T15" fmla="*/ 95 h 145"/>
              <a:gd name="T16" fmla="*/ 134 w 146"/>
              <a:gd name="T17" fmla="*/ 79 h 145"/>
              <a:gd name="T18" fmla="*/ 146 w 146"/>
              <a:gd name="T19" fmla="*/ 66 h 145"/>
              <a:gd name="T20" fmla="*/ 132 w 146"/>
              <a:gd name="T21" fmla="*/ 56 h 145"/>
              <a:gd name="T22" fmla="*/ 138 w 146"/>
              <a:gd name="T23" fmla="*/ 39 h 145"/>
              <a:gd name="T24" fmla="*/ 120 w 146"/>
              <a:gd name="T25" fmla="*/ 34 h 145"/>
              <a:gd name="T26" fmla="*/ 120 w 146"/>
              <a:gd name="T27" fmla="*/ 17 h 145"/>
              <a:gd name="T28" fmla="*/ 102 w 146"/>
              <a:gd name="T29" fmla="*/ 19 h 145"/>
              <a:gd name="T30" fmla="*/ 95 w 146"/>
              <a:gd name="T31" fmla="*/ 4 h 145"/>
              <a:gd name="T32" fmla="*/ 79 w 146"/>
              <a:gd name="T33" fmla="*/ 12 h 145"/>
              <a:gd name="T34" fmla="*/ 66 w 146"/>
              <a:gd name="T35" fmla="*/ 0 h 145"/>
              <a:gd name="T36" fmla="*/ 56 w 146"/>
              <a:gd name="T37" fmla="*/ 14 h 145"/>
              <a:gd name="T38" fmla="*/ 40 w 146"/>
              <a:gd name="T39" fmla="*/ 8 h 145"/>
              <a:gd name="T40" fmla="*/ 35 w 146"/>
              <a:gd name="T41" fmla="*/ 26 h 145"/>
              <a:gd name="T42" fmla="*/ 17 w 146"/>
              <a:gd name="T43" fmla="*/ 26 h 145"/>
              <a:gd name="T44" fmla="*/ 20 w 146"/>
              <a:gd name="T45" fmla="*/ 44 h 145"/>
              <a:gd name="T46" fmla="*/ 4 w 146"/>
              <a:gd name="T47" fmla="*/ 51 h 145"/>
              <a:gd name="T48" fmla="*/ 13 w 146"/>
              <a:gd name="T49" fmla="*/ 66 h 145"/>
              <a:gd name="T50" fmla="*/ 1 w 146"/>
              <a:gd name="T51" fmla="*/ 79 h 145"/>
              <a:gd name="T52" fmla="*/ 15 w 146"/>
              <a:gd name="T53" fmla="*/ 90 h 145"/>
              <a:gd name="T54" fmla="*/ 9 w 146"/>
              <a:gd name="T55" fmla="*/ 106 h 145"/>
              <a:gd name="T56" fmla="*/ 26 w 146"/>
              <a:gd name="T57" fmla="*/ 111 h 145"/>
              <a:gd name="T58" fmla="*/ 27 w 146"/>
              <a:gd name="T59" fmla="*/ 128 h 145"/>
              <a:gd name="T60" fmla="*/ 44 w 146"/>
              <a:gd name="T61" fmla="*/ 126 h 145"/>
              <a:gd name="T62" fmla="*/ 51 w 146"/>
              <a:gd name="T63" fmla="*/ 142 h 145"/>
              <a:gd name="T64" fmla="*/ 94 w 146"/>
              <a:gd name="T65" fmla="*/ 79 h 145"/>
              <a:gd name="T66" fmla="*/ 52 w 146"/>
              <a:gd name="T67" fmla="*/ 66 h 145"/>
              <a:gd name="T68" fmla="*/ 94 w 146"/>
              <a:gd name="T69" fmla="*/ 7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45">
                <a:moveTo>
                  <a:pt x="59" y="131"/>
                </a:moveTo>
                <a:cubicBezTo>
                  <a:pt x="62" y="132"/>
                  <a:pt x="64" y="133"/>
                  <a:pt x="67" y="133"/>
                </a:cubicBezTo>
                <a:cubicBezTo>
                  <a:pt x="71" y="145"/>
                  <a:pt x="71" y="145"/>
                  <a:pt x="71" y="145"/>
                </a:cubicBezTo>
                <a:cubicBezTo>
                  <a:pt x="80" y="145"/>
                  <a:pt x="80" y="145"/>
                  <a:pt x="80" y="145"/>
                </a:cubicBezTo>
                <a:cubicBezTo>
                  <a:pt x="83" y="132"/>
                  <a:pt x="83" y="132"/>
                  <a:pt x="83" y="132"/>
                </a:cubicBezTo>
                <a:cubicBezTo>
                  <a:pt x="85" y="132"/>
                  <a:pt x="88" y="131"/>
                  <a:pt x="91" y="131"/>
                </a:cubicBezTo>
                <a:cubicBezTo>
                  <a:pt x="98" y="141"/>
                  <a:pt x="98" y="141"/>
                  <a:pt x="98" y="141"/>
                </a:cubicBezTo>
                <a:cubicBezTo>
                  <a:pt x="107" y="137"/>
                  <a:pt x="107" y="137"/>
                  <a:pt x="107" y="137"/>
                </a:cubicBezTo>
                <a:cubicBezTo>
                  <a:pt x="105" y="124"/>
                  <a:pt x="105" y="124"/>
                  <a:pt x="105" y="124"/>
                </a:cubicBezTo>
                <a:cubicBezTo>
                  <a:pt x="107" y="123"/>
                  <a:pt x="110" y="121"/>
                  <a:pt x="112" y="120"/>
                </a:cubicBezTo>
                <a:cubicBezTo>
                  <a:pt x="123" y="126"/>
                  <a:pt x="123" y="126"/>
                  <a:pt x="123" y="126"/>
                </a:cubicBezTo>
                <a:cubicBezTo>
                  <a:pt x="129" y="119"/>
                  <a:pt x="129" y="119"/>
                  <a:pt x="129" y="119"/>
                </a:cubicBezTo>
                <a:cubicBezTo>
                  <a:pt x="123" y="108"/>
                  <a:pt x="123" y="108"/>
                  <a:pt x="123" y="108"/>
                </a:cubicBezTo>
                <a:cubicBezTo>
                  <a:pt x="124" y="106"/>
                  <a:pt x="125" y="104"/>
                  <a:pt x="127" y="102"/>
                </a:cubicBezTo>
                <a:cubicBezTo>
                  <a:pt x="139" y="103"/>
                  <a:pt x="139" y="103"/>
                  <a:pt x="139" y="103"/>
                </a:cubicBezTo>
                <a:cubicBezTo>
                  <a:pt x="143" y="95"/>
                  <a:pt x="143" y="95"/>
                  <a:pt x="143" y="95"/>
                </a:cubicBezTo>
                <a:cubicBezTo>
                  <a:pt x="132" y="87"/>
                  <a:pt x="132" y="87"/>
                  <a:pt x="132" y="87"/>
                </a:cubicBezTo>
                <a:cubicBezTo>
                  <a:pt x="133" y="84"/>
                  <a:pt x="134" y="82"/>
                  <a:pt x="134" y="79"/>
                </a:cubicBezTo>
                <a:cubicBezTo>
                  <a:pt x="146" y="75"/>
                  <a:pt x="146" y="75"/>
                  <a:pt x="146" y="75"/>
                </a:cubicBezTo>
                <a:cubicBezTo>
                  <a:pt x="146" y="66"/>
                  <a:pt x="146" y="66"/>
                  <a:pt x="146" y="66"/>
                </a:cubicBezTo>
                <a:cubicBezTo>
                  <a:pt x="133" y="63"/>
                  <a:pt x="133" y="63"/>
                  <a:pt x="133" y="63"/>
                </a:cubicBezTo>
                <a:cubicBezTo>
                  <a:pt x="133" y="61"/>
                  <a:pt x="132" y="58"/>
                  <a:pt x="132" y="56"/>
                </a:cubicBezTo>
                <a:cubicBezTo>
                  <a:pt x="142" y="48"/>
                  <a:pt x="142" y="48"/>
                  <a:pt x="142" y="48"/>
                </a:cubicBezTo>
                <a:cubicBezTo>
                  <a:pt x="138" y="39"/>
                  <a:pt x="138" y="39"/>
                  <a:pt x="138" y="39"/>
                </a:cubicBezTo>
                <a:cubicBezTo>
                  <a:pt x="125" y="41"/>
                  <a:pt x="125" y="41"/>
                  <a:pt x="125" y="41"/>
                </a:cubicBezTo>
                <a:cubicBezTo>
                  <a:pt x="124" y="39"/>
                  <a:pt x="122" y="37"/>
                  <a:pt x="120" y="34"/>
                </a:cubicBezTo>
                <a:cubicBezTo>
                  <a:pt x="126" y="23"/>
                  <a:pt x="126" y="23"/>
                  <a:pt x="126" y="23"/>
                </a:cubicBezTo>
                <a:cubicBezTo>
                  <a:pt x="120" y="17"/>
                  <a:pt x="120" y="17"/>
                  <a:pt x="120" y="17"/>
                </a:cubicBezTo>
                <a:cubicBezTo>
                  <a:pt x="109" y="24"/>
                  <a:pt x="109" y="24"/>
                  <a:pt x="109" y="24"/>
                </a:cubicBezTo>
                <a:cubicBezTo>
                  <a:pt x="107" y="22"/>
                  <a:pt x="105" y="21"/>
                  <a:pt x="102" y="19"/>
                </a:cubicBezTo>
                <a:cubicBezTo>
                  <a:pt x="104" y="7"/>
                  <a:pt x="104" y="7"/>
                  <a:pt x="104" y="7"/>
                </a:cubicBezTo>
                <a:cubicBezTo>
                  <a:pt x="95" y="4"/>
                  <a:pt x="95" y="4"/>
                  <a:pt x="95" y="4"/>
                </a:cubicBezTo>
                <a:cubicBezTo>
                  <a:pt x="88" y="14"/>
                  <a:pt x="88" y="14"/>
                  <a:pt x="88" y="14"/>
                </a:cubicBezTo>
                <a:cubicBezTo>
                  <a:pt x="85" y="13"/>
                  <a:pt x="82" y="13"/>
                  <a:pt x="79" y="12"/>
                </a:cubicBezTo>
                <a:cubicBezTo>
                  <a:pt x="76" y="0"/>
                  <a:pt x="76" y="0"/>
                  <a:pt x="76" y="0"/>
                </a:cubicBezTo>
                <a:cubicBezTo>
                  <a:pt x="66" y="0"/>
                  <a:pt x="66" y="0"/>
                  <a:pt x="66" y="0"/>
                </a:cubicBezTo>
                <a:cubicBezTo>
                  <a:pt x="64" y="13"/>
                  <a:pt x="64" y="13"/>
                  <a:pt x="64" y="13"/>
                </a:cubicBezTo>
                <a:cubicBezTo>
                  <a:pt x="61" y="13"/>
                  <a:pt x="58" y="14"/>
                  <a:pt x="56" y="14"/>
                </a:cubicBezTo>
                <a:cubicBezTo>
                  <a:pt x="48" y="5"/>
                  <a:pt x="48" y="5"/>
                  <a:pt x="48" y="5"/>
                </a:cubicBezTo>
                <a:cubicBezTo>
                  <a:pt x="40" y="8"/>
                  <a:pt x="40" y="8"/>
                  <a:pt x="40" y="8"/>
                </a:cubicBezTo>
                <a:cubicBezTo>
                  <a:pt x="42" y="21"/>
                  <a:pt x="42" y="21"/>
                  <a:pt x="42" y="21"/>
                </a:cubicBezTo>
                <a:cubicBezTo>
                  <a:pt x="39" y="22"/>
                  <a:pt x="37" y="24"/>
                  <a:pt x="35" y="26"/>
                </a:cubicBezTo>
                <a:cubicBezTo>
                  <a:pt x="23" y="19"/>
                  <a:pt x="23" y="19"/>
                  <a:pt x="23" y="19"/>
                </a:cubicBezTo>
                <a:cubicBezTo>
                  <a:pt x="17" y="26"/>
                  <a:pt x="17" y="26"/>
                  <a:pt x="17" y="26"/>
                </a:cubicBezTo>
                <a:cubicBezTo>
                  <a:pt x="24" y="37"/>
                  <a:pt x="24" y="37"/>
                  <a:pt x="24" y="37"/>
                </a:cubicBezTo>
                <a:cubicBezTo>
                  <a:pt x="22" y="39"/>
                  <a:pt x="21" y="41"/>
                  <a:pt x="20" y="44"/>
                </a:cubicBezTo>
                <a:cubicBezTo>
                  <a:pt x="7" y="42"/>
                  <a:pt x="7" y="42"/>
                  <a:pt x="7" y="42"/>
                </a:cubicBezTo>
                <a:cubicBezTo>
                  <a:pt x="4" y="51"/>
                  <a:pt x="4" y="51"/>
                  <a:pt x="4" y="51"/>
                </a:cubicBezTo>
                <a:cubicBezTo>
                  <a:pt x="14" y="58"/>
                  <a:pt x="14" y="58"/>
                  <a:pt x="14" y="58"/>
                </a:cubicBezTo>
                <a:cubicBezTo>
                  <a:pt x="13" y="61"/>
                  <a:pt x="13" y="64"/>
                  <a:pt x="13" y="66"/>
                </a:cubicBezTo>
                <a:cubicBezTo>
                  <a:pt x="0" y="70"/>
                  <a:pt x="0" y="70"/>
                  <a:pt x="0" y="70"/>
                </a:cubicBezTo>
                <a:cubicBezTo>
                  <a:pt x="1" y="79"/>
                  <a:pt x="1" y="79"/>
                  <a:pt x="1" y="79"/>
                </a:cubicBezTo>
                <a:cubicBezTo>
                  <a:pt x="13" y="82"/>
                  <a:pt x="13" y="82"/>
                  <a:pt x="13" y="82"/>
                </a:cubicBezTo>
                <a:cubicBezTo>
                  <a:pt x="14" y="85"/>
                  <a:pt x="14" y="87"/>
                  <a:pt x="15" y="90"/>
                </a:cubicBezTo>
                <a:cubicBezTo>
                  <a:pt x="5" y="97"/>
                  <a:pt x="5" y="97"/>
                  <a:pt x="5" y="97"/>
                </a:cubicBezTo>
                <a:cubicBezTo>
                  <a:pt x="9" y="106"/>
                  <a:pt x="9" y="106"/>
                  <a:pt x="9" y="106"/>
                </a:cubicBezTo>
                <a:cubicBezTo>
                  <a:pt x="21" y="104"/>
                  <a:pt x="21" y="104"/>
                  <a:pt x="21" y="104"/>
                </a:cubicBezTo>
                <a:cubicBezTo>
                  <a:pt x="23" y="106"/>
                  <a:pt x="24" y="109"/>
                  <a:pt x="26" y="111"/>
                </a:cubicBezTo>
                <a:cubicBezTo>
                  <a:pt x="20" y="122"/>
                  <a:pt x="20" y="122"/>
                  <a:pt x="20" y="122"/>
                </a:cubicBezTo>
                <a:cubicBezTo>
                  <a:pt x="27" y="128"/>
                  <a:pt x="27" y="128"/>
                  <a:pt x="27" y="128"/>
                </a:cubicBezTo>
                <a:cubicBezTo>
                  <a:pt x="38" y="122"/>
                  <a:pt x="38" y="122"/>
                  <a:pt x="38" y="122"/>
                </a:cubicBezTo>
                <a:cubicBezTo>
                  <a:pt x="40" y="123"/>
                  <a:pt x="42" y="125"/>
                  <a:pt x="44" y="126"/>
                </a:cubicBezTo>
                <a:cubicBezTo>
                  <a:pt x="43" y="138"/>
                  <a:pt x="43" y="138"/>
                  <a:pt x="43" y="138"/>
                </a:cubicBezTo>
                <a:cubicBezTo>
                  <a:pt x="51" y="142"/>
                  <a:pt x="51" y="142"/>
                  <a:pt x="51" y="142"/>
                </a:cubicBezTo>
                <a:cubicBezTo>
                  <a:pt x="59" y="131"/>
                  <a:pt x="59" y="131"/>
                  <a:pt x="59" y="131"/>
                </a:cubicBezTo>
                <a:moveTo>
                  <a:pt x="94" y="79"/>
                </a:moveTo>
                <a:cubicBezTo>
                  <a:pt x="91" y="91"/>
                  <a:pt x="78" y="97"/>
                  <a:pt x="67" y="94"/>
                </a:cubicBezTo>
                <a:cubicBezTo>
                  <a:pt x="55" y="90"/>
                  <a:pt x="48" y="78"/>
                  <a:pt x="52" y="66"/>
                </a:cubicBezTo>
                <a:cubicBezTo>
                  <a:pt x="56" y="54"/>
                  <a:pt x="68" y="48"/>
                  <a:pt x="80" y="51"/>
                </a:cubicBezTo>
                <a:cubicBezTo>
                  <a:pt x="92" y="55"/>
                  <a:pt x="98" y="67"/>
                  <a:pt x="94" y="79"/>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0" name="Freeform 691">
            <a:extLst>
              <a:ext uri="{FF2B5EF4-FFF2-40B4-BE49-F238E27FC236}">
                <a16:creationId xmlns:a16="http://schemas.microsoft.com/office/drawing/2014/main" id="{741401AD-28C9-40C3-82D1-5A12AAA217F0}"/>
              </a:ext>
            </a:extLst>
          </p:cNvPr>
          <p:cNvSpPr>
            <a:spLocks noEditPoints="1"/>
          </p:cNvSpPr>
          <p:nvPr/>
        </p:nvSpPr>
        <p:spPr bwMode="auto">
          <a:xfrm>
            <a:off x="8129588" y="3559175"/>
            <a:ext cx="488950" cy="485775"/>
          </a:xfrm>
          <a:custGeom>
            <a:avLst/>
            <a:gdLst>
              <a:gd name="T0" fmla="*/ 104 w 227"/>
              <a:gd name="T1" fmla="*/ 207 h 226"/>
              <a:gd name="T2" fmla="*/ 124 w 227"/>
              <a:gd name="T3" fmla="*/ 225 h 226"/>
              <a:gd name="T4" fmla="*/ 140 w 227"/>
              <a:gd name="T5" fmla="*/ 203 h 226"/>
              <a:gd name="T6" fmla="*/ 166 w 227"/>
              <a:gd name="T7" fmla="*/ 213 h 226"/>
              <a:gd name="T8" fmla="*/ 173 w 227"/>
              <a:gd name="T9" fmla="*/ 186 h 226"/>
              <a:gd name="T10" fmla="*/ 201 w 227"/>
              <a:gd name="T11" fmla="*/ 185 h 226"/>
              <a:gd name="T12" fmla="*/ 197 w 227"/>
              <a:gd name="T13" fmla="*/ 158 h 226"/>
              <a:gd name="T14" fmla="*/ 221 w 227"/>
              <a:gd name="T15" fmla="*/ 147 h 226"/>
              <a:gd name="T16" fmla="*/ 208 w 227"/>
              <a:gd name="T17" fmla="*/ 122 h 226"/>
              <a:gd name="T18" fmla="*/ 226 w 227"/>
              <a:gd name="T19" fmla="*/ 102 h 226"/>
              <a:gd name="T20" fmla="*/ 204 w 227"/>
              <a:gd name="T21" fmla="*/ 86 h 226"/>
              <a:gd name="T22" fmla="*/ 214 w 227"/>
              <a:gd name="T23" fmla="*/ 61 h 226"/>
              <a:gd name="T24" fmla="*/ 186 w 227"/>
              <a:gd name="T25" fmla="*/ 53 h 226"/>
              <a:gd name="T26" fmla="*/ 186 w 227"/>
              <a:gd name="T27" fmla="*/ 26 h 226"/>
              <a:gd name="T28" fmla="*/ 158 w 227"/>
              <a:gd name="T29" fmla="*/ 30 h 226"/>
              <a:gd name="T30" fmla="*/ 147 w 227"/>
              <a:gd name="T31" fmla="*/ 5 h 226"/>
              <a:gd name="T32" fmla="*/ 122 w 227"/>
              <a:gd name="T33" fmla="*/ 19 h 226"/>
              <a:gd name="T34" fmla="*/ 102 w 227"/>
              <a:gd name="T35" fmla="*/ 0 h 226"/>
              <a:gd name="T36" fmla="*/ 86 w 227"/>
              <a:gd name="T37" fmla="*/ 22 h 226"/>
              <a:gd name="T38" fmla="*/ 61 w 227"/>
              <a:gd name="T39" fmla="*/ 12 h 226"/>
              <a:gd name="T40" fmla="*/ 53 w 227"/>
              <a:gd name="T41" fmla="*/ 40 h 226"/>
              <a:gd name="T42" fmla="*/ 26 w 227"/>
              <a:gd name="T43" fmla="*/ 40 h 226"/>
              <a:gd name="T44" fmla="*/ 30 w 227"/>
              <a:gd name="T45" fmla="*/ 67 h 226"/>
              <a:gd name="T46" fmla="*/ 5 w 227"/>
              <a:gd name="T47" fmla="*/ 79 h 226"/>
              <a:gd name="T48" fmla="*/ 19 w 227"/>
              <a:gd name="T49" fmla="*/ 103 h 226"/>
              <a:gd name="T50" fmla="*/ 0 w 227"/>
              <a:gd name="T51" fmla="*/ 123 h 226"/>
              <a:gd name="T52" fmla="*/ 22 w 227"/>
              <a:gd name="T53" fmla="*/ 139 h 226"/>
              <a:gd name="T54" fmla="*/ 13 w 227"/>
              <a:gd name="T55" fmla="*/ 165 h 226"/>
              <a:gd name="T56" fmla="*/ 40 w 227"/>
              <a:gd name="T57" fmla="*/ 172 h 226"/>
              <a:gd name="T58" fmla="*/ 41 w 227"/>
              <a:gd name="T59" fmla="*/ 200 h 226"/>
              <a:gd name="T60" fmla="*/ 68 w 227"/>
              <a:gd name="T61" fmla="*/ 196 h 226"/>
              <a:gd name="T62" fmla="*/ 79 w 227"/>
              <a:gd name="T63" fmla="*/ 220 h 226"/>
              <a:gd name="T64" fmla="*/ 197 w 227"/>
              <a:gd name="T65" fmla="*/ 139 h 226"/>
              <a:gd name="T66" fmla="*/ 29 w 227"/>
              <a:gd name="T67" fmla="*/ 87 h 226"/>
              <a:gd name="T68" fmla="*/ 197 w 227"/>
              <a:gd name="T69" fmla="*/ 13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26">
                <a:moveTo>
                  <a:pt x="91" y="204"/>
                </a:moveTo>
                <a:cubicBezTo>
                  <a:pt x="95" y="205"/>
                  <a:pt x="99" y="206"/>
                  <a:pt x="104" y="207"/>
                </a:cubicBezTo>
                <a:cubicBezTo>
                  <a:pt x="109" y="226"/>
                  <a:pt x="109" y="226"/>
                  <a:pt x="109" y="226"/>
                </a:cubicBezTo>
                <a:cubicBezTo>
                  <a:pt x="124" y="225"/>
                  <a:pt x="124" y="225"/>
                  <a:pt x="124" y="225"/>
                </a:cubicBezTo>
                <a:cubicBezTo>
                  <a:pt x="128" y="206"/>
                  <a:pt x="128" y="206"/>
                  <a:pt x="128" y="206"/>
                </a:cubicBezTo>
                <a:cubicBezTo>
                  <a:pt x="132" y="205"/>
                  <a:pt x="136" y="204"/>
                  <a:pt x="140" y="203"/>
                </a:cubicBezTo>
                <a:cubicBezTo>
                  <a:pt x="152" y="219"/>
                  <a:pt x="152" y="219"/>
                  <a:pt x="152" y="219"/>
                </a:cubicBezTo>
                <a:cubicBezTo>
                  <a:pt x="166" y="213"/>
                  <a:pt x="166" y="213"/>
                  <a:pt x="166" y="213"/>
                </a:cubicBezTo>
                <a:cubicBezTo>
                  <a:pt x="162" y="194"/>
                  <a:pt x="162" y="194"/>
                  <a:pt x="162" y="194"/>
                </a:cubicBezTo>
                <a:cubicBezTo>
                  <a:pt x="166" y="191"/>
                  <a:pt x="170" y="189"/>
                  <a:pt x="173" y="186"/>
                </a:cubicBezTo>
                <a:cubicBezTo>
                  <a:pt x="191" y="196"/>
                  <a:pt x="191" y="196"/>
                  <a:pt x="191" y="196"/>
                </a:cubicBezTo>
                <a:cubicBezTo>
                  <a:pt x="201" y="185"/>
                  <a:pt x="201" y="185"/>
                  <a:pt x="201" y="185"/>
                </a:cubicBezTo>
                <a:cubicBezTo>
                  <a:pt x="190" y="168"/>
                  <a:pt x="190" y="168"/>
                  <a:pt x="190" y="168"/>
                </a:cubicBezTo>
                <a:cubicBezTo>
                  <a:pt x="192" y="165"/>
                  <a:pt x="195" y="162"/>
                  <a:pt x="197" y="158"/>
                </a:cubicBezTo>
                <a:cubicBezTo>
                  <a:pt x="216" y="160"/>
                  <a:pt x="216" y="160"/>
                  <a:pt x="216" y="160"/>
                </a:cubicBezTo>
                <a:cubicBezTo>
                  <a:pt x="221" y="147"/>
                  <a:pt x="221" y="147"/>
                  <a:pt x="221" y="147"/>
                </a:cubicBezTo>
                <a:cubicBezTo>
                  <a:pt x="205" y="135"/>
                  <a:pt x="205" y="135"/>
                  <a:pt x="205" y="135"/>
                </a:cubicBezTo>
                <a:cubicBezTo>
                  <a:pt x="206" y="131"/>
                  <a:pt x="207" y="127"/>
                  <a:pt x="208" y="122"/>
                </a:cubicBezTo>
                <a:cubicBezTo>
                  <a:pt x="227" y="117"/>
                  <a:pt x="227" y="117"/>
                  <a:pt x="227" y="117"/>
                </a:cubicBezTo>
                <a:cubicBezTo>
                  <a:pt x="226" y="102"/>
                  <a:pt x="226" y="102"/>
                  <a:pt x="226" y="102"/>
                </a:cubicBezTo>
                <a:cubicBezTo>
                  <a:pt x="207" y="98"/>
                  <a:pt x="207" y="98"/>
                  <a:pt x="207" y="98"/>
                </a:cubicBezTo>
                <a:cubicBezTo>
                  <a:pt x="206" y="94"/>
                  <a:pt x="205" y="90"/>
                  <a:pt x="204" y="86"/>
                </a:cubicBezTo>
                <a:cubicBezTo>
                  <a:pt x="220" y="74"/>
                  <a:pt x="220" y="74"/>
                  <a:pt x="220" y="74"/>
                </a:cubicBezTo>
                <a:cubicBezTo>
                  <a:pt x="214" y="61"/>
                  <a:pt x="214" y="61"/>
                  <a:pt x="214" y="61"/>
                </a:cubicBezTo>
                <a:cubicBezTo>
                  <a:pt x="194" y="64"/>
                  <a:pt x="194" y="64"/>
                  <a:pt x="194" y="64"/>
                </a:cubicBezTo>
                <a:cubicBezTo>
                  <a:pt x="192" y="60"/>
                  <a:pt x="189" y="57"/>
                  <a:pt x="186" y="53"/>
                </a:cubicBezTo>
                <a:cubicBezTo>
                  <a:pt x="196" y="36"/>
                  <a:pt x="196" y="36"/>
                  <a:pt x="196" y="36"/>
                </a:cubicBezTo>
                <a:cubicBezTo>
                  <a:pt x="186" y="26"/>
                  <a:pt x="186" y="26"/>
                  <a:pt x="186" y="26"/>
                </a:cubicBezTo>
                <a:cubicBezTo>
                  <a:pt x="169" y="36"/>
                  <a:pt x="169" y="36"/>
                  <a:pt x="169" y="36"/>
                </a:cubicBezTo>
                <a:cubicBezTo>
                  <a:pt x="165" y="34"/>
                  <a:pt x="162" y="32"/>
                  <a:pt x="158" y="30"/>
                </a:cubicBezTo>
                <a:cubicBezTo>
                  <a:pt x="161" y="10"/>
                  <a:pt x="161" y="10"/>
                  <a:pt x="161" y="10"/>
                </a:cubicBezTo>
                <a:cubicBezTo>
                  <a:pt x="147" y="5"/>
                  <a:pt x="147" y="5"/>
                  <a:pt x="147" y="5"/>
                </a:cubicBezTo>
                <a:cubicBezTo>
                  <a:pt x="136" y="21"/>
                  <a:pt x="136" y="21"/>
                  <a:pt x="136" y="21"/>
                </a:cubicBezTo>
                <a:cubicBezTo>
                  <a:pt x="131" y="20"/>
                  <a:pt x="127" y="19"/>
                  <a:pt x="122" y="19"/>
                </a:cubicBezTo>
                <a:cubicBezTo>
                  <a:pt x="117" y="0"/>
                  <a:pt x="117" y="0"/>
                  <a:pt x="117" y="0"/>
                </a:cubicBezTo>
                <a:cubicBezTo>
                  <a:pt x="102" y="0"/>
                  <a:pt x="102" y="0"/>
                  <a:pt x="102" y="0"/>
                </a:cubicBezTo>
                <a:cubicBezTo>
                  <a:pt x="98" y="20"/>
                  <a:pt x="98" y="20"/>
                  <a:pt x="98" y="20"/>
                </a:cubicBezTo>
                <a:cubicBezTo>
                  <a:pt x="94" y="20"/>
                  <a:pt x="90" y="21"/>
                  <a:pt x="86" y="22"/>
                </a:cubicBezTo>
                <a:cubicBezTo>
                  <a:pt x="74" y="7"/>
                  <a:pt x="74" y="7"/>
                  <a:pt x="74" y="7"/>
                </a:cubicBezTo>
                <a:cubicBezTo>
                  <a:pt x="61" y="12"/>
                  <a:pt x="61" y="12"/>
                  <a:pt x="61" y="12"/>
                </a:cubicBezTo>
                <a:cubicBezTo>
                  <a:pt x="64" y="32"/>
                  <a:pt x="64" y="32"/>
                  <a:pt x="64" y="32"/>
                </a:cubicBezTo>
                <a:cubicBezTo>
                  <a:pt x="60" y="34"/>
                  <a:pt x="56" y="37"/>
                  <a:pt x="53" y="40"/>
                </a:cubicBezTo>
                <a:cubicBezTo>
                  <a:pt x="35" y="30"/>
                  <a:pt x="35" y="30"/>
                  <a:pt x="35" y="30"/>
                </a:cubicBezTo>
                <a:cubicBezTo>
                  <a:pt x="26" y="40"/>
                  <a:pt x="26" y="40"/>
                  <a:pt x="26" y="40"/>
                </a:cubicBezTo>
                <a:cubicBezTo>
                  <a:pt x="36" y="57"/>
                  <a:pt x="36" y="57"/>
                  <a:pt x="36" y="57"/>
                </a:cubicBezTo>
                <a:cubicBezTo>
                  <a:pt x="34" y="61"/>
                  <a:pt x="32" y="64"/>
                  <a:pt x="30" y="67"/>
                </a:cubicBezTo>
                <a:cubicBezTo>
                  <a:pt x="10" y="65"/>
                  <a:pt x="10" y="65"/>
                  <a:pt x="10" y="65"/>
                </a:cubicBezTo>
                <a:cubicBezTo>
                  <a:pt x="5" y="79"/>
                  <a:pt x="5" y="79"/>
                  <a:pt x="5" y="79"/>
                </a:cubicBezTo>
                <a:cubicBezTo>
                  <a:pt x="21" y="90"/>
                  <a:pt x="21" y="90"/>
                  <a:pt x="21" y="90"/>
                </a:cubicBezTo>
                <a:cubicBezTo>
                  <a:pt x="20" y="94"/>
                  <a:pt x="19" y="99"/>
                  <a:pt x="19" y="103"/>
                </a:cubicBezTo>
                <a:cubicBezTo>
                  <a:pt x="0" y="109"/>
                  <a:pt x="0" y="109"/>
                  <a:pt x="0" y="109"/>
                </a:cubicBezTo>
                <a:cubicBezTo>
                  <a:pt x="0" y="123"/>
                  <a:pt x="0" y="123"/>
                  <a:pt x="0" y="123"/>
                </a:cubicBezTo>
                <a:cubicBezTo>
                  <a:pt x="20" y="128"/>
                  <a:pt x="20" y="128"/>
                  <a:pt x="20" y="128"/>
                </a:cubicBezTo>
                <a:cubicBezTo>
                  <a:pt x="20" y="131"/>
                  <a:pt x="21" y="135"/>
                  <a:pt x="22" y="139"/>
                </a:cubicBezTo>
                <a:cubicBezTo>
                  <a:pt x="7" y="152"/>
                  <a:pt x="7" y="152"/>
                  <a:pt x="7" y="152"/>
                </a:cubicBezTo>
                <a:cubicBezTo>
                  <a:pt x="13" y="165"/>
                  <a:pt x="13" y="165"/>
                  <a:pt x="13" y="165"/>
                </a:cubicBezTo>
                <a:cubicBezTo>
                  <a:pt x="32" y="162"/>
                  <a:pt x="32" y="162"/>
                  <a:pt x="32" y="162"/>
                </a:cubicBezTo>
                <a:cubicBezTo>
                  <a:pt x="34" y="165"/>
                  <a:pt x="37" y="169"/>
                  <a:pt x="40" y="172"/>
                </a:cubicBezTo>
                <a:cubicBezTo>
                  <a:pt x="30" y="190"/>
                  <a:pt x="30" y="190"/>
                  <a:pt x="30" y="190"/>
                </a:cubicBezTo>
                <a:cubicBezTo>
                  <a:pt x="41" y="200"/>
                  <a:pt x="41" y="200"/>
                  <a:pt x="41" y="200"/>
                </a:cubicBezTo>
                <a:cubicBezTo>
                  <a:pt x="58" y="189"/>
                  <a:pt x="58" y="189"/>
                  <a:pt x="58" y="189"/>
                </a:cubicBezTo>
                <a:cubicBezTo>
                  <a:pt x="61" y="192"/>
                  <a:pt x="64" y="194"/>
                  <a:pt x="68" y="196"/>
                </a:cubicBezTo>
                <a:cubicBezTo>
                  <a:pt x="66" y="215"/>
                  <a:pt x="66" y="215"/>
                  <a:pt x="66" y="215"/>
                </a:cubicBezTo>
                <a:cubicBezTo>
                  <a:pt x="79" y="220"/>
                  <a:pt x="79" y="220"/>
                  <a:pt x="79" y="220"/>
                </a:cubicBezTo>
                <a:cubicBezTo>
                  <a:pt x="91" y="204"/>
                  <a:pt x="91" y="204"/>
                  <a:pt x="91" y="204"/>
                </a:cubicBezTo>
                <a:moveTo>
                  <a:pt x="197" y="139"/>
                </a:moveTo>
                <a:cubicBezTo>
                  <a:pt x="183" y="185"/>
                  <a:pt x="134" y="211"/>
                  <a:pt x="87" y="196"/>
                </a:cubicBezTo>
                <a:cubicBezTo>
                  <a:pt x="41" y="182"/>
                  <a:pt x="15" y="133"/>
                  <a:pt x="29" y="87"/>
                </a:cubicBezTo>
                <a:cubicBezTo>
                  <a:pt x="44" y="41"/>
                  <a:pt x="93" y="15"/>
                  <a:pt x="139" y="29"/>
                </a:cubicBezTo>
                <a:cubicBezTo>
                  <a:pt x="185" y="44"/>
                  <a:pt x="211" y="93"/>
                  <a:pt x="197" y="139"/>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1" name="Freeform 692">
            <a:extLst>
              <a:ext uri="{FF2B5EF4-FFF2-40B4-BE49-F238E27FC236}">
                <a16:creationId xmlns:a16="http://schemas.microsoft.com/office/drawing/2014/main" id="{6E0192ED-EA10-480E-B85F-6369D7E0F674}"/>
              </a:ext>
            </a:extLst>
          </p:cNvPr>
          <p:cNvSpPr>
            <a:spLocks noEditPoints="1"/>
          </p:cNvSpPr>
          <p:nvPr/>
        </p:nvSpPr>
        <p:spPr bwMode="auto">
          <a:xfrm>
            <a:off x="8170863" y="3600450"/>
            <a:ext cx="404813" cy="401638"/>
          </a:xfrm>
          <a:custGeom>
            <a:avLst/>
            <a:gdLst>
              <a:gd name="T0" fmla="*/ 70 w 188"/>
              <a:gd name="T1" fmla="*/ 173 h 187"/>
              <a:gd name="T2" fmla="*/ 14 w 188"/>
              <a:gd name="T3" fmla="*/ 69 h 187"/>
              <a:gd name="T4" fmla="*/ 119 w 188"/>
              <a:gd name="T5" fmla="*/ 14 h 187"/>
              <a:gd name="T6" fmla="*/ 174 w 188"/>
              <a:gd name="T7" fmla="*/ 119 h 187"/>
              <a:gd name="T8" fmla="*/ 70 w 188"/>
              <a:gd name="T9" fmla="*/ 173 h 187"/>
              <a:gd name="T10" fmla="*/ 72 w 188"/>
              <a:gd name="T11" fmla="*/ 164 h 187"/>
              <a:gd name="T12" fmla="*/ 165 w 188"/>
              <a:gd name="T13" fmla="*/ 116 h 187"/>
              <a:gd name="T14" fmla="*/ 116 w 188"/>
              <a:gd name="T15" fmla="*/ 23 h 187"/>
              <a:gd name="T16" fmla="*/ 23 w 188"/>
              <a:gd name="T17" fmla="*/ 72 h 187"/>
              <a:gd name="T18" fmla="*/ 72 w 188"/>
              <a:gd name="T19" fmla="*/ 16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7">
                <a:moveTo>
                  <a:pt x="70" y="173"/>
                </a:moveTo>
                <a:cubicBezTo>
                  <a:pt x="25" y="160"/>
                  <a:pt x="0" y="113"/>
                  <a:pt x="14" y="69"/>
                </a:cubicBezTo>
                <a:cubicBezTo>
                  <a:pt x="28" y="25"/>
                  <a:pt x="75" y="0"/>
                  <a:pt x="119" y="14"/>
                </a:cubicBezTo>
                <a:cubicBezTo>
                  <a:pt x="163" y="28"/>
                  <a:pt x="188" y="75"/>
                  <a:pt x="174" y="119"/>
                </a:cubicBezTo>
                <a:cubicBezTo>
                  <a:pt x="161" y="162"/>
                  <a:pt x="114" y="187"/>
                  <a:pt x="70" y="173"/>
                </a:cubicBezTo>
                <a:close/>
                <a:moveTo>
                  <a:pt x="72" y="164"/>
                </a:moveTo>
                <a:cubicBezTo>
                  <a:pt x="111" y="176"/>
                  <a:pt x="153" y="155"/>
                  <a:pt x="165" y="116"/>
                </a:cubicBezTo>
                <a:cubicBezTo>
                  <a:pt x="177" y="77"/>
                  <a:pt x="155" y="35"/>
                  <a:pt x="116" y="23"/>
                </a:cubicBezTo>
                <a:cubicBezTo>
                  <a:pt x="77" y="11"/>
                  <a:pt x="35" y="33"/>
                  <a:pt x="23" y="72"/>
                </a:cubicBezTo>
                <a:cubicBezTo>
                  <a:pt x="11" y="111"/>
                  <a:pt x="33" y="152"/>
                  <a:pt x="72" y="16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2" name="Freeform 693">
            <a:extLst>
              <a:ext uri="{FF2B5EF4-FFF2-40B4-BE49-F238E27FC236}">
                <a16:creationId xmlns:a16="http://schemas.microsoft.com/office/drawing/2014/main" id="{FAC6929B-8F19-4A3A-82C5-609DE9C81CD0}"/>
              </a:ext>
            </a:extLst>
          </p:cNvPr>
          <p:cNvSpPr>
            <a:spLocks noEditPoints="1"/>
          </p:cNvSpPr>
          <p:nvPr/>
        </p:nvSpPr>
        <p:spPr bwMode="auto">
          <a:xfrm>
            <a:off x="8601075" y="3576638"/>
            <a:ext cx="373063" cy="373063"/>
          </a:xfrm>
          <a:custGeom>
            <a:avLst/>
            <a:gdLst>
              <a:gd name="T0" fmla="*/ 66 w 173"/>
              <a:gd name="T1" fmla="*/ 165 h 174"/>
              <a:gd name="T2" fmla="*/ 82 w 173"/>
              <a:gd name="T3" fmla="*/ 174 h 174"/>
              <a:gd name="T4" fmla="*/ 94 w 173"/>
              <a:gd name="T5" fmla="*/ 161 h 174"/>
              <a:gd name="T6" fmla="*/ 110 w 173"/>
              <a:gd name="T7" fmla="*/ 171 h 174"/>
              <a:gd name="T8" fmla="*/ 123 w 173"/>
              <a:gd name="T9" fmla="*/ 159 h 174"/>
              <a:gd name="T10" fmla="*/ 133 w 173"/>
              <a:gd name="T11" fmla="*/ 155 h 174"/>
              <a:gd name="T12" fmla="*/ 143 w 173"/>
              <a:gd name="T13" fmla="*/ 147 h 174"/>
              <a:gd name="T14" fmla="*/ 149 w 173"/>
              <a:gd name="T15" fmla="*/ 138 h 174"/>
              <a:gd name="T16" fmla="*/ 163 w 173"/>
              <a:gd name="T17" fmla="*/ 127 h 174"/>
              <a:gd name="T18" fmla="*/ 157 w 173"/>
              <a:gd name="T19" fmla="*/ 111 h 174"/>
              <a:gd name="T20" fmla="*/ 172 w 173"/>
              <a:gd name="T21" fmla="*/ 101 h 174"/>
              <a:gd name="T22" fmla="*/ 167 w 173"/>
              <a:gd name="T23" fmla="*/ 84 h 174"/>
              <a:gd name="T24" fmla="*/ 168 w 173"/>
              <a:gd name="T25" fmla="*/ 73 h 174"/>
              <a:gd name="T26" fmla="*/ 165 w 173"/>
              <a:gd name="T27" fmla="*/ 61 h 174"/>
              <a:gd name="T28" fmla="*/ 156 w 173"/>
              <a:gd name="T29" fmla="*/ 53 h 174"/>
              <a:gd name="T30" fmla="*/ 155 w 173"/>
              <a:gd name="T31" fmla="*/ 34 h 174"/>
              <a:gd name="T32" fmla="*/ 137 w 173"/>
              <a:gd name="T33" fmla="*/ 33 h 174"/>
              <a:gd name="T34" fmla="*/ 135 w 173"/>
              <a:gd name="T35" fmla="*/ 15 h 174"/>
              <a:gd name="T36" fmla="*/ 117 w 173"/>
              <a:gd name="T37" fmla="*/ 13 h 174"/>
              <a:gd name="T38" fmla="*/ 112 w 173"/>
              <a:gd name="T39" fmla="*/ 4 h 174"/>
              <a:gd name="T40" fmla="*/ 95 w 173"/>
              <a:gd name="T41" fmla="*/ 7 h 174"/>
              <a:gd name="T42" fmla="*/ 84 w 173"/>
              <a:gd name="T43" fmla="*/ 5 h 174"/>
              <a:gd name="T44" fmla="*/ 72 w 173"/>
              <a:gd name="T45" fmla="*/ 6 h 174"/>
              <a:gd name="T46" fmla="*/ 62 w 173"/>
              <a:gd name="T47" fmla="*/ 10 h 174"/>
              <a:gd name="T48" fmla="*/ 44 w 173"/>
              <a:gd name="T49" fmla="*/ 12 h 174"/>
              <a:gd name="T50" fmla="*/ 40 w 173"/>
              <a:gd name="T51" fmla="*/ 29 h 174"/>
              <a:gd name="T52" fmla="*/ 22 w 173"/>
              <a:gd name="T53" fmla="*/ 29 h 174"/>
              <a:gd name="T54" fmla="*/ 17 w 173"/>
              <a:gd name="T55" fmla="*/ 46 h 174"/>
              <a:gd name="T56" fmla="*/ 11 w 173"/>
              <a:gd name="T57" fmla="*/ 55 h 174"/>
              <a:gd name="T58" fmla="*/ 7 w 173"/>
              <a:gd name="T59" fmla="*/ 67 h 174"/>
              <a:gd name="T60" fmla="*/ 7 w 173"/>
              <a:gd name="T61" fmla="*/ 78 h 174"/>
              <a:gd name="T62" fmla="*/ 0 w 173"/>
              <a:gd name="T63" fmla="*/ 95 h 174"/>
              <a:gd name="T64" fmla="*/ 15 w 173"/>
              <a:gd name="T65" fmla="*/ 105 h 174"/>
              <a:gd name="T66" fmla="*/ 7 w 173"/>
              <a:gd name="T67" fmla="*/ 122 h 174"/>
              <a:gd name="T68" fmla="*/ 21 w 173"/>
              <a:gd name="T69" fmla="*/ 134 h 174"/>
              <a:gd name="T70" fmla="*/ 26 w 173"/>
              <a:gd name="T71" fmla="*/ 143 h 174"/>
              <a:gd name="T72" fmla="*/ 35 w 173"/>
              <a:gd name="T73" fmla="*/ 152 h 174"/>
              <a:gd name="T74" fmla="*/ 45 w 173"/>
              <a:gd name="T75" fmla="*/ 156 h 174"/>
              <a:gd name="T76" fmla="*/ 58 w 173"/>
              <a:gd name="T77" fmla="*/ 169 h 174"/>
              <a:gd name="T78" fmla="*/ 111 w 173"/>
              <a:gd name="T79" fmla="*/ 112 h 174"/>
              <a:gd name="T80" fmla="*/ 61 w 173"/>
              <a:gd name="T81" fmla="*/ 112 h 174"/>
              <a:gd name="T82" fmla="*/ 65 w 173"/>
              <a:gd name="T83" fmla="*/ 115 h 174"/>
              <a:gd name="T84" fmla="*/ 74 w 173"/>
              <a:gd name="T85" fmla="*/ 128 h 174"/>
              <a:gd name="T86" fmla="*/ 49 w 173"/>
              <a:gd name="T87" fmla="*/ 107 h 174"/>
              <a:gd name="T88" fmla="*/ 49 w 173"/>
              <a:gd name="T89" fmla="*/ 107 h 174"/>
              <a:gd name="T90" fmla="*/ 36 w 173"/>
              <a:gd name="T91" fmla="*/ 71 h 174"/>
              <a:gd name="T92" fmla="*/ 51 w 173"/>
              <a:gd name="T93" fmla="*/ 87 h 174"/>
              <a:gd name="T94" fmla="*/ 92 w 173"/>
              <a:gd name="T95" fmla="*/ 84 h 174"/>
              <a:gd name="T96" fmla="*/ 106 w 173"/>
              <a:gd name="T97" fmla="*/ 44 h 174"/>
              <a:gd name="T98" fmla="*/ 106 w 173"/>
              <a:gd name="T99" fmla="*/ 59 h 174"/>
              <a:gd name="T100" fmla="*/ 106 w 173"/>
              <a:gd name="T101" fmla="*/ 59 h 174"/>
              <a:gd name="T102" fmla="*/ 80 w 173"/>
              <a:gd name="T103" fmla="*/ 53 h 174"/>
              <a:gd name="T104" fmla="*/ 62 w 173"/>
              <a:gd name="T105" fmla="*/ 41 h 174"/>
              <a:gd name="T106" fmla="*/ 134 w 173"/>
              <a:gd name="T107" fmla="*/ 63 h 174"/>
              <a:gd name="T108" fmla="*/ 127 w 173"/>
              <a:gd name="T109" fmla="*/ 101 h 174"/>
              <a:gd name="T110" fmla="*/ 114 w 173"/>
              <a:gd name="T111" fmla="*/ 108 h 174"/>
              <a:gd name="T112" fmla="*/ 114 w 173"/>
              <a:gd name="T113" fmla="*/ 108 h 174"/>
              <a:gd name="T114" fmla="*/ 111 w 173"/>
              <a:gd name="T115" fmla="*/ 13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 h="174">
                <a:moveTo>
                  <a:pt x="61" y="170"/>
                </a:moveTo>
                <a:cubicBezTo>
                  <a:pt x="61" y="170"/>
                  <a:pt x="61" y="170"/>
                  <a:pt x="61" y="170"/>
                </a:cubicBezTo>
                <a:cubicBezTo>
                  <a:pt x="63" y="171"/>
                  <a:pt x="66" y="169"/>
                  <a:pt x="66" y="167"/>
                </a:cubicBezTo>
                <a:cubicBezTo>
                  <a:pt x="66" y="165"/>
                  <a:pt x="66" y="165"/>
                  <a:pt x="66" y="165"/>
                </a:cubicBezTo>
                <a:cubicBezTo>
                  <a:pt x="67" y="162"/>
                  <a:pt x="69" y="160"/>
                  <a:pt x="72" y="160"/>
                </a:cubicBezTo>
                <a:cubicBezTo>
                  <a:pt x="76" y="160"/>
                  <a:pt x="79" y="164"/>
                  <a:pt x="79" y="167"/>
                </a:cubicBezTo>
                <a:cubicBezTo>
                  <a:pt x="78" y="169"/>
                  <a:pt x="78" y="169"/>
                  <a:pt x="78" y="169"/>
                </a:cubicBezTo>
                <a:cubicBezTo>
                  <a:pt x="78" y="172"/>
                  <a:pt x="80" y="174"/>
                  <a:pt x="82" y="174"/>
                </a:cubicBezTo>
                <a:cubicBezTo>
                  <a:pt x="83" y="174"/>
                  <a:pt x="84" y="174"/>
                  <a:pt x="85" y="174"/>
                </a:cubicBezTo>
                <a:cubicBezTo>
                  <a:pt x="88" y="174"/>
                  <a:pt x="90" y="172"/>
                  <a:pt x="89" y="170"/>
                </a:cubicBezTo>
                <a:cubicBezTo>
                  <a:pt x="89" y="166"/>
                  <a:pt x="89" y="166"/>
                  <a:pt x="89" y="166"/>
                </a:cubicBezTo>
                <a:cubicBezTo>
                  <a:pt x="88" y="162"/>
                  <a:pt x="91" y="160"/>
                  <a:pt x="94" y="161"/>
                </a:cubicBezTo>
                <a:cubicBezTo>
                  <a:pt x="98" y="160"/>
                  <a:pt x="101" y="163"/>
                  <a:pt x="101" y="166"/>
                </a:cubicBezTo>
                <a:cubicBezTo>
                  <a:pt x="102" y="168"/>
                  <a:pt x="102" y="168"/>
                  <a:pt x="102" y="168"/>
                </a:cubicBezTo>
                <a:cubicBezTo>
                  <a:pt x="102" y="171"/>
                  <a:pt x="104" y="172"/>
                  <a:pt x="107" y="172"/>
                </a:cubicBezTo>
                <a:cubicBezTo>
                  <a:pt x="108" y="171"/>
                  <a:pt x="109" y="171"/>
                  <a:pt x="110" y="171"/>
                </a:cubicBezTo>
                <a:cubicBezTo>
                  <a:pt x="112" y="170"/>
                  <a:pt x="113" y="168"/>
                  <a:pt x="112" y="165"/>
                </a:cubicBezTo>
                <a:cubicBezTo>
                  <a:pt x="112" y="164"/>
                  <a:pt x="112" y="164"/>
                  <a:pt x="112" y="164"/>
                </a:cubicBezTo>
                <a:cubicBezTo>
                  <a:pt x="110" y="160"/>
                  <a:pt x="112" y="156"/>
                  <a:pt x="116" y="155"/>
                </a:cubicBezTo>
                <a:cubicBezTo>
                  <a:pt x="119" y="155"/>
                  <a:pt x="122" y="156"/>
                  <a:pt x="123" y="159"/>
                </a:cubicBezTo>
                <a:cubicBezTo>
                  <a:pt x="124" y="161"/>
                  <a:pt x="124" y="161"/>
                  <a:pt x="124" y="161"/>
                </a:cubicBezTo>
                <a:cubicBezTo>
                  <a:pt x="125" y="163"/>
                  <a:pt x="127" y="164"/>
                  <a:pt x="129" y="163"/>
                </a:cubicBezTo>
                <a:cubicBezTo>
                  <a:pt x="131" y="162"/>
                  <a:pt x="132" y="161"/>
                  <a:pt x="132" y="161"/>
                </a:cubicBezTo>
                <a:cubicBezTo>
                  <a:pt x="135" y="160"/>
                  <a:pt x="135" y="157"/>
                  <a:pt x="133" y="155"/>
                </a:cubicBezTo>
                <a:cubicBezTo>
                  <a:pt x="132" y="154"/>
                  <a:pt x="132" y="154"/>
                  <a:pt x="132" y="154"/>
                </a:cubicBezTo>
                <a:cubicBezTo>
                  <a:pt x="130" y="151"/>
                  <a:pt x="131" y="146"/>
                  <a:pt x="134" y="144"/>
                </a:cubicBezTo>
                <a:cubicBezTo>
                  <a:pt x="137" y="143"/>
                  <a:pt x="140" y="143"/>
                  <a:pt x="142" y="146"/>
                </a:cubicBezTo>
                <a:cubicBezTo>
                  <a:pt x="143" y="147"/>
                  <a:pt x="143" y="147"/>
                  <a:pt x="143" y="147"/>
                </a:cubicBezTo>
                <a:cubicBezTo>
                  <a:pt x="145" y="149"/>
                  <a:pt x="147" y="149"/>
                  <a:pt x="149" y="148"/>
                </a:cubicBezTo>
                <a:cubicBezTo>
                  <a:pt x="150" y="147"/>
                  <a:pt x="151" y="146"/>
                  <a:pt x="151" y="145"/>
                </a:cubicBezTo>
                <a:cubicBezTo>
                  <a:pt x="153" y="143"/>
                  <a:pt x="153" y="140"/>
                  <a:pt x="151" y="139"/>
                </a:cubicBezTo>
                <a:cubicBezTo>
                  <a:pt x="149" y="138"/>
                  <a:pt x="149" y="138"/>
                  <a:pt x="149" y="138"/>
                </a:cubicBezTo>
                <a:cubicBezTo>
                  <a:pt x="146" y="136"/>
                  <a:pt x="145" y="132"/>
                  <a:pt x="148" y="129"/>
                </a:cubicBezTo>
                <a:cubicBezTo>
                  <a:pt x="150" y="126"/>
                  <a:pt x="154" y="126"/>
                  <a:pt x="156" y="128"/>
                </a:cubicBezTo>
                <a:cubicBezTo>
                  <a:pt x="158" y="129"/>
                  <a:pt x="158" y="129"/>
                  <a:pt x="158" y="129"/>
                </a:cubicBezTo>
                <a:cubicBezTo>
                  <a:pt x="160" y="130"/>
                  <a:pt x="162" y="130"/>
                  <a:pt x="163" y="127"/>
                </a:cubicBezTo>
                <a:cubicBezTo>
                  <a:pt x="164" y="126"/>
                  <a:pt x="165" y="125"/>
                  <a:pt x="165" y="124"/>
                </a:cubicBezTo>
                <a:cubicBezTo>
                  <a:pt x="166" y="122"/>
                  <a:pt x="165" y="120"/>
                  <a:pt x="163" y="119"/>
                </a:cubicBezTo>
                <a:cubicBezTo>
                  <a:pt x="161" y="118"/>
                  <a:pt x="161" y="118"/>
                  <a:pt x="161" y="118"/>
                </a:cubicBezTo>
                <a:cubicBezTo>
                  <a:pt x="158" y="117"/>
                  <a:pt x="156" y="114"/>
                  <a:pt x="157" y="111"/>
                </a:cubicBezTo>
                <a:cubicBezTo>
                  <a:pt x="158" y="107"/>
                  <a:pt x="161" y="105"/>
                  <a:pt x="165" y="106"/>
                </a:cubicBezTo>
                <a:cubicBezTo>
                  <a:pt x="167" y="107"/>
                  <a:pt x="167" y="107"/>
                  <a:pt x="167" y="107"/>
                </a:cubicBezTo>
                <a:cubicBezTo>
                  <a:pt x="169" y="108"/>
                  <a:pt x="171" y="106"/>
                  <a:pt x="172" y="104"/>
                </a:cubicBezTo>
                <a:cubicBezTo>
                  <a:pt x="172" y="103"/>
                  <a:pt x="172" y="102"/>
                  <a:pt x="172" y="101"/>
                </a:cubicBezTo>
                <a:cubicBezTo>
                  <a:pt x="173" y="98"/>
                  <a:pt x="171" y="96"/>
                  <a:pt x="169" y="96"/>
                </a:cubicBezTo>
                <a:cubicBezTo>
                  <a:pt x="167" y="96"/>
                  <a:pt x="167" y="96"/>
                  <a:pt x="167" y="96"/>
                </a:cubicBezTo>
                <a:cubicBezTo>
                  <a:pt x="163" y="96"/>
                  <a:pt x="160" y="93"/>
                  <a:pt x="161" y="89"/>
                </a:cubicBezTo>
                <a:cubicBezTo>
                  <a:pt x="161" y="86"/>
                  <a:pt x="164" y="84"/>
                  <a:pt x="167" y="84"/>
                </a:cubicBezTo>
                <a:cubicBezTo>
                  <a:pt x="169" y="84"/>
                  <a:pt x="169" y="84"/>
                  <a:pt x="169" y="84"/>
                </a:cubicBezTo>
                <a:cubicBezTo>
                  <a:pt x="171" y="84"/>
                  <a:pt x="173" y="82"/>
                  <a:pt x="173" y="79"/>
                </a:cubicBezTo>
                <a:cubicBezTo>
                  <a:pt x="173" y="78"/>
                  <a:pt x="173" y="77"/>
                  <a:pt x="173" y="76"/>
                </a:cubicBezTo>
                <a:cubicBezTo>
                  <a:pt x="172" y="74"/>
                  <a:pt x="170" y="72"/>
                  <a:pt x="168" y="73"/>
                </a:cubicBezTo>
                <a:cubicBezTo>
                  <a:pt x="166" y="73"/>
                  <a:pt x="166" y="73"/>
                  <a:pt x="166" y="73"/>
                </a:cubicBezTo>
                <a:cubicBezTo>
                  <a:pt x="163" y="74"/>
                  <a:pt x="159" y="72"/>
                  <a:pt x="158" y="68"/>
                </a:cubicBezTo>
                <a:cubicBezTo>
                  <a:pt x="158" y="65"/>
                  <a:pt x="160" y="62"/>
                  <a:pt x="163" y="61"/>
                </a:cubicBezTo>
                <a:cubicBezTo>
                  <a:pt x="165" y="61"/>
                  <a:pt x="165" y="61"/>
                  <a:pt x="165" y="61"/>
                </a:cubicBezTo>
                <a:cubicBezTo>
                  <a:pt x="167" y="60"/>
                  <a:pt x="168" y="58"/>
                  <a:pt x="167" y="55"/>
                </a:cubicBezTo>
                <a:cubicBezTo>
                  <a:pt x="167" y="54"/>
                  <a:pt x="167" y="53"/>
                  <a:pt x="166" y="52"/>
                </a:cubicBezTo>
                <a:cubicBezTo>
                  <a:pt x="165" y="50"/>
                  <a:pt x="162" y="49"/>
                  <a:pt x="160" y="50"/>
                </a:cubicBezTo>
                <a:cubicBezTo>
                  <a:pt x="156" y="53"/>
                  <a:pt x="156" y="53"/>
                  <a:pt x="156" y="53"/>
                </a:cubicBezTo>
                <a:cubicBezTo>
                  <a:pt x="153" y="55"/>
                  <a:pt x="149" y="52"/>
                  <a:pt x="150" y="49"/>
                </a:cubicBezTo>
                <a:cubicBezTo>
                  <a:pt x="149" y="46"/>
                  <a:pt x="150" y="43"/>
                  <a:pt x="152" y="41"/>
                </a:cubicBezTo>
                <a:cubicBezTo>
                  <a:pt x="154" y="40"/>
                  <a:pt x="154" y="40"/>
                  <a:pt x="154" y="40"/>
                </a:cubicBezTo>
                <a:cubicBezTo>
                  <a:pt x="156" y="38"/>
                  <a:pt x="157" y="36"/>
                  <a:pt x="155" y="34"/>
                </a:cubicBezTo>
                <a:cubicBezTo>
                  <a:pt x="155" y="33"/>
                  <a:pt x="154" y="32"/>
                  <a:pt x="153" y="31"/>
                </a:cubicBezTo>
                <a:cubicBezTo>
                  <a:pt x="152" y="29"/>
                  <a:pt x="149" y="29"/>
                  <a:pt x="147" y="31"/>
                </a:cubicBezTo>
                <a:cubicBezTo>
                  <a:pt x="146" y="32"/>
                  <a:pt x="146" y="32"/>
                  <a:pt x="146" y="32"/>
                </a:cubicBezTo>
                <a:cubicBezTo>
                  <a:pt x="144" y="35"/>
                  <a:pt x="140" y="35"/>
                  <a:pt x="137" y="33"/>
                </a:cubicBezTo>
                <a:cubicBezTo>
                  <a:pt x="135" y="31"/>
                  <a:pt x="134" y="27"/>
                  <a:pt x="137" y="24"/>
                </a:cubicBezTo>
                <a:cubicBezTo>
                  <a:pt x="138" y="23"/>
                  <a:pt x="138" y="23"/>
                  <a:pt x="138" y="23"/>
                </a:cubicBezTo>
                <a:cubicBezTo>
                  <a:pt x="140" y="21"/>
                  <a:pt x="139" y="18"/>
                  <a:pt x="138" y="17"/>
                </a:cubicBezTo>
                <a:cubicBezTo>
                  <a:pt x="137" y="16"/>
                  <a:pt x="136" y="15"/>
                  <a:pt x="135" y="15"/>
                </a:cubicBezTo>
                <a:cubicBezTo>
                  <a:pt x="133" y="13"/>
                  <a:pt x="130" y="14"/>
                  <a:pt x="129" y="16"/>
                </a:cubicBezTo>
                <a:cubicBezTo>
                  <a:pt x="128" y="18"/>
                  <a:pt x="128" y="18"/>
                  <a:pt x="128" y="18"/>
                </a:cubicBezTo>
                <a:cubicBezTo>
                  <a:pt x="127" y="21"/>
                  <a:pt x="123" y="22"/>
                  <a:pt x="120" y="21"/>
                </a:cubicBezTo>
                <a:cubicBezTo>
                  <a:pt x="117" y="19"/>
                  <a:pt x="116" y="16"/>
                  <a:pt x="117" y="13"/>
                </a:cubicBezTo>
                <a:cubicBezTo>
                  <a:pt x="118" y="11"/>
                  <a:pt x="118" y="11"/>
                  <a:pt x="118" y="11"/>
                </a:cubicBezTo>
                <a:cubicBezTo>
                  <a:pt x="119" y="9"/>
                  <a:pt x="118" y="6"/>
                  <a:pt x="116" y="5"/>
                </a:cubicBezTo>
                <a:cubicBezTo>
                  <a:pt x="115" y="5"/>
                  <a:pt x="113" y="5"/>
                  <a:pt x="112" y="4"/>
                </a:cubicBezTo>
                <a:cubicBezTo>
                  <a:pt x="112" y="4"/>
                  <a:pt x="112" y="4"/>
                  <a:pt x="112" y="4"/>
                </a:cubicBezTo>
                <a:cubicBezTo>
                  <a:pt x="110" y="3"/>
                  <a:pt x="108" y="5"/>
                  <a:pt x="107" y="7"/>
                </a:cubicBezTo>
                <a:cubicBezTo>
                  <a:pt x="107" y="9"/>
                  <a:pt x="107" y="9"/>
                  <a:pt x="107" y="9"/>
                </a:cubicBezTo>
                <a:cubicBezTo>
                  <a:pt x="107" y="12"/>
                  <a:pt x="103" y="15"/>
                  <a:pt x="100" y="14"/>
                </a:cubicBezTo>
                <a:cubicBezTo>
                  <a:pt x="97" y="14"/>
                  <a:pt x="94" y="10"/>
                  <a:pt x="95" y="7"/>
                </a:cubicBezTo>
                <a:cubicBezTo>
                  <a:pt x="95" y="5"/>
                  <a:pt x="95" y="5"/>
                  <a:pt x="95" y="5"/>
                </a:cubicBezTo>
                <a:cubicBezTo>
                  <a:pt x="95" y="3"/>
                  <a:pt x="94" y="1"/>
                  <a:pt x="91" y="0"/>
                </a:cubicBezTo>
                <a:cubicBezTo>
                  <a:pt x="90" y="0"/>
                  <a:pt x="89" y="0"/>
                  <a:pt x="88" y="0"/>
                </a:cubicBezTo>
                <a:cubicBezTo>
                  <a:pt x="86" y="0"/>
                  <a:pt x="84" y="2"/>
                  <a:pt x="84" y="5"/>
                </a:cubicBezTo>
                <a:cubicBezTo>
                  <a:pt x="84" y="6"/>
                  <a:pt x="84" y="6"/>
                  <a:pt x="84" y="6"/>
                </a:cubicBezTo>
                <a:cubicBezTo>
                  <a:pt x="85" y="10"/>
                  <a:pt x="82" y="13"/>
                  <a:pt x="79" y="13"/>
                </a:cubicBezTo>
                <a:cubicBezTo>
                  <a:pt x="75" y="14"/>
                  <a:pt x="72" y="11"/>
                  <a:pt x="72" y="8"/>
                </a:cubicBezTo>
                <a:cubicBezTo>
                  <a:pt x="72" y="6"/>
                  <a:pt x="72" y="6"/>
                  <a:pt x="72" y="6"/>
                </a:cubicBezTo>
                <a:cubicBezTo>
                  <a:pt x="71" y="4"/>
                  <a:pt x="69" y="2"/>
                  <a:pt x="67" y="3"/>
                </a:cubicBezTo>
                <a:cubicBezTo>
                  <a:pt x="66" y="3"/>
                  <a:pt x="65" y="3"/>
                  <a:pt x="63" y="4"/>
                </a:cubicBezTo>
                <a:cubicBezTo>
                  <a:pt x="61" y="4"/>
                  <a:pt x="60" y="7"/>
                  <a:pt x="61" y="9"/>
                </a:cubicBezTo>
                <a:cubicBezTo>
                  <a:pt x="62" y="10"/>
                  <a:pt x="62" y="10"/>
                  <a:pt x="62" y="10"/>
                </a:cubicBezTo>
                <a:cubicBezTo>
                  <a:pt x="63" y="14"/>
                  <a:pt x="62" y="17"/>
                  <a:pt x="58" y="19"/>
                </a:cubicBezTo>
                <a:cubicBezTo>
                  <a:pt x="55" y="20"/>
                  <a:pt x="52" y="19"/>
                  <a:pt x="50" y="15"/>
                </a:cubicBezTo>
                <a:cubicBezTo>
                  <a:pt x="49" y="14"/>
                  <a:pt x="49" y="14"/>
                  <a:pt x="49" y="14"/>
                </a:cubicBezTo>
                <a:cubicBezTo>
                  <a:pt x="48" y="11"/>
                  <a:pt x="46" y="11"/>
                  <a:pt x="44" y="12"/>
                </a:cubicBezTo>
                <a:cubicBezTo>
                  <a:pt x="43" y="12"/>
                  <a:pt x="42" y="13"/>
                  <a:pt x="41" y="13"/>
                </a:cubicBezTo>
                <a:cubicBezTo>
                  <a:pt x="39" y="15"/>
                  <a:pt x="38" y="17"/>
                  <a:pt x="40" y="19"/>
                </a:cubicBezTo>
                <a:cubicBezTo>
                  <a:pt x="41" y="21"/>
                  <a:pt x="41" y="21"/>
                  <a:pt x="41" y="21"/>
                </a:cubicBezTo>
                <a:cubicBezTo>
                  <a:pt x="43" y="23"/>
                  <a:pt x="43" y="27"/>
                  <a:pt x="40" y="29"/>
                </a:cubicBezTo>
                <a:cubicBezTo>
                  <a:pt x="38" y="32"/>
                  <a:pt x="34" y="31"/>
                  <a:pt x="32" y="29"/>
                </a:cubicBezTo>
                <a:cubicBezTo>
                  <a:pt x="30" y="27"/>
                  <a:pt x="30" y="27"/>
                  <a:pt x="30" y="27"/>
                </a:cubicBezTo>
                <a:cubicBezTo>
                  <a:pt x="29" y="25"/>
                  <a:pt x="26" y="25"/>
                  <a:pt x="24" y="27"/>
                </a:cubicBezTo>
                <a:cubicBezTo>
                  <a:pt x="24" y="28"/>
                  <a:pt x="23" y="29"/>
                  <a:pt x="22" y="29"/>
                </a:cubicBezTo>
                <a:cubicBezTo>
                  <a:pt x="20" y="31"/>
                  <a:pt x="21" y="34"/>
                  <a:pt x="23" y="35"/>
                </a:cubicBezTo>
                <a:cubicBezTo>
                  <a:pt x="24" y="36"/>
                  <a:pt x="24" y="36"/>
                  <a:pt x="24" y="36"/>
                </a:cubicBezTo>
                <a:cubicBezTo>
                  <a:pt x="27" y="38"/>
                  <a:pt x="28" y="43"/>
                  <a:pt x="25" y="46"/>
                </a:cubicBezTo>
                <a:cubicBezTo>
                  <a:pt x="23" y="48"/>
                  <a:pt x="20" y="48"/>
                  <a:pt x="17" y="46"/>
                </a:cubicBezTo>
                <a:cubicBezTo>
                  <a:pt x="16" y="45"/>
                  <a:pt x="16" y="45"/>
                  <a:pt x="16" y="45"/>
                </a:cubicBezTo>
                <a:cubicBezTo>
                  <a:pt x="14" y="44"/>
                  <a:pt x="11" y="45"/>
                  <a:pt x="10" y="47"/>
                </a:cubicBezTo>
                <a:cubicBezTo>
                  <a:pt x="9" y="48"/>
                  <a:pt x="9" y="49"/>
                  <a:pt x="8" y="50"/>
                </a:cubicBezTo>
                <a:cubicBezTo>
                  <a:pt x="7" y="52"/>
                  <a:pt x="8" y="55"/>
                  <a:pt x="11" y="55"/>
                </a:cubicBezTo>
                <a:cubicBezTo>
                  <a:pt x="12" y="56"/>
                  <a:pt x="12" y="56"/>
                  <a:pt x="12" y="56"/>
                </a:cubicBezTo>
                <a:cubicBezTo>
                  <a:pt x="16" y="57"/>
                  <a:pt x="17" y="60"/>
                  <a:pt x="16" y="64"/>
                </a:cubicBezTo>
                <a:cubicBezTo>
                  <a:pt x="15" y="67"/>
                  <a:pt x="12" y="69"/>
                  <a:pt x="9" y="68"/>
                </a:cubicBezTo>
                <a:cubicBezTo>
                  <a:pt x="7" y="67"/>
                  <a:pt x="7" y="67"/>
                  <a:pt x="7" y="67"/>
                </a:cubicBezTo>
                <a:cubicBezTo>
                  <a:pt x="4" y="67"/>
                  <a:pt x="2" y="68"/>
                  <a:pt x="2" y="70"/>
                </a:cubicBezTo>
                <a:cubicBezTo>
                  <a:pt x="1" y="71"/>
                  <a:pt x="1" y="72"/>
                  <a:pt x="1" y="74"/>
                </a:cubicBezTo>
                <a:cubicBezTo>
                  <a:pt x="1" y="76"/>
                  <a:pt x="2" y="78"/>
                  <a:pt x="5" y="78"/>
                </a:cubicBezTo>
                <a:cubicBezTo>
                  <a:pt x="7" y="78"/>
                  <a:pt x="7" y="78"/>
                  <a:pt x="7" y="78"/>
                </a:cubicBezTo>
                <a:cubicBezTo>
                  <a:pt x="10" y="78"/>
                  <a:pt x="13" y="81"/>
                  <a:pt x="13" y="84"/>
                </a:cubicBezTo>
                <a:cubicBezTo>
                  <a:pt x="13" y="88"/>
                  <a:pt x="10" y="91"/>
                  <a:pt x="6" y="91"/>
                </a:cubicBezTo>
                <a:cubicBezTo>
                  <a:pt x="4" y="91"/>
                  <a:pt x="4" y="91"/>
                  <a:pt x="4" y="91"/>
                </a:cubicBezTo>
                <a:cubicBezTo>
                  <a:pt x="2" y="91"/>
                  <a:pt x="0" y="93"/>
                  <a:pt x="0" y="95"/>
                </a:cubicBezTo>
                <a:cubicBezTo>
                  <a:pt x="0" y="96"/>
                  <a:pt x="1" y="97"/>
                  <a:pt x="1" y="98"/>
                </a:cubicBezTo>
                <a:cubicBezTo>
                  <a:pt x="1" y="101"/>
                  <a:pt x="3" y="102"/>
                  <a:pt x="6" y="102"/>
                </a:cubicBezTo>
                <a:cubicBezTo>
                  <a:pt x="7" y="101"/>
                  <a:pt x="7" y="101"/>
                  <a:pt x="7" y="101"/>
                </a:cubicBezTo>
                <a:cubicBezTo>
                  <a:pt x="11" y="100"/>
                  <a:pt x="14" y="102"/>
                  <a:pt x="15" y="105"/>
                </a:cubicBezTo>
                <a:cubicBezTo>
                  <a:pt x="16" y="109"/>
                  <a:pt x="14" y="112"/>
                  <a:pt x="11" y="113"/>
                </a:cubicBezTo>
                <a:cubicBezTo>
                  <a:pt x="9" y="114"/>
                  <a:pt x="9" y="114"/>
                  <a:pt x="9" y="114"/>
                </a:cubicBezTo>
                <a:cubicBezTo>
                  <a:pt x="6" y="114"/>
                  <a:pt x="5" y="117"/>
                  <a:pt x="6" y="119"/>
                </a:cubicBezTo>
                <a:cubicBezTo>
                  <a:pt x="6" y="120"/>
                  <a:pt x="7" y="121"/>
                  <a:pt x="7" y="122"/>
                </a:cubicBezTo>
                <a:cubicBezTo>
                  <a:pt x="8" y="124"/>
                  <a:pt x="11" y="125"/>
                  <a:pt x="13" y="124"/>
                </a:cubicBezTo>
                <a:cubicBezTo>
                  <a:pt x="18" y="121"/>
                  <a:pt x="18" y="121"/>
                  <a:pt x="18" y="121"/>
                </a:cubicBezTo>
                <a:cubicBezTo>
                  <a:pt x="20" y="119"/>
                  <a:pt x="24" y="122"/>
                  <a:pt x="23" y="125"/>
                </a:cubicBezTo>
                <a:cubicBezTo>
                  <a:pt x="25" y="128"/>
                  <a:pt x="24" y="132"/>
                  <a:pt x="21" y="134"/>
                </a:cubicBezTo>
                <a:cubicBezTo>
                  <a:pt x="19" y="135"/>
                  <a:pt x="19" y="135"/>
                  <a:pt x="19" y="135"/>
                </a:cubicBezTo>
                <a:cubicBezTo>
                  <a:pt x="17" y="136"/>
                  <a:pt x="17" y="139"/>
                  <a:pt x="18" y="140"/>
                </a:cubicBezTo>
                <a:cubicBezTo>
                  <a:pt x="19" y="141"/>
                  <a:pt x="20" y="142"/>
                  <a:pt x="20" y="143"/>
                </a:cubicBezTo>
                <a:cubicBezTo>
                  <a:pt x="22" y="145"/>
                  <a:pt x="25" y="145"/>
                  <a:pt x="26" y="143"/>
                </a:cubicBezTo>
                <a:cubicBezTo>
                  <a:pt x="27" y="142"/>
                  <a:pt x="27" y="142"/>
                  <a:pt x="27" y="142"/>
                </a:cubicBezTo>
                <a:cubicBezTo>
                  <a:pt x="30" y="139"/>
                  <a:pt x="34" y="139"/>
                  <a:pt x="37" y="142"/>
                </a:cubicBezTo>
                <a:cubicBezTo>
                  <a:pt x="39" y="145"/>
                  <a:pt x="39" y="148"/>
                  <a:pt x="37" y="150"/>
                </a:cubicBezTo>
                <a:cubicBezTo>
                  <a:pt x="35" y="152"/>
                  <a:pt x="35" y="152"/>
                  <a:pt x="35" y="152"/>
                </a:cubicBezTo>
                <a:cubicBezTo>
                  <a:pt x="34" y="154"/>
                  <a:pt x="34" y="156"/>
                  <a:pt x="36" y="158"/>
                </a:cubicBezTo>
                <a:cubicBezTo>
                  <a:pt x="37" y="158"/>
                  <a:pt x="38" y="159"/>
                  <a:pt x="39" y="160"/>
                </a:cubicBezTo>
                <a:cubicBezTo>
                  <a:pt x="41" y="161"/>
                  <a:pt x="43" y="160"/>
                  <a:pt x="44" y="158"/>
                </a:cubicBezTo>
                <a:cubicBezTo>
                  <a:pt x="45" y="156"/>
                  <a:pt x="45" y="156"/>
                  <a:pt x="45" y="156"/>
                </a:cubicBezTo>
                <a:cubicBezTo>
                  <a:pt x="47" y="153"/>
                  <a:pt x="51" y="152"/>
                  <a:pt x="54" y="154"/>
                </a:cubicBezTo>
                <a:cubicBezTo>
                  <a:pt x="57" y="156"/>
                  <a:pt x="58" y="159"/>
                  <a:pt x="56" y="162"/>
                </a:cubicBezTo>
                <a:cubicBezTo>
                  <a:pt x="55" y="164"/>
                  <a:pt x="55" y="164"/>
                  <a:pt x="55" y="164"/>
                </a:cubicBezTo>
                <a:cubicBezTo>
                  <a:pt x="54" y="166"/>
                  <a:pt x="56" y="168"/>
                  <a:pt x="58" y="169"/>
                </a:cubicBezTo>
                <a:cubicBezTo>
                  <a:pt x="59" y="169"/>
                  <a:pt x="60" y="170"/>
                  <a:pt x="61" y="170"/>
                </a:cubicBezTo>
                <a:moveTo>
                  <a:pt x="91" y="122"/>
                </a:moveTo>
                <a:cubicBezTo>
                  <a:pt x="89" y="94"/>
                  <a:pt x="89" y="94"/>
                  <a:pt x="89" y="94"/>
                </a:cubicBezTo>
                <a:cubicBezTo>
                  <a:pt x="111" y="112"/>
                  <a:pt x="111" y="112"/>
                  <a:pt x="111" y="112"/>
                </a:cubicBezTo>
                <a:cubicBezTo>
                  <a:pt x="105" y="117"/>
                  <a:pt x="99" y="120"/>
                  <a:pt x="91" y="122"/>
                </a:cubicBezTo>
                <a:moveTo>
                  <a:pt x="51" y="92"/>
                </a:moveTo>
                <a:cubicBezTo>
                  <a:pt x="79" y="90"/>
                  <a:pt x="79" y="90"/>
                  <a:pt x="79" y="90"/>
                </a:cubicBezTo>
                <a:cubicBezTo>
                  <a:pt x="61" y="112"/>
                  <a:pt x="61" y="112"/>
                  <a:pt x="61" y="112"/>
                </a:cubicBezTo>
                <a:cubicBezTo>
                  <a:pt x="56" y="106"/>
                  <a:pt x="52" y="100"/>
                  <a:pt x="51" y="92"/>
                </a:cubicBezTo>
                <a:moveTo>
                  <a:pt x="86" y="122"/>
                </a:moveTo>
                <a:cubicBezTo>
                  <a:pt x="82" y="122"/>
                  <a:pt x="79" y="121"/>
                  <a:pt x="76" y="120"/>
                </a:cubicBezTo>
                <a:cubicBezTo>
                  <a:pt x="72" y="119"/>
                  <a:pt x="68" y="117"/>
                  <a:pt x="65" y="115"/>
                </a:cubicBezTo>
                <a:cubicBezTo>
                  <a:pt x="84" y="94"/>
                  <a:pt x="84" y="94"/>
                  <a:pt x="84" y="94"/>
                </a:cubicBezTo>
                <a:cubicBezTo>
                  <a:pt x="86" y="122"/>
                  <a:pt x="86" y="122"/>
                  <a:pt x="86" y="122"/>
                </a:cubicBezTo>
                <a:moveTo>
                  <a:pt x="67" y="131"/>
                </a:moveTo>
                <a:cubicBezTo>
                  <a:pt x="68" y="128"/>
                  <a:pt x="71" y="127"/>
                  <a:pt x="74" y="128"/>
                </a:cubicBezTo>
                <a:cubicBezTo>
                  <a:pt x="77" y="129"/>
                  <a:pt x="78" y="132"/>
                  <a:pt x="77" y="135"/>
                </a:cubicBezTo>
                <a:cubicBezTo>
                  <a:pt x="77" y="138"/>
                  <a:pt x="73" y="139"/>
                  <a:pt x="71" y="138"/>
                </a:cubicBezTo>
                <a:cubicBezTo>
                  <a:pt x="68" y="137"/>
                  <a:pt x="66" y="134"/>
                  <a:pt x="67" y="131"/>
                </a:cubicBezTo>
                <a:moveTo>
                  <a:pt x="49" y="107"/>
                </a:moveTo>
                <a:cubicBezTo>
                  <a:pt x="51" y="109"/>
                  <a:pt x="50" y="113"/>
                  <a:pt x="47" y="114"/>
                </a:cubicBezTo>
                <a:cubicBezTo>
                  <a:pt x="44" y="116"/>
                  <a:pt x="41" y="115"/>
                  <a:pt x="39" y="112"/>
                </a:cubicBezTo>
                <a:cubicBezTo>
                  <a:pt x="38" y="109"/>
                  <a:pt x="39" y="106"/>
                  <a:pt x="42" y="104"/>
                </a:cubicBezTo>
                <a:cubicBezTo>
                  <a:pt x="44" y="103"/>
                  <a:pt x="48" y="104"/>
                  <a:pt x="49" y="107"/>
                </a:cubicBezTo>
                <a:moveTo>
                  <a:pt x="43" y="68"/>
                </a:moveTo>
                <a:cubicBezTo>
                  <a:pt x="46" y="69"/>
                  <a:pt x="47" y="72"/>
                  <a:pt x="46" y="75"/>
                </a:cubicBezTo>
                <a:cubicBezTo>
                  <a:pt x="46" y="78"/>
                  <a:pt x="42" y="79"/>
                  <a:pt x="40" y="78"/>
                </a:cubicBezTo>
                <a:cubicBezTo>
                  <a:pt x="37" y="78"/>
                  <a:pt x="35" y="74"/>
                  <a:pt x="36" y="71"/>
                </a:cubicBezTo>
                <a:cubicBezTo>
                  <a:pt x="37" y="69"/>
                  <a:pt x="40" y="67"/>
                  <a:pt x="43" y="68"/>
                </a:cubicBezTo>
                <a:moveTo>
                  <a:pt x="58" y="67"/>
                </a:moveTo>
                <a:cubicBezTo>
                  <a:pt x="79" y="85"/>
                  <a:pt x="79" y="85"/>
                  <a:pt x="79" y="85"/>
                </a:cubicBezTo>
                <a:cubicBezTo>
                  <a:pt x="51" y="87"/>
                  <a:pt x="51" y="87"/>
                  <a:pt x="51" y="87"/>
                </a:cubicBezTo>
                <a:cubicBezTo>
                  <a:pt x="51" y="84"/>
                  <a:pt x="51" y="80"/>
                  <a:pt x="52" y="77"/>
                </a:cubicBezTo>
                <a:cubicBezTo>
                  <a:pt x="54" y="73"/>
                  <a:pt x="55" y="70"/>
                  <a:pt x="58" y="67"/>
                </a:cubicBezTo>
                <a:moveTo>
                  <a:pt x="120" y="82"/>
                </a:moveTo>
                <a:cubicBezTo>
                  <a:pt x="92" y="84"/>
                  <a:pt x="92" y="84"/>
                  <a:pt x="92" y="84"/>
                </a:cubicBezTo>
                <a:cubicBezTo>
                  <a:pt x="111" y="63"/>
                  <a:pt x="111" y="63"/>
                  <a:pt x="111" y="63"/>
                </a:cubicBezTo>
                <a:cubicBezTo>
                  <a:pt x="116" y="68"/>
                  <a:pt x="119" y="75"/>
                  <a:pt x="120" y="82"/>
                </a:cubicBezTo>
                <a:moveTo>
                  <a:pt x="103" y="37"/>
                </a:moveTo>
                <a:cubicBezTo>
                  <a:pt x="106" y="38"/>
                  <a:pt x="107" y="41"/>
                  <a:pt x="106" y="44"/>
                </a:cubicBezTo>
                <a:cubicBezTo>
                  <a:pt x="106" y="47"/>
                  <a:pt x="102" y="49"/>
                  <a:pt x="99" y="48"/>
                </a:cubicBezTo>
                <a:cubicBezTo>
                  <a:pt x="97" y="47"/>
                  <a:pt x="95" y="44"/>
                  <a:pt x="96" y="41"/>
                </a:cubicBezTo>
                <a:cubicBezTo>
                  <a:pt x="97" y="38"/>
                  <a:pt x="100" y="36"/>
                  <a:pt x="103" y="37"/>
                </a:cubicBezTo>
                <a:moveTo>
                  <a:pt x="106" y="59"/>
                </a:moveTo>
                <a:cubicBezTo>
                  <a:pt x="88" y="80"/>
                  <a:pt x="88" y="80"/>
                  <a:pt x="88" y="80"/>
                </a:cubicBezTo>
                <a:cubicBezTo>
                  <a:pt x="86" y="52"/>
                  <a:pt x="86" y="52"/>
                  <a:pt x="86" y="52"/>
                </a:cubicBezTo>
                <a:cubicBezTo>
                  <a:pt x="89" y="52"/>
                  <a:pt x="93" y="53"/>
                  <a:pt x="96" y="54"/>
                </a:cubicBezTo>
                <a:cubicBezTo>
                  <a:pt x="100" y="55"/>
                  <a:pt x="103" y="57"/>
                  <a:pt x="106" y="59"/>
                </a:cubicBezTo>
                <a:moveTo>
                  <a:pt x="80" y="53"/>
                </a:moveTo>
                <a:cubicBezTo>
                  <a:pt x="83" y="81"/>
                  <a:pt x="83" y="81"/>
                  <a:pt x="83" y="81"/>
                </a:cubicBezTo>
                <a:cubicBezTo>
                  <a:pt x="61" y="62"/>
                  <a:pt x="61" y="62"/>
                  <a:pt x="61" y="62"/>
                </a:cubicBezTo>
                <a:cubicBezTo>
                  <a:pt x="66" y="57"/>
                  <a:pt x="73" y="54"/>
                  <a:pt x="80" y="53"/>
                </a:cubicBezTo>
                <a:moveTo>
                  <a:pt x="70" y="43"/>
                </a:moveTo>
                <a:cubicBezTo>
                  <a:pt x="71" y="46"/>
                  <a:pt x="70" y="49"/>
                  <a:pt x="67" y="50"/>
                </a:cubicBezTo>
                <a:cubicBezTo>
                  <a:pt x="65" y="52"/>
                  <a:pt x="61" y="51"/>
                  <a:pt x="60" y="48"/>
                </a:cubicBezTo>
                <a:cubicBezTo>
                  <a:pt x="58" y="45"/>
                  <a:pt x="59" y="42"/>
                  <a:pt x="62" y="41"/>
                </a:cubicBezTo>
                <a:cubicBezTo>
                  <a:pt x="65" y="39"/>
                  <a:pt x="68" y="40"/>
                  <a:pt x="70" y="43"/>
                </a:cubicBezTo>
                <a:moveTo>
                  <a:pt x="124" y="69"/>
                </a:moveTo>
                <a:cubicBezTo>
                  <a:pt x="123" y="66"/>
                  <a:pt x="124" y="63"/>
                  <a:pt x="126" y="61"/>
                </a:cubicBezTo>
                <a:cubicBezTo>
                  <a:pt x="129" y="60"/>
                  <a:pt x="133" y="61"/>
                  <a:pt x="134" y="63"/>
                </a:cubicBezTo>
                <a:cubicBezTo>
                  <a:pt x="135" y="66"/>
                  <a:pt x="134" y="70"/>
                  <a:pt x="132" y="71"/>
                </a:cubicBezTo>
                <a:cubicBezTo>
                  <a:pt x="129" y="72"/>
                  <a:pt x="126" y="71"/>
                  <a:pt x="124" y="69"/>
                </a:cubicBezTo>
                <a:moveTo>
                  <a:pt x="130" y="108"/>
                </a:moveTo>
                <a:cubicBezTo>
                  <a:pt x="128" y="107"/>
                  <a:pt x="126" y="104"/>
                  <a:pt x="127" y="101"/>
                </a:cubicBezTo>
                <a:cubicBezTo>
                  <a:pt x="128" y="98"/>
                  <a:pt x="131" y="96"/>
                  <a:pt x="134" y="97"/>
                </a:cubicBezTo>
                <a:cubicBezTo>
                  <a:pt x="137" y="98"/>
                  <a:pt x="138" y="101"/>
                  <a:pt x="137" y="104"/>
                </a:cubicBezTo>
                <a:cubicBezTo>
                  <a:pt x="137" y="107"/>
                  <a:pt x="133" y="108"/>
                  <a:pt x="130" y="108"/>
                </a:cubicBezTo>
                <a:moveTo>
                  <a:pt x="114" y="108"/>
                </a:moveTo>
                <a:cubicBezTo>
                  <a:pt x="93" y="89"/>
                  <a:pt x="93" y="89"/>
                  <a:pt x="93" y="89"/>
                </a:cubicBezTo>
                <a:cubicBezTo>
                  <a:pt x="121" y="87"/>
                  <a:pt x="121" y="87"/>
                  <a:pt x="121" y="87"/>
                </a:cubicBezTo>
                <a:cubicBezTo>
                  <a:pt x="121" y="91"/>
                  <a:pt x="120" y="94"/>
                  <a:pt x="119" y="97"/>
                </a:cubicBezTo>
                <a:cubicBezTo>
                  <a:pt x="118" y="101"/>
                  <a:pt x="116" y="105"/>
                  <a:pt x="114" y="108"/>
                </a:cubicBezTo>
                <a:moveTo>
                  <a:pt x="104" y="133"/>
                </a:moveTo>
                <a:cubicBezTo>
                  <a:pt x="102" y="130"/>
                  <a:pt x="103" y="126"/>
                  <a:pt x="106" y="125"/>
                </a:cubicBezTo>
                <a:cubicBezTo>
                  <a:pt x="109" y="124"/>
                  <a:pt x="112" y="125"/>
                  <a:pt x="113" y="127"/>
                </a:cubicBezTo>
                <a:cubicBezTo>
                  <a:pt x="115" y="130"/>
                  <a:pt x="114" y="133"/>
                  <a:pt x="111" y="135"/>
                </a:cubicBezTo>
                <a:cubicBezTo>
                  <a:pt x="108" y="136"/>
                  <a:pt x="105" y="135"/>
                  <a:pt x="104" y="13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3" name="Freeform 694">
            <a:extLst>
              <a:ext uri="{FF2B5EF4-FFF2-40B4-BE49-F238E27FC236}">
                <a16:creationId xmlns:a16="http://schemas.microsoft.com/office/drawing/2014/main" id="{77D3EEF2-E699-4AE5-8304-EF9336F54BB5}"/>
              </a:ext>
            </a:extLst>
          </p:cNvPr>
          <p:cNvSpPr>
            <a:spLocks/>
          </p:cNvSpPr>
          <p:nvPr/>
        </p:nvSpPr>
        <p:spPr bwMode="auto">
          <a:xfrm>
            <a:off x="965200" y="4135438"/>
            <a:ext cx="10815638" cy="1643063"/>
          </a:xfrm>
          <a:custGeom>
            <a:avLst/>
            <a:gdLst>
              <a:gd name="T0" fmla="*/ 3883 w 5028"/>
              <a:gd name="T1" fmla="*/ 323 h 765"/>
              <a:gd name="T2" fmla="*/ 3855 w 5028"/>
              <a:gd name="T3" fmla="*/ 238 h 765"/>
              <a:gd name="T4" fmla="*/ 3839 w 5028"/>
              <a:gd name="T5" fmla="*/ 111 h 765"/>
              <a:gd name="T6" fmla="*/ 3762 w 5028"/>
              <a:gd name="T7" fmla="*/ 51 h 765"/>
              <a:gd name="T8" fmla="*/ 3636 w 5028"/>
              <a:gd name="T9" fmla="*/ 69 h 765"/>
              <a:gd name="T10" fmla="*/ 3547 w 5028"/>
              <a:gd name="T11" fmla="*/ 63 h 765"/>
              <a:gd name="T12" fmla="*/ 3420 w 5028"/>
              <a:gd name="T13" fmla="*/ 30 h 765"/>
              <a:gd name="T14" fmla="*/ 3340 w 5028"/>
              <a:gd name="T15" fmla="*/ 76 h 765"/>
              <a:gd name="T16" fmla="*/ 3305 w 5028"/>
              <a:gd name="T17" fmla="*/ 203 h 765"/>
              <a:gd name="T18" fmla="*/ 3266 w 5028"/>
              <a:gd name="T19" fmla="*/ 284 h 765"/>
              <a:gd name="T20" fmla="*/ 3188 w 5028"/>
              <a:gd name="T21" fmla="*/ 385 h 765"/>
              <a:gd name="T22" fmla="*/ 3200 w 5028"/>
              <a:gd name="T23" fmla="*/ 481 h 765"/>
              <a:gd name="T24" fmla="*/ 3302 w 5028"/>
              <a:gd name="T25" fmla="*/ 559 h 765"/>
              <a:gd name="T26" fmla="*/ 3360 w 5028"/>
              <a:gd name="T27" fmla="*/ 626 h 765"/>
              <a:gd name="T28" fmla="*/ 3426 w 5028"/>
              <a:gd name="T29" fmla="*/ 740 h 765"/>
              <a:gd name="T30" fmla="*/ 3514 w 5028"/>
              <a:gd name="T31" fmla="*/ 758 h 765"/>
              <a:gd name="T32" fmla="*/ 3520 w 5028"/>
              <a:gd name="T33" fmla="*/ 765 h 765"/>
              <a:gd name="T34" fmla="*/ 3522 w 5028"/>
              <a:gd name="T35" fmla="*/ 746 h 765"/>
              <a:gd name="T36" fmla="*/ 3470 w 5028"/>
              <a:gd name="T37" fmla="*/ 679 h 765"/>
              <a:gd name="T38" fmla="*/ 3388 w 5028"/>
              <a:gd name="T39" fmla="*/ 711 h 765"/>
              <a:gd name="T40" fmla="*/ 3364 w 5028"/>
              <a:gd name="T41" fmla="*/ 617 h 765"/>
              <a:gd name="T42" fmla="*/ 3276 w 5028"/>
              <a:gd name="T43" fmla="*/ 613 h 765"/>
              <a:gd name="T44" fmla="*/ 3292 w 5028"/>
              <a:gd name="T45" fmla="*/ 522 h 765"/>
              <a:gd name="T46" fmla="*/ 3212 w 5028"/>
              <a:gd name="T47" fmla="*/ 485 h 765"/>
              <a:gd name="T48" fmla="*/ 3260 w 5028"/>
              <a:gd name="T49" fmla="*/ 402 h 765"/>
              <a:gd name="T50" fmla="*/ 3201 w 5028"/>
              <a:gd name="T51" fmla="*/ 337 h 765"/>
              <a:gd name="T52" fmla="*/ 3276 w 5028"/>
              <a:gd name="T53" fmla="*/ 284 h 765"/>
              <a:gd name="T54" fmla="*/ 3244 w 5028"/>
              <a:gd name="T55" fmla="*/ 201 h 765"/>
              <a:gd name="T56" fmla="*/ 3338 w 5028"/>
              <a:gd name="T57" fmla="*/ 177 h 765"/>
              <a:gd name="T58" fmla="*/ 3341 w 5028"/>
              <a:gd name="T59" fmla="*/ 89 h 765"/>
              <a:gd name="T60" fmla="*/ 3432 w 5028"/>
              <a:gd name="T61" fmla="*/ 104 h 765"/>
              <a:gd name="T62" fmla="*/ 3469 w 5028"/>
              <a:gd name="T63" fmla="*/ 24 h 765"/>
              <a:gd name="T64" fmla="*/ 3551 w 5028"/>
              <a:gd name="T65" fmla="*/ 72 h 765"/>
              <a:gd name="T66" fmla="*/ 3616 w 5028"/>
              <a:gd name="T67" fmla="*/ 13 h 765"/>
              <a:gd name="T68" fmla="*/ 3669 w 5028"/>
              <a:gd name="T69" fmla="*/ 88 h 765"/>
              <a:gd name="T70" fmla="*/ 3752 w 5028"/>
              <a:gd name="T71" fmla="*/ 57 h 765"/>
              <a:gd name="T72" fmla="*/ 3775 w 5028"/>
              <a:gd name="T73" fmla="*/ 150 h 765"/>
              <a:gd name="T74" fmla="*/ 3863 w 5028"/>
              <a:gd name="T75" fmla="*/ 154 h 765"/>
              <a:gd name="T76" fmla="*/ 3848 w 5028"/>
              <a:gd name="T77" fmla="*/ 245 h 765"/>
              <a:gd name="T78" fmla="*/ 3927 w 5028"/>
              <a:gd name="T79" fmla="*/ 282 h 765"/>
              <a:gd name="T80" fmla="*/ 3879 w 5028"/>
              <a:gd name="T81" fmla="*/ 365 h 765"/>
              <a:gd name="T82" fmla="*/ 3922 w 5028"/>
              <a:gd name="T83" fmla="*/ 384 h 765"/>
              <a:gd name="T84" fmla="*/ 5028 w 5028"/>
              <a:gd name="T85" fmla="*/ 38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28" h="765">
                <a:moveTo>
                  <a:pt x="3934" y="377"/>
                </a:moveTo>
                <a:cubicBezTo>
                  <a:pt x="3888" y="361"/>
                  <a:pt x="3888" y="361"/>
                  <a:pt x="3888" y="361"/>
                </a:cubicBezTo>
                <a:cubicBezTo>
                  <a:pt x="3888" y="348"/>
                  <a:pt x="3886" y="336"/>
                  <a:pt x="3883" y="323"/>
                </a:cubicBezTo>
                <a:cubicBezTo>
                  <a:pt x="3939" y="286"/>
                  <a:pt x="3939" y="286"/>
                  <a:pt x="3939" y="286"/>
                </a:cubicBezTo>
                <a:cubicBezTo>
                  <a:pt x="3921" y="233"/>
                  <a:pt x="3921" y="233"/>
                  <a:pt x="3921" y="233"/>
                </a:cubicBezTo>
                <a:cubicBezTo>
                  <a:pt x="3855" y="238"/>
                  <a:pt x="3855" y="238"/>
                  <a:pt x="3855" y="238"/>
                </a:cubicBezTo>
                <a:cubicBezTo>
                  <a:pt x="3850" y="228"/>
                  <a:pt x="3844" y="218"/>
                  <a:pt x="3838" y="208"/>
                </a:cubicBezTo>
                <a:cubicBezTo>
                  <a:pt x="3875" y="153"/>
                  <a:pt x="3875" y="153"/>
                  <a:pt x="3875" y="153"/>
                </a:cubicBezTo>
                <a:cubicBezTo>
                  <a:pt x="3839" y="111"/>
                  <a:pt x="3839" y="111"/>
                  <a:pt x="3839" y="111"/>
                </a:cubicBezTo>
                <a:cubicBezTo>
                  <a:pt x="3779" y="141"/>
                  <a:pt x="3779" y="141"/>
                  <a:pt x="3779" y="141"/>
                </a:cubicBezTo>
                <a:cubicBezTo>
                  <a:pt x="3770" y="133"/>
                  <a:pt x="3759" y="125"/>
                  <a:pt x="3749" y="117"/>
                </a:cubicBezTo>
                <a:cubicBezTo>
                  <a:pt x="3762" y="51"/>
                  <a:pt x="3762" y="51"/>
                  <a:pt x="3762" y="51"/>
                </a:cubicBezTo>
                <a:cubicBezTo>
                  <a:pt x="3713" y="27"/>
                  <a:pt x="3713" y="27"/>
                  <a:pt x="3713" y="27"/>
                </a:cubicBezTo>
                <a:cubicBezTo>
                  <a:pt x="3669" y="78"/>
                  <a:pt x="3669" y="78"/>
                  <a:pt x="3669" y="78"/>
                </a:cubicBezTo>
                <a:cubicBezTo>
                  <a:pt x="3658" y="75"/>
                  <a:pt x="3647" y="72"/>
                  <a:pt x="3636" y="69"/>
                </a:cubicBezTo>
                <a:cubicBezTo>
                  <a:pt x="3624" y="4"/>
                  <a:pt x="3624" y="4"/>
                  <a:pt x="3624" y="4"/>
                </a:cubicBezTo>
                <a:cubicBezTo>
                  <a:pt x="3568" y="0"/>
                  <a:pt x="3568" y="0"/>
                  <a:pt x="3568" y="0"/>
                </a:cubicBezTo>
                <a:cubicBezTo>
                  <a:pt x="3547" y="63"/>
                  <a:pt x="3547" y="63"/>
                  <a:pt x="3547" y="63"/>
                </a:cubicBezTo>
                <a:cubicBezTo>
                  <a:pt x="3535" y="64"/>
                  <a:pt x="3522" y="66"/>
                  <a:pt x="3509" y="68"/>
                </a:cubicBezTo>
                <a:cubicBezTo>
                  <a:pt x="3472" y="12"/>
                  <a:pt x="3472" y="12"/>
                  <a:pt x="3472" y="12"/>
                </a:cubicBezTo>
                <a:cubicBezTo>
                  <a:pt x="3420" y="30"/>
                  <a:pt x="3420" y="30"/>
                  <a:pt x="3420" y="30"/>
                </a:cubicBezTo>
                <a:cubicBezTo>
                  <a:pt x="3425" y="97"/>
                  <a:pt x="3425" y="97"/>
                  <a:pt x="3425" y="97"/>
                </a:cubicBezTo>
                <a:cubicBezTo>
                  <a:pt x="3415" y="102"/>
                  <a:pt x="3405" y="108"/>
                  <a:pt x="3395" y="114"/>
                </a:cubicBezTo>
                <a:cubicBezTo>
                  <a:pt x="3340" y="76"/>
                  <a:pt x="3340" y="76"/>
                  <a:pt x="3340" y="76"/>
                </a:cubicBezTo>
                <a:cubicBezTo>
                  <a:pt x="3299" y="113"/>
                  <a:pt x="3299" y="113"/>
                  <a:pt x="3299" y="113"/>
                </a:cubicBezTo>
                <a:cubicBezTo>
                  <a:pt x="3328" y="173"/>
                  <a:pt x="3328" y="173"/>
                  <a:pt x="3328" y="173"/>
                </a:cubicBezTo>
                <a:cubicBezTo>
                  <a:pt x="3320" y="182"/>
                  <a:pt x="3312" y="193"/>
                  <a:pt x="3305" y="203"/>
                </a:cubicBezTo>
                <a:cubicBezTo>
                  <a:pt x="3239" y="190"/>
                  <a:pt x="3239" y="190"/>
                  <a:pt x="3239" y="190"/>
                </a:cubicBezTo>
                <a:cubicBezTo>
                  <a:pt x="3215" y="240"/>
                  <a:pt x="3215" y="240"/>
                  <a:pt x="3215" y="240"/>
                </a:cubicBezTo>
                <a:cubicBezTo>
                  <a:pt x="3266" y="284"/>
                  <a:pt x="3266" y="284"/>
                  <a:pt x="3266" y="284"/>
                </a:cubicBezTo>
                <a:cubicBezTo>
                  <a:pt x="3262" y="295"/>
                  <a:pt x="3259" y="306"/>
                  <a:pt x="3257" y="317"/>
                </a:cubicBezTo>
                <a:cubicBezTo>
                  <a:pt x="3191" y="329"/>
                  <a:pt x="3191" y="329"/>
                  <a:pt x="3191" y="329"/>
                </a:cubicBezTo>
                <a:cubicBezTo>
                  <a:pt x="3188" y="385"/>
                  <a:pt x="3188" y="385"/>
                  <a:pt x="3188" y="385"/>
                </a:cubicBezTo>
                <a:cubicBezTo>
                  <a:pt x="3251" y="406"/>
                  <a:pt x="3251" y="406"/>
                  <a:pt x="3251" y="406"/>
                </a:cubicBezTo>
                <a:cubicBezTo>
                  <a:pt x="3252" y="419"/>
                  <a:pt x="3253" y="432"/>
                  <a:pt x="3256" y="444"/>
                </a:cubicBezTo>
                <a:cubicBezTo>
                  <a:pt x="3200" y="481"/>
                  <a:pt x="3200" y="481"/>
                  <a:pt x="3200" y="481"/>
                </a:cubicBezTo>
                <a:cubicBezTo>
                  <a:pt x="3218" y="534"/>
                  <a:pt x="3218" y="534"/>
                  <a:pt x="3218" y="534"/>
                </a:cubicBezTo>
                <a:cubicBezTo>
                  <a:pt x="3284" y="529"/>
                  <a:pt x="3284" y="529"/>
                  <a:pt x="3284" y="529"/>
                </a:cubicBezTo>
                <a:cubicBezTo>
                  <a:pt x="3290" y="539"/>
                  <a:pt x="3295" y="549"/>
                  <a:pt x="3302" y="559"/>
                </a:cubicBezTo>
                <a:cubicBezTo>
                  <a:pt x="3264" y="614"/>
                  <a:pt x="3264" y="614"/>
                  <a:pt x="3264" y="614"/>
                </a:cubicBezTo>
                <a:cubicBezTo>
                  <a:pt x="3300" y="656"/>
                  <a:pt x="3300" y="656"/>
                  <a:pt x="3300" y="656"/>
                </a:cubicBezTo>
                <a:cubicBezTo>
                  <a:pt x="3360" y="626"/>
                  <a:pt x="3360" y="626"/>
                  <a:pt x="3360" y="626"/>
                </a:cubicBezTo>
                <a:cubicBezTo>
                  <a:pt x="3369" y="635"/>
                  <a:pt x="3380" y="643"/>
                  <a:pt x="3390" y="650"/>
                </a:cubicBezTo>
                <a:cubicBezTo>
                  <a:pt x="3377" y="716"/>
                  <a:pt x="3377" y="716"/>
                  <a:pt x="3377" y="716"/>
                </a:cubicBezTo>
                <a:cubicBezTo>
                  <a:pt x="3426" y="740"/>
                  <a:pt x="3426" y="740"/>
                  <a:pt x="3426" y="740"/>
                </a:cubicBezTo>
                <a:cubicBezTo>
                  <a:pt x="3470" y="689"/>
                  <a:pt x="3470" y="689"/>
                  <a:pt x="3470" y="689"/>
                </a:cubicBezTo>
                <a:cubicBezTo>
                  <a:pt x="3481" y="693"/>
                  <a:pt x="3492" y="696"/>
                  <a:pt x="3503" y="698"/>
                </a:cubicBezTo>
                <a:cubicBezTo>
                  <a:pt x="3514" y="758"/>
                  <a:pt x="3514" y="758"/>
                  <a:pt x="3514" y="758"/>
                </a:cubicBezTo>
                <a:cubicBezTo>
                  <a:pt x="0" y="758"/>
                  <a:pt x="0" y="758"/>
                  <a:pt x="0" y="758"/>
                </a:cubicBezTo>
                <a:cubicBezTo>
                  <a:pt x="0" y="765"/>
                  <a:pt x="0" y="765"/>
                  <a:pt x="0" y="765"/>
                </a:cubicBezTo>
                <a:cubicBezTo>
                  <a:pt x="3520" y="765"/>
                  <a:pt x="3520" y="765"/>
                  <a:pt x="3520" y="765"/>
                </a:cubicBezTo>
                <a:cubicBezTo>
                  <a:pt x="3520" y="764"/>
                  <a:pt x="3520" y="764"/>
                  <a:pt x="3520" y="764"/>
                </a:cubicBezTo>
                <a:cubicBezTo>
                  <a:pt x="3522" y="764"/>
                  <a:pt x="3522" y="764"/>
                  <a:pt x="3522" y="764"/>
                </a:cubicBezTo>
                <a:cubicBezTo>
                  <a:pt x="3522" y="746"/>
                  <a:pt x="3522" y="746"/>
                  <a:pt x="3522" y="746"/>
                </a:cubicBezTo>
                <a:cubicBezTo>
                  <a:pt x="3511" y="690"/>
                  <a:pt x="3511" y="690"/>
                  <a:pt x="3511" y="690"/>
                </a:cubicBezTo>
                <a:cubicBezTo>
                  <a:pt x="3508" y="689"/>
                  <a:pt x="3508" y="689"/>
                  <a:pt x="3508" y="689"/>
                </a:cubicBezTo>
                <a:cubicBezTo>
                  <a:pt x="3495" y="687"/>
                  <a:pt x="3482" y="683"/>
                  <a:pt x="3470" y="679"/>
                </a:cubicBezTo>
                <a:cubicBezTo>
                  <a:pt x="3467" y="678"/>
                  <a:pt x="3467" y="678"/>
                  <a:pt x="3467" y="678"/>
                </a:cubicBezTo>
                <a:cubicBezTo>
                  <a:pt x="3424" y="729"/>
                  <a:pt x="3424" y="729"/>
                  <a:pt x="3424" y="729"/>
                </a:cubicBezTo>
                <a:cubicBezTo>
                  <a:pt x="3388" y="711"/>
                  <a:pt x="3388" y="711"/>
                  <a:pt x="3388" y="711"/>
                </a:cubicBezTo>
                <a:cubicBezTo>
                  <a:pt x="3401" y="645"/>
                  <a:pt x="3401" y="645"/>
                  <a:pt x="3401" y="645"/>
                </a:cubicBezTo>
                <a:cubicBezTo>
                  <a:pt x="3398" y="644"/>
                  <a:pt x="3398" y="644"/>
                  <a:pt x="3398" y="644"/>
                </a:cubicBezTo>
                <a:cubicBezTo>
                  <a:pt x="3386" y="636"/>
                  <a:pt x="3375" y="627"/>
                  <a:pt x="3364" y="617"/>
                </a:cubicBezTo>
                <a:cubicBezTo>
                  <a:pt x="3361" y="615"/>
                  <a:pt x="3361" y="615"/>
                  <a:pt x="3361" y="615"/>
                </a:cubicBezTo>
                <a:cubicBezTo>
                  <a:pt x="3303" y="644"/>
                  <a:pt x="3303" y="644"/>
                  <a:pt x="3303" y="644"/>
                </a:cubicBezTo>
                <a:cubicBezTo>
                  <a:pt x="3276" y="613"/>
                  <a:pt x="3276" y="613"/>
                  <a:pt x="3276" y="613"/>
                </a:cubicBezTo>
                <a:cubicBezTo>
                  <a:pt x="3313" y="559"/>
                  <a:pt x="3313" y="559"/>
                  <a:pt x="3313" y="559"/>
                </a:cubicBezTo>
                <a:cubicBezTo>
                  <a:pt x="3311" y="556"/>
                  <a:pt x="3311" y="556"/>
                  <a:pt x="3311" y="556"/>
                </a:cubicBezTo>
                <a:cubicBezTo>
                  <a:pt x="3304" y="545"/>
                  <a:pt x="3297" y="534"/>
                  <a:pt x="3292" y="522"/>
                </a:cubicBezTo>
                <a:cubicBezTo>
                  <a:pt x="3290" y="519"/>
                  <a:pt x="3290" y="519"/>
                  <a:pt x="3290" y="519"/>
                </a:cubicBezTo>
                <a:cubicBezTo>
                  <a:pt x="3225" y="524"/>
                  <a:pt x="3225" y="524"/>
                  <a:pt x="3225" y="524"/>
                </a:cubicBezTo>
                <a:cubicBezTo>
                  <a:pt x="3212" y="485"/>
                  <a:pt x="3212" y="485"/>
                  <a:pt x="3212" y="485"/>
                </a:cubicBezTo>
                <a:cubicBezTo>
                  <a:pt x="3266" y="449"/>
                  <a:pt x="3266" y="449"/>
                  <a:pt x="3266" y="449"/>
                </a:cubicBezTo>
                <a:cubicBezTo>
                  <a:pt x="3266" y="446"/>
                  <a:pt x="3266" y="446"/>
                  <a:pt x="3266" y="446"/>
                </a:cubicBezTo>
                <a:cubicBezTo>
                  <a:pt x="3263" y="431"/>
                  <a:pt x="3261" y="417"/>
                  <a:pt x="3260" y="402"/>
                </a:cubicBezTo>
                <a:cubicBezTo>
                  <a:pt x="3260" y="399"/>
                  <a:pt x="3260" y="399"/>
                  <a:pt x="3260" y="399"/>
                </a:cubicBezTo>
                <a:cubicBezTo>
                  <a:pt x="3198" y="378"/>
                  <a:pt x="3198" y="378"/>
                  <a:pt x="3198" y="378"/>
                </a:cubicBezTo>
                <a:cubicBezTo>
                  <a:pt x="3201" y="337"/>
                  <a:pt x="3201" y="337"/>
                  <a:pt x="3201" y="337"/>
                </a:cubicBezTo>
                <a:cubicBezTo>
                  <a:pt x="3265" y="325"/>
                  <a:pt x="3265" y="325"/>
                  <a:pt x="3265" y="325"/>
                </a:cubicBezTo>
                <a:cubicBezTo>
                  <a:pt x="3265" y="322"/>
                  <a:pt x="3265" y="322"/>
                  <a:pt x="3265" y="322"/>
                </a:cubicBezTo>
                <a:cubicBezTo>
                  <a:pt x="3268" y="309"/>
                  <a:pt x="3272" y="296"/>
                  <a:pt x="3276" y="284"/>
                </a:cubicBezTo>
                <a:cubicBezTo>
                  <a:pt x="3277" y="280"/>
                  <a:pt x="3277" y="280"/>
                  <a:pt x="3277" y="280"/>
                </a:cubicBezTo>
                <a:cubicBezTo>
                  <a:pt x="3227" y="237"/>
                  <a:pt x="3227" y="237"/>
                  <a:pt x="3227" y="237"/>
                </a:cubicBezTo>
                <a:cubicBezTo>
                  <a:pt x="3244" y="201"/>
                  <a:pt x="3244" y="201"/>
                  <a:pt x="3244" y="201"/>
                </a:cubicBezTo>
                <a:cubicBezTo>
                  <a:pt x="3309" y="214"/>
                  <a:pt x="3309" y="214"/>
                  <a:pt x="3309" y="214"/>
                </a:cubicBezTo>
                <a:cubicBezTo>
                  <a:pt x="3311" y="211"/>
                  <a:pt x="3311" y="211"/>
                  <a:pt x="3311" y="211"/>
                </a:cubicBezTo>
                <a:cubicBezTo>
                  <a:pt x="3319" y="199"/>
                  <a:pt x="3328" y="188"/>
                  <a:pt x="3338" y="177"/>
                </a:cubicBezTo>
                <a:cubicBezTo>
                  <a:pt x="3340" y="174"/>
                  <a:pt x="3340" y="174"/>
                  <a:pt x="3340" y="174"/>
                </a:cubicBezTo>
                <a:cubicBezTo>
                  <a:pt x="3311" y="115"/>
                  <a:pt x="3311" y="115"/>
                  <a:pt x="3311" y="115"/>
                </a:cubicBezTo>
                <a:cubicBezTo>
                  <a:pt x="3341" y="89"/>
                  <a:pt x="3341" y="89"/>
                  <a:pt x="3341" y="89"/>
                </a:cubicBezTo>
                <a:cubicBezTo>
                  <a:pt x="3395" y="126"/>
                  <a:pt x="3395" y="126"/>
                  <a:pt x="3395" y="126"/>
                </a:cubicBezTo>
                <a:cubicBezTo>
                  <a:pt x="3398" y="124"/>
                  <a:pt x="3398" y="124"/>
                  <a:pt x="3398" y="124"/>
                </a:cubicBezTo>
                <a:cubicBezTo>
                  <a:pt x="3409" y="117"/>
                  <a:pt x="3420" y="110"/>
                  <a:pt x="3432" y="104"/>
                </a:cubicBezTo>
                <a:cubicBezTo>
                  <a:pt x="3435" y="103"/>
                  <a:pt x="3435" y="103"/>
                  <a:pt x="3435" y="103"/>
                </a:cubicBezTo>
                <a:cubicBezTo>
                  <a:pt x="3430" y="37"/>
                  <a:pt x="3430" y="37"/>
                  <a:pt x="3430" y="37"/>
                </a:cubicBezTo>
                <a:cubicBezTo>
                  <a:pt x="3469" y="24"/>
                  <a:pt x="3469" y="24"/>
                  <a:pt x="3469" y="24"/>
                </a:cubicBezTo>
                <a:cubicBezTo>
                  <a:pt x="3505" y="79"/>
                  <a:pt x="3505" y="79"/>
                  <a:pt x="3505" y="79"/>
                </a:cubicBezTo>
                <a:cubicBezTo>
                  <a:pt x="3508" y="78"/>
                  <a:pt x="3508" y="78"/>
                  <a:pt x="3508" y="78"/>
                </a:cubicBezTo>
                <a:cubicBezTo>
                  <a:pt x="3522" y="75"/>
                  <a:pt x="3537" y="73"/>
                  <a:pt x="3551" y="72"/>
                </a:cubicBezTo>
                <a:cubicBezTo>
                  <a:pt x="3554" y="72"/>
                  <a:pt x="3554" y="72"/>
                  <a:pt x="3554" y="72"/>
                </a:cubicBezTo>
                <a:cubicBezTo>
                  <a:pt x="3575" y="10"/>
                  <a:pt x="3575" y="10"/>
                  <a:pt x="3575" y="10"/>
                </a:cubicBezTo>
                <a:cubicBezTo>
                  <a:pt x="3616" y="13"/>
                  <a:pt x="3616" y="13"/>
                  <a:pt x="3616" y="13"/>
                </a:cubicBezTo>
                <a:cubicBezTo>
                  <a:pt x="3628" y="77"/>
                  <a:pt x="3628" y="77"/>
                  <a:pt x="3628" y="77"/>
                </a:cubicBezTo>
                <a:cubicBezTo>
                  <a:pt x="3631" y="78"/>
                  <a:pt x="3631" y="78"/>
                  <a:pt x="3631" y="78"/>
                </a:cubicBezTo>
                <a:cubicBezTo>
                  <a:pt x="3644" y="80"/>
                  <a:pt x="3657" y="84"/>
                  <a:pt x="3669" y="88"/>
                </a:cubicBezTo>
                <a:cubicBezTo>
                  <a:pt x="3672" y="89"/>
                  <a:pt x="3672" y="89"/>
                  <a:pt x="3672" y="89"/>
                </a:cubicBezTo>
                <a:cubicBezTo>
                  <a:pt x="3715" y="39"/>
                  <a:pt x="3715" y="39"/>
                  <a:pt x="3715" y="39"/>
                </a:cubicBezTo>
                <a:cubicBezTo>
                  <a:pt x="3752" y="57"/>
                  <a:pt x="3752" y="57"/>
                  <a:pt x="3752" y="57"/>
                </a:cubicBezTo>
                <a:cubicBezTo>
                  <a:pt x="3738" y="122"/>
                  <a:pt x="3738" y="122"/>
                  <a:pt x="3738" y="122"/>
                </a:cubicBezTo>
                <a:cubicBezTo>
                  <a:pt x="3741" y="124"/>
                  <a:pt x="3741" y="124"/>
                  <a:pt x="3741" y="124"/>
                </a:cubicBezTo>
                <a:cubicBezTo>
                  <a:pt x="3753" y="132"/>
                  <a:pt x="3765" y="141"/>
                  <a:pt x="3775" y="150"/>
                </a:cubicBezTo>
                <a:cubicBezTo>
                  <a:pt x="3778" y="152"/>
                  <a:pt x="3778" y="152"/>
                  <a:pt x="3778" y="152"/>
                </a:cubicBezTo>
                <a:cubicBezTo>
                  <a:pt x="3836" y="123"/>
                  <a:pt x="3836" y="123"/>
                  <a:pt x="3836" y="123"/>
                </a:cubicBezTo>
                <a:cubicBezTo>
                  <a:pt x="3863" y="154"/>
                  <a:pt x="3863" y="154"/>
                  <a:pt x="3863" y="154"/>
                </a:cubicBezTo>
                <a:cubicBezTo>
                  <a:pt x="3826" y="208"/>
                  <a:pt x="3826" y="208"/>
                  <a:pt x="3826" y="208"/>
                </a:cubicBezTo>
                <a:cubicBezTo>
                  <a:pt x="3828" y="211"/>
                  <a:pt x="3828" y="211"/>
                  <a:pt x="3828" y="211"/>
                </a:cubicBezTo>
                <a:cubicBezTo>
                  <a:pt x="3835" y="222"/>
                  <a:pt x="3842" y="234"/>
                  <a:pt x="3848" y="245"/>
                </a:cubicBezTo>
                <a:cubicBezTo>
                  <a:pt x="3849" y="248"/>
                  <a:pt x="3849" y="248"/>
                  <a:pt x="3849" y="248"/>
                </a:cubicBezTo>
                <a:cubicBezTo>
                  <a:pt x="3914" y="243"/>
                  <a:pt x="3914" y="243"/>
                  <a:pt x="3914" y="243"/>
                </a:cubicBezTo>
                <a:cubicBezTo>
                  <a:pt x="3927" y="282"/>
                  <a:pt x="3927" y="282"/>
                  <a:pt x="3927" y="282"/>
                </a:cubicBezTo>
                <a:cubicBezTo>
                  <a:pt x="3873" y="318"/>
                  <a:pt x="3873" y="318"/>
                  <a:pt x="3873" y="318"/>
                </a:cubicBezTo>
                <a:cubicBezTo>
                  <a:pt x="3873" y="322"/>
                  <a:pt x="3873" y="322"/>
                  <a:pt x="3873" y="322"/>
                </a:cubicBezTo>
                <a:cubicBezTo>
                  <a:pt x="3876" y="336"/>
                  <a:pt x="3878" y="351"/>
                  <a:pt x="3879" y="365"/>
                </a:cubicBezTo>
                <a:cubicBezTo>
                  <a:pt x="3879" y="368"/>
                  <a:pt x="3879" y="368"/>
                  <a:pt x="3879" y="368"/>
                </a:cubicBezTo>
                <a:cubicBezTo>
                  <a:pt x="3922" y="383"/>
                  <a:pt x="3922" y="383"/>
                  <a:pt x="3922" y="383"/>
                </a:cubicBezTo>
                <a:cubicBezTo>
                  <a:pt x="3922" y="384"/>
                  <a:pt x="3922" y="384"/>
                  <a:pt x="3922" y="384"/>
                </a:cubicBezTo>
                <a:cubicBezTo>
                  <a:pt x="3925" y="384"/>
                  <a:pt x="3925" y="384"/>
                  <a:pt x="3925" y="384"/>
                </a:cubicBezTo>
                <a:cubicBezTo>
                  <a:pt x="3951" y="384"/>
                  <a:pt x="3951" y="384"/>
                  <a:pt x="3951" y="384"/>
                </a:cubicBezTo>
                <a:cubicBezTo>
                  <a:pt x="5028" y="384"/>
                  <a:pt x="5028" y="384"/>
                  <a:pt x="5028" y="384"/>
                </a:cubicBezTo>
                <a:cubicBezTo>
                  <a:pt x="5028" y="377"/>
                  <a:pt x="5028" y="377"/>
                  <a:pt x="5028" y="377"/>
                </a:cubicBezTo>
                <a:cubicBezTo>
                  <a:pt x="3934" y="377"/>
                  <a:pt x="3934" y="377"/>
                  <a:pt x="3934" y="377"/>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4" name="Freeform 695">
            <a:extLst>
              <a:ext uri="{FF2B5EF4-FFF2-40B4-BE49-F238E27FC236}">
                <a16:creationId xmlns:a16="http://schemas.microsoft.com/office/drawing/2014/main" id="{3BA90A7C-FDB3-442B-AA6C-F6D6C1F5AEF3}"/>
              </a:ext>
            </a:extLst>
          </p:cNvPr>
          <p:cNvSpPr>
            <a:spLocks noEditPoints="1"/>
          </p:cNvSpPr>
          <p:nvPr/>
        </p:nvSpPr>
        <p:spPr bwMode="auto">
          <a:xfrm>
            <a:off x="8818563" y="3381375"/>
            <a:ext cx="1587500" cy="1677988"/>
          </a:xfrm>
          <a:custGeom>
            <a:avLst/>
            <a:gdLst>
              <a:gd name="T0" fmla="*/ 612 w 738"/>
              <a:gd name="T1" fmla="*/ 735 h 781"/>
              <a:gd name="T2" fmla="*/ 660 w 738"/>
              <a:gd name="T3" fmla="*/ 745 h 781"/>
              <a:gd name="T4" fmla="*/ 614 w 738"/>
              <a:gd name="T5" fmla="*/ 684 h 781"/>
              <a:gd name="T6" fmla="*/ 602 w 738"/>
              <a:gd name="T7" fmla="*/ 721 h 781"/>
              <a:gd name="T8" fmla="*/ 647 w 738"/>
              <a:gd name="T9" fmla="*/ 728 h 781"/>
              <a:gd name="T10" fmla="*/ 200 w 738"/>
              <a:gd name="T11" fmla="*/ 582 h 781"/>
              <a:gd name="T12" fmla="*/ 212 w 738"/>
              <a:gd name="T13" fmla="*/ 589 h 781"/>
              <a:gd name="T14" fmla="*/ 566 w 738"/>
              <a:gd name="T15" fmla="*/ 564 h 781"/>
              <a:gd name="T16" fmla="*/ 281 w 738"/>
              <a:gd name="T17" fmla="*/ 618 h 781"/>
              <a:gd name="T18" fmla="*/ 260 w 738"/>
              <a:gd name="T19" fmla="*/ 656 h 781"/>
              <a:gd name="T20" fmla="*/ 566 w 738"/>
              <a:gd name="T21" fmla="*/ 617 h 781"/>
              <a:gd name="T22" fmla="*/ 607 w 738"/>
              <a:gd name="T23" fmla="*/ 636 h 781"/>
              <a:gd name="T24" fmla="*/ 566 w 738"/>
              <a:gd name="T25" fmla="*/ 564 h 781"/>
              <a:gd name="T26" fmla="*/ 26 w 738"/>
              <a:gd name="T27" fmla="*/ 434 h 781"/>
              <a:gd name="T28" fmla="*/ 248 w 738"/>
              <a:gd name="T29" fmla="*/ 652 h 781"/>
              <a:gd name="T30" fmla="*/ 270 w 738"/>
              <a:gd name="T31" fmla="*/ 614 h 781"/>
              <a:gd name="T32" fmla="*/ 198 w 738"/>
              <a:gd name="T33" fmla="*/ 599 h 781"/>
              <a:gd name="T34" fmla="*/ 182 w 738"/>
              <a:gd name="T35" fmla="*/ 570 h 781"/>
              <a:gd name="T36" fmla="*/ 88 w 738"/>
              <a:gd name="T37" fmla="*/ 487 h 781"/>
              <a:gd name="T38" fmla="*/ 737 w 738"/>
              <a:gd name="T39" fmla="*/ 279 h 781"/>
              <a:gd name="T40" fmla="*/ 652 w 738"/>
              <a:gd name="T41" fmla="*/ 542 h 781"/>
              <a:gd name="T42" fmla="*/ 654 w 738"/>
              <a:gd name="T43" fmla="*/ 539 h 781"/>
              <a:gd name="T44" fmla="*/ 665 w 738"/>
              <a:gd name="T45" fmla="*/ 526 h 781"/>
              <a:gd name="T46" fmla="*/ 675 w 738"/>
              <a:gd name="T47" fmla="*/ 511 h 781"/>
              <a:gd name="T48" fmla="*/ 684 w 738"/>
              <a:gd name="T49" fmla="*/ 497 h 781"/>
              <a:gd name="T50" fmla="*/ 693 w 738"/>
              <a:gd name="T51" fmla="*/ 482 h 781"/>
              <a:gd name="T52" fmla="*/ 701 w 738"/>
              <a:gd name="T53" fmla="*/ 467 h 781"/>
              <a:gd name="T54" fmla="*/ 708 w 738"/>
              <a:gd name="T55" fmla="*/ 452 h 781"/>
              <a:gd name="T56" fmla="*/ 714 w 738"/>
              <a:gd name="T57" fmla="*/ 436 h 781"/>
              <a:gd name="T58" fmla="*/ 719 w 738"/>
              <a:gd name="T59" fmla="*/ 421 h 781"/>
              <a:gd name="T60" fmla="*/ 738 w 738"/>
              <a:gd name="T61" fmla="*/ 324 h 781"/>
              <a:gd name="T62" fmla="*/ 738 w 738"/>
              <a:gd name="T63" fmla="*/ 306 h 781"/>
              <a:gd name="T64" fmla="*/ 738 w 738"/>
              <a:gd name="T65" fmla="*/ 289 h 781"/>
              <a:gd name="T66" fmla="*/ 4 w 738"/>
              <a:gd name="T67" fmla="*/ 279 h 781"/>
              <a:gd name="T68" fmla="*/ 37 w 738"/>
              <a:gd name="T69" fmla="*/ 407 h 781"/>
              <a:gd name="T70" fmla="*/ 620 w 738"/>
              <a:gd name="T71" fmla="*/ 44 h 781"/>
              <a:gd name="T72" fmla="*/ 620 w 738"/>
              <a:gd name="T73" fmla="*/ 44 h 781"/>
              <a:gd name="T74" fmla="*/ 620 w 738"/>
              <a:gd name="T75" fmla="*/ 44 h 781"/>
              <a:gd name="T76" fmla="*/ 166 w 738"/>
              <a:gd name="T77" fmla="*/ 0 h 781"/>
              <a:gd name="T78" fmla="*/ 163 w 738"/>
              <a:gd name="T79" fmla="*/ 2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8" h="781">
                <a:moveTo>
                  <a:pt x="652" y="735"/>
                </a:moveTo>
                <a:cubicBezTo>
                  <a:pt x="612" y="735"/>
                  <a:pt x="612" y="735"/>
                  <a:pt x="612" y="735"/>
                </a:cubicBezTo>
                <a:cubicBezTo>
                  <a:pt x="647" y="781"/>
                  <a:pt x="647" y="781"/>
                  <a:pt x="647" y="781"/>
                </a:cubicBezTo>
                <a:cubicBezTo>
                  <a:pt x="651" y="768"/>
                  <a:pt x="654" y="756"/>
                  <a:pt x="660" y="745"/>
                </a:cubicBezTo>
                <a:cubicBezTo>
                  <a:pt x="652" y="735"/>
                  <a:pt x="652" y="735"/>
                  <a:pt x="652" y="735"/>
                </a:cubicBezTo>
                <a:moveTo>
                  <a:pt x="614" y="684"/>
                </a:moveTo>
                <a:cubicBezTo>
                  <a:pt x="607" y="689"/>
                  <a:pt x="607" y="689"/>
                  <a:pt x="607" y="689"/>
                </a:cubicBezTo>
                <a:cubicBezTo>
                  <a:pt x="597" y="697"/>
                  <a:pt x="595" y="711"/>
                  <a:pt x="602" y="721"/>
                </a:cubicBezTo>
                <a:cubicBezTo>
                  <a:pt x="607" y="728"/>
                  <a:pt x="607" y="728"/>
                  <a:pt x="607" y="728"/>
                </a:cubicBezTo>
                <a:cubicBezTo>
                  <a:pt x="647" y="728"/>
                  <a:pt x="647" y="728"/>
                  <a:pt x="647" y="728"/>
                </a:cubicBezTo>
                <a:cubicBezTo>
                  <a:pt x="614" y="684"/>
                  <a:pt x="614" y="684"/>
                  <a:pt x="614" y="684"/>
                </a:cubicBezTo>
                <a:moveTo>
                  <a:pt x="200" y="582"/>
                </a:moveTo>
                <a:cubicBezTo>
                  <a:pt x="201" y="584"/>
                  <a:pt x="202" y="587"/>
                  <a:pt x="204" y="589"/>
                </a:cubicBezTo>
                <a:cubicBezTo>
                  <a:pt x="212" y="589"/>
                  <a:pt x="212" y="589"/>
                  <a:pt x="212" y="589"/>
                </a:cubicBezTo>
                <a:cubicBezTo>
                  <a:pt x="208" y="587"/>
                  <a:pt x="204" y="584"/>
                  <a:pt x="200" y="582"/>
                </a:cubicBezTo>
                <a:moveTo>
                  <a:pt x="566" y="564"/>
                </a:moveTo>
                <a:cubicBezTo>
                  <a:pt x="508" y="609"/>
                  <a:pt x="439" y="630"/>
                  <a:pt x="371" y="630"/>
                </a:cubicBezTo>
                <a:cubicBezTo>
                  <a:pt x="340" y="630"/>
                  <a:pt x="310" y="626"/>
                  <a:pt x="281" y="618"/>
                </a:cubicBezTo>
                <a:cubicBezTo>
                  <a:pt x="288" y="637"/>
                  <a:pt x="288" y="637"/>
                  <a:pt x="288" y="637"/>
                </a:cubicBezTo>
                <a:cubicBezTo>
                  <a:pt x="260" y="656"/>
                  <a:pt x="260" y="656"/>
                  <a:pt x="260" y="656"/>
                </a:cubicBezTo>
                <a:cubicBezTo>
                  <a:pt x="296" y="667"/>
                  <a:pt x="333" y="673"/>
                  <a:pt x="371" y="673"/>
                </a:cubicBezTo>
                <a:cubicBezTo>
                  <a:pt x="438" y="673"/>
                  <a:pt x="506" y="654"/>
                  <a:pt x="566" y="617"/>
                </a:cubicBezTo>
                <a:cubicBezTo>
                  <a:pt x="598" y="660"/>
                  <a:pt x="598" y="660"/>
                  <a:pt x="598" y="660"/>
                </a:cubicBezTo>
                <a:cubicBezTo>
                  <a:pt x="596" y="652"/>
                  <a:pt x="599" y="642"/>
                  <a:pt x="607" y="636"/>
                </a:cubicBezTo>
                <a:cubicBezTo>
                  <a:pt x="615" y="630"/>
                  <a:pt x="615" y="630"/>
                  <a:pt x="615" y="630"/>
                </a:cubicBezTo>
                <a:cubicBezTo>
                  <a:pt x="566" y="564"/>
                  <a:pt x="566" y="564"/>
                  <a:pt x="566" y="564"/>
                </a:cubicBezTo>
                <a:moveTo>
                  <a:pt x="41" y="416"/>
                </a:moveTo>
                <a:cubicBezTo>
                  <a:pt x="26" y="434"/>
                  <a:pt x="26" y="434"/>
                  <a:pt x="26" y="434"/>
                </a:cubicBezTo>
                <a:cubicBezTo>
                  <a:pt x="40" y="472"/>
                  <a:pt x="61" y="507"/>
                  <a:pt x="88" y="540"/>
                </a:cubicBezTo>
                <a:cubicBezTo>
                  <a:pt x="132" y="593"/>
                  <a:pt x="187" y="631"/>
                  <a:pt x="248" y="652"/>
                </a:cubicBezTo>
                <a:cubicBezTo>
                  <a:pt x="276" y="633"/>
                  <a:pt x="276" y="633"/>
                  <a:pt x="276" y="633"/>
                </a:cubicBezTo>
                <a:cubicBezTo>
                  <a:pt x="270" y="614"/>
                  <a:pt x="270" y="614"/>
                  <a:pt x="270" y="614"/>
                </a:cubicBezTo>
                <a:cubicBezTo>
                  <a:pt x="256" y="610"/>
                  <a:pt x="241" y="604"/>
                  <a:pt x="228" y="597"/>
                </a:cubicBezTo>
                <a:cubicBezTo>
                  <a:pt x="198" y="599"/>
                  <a:pt x="198" y="599"/>
                  <a:pt x="198" y="599"/>
                </a:cubicBezTo>
                <a:cubicBezTo>
                  <a:pt x="197" y="596"/>
                  <a:pt x="197" y="596"/>
                  <a:pt x="197" y="596"/>
                </a:cubicBezTo>
                <a:cubicBezTo>
                  <a:pt x="192" y="587"/>
                  <a:pt x="187" y="579"/>
                  <a:pt x="182" y="570"/>
                </a:cubicBezTo>
                <a:cubicBezTo>
                  <a:pt x="176" y="566"/>
                  <a:pt x="171" y="562"/>
                  <a:pt x="166" y="558"/>
                </a:cubicBezTo>
                <a:cubicBezTo>
                  <a:pt x="137" y="538"/>
                  <a:pt x="111" y="515"/>
                  <a:pt x="88" y="487"/>
                </a:cubicBezTo>
                <a:cubicBezTo>
                  <a:pt x="69" y="465"/>
                  <a:pt x="54" y="441"/>
                  <a:pt x="41" y="416"/>
                </a:cubicBezTo>
                <a:moveTo>
                  <a:pt x="737" y="279"/>
                </a:moveTo>
                <a:cubicBezTo>
                  <a:pt x="731" y="365"/>
                  <a:pt x="694" y="449"/>
                  <a:pt x="630" y="513"/>
                </a:cubicBezTo>
                <a:cubicBezTo>
                  <a:pt x="652" y="542"/>
                  <a:pt x="652" y="542"/>
                  <a:pt x="652" y="542"/>
                </a:cubicBezTo>
                <a:cubicBezTo>
                  <a:pt x="652" y="542"/>
                  <a:pt x="652" y="541"/>
                  <a:pt x="653" y="541"/>
                </a:cubicBezTo>
                <a:cubicBezTo>
                  <a:pt x="653" y="540"/>
                  <a:pt x="653" y="540"/>
                  <a:pt x="654" y="539"/>
                </a:cubicBezTo>
                <a:cubicBezTo>
                  <a:pt x="657" y="535"/>
                  <a:pt x="660" y="531"/>
                  <a:pt x="663" y="527"/>
                </a:cubicBezTo>
                <a:cubicBezTo>
                  <a:pt x="664" y="527"/>
                  <a:pt x="664" y="526"/>
                  <a:pt x="665" y="526"/>
                </a:cubicBezTo>
                <a:cubicBezTo>
                  <a:pt x="668" y="522"/>
                  <a:pt x="670" y="518"/>
                  <a:pt x="673" y="514"/>
                </a:cubicBezTo>
                <a:cubicBezTo>
                  <a:pt x="674" y="513"/>
                  <a:pt x="674" y="512"/>
                  <a:pt x="675" y="511"/>
                </a:cubicBezTo>
                <a:cubicBezTo>
                  <a:pt x="677" y="507"/>
                  <a:pt x="680" y="503"/>
                  <a:pt x="683" y="499"/>
                </a:cubicBezTo>
                <a:cubicBezTo>
                  <a:pt x="683" y="498"/>
                  <a:pt x="684" y="498"/>
                  <a:pt x="684" y="497"/>
                </a:cubicBezTo>
                <a:cubicBezTo>
                  <a:pt x="687" y="493"/>
                  <a:pt x="689" y="489"/>
                  <a:pt x="691" y="484"/>
                </a:cubicBezTo>
                <a:cubicBezTo>
                  <a:pt x="692" y="484"/>
                  <a:pt x="692" y="483"/>
                  <a:pt x="693" y="482"/>
                </a:cubicBezTo>
                <a:cubicBezTo>
                  <a:pt x="695" y="478"/>
                  <a:pt x="697" y="474"/>
                  <a:pt x="699" y="469"/>
                </a:cubicBezTo>
                <a:cubicBezTo>
                  <a:pt x="700" y="469"/>
                  <a:pt x="700" y="468"/>
                  <a:pt x="701" y="467"/>
                </a:cubicBezTo>
                <a:cubicBezTo>
                  <a:pt x="703" y="463"/>
                  <a:pt x="705" y="458"/>
                  <a:pt x="707" y="454"/>
                </a:cubicBezTo>
                <a:cubicBezTo>
                  <a:pt x="707" y="453"/>
                  <a:pt x="707" y="452"/>
                  <a:pt x="708" y="452"/>
                </a:cubicBezTo>
                <a:cubicBezTo>
                  <a:pt x="710" y="447"/>
                  <a:pt x="711" y="443"/>
                  <a:pt x="713" y="438"/>
                </a:cubicBezTo>
                <a:cubicBezTo>
                  <a:pt x="713" y="437"/>
                  <a:pt x="714" y="437"/>
                  <a:pt x="714" y="436"/>
                </a:cubicBezTo>
                <a:cubicBezTo>
                  <a:pt x="716" y="432"/>
                  <a:pt x="717" y="427"/>
                  <a:pt x="719" y="422"/>
                </a:cubicBezTo>
                <a:cubicBezTo>
                  <a:pt x="719" y="422"/>
                  <a:pt x="719" y="421"/>
                  <a:pt x="719" y="421"/>
                </a:cubicBezTo>
                <a:cubicBezTo>
                  <a:pt x="730" y="390"/>
                  <a:pt x="736" y="358"/>
                  <a:pt x="737" y="325"/>
                </a:cubicBezTo>
                <a:cubicBezTo>
                  <a:pt x="737" y="325"/>
                  <a:pt x="738" y="324"/>
                  <a:pt x="738" y="324"/>
                </a:cubicBezTo>
                <a:cubicBezTo>
                  <a:pt x="738" y="319"/>
                  <a:pt x="738" y="315"/>
                  <a:pt x="738" y="311"/>
                </a:cubicBezTo>
                <a:cubicBezTo>
                  <a:pt x="738" y="309"/>
                  <a:pt x="738" y="308"/>
                  <a:pt x="738" y="306"/>
                </a:cubicBezTo>
                <a:cubicBezTo>
                  <a:pt x="738" y="303"/>
                  <a:pt x="738" y="299"/>
                  <a:pt x="738" y="295"/>
                </a:cubicBezTo>
                <a:cubicBezTo>
                  <a:pt x="738" y="293"/>
                  <a:pt x="738" y="291"/>
                  <a:pt x="738" y="289"/>
                </a:cubicBezTo>
                <a:cubicBezTo>
                  <a:pt x="738" y="286"/>
                  <a:pt x="737" y="283"/>
                  <a:pt x="737" y="279"/>
                </a:cubicBezTo>
                <a:moveTo>
                  <a:pt x="4" y="279"/>
                </a:moveTo>
                <a:cubicBezTo>
                  <a:pt x="0" y="328"/>
                  <a:pt x="6" y="377"/>
                  <a:pt x="22" y="424"/>
                </a:cubicBezTo>
                <a:cubicBezTo>
                  <a:pt x="37" y="407"/>
                  <a:pt x="37" y="407"/>
                  <a:pt x="37" y="407"/>
                </a:cubicBezTo>
                <a:cubicBezTo>
                  <a:pt x="18" y="366"/>
                  <a:pt x="7" y="323"/>
                  <a:pt x="4" y="279"/>
                </a:cubicBezTo>
                <a:moveTo>
                  <a:pt x="620" y="44"/>
                </a:moveTo>
                <a:cubicBezTo>
                  <a:pt x="620" y="44"/>
                  <a:pt x="620" y="44"/>
                  <a:pt x="620" y="44"/>
                </a:cubicBezTo>
                <a:cubicBezTo>
                  <a:pt x="620" y="44"/>
                  <a:pt x="620" y="44"/>
                  <a:pt x="620" y="44"/>
                </a:cubicBezTo>
                <a:moveTo>
                  <a:pt x="619" y="43"/>
                </a:moveTo>
                <a:cubicBezTo>
                  <a:pt x="620" y="43"/>
                  <a:pt x="620" y="44"/>
                  <a:pt x="620" y="44"/>
                </a:cubicBezTo>
                <a:cubicBezTo>
                  <a:pt x="620" y="44"/>
                  <a:pt x="620" y="43"/>
                  <a:pt x="619" y="43"/>
                </a:cubicBezTo>
                <a:moveTo>
                  <a:pt x="166" y="0"/>
                </a:moveTo>
                <a:cubicBezTo>
                  <a:pt x="166" y="0"/>
                  <a:pt x="166" y="0"/>
                  <a:pt x="166" y="0"/>
                </a:cubicBezTo>
                <a:cubicBezTo>
                  <a:pt x="165" y="1"/>
                  <a:pt x="164" y="1"/>
                  <a:pt x="163" y="2"/>
                </a:cubicBezTo>
                <a:cubicBezTo>
                  <a:pt x="164" y="1"/>
                  <a:pt x="165" y="1"/>
                  <a:pt x="166" y="0"/>
                </a:cubicBezTo>
              </a:path>
            </a:pathLst>
          </a:custGeom>
          <a:solidFill>
            <a:srgbClr val="E7F6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5" name="Freeform 696">
            <a:extLst>
              <a:ext uri="{FF2B5EF4-FFF2-40B4-BE49-F238E27FC236}">
                <a16:creationId xmlns:a16="http://schemas.microsoft.com/office/drawing/2014/main" id="{0BCAC6F0-3DFF-4074-AE3E-3929D9C38672}"/>
              </a:ext>
            </a:extLst>
          </p:cNvPr>
          <p:cNvSpPr>
            <a:spLocks noEditPoints="1"/>
          </p:cNvSpPr>
          <p:nvPr/>
        </p:nvSpPr>
        <p:spPr bwMode="auto">
          <a:xfrm>
            <a:off x="8866188" y="4254500"/>
            <a:ext cx="1354138" cy="704850"/>
          </a:xfrm>
          <a:custGeom>
            <a:avLst/>
            <a:gdLst>
              <a:gd name="T0" fmla="*/ 625 w 630"/>
              <a:gd name="T1" fmla="*/ 321 h 328"/>
              <a:gd name="T2" fmla="*/ 585 w 630"/>
              <a:gd name="T3" fmla="*/ 321 h 328"/>
              <a:gd name="T4" fmla="*/ 590 w 630"/>
              <a:gd name="T5" fmla="*/ 328 h 328"/>
              <a:gd name="T6" fmla="*/ 630 w 630"/>
              <a:gd name="T7" fmla="*/ 328 h 328"/>
              <a:gd name="T8" fmla="*/ 625 w 630"/>
              <a:gd name="T9" fmla="*/ 321 h 328"/>
              <a:gd name="T10" fmla="*/ 248 w 630"/>
              <a:gd name="T11" fmla="*/ 207 h 328"/>
              <a:gd name="T12" fmla="*/ 254 w 630"/>
              <a:gd name="T13" fmla="*/ 226 h 328"/>
              <a:gd name="T14" fmla="*/ 226 w 630"/>
              <a:gd name="T15" fmla="*/ 245 h 328"/>
              <a:gd name="T16" fmla="*/ 238 w 630"/>
              <a:gd name="T17" fmla="*/ 249 h 328"/>
              <a:gd name="T18" fmla="*/ 266 w 630"/>
              <a:gd name="T19" fmla="*/ 230 h 328"/>
              <a:gd name="T20" fmla="*/ 259 w 630"/>
              <a:gd name="T21" fmla="*/ 211 h 328"/>
              <a:gd name="T22" fmla="*/ 248 w 630"/>
              <a:gd name="T23" fmla="*/ 207 h 328"/>
              <a:gd name="T24" fmla="*/ 160 w 630"/>
              <a:gd name="T25" fmla="*/ 163 h 328"/>
              <a:gd name="T26" fmla="*/ 175 w 630"/>
              <a:gd name="T27" fmla="*/ 189 h 328"/>
              <a:gd name="T28" fmla="*/ 176 w 630"/>
              <a:gd name="T29" fmla="*/ 192 h 328"/>
              <a:gd name="T30" fmla="*/ 206 w 630"/>
              <a:gd name="T31" fmla="*/ 190 h 328"/>
              <a:gd name="T32" fmla="*/ 190 w 630"/>
              <a:gd name="T33" fmla="*/ 182 h 328"/>
              <a:gd name="T34" fmla="*/ 182 w 630"/>
              <a:gd name="T35" fmla="*/ 182 h 328"/>
              <a:gd name="T36" fmla="*/ 178 w 630"/>
              <a:gd name="T37" fmla="*/ 175 h 328"/>
              <a:gd name="T38" fmla="*/ 160 w 630"/>
              <a:gd name="T39" fmla="*/ 163 h 328"/>
              <a:gd name="T40" fmla="*/ 15 w 630"/>
              <a:gd name="T41" fmla="*/ 0 h 328"/>
              <a:gd name="T42" fmla="*/ 0 w 630"/>
              <a:gd name="T43" fmla="*/ 17 h 328"/>
              <a:gd name="T44" fmla="*/ 4 w 630"/>
              <a:gd name="T45" fmla="*/ 27 h 328"/>
              <a:gd name="T46" fmla="*/ 19 w 630"/>
              <a:gd name="T47" fmla="*/ 9 h 328"/>
              <a:gd name="T48" fmla="*/ 15 w 630"/>
              <a:gd name="T4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0" h="328">
                <a:moveTo>
                  <a:pt x="625" y="321"/>
                </a:moveTo>
                <a:cubicBezTo>
                  <a:pt x="585" y="321"/>
                  <a:pt x="585" y="321"/>
                  <a:pt x="585" y="321"/>
                </a:cubicBezTo>
                <a:cubicBezTo>
                  <a:pt x="590" y="328"/>
                  <a:pt x="590" y="328"/>
                  <a:pt x="590" y="328"/>
                </a:cubicBezTo>
                <a:cubicBezTo>
                  <a:pt x="630" y="328"/>
                  <a:pt x="630" y="328"/>
                  <a:pt x="630" y="328"/>
                </a:cubicBezTo>
                <a:cubicBezTo>
                  <a:pt x="625" y="321"/>
                  <a:pt x="625" y="321"/>
                  <a:pt x="625" y="321"/>
                </a:cubicBezTo>
                <a:moveTo>
                  <a:pt x="248" y="207"/>
                </a:moveTo>
                <a:cubicBezTo>
                  <a:pt x="254" y="226"/>
                  <a:pt x="254" y="226"/>
                  <a:pt x="254" y="226"/>
                </a:cubicBezTo>
                <a:cubicBezTo>
                  <a:pt x="226" y="245"/>
                  <a:pt x="226" y="245"/>
                  <a:pt x="226" y="245"/>
                </a:cubicBezTo>
                <a:cubicBezTo>
                  <a:pt x="230" y="246"/>
                  <a:pt x="234" y="248"/>
                  <a:pt x="238" y="249"/>
                </a:cubicBezTo>
                <a:cubicBezTo>
                  <a:pt x="266" y="230"/>
                  <a:pt x="266" y="230"/>
                  <a:pt x="266" y="230"/>
                </a:cubicBezTo>
                <a:cubicBezTo>
                  <a:pt x="259" y="211"/>
                  <a:pt x="259" y="211"/>
                  <a:pt x="259" y="211"/>
                </a:cubicBezTo>
                <a:cubicBezTo>
                  <a:pt x="256" y="210"/>
                  <a:pt x="252" y="209"/>
                  <a:pt x="248" y="207"/>
                </a:cubicBezTo>
                <a:moveTo>
                  <a:pt x="160" y="163"/>
                </a:moveTo>
                <a:cubicBezTo>
                  <a:pt x="165" y="172"/>
                  <a:pt x="170" y="180"/>
                  <a:pt x="175" y="189"/>
                </a:cubicBezTo>
                <a:cubicBezTo>
                  <a:pt x="176" y="192"/>
                  <a:pt x="176" y="192"/>
                  <a:pt x="176" y="192"/>
                </a:cubicBezTo>
                <a:cubicBezTo>
                  <a:pt x="206" y="190"/>
                  <a:pt x="206" y="190"/>
                  <a:pt x="206" y="190"/>
                </a:cubicBezTo>
                <a:cubicBezTo>
                  <a:pt x="200" y="188"/>
                  <a:pt x="195" y="185"/>
                  <a:pt x="190" y="182"/>
                </a:cubicBezTo>
                <a:cubicBezTo>
                  <a:pt x="182" y="182"/>
                  <a:pt x="182" y="182"/>
                  <a:pt x="182" y="182"/>
                </a:cubicBezTo>
                <a:cubicBezTo>
                  <a:pt x="180" y="180"/>
                  <a:pt x="179" y="177"/>
                  <a:pt x="178" y="175"/>
                </a:cubicBezTo>
                <a:cubicBezTo>
                  <a:pt x="172" y="171"/>
                  <a:pt x="166" y="167"/>
                  <a:pt x="160" y="163"/>
                </a:cubicBezTo>
                <a:moveTo>
                  <a:pt x="15" y="0"/>
                </a:moveTo>
                <a:cubicBezTo>
                  <a:pt x="0" y="17"/>
                  <a:pt x="0" y="17"/>
                  <a:pt x="0" y="17"/>
                </a:cubicBezTo>
                <a:cubicBezTo>
                  <a:pt x="2" y="20"/>
                  <a:pt x="3" y="24"/>
                  <a:pt x="4" y="27"/>
                </a:cubicBezTo>
                <a:cubicBezTo>
                  <a:pt x="19" y="9"/>
                  <a:pt x="19" y="9"/>
                  <a:pt x="19" y="9"/>
                </a:cubicBezTo>
                <a:cubicBezTo>
                  <a:pt x="18" y="6"/>
                  <a:pt x="16" y="3"/>
                  <a:pt x="15" y="0"/>
                </a:cubicBezTo>
              </a:path>
            </a:pathLst>
          </a:custGeom>
          <a:solidFill>
            <a:srgbClr val="B7C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6" name="Freeform 697">
            <a:extLst>
              <a:ext uri="{FF2B5EF4-FFF2-40B4-BE49-F238E27FC236}">
                <a16:creationId xmlns:a16="http://schemas.microsoft.com/office/drawing/2014/main" id="{99627BF0-1BC7-4F0B-B456-E8F0B8793A13}"/>
              </a:ext>
            </a:extLst>
          </p:cNvPr>
          <p:cNvSpPr>
            <a:spLocks noEditPoints="1"/>
          </p:cNvSpPr>
          <p:nvPr/>
        </p:nvSpPr>
        <p:spPr bwMode="auto">
          <a:xfrm>
            <a:off x="10182225" y="5013325"/>
            <a:ext cx="2009775" cy="1463675"/>
          </a:xfrm>
          <a:custGeom>
            <a:avLst/>
            <a:gdLst>
              <a:gd name="T0" fmla="*/ 462 w 934"/>
              <a:gd name="T1" fmla="*/ 586 h 681"/>
              <a:gd name="T2" fmla="*/ 934 w 934"/>
              <a:gd name="T3" fmla="*/ 681 h 681"/>
              <a:gd name="T4" fmla="*/ 649 w 934"/>
              <a:gd name="T5" fmla="*/ 681 h 681"/>
              <a:gd name="T6" fmla="*/ 487 w 934"/>
              <a:gd name="T7" fmla="*/ 566 h 681"/>
              <a:gd name="T8" fmla="*/ 92 w 934"/>
              <a:gd name="T9" fmla="*/ 280 h 681"/>
              <a:gd name="T10" fmla="*/ 138 w 934"/>
              <a:gd name="T11" fmla="*/ 308 h 681"/>
              <a:gd name="T12" fmla="*/ 164 w 934"/>
              <a:gd name="T13" fmla="*/ 305 h 681"/>
              <a:gd name="T14" fmla="*/ 177 w 934"/>
              <a:gd name="T15" fmla="*/ 323 h 681"/>
              <a:gd name="T16" fmla="*/ 221 w 934"/>
              <a:gd name="T17" fmla="*/ 376 h 681"/>
              <a:gd name="T18" fmla="*/ 221 w 934"/>
              <a:gd name="T19" fmla="*/ 381 h 681"/>
              <a:gd name="T20" fmla="*/ 265 w 934"/>
              <a:gd name="T21" fmla="*/ 433 h 681"/>
              <a:gd name="T22" fmla="*/ 323 w 934"/>
              <a:gd name="T23" fmla="*/ 456 h 681"/>
              <a:gd name="T24" fmla="*/ 338 w 934"/>
              <a:gd name="T25" fmla="*/ 453 h 681"/>
              <a:gd name="T26" fmla="*/ 407 w 934"/>
              <a:gd name="T27" fmla="*/ 478 h 681"/>
              <a:gd name="T28" fmla="*/ 440 w 934"/>
              <a:gd name="T29" fmla="*/ 496 h 681"/>
              <a:gd name="T30" fmla="*/ 480 w 934"/>
              <a:gd name="T31" fmla="*/ 518 h 681"/>
              <a:gd name="T32" fmla="*/ 465 w 934"/>
              <a:gd name="T33" fmla="*/ 483 h 681"/>
              <a:gd name="T34" fmla="*/ 440 w 934"/>
              <a:gd name="T35" fmla="*/ 443 h 681"/>
              <a:gd name="T36" fmla="*/ 407 w 934"/>
              <a:gd name="T37" fmla="*/ 425 h 681"/>
              <a:gd name="T38" fmla="*/ 338 w 934"/>
              <a:gd name="T39" fmla="*/ 400 h 681"/>
              <a:gd name="T40" fmla="*/ 323 w 934"/>
              <a:gd name="T41" fmla="*/ 403 h 681"/>
              <a:gd name="T42" fmla="*/ 265 w 934"/>
              <a:gd name="T43" fmla="*/ 380 h 681"/>
              <a:gd name="T44" fmla="*/ 221 w 934"/>
              <a:gd name="T45" fmla="*/ 328 h 681"/>
              <a:gd name="T46" fmla="*/ 221 w 934"/>
              <a:gd name="T47" fmla="*/ 328 h 681"/>
              <a:gd name="T48" fmla="*/ 221 w 934"/>
              <a:gd name="T49" fmla="*/ 326 h 681"/>
              <a:gd name="T50" fmla="*/ 221 w 934"/>
              <a:gd name="T51" fmla="*/ 323 h 681"/>
              <a:gd name="T52" fmla="*/ 221 w 934"/>
              <a:gd name="T53" fmla="*/ 323 h 681"/>
              <a:gd name="T54" fmla="*/ 177 w 934"/>
              <a:gd name="T55" fmla="*/ 270 h 681"/>
              <a:gd name="T56" fmla="*/ 165 w 934"/>
              <a:gd name="T57" fmla="*/ 253 h 681"/>
              <a:gd name="T58" fmla="*/ 138 w 934"/>
              <a:gd name="T59" fmla="*/ 255 h 681"/>
              <a:gd name="T60" fmla="*/ 92 w 934"/>
              <a:gd name="T61" fmla="*/ 227 h 681"/>
              <a:gd name="T62" fmla="*/ 82 w 934"/>
              <a:gd name="T63" fmla="*/ 60 h 681"/>
              <a:gd name="T64" fmla="*/ 42 w 934"/>
              <a:gd name="T65" fmla="*/ 94 h 681"/>
              <a:gd name="T66" fmla="*/ 6 w 934"/>
              <a:gd name="T67" fmla="*/ 107 h 681"/>
              <a:gd name="T68" fmla="*/ 68 w 934"/>
              <a:gd name="T69" fmla="*/ 134 h 681"/>
              <a:gd name="T70" fmla="*/ 92 w 934"/>
              <a:gd name="T71" fmla="*/ 126 h 681"/>
              <a:gd name="T72" fmla="*/ 100 w 934"/>
              <a:gd name="T73" fmla="*/ 84 h 681"/>
              <a:gd name="T74" fmla="*/ 221 w 934"/>
              <a:gd name="T75" fmla="*/ 0 h 681"/>
              <a:gd name="T76" fmla="*/ 236 w 934"/>
              <a:gd name="T77" fmla="*/ 15 h 681"/>
              <a:gd name="T78" fmla="*/ 237 w 934"/>
              <a:gd name="T79" fmla="*/ 3 h 681"/>
              <a:gd name="T80" fmla="*/ 237 w 934"/>
              <a:gd name="T81" fmla="*/ 0 h 681"/>
              <a:gd name="T82" fmla="*/ 224 w 934"/>
              <a:gd name="T83"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681">
                <a:moveTo>
                  <a:pt x="487" y="566"/>
                </a:moveTo>
                <a:cubicBezTo>
                  <a:pt x="462" y="586"/>
                  <a:pt x="462" y="586"/>
                  <a:pt x="462" y="586"/>
                </a:cubicBezTo>
                <a:cubicBezTo>
                  <a:pt x="536" y="681"/>
                  <a:pt x="536" y="681"/>
                  <a:pt x="536" y="681"/>
                </a:cubicBezTo>
                <a:cubicBezTo>
                  <a:pt x="934" y="681"/>
                  <a:pt x="934" y="681"/>
                  <a:pt x="934" y="681"/>
                </a:cubicBezTo>
                <a:cubicBezTo>
                  <a:pt x="649" y="681"/>
                  <a:pt x="649" y="681"/>
                  <a:pt x="649" y="681"/>
                </a:cubicBezTo>
                <a:cubicBezTo>
                  <a:pt x="649" y="681"/>
                  <a:pt x="649" y="681"/>
                  <a:pt x="649" y="681"/>
                </a:cubicBezTo>
                <a:cubicBezTo>
                  <a:pt x="577" y="681"/>
                  <a:pt x="577" y="681"/>
                  <a:pt x="577" y="681"/>
                </a:cubicBezTo>
                <a:cubicBezTo>
                  <a:pt x="487" y="566"/>
                  <a:pt x="487" y="566"/>
                  <a:pt x="487" y="566"/>
                </a:cubicBezTo>
                <a:moveTo>
                  <a:pt x="88" y="211"/>
                </a:moveTo>
                <a:cubicBezTo>
                  <a:pt x="84" y="250"/>
                  <a:pt x="88" y="271"/>
                  <a:pt x="92" y="280"/>
                </a:cubicBezTo>
                <a:cubicBezTo>
                  <a:pt x="98" y="294"/>
                  <a:pt x="112" y="303"/>
                  <a:pt x="127" y="307"/>
                </a:cubicBezTo>
                <a:cubicBezTo>
                  <a:pt x="131" y="307"/>
                  <a:pt x="134" y="308"/>
                  <a:pt x="138" y="308"/>
                </a:cubicBezTo>
                <a:cubicBezTo>
                  <a:pt x="146" y="308"/>
                  <a:pt x="155" y="306"/>
                  <a:pt x="164" y="305"/>
                </a:cubicBezTo>
                <a:cubicBezTo>
                  <a:pt x="164" y="305"/>
                  <a:pt x="164" y="305"/>
                  <a:pt x="164" y="305"/>
                </a:cubicBezTo>
                <a:cubicBezTo>
                  <a:pt x="166" y="307"/>
                  <a:pt x="167" y="309"/>
                  <a:pt x="168" y="310"/>
                </a:cubicBezTo>
                <a:cubicBezTo>
                  <a:pt x="171" y="314"/>
                  <a:pt x="174" y="318"/>
                  <a:pt x="177" y="323"/>
                </a:cubicBezTo>
                <a:cubicBezTo>
                  <a:pt x="188" y="340"/>
                  <a:pt x="198" y="357"/>
                  <a:pt x="214" y="370"/>
                </a:cubicBezTo>
                <a:cubicBezTo>
                  <a:pt x="216" y="372"/>
                  <a:pt x="219" y="374"/>
                  <a:pt x="221" y="376"/>
                </a:cubicBezTo>
                <a:cubicBezTo>
                  <a:pt x="221" y="377"/>
                  <a:pt x="221" y="377"/>
                  <a:pt x="221" y="377"/>
                </a:cubicBezTo>
                <a:cubicBezTo>
                  <a:pt x="221" y="378"/>
                  <a:pt x="221" y="380"/>
                  <a:pt x="221" y="381"/>
                </a:cubicBezTo>
                <a:cubicBezTo>
                  <a:pt x="220" y="386"/>
                  <a:pt x="222" y="391"/>
                  <a:pt x="226" y="398"/>
                </a:cubicBezTo>
                <a:cubicBezTo>
                  <a:pt x="237" y="415"/>
                  <a:pt x="243" y="421"/>
                  <a:pt x="265" y="433"/>
                </a:cubicBezTo>
                <a:cubicBezTo>
                  <a:pt x="282" y="442"/>
                  <a:pt x="298" y="457"/>
                  <a:pt x="316" y="457"/>
                </a:cubicBezTo>
                <a:cubicBezTo>
                  <a:pt x="318" y="457"/>
                  <a:pt x="321" y="457"/>
                  <a:pt x="323" y="456"/>
                </a:cubicBezTo>
                <a:cubicBezTo>
                  <a:pt x="326" y="456"/>
                  <a:pt x="330" y="454"/>
                  <a:pt x="336" y="450"/>
                </a:cubicBezTo>
                <a:cubicBezTo>
                  <a:pt x="338" y="453"/>
                  <a:pt x="338" y="453"/>
                  <a:pt x="338" y="453"/>
                </a:cubicBezTo>
                <a:cubicBezTo>
                  <a:pt x="351" y="471"/>
                  <a:pt x="371" y="480"/>
                  <a:pt x="391" y="480"/>
                </a:cubicBezTo>
                <a:cubicBezTo>
                  <a:pt x="396" y="480"/>
                  <a:pt x="402" y="479"/>
                  <a:pt x="407" y="478"/>
                </a:cubicBezTo>
                <a:cubicBezTo>
                  <a:pt x="410" y="480"/>
                  <a:pt x="414" y="482"/>
                  <a:pt x="417" y="483"/>
                </a:cubicBezTo>
                <a:cubicBezTo>
                  <a:pt x="424" y="488"/>
                  <a:pt x="432" y="493"/>
                  <a:pt x="440" y="496"/>
                </a:cubicBezTo>
                <a:cubicBezTo>
                  <a:pt x="440" y="496"/>
                  <a:pt x="440" y="496"/>
                  <a:pt x="440" y="496"/>
                </a:cubicBezTo>
                <a:cubicBezTo>
                  <a:pt x="455" y="504"/>
                  <a:pt x="469" y="511"/>
                  <a:pt x="480" y="518"/>
                </a:cubicBezTo>
                <a:cubicBezTo>
                  <a:pt x="488" y="512"/>
                  <a:pt x="488" y="512"/>
                  <a:pt x="488" y="512"/>
                </a:cubicBezTo>
                <a:cubicBezTo>
                  <a:pt x="465" y="483"/>
                  <a:pt x="465" y="483"/>
                  <a:pt x="465" y="483"/>
                </a:cubicBezTo>
                <a:cubicBezTo>
                  <a:pt x="484" y="468"/>
                  <a:pt x="484" y="468"/>
                  <a:pt x="484" y="468"/>
                </a:cubicBezTo>
                <a:cubicBezTo>
                  <a:pt x="472" y="460"/>
                  <a:pt x="457" y="452"/>
                  <a:pt x="440" y="443"/>
                </a:cubicBezTo>
                <a:cubicBezTo>
                  <a:pt x="432" y="440"/>
                  <a:pt x="424" y="435"/>
                  <a:pt x="417" y="430"/>
                </a:cubicBezTo>
                <a:cubicBezTo>
                  <a:pt x="414" y="429"/>
                  <a:pt x="410" y="427"/>
                  <a:pt x="407" y="425"/>
                </a:cubicBezTo>
                <a:cubicBezTo>
                  <a:pt x="402" y="426"/>
                  <a:pt x="396" y="427"/>
                  <a:pt x="391" y="427"/>
                </a:cubicBezTo>
                <a:cubicBezTo>
                  <a:pt x="371" y="427"/>
                  <a:pt x="351" y="418"/>
                  <a:pt x="338" y="400"/>
                </a:cubicBezTo>
                <a:cubicBezTo>
                  <a:pt x="336" y="397"/>
                  <a:pt x="336" y="397"/>
                  <a:pt x="336" y="397"/>
                </a:cubicBezTo>
                <a:cubicBezTo>
                  <a:pt x="330" y="401"/>
                  <a:pt x="326" y="403"/>
                  <a:pt x="323" y="403"/>
                </a:cubicBezTo>
                <a:cubicBezTo>
                  <a:pt x="321" y="404"/>
                  <a:pt x="318" y="404"/>
                  <a:pt x="316" y="404"/>
                </a:cubicBezTo>
                <a:cubicBezTo>
                  <a:pt x="298" y="404"/>
                  <a:pt x="282" y="389"/>
                  <a:pt x="265" y="380"/>
                </a:cubicBezTo>
                <a:cubicBezTo>
                  <a:pt x="243" y="368"/>
                  <a:pt x="237" y="362"/>
                  <a:pt x="226" y="345"/>
                </a:cubicBezTo>
                <a:cubicBezTo>
                  <a:pt x="222" y="338"/>
                  <a:pt x="220" y="333"/>
                  <a:pt x="221" y="328"/>
                </a:cubicBezTo>
                <a:cubicBezTo>
                  <a:pt x="221" y="328"/>
                  <a:pt x="221" y="328"/>
                  <a:pt x="221" y="328"/>
                </a:cubicBezTo>
                <a:cubicBezTo>
                  <a:pt x="221" y="328"/>
                  <a:pt x="221" y="328"/>
                  <a:pt x="221" y="328"/>
                </a:cubicBezTo>
                <a:cubicBezTo>
                  <a:pt x="221" y="327"/>
                  <a:pt x="221" y="327"/>
                  <a:pt x="221" y="326"/>
                </a:cubicBezTo>
                <a:cubicBezTo>
                  <a:pt x="221" y="326"/>
                  <a:pt x="221" y="326"/>
                  <a:pt x="221" y="326"/>
                </a:cubicBezTo>
                <a:cubicBezTo>
                  <a:pt x="221" y="326"/>
                  <a:pt x="221" y="326"/>
                  <a:pt x="221" y="326"/>
                </a:cubicBezTo>
                <a:cubicBezTo>
                  <a:pt x="221" y="325"/>
                  <a:pt x="221" y="324"/>
                  <a:pt x="221" y="323"/>
                </a:cubicBezTo>
                <a:cubicBezTo>
                  <a:pt x="221" y="323"/>
                  <a:pt x="221" y="323"/>
                  <a:pt x="221" y="323"/>
                </a:cubicBezTo>
                <a:cubicBezTo>
                  <a:pt x="221" y="323"/>
                  <a:pt x="221" y="323"/>
                  <a:pt x="221" y="323"/>
                </a:cubicBezTo>
                <a:cubicBezTo>
                  <a:pt x="219" y="321"/>
                  <a:pt x="216" y="319"/>
                  <a:pt x="214" y="317"/>
                </a:cubicBezTo>
                <a:cubicBezTo>
                  <a:pt x="198" y="304"/>
                  <a:pt x="188" y="287"/>
                  <a:pt x="177" y="270"/>
                </a:cubicBezTo>
                <a:cubicBezTo>
                  <a:pt x="174" y="265"/>
                  <a:pt x="171" y="261"/>
                  <a:pt x="168" y="257"/>
                </a:cubicBezTo>
                <a:cubicBezTo>
                  <a:pt x="167" y="256"/>
                  <a:pt x="166" y="255"/>
                  <a:pt x="165" y="253"/>
                </a:cubicBezTo>
                <a:cubicBezTo>
                  <a:pt x="165" y="253"/>
                  <a:pt x="164" y="252"/>
                  <a:pt x="164" y="252"/>
                </a:cubicBezTo>
                <a:cubicBezTo>
                  <a:pt x="155" y="253"/>
                  <a:pt x="146" y="255"/>
                  <a:pt x="138" y="255"/>
                </a:cubicBezTo>
                <a:cubicBezTo>
                  <a:pt x="134" y="255"/>
                  <a:pt x="131" y="254"/>
                  <a:pt x="127" y="254"/>
                </a:cubicBezTo>
                <a:cubicBezTo>
                  <a:pt x="112" y="250"/>
                  <a:pt x="98" y="241"/>
                  <a:pt x="92" y="227"/>
                </a:cubicBezTo>
                <a:cubicBezTo>
                  <a:pt x="91" y="224"/>
                  <a:pt x="89" y="218"/>
                  <a:pt x="88" y="211"/>
                </a:cubicBezTo>
                <a:moveTo>
                  <a:pt x="82" y="60"/>
                </a:moveTo>
                <a:cubicBezTo>
                  <a:pt x="78" y="66"/>
                  <a:pt x="74" y="72"/>
                  <a:pt x="68" y="81"/>
                </a:cubicBezTo>
                <a:cubicBezTo>
                  <a:pt x="62" y="90"/>
                  <a:pt x="52" y="94"/>
                  <a:pt x="42" y="94"/>
                </a:cubicBezTo>
                <a:cubicBezTo>
                  <a:pt x="31" y="94"/>
                  <a:pt x="19" y="89"/>
                  <a:pt x="12" y="81"/>
                </a:cubicBezTo>
                <a:cubicBezTo>
                  <a:pt x="10" y="89"/>
                  <a:pt x="8" y="97"/>
                  <a:pt x="6" y="107"/>
                </a:cubicBezTo>
                <a:cubicBezTo>
                  <a:pt x="0" y="131"/>
                  <a:pt x="22" y="147"/>
                  <a:pt x="42" y="147"/>
                </a:cubicBezTo>
                <a:cubicBezTo>
                  <a:pt x="52" y="147"/>
                  <a:pt x="62" y="143"/>
                  <a:pt x="68" y="134"/>
                </a:cubicBezTo>
                <a:cubicBezTo>
                  <a:pt x="74" y="125"/>
                  <a:pt x="78" y="119"/>
                  <a:pt x="82" y="113"/>
                </a:cubicBezTo>
                <a:cubicBezTo>
                  <a:pt x="92" y="126"/>
                  <a:pt x="92" y="126"/>
                  <a:pt x="92" y="126"/>
                </a:cubicBezTo>
                <a:cubicBezTo>
                  <a:pt x="94" y="115"/>
                  <a:pt x="97" y="102"/>
                  <a:pt x="100" y="89"/>
                </a:cubicBezTo>
                <a:cubicBezTo>
                  <a:pt x="100" y="87"/>
                  <a:pt x="100" y="85"/>
                  <a:pt x="100" y="84"/>
                </a:cubicBezTo>
                <a:cubicBezTo>
                  <a:pt x="82" y="60"/>
                  <a:pt x="82" y="60"/>
                  <a:pt x="82" y="60"/>
                </a:cubicBezTo>
                <a:moveTo>
                  <a:pt x="221" y="0"/>
                </a:moveTo>
                <a:cubicBezTo>
                  <a:pt x="233" y="15"/>
                  <a:pt x="233" y="15"/>
                  <a:pt x="233" y="15"/>
                </a:cubicBezTo>
                <a:cubicBezTo>
                  <a:pt x="234" y="15"/>
                  <a:pt x="235" y="15"/>
                  <a:pt x="236" y="15"/>
                </a:cubicBezTo>
                <a:cubicBezTo>
                  <a:pt x="237" y="17"/>
                  <a:pt x="238" y="18"/>
                  <a:pt x="239" y="20"/>
                </a:cubicBezTo>
                <a:cubicBezTo>
                  <a:pt x="238" y="14"/>
                  <a:pt x="237" y="8"/>
                  <a:pt x="237" y="3"/>
                </a:cubicBezTo>
                <a:cubicBezTo>
                  <a:pt x="237" y="3"/>
                  <a:pt x="237" y="3"/>
                  <a:pt x="237" y="3"/>
                </a:cubicBezTo>
                <a:cubicBezTo>
                  <a:pt x="237" y="2"/>
                  <a:pt x="237" y="1"/>
                  <a:pt x="237" y="0"/>
                </a:cubicBezTo>
                <a:cubicBezTo>
                  <a:pt x="233" y="0"/>
                  <a:pt x="229" y="0"/>
                  <a:pt x="224" y="0"/>
                </a:cubicBezTo>
                <a:cubicBezTo>
                  <a:pt x="224" y="0"/>
                  <a:pt x="224" y="0"/>
                  <a:pt x="224" y="0"/>
                </a:cubicBezTo>
                <a:cubicBezTo>
                  <a:pt x="223" y="0"/>
                  <a:pt x="222" y="0"/>
                  <a:pt x="221" y="0"/>
                </a:cubicBezTo>
              </a:path>
            </a:pathLst>
          </a:custGeom>
          <a:solidFill>
            <a:srgbClr val="E7F6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7" name="Freeform 698">
            <a:extLst>
              <a:ext uri="{FF2B5EF4-FFF2-40B4-BE49-F238E27FC236}">
                <a16:creationId xmlns:a16="http://schemas.microsoft.com/office/drawing/2014/main" id="{3DC9150C-BEC7-47DE-8870-3C735D4E0CEF}"/>
              </a:ext>
            </a:extLst>
          </p:cNvPr>
          <p:cNvSpPr>
            <a:spLocks/>
          </p:cNvSpPr>
          <p:nvPr/>
        </p:nvSpPr>
        <p:spPr bwMode="auto">
          <a:xfrm>
            <a:off x="10175875" y="4740275"/>
            <a:ext cx="2016125" cy="1736725"/>
          </a:xfrm>
          <a:custGeom>
            <a:avLst/>
            <a:gdLst>
              <a:gd name="T0" fmla="*/ 653 w 937"/>
              <a:gd name="T1" fmla="*/ 414 h 808"/>
              <a:gd name="T2" fmla="*/ 651 w 937"/>
              <a:gd name="T3" fmla="*/ 409 h 808"/>
              <a:gd name="T4" fmla="*/ 520 w 937"/>
              <a:gd name="T5" fmla="*/ 216 h 808"/>
              <a:gd name="T6" fmla="*/ 418 w 937"/>
              <a:gd name="T7" fmla="*/ 90 h 808"/>
              <a:gd name="T8" fmla="*/ 319 w 937"/>
              <a:gd name="T9" fmla="*/ 51 h 808"/>
              <a:gd name="T10" fmla="*/ 179 w 937"/>
              <a:gd name="T11" fmla="*/ 3 h 808"/>
              <a:gd name="T12" fmla="*/ 50 w 937"/>
              <a:gd name="T13" fmla="*/ 78 h 808"/>
              <a:gd name="T14" fmla="*/ 9 w 937"/>
              <a:gd name="T15" fmla="*/ 181 h 808"/>
              <a:gd name="T16" fmla="*/ 71 w 937"/>
              <a:gd name="T17" fmla="*/ 208 h 808"/>
              <a:gd name="T18" fmla="*/ 85 w 937"/>
              <a:gd name="T19" fmla="*/ 187 h 808"/>
              <a:gd name="T20" fmla="*/ 89 w 937"/>
              <a:gd name="T21" fmla="*/ 180 h 808"/>
              <a:gd name="T22" fmla="*/ 94 w 937"/>
              <a:gd name="T23" fmla="*/ 171 h 808"/>
              <a:gd name="T24" fmla="*/ 123 w 937"/>
              <a:gd name="T25" fmla="*/ 133 h 808"/>
              <a:gd name="T26" fmla="*/ 128 w 937"/>
              <a:gd name="T27" fmla="*/ 131 h 808"/>
              <a:gd name="T28" fmla="*/ 167 w 937"/>
              <a:gd name="T29" fmla="*/ 125 h 808"/>
              <a:gd name="T30" fmla="*/ 198 w 937"/>
              <a:gd name="T31" fmla="*/ 126 h 808"/>
              <a:gd name="T32" fmla="*/ 207 w 937"/>
              <a:gd name="T33" fmla="*/ 126 h 808"/>
              <a:gd name="T34" fmla="*/ 227 w 937"/>
              <a:gd name="T35" fmla="*/ 127 h 808"/>
              <a:gd name="T36" fmla="*/ 240 w 937"/>
              <a:gd name="T37" fmla="*/ 127 h 808"/>
              <a:gd name="T38" fmla="*/ 240 w 937"/>
              <a:gd name="T39" fmla="*/ 130 h 808"/>
              <a:gd name="T40" fmla="*/ 242 w 937"/>
              <a:gd name="T41" fmla="*/ 147 h 808"/>
              <a:gd name="T42" fmla="*/ 248 w 937"/>
              <a:gd name="T43" fmla="*/ 174 h 808"/>
              <a:gd name="T44" fmla="*/ 255 w 937"/>
              <a:gd name="T45" fmla="*/ 189 h 808"/>
              <a:gd name="T46" fmla="*/ 257 w 937"/>
              <a:gd name="T47" fmla="*/ 194 h 808"/>
              <a:gd name="T48" fmla="*/ 281 w 937"/>
              <a:gd name="T49" fmla="*/ 215 h 808"/>
              <a:gd name="T50" fmla="*/ 348 w 937"/>
              <a:gd name="T51" fmla="*/ 246 h 808"/>
              <a:gd name="T52" fmla="*/ 354 w 937"/>
              <a:gd name="T53" fmla="*/ 270 h 808"/>
              <a:gd name="T54" fmla="*/ 349 w 937"/>
              <a:gd name="T55" fmla="*/ 283 h 808"/>
              <a:gd name="T56" fmla="*/ 309 w 937"/>
              <a:gd name="T57" fmla="*/ 370 h 808"/>
              <a:gd name="T58" fmla="*/ 296 w 937"/>
              <a:gd name="T59" fmla="*/ 423 h 808"/>
              <a:gd name="T60" fmla="*/ 378 w 937"/>
              <a:gd name="T61" fmla="*/ 527 h 808"/>
              <a:gd name="T62" fmla="*/ 490 w 937"/>
              <a:gd name="T63" fmla="*/ 597 h 808"/>
              <a:gd name="T64" fmla="*/ 503 w 937"/>
              <a:gd name="T65" fmla="*/ 609 h 808"/>
              <a:gd name="T66" fmla="*/ 505 w 937"/>
              <a:gd name="T67" fmla="*/ 612 h 808"/>
              <a:gd name="T68" fmla="*/ 652 w 937"/>
              <a:gd name="T69" fmla="*/ 808 h 808"/>
              <a:gd name="T70" fmla="*/ 937 w 937"/>
              <a:gd name="T71" fmla="*/ 808 h 808"/>
              <a:gd name="T72" fmla="*/ 937 w 937"/>
              <a:gd name="T73" fmla="*/ 800 h 808"/>
              <a:gd name="T74" fmla="*/ 693 w 937"/>
              <a:gd name="T75" fmla="*/ 484 h 808"/>
              <a:gd name="T76" fmla="*/ 653 w 937"/>
              <a:gd name="T77" fmla="*/ 41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7" h="808">
                <a:moveTo>
                  <a:pt x="653" y="414"/>
                </a:moveTo>
                <a:cubicBezTo>
                  <a:pt x="653" y="413"/>
                  <a:pt x="652" y="411"/>
                  <a:pt x="651" y="409"/>
                </a:cubicBezTo>
                <a:cubicBezTo>
                  <a:pt x="615" y="350"/>
                  <a:pt x="566" y="276"/>
                  <a:pt x="520" y="216"/>
                </a:cubicBezTo>
                <a:cubicBezTo>
                  <a:pt x="490" y="176"/>
                  <a:pt x="442" y="113"/>
                  <a:pt x="418" y="90"/>
                </a:cubicBezTo>
                <a:cubicBezTo>
                  <a:pt x="387" y="61"/>
                  <a:pt x="386" y="74"/>
                  <a:pt x="319" y="51"/>
                </a:cubicBezTo>
                <a:cubicBezTo>
                  <a:pt x="276" y="36"/>
                  <a:pt x="225" y="0"/>
                  <a:pt x="179" y="3"/>
                </a:cubicBezTo>
                <a:cubicBezTo>
                  <a:pt x="132" y="6"/>
                  <a:pt x="79" y="41"/>
                  <a:pt x="50" y="78"/>
                </a:cubicBezTo>
                <a:cubicBezTo>
                  <a:pt x="21" y="115"/>
                  <a:pt x="20" y="136"/>
                  <a:pt x="9" y="181"/>
                </a:cubicBezTo>
                <a:cubicBezTo>
                  <a:pt x="0" y="217"/>
                  <a:pt x="53" y="235"/>
                  <a:pt x="71" y="208"/>
                </a:cubicBezTo>
                <a:cubicBezTo>
                  <a:pt x="77" y="199"/>
                  <a:pt x="81" y="193"/>
                  <a:pt x="85" y="187"/>
                </a:cubicBezTo>
                <a:cubicBezTo>
                  <a:pt x="87" y="185"/>
                  <a:pt x="88" y="183"/>
                  <a:pt x="89" y="180"/>
                </a:cubicBezTo>
                <a:cubicBezTo>
                  <a:pt x="91" y="178"/>
                  <a:pt x="92" y="175"/>
                  <a:pt x="94" y="171"/>
                </a:cubicBezTo>
                <a:cubicBezTo>
                  <a:pt x="101" y="157"/>
                  <a:pt x="110" y="142"/>
                  <a:pt x="123" y="133"/>
                </a:cubicBezTo>
                <a:cubicBezTo>
                  <a:pt x="125" y="132"/>
                  <a:pt x="126" y="131"/>
                  <a:pt x="128" y="131"/>
                </a:cubicBezTo>
                <a:cubicBezTo>
                  <a:pt x="140" y="125"/>
                  <a:pt x="154" y="125"/>
                  <a:pt x="167" y="125"/>
                </a:cubicBezTo>
                <a:cubicBezTo>
                  <a:pt x="177" y="125"/>
                  <a:pt x="187" y="126"/>
                  <a:pt x="198" y="126"/>
                </a:cubicBezTo>
                <a:cubicBezTo>
                  <a:pt x="201" y="126"/>
                  <a:pt x="204" y="126"/>
                  <a:pt x="207" y="126"/>
                </a:cubicBezTo>
                <a:cubicBezTo>
                  <a:pt x="214" y="126"/>
                  <a:pt x="221" y="127"/>
                  <a:pt x="227" y="127"/>
                </a:cubicBezTo>
                <a:cubicBezTo>
                  <a:pt x="232" y="127"/>
                  <a:pt x="236" y="127"/>
                  <a:pt x="240" y="127"/>
                </a:cubicBezTo>
                <a:cubicBezTo>
                  <a:pt x="240" y="128"/>
                  <a:pt x="240" y="129"/>
                  <a:pt x="240" y="130"/>
                </a:cubicBezTo>
                <a:cubicBezTo>
                  <a:pt x="240" y="135"/>
                  <a:pt x="241" y="141"/>
                  <a:pt x="242" y="147"/>
                </a:cubicBezTo>
                <a:cubicBezTo>
                  <a:pt x="243" y="156"/>
                  <a:pt x="245" y="165"/>
                  <a:pt x="248" y="174"/>
                </a:cubicBezTo>
                <a:cubicBezTo>
                  <a:pt x="250" y="179"/>
                  <a:pt x="252" y="184"/>
                  <a:pt x="255" y="189"/>
                </a:cubicBezTo>
                <a:cubicBezTo>
                  <a:pt x="256" y="191"/>
                  <a:pt x="256" y="192"/>
                  <a:pt x="257" y="194"/>
                </a:cubicBezTo>
                <a:cubicBezTo>
                  <a:pt x="264" y="204"/>
                  <a:pt x="271" y="212"/>
                  <a:pt x="281" y="215"/>
                </a:cubicBezTo>
                <a:cubicBezTo>
                  <a:pt x="311" y="246"/>
                  <a:pt x="334" y="220"/>
                  <a:pt x="348" y="246"/>
                </a:cubicBezTo>
                <a:cubicBezTo>
                  <a:pt x="354" y="257"/>
                  <a:pt x="356" y="262"/>
                  <a:pt x="354" y="270"/>
                </a:cubicBezTo>
                <a:cubicBezTo>
                  <a:pt x="353" y="273"/>
                  <a:pt x="351" y="277"/>
                  <a:pt x="349" y="283"/>
                </a:cubicBezTo>
                <a:cubicBezTo>
                  <a:pt x="336" y="312"/>
                  <a:pt x="322" y="341"/>
                  <a:pt x="309" y="370"/>
                </a:cubicBezTo>
                <a:cubicBezTo>
                  <a:pt x="302" y="387"/>
                  <a:pt x="291" y="405"/>
                  <a:pt x="296" y="423"/>
                </a:cubicBezTo>
                <a:cubicBezTo>
                  <a:pt x="305" y="450"/>
                  <a:pt x="309" y="461"/>
                  <a:pt x="378" y="527"/>
                </a:cubicBezTo>
                <a:cubicBezTo>
                  <a:pt x="412" y="560"/>
                  <a:pt x="463" y="577"/>
                  <a:pt x="490" y="597"/>
                </a:cubicBezTo>
                <a:cubicBezTo>
                  <a:pt x="496" y="601"/>
                  <a:pt x="500" y="605"/>
                  <a:pt x="503" y="609"/>
                </a:cubicBezTo>
                <a:cubicBezTo>
                  <a:pt x="504" y="610"/>
                  <a:pt x="504" y="611"/>
                  <a:pt x="505" y="612"/>
                </a:cubicBezTo>
                <a:cubicBezTo>
                  <a:pt x="509" y="620"/>
                  <a:pt x="568" y="697"/>
                  <a:pt x="652" y="808"/>
                </a:cubicBezTo>
                <a:cubicBezTo>
                  <a:pt x="937" y="808"/>
                  <a:pt x="937" y="808"/>
                  <a:pt x="937" y="808"/>
                </a:cubicBezTo>
                <a:cubicBezTo>
                  <a:pt x="937" y="800"/>
                  <a:pt x="937" y="800"/>
                  <a:pt x="937" y="800"/>
                </a:cubicBezTo>
                <a:cubicBezTo>
                  <a:pt x="799" y="622"/>
                  <a:pt x="694" y="486"/>
                  <a:pt x="693" y="484"/>
                </a:cubicBezTo>
                <a:cubicBezTo>
                  <a:pt x="679" y="458"/>
                  <a:pt x="666" y="435"/>
                  <a:pt x="653" y="414"/>
                </a:cubicBezTo>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8" name="Freeform 699">
            <a:extLst>
              <a:ext uri="{FF2B5EF4-FFF2-40B4-BE49-F238E27FC236}">
                <a16:creationId xmlns:a16="http://schemas.microsoft.com/office/drawing/2014/main" id="{65BAD499-DAEF-4B8A-9857-3BECF708CCAB}"/>
              </a:ext>
            </a:extLst>
          </p:cNvPr>
          <p:cNvSpPr>
            <a:spLocks/>
          </p:cNvSpPr>
          <p:nvPr/>
        </p:nvSpPr>
        <p:spPr bwMode="auto">
          <a:xfrm>
            <a:off x="10655300" y="5427663"/>
            <a:ext cx="412750" cy="461963"/>
          </a:xfrm>
          <a:custGeom>
            <a:avLst/>
            <a:gdLst>
              <a:gd name="T0" fmla="*/ 45 w 192"/>
              <a:gd name="T1" fmla="*/ 187 h 215"/>
              <a:gd name="T2" fmla="*/ 103 w 192"/>
              <a:gd name="T3" fmla="*/ 210 h 215"/>
              <a:gd name="T4" fmla="*/ 131 w 192"/>
              <a:gd name="T5" fmla="*/ 195 h 215"/>
              <a:gd name="T6" fmla="*/ 167 w 192"/>
              <a:gd name="T7" fmla="*/ 167 h 215"/>
              <a:gd name="T8" fmla="*/ 162 w 192"/>
              <a:gd name="T9" fmla="*/ 88 h 215"/>
              <a:gd name="T10" fmla="*/ 141 w 192"/>
              <a:gd name="T11" fmla="*/ 57 h 215"/>
              <a:gd name="T12" fmla="*/ 137 w 192"/>
              <a:gd name="T13" fmla="*/ 88 h 215"/>
              <a:gd name="T14" fmla="*/ 127 w 192"/>
              <a:gd name="T15" fmla="*/ 97 h 215"/>
              <a:gd name="T16" fmla="*/ 58 w 192"/>
              <a:gd name="T17" fmla="*/ 143 h 215"/>
              <a:gd name="T18" fmla="*/ 71 w 192"/>
              <a:gd name="T19" fmla="*/ 122 h 215"/>
              <a:gd name="T20" fmla="*/ 77 w 192"/>
              <a:gd name="T21" fmla="*/ 112 h 215"/>
              <a:gd name="T22" fmla="*/ 114 w 192"/>
              <a:gd name="T23" fmla="*/ 42 h 215"/>
              <a:gd name="T24" fmla="*/ 113 w 192"/>
              <a:gd name="T25" fmla="*/ 36 h 215"/>
              <a:gd name="T26" fmla="*/ 113 w 192"/>
              <a:gd name="T27" fmla="*/ 36 h 215"/>
              <a:gd name="T28" fmla="*/ 112 w 192"/>
              <a:gd name="T29" fmla="*/ 33 h 215"/>
              <a:gd name="T30" fmla="*/ 110 w 192"/>
              <a:gd name="T31" fmla="*/ 25 h 215"/>
              <a:gd name="T32" fmla="*/ 92 w 192"/>
              <a:gd name="T33" fmla="*/ 1 h 215"/>
              <a:gd name="T34" fmla="*/ 83 w 192"/>
              <a:gd name="T35" fmla="*/ 1 h 215"/>
              <a:gd name="T36" fmla="*/ 44 w 192"/>
              <a:gd name="T37" fmla="*/ 56 h 215"/>
              <a:gd name="T38" fmla="*/ 36 w 192"/>
              <a:gd name="T39" fmla="*/ 66 h 215"/>
              <a:gd name="T40" fmla="*/ 11 w 192"/>
              <a:gd name="T41" fmla="*/ 107 h 215"/>
              <a:gd name="T42" fmla="*/ 1 w 192"/>
              <a:gd name="T43" fmla="*/ 130 h 215"/>
              <a:gd name="T44" fmla="*/ 1 w 192"/>
              <a:gd name="T45" fmla="*/ 135 h 215"/>
              <a:gd name="T46" fmla="*/ 6 w 192"/>
              <a:gd name="T47" fmla="*/ 152 h 215"/>
              <a:gd name="T48" fmla="*/ 45 w 192"/>
              <a:gd name="T49" fmla="*/ 18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215">
                <a:moveTo>
                  <a:pt x="45" y="187"/>
                </a:moveTo>
                <a:cubicBezTo>
                  <a:pt x="64" y="197"/>
                  <a:pt x="82" y="215"/>
                  <a:pt x="103" y="210"/>
                </a:cubicBezTo>
                <a:cubicBezTo>
                  <a:pt x="108" y="209"/>
                  <a:pt x="119" y="203"/>
                  <a:pt x="131" y="195"/>
                </a:cubicBezTo>
                <a:cubicBezTo>
                  <a:pt x="147" y="184"/>
                  <a:pt x="163" y="172"/>
                  <a:pt x="167" y="167"/>
                </a:cubicBezTo>
                <a:cubicBezTo>
                  <a:pt x="192" y="140"/>
                  <a:pt x="168" y="125"/>
                  <a:pt x="162" y="88"/>
                </a:cubicBezTo>
                <a:cubicBezTo>
                  <a:pt x="159" y="75"/>
                  <a:pt x="154" y="61"/>
                  <a:pt x="141" y="57"/>
                </a:cubicBezTo>
                <a:cubicBezTo>
                  <a:pt x="129" y="54"/>
                  <a:pt x="144" y="78"/>
                  <a:pt x="137" y="88"/>
                </a:cubicBezTo>
                <a:cubicBezTo>
                  <a:pt x="135" y="90"/>
                  <a:pt x="132" y="93"/>
                  <a:pt x="127" y="97"/>
                </a:cubicBezTo>
                <a:cubicBezTo>
                  <a:pt x="106" y="114"/>
                  <a:pt x="64" y="135"/>
                  <a:pt x="58" y="143"/>
                </a:cubicBezTo>
                <a:cubicBezTo>
                  <a:pt x="63" y="130"/>
                  <a:pt x="66" y="129"/>
                  <a:pt x="71" y="122"/>
                </a:cubicBezTo>
                <a:cubicBezTo>
                  <a:pt x="75" y="117"/>
                  <a:pt x="77" y="114"/>
                  <a:pt x="77" y="112"/>
                </a:cubicBezTo>
                <a:cubicBezTo>
                  <a:pt x="89" y="88"/>
                  <a:pt x="99" y="63"/>
                  <a:pt x="114" y="42"/>
                </a:cubicBezTo>
                <a:cubicBezTo>
                  <a:pt x="114" y="40"/>
                  <a:pt x="113" y="38"/>
                  <a:pt x="113" y="36"/>
                </a:cubicBezTo>
                <a:cubicBezTo>
                  <a:pt x="113" y="36"/>
                  <a:pt x="113" y="36"/>
                  <a:pt x="113" y="36"/>
                </a:cubicBezTo>
                <a:cubicBezTo>
                  <a:pt x="113" y="35"/>
                  <a:pt x="112" y="34"/>
                  <a:pt x="112" y="33"/>
                </a:cubicBezTo>
                <a:cubicBezTo>
                  <a:pt x="112" y="30"/>
                  <a:pt x="111" y="27"/>
                  <a:pt x="110" y="25"/>
                </a:cubicBezTo>
                <a:cubicBezTo>
                  <a:pt x="107" y="14"/>
                  <a:pt x="102" y="4"/>
                  <a:pt x="92" y="1"/>
                </a:cubicBezTo>
                <a:cubicBezTo>
                  <a:pt x="89" y="0"/>
                  <a:pt x="86" y="0"/>
                  <a:pt x="83" y="1"/>
                </a:cubicBezTo>
                <a:cubicBezTo>
                  <a:pt x="69" y="18"/>
                  <a:pt x="63" y="41"/>
                  <a:pt x="44" y="56"/>
                </a:cubicBezTo>
                <a:cubicBezTo>
                  <a:pt x="41" y="59"/>
                  <a:pt x="39" y="62"/>
                  <a:pt x="36" y="66"/>
                </a:cubicBezTo>
                <a:cubicBezTo>
                  <a:pt x="26" y="78"/>
                  <a:pt x="16" y="96"/>
                  <a:pt x="11" y="107"/>
                </a:cubicBezTo>
                <a:cubicBezTo>
                  <a:pt x="7" y="116"/>
                  <a:pt x="3" y="123"/>
                  <a:pt x="1" y="130"/>
                </a:cubicBezTo>
                <a:cubicBezTo>
                  <a:pt x="1" y="132"/>
                  <a:pt x="1" y="133"/>
                  <a:pt x="1" y="135"/>
                </a:cubicBezTo>
                <a:cubicBezTo>
                  <a:pt x="0" y="140"/>
                  <a:pt x="2" y="145"/>
                  <a:pt x="6" y="152"/>
                </a:cubicBezTo>
                <a:cubicBezTo>
                  <a:pt x="17" y="169"/>
                  <a:pt x="23" y="175"/>
                  <a:pt x="45" y="187"/>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9" name="Freeform 700">
            <a:extLst>
              <a:ext uri="{FF2B5EF4-FFF2-40B4-BE49-F238E27FC236}">
                <a16:creationId xmlns:a16="http://schemas.microsoft.com/office/drawing/2014/main" id="{EADCFCED-5BE1-4425-8C14-FA10B47E4EC5}"/>
              </a:ext>
            </a:extLst>
          </p:cNvPr>
          <p:cNvSpPr>
            <a:spLocks noEditPoints="1"/>
          </p:cNvSpPr>
          <p:nvPr/>
        </p:nvSpPr>
        <p:spPr bwMode="auto">
          <a:xfrm>
            <a:off x="10658475" y="5713413"/>
            <a:ext cx="0" cy="4763"/>
          </a:xfrm>
          <a:custGeom>
            <a:avLst/>
            <a:gdLst>
              <a:gd name="T0" fmla="*/ 0 h 2"/>
              <a:gd name="T1" fmla="*/ 2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1"/>
                  <a:pt x="0" y="1"/>
                  <a:pt x="0" y="0"/>
                </a:cubicBezTo>
                <a:moveTo>
                  <a:pt x="0" y="0"/>
                </a:moveTo>
                <a:cubicBezTo>
                  <a:pt x="0" y="0"/>
                  <a:pt x="0" y="0"/>
                  <a:pt x="0" y="0"/>
                </a:cubicBezTo>
                <a:cubicBezTo>
                  <a:pt x="0" y="0"/>
                  <a:pt x="0" y="0"/>
                  <a:pt x="0" y="0"/>
                </a:cubicBezTo>
              </a:path>
            </a:pathLst>
          </a:custGeom>
          <a:solidFill>
            <a:srgbClr val="C2CE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0" name="Freeform 701">
            <a:extLst>
              <a:ext uri="{FF2B5EF4-FFF2-40B4-BE49-F238E27FC236}">
                <a16:creationId xmlns:a16="http://schemas.microsoft.com/office/drawing/2014/main" id="{6FDD02CC-CE89-40E4-B327-EDF86A824172}"/>
              </a:ext>
            </a:extLst>
          </p:cNvPr>
          <p:cNvSpPr>
            <a:spLocks/>
          </p:cNvSpPr>
          <p:nvPr/>
        </p:nvSpPr>
        <p:spPr bwMode="auto">
          <a:xfrm>
            <a:off x="10658475" y="5707063"/>
            <a:ext cx="149225" cy="55563"/>
          </a:xfrm>
          <a:custGeom>
            <a:avLst/>
            <a:gdLst>
              <a:gd name="T0" fmla="*/ 0 w 70"/>
              <a:gd name="T1" fmla="*/ 0 h 26"/>
              <a:gd name="T2" fmla="*/ 0 w 70"/>
              <a:gd name="T3" fmla="*/ 3 h 26"/>
              <a:gd name="T4" fmla="*/ 0 w 70"/>
              <a:gd name="T5" fmla="*/ 3 h 26"/>
              <a:gd name="T6" fmla="*/ 0 w 70"/>
              <a:gd name="T7" fmla="*/ 3 h 26"/>
              <a:gd name="T8" fmla="*/ 0 w 70"/>
              <a:gd name="T9" fmla="*/ 5 h 26"/>
              <a:gd name="T10" fmla="*/ 44 w 70"/>
              <a:gd name="T11" fmla="*/ 26 h 26"/>
              <a:gd name="T12" fmla="*/ 53 w 70"/>
              <a:gd name="T13" fmla="*/ 25 h 26"/>
              <a:gd name="T14" fmla="*/ 70 w 70"/>
              <a:gd name="T15" fmla="*/ 16 h 26"/>
              <a:gd name="T16" fmla="*/ 67 w 70"/>
              <a:gd name="T17" fmla="*/ 10 h 26"/>
              <a:gd name="T18" fmla="*/ 55 w 70"/>
              <a:gd name="T19" fmla="*/ 17 h 26"/>
              <a:gd name="T20" fmla="*/ 51 w 70"/>
              <a:gd name="T21" fmla="*/ 18 h 26"/>
              <a:gd name="T22" fmla="*/ 43 w 70"/>
              <a:gd name="T23" fmla="*/ 19 h 26"/>
              <a:gd name="T24" fmla="*/ 0 w 70"/>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0" y="0"/>
                </a:moveTo>
                <a:cubicBezTo>
                  <a:pt x="0" y="1"/>
                  <a:pt x="0" y="2"/>
                  <a:pt x="0" y="3"/>
                </a:cubicBezTo>
                <a:cubicBezTo>
                  <a:pt x="0" y="3"/>
                  <a:pt x="0" y="3"/>
                  <a:pt x="0" y="3"/>
                </a:cubicBezTo>
                <a:cubicBezTo>
                  <a:pt x="0" y="3"/>
                  <a:pt x="0" y="3"/>
                  <a:pt x="0" y="3"/>
                </a:cubicBezTo>
                <a:cubicBezTo>
                  <a:pt x="0" y="4"/>
                  <a:pt x="0" y="4"/>
                  <a:pt x="0" y="5"/>
                </a:cubicBezTo>
                <a:cubicBezTo>
                  <a:pt x="13" y="16"/>
                  <a:pt x="28" y="26"/>
                  <a:pt x="44" y="26"/>
                </a:cubicBezTo>
                <a:cubicBezTo>
                  <a:pt x="47" y="26"/>
                  <a:pt x="50" y="25"/>
                  <a:pt x="53" y="25"/>
                </a:cubicBezTo>
                <a:cubicBezTo>
                  <a:pt x="56" y="24"/>
                  <a:pt x="63" y="20"/>
                  <a:pt x="70" y="16"/>
                </a:cubicBezTo>
                <a:cubicBezTo>
                  <a:pt x="67" y="10"/>
                  <a:pt x="67" y="10"/>
                  <a:pt x="67" y="10"/>
                </a:cubicBezTo>
                <a:cubicBezTo>
                  <a:pt x="62" y="13"/>
                  <a:pt x="58" y="15"/>
                  <a:pt x="55" y="17"/>
                </a:cubicBezTo>
                <a:cubicBezTo>
                  <a:pt x="53" y="17"/>
                  <a:pt x="52" y="18"/>
                  <a:pt x="51" y="18"/>
                </a:cubicBezTo>
                <a:cubicBezTo>
                  <a:pt x="48" y="19"/>
                  <a:pt x="46" y="19"/>
                  <a:pt x="43" y="19"/>
                </a:cubicBezTo>
                <a:cubicBezTo>
                  <a:pt x="28" y="19"/>
                  <a:pt x="13" y="10"/>
                  <a:pt x="0" y="0"/>
                </a:cubicBezTo>
              </a:path>
            </a:pathLst>
          </a:custGeom>
          <a:solidFill>
            <a:srgbClr val="BE9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1" name="Freeform 702">
            <a:extLst>
              <a:ext uri="{FF2B5EF4-FFF2-40B4-BE49-F238E27FC236}">
                <a16:creationId xmlns:a16="http://schemas.microsoft.com/office/drawing/2014/main" id="{7AA3611A-E688-4900-811C-E49DB2E1CC26}"/>
              </a:ext>
            </a:extLst>
          </p:cNvPr>
          <p:cNvSpPr>
            <a:spLocks/>
          </p:cNvSpPr>
          <p:nvPr/>
        </p:nvSpPr>
        <p:spPr bwMode="auto">
          <a:xfrm>
            <a:off x="10515600" y="5248275"/>
            <a:ext cx="439738" cy="506413"/>
          </a:xfrm>
          <a:custGeom>
            <a:avLst/>
            <a:gdLst>
              <a:gd name="T0" fmla="*/ 59 w 204"/>
              <a:gd name="T1" fmla="*/ 208 h 236"/>
              <a:gd name="T2" fmla="*/ 66 w 204"/>
              <a:gd name="T3" fmla="*/ 214 h 236"/>
              <a:gd name="T4" fmla="*/ 117 w 204"/>
              <a:gd name="T5" fmla="*/ 232 h 236"/>
              <a:gd name="T6" fmla="*/ 121 w 204"/>
              <a:gd name="T7" fmla="*/ 231 h 236"/>
              <a:gd name="T8" fmla="*/ 133 w 204"/>
              <a:gd name="T9" fmla="*/ 224 h 236"/>
              <a:gd name="T10" fmla="*/ 143 w 204"/>
              <a:gd name="T11" fmla="*/ 218 h 236"/>
              <a:gd name="T12" fmla="*/ 181 w 204"/>
              <a:gd name="T13" fmla="*/ 190 h 236"/>
              <a:gd name="T14" fmla="*/ 181 w 204"/>
              <a:gd name="T15" fmla="*/ 189 h 236"/>
              <a:gd name="T16" fmla="*/ 178 w 204"/>
              <a:gd name="T17" fmla="*/ 120 h 236"/>
              <a:gd name="T18" fmla="*/ 178 w 204"/>
              <a:gd name="T19" fmla="*/ 120 h 236"/>
              <a:gd name="T20" fmla="*/ 176 w 204"/>
              <a:gd name="T21" fmla="*/ 110 h 236"/>
              <a:gd name="T22" fmla="*/ 175 w 204"/>
              <a:gd name="T23" fmla="*/ 109 h 236"/>
              <a:gd name="T24" fmla="*/ 155 w 204"/>
              <a:gd name="T25" fmla="*/ 79 h 236"/>
              <a:gd name="T26" fmla="*/ 123 w 204"/>
              <a:gd name="T27" fmla="*/ 93 h 236"/>
              <a:gd name="T28" fmla="*/ 89 w 204"/>
              <a:gd name="T29" fmla="*/ 150 h 236"/>
              <a:gd name="T30" fmla="*/ 91 w 204"/>
              <a:gd name="T31" fmla="*/ 133 h 236"/>
              <a:gd name="T32" fmla="*/ 148 w 204"/>
              <a:gd name="T33" fmla="*/ 42 h 236"/>
              <a:gd name="T34" fmla="*/ 141 w 204"/>
              <a:gd name="T35" fmla="*/ 44 h 236"/>
              <a:gd name="T36" fmla="*/ 140 w 204"/>
              <a:gd name="T37" fmla="*/ 8 h 236"/>
              <a:gd name="T38" fmla="*/ 111 w 204"/>
              <a:gd name="T39" fmla="*/ 9 h 236"/>
              <a:gd name="T40" fmla="*/ 45 w 204"/>
              <a:gd name="T41" fmla="*/ 65 h 236"/>
              <a:gd name="T42" fmla="*/ 44 w 204"/>
              <a:gd name="T43" fmla="*/ 65 h 236"/>
              <a:gd name="T44" fmla="*/ 40 w 204"/>
              <a:gd name="T45" fmla="*/ 69 h 236"/>
              <a:gd name="T46" fmla="*/ 38 w 204"/>
              <a:gd name="T47" fmla="*/ 71 h 236"/>
              <a:gd name="T48" fmla="*/ 3 w 204"/>
              <a:gd name="T49" fmla="*/ 111 h 236"/>
              <a:gd name="T50" fmla="*/ 3 w 204"/>
              <a:gd name="T51" fmla="*/ 111 h 236"/>
              <a:gd name="T52" fmla="*/ 3 w 204"/>
              <a:gd name="T53" fmla="*/ 112 h 236"/>
              <a:gd name="T54" fmla="*/ 1 w 204"/>
              <a:gd name="T55" fmla="*/ 125 h 236"/>
              <a:gd name="T56" fmla="*/ 9 w 204"/>
              <a:gd name="T57" fmla="*/ 143 h 236"/>
              <a:gd name="T58" fmla="*/ 13 w 204"/>
              <a:gd name="T59" fmla="*/ 148 h 236"/>
              <a:gd name="T60" fmla="*/ 22 w 204"/>
              <a:gd name="T61" fmla="*/ 161 h 236"/>
              <a:gd name="T62" fmla="*/ 59 w 204"/>
              <a:gd name="T63" fmla="*/ 20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236">
                <a:moveTo>
                  <a:pt x="59" y="208"/>
                </a:moveTo>
                <a:cubicBezTo>
                  <a:pt x="61" y="210"/>
                  <a:pt x="64" y="212"/>
                  <a:pt x="66" y="214"/>
                </a:cubicBezTo>
                <a:cubicBezTo>
                  <a:pt x="82" y="226"/>
                  <a:pt x="99" y="236"/>
                  <a:pt x="117" y="232"/>
                </a:cubicBezTo>
                <a:cubicBezTo>
                  <a:pt x="118" y="232"/>
                  <a:pt x="119" y="231"/>
                  <a:pt x="121" y="231"/>
                </a:cubicBezTo>
                <a:cubicBezTo>
                  <a:pt x="124" y="229"/>
                  <a:pt x="128" y="227"/>
                  <a:pt x="133" y="224"/>
                </a:cubicBezTo>
                <a:cubicBezTo>
                  <a:pt x="136" y="222"/>
                  <a:pt x="140" y="220"/>
                  <a:pt x="143" y="218"/>
                </a:cubicBezTo>
                <a:cubicBezTo>
                  <a:pt x="159" y="207"/>
                  <a:pt x="176" y="195"/>
                  <a:pt x="181" y="190"/>
                </a:cubicBezTo>
                <a:cubicBezTo>
                  <a:pt x="181" y="189"/>
                  <a:pt x="181" y="189"/>
                  <a:pt x="181" y="189"/>
                </a:cubicBezTo>
                <a:cubicBezTo>
                  <a:pt x="204" y="164"/>
                  <a:pt x="186" y="150"/>
                  <a:pt x="178" y="120"/>
                </a:cubicBezTo>
                <a:cubicBezTo>
                  <a:pt x="178" y="120"/>
                  <a:pt x="178" y="120"/>
                  <a:pt x="178" y="120"/>
                </a:cubicBezTo>
                <a:cubicBezTo>
                  <a:pt x="177" y="117"/>
                  <a:pt x="176" y="114"/>
                  <a:pt x="176" y="110"/>
                </a:cubicBezTo>
                <a:cubicBezTo>
                  <a:pt x="176" y="110"/>
                  <a:pt x="176" y="109"/>
                  <a:pt x="175" y="109"/>
                </a:cubicBezTo>
                <a:cubicBezTo>
                  <a:pt x="173" y="96"/>
                  <a:pt x="167" y="83"/>
                  <a:pt x="155" y="79"/>
                </a:cubicBezTo>
                <a:cubicBezTo>
                  <a:pt x="143" y="75"/>
                  <a:pt x="130" y="83"/>
                  <a:pt x="123" y="93"/>
                </a:cubicBezTo>
                <a:cubicBezTo>
                  <a:pt x="115" y="104"/>
                  <a:pt x="97" y="140"/>
                  <a:pt x="89" y="150"/>
                </a:cubicBezTo>
                <a:cubicBezTo>
                  <a:pt x="88" y="151"/>
                  <a:pt x="87" y="148"/>
                  <a:pt x="91" y="133"/>
                </a:cubicBezTo>
                <a:cubicBezTo>
                  <a:pt x="107" y="100"/>
                  <a:pt x="120" y="66"/>
                  <a:pt x="148" y="42"/>
                </a:cubicBezTo>
                <a:cubicBezTo>
                  <a:pt x="147" y="43"/>
                  <a:pt x="143" y="43"/>
                  <a:pt x="141" y="44"/>
                </a:cubicBezTo>
                <a:cubicBezTo>
                  <a:pt x="144" y="33"/>
                  <a:pt x="149" y="17"/>
                  <a:pt x="140" y="8"/>
                </a:cubicBezTo>
                <a:cubicBezTo>
                  <a:pt x="132" y="0"/>
                  <a:pt x="120" y="4"/>
                  <a:pt x="111" y="9"/>
                </a:cubicBezTo>
                <a:cubicBezTo>
                  <a:pt x="88" y="24"/>
                  <a:pt x="66" y="46"/>
                  <a:pt x="45" y="65"/>
                </a:cubicBezTo>
                <a:cubicBezTo>
                  <a:pt x="44" y="65"/>
                  <a:pt x="44" y="65"/>
                  <a:pt x="44" y="65"/>
                </a:cubicBezTo>
                <a:cubicBezTo>
                  <a:pt x="43" y="66"/>
                  <a:pt x="42" y="68"/>
                  <a:pt x="40" y="69"/>
                </a:cubicBezTo>
                <a:cubicBezTo>
                  <a:pt x="39" y="69"/>
                  <a:pt x="38" y="70"/>
                  <a:pt x="38" y="71"/>
                </a:cubicBezTo>
                <a:cubicBezTo>
                  <a:pt x="26" y="80"/>
                  <a:pt x="10" y="97"/>
                  <a:pt x="3" y="111"/>
                </a:cubicBezTo>
                <a:cubicBezTo>
                  <a:pt x="3" y="111"/>
                  <a:pt x="3" y="111"/>
                  <a:pt x="3" y="111"/>
                </a:cubicBezTo>
                <a:cubicBezTo>
                  <a:pt x="3" y="111"/>
                  <a:pt x="3" y="112"/>
                  <a:pt x="3" y="112"/>
                </a:cubicBezTo>
                <a:cubicBezTo>
                  <a:pt x="1" y="117"/>
                  <a:pt x="0" y="121"/>
                  <a:pt x="1" y="125"/>
                </a:cubicBezTo>
                <a:cubicBezTo>
                  <a:pt x="2" y="131"/>
                  <a:pt x="5" y="137"/>
                  <a:pt x="9" y="143"/>
                </a:cubicBezTo>
                <a:cubicBezTo>
                  <a:pt x="10" y="145"/>
                  <a:pt x="12" y="147"/>
                  <a:pt x="13" y="148"/>
                </a:cubicBezTo>
                <a:cubicBezTo>
                  <a:pt x="16" y="152"/>
                  <a:pt x="19" y="156"/>
                  <a:pt x="22" y="161"/>
                </a:cubicBezTo>
                <a:cubicBezTo>
                  <a:pt x="33" y="178"/>
                  <a:pt x="43" y="195"/>
                  <a:pt x="59" y="208"/>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2" name="Freeform 703">
            <a:extLst>
              <a:ext uri="{FF2B5EF4-FFF2-40B4-BE49-F238E27FC236}">
                <a16:creationId xmlns:a16="http://schemas.microsoft.com/office/drawing/2014/main" id="{BF2D8F01-082C-4BEA-98F2-9283A0C091B6}"/>
              </a:ext>
            </a:extLst>
          </p:cNvPr>
          <p:cNvSpPr>
            <a:spLocks/>
          </p:cNvSpPr>
          <p:nvPr/>
        </p:nvSpPr>
        <p:spPr bwMode="auto">
          <a:xfrm>
            <a:off x="10720388" y="5516563"/>
            <a:ext cx="19050" cy="33338"/>
          </a:xfrm>
          <a:custGeom>
            <a:avLst/>
            <a:gdLst>
              <a:gd name="T0" fmla="*/ 9 w 9"/>
              <a:gd name="T1" fmla="*/ 0 h 16"/>
              <a:gd name="T2" fmla="*/ 0 w 9"/>
              <a:gd name="T3" fmla="*/ 16 h 16"/>
              <a:gd name="T4" fmla="*/ 2 w 9"/>
              <a:gd name="T5" fmla="*/ 14 h 16"/>
              <a:gd name="T6" fmla="*/ 9 w 9"/>
              <a:gd name="T7" fmla="*/ 0 h 16"/>
            </a:gdLst>
            <a:ahLst/>
            <a:cxnLst>
              <a:cxn ang="0">
                <a:pos x="T0" y="T1"/>
              </a:cxn>
              <a:cxn ang="0">
                <a:pos x="T2" y="T3"/>
              </a:cxn>
              <a:cxn ang="0">
                <a:pos x="T4" y="T5"/>
              </a:cxn>
              <a:cxn ang="0">
                <a:pos x="T6" y="T7"/>
              </a:cxn>
            </a:cxnLst>
            <a:rect l="0" t="0" r="r" b="b"/>
            <a:pathLst>
              <a:path w="9" h="16">
                <a:moveTo>
                  <a:pt x="9" y="0"/>
                </a:moveTo>
                <a:cubicBezTo>
                  <a:pt x="6" y="6"/>
                  <a:pt x="3" y="11"/>
                  <a:pt x="0" y="16"/>
                </a:cubicBezTo>
                <a:cubicBezTo>
                  <a:pt x="1" y="15"/>
                  <a:pt x="1" y="15"/>
                  <a:pt x="2" y="14"/>
                </a:cubicBezTo>
                <a:cubicBezTo>
                  <a:pt x="7" y="11"/>
                  <a:pt x="9" y="6"/>
                  <a:pt x="9"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4" name="Freeform 704">
            <a:extLst>
              <a:ext uri="{FF2B5EF4-FFF2-40B4-BE49-F238E27FC236}">
                <a16:creationId xmlns:a16="http://schemas.microsoft.com/office/drawing/2014/main" id="{BF23F2A0-3C4D-4791-B797-A193F926EE69}"/>
              </a:ext>
            </a:extLst>
          </p:cNvPr>
          <p:cNvSpPr>
            <a:spLocks/>
          </p:cNvSpPr>
          <p:nvPr/>
        </p:nvSpPr>
        <p:spPr bwMode="auto">
          <a:xfrm>
            <a:off x="10534650" y="5554663"/>
            <a:ext cx="3175" cy="1588"/>
          </a:xfrm>
          <a:custGeom>
            <a:avLst/>
            <a:gdLst>
              <a:gd name="T0" fmla="*/ 0 w 1"/>
              <a:gd name="T1" fmla="*/ 0 h 1"/>
              <a:gd name="T2" fmla="*/ 0 w 1"/>
              <a:gd name="T3" fmla="*/ 0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1" y="1"/>
                  <a:pt x="1" y="1"/>
                </a:cubicBezTo>
                <a:cubicBezTo>
                  <a:pt x="1" y="1"/>
                  <a:pt x="0" y="0"/>
                  <a:pt x="0" y="0"/>
                </a:cubicBezTo>
                <a:cubicBezTo>
                  <a:pt x="0" y="0"/>
                  <a:pt x="0" y="0"/>
                  <a:pt x="0" y="0"/>
                </a:cubicBezTo>
              </a:path>
            </a:pathLst>
          </a:custGeom>
          <a:solidFill>
            <a:srgbClr val="C2CE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5" name="Freeform 705">
            <a:extLst>
              <a:ext uri="{FF2B5EF4-FFF2-40B4-BE49-F238E27FC236}">
                <a16:creationId xmlns:a16="http://schemas.microsoft.com/office/drawing/2014/main" id="{7AB3F9B4-3FB7-4BE6-BE1A-DE388B454C9A}"/>
              </a:ext>
            </a:extLst>
          </p:cNvPr>
          <p:cNvSpPr>
            <a:spLocks/>
          </p:cNvSpPr>
          <p:nvPr/>
        </p:nvSpPr>
        <p:spPr bwMode="auto">
          <a:xfrm>
            <a:off x="10534650" y="5548313"/>
            <a:ext cx="139700" cy="17463"/>
          </a:xfrm>
          <a:custGeom>
            <a:avLst/>
            <a:gdLst>
              <a:gd name="T0" fmla="*/ 61 w 65"/>
              <a:gd name="T1" fmla="*/ 0 h 8"/>
              <a:gd name="T2" fmla="*/ 13 w 65"/>
              <a:gd name="T3" fmla="*/ 2 h 8"/>
              <a:gd name="T4" fmla="*/ 8 w 65"/>
              <a:gd name="T5" fmla="*/ 2 h 8"/>
              <a:gd name="T6" fmla="*/ 0 w 65"/>
              <a:gd name="T7" fmla="*/ 3 h 8"/>
              <a:gd name="T8" fmla="*/ 0 w 65"/>
              <a:gd name="T9" fmla="*/ 3 h 8"/>
              <a:gd name="T10" fmla="*/ 0 w 65"/>
              <a:gd name="T11" fmla="*/ 3 h 8"/>
              <a:gd name="T12" fmla="*/ 1 w 65"/>
              <a:gd name="T13" fmla="*/ 4 h 8"/>
              <a:gd name="T14" fmla="*/ 4 w 65"/>
              <a:gd name="T15" fmla="*/ 8 h 8"/>
              <a:gd name="T16" fmla="*/ 12 w 65"/>
              <a:gd name="T17" fmla="*/ 8 h 8"/>
              <a:gd name="T18" fmla="*/ 17 w 65"/>
              <a:gd name="T19" fmla="*/ 8 h 8"/>
              <a:gd name="T20" fmla="*/ 65 w 65"/>
              <a:gd name="T21" fmla="*/ 6 h 8"/>
              <a:gd name="T22" fmla="*/ 61 w 6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
                <a:moveTo>
                  <a:pt x="61" y="0"/>
                </a:moveTo>
                <a:cubicBezTo>
                  <a:pt x="50" y="1"/>
                  <a:pt x="35" y="2"/>
                  <a:pt x="13" y="2"/>
                </a:cubicBezTo>
                <a:cubicBezTo>
                  <a:pt x="11" y="2"/>
                  <a:pt x="10" y="2"/>
                  <a:pt x="8" y="2"/>
                </a:cubicBezTo>
                <a:cubicBezTo>
                  <a:pt x="5" y="2"/>
                  <a:pt x="3" y="2"/>
                  <a:pt x="0" y="3"/>
                </a:cubicBezTo>
                <a:cubicBezTo>
                  <a:pt x="0" y="3"/>
                  <a:pt x="0" y="3"/>
                  <a:pt x="0" y="3"/>
                </a:cubicBezTo>
                <a:cubicBezTo>
                  <a:pt x="0" y="3"/>
                  <a:pt x="0" y="3"/>
                  <a:pt x="0" y="3"/>
                </a:cubicBezTo>
                <a:cubicBezTo>
                  <a:pt x="0" y="3"/>
                  <a:pt x="1" y="4"/>
                  <a:pt x="1" y="4"/>
                </a:cubicBezTo>
                <a:cubicBezTo>
                  <a:pt x="2" y="6"/>
                  <a:pt x="3" y="7"/>
                  <a:pt x="4" y="8"/>
                </a:cubicBezTo>
                <a:cubicBezTo>
                  <a:pt x="7" y="8"/>
                  <a:pt x="10" y="8"/>
                  <a:pt x="12" y="8"/>
                </a:cubicBezTo>
                <a:cubicBezTo>
                  <a:pt x="14" y="8"/>
                  <a:pt x="15" y="8"/>
                  <a:pt x="17" y="8"/>
                </a:cubicBezTo>
                <a:cubicBezTo>
                  <a:pt x="40" y="8"/>
                  <a:pt x="55" y="7"/>
                  <a:pt x="65" y="6"/>
                </a:cubicBezTo>
                <a:cubicBezTo>
                  <a:pt x="61" y="0"/>
                  <a:pt x="61" y="0"/>
                  <a:pt x="61" y="0"/>
                </a:cubicBezTo>
              </a:path>
            </a:pathLst>
          </a:custGeom>
          <a:solidFill>
            <a:srgbClr val="BE9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6" name="Freeform 706">
            <a:extLst>
              <a:ext uri="{FF2B5EF4-FFF2-40B4-BE49-F238E27FC236}">
                <a16:creationId xmlns:a16="http://schemas.microsoft.com/office/drawing/2014/main" id="{03C472B8-E5C1-4F29-9C6E-13B8BA4EFB14}"/>
              </a:ext>
            </a:extLst>
          </p:cNvPr>
          <p:cNvSpPr>
            <a:spLocks/>
          </p:cNvSpPr>
          <p:nvPr/>
        </p:nvSpPr>
        <p:spPr bwMode="auto">
          <a:xfrm>
            <a:off x="10356850" y="5045075"/>
            <a:ext cx="393700" cy="519113"/>
          </a:xfrm>
          <a:custGeom>
            <a:avLst/>
            <a:gdLst>
              <a:gd name="T0" fmla="*/ 46 w 183"/>
              <a:gd name="T1" fmla="*/ 239 h 241"/>
              <a:gd name="T2" fmla="*/ 83 w 183"/>
              <a:gd name="T3" fmla="*/ 237 h 241"/>
              <a:gd name="T4" fmla="*/ 91 w 183"/>
              <a:gd name="T5" fmla="*/ 236 h 241"/>
              <a:gd name="T6" fmla="*/ 96 w 183"/>
              <a:gd name="T7" fmla="*/ 236 h 241"/>
              <a:gd name="T8" fmla="*/ 154 w 183"/>
              <a:gd name="T9" fmla="*/ 233 h 241"/>
              <a:gd name="T10" fmla="*/ 165 w 183"/>
              <a:gd name="T11" fmla="*/ 229 h 241"/>
              <a:gd name="T12" fmla="*/ 165 w 183"/>
              <a:gd name="T13" fmla="*/ 229 h 241"/>
              <a:gd name="T14" fmla="*/ 167 w 183"/>
              <a:gd name="T15" fmla="*/ 228 h 241"/>
              <a:gd name="T16" fmla="*/ 174 w 183"/>
              <a:gd name="T17" fmla="*/ 209 h 241"/>
              <a:gd name="T18" fmla="*/ 171 w 183"/>
              <a:gd name="T19" fmla="*/ 196 h 241"/>
              <a:gd name="T20" fmla="*/ 134 w 183"/>
              <a:gd name="T21" fmla="*/ 162 h 241"/>
              <a:gd name="T22" fmla="*/ 119 w 183"/>
              <a:gd name="T23" fmla="*/ 159 h 241"/>
              <a:gd name="T24" fmla="*/ 118 w 183"/>
              <a:gd name="T25" fmla="*/ 159 h 241"/>
              <a:gd name="T26" fmla="*/ 105 w 183"/>
              <a:gd name="T27" fmla="*/ 154 h 241"/>
              <a:gd name="T28" fmla="*/ 99 w 183"/>
              <a:gd name="T29" fmla="*/ 142 h 241"/>
              <a:gd name="T30" fmla="*/ 101 w 183"/>
              <a:gd name="T31" fmla="*/ 103 h 241"/>
              <a:gd name="T32" fmla="*/ 173 w 183"/>
              <a:gd name="T33" fmla="*/ 52 h 241"/>
              <a:gd name="T34" fmla="*/ 175 w 183"/>
              <a:gd name="T35" fmla="*/ 51 h 241"/>
              <a:gd name="T36" fmla="*/ 183 w 183"/>
              <a:gd name="T37" fmla="*/ 47 h 241"/>
              <a:gd name="T38" fmla="*/ 158 w 183"/>
              <a:gd name="T39" fmla="*/ 5 h 241"/>
              <a:gd name="T40" fmla="*/ 155 w 183"/>
              <a:gd name="T41" fmla="*/ 0 h 241"/>
              <a:gd name="T42" fmla="*/ 131 w 183"/>
              <a:gd name="T43" fmla="*/ 4 h 241"/>
              <a:gd name="T44" fmla="*/ 47 w 183"/>
              <a:gd name="T45" fmla="*/ 32 h 241"/>
              <a:gd name="T46" fmla="*/ 23 w 183"/>
              <a:gd name="T47" fmla="*/ 50 h 241"/>
              <a:gd name="T48" fmla="*/ 19 w 183"/>
              <a:gd name="T49" fmla="*/ 68 h 241"/>
              <a:gd name="T50" fmla="*/ 19 w 183"/>
              <a:gd name="T51" fmla="*/ 74 h 241"/>
              <a:gd name="T52" fmla="*/ 11 w 183"/>
              <a:gd name="T53" fmla="*/ 212 h 241"/>
              <a:gd name="T54" fmla="*/ 46 w 183"/>
              <a:gd name="T55" fmla="*/ 23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3" h="241">
                <a:moveTo>
                  <a:pt x="46" y="239"/>
                </a:moveTo>
                <a:cubicBezTo>
                  <a:pt x="58" y="241"/>
                  <a:pt x="71" y="238"/>
                  <a:pt x="83" y="237"/>
                </a:cubicBezTo>
                <a:cubicBezTo>
                  <a:pt x="86" y="236"/>
                  <a:pt x="88" y="236"/>
                  <a:pt x="91" y="236"/>
                </a:cubicBezTo>
                <a:cubicBezTo>
                  <a:pt x="93" y="236"/>
                  <a:pt x="94" y="236"/>
                  <a:pt x="96" y="236"/>
                </a:cubicBezTo>
                <a:cubicBezTo>
                  <a:pt x="127" y="236"/>
                  <a:pt x="144" y="235"/>
                  <a:pt x="154" y="233"/>
                </a:cubicBezTo>
                <a:cubicBezTo>
                  <a:pt x="159" y="232"/>
                  <a:pt x="163" y="231"/>
                  <a:pt x="165" y="229"/>
                </a:cubicBezTo>
                <a:cubicBezTo>
                  <a:pt x="165" y="229"/>
                  <a:pt x="165" y="229"/>
                  <a:pt x="165" y="229"/>
                </a:cubicBezTo>
                <a:cubicBezTo>
                  <a:pt x="166" y="229"/>
                  <a:pt x="166" y="228"/>
                  <a:pt x="167" y="228"/>
                </a:cubicBezTo>
                <a:cubicBezTo>
                  <a:pt x="173" y="223"/>
                  <a:pt x="174" y="216"/>
                  <a:pt x="174" y="209"/>
                </a:cubicBezTo>
                <a:cubicBezTo>
                  <a:pt x="174" y="204"/>
                  <a:pt x="172" y="200"/>
                  <a:pt x="171" y="196"/>
                </a:cubicBezTo>
                <a:cubicBezTo>
                  <a:pt x="164" y="180"/>
                  <a:pt x="150" y="168"/>
                  <a:pt x="134" y="162"/>
                </a:cubicBezTo>
                <a:cubicBezTo>
                  <a:pt x="130" y="160"/>
                  <a:pt x="124" y="160"/>
                  <a:pt x="119" y="159"/>
                </a:cubicBezTo>
                <a:cubicBezTo>
                  <a:pt x="118" y="159"/>
                  <a:pt x="118" y="159"/>
                  <a:pt x="118" y="159"/>
                </a:cubicBezTo>
                <a:cubicBezTo>
                  <a:pt x="112" y="158"/>
                  <a:pt x="106" y="157"/>
                  <a:pt x="105" y="154"/>
                </a:cubicBezTo>
                <a:cubicBezTo>
                  <a:pt x="102" y="151"/>
                  <a:pt x="100" y="147"/>
                  <a:pt x="99" y="142"/>
                </a:cubicBezTo>
                <a:cubicBezTo>
                  <a:pt x="96" y="130"/>
                  <a:pt x="96" y="114"/>
                  <a:pt x="101" y="103"/>
                </a:cubicBezTo>
                <a:cubicBezTo>
                  <a:pt x="113" y="74"/>
                  <a:pt x="146" y="64"/>
                  <a:pt x="173" y="52"/>
                </a:cubicBezTo>
                <a:cubicBezTo>
                  <a:pt x="174" y="52"/>
                  <a:pt x="175" y="51"/>
                  <a:pt x="175" y="51"/>
                </a:cubicBezTo>
                <a:cubicBezTo>
                  <a:pt x="178" y="50"/>
                  <a:pt x="180" y="49"/>
                  <a:pt x="183" y="47"/>
                </a:cubicBezTo>
                <a:cubicBezTo>
                  <a:pt x="173" y="29"/>
                  <a:pt x="164" y="16"/>
                  <a:pt x="158" y="5"/>
                </a:cubicBezTo>
                <a:cubicBezTo>
                  <a:pt x="157" y="3"/>
                  <a:pt x="156" y="2"/>
                  <a:pt x="155" y="0"/>
                </a:cubicBezTo>
                <a:cubicBezTo>
                  <a:pt x="149" y="0"/>
                  <a:pt x="140" y="2"/>
                  <a:pt x="131" y="4"/>
                </a:cubicBezTo>
                <a:cubicBezTo>
                  <a:pt x="103" y="10"/>
                  <a:pt x="68" y="22"/>
                  <a:pt x="47" y="32"/>
                </a:cubicBezTo>
                <a:cubicBezTo>
                  <a:pt x="38" y="37"/>
                  <a:pt x="28" y="42"/>
                  <a:pt x="23" y="50"/>
                </a:cubicBezTo>
                <a:cubicBezTo>
                  <a:pt x="18" y="57"/>
                  <a:pt x="20" y="61"/>
                  <a:pt x="19" y="68"/>
                </a:cubicBezTo>
                <a:cubicBezTo>
                  <a:pt x="19" y="70"/>
                  <a:pt x="19" y="72"/>
                  <a:pt x="19" y="74"/>
                </a:cubicBezTo>
                <a:cubicBezTo>
                  <a:pt x="0" y="160"/>
                  <a:pt x="6" y="199"/>
                  <a:pt x="11" y="212"/>
                </a:cubicBezTo>
                <a:cubicBezTo>
                  <a:pt x="17" y="226"/>
                  <a:pt x="31" y="235"/>
                  <a:pt x="46" y="239"/>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8" name="Freeform 707">
            <a:extLst>
              <a:ext uri="{FF2B5EF4-FFF2-40B4-BE49-F238E27FC236}">
                <a16:creationId xmlns:a16="http://schemas.microsoft.com/office/drawing/2014/main" id="{C863DC06-8E7A-41F8-862A-1F11328C11D3}"/>
              </a:ext>
            </a:extLst>
          </p:cNvPr>
          <p:cNvSpPr>
            <a:spLocks/>
          </p:cNvSpPr>
          <p:nvPr/>
        </p:nvSpPr>
        <p:spPr bwMode="auto">
          <a:xfrm>
            <a:off x="10510838" y="5461000"/>
            <a:ext cx="177800" cy="92075"/>
          </a:xfrm>
          <a:custGeom>
            <a:avLst/>
            <a:gdLst>
              <a:gd name="T0" fmla="*/ 24 w 82"/>
              <a:gd name="T1" fmla="*/ 43 h 43"/>
              <a:gd name="T2" fmla="*/ 82 w 82"/>
              <a:gd name="T3" fmla="*/ 40 h 43"/>
              <a:gd name="T4" fmla="*/ 74 w 82"/>
              <a:gd name="T5" fmla="*/ 23 h 43"/>
              <a:gd name="T6" fmla="*/ 32 w 82"/>
              <a:gd name="T7" fmla="*/ 0 h 43"/>
              <a:gd name="T8" fmla="*/ 2 w 82"/>
              <a:gd name="T9" fmla="*/ 18 h 43"/>
              <a:gd name="T10" fmla="*/ 24 w 82"/>
              <a:gd name="T11" fmla="*/ 43 h 43"/>
            </a:gdLst>
            <a:ahLst/>
            <a:cxnLst>
              <a:cxn ang="0">
                <a:pos x="T0" y="T1"/>
              </a:cxn>
              <a:cxn ang="0">
                <a:pos x="T2" y="T3"/>
              </a:cxn>
              <a:cxn ang="0">
                <a:pos x="T4" y="T5"/>
              </a:cxn>
              <a:cxn ang="0">
                <a:pos x="T6" y="T7"/>
              </a:cxn>
              <a:cxn ang="0">
                <a:pos x="T8" y="T9"/>
              </a:cxn>
              <a:cxn ang="0">
                <a:pos x="T10" y="T11"/>
              </a:cxn>
            </a:cxnLst>
            <a:rect l="0" t="0" r="r" b="b"/>
            <a:pathLst>
              <a:path w="82" h="43">
                <a:moveTo>
                  <a:pt x="24" y="43"/>
                </a:moveTo>
                <a:cubicBezTo>
                  <a:pt x="55" y="43"/>
                  <a:pt x="72" y="42"/>
                  <a:pt x="82" y="40"/>
                </a:cubicBezTo>
                <a:cubicBezTo>
                  <a:pt x="82" y="37"/>
                  <a:pt x="81" y="29"/>
                  <a:pt x="74" y="23"/>
                </a:cubicBezTo>
                <a:cubicBezTo>
                  <a:pt x="62" y="12"/>
                  <a:pt x="48" y="0"/>
                  <a:pt x="32" y="0"/>
                </a:cubicBezTo>
                <a:cubicBezTo>
                  <a:pt x="22" y="0"/>
                  <a:pt x="5" y="7"/>
                  <a:pt x="2" y="18"/>
                </a:cubicBezTo>
                <a:cubicBezTo>
                  <a:pt x="0" y="30"/>
                  <a:pt x="13" y="39"/>
                  <a:pt x="24" y="43"/>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9" name="Freeform 708">
            <a:extLst>
              <a:ext uri="{FF2B5EF4-FFF2-40B4-BE49-F238E27FC236}">
                <a16:creationId xmlns:a16="http://schemas.microsoft.com/office/drawing/2014/main" id="{8CBA9F40-7463-4CA1-8925-D3A3DB96936D}"/>
              </a:ext>
            </a:extLst>
          </p:cNvPr>
          <p:cNvSpPr>
            <a:spLocks noEditPoints="1"/>
          </p:cNvSpPr>
          <p:nvPr/>
        </p:nvSpPr>
        <p:spPr bwMode="auto">
          <a:xfrm>
            <a:off x="10658475" y="5013325"/>
            <a:ext cx="38100" cy="42863"/>
          </a:xfrm>
          <a:custGeom>
            <a:avLst/>
            <a:gdLst>
              <a:gd name="T0" fmla="*/ 16 w 18"/>
              <a:gd name="T1" fmla="*/ 3 h 20"/>
              <a:gd name="T2" fmla="*/ 18 w 18"/>
              <a:gd name="T3" fmla="*/ 20 h 20"/>
              <a:gd name="T4" fmla="*/ 18 w 18"/>
              <a:gd name="T5" fmla="*/ 20 h 20"/>
              <a:gd name="T6" fmla="*/ 16 w 18"/>
              <a:gd name="T7" fmla="*/ 3 h 20"/>
              <a:gd name="T8" fmla="*/ 0 w 18"/>
              <a:gd name="T9" fmla="*/ 0 h 20"/>
              <a:gd name="T10" fmla="*/ 0 w 18"/>
              <a:gd name="T11" fmla="*/ 0 h 20"/>
              <a:gd name="T12" fmla="*/ 3 w 18"/>
              <a:gd name="T13" fmla="*/ 0 h 20"/>
              <a:gd name="T14" fmla="*/ 0 w 1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0">
                <a:moveTo>
                  <a:pt x="16" y="3"/>
                </a:moveTo>
                <a:cubicBezTo>
                  <a:pt x="16" y="8"/>
                  <a:pt x="17" y="14"/>
                  <a:pt x="18" y="20"/>
                </a:cubicBezTo>
                <a:cubicBezTo>
                  <a:pt x="18" y="20"/>
                  <a:pt x="18" y="20"/>
                  <a:pt x="18" y="20"/>
                </a:cubicBezTo>
                <a:cubicBezTo>
                  <a:pt x="17" y="14"/>
                  <a:pt x="16" y="8"/>
                  <a:pt x="16" y="3"/>
                </a:cubicBezTo>
                <a:moveTo>
                  <a:pt x="0" y="0"/>
                </a:moveTo>
                <a:cubicBezTo>
                  <a:pt x="0" y="0"/>
                  <a:pt x="0" y="0"/>
                  <a:pt x="0" y="0"/>
                </a:cubicBezTo>
                <a:cubicBezTo>
                  <a:pt x="1" y="0"/>
                  <a:pt x="2" y="0"/>
                  <a:pt x="3" y="0"/>
                </a:cubicBezTo>
                <a:cubicBezTo>
                  <a:pt x="2" y="0"/>
                  <a:pt x="1" y="0"/>
                  <a:pt x="0" y="0"/>
                </a:cubicBezTo>
              </a:path>
            </a:pathLst>
          </a:custGeom>
          <a:solidFill>
            <a:srgbClr val="DEEB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0" name="Freeform 709">
            <a:extLst>
              <a:ext uri="{FF2B5EF4-FFF2-40B4-BE49-F238E27FC236}">
                <a16:creationId xmlns:a16="http://schemas.microsoft.com/office/drawing/2014/main" id="{4E441889-EFEA-4C96-9747-4AB62E5FD750}"/>
              </a:ext>
            </a:extLst>
          </p:cNvPr>
          <p:cNvSpPr>
            <a:spLocks noEditPoints="1"/>
          </p:cNvSpPr>
          <p:nvPr/>
        </p:nvSpPr>
        <p:spPr bwMode="auto">
          <a:xfrm>
            <a:off x="10588625" y="4921250"/>
            <a:ext cx="374650" cy="285750"/>
          </a:xfrm>
          <a:custGeom>
            <a:avLst/>
            <a:gdLst>
              <a:gd name="T0" fmla="*/ 109 w 174"/>
              <a:gd name="T1" fmla="*/ 63 h 133"/>
              <a:gd name="T2" fmla="*/ 98 w 174"/>
              <a:gd name="T3" fmla="*/ 113 h 133"/>
              <a:gd name="T4" fmla="*/ 141 w 174"/>
              <a:gd name="T5" fmla="*/ 133 h 133"/>
              <a:gd name="T6" fmla="*/ 155 w 174"/>
              <a:gd name="T7" fmla="*/ 133 h 133"/>
              <a:gd name="T8" fmla="*/ 163 w 174"/>
              <a:gd name="T9" fmla="*/ 133 h 133"/>
              <a:gd name="T10" fmla="*/ 174 w 174"/>
              <a:gd name="T11" fmla="*/ 132 h 133"/>
              <a:gd name="T12" fmla="*/ 110 w 174"/>
              <a:gd name="T13" fmla="*/ 64 h 133"/>
              <a:gd name="T14" fmla="*/ 109 w 174"/>
              <a:gd name="T15" fmla="*/ 63 h 133"/>
              <a:gd name="T16" fmla="*/ 0 w 174"/>
              <a:gd name="T17" fmla="*/ 0 h 133"/>
              <a:gd name="T18" fmla="*/ 32 w 174"/>
              <a:gd name="T19" fmla="*/ 43 h 133"/>
              <a:gd name="T20" fmla="*/ 35 w 174"/>
              <a:gd name="T21" fmla="*/ 43 h 133"/>
              <a:gd name="T22" fmla="*/ 35 w 174"/>
              <a:gd name="T23" fmla="*/ 43 h 133"/>
              <a:gd name="T24" fmla="*/ 48 w 174"/>
              <a:gd name="T25" fmla="*/ 43 h 133"/>
              <a:gd name="T26" fmla="*/ 48 w 174"/>
              <a:gd name="T27" fmla="*/ 46 h 133"/>
              <a:gd name="T28" fmla="*/ 48 w 174"/>
              <a:gd name="T29" fmla="*/ 46 h 133"/>
              <a:gd name="T30" fmla="*/ 50 w 174"/>
              <a:gd name="T31" fmla="*/ 63 h 133"/>
              <a:gd name="T32" fmla="*/ 50 w 174"/>
              <a:gd name="T33" fmla="*/ 63 h 133"/>
              <a:gd name="T34" fmla="*/ 58 w 174"/>
              <a:gd name="T35" fmla="*/ 78 h 133"/>
              <a:gd name="T36" fmla="*/ 64 w 174"/>
              <a:gd name="T37" fmla="*/ 86 h 133"/>
              <a:gd name="T38" fmla="*/ 77 w 174"/>
              <a:gd name="T39" fmla="*/ 97 h 133"/>
              <a:gd name="T40" fmla="*/ 89 w 174"/>
              <a:gd name="T41" fmla="*/ 107 h 133"/>
              <a:gd name="T42" fmla="*/ 107 w 174"/>
              <a:gd name="T43" fmla="*/ 61 h 133"/>
              <a:gd name="T44" fmla="*/ 0 w 174"/>
              <a:gd name="T4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33">
                <a:moveTo>
                  <a:pt x="109" y="63"/>
                </a:moveTo>
                <a:cubicBezTo>
                  <a:pt x="103" y="79"/>
                  <a:pt x="100" y="96"/>
                  <a:pt x="98" y="113"/>
                </a:cubicBezTo>
                <a:cubicBezTo>
                  <a:pt x="111" y="120"/>
                  <a:pt x="126" y="128"/>
                  <a:pt x="141" y="133"/>
                </a:cubicBezTo>
                <a:cubicBezTo>
                  <a:pt x="145" y="133"/>
                  <a:pt x="150" y="133"/>
                  <a:pt x="155" y="133"/>
                </a:cubicBezTo>
                <a:cubicBezTo>
                  <a:pt x="158" y="133"/>
                  <a:pt x="161" y="133"/>
                  <a:pt x="163" y="133"/>
                </a:cubicBezTo>
                <a:cubicBezTo>
                  <a:pt x="167" y="133"/>
                  <a:pt x="171" y="133"/>
                  <a:pt x="174" y="132"/>
                </a:cubicBezTo>
                <a:cubicBezTo>
                  <a:pt x="161" y="107"/>
                  <a:pt x="130" y="80"/>
                  <a:pt x="110" y="64"/>
                </a:cubicBezTo>
                <a:cubicBezTo>
                  <a:pt x="110" y="64"/>
                  <a:pt x="109" y="63"/>
                  <a:pt x="109" y="63"/>
                </a:cubicBezTo>
                <a:moveTo>
                  <a:pt x="0" y="0"/>
                </a:moveTo>
                <a:cubicBezTo>
                  <a:pt x="32" y="43"/>
                  <a:pt x="32" y="43"/>
                  <a:pt x="32" y="43"/>
                </a:cubicBezTo>
                <a:cubicBezTo>
                  <a:pt x="33" y="43"/>
                  <a:pt x="34" y="43"/>
                  <a:pt x="35" y="43"/>
                </a:cubicBezTo>
                <a:cubicBezTo>
                  <a:pt x="35" y="43"/>
                  <a:pt x="35" y="43"/>
                  <a:pt x="35" y="43"/>
                </a:cubicBezTo>
                <a:cubicBezTo>
                  <a:pt x="40" y="43"/>
                  <a:pt x="44" y="43"/>
                  <a:pt x="48" y="43"/>
                </a:cubicBezTo>
                <a:cubicBezTo>
                  <a:pt x="48" y="44"/>
                  <a:pt x="48" y="45"/>
                  <a:pt x="48" y="46"/>
                </a:cubicBezTo>
                <a:cubicBezTo>
                  <a:pt x="48" y="46"/>
                  <a:pt x="48" y="46"/>
                  <a:pt x="48" y="46"/>
                </a:cubicBezTo>
                <a:cubicBezTo>
                  <a:pt x="48" y="51"/>
                  <a:pt x="49" y="57"/>
                  <a:pt x="50" y="63"/>
                </a:cubicBezTo>
                <a:cubicBezTo>
                  <a:pt x="50" y="63"/>
                  <a:pt x="50" y="63"/>
                  <a:pt x="50" y="63"/>
                </a:cubicBezTo>
                <a:cubicBezTo>
                  <a:pt x="52" y="68"/>
                  <a:pt x="55" y="72"/>
                  <a:pt x="58" y="78"/>
                </a:cubicBezTo>
                <a:cubicBezTo>
                  <a:pt x="64" y="86"/>
                  <a:pt x="64" y="86"/>
                  <a:pt x="64" y="86"/>
                </a:cubicBezTo>
                <a:cubicBezTo>
                  <a:pt x="68" y="90"/>
                  <a:pt x="73" y="94"/>
                  <a:pt x="77" y="97"/>
                </a:cubicBezTo>
                <a:cubicBezTo>
                  <a:pt x="80" y="100"/>
                  <a:pt x="85" y="104"/>
                  <a:pt x="89" y="107"/>
                </a:cubicBezTo>
                <a:cubicBezTo>
                  <a:pt x="92" y="91"/>
                  <a:pt x="98" y="75"/>
                  <a:pt x="107" y="61"/>
                </a:cubicBezTo>
                <a:cubicBezTo>
                  <a:pt x="89" y="49"/>
                  <a:pt x="37" y="20"/>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1" name="Freeform 710">
            <a:extLst>
              <a:ext uri="{FF2B5EF4-FFF2-40B4-BE49-F238E27FC236}">
                <a16:creationId xmlns:a16="http://schemas.microsoft.com/office/drawing/2014/main" id="{CEC80E7D-5EA3-435A-AAE4-521554AA3821}"/>
              </a:ext>
            </a:extLst>
          </p:cNvPr>
          <p:cNvSpPr>
            <a:spLocks/>
          </p:cNvSpPr>
          <p:nvPr/>
        </p:nvSpPr>
        <p:spPr bwMode="auto">
          <a:xfrm>
            <a:off x="10696575" y="5056188"/>
            <a:ext cx="17463" cy="31750"/>
          </a:xfrm>
          <a:custGeom>
            <a:avLst/>
            <a:gdLst>
              <a:gd name="T0" fmla="*/ 0 w 8"/>
              <a:gd name="T1" fmla="*/ 0 h 15"/>
              <a:gd name="T2" fmla="*/ 0 w 8"/>
              <a:gd name="T3" fmla="*/ 4 h 15"/>
              <a:gd name="T4" fmla="*/ 8 w 8"/>
              <a:gd name="T5" fmla="*/ 15 h 15"/>
              <a:gd name="T6" fmla="*/ 0 w 8"/>
              <a:gd name="T7" fmla="*/ 0 h 15"/>
              <a:gd name="T8" fmla="*/ 0 w 8"/>
              <a:gd name="T9" fmla="*/ 0 h 15"/>
              <a:gd name="T10" fmla="*/ 0 w 8"/>
              <a:gd name="T11" fmla="*/ 0 h 15"/>
            </a:gdLst>
            <a:ahLst/>
            <a:cxnLst>
              <a:cxn ang="0">
                <a:pos x="T0" y="T1"/>
              </a:cxn>
              <a:cxn ang="0">
                <a:pos x="T2" y="T3"/>
              </a:cxn>
              <a:cxn ang="0">
                <a:pos x="T4" y="T5"/>
              </a:cxn>
              <a:cxn ang="0">
                <a:pos x="T6" y="T7"/>
              </a:cxn>
              <a:cxn ang="0">
                <a:pos x="T8" y="T9"/>
              </a:cxn>
              <a:cxn ang="0">
                <a:pos x="T10" y="T11"/>
              </a:cxn>
            </a:cxnLst>
            <a:rect l="0" t="0" r="r" b="b"/>
            <a:pathLst>
              <a:path w="8" h="15">
                <a:moveTo>
                  <a:pt x="0" y="0"/>
                </a:moveTo>
                <a:cubicBezTo>
                  <a:pt x="0" y="1"/>
                  <a:pt x="0" y="3"/>
                  <a:pt x="0" y="4"/>
                </a:cubicBezTo>
                <a:cubicBezTo>
                  <a:pt x="8" y="15"/>
                  <a:pt x="8" y="15"/>
                  <a:pt x="8" y="15"/>
                </a:cubicBezTo>
                <a:cubicBezTo>
                  <a:pt x="5" y="9"/>
                  <a:pt x="2" y="5"/>
                  <a:pt x="0" y="0"/>
                </a:cubicBezTo>
                <a:cubicBezTo>
                  <a:pt x="0" y="0"/>
                  <a:pt x="0" y="0"/>
                  <a:pt x="0" y="0"/>
                </a:cubicBezTo>
                <a:cubicBezTo>
                  <a:pt x="0" y="0"/>
                  <a:pt x="0" y="0"/>
                  <a:pt x="0" y="0"/>
                </a:cubicBezTo>
              </a:path>
            </a:pathLst>
          </a:custGeom>
          <a:solidFill>
            <a:srgbClr val="D6A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2" name="Freeform 711">
            <a:extLst>
              <a:ext uri="{FF2B5EF4-FFF2-40B4-BE49-F238E27FC236}">
                <a16:creationId xmlns:a16="http://schemas.microsoft.com/office/drawing/2014/main" id="{A2A3CC1C-CF54-4105-B312-51A501994AAE}"/>
              </a:ext>
            </a:extLst>
          </p:cNvPr>
          <p:cNvSpPr>
            <a:spLocks/>
          </p:cNvSpPr>
          <p:nvPr/>
        </p:nvSpPr>
        <p:spPr bwMode="auto">
          <a:xfrm>
            <a:off x="10291763" y="4843463"/>
            <a:ext cx="696913" cy="825500"/>
          </a:xfrm>
          <a:custGeom>
            <a:avLst/>
            <a:gdLst>
              <a:gd name="T0" fmla="*/ 31 w 324"/>
              <a:gd name="T1" fmla="*/ 111 h 384"/>
              <a:gd name="T2" fmla="*/ 2 w 324"/>
              <a:gd name="T3" fmla="*/ 49 h 384"/>
              <a:gd name="T4" fmla="*/ 57 w 324"/>
              <a:gd name="T5" fmla="*/ 4 h 384"/>
              <a:gd name="T6" fmla="*/ 142 w 324"/>
              <a:gd name="T7" fmla="*/ 53 h 384"/>
              <a:gd name="T8" fmla="*/ 215 w 324"/>
              <a:gd name="T9" fmla="*/ 133 h 384"/>
              <a:gd name="T10" fmla="*/ 324 w 324"/>
              <a:gd name="T11" fmla="*/ 177 h 384"/>
              <a:gd name="T12" fmla="*/ 267 w 324"/>
              <a:gd name="T13" fmla="*/ 254 h 384"/>
              <a:gd name="T14" fmla="*/ 173 w 324"/>
              <a:gd name="T15" fmla="*/ 260 h 384"/>
              <a:gd name="T16" fmla="*/ 104 w 324"/>
              <a:gd name="T17" fmla="*/ 198 h 384"/>
              <a:gd name="T18" fmla="*/ 31 w 324"/>
              <a:gd name="T19" fmla="*/ 11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4" h="384">
                <a:moveTo>
                  <a:pt x="31" y="111"/>
                </a:moveTo>
                <a:cubicBezTo>
                  <a:pt x="18" y="93"/>
                  <a:pt x="0" y="71"/>
                  <a:pt x="2" y="49"/>
                </a:cubicBezTo>
                <a:cubicBezTo>
                  <a:pt x="5" y="24"/>
                  <a:pt x="31" y="0"/>
                  <a:pt x="57" y="4"/>
                </a:cubicBezTo>
                <a:cubicBezTo>
                  <a:pt x="89" y="9"/>
                  <a:pt x="119" y="31"/>
                  <a:pt x="142" y="53"/>
                </a:cubicBezTo>
                <a:cubicBezTo>
                  <a:pt x="167" y="77"/>
                  <a:pt x="188" y="111"/>
                  <a:pt x="215" y="133"/>
                </a:cubicBezTo>
                <a:cubicBezTo>
                  <a:pt x="241" y="156"/>
                  <a:pt x="289" y="178"/>
                  <a:pt x="324" y="177"/>
                </a:cubicBezTo>
                <a:cubicBezTo>
                  <a:pt x="298" y="201"/>
                  <a:pt x="308" y="244"/>
                  <a:pt x="267" y="254"/>
                </a:cubicBezTo>
                <a:cubicBezTo>
                  <a:pt x="209" y="269"/>
                  <a:pt x="265" y="384"/>
                  <a:pt x="173" y="260"/>
                </a:cubicBezTo>
                <a:cubicBezTo>
                  <a:pt x="147" y="225"/>
                  <a:pt x="135" y="226"/>
                  <a:pt x="104" y="198"/>
                </a:cubicBezTo>
                <a:cubicBezTo>
                  <a:pt x="75" y="171"/>
                  <a:pt x="54" y="144"/>
                  <a:pt x="31" y="111"/>
                </a:cubicBezTo>
              </a:path>
            </a:pathLst>
          </a:custGeom>
          <a:solidFill>
            <a:srgbClr val="D6A7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3" name="Freeform 712">
            <a:extLst>
              <a:ext uri="{FF2B5EF4-FFF2-40B4-BE49-F238E27FC236}">
                <a16:creationId xmlns:a16="http://schemas.microsoft.com/office/drawing/2014/main" id="{370B7820-3290-4E74-A3E9-0B3CA464CD86}"/>
              </a:ext>
            </a:extLst>
          </p:cNvPr>
          <p:cNvSpPr>
            <a:spLocks/>
          </p:cNvSpPr>
          <p:nvPr/>
        </p:nvSpPr>
        <p:spPr bwMode="auto">
          <a:xfrm>
            <a:off x="10775950" y="5029200"/>
            <a:ext cx="58738" cy="160338"/>
          </a:xfrm>
          <a:custGeom>
            <a:avLst/>
            <a:gdLst>
              <a:gd name="T0" fmla="*/ 27 w 27"/>
              <a:gd name="T1" fmla="*/ 0 h 75"/>
              <a:gd name="T2" fmla="*/ 10 w 27"/>
              <a:gd name="T3" fmla="*/ 75 h 75"/>
              <a:gd name="T4" fmla="*/ 0 w 27"/>
              <a:gd name="T5" fmla="*/ 69 h 75"/>
              <a:gd name="T6" fmla="*/ 27 w 27"/>
              <a:gd name="T7" fmla="*/ 0 h 75"/>
            </a:gdLst>
            <a:ahLst/>
            <a:cxnLst>
              <a:cxn ang="0">
                <a:pos x="T0" y="T1"/>
              </a:cxn>
              <a:cxn ang="0">
                <a:pos x="T2" y="T3"/>
              </a:cxn>
              <a:cxn ang="0">
                <a:pos x="T4" y="T5"/>
              </a:cxn>
              <a:cxn ang="0">
                <a:pos x="T6" y="T7"/>
              </a:cxn>
            </a:cxnLst>
            <a:rect l="0" t="0" r="r" b="b"/>
            <a:pathLst>
              <a:path w="27" h="75">
                <a:moveTo>
                  <a:pt x="27" y="0"/>
                </a:moveTo>
                <a:cubicBezTo>
                  <a:pt x="16" y="24"/>
                  <a:pt x="12" y="49"/>
                  <a:pt x="10" y="75"/>
                </a:cubicBezTo>
                <a:cubicBezTo>
                  <a:pt x="0" y="69"/>
                  <a:pt x="0" y="69"/>
                  <a:pt x="0" y="69"/>
                </a:cubicBezTo>
                <a:cubicBezTo>
                  <a:pt x="2" y="46"/>
                  <a:pt x="13" y="19"/>
                  <a:pt x="27"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4" name="Freeform 713">
            <a:extLst>
              <a:ext uri="{FF2B5EF4-FFF2-40B4-BE49-F238E27FC236}">
                <a16:creationId xmlns:a16="http://schemas.microsoft.com/office/drawing/2014/main" id="{90B40365-2667-4208-9884-BEAAE2FE9622}"/>
              </a:ext>
            </a:extLst>
          </p:cNvPr>
          <p:cNvSpPr>
            <a:spLocks/>
          </p:cNvSpPr>
          <p:nvPr/>
        </p:nvSpPr>
        <p:spPr bwMode="auto">
          <a:xfrm>
            <a:off x="10671175" y="4889500"/>
            <a:ext cx="61913" cy="123825"/>
          </a:xfrm>
          <a:custGeom>
            <a:avLst/>
            <a:gdLst>
              <a:gd name="T0" fmla="*/ 10 w 29"/>
              <a:gd name="T1" fmla="*/ 58 h 58"/>
              <a:gd name="T2" fmla="*/ 29 w 29"/>
              <a:gd name="T3" fmla="*/ 0 h 58"/>
              <a:gd name="T4" fmla="*/ 0 w 29"/>
              <a:gd name="T5" fmla="*/ 58 h 58"/>
              <a:gd name="T6" fmla="*/ 10 w 29"/>
              <a:gd name="T7" fmla="*/ 58 h 58"/>
            </a:gdLst>
            <a:ahLst/>
            <a:cxnLst>
              <a:cxn ang="0">
                <a:pos x="T0" y="T1"/>
              </a:cxn>
              <a:cxn ang="0">
                <a:pos x="T2" y="T3"/>
              </a:cxn>
              <a:cxn ang="0">
                <a:pos x="T4" y="T5"/>
              </a:cxn>
              <a:cxn ang="0">
                <a:pos x="T6" y="T7"/>
              </a:cxn>
            </a:cxnLst>
            <a:rect l="0" t="0" r="r" b="b"/>
            <a:pathLst>
              <a:path w="29" h="58">
                <a:moveTo>
                  <a:pt x="10" y="58"/>
                </a:moveTo>
                <a:cubicBezTo>
                  <a:pt x="10" y="45"/>
                  <a:pt x="9" y="36"/>
                  <a:pt x="29" y="0"/>
                </a:cubicBezTo>
                <a:cubicBezTo>
                  <a:pt x="15" y="17"/>
                  <a:pt x="4" y="38"/>
                  <a:pt x="0" y="58"/>
                </a:cubicBezTo>
                <a:cubicBezTo>
                  <a:pt x="4" y="58"/>
                  <a:pt x="6" y="58"/>
                  <a:pt x="10" y="58"/>
                </a:cubicBezTo>
                <a:close/>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5" name="Freeform 714">
            <a:extLst>
              <a:ext uri="{FF2B5EF4-FFF2-40B4-BE49-F238E27FC236}">
                <a16:creationId xmlns:a16="http://schemas.microsoft.com/office/drawing/2014/main" id="{F3B6A4B2-6F35-45C9-8679-C1AE5A31DB52}"/>
              </a:ext>
            </a:extLst>
          </p:cNvPr>
          <p:cNvSpPr>
            <a:spLocks/>
          </p:cNvSpPr>
          <p:nvPr/>
        </p:nvSpPr>
        <p:spPr bwMode="auto">
          <a:xfrm>
            <a:off x="10515600" y="4800600"/>
            <a:ext cx="39688" cy="155575"/>
          </a:xfrm>
          <a:custGeom>
            <a:avLst/>
            <a:gdLst>
              <a:gd name="T0" fmla="*/ 3 w 18"/>
              <a:gd name="T1" fmla="*/ 0 h 72"/>
              <a:gd name="T2" fmla="*/ 18 w 18"/>
              <a:gd name="T3" fmla="*/ 71 h 72"/>
              <a:gd name="T4" fmla="*/ 9 w 18"/>
              <a:gd name="T5" fmla="*/ 72 h 72"/>
              <a:gd name="T6" fmla="*/ 3 w 18"/>
              <a:gd name="T7" fmla="*/ 0 h 72"/>
            </a:gdLst>
            <a:ahLst/>
            <a:cxnLst>
              <a:cxn ang="0">
                <a:pos x="T0" y="T1"/>
              </a:cxn>
              <a:cxn ang="0">
                <a:pos x="T2" y="T3"/>
              </a:cxn>
              <a:cxn ang="0">
                <a:pos x="T4" y="T5"/>
              </a:cxn>
              <a:cxn ang="0">
                <a:pos x="T6" y="T7"/>
              </a:cxn>
            </a:cxnLst>
            <a:rect l="0" t="0" r="r" b="b"/>
            <a:pathLst>
              <a:path w="18" h="72">
                <a:moveTo>
                  <a:pt x="3" y="0"/>
                </a:moveTo>
                <a:cubicBezTo>
                  <a:pt x="5" y="26"/>
                  <a:pt x="8" y="49"/>
                  <a:pt x="18" y="71"/>
                </a:cubicBezTo>
                <a:cubicBezTo>
                  <a:pt x="9" y="72"/>
                  <a:pt x="9" y="72"/>
                  <a:pt x="9" y="72"/>
                </a:cubicBezTo>
                <a:cubicBezTo>
                  <a:pt x="0" y="52"/>
                  <a:pt x="0" y="23"/>
                  <a:pt x="3"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7" name="Freeform 715">
            <a:extLst>
              <a:ext uri="{FF2B5EF4-FFF2-40B4-BE49-F238E27FC236}">
                <a16:creationId xmlns:a16="http://schemas.microsoft.com/office/drawing/2014/main" id="{6498B781-A6C4-404C-AC00-F9712733EBEE}"/>
              </a:ext>
            </a:extLst>
          </p:cNvPr>
          <p:cNvSpPr>
            <a:spLocks/>
          </p:cNvSpPr>
          <p:nvPr/>
        </p:nvSpPr>
        <p:spPr bwMode="auto">
          <a:xfrm>
            <a:off x="10013950" y="4457700"/>
            <a:ext cx="1076325" cy="1376363"/>
          </a:xfrm>
          <a:custGeom>
            <a:avLst/>
            <a:gdLst>
              <a:gd name="T0" fmla="*/ 498 w 500"/>
              <a:gd name="T1" fmla="*/ 580 h 641"/>
              <a:gd name="T2" fmla="*/ 65 w 500"/>
              <a:gd name="T3" fmla="*/ 0 h 641"/>
              <a:gd name="T4" fmla="*/ 0 w 500"/>
              <a:gd name="T5" fmla="*/ 49 h 641"/>
              <a:gd name="T6" fmla="*/ 433 w 500"/>
              <a:gd name="T7" fmla="*/ 629 h 641"/>
              <a:gd name="T8" fmla="*/ 498 w 500"/>
              <a:gd name="T9" fmla="*/ 580 h 641"/>
            </a:gdLst>
            <a:ahLst/>
            <a:cxnLst>
              <a:cxn ang="0">
                <a:pos x="T0" y="T1"/>
              </a:cxn>
              <a:cxn ang="0">
                <a:pos x="T2" y="T3"/>
              </a:cxn>
              <a:cxn ang="0">
                <a:pos x="T4" y="T5"/>
              </a:cxn>
              <a:cxn ang="0">
                <a:pos x="T6" y="T7"/>
              </a:cxn>
              <a:cxn ang="0">
                <a:pos x="T8" y="T9"/>
              </a:cxn>
            </a:cxnLst>
            <a:rect l="0" t="0" r="r" b="b"/>
            <a:pathLst>
              <a:path w="500" h="641">
                <a:moveTo>
                  <a:pt x="498" y="580"/>
                </a:moveTo>
                <a:cubicBezTo>
                  <a:pt x="65" y="0"/>
                  <a:pt x="65" y="0"/>
                  <a:pt x="65" y="0"/>
                </a:cubicBezTo>
                <a:cubicBezTo>
                  <a:pt x="0" y="49"/>
                  <a:pt x="0" y="49"/>
                  <a:pt x="0" y="49"/>
                </a:cubicBezTo>
                <a:cubicBezTo>
                  <a:pt x="433" y="629"/>
                  <a:pt x="433" y="629"/>
                  <a:pt x="433" y="629"/>
                </a:cubicBezTo>
                <a:cubicBezTo>
                  <a:pt x="483" y="641"/>
                  <a:pt x="500" y="634"/>
                  <a:pt x="498" y="580"/>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8" name="Freeform 716">
            <a:extLst>
              <a:ext uri="{FF2B5EF4-FFF2-40B4-BE49-F238E27FC236}">
                <a16:creationId xmlns:a16="http://schemas.microsoft.com/office/drawing/2014/main" id="{F8F0560F-F993-4E69-A298-77261F5E4250}"/>
              </a:ext>
            </a:extLst>
          </p:cNvPr>
          <p:cNvSpPr>
            <a:spLocks noEditPoints="1"/>
          </p:cNvSpPr>
          <p:nvPr/>
        </p:nvSpPr>
        <p:spPr bwMode="auto">
          <a:xfrm>
            <a:off x="8728075" y="3036887"/>
            <a:ext cx="1774825" cy="1773238"/>
          </a:xfrm>
          <a:custGeom>
            <a:avLst/>
            <a:gdLst>
              <a:gd name="T0" fmla="*/ 130 w 825"/>
              <a:gd name="T1" fmla="*/ 647 h 825"/>
              <a:gd name="T2" fmla="*/ 178 w 825"/>
              <a:gd name="T3" fmla="*/ 129 h 825"/>
              <a:gd name="T4" fmla="*/ 695 w 825"/>
              <a:gd name="T5" fmla="*/ 178 h 825"/>
              <a:gd name="T6" fmla="*/ 647 w 825"/>
              <a:gd name="T7" fmla="*/ 695 h 825"/>
              <a:gd name="T8" fmla="*/ 130 w 825"/>
              <a:gd name="T9" fmla="*/ 647 h 825"/>
              <a:gd name="T10" fmla="*/ 620 w 825"/>
              <a:gd name="T11" fmla="*/ 662 h 825"/>
              <a:gd name="T12" fmla="*/ 663 w 825"/>
              <a:gd name="T13" fmla="*/ 205 h 825"/>
              <a:gd name="T14" fmla="*/ 205 w 825"/>
              <a:gd name="T15" fmla="*/ 162 h 825"/>
              <a:gd name="T16" fmla="*/ 162 w 825"/>
              <a:gd name="T17" fmla="*/ 620 h 825"/>
              <a:gd name="T18" fmla="*/ 620 w 825"/>
              <a:gd name="T19" fmla="*/ 662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5">
                <a:moveTo>
                  <a:pt x="130" y="647"/>
                </a:moveTo>
                <a:cubicBezTo>
                  <a:pt x="0" y="491"/>
                  <a:pt x="22" y="259"/>
                  <a:pt x="178" y="129"/>
                </a:cubicBezTo>
                <a:cubicBezTo>
                  <a:pt x="334" y="0"/>
                  <a:pt x="566" y="21"/>
                  <a:pt x="695" y="178"/>
                </a:cubicBezTo>
                <a:cubicBezTo>
                  <a:pt x="825" y="334"/>
                  <a:pt x="803" y="566"/>
                  <a:pt x="647" y="695"/>
                </a:cubicBezTo>
                <a:cubicBezTo>
                  <a:pt x="491" y="825"/>
                  <a:pt x="259" y="803"/>
                  <a:pt x="130" y="647"/>
                </a:cubicBezTo>
                <a:moveTo>
                  <a:pt x="620" y="662"/>
                </a:moveTo>
                <a:cubicBezTo>
                  <a:pt x="758" y="548"/>
                  <a:pt x="777" y="343"/>
                  <a:pt x="663" y="205"/>
                </a:cubicBezTo>
                <a:cubicBezTo>
                  <a:pt x="548" y="67"/>
                  <a:pt x="343" y="47"/>
                  <a:pt x="205" y="162"/>
                </a:cubicBezTo>
                <a:cubicBezTo>
                  <a:pt x="67" y="277"/>
                  <a:pt x="48" y="482"/>
                  <a:pt x="162" y="620"/>
                </a:cubicBezTo>
                <a:cubicBezTo>
                  <a:pt x="277" y="758"/>
                  <a:pt x="482" y="777"/>
                  <a:pt x="620" y="66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9" name="Freeform 717">
            <a:extLst>
              <a:ext uri="{FF2B5EF4-FFF2-40B4-BE49-F238E27FC236}">
                <a16:creationId xmlns:a16="http://schemas.microsoft.com/office/drawing/2014/main" id="{4E50CAD8-9B54-4709-A558-5CFD231C2F0E}"/>
              </a:ext>
            </a:extLst>
          </p:cNvPr>
          <p:cNvSpPr>
            <a:spLocks noEditPoints="1"/>
          </p:cNvSpPr>
          <p:nvPr/>
        </p:nvSpPr>
        <p:spPr bwMode="auto">
          <a:xfrm>
            <a:off x="8920163" y="3224213"/>
            <a:ext cx="1390650" cy="1395413"/>
          </a:xfrm>
          <a:custGeom>
            <a:avLst/>
            <a:gdLst>
              <a:gd name="T0" fmla="*/ 345 w 647"/>
              <a:gd name="T1" fmla="*/ 96 h 650"/>
              <a:gd name="T2" fmla="*/ 382 w 647"/>
              <a:gd name="T3" fmla="*/ 102 h 650"/>
              <a:gd name="T4" fmla="*/ 417 w 647"/>
              <a:gd name="T5" fmla="*/ 115 h 650"/>
              <a:gd name="T6" fmla="*/ 450 w 647"/>
              <a:gd name="T7" fmla="*/ 132 h 650"/>
              <a:gd name="T8" fmla="*/ 480 w 647"/>
              <a:gd name="T9" fmla="*/ 155 h 650"/>
              <a:gd name="T10" fmla="*/ 505 w 647"/>
              <a:gd name="T11" fmla="*/ 182 h 650"/>
              <a:gd name="T12" fmla="*/ 528 w 647"/>
              <a:gd name="T13" fmla="*/ 201 h 650"/>
              <a:gd name="T14" fmla="*/ 540 w 647"/>
              <a:gd name="T15" fmla="*/ 229 h 650"/>
              <a:gd name="T16" fmla="*/ 549 w 647"/>
              <a:gd name="T17" fmla="*/ 265 h 650"/>
              <a:gd name="T18" fmla="*/ 557 w 647"/>
              <a:gd name="T19" fmla="*/ 301 h 650"/>
              <a:gd name="T20" fmla="*/ 566 w 647"/>
              <a:gd name="T21" fmla="*/ 347 h 650"/>
              <a:gd name="T22" fmla="*/ 553 w 647"/>
              <a:gd name="T23" fmla="*/ 393 h 650"/>
              <a:gd name="T24" fmla="*/ 549 w 647"/>
              <a:gd name="T25" fmla="*/ 422 h 650"/>
              <a:gd name="T26" fmla="*/ 530 w 647"/>
              <a:gd name="T27" fmla="*/ 445 h 650"/>
              <a:gd name="T28" fmla="*/ 502 w 647"/>
              <a:gd name="T29" fmla="*/ 463 h 650"/>
              <a:gd name="T30" fmla="*/ 479 w 647"/>
              <a:gd name="T31" fmla="*/ 490 h 650"/>
              <a:gd name="T32" fmla="*/ 452 w 647"/>
              <a:gd name="T33" fmla="*/ 513 h 650"/>
              <a:gd name="T34" fmla="*/ 422 w 647"/>
              <a:gd name="T35" fmla="*/ 531 h 650"/>
              <a:gd name="T36" fmla="*/ 390 w 647"/>
              <a:gd name="T37" fmla="*/ 544 h 650"/>
              <a:gd name="T38" fmla="*/ 356 w 647"/>
              <a:gd name="T39" fmla="*/ 552 h 650"/>
              <a:gd name="T40" fmla="*/ 321 w 647"/>
              <a:gd name="T41" fmla="*/ 555 h 650"/>
              <a:gd name="T42" fmla="*/ 286 w 647"/>
              <a:gd name="T43" fmla="*/ 552 h 650"/>
              <a:gd name="T44" fmla="*/ 252 w 647"/>
              <a:gd name="T45" fmla="*/ 544 h 650"/>
              <a:gd name="T46" fmla="*/ 220 w 647"/>
              <a:gd name="T47" fmla="*/ 531 h 650"/>
              <a:gd name="T48" fmla="*/ 190 w 647"/>
              <a:gd name="T49" fmla="*/ 512 h 650"/>
              <a:gd name="T50" fmla="*/ 163 w 647"/>
              <a:gd name="T51" fmla="*/ 489 h 650"/>
              <a:gd name="T52" fmla="*/ 140 w 647"/>
              <a:gd name="T53" fmla="*/ 463 h 650"/>
              <a:gd name="T54" fmla="*/ 125 w 647"/>
              <a:gd name="T55" fmla="*/ 439 h 650"/>
              <a:gd name="T56" fmla="*/ 100 w 647"/>
              <a:gd name="T57" fmla="*/ 418 h 650"/>
              <a:gd name="T58" fmla="*/ 84 w 647"/>
              <a:gd name="T59" fmla="*/ 392 h 650"/>
              <a:gd name="T60" fmla="*/ 84 w 647"/>
              <a:gd name="T61" fmla="*/ 345 h 650"/>
              <a:gd name="T62" fmla="*/ 100 w 647"/>
              <a:gd name="T63" fmla="*/ 304 h 650"/>
              <a:gd name="T64" fmla="*/ 95 w 647"/>
              <a:gd name="T65" fmla="*/ 271 h 650"/>
              <a:gd name="T66" fmla="*/ 104 w 647"/>
              <a:gd name="T67" fmla="*/ 236 h 650"/>
              <a:gd name="T68" fmla="*/ 117 w 647"/>
              <a:gd name="T69" fmla="*/ 202 h 650"/>
              <a:gd name="T70" fmla="*/ 133 w 647"/>
              <a:gd name="T71" fmla="*/ 175 h 650"/>
              <a:gd name="T72" fmla="*/ 159 w 647"/>
              <a:gd name="T73" fmla="*/ 148 h 650"/>
              <a:gd name="T74" fmla="*/ 190 w 647"/>
              <a:gd name="T75" fmla="*/ 125 h 650"/>
              <a:gd name="T76" fmla="*/ 224 w 647"/>
              <a:gd name="T77" fmla="*/ 107 h 650"/>
              <a:gd name="T78" fmla="*/ 261 w 647"/>
              <a:gd name="T79" fmla="*/ 94 h 650"/>
              <a:gd name="T80" fmla="*/ 299 w 647"/>
              <a:gd name="T81" fmla="*/ 88 h 650"/>
              <a:gd name="T82" fmla="*/ 116 w 647"/>
              <a:gd name="T83" fmla="*/ 128 h 650"/>
              <a:gd name="T84" fmla="*/ 17 w 647"/>
              <a:gd name="T85" fmla="*/ 271 h 650"/>
              <a:gd name="T86" fmla="*/ 12 w 647"/>
              <a:gd name="T87" fmla="*/ 294 h 650"/>
              <a:gd name="T88" fmla="*/ 57 w 647"/>
              <a:gd name="T89" fmla="*/ 511 h 650"/>
              <a:gd name="T90" fmla="*/ 141 w 647"/>
              <a:gd name="T91" fmla="*/ 535 h 650"/>
              <a:gd name="T92" fmla="*/ 525 w 647"/>
              <a:gd name="T93" fmla="*/ 580 h 650"/>
              <a:gd name="T94" fmla="*/ 574 w 647"/>
              <a:gd name="T95" fmla="*/ 171 h 650"/>
              <a:gd name="T96" fmla="*/ 585 w 647"/>
              <a:gd name="T97" fmla="*/ 309 h 650"/>
              <a:gd name="T98" fmla="*/ 396 w 647"/>
              <a:gd name="T99" fmla="*/ 61 h 650"/>
              <a:gd name="T100" fmla="*/ 350 w 647"/>
              <a:gd name="T101" fmla="*/ 54 h 650"/>
              <a:gd name="T102" fmla="*/ 135 w 647"/>
              <a:gd name="T103" fmla="*/ 61 h 650"/>
              <a:gd name="T104" fmla="*/ 350 w 647"/>
              <a:gd name="T105" fmla="*/ 12 h 650"/>
              <a:gd name="T106" fmla="*/ 399 w 647"/>
              <a:gd name="T107" fmla="*/ 19 h 650"/>
              <a:gd name="T108" fmla="*/ 448 w 647"/>
              <a:gd name="T109" fmla="*/ 32 h 650"/>
              <a:gd name="T110" fmla="*/ 496 w 647"/>
              <a:gd name="T111" fmla="*/ 53 h 650"/>
              <a:gd name="T112" fmla="*/ 519 w 647"/>
              <a:gd name="T113" fmla="*/ 6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650">
                <a:moveTo>
                  <a:pt x="314" y="109"/>
                </a:moveTo>
                <a:cubicBezTo>
                  <a:pt x="317" y="108"/>
                  <a:pt x="319" y="108"/>
                  <a:pt x="322" y="108"/>
                </a:cubicBezTo>
                <a:cubicBezTo>
                  <a:pt x="324" y="106"/>
                  <a:pt x="326" y="100"/>
                  <a:pt x="328" y="94"/>
                </a:cubicBezTo>
                <a:cubicBezTo>
                  <a:pt x="329" y="88"/>
                  <a:pt x="332" y="87"/>
                  <a:pt x="335" y="87"/>
                </a:cubicBezTo>
                <a:cubicBezTo>
                  <a:pt x="335" y="87"/>
                  <a:pt x="336" y="87"/>
                  <a:pt x="337" y="87"/>
                </a:cubicBezTo>
                <a:cubicBezTo>
                  <a:pt x="340" y="87"/>
                  <a:pt x="345" y="87"/>
                  <a:pt x="345" y="96"/>
                </a:cubicBezTo>
                <a:cubicBezTo>
                  <a:pt x="346" y="101"/>
                  <a:pt x="347" y="107"/>
                  <a:pt x="349" y="110"/>
                </a:cubicBezTo>
                <a:cubicBezTo>
                  <a:pt x="352" y="110"/>
                  <a:pt x="354" y="111"/>
                  <a:pt x="357" y="111"/>
                </a:cubicBezTo>
                <a:cubicBezTo>
                  <a:pt x="360" y="109"/>
                  <a:pt x="363" y="103"/>
                  <a:pt x="365" y="98"/>
                </a:cubicBezTo>
                <a:cubicBezTo>
                  <a:pt x="367" y="93"/>
                  <a:pt x="369" y="92"/>
                  <a:pt x="371" y="92"/>
                </a:cubicBezTo>
                <a:cubicBezTo>
                  <a:pt x="373" y="92"/>
                  <a:pt x="374" y="92"/>
                  <a:pt x="375" y="93"/>
                </a:cubicBezTo>
                <a:cubicBezTo>
                  <a:pt x="378" y="93"/>
                  <a:pt x="383" y="94"/>
                  <a:pt x="382" y="102"/>
                </a:cubicBezTo>
                <a:cubicBezTo>
                  <a:pt x="382" y="108"/>
                  <a:pt x="382" y="114"/>
                  <a:pt x="384" y="117"/>
                </a:cubicBezTo>
                <a:cubicBezTo>
                  <a:pt x="386" y="118"/>
                  <a:pt x="388" y="119"/>
                  <a:pt x="391" y="119"/>
                </a:cubicBezTo>
                <a:cubicBezTo>
                  <a:pt x="394" y="118"/>
                  <a:pt x="398" y="113"/>
                  <a:pt x="401" y="108"/>
                </a:cubicBezTo>
                <a:cubicBezTo>
                  <a:pt x="403" y="104"/>
                  <a:pt x="405" y="103"/>
                  <a:pt x="407" y="103"/>
                </a:cubicBezTo>
                <a:cubicBezTo>
                  <a:pt x="409" y="103"/>
                  <a:pt x="411" y="103"/>
                  <a:pt x="412" y="104"/>
                </a:cubicBezTo>
                <a:cubicBezTo>
                  <a:pt x="415" y="105"/>
                  <a:pt x="419" y="106"/>
                  <a:pt x="417" y="115"/>
                </a:cubicBezTo>
                <a:cubicBezTo>
                  <a:pt x="416" y="120"/>
                  <a:pt x="415" y="126"/>
                  <a:pt x="417" y="130"/>
                </a:cubicBezTo>
                <a:cubicBezTo>
                  <a:pt x="419" y="131"/>
                  <a:pt x="421" y="132"/>
                  <a:pt x="423" y="133"/>
                </a:cubicBezTo>
                <a:cubicBezTo>
                  <a:pt x="427" y="132"/>
                  <a:pt x="431" y="127"/>
                  <a:pt x="435" y="123"/>
                </a:cubicBezTo>
                <a:cubicBezTo>
                  <a:pt x="437" y="120"/>
                  <a:pt x="439" y="119"/>
                  <a:pt x="441" y="119"/>
                </a:cubicBezTo>
                <a:cubicBezTo>
                  <a:pt x="443" y="119"/>
                  <a:pt x="445" y="120"/>
                  <a:pt x="446" y="121"/>
                </a:cubicBezTo>
                <a:cubicBezTo>
                  <a:pt x="449" y="123"/>
                  <a:pt x="453" y="124"/>
                  <a:pt x="450" y="132"/>
                </a:cubicBezTo>
                <a:cubicBezTo>
                  <a:pt x="448" y="137"/>
                  <a:pt x="446" y="143"/>
                  <a:pt x="447" y="147"/>
                </a:cubicBezTo>
                <a:cubicBezTo>
                  <a:pt x="449" y="148"/>
                  <a:pt x="451" y="150"/>
                  <a:pt x="453" y="151"/>
                </a:cubicBezTo>
                <a:cubicBezTo>
                  <a:pt x="457" y="151"/>
                  <a:pt x="462" y="147"/>
                  <a:pt x="466" y="144"/>
                </a:cubicBezTo>
                <a:cubicBezTo>
                  <a:pt x="469" y="141"/>
                  <a:pt x="471" y="140"/>
                  <a:pt x="472" y="140"/>
                </a:cubicBezTo>
                <a:cubicBezTo>
                  <a:pt x="475" y="140"/>
                  <a:pt x="476" y="142"/>
                  <a:pt x="478" y="143"/>
                </a:cubicBezTo>
                <a:cubicBezTo>
                  <a:pt x="480" y="145"/>
                  <a:pt x="484" y="148"/>
                  <a:pt x="480" y="155"/>
                </a:cubicBezTo>
                <a:cubicBezTo>
                  <a:pt x="477" y="159"/>
                  <a:pt x="474" y="165"/>
                  <a:pt x="474" y="169"/>
                </a:cubicBezTo>
                <a:cubicBezTo>
                  <a:pt x="476" y="171"/>
                  <a:pt x="478" y="172"/>
                  <a:pt x="480" y="174"/>
                </a:cubicBezTo>
                <a:cubicBezTo>
                  <a:pt x="483" y="174"/>
                  <a:pt x="489" y="171"/>
                  <a:pt x="494" y="168"/>
                </a:cubicBezTo>
                <a:cubicBezTo>
                  <a:pt x="496" y="167"/>
                  <a:pt x="498" y="166"/>
                  <a:pt x="500" y="166"/>
                </a:cubicBezTo>
                <a:cubicBezTo>
                  <a:pt x="502" y="166"/>
                  <a:pt x="504" y="168"/>
                  <a:pt x="505" y="170"/>
                </a:cubicBezTo>
                <a:cubicBezTo>
                  <a:pt x="508" y="172"/>
                  <a:pt x="511" y="175"/>
                  <a:pt x="505" y="182"/>
                </a:cubicBezTo>
                <a:cubicBezTo>
                  <a:pt x="502" y="186"/>
                  <a:pt x="499" y="191"/>
                  <a:pt x="498" y="195"/>
                </a:cubicBezTo>
                <a:cubicBezTo>
                  <a:pt x="499" y="197"/>
                  <a:pt x="501" y="199"/>
                  <a:pt x="502" y="201"/>
                </a:cubicBezTo>
                <a:cubicBezTo>
                  <a:pt x="503" y="201"/>
                  <a:pt x="503" y="201"/>
                  <a:pt x="503" y="201"/>
                </a:cubicBezTo>
                <a:cubicBezTo>
                  <a:pt x="507" y="201"/>
                  <a:pt x="513" y="199"/>
                  <a:pt x="517" y="197"/>
                </a:cubicBezTo>
                <a:cubicBezTo>
                  <a:pt x="519" y="196"/>
                  <a:pt x="521" y="196"/>
                  <a:pt x="522" y="196"/>
                </a:cubicBezTo>
                <a:cubicBezTo>
                  <a:pt x="526" y="196"/>
                  <a:pt x="527" y="199"/>
                  <a:pt x="528" y="201"/>
                </a:cubicBezTo>
                <a:cubicBezTo>
                  <a:pt x="530" y="203"/>
                  <a:pt x="533" y="207"/>
                  <a:pt x="527" y="212"/>
                </a:cubicBezTo>
                <a:cubicBezTo>
                  <a:pt x="522" y="216"/>
                  <a:pt x="518" y="221"/>
                  <a:pt x="517" y="224"/>
                </a:cubicBezTo>
                <a:cubicBezTo>
                  <a:pt x="518" y="226"/>
                  <a:pt x="519" y="229"/>
                  <a:pt x="521" y="231"/>
                </a:cubicBezTo>
                <a:cubicBezTo>
                  <a:pt x="522" y="231"/>
                  <a:pt x="523" y="231"/>
                  <a:pt x="525" y="231"/>
                </a:cubicBezTo>
                <a:cubicBezTo>
                  <a:pt x="528" y="231"/>
                  <a:pt x="532" y="231"/>
                  <a:pt x="536" y="230"/>
                </a:cubicBezTo>
                <a:cubicBezTo>
                  <a:pt x="537" y="229"/>
                  <a:pt x="539" y="229"/>
                  <a:pt x="540" y="229"/>
                </a:cubicBezTo>
                <a:cubicBezTo>
                  <a:pt x="544" y="229"/>
                  <a:pt x="545" y="232"/>
                  <a:pt x="546" y="235"/>
                </a:cubicBezTo>
                <a:cubicBezTo>
                  <a:pt x="548" y="238"/>
                  <a:pt x="550" y="242"/>
                  <a:pt x="543" y="246"/>
                </a:cubicBezTo>
                <a:cubicBezTo>
                  <a:pt x="538" y="249"/>
                  <a:pt x="533" y="253"/>
                  <a:pt x="532" y="256"/>
                </a:cubicBezTo>
                <a:cubicBezTo>
                  <a:pt x="532" y="259"/>
                  <a:pt x="533" y="261"/>
                  <a:pt x="534" y="263"/>
                </a:cubicBezTo>
                <a:cubicBezTo>
                  <a:pt x="536" y="264"/>
                  <a:pt x="540" y="265"/>
                  <a:pt x="544" y="265"/>
                </a:cubicBezTo>
                <a:cubicBezTo>
                  <a:pt x="546" y="265"/>
                  <a:pt x="547" y="265"/>
                  <a:pt x="549" y="265"/>
                </a:cubicBezTo>
                <a:cubicBezTo>
                  <a:pt x="550" y="264"/>
                  <a:pt x="551" y="264"/>
                  <a:pt x="551" y="264"/>
                </a:cubicBezTo>
                <a:cubicBezTo>
                  <a:pt x="558" y="264"/>
                  <a:pt x="558" y="268"/>
                  <a:pt x="559" y="271"/>
                </a:cubicBezTo>
                <a:cubicBezTo>
                  <a:pt x="560" y="274"/>
                  <a:pt x="561" y="278"/>
                  <a:pt x="553" y="282"/>
                </a:cubicBezTo>
                <a:cubicBezTo>
                  <a:pt x="548" y="284"/>
                  <a:pt x="543" y="287"/>
                  <a:pt x="541" y="290"/>
                </a:cubicBezTo>
                <a:cubicBezTo>
                  <a:pt x="541" y="292"/>
                  <a:pt x="542" y="295"/>
                  <a:pt x="542" y="297"/>
                </a:cubicBezTo>
                <a:cubicBezTo>
                  <a:pt x="545" y="299"/>
                  <a:pt x="551" y="301"/>
                  <a:pt x="557" y="301"/>
                </a:cubicBezTo>
                <a:cubicBezTo>
                  <a:pt x="565" y="301"/>
                  <a:pt x="565" y="306"/>
                  <a:pt x="565" y="309"/>
                </a:cubicBezTo>
                <a:cubicBezTo>
                  <a:pt x="566" y="312"/>
                  <a:pt x="567" y="317"/>
                  <a:pt x="558" y="319"/>
                </a:cubicBezTo>
                <a:cubicBezTo>
                  <a:pt x="553" y="320"/>
                  <a:pt x="547" y="322"/>
                  <a:pt x="545" y="325"/>
                </a:cubicBezTo>
                <a:cubicBezTo>
                  <a:pt x="545" y="327"/>
                  <a:pt x="545" y="330"/>
                  <a:pt x="545" y="332"/>
                </a:cubicBezTo>
                <a:cubicBezTo>
                  <a:pt x="547" y="335"/>
                  <a:pt x="553" y="337"/>
                  <a:pt x="559" y="338"/>
                </a:cubicBezTo>
                <a:cubicBezTo>
                  <a:pt x="567" y="340"/>
                  <a:pt x="566" y="344"/>
                  <a:pt x="566" y="347"/>
                </a:cubicBezTo>
                <a:cubicBezTo>
                  <a:pt x="566" y="351"/>
                  <a:pt x="566" y="355"/>
                  <a:pt x="557" y="356"/>
                </a:cubicBezTo>
                <a:cubicBezTo>
                  <a:pt x="552" y="356"/>
                  <a:pt x="546" y="358"/>
                  <a:pt x="543" y="360"/>
                </a:cubicBezTo>
                <a:cubicBezTo>
                  <a:pt x="543" y="362"/>
                  <a:pt x="542" y="365"/>
                  <a:pt x="542" y="367"/>
                </a:cubicBezTo>
                <a:cubicBezTo>
                  <a:pt x="544" y="370"/>
                  <a:pt x="550" y="373"/>
                  <a:pt x="555" y="375"/>
                </a:cubicBezTo>
                <a:cubicBezTo>
                  <a:pt x="563" y="378"/>
                  <a:pt x="561" y="382"/>
                  <a:pt x="560" y="386"/>
                </a:cubicBezTo>
                <a:cubicBezTo>
                  <a:pt x="560" y="388"/>
                  <a:pt x="559" y="393"/>
                  <a:pt x="553" y="393"/>
                </a:cubicBezTo>
                <a:cubicBezTo>
                  <a:pt x="552" y="393"/>
                  <a:pt x="552" y="393"/>
                  <a:pt x="551" y="392"/>
                </a:cubicBezTo>
                <a:cubicBezTo>
                  <a:pt x="550" y="392"/>
                  <a:pt x="549" y="392"/>
                  <a:pt x="548" y="392"/>
                </a:cubicBezTo>
                <a:cubicBezTo>
                  <a:pt x="543" y="392"/>
                  <a:pt x="539" y="393"/>
                  <a:pt x="536" y="394"/>
                </a:cubicBezTo>
                <a:cubicBezTo>
                  <a:pt x="535" y="397"/>
                  <a:pt x="534" y="399"/>
                  <a:pt x="534" y="401"/>
                </a:cubicBezTo>
                <a:cubicBezTo>
                  <a:pt x="535" y="404"/>
                  <a:pt x="540" y="408"/>
                  <a:pt x="545" y="411"/>
                </a:cubicBezTo>
                <a:cubicBezTo>
                  <a:pt x="553" y="415"/>
                  <a:pt x="550" y="419"/>
                  <a:pt x="549" y="422"/>
                </a:cubicBezTo>
                <a:cubicBezTo>
                  <a:pt x="548" y="425"/>
                  <a:pt x="547" y="428"/>
                  <a:pt x="542" y="428"/>
                </a:cubicBezTo>
                <a:cubicBezTo>
                  <a:pt x="541" y="428"/>
                  <a:pt x="540" y="428"/>
                  <a:pt x="539" y="428"/>
                </a:cubicBezTo>
                <a:cubicBezTo>
                  <a:pt x="535" y="427"/>
                  <a:pt x="532" y="426"/>
                  <a:pt x="528" y="426"/>
                </a:cubicBezTo>
                <a:cubicBezTo>
                  <a:pt x="527" y="426"/>
                  <a:pt x="525" y="427"/>
                  <a:pt x="523" y="427"/>
                </a:cubicBezTo>
                <a:cubicBezTo>
                  <a:pt x="522" y="429"/>
                  <a:pt x="521" y="431"/>
                  <a:pt x="520" y="434"/>
                </a:cubicBezTo>
                <a:cubicBezTo>
                  <a:pt x="521" y="437"/>
                  <a:pt x="526" y="442"/>
                  <a:pt x="530" y="445"/>
                </a:cubicBezTo>
                <a:cubicBezTo>
                  <a:pt x="537" y="450"/>
                  <a:pt x="534" y="454"/>
                  <a:pt x="532" y="457"/>
                </a:cubicBezTo>
                <a:cubicBezTo>
                  <a:pt x="531" y="459"/>
                  <a:pt x="530" y="462"/>
                  <a:pt x="526" y="462"/>
                </a:cubicBezTo>
                <a:cubicBezTo>
                  <a:pt x="525" y="462"/>
                  <a:pt x="523" y="461"/>
                  <a:pt x="521" y="460"/>
                </a:cubicBezTo>
                <a:cubicBezTo>
                  <a:pt x="516" y="459"/>
                  <a:pt x="511" y="457"/>
                  <a:pt x="508" y="457"/>
                </a:cubicBezTo>
                <a:cubicBezTo>
                  <a:pt x="507" y="457"/>
                  <a:pt x="506" y="457"/>
                  <a:pt x="506" y="457"/>
                </a:cubicBezTo>
                <a:cubicBezTo>
                  <a:pt x="505" y="459"/>
                  <a:pt x="503" y="461"/>
                  <a:pt x="502" y="463"/>
                </a:cubicBezTo>
                <a:cubicBezTo>
                  <a:pt x="503" y="467"/>
                  <a:pt x="506" y="472"/>
                  <a:pt x="510" y="476"/>
                </a:cubicBezTo>
                <a:cubicBezTo>
                  <a:pt x="515" y="483"/>
                  <a:pt x="512" y="486"/>
                  <a:pt x="510" y="488"/>
                </a:cubicBezTo>
                <a:cubicBezTo>
                  <a:pt x="509" y="490"/>
                  <a:pt x="507" y="492"/>
                  <a:pt x="504" y="492"/>
                </a:cubicBezTo>
                <a:cubicBezTo>
                  <a:pt x="503" y="492"/>
                  <a:pt x="501" y="492"/>
                  <a:pt x="498" y="490"/>
                </a:cubicBezTo>
                <a:cubicBezTo>
                  <a:pt x="494" y="487"/>
                  <a:pt x="488" y="485"/>
                  <a:pt x="484" y="485"/>
                </a:cubicBezTo>
                <a:cubicBezTo>
                  <a:pt x="482" y="487"/>
                  <a:pt x="481" y="488"/>
                  <a:pt x="479" y="490"/>
                </a:cubicBezTo>
                <a:cubicBezTo>
                  <a:pt x="479" y="494"/>
                  <a:pt x="482" y="500"/>
                  <a:pt x="485" y="504"/>
                </a:cubicBezTo>
                <a:cubicBezTo>
                  <a:pt x="489" y="511"/>
                  <a:pt x="486" y="514"/>
                  <a:pt x="483" y="516"/>
                </a:cubicBezTo>
                <a:cubicBezTo>
                  <a:pt x="482" y="517"/>
                  <a:pt x="480" y="519"/>
                  <a:pt x="478" y="519"/>
                </a:cubicBezTo>
                <a:cubicBezTo>
                  <a:pt x="476" y="519"/>
                  <a:pt x="474" y="518"/>
                  <a:pt x="471" y="516"/>
                </a:cubicBezTo>
                <a:cubicBezTo>
                  <a:pt x="467" y="512"/>
                  <a:pt x="462" y="509"/>
                  <a:pt x="458" y="508"/>
                </a:cubicBezTo>
                <a:cubicBezTo>
                  <a:pt x="456" y="510"/>
                  <a:pt x="454" y="511"/>
                  <a:pt x="452" y="513"/>
                </a:cubicBezTo>
                <a:cubicBezTo>
                  <a:pt x="452" y="517"/>
                  <a:pt x="454" y="523"/>
                  <a:pt x="456" y="528"/>
                </a:cubicBezTo>
                <a:cubicBezTo>
                  <a:pt x="459" y="535"/>
                  <a:pt x="455" y="537"/>
                  <a:pt x="452" y="539"/>
                </a:cubicBezTo>
                <a:cubicBezTo>
                  <a:pt x="451" y="540"/>
                  <a:pt x="449" y="541"/>
                  <a:pt x="447" y="541"/>
                </a:cubicBezTo>
                <a:cubicBezTo>
                  <a:pt x="445" y="541"/>
                  <a:pt x="443" y="540"/>
                  <a:pt x="441" y="537"/>
                </a:cubicBezTo>
                <a:cubicBezTo>
                  <a:pt x="437" y="533"/>
                  <a:pt x="432" y="529"/>
                  <a:pt x="429" y="528"/>
                </a:cubicBezTo>
                <a:cubicBezTo>
                  <a:pt x="427" y="529"/>
                  <a:pt x="424" y="530"/>
                  <a:pt x="422" y="531"/>
                </a:cubicBezTo>
                <a:cubicBezTo>
                  <a:pt x="421" y="535"/>
                  <a:pt x="422" y="541"/>
                  <a:pt x="423" y="546"/>
                </a:cubicBezTo>
                <a:cubicBezTo>
                  <a:pt x="426" y="554"/>
                  <a:pt x="421" y="556"/>
                  <a:pt x="418" y="557"/>
                </a:cubicBezTo>
                <a:cubicBezTo>
                  <a:pt x="417" y="557"/>
                  <a:pt x="415" y="558"/>
                  <a:pt x="414" y="558"/>
                </a:cubicBezTo>
                <a:cubicBezTo>
                  <a:pt x="412" y="558"/>
                  <a:pt x="409" y="557"/>
                  <a:pt x="407" y="553"/>
                </a:cubicBezTo>
                <a:cubicBezTo>
                  <a:pt x="404" y="549"/>
                  <a:pt x="400" y="544"/>
                  <a:pt x="397" y="542"/>
                </a:cubicBezTo>
                <a:cubicBezTo>
                  <a:pt x="395" y="543"/>
                  <a:pt x="392" y="544"/>
                  <a:pt x="390" y="544"/>
                </a:cubicBezTo>
                <a:cubicBezTo>
                  <a:pt x="388" y="548"/>
                  <a:pt x="388" y="554"/>
                  <a:pt x="389" y="559"/>
                </a:cubicBezTo>
                <a:cubicBezTo>
                  <a:pt x="390" y="568"/>
                  <a:pt x="385" y="569"/>
                  <a:pt x="382" y="569"/>
                </a:cubicBezTo>
                <a:cubicBezTo>
                  <a:pt x="381" y="570"/>
                  <a:pt x="379" y="570"/>
                  <a:pt x="378" y="570"/>
                </a:cubicBezTo>
                <a:cubicBezTo>
                  <a:pt x="376" y="570"/>
                  <a:pt x="373" y="569"/>
                  <a:pt x="371" y="564"/>
                </a:cubicBezTo>
                <a:cubicBezTo>
                  <a:pt x="369" y="559"/>
                  <a:pt x="366" y="554"/>
                  <a:pt x="363" y="551"/>
                </a:cubicBezTo>
                <a:cubicBezTo>
                  <a:pt x="361" y="552"/>
                  <a:pt x="358" y="552"/>
                  <a:pt x="356" y="552"/>
                </a:cubicBezTo>
                <a:cubicBezTo>
                  <a:pt x="354" y="556"/>
                  <a:pt x="352" y="562"/>
                  <a:pt x="352" y="567"/>
                </a:cubicBezTo>
                <a:cubicBezTo>
                  <a:pt x="352" y="576"/>
                  <a:pt x="347" y="576"/>
                  <a:pt x="344" y="576"/>
                </a:cubicBezTo>
                <a:cubicBezTo>
                  <a:pt x="343" y="576"/>
                  <a:pt x="342" y="576"/>
                  <a:pt x="341" y="576"/>
                </a:cubicBezTo>
                <a:cubicBezTo>
                  <a:pt x="339" y="576"/>
                  <a:pt x="336" y="575"/>
                  <a:pt x="335" y="569"/>
                </a:cubicBezTo>
                <a:cubicBezTo>
                  <a:pt x="333" y="564"/>
                  <a:pt x="331" y="558"/>
                  <a:pt x="328" y="555"/>
                </a:cubicBezTo>
                <a:cubicBezTo>
                  <a:pt x="326" y="555"/>
                  <a:pt x="323" y="555"/>
                  <a:pt x="321" y="555"/>
                </a:cubicBezTo>
                <a:cubicBezTo>
                  <a:pt x="318" y="558"/>
                  <a:pt x="316" y="564"/>
                  <a:pt x="315" y="569"/>
                </a:cubicBezTo>
                <a:cubicBezTo>
                  <a:pt x="314" y="576"/>
                  <a:pt x="311" y="577"/>
                  <a:pt x="308" y="577"/>
                </a:cubicBezTo>
                <a:cubicBezTo>
                  <a:pt x="307" y="577"/>
                  <a:pt x="306" y="577"/>
                  <a:pt x="306" y="576"/>
                </a:cubicBezTo>
                <a:cubicBezTo>
                  <a:pt x="302" y="576"/>
                  <a:pt x="298" y="577"/>
                  <a:pt x="297" y="568"/>
                </a:cubicBezTo>
                <a:cubicBezTo>
                  <a:pt x="297" y="563"/>
                  <a:pt x="295" y="556"/>
                  <a:pt x="293" y="553"/>
                </a:cubicBezTo>
                <a:cubicBezTo>
                  <a:pt x="291" y="553"/>
                  <a:pt x="288" y="553"/>
                  <a:pt x="286" y="552"/>
                </a:cubicBezTo>
                <a:cubicBezTo>
                  <a:pt x="283" y="555"/>
                  <a:pt x="280" y="560"/>
                  <a:pt x="278" y="565"/>
                </a:cubicBezTo>
                <a:cubicBezTo>
                  <a:pt x="276" y="570"/>
                  <a:pt x="274" y="572"/>
                  <a:pt x="271" y="572"/>
                </a:cubicBezTo>
                <a:cubicBezTo>
                  <a:pt x="270" y="572"/>
                  <a:pt x="269" y="571"/>
                  <a:pt x="268" y="571"/>
                </a:cubicBezTo>
                <a:cubicBezTo>
                  <a:pt x="264" y="570"/>
                  <a:pt x="260" y="570"/>
                  <a:pt x="261" y="561"/>
                </a:cubicBezTo>
                <a:cubicBezTo>
                  <a:pt x="261" y="556"/>
                  <a:pt x="260" y="550"/>
                  <a:pt x="259" y="546"/>
                </a:cubicBezTo>
                <a:cubicBezTo>
                  <a:pt x="257" y="546"/>
                  <a:pt x="254" y="545"/>
                  <a:pt x="252" y="544"/>
                </a:cubicBezTo>
                <a:cubicBezTo>
                  <a:pt x="249" y="546"/>
                  <a:pt x="245" y="551"/>
                  <a:pt x="242" y="556"/>
                </a:cubicBezTo>
                <a:cubicBezTo>
                  <a:pt x="240" y="560"/>
                  <a:pt x="237" y="561"/>
                  <a:pt x="235" y="561"/>
                </a:cubicBezTo>
                <a:cubicBezTo>
                  <a:pt x="234" y="561"/>
                  <a:pt x="232" y="560"/>
                  <a:pt x="231" y="560"/>
                </a:cubicBezTo>
                <a:cubicBezTo>
                  <a:pt x="228" y="558"/>
                  <a:pt x="223" y="557"/>
                  <a:pt x="225" y="549"/>
                </a:cubicBezTo>
                <a:cubicBezTo>
                  <a:pt x="227" y="544"/>
                  <a:pt x="227" y="538"/>
                  <a:pt x="226" y="534"/>
                </a:cubicBezTo>
                <a:cubicBezTo>
                  <a:pt x="224" y="533"/>
                  <a:pt x="222" y="532"/>
                  <a:pt x="220" y="531"/>
                </a:cubicBezTo>
                <a:cubicBezTo>
                  <a:pt x="216" y="532"/>
                  <a:pt x="211" y="536"/>
                  <a:pt x="208" y="540"/>
                </a:cubicBezTo>
                <a:cubicBezTo>
                  <a:pt x="205" y="544"/>
                  <a:pt x="203" y="545"/>
                  <a:pt x="201" y="545"/>
                </a:cubicBezTo>
                <a:cubicBezTo>
                  <a:pt x="199" y="545"/>
                  <a:pt x="198" y="544"/>
                  <a:pt x="196" y="543"/>
                </a:cubicBezTo>
                <a:cubicBezTo>
                  <a:pt x="193" y="541"/>
                  <a:pt x="189" y="539"/>
                  <a:pt x="193" y="531"/>
                </a:cubicBezTo>
                <a:cubicBezTo>
                  <a:pt x="195" y="526"/>
                  <a:pt x="196" y="520"/>
                  <a:pt x="196" y="516"/>
                </a:cubicBezTo>
                <a:cubicBezTo>
                  <a:pt x="194" y="515"/>
                  <a:pt x="192" y="514"/>
                  <a:pt x="190" y="512"/>
                </a:cubicBezTo>
                <a:cubicBezTo>
                  <a:pt x="186" y="513"/>
                  <a:pt x="181" y="516"/>
                  <a:pt x="177" y="520"/>
                </a:cubicBezTo>
                <a:cubicBezTo>
                  <a:pt x="174" y="522"/>
                  <a:pt x="172" y="523"/>
                  <a:pt x="170" y="523"/>
                </a:cubicBezTo>
                <a:cubicBezTo>
                  <a:pt x="168" y="523"/>
                  <a:pt x="166" y="522"/>
                  <a:pt x="165" y="520"/>
                </a:cubicBezTo>
                <a:cubicBezTo>
                  <a:pt x="162" y="518"/>
                  <a:pt x="158" y="516"/>
                  <a:pt x="163" y="509"/>
                </a:cubicBezTo>
                <a:cubicBezTo>
                  <a:pt x="166" y="504"/>
                  <a:pt x="168" y="498"/>
                  <a:pt x="168" y="495"/>
                </a:cubicBezTo>
                <a:cubicBezTo>
                  <a:pt x="166" y="493"/>
                  <a:pt x="165" y="491"/>
                  <a:pt x="163" y="489"/>
                </a:cubicBezTo>
                <a:cubicBezTo>
                  <a:pt x="159" y="490"/>
                  <a:pt x="154" y="492"/>
                  <a:pt x="149" y="495"/>
                </a:cubicBezTo>
                <a:cubicBezTo>
                  <a:pt x="146" y="497"/>
                  <a:pt x="145" y="497"/>
                  <a:pt x="143" y="497"/>
                </a:cubicBezTo>
                <a:cubicBezTo>
                  <a:pt x="140" y="497"/>
                  <a:pt x="139" y="495"/>
                  <a:pt x="137" y="494"/>
                </a:cubicBezTo>
                <a:cubicBezTo>
                  <a:pt x="135" y="491"/>
                  <a:pt x="132" y="488"/>
                  <a:pt x="137" y="482"/>
                </a:cubicBezTo>
                <a:cubicBezTo>
                  <a:pt x="141" y="478"/>
                  <a:pt x="144" y="472"/>
                  <a:pt x="145" y="469"/>
                </a:cubicBezTo>
                <a:cubicBezTo>
                  <a:pt x="143" y="467"/>
                  <a:pt x="142" y="465"/>
                  <a:pt x="140" y="463"/>
                </a:cubicBezTo>
                <a:cubicBezTo>
                  <a:pt x="140" y="463"/>
                  <a:pt x="139" y="463"/>
                  <a:pt x="139" y="463"/>
                </a:cubicBezTo>
                <a:cubicBezTo>
                  <a:pt x="135" y="463"/>
                  <a:pt x="130" y="464"/>
                  <a:pt x="126" y="466"/>
                </a:cubicBezTo>
                <a:cubicBezTo>
                  <a:pt x="123" y="467"/>
                  <a:pt x="122" y="468"/>
                  <a:pt x="120" y="468"/>
                </a:cubicBezTo>
                <a:cubicBezTo>
                  <a:pt x="117" y="468"/>
                  <a:pt x="115" y="465"/>
                  <a:pt x="114" y="463"/>
                </a:cubicBezTo>
                <a:cubicBezTo>
                  <a:pt x="112" y="460"/>
                  <a:pt x="109" y="457"/>
                  <a:pt x="116" y="451"/>
                </a:cubicBezTo>
                <a:cubicBezTo>
                  <a:pt x="120" y="448"/>
                  <a:pt x="124" y="443"/>
                  <a:pt x="125" y="439"/>
                </a:cubicBezTo>
                <a:cubicBezTo>
                  <a:pt x="124" y="437"/>
                  <a:pt x="123" y="435"/>
                  <a:pt x="122" y="433"/>
                </a:cubicBezTo>
                <a:cubicBezTo>
                  <a:pt x="121" y="433"/>
                  <a:pt x="119" y="432"/>
                  <a:pt x="118" y="432"/>
                </a:cubicBezTo>
                <a:cubicBezTo>
                  <a:pt x="114" y="432"/>
                  <a:pt x="110" y="433"/>
                  <a:pt x="107" y="434"/>
                </a:cubicBezTo>
                <a:cubicBezTo>
                  <a:pt x="105" y="434"/>
                  <a:pt x="104" y="435"/>
                  <a:pt x="103" y="435"/>
                </a:cubicBezTo>
                <a:cubicBezTo>
                  <a:pt x="98" y="435"/>
                  <a:pt x="97" y="431"/>
                  <a:pt x="96" y="429"/>
                </a:cubicBezTo>
                <a:cubicBezTo>
                  <a:pt x="95" y="426"/>
                  <a:pt x="93" y="422"/>
                  <a:pt x="100" y="418"/>
                </a:cubicBezTo>
                <a:cubicBezTo>
                  <a:pt x="105" y="415"/>
                  <a:pt x="109" y="411"/>
                  <a:pt x="111" y="407"/>
                </a:cubicBezTo>
                <a:cubicBezTo>
                  <a:pt x="110" y="405"/>
                  <a:pt x="109" y="403"/>
                  <a:pt x="109" y="400"/>
                </a:cubicBezTo>
                <a:cubicBezTo>
                  <a:pt x="106" y="399"/>
                  <a:pt x="102" y="399"/>
                  <a:pt x="98" y="399"/>
                </a:cubicBezTo>
                <a:cubicBezTo>
                  <a:pt x="97" y="399"/>
                  <a:pt x="95" y="399"/>
                  <a:pt x="94" y="399"/>
                </a:cubicBezTo>
                <a:cubicBezTo>
                  <a:pt x="93" y="399"/>
                  <a:pt x="92" y="399"/>
                  <a:pt x="91" y="399"/>
                </a:cubicBezTo>
                <a:cubicBezTo>
                  <a:pt x="85" y="399"/>
                  <a:pt x="84" y="395"/>
                  <a:pt x="84" y="392"/>
                </a:cubicBezTo>
                <a:cubicBezTo>
                  <a:pt x="83" y="389"/>
                  <a:pt x="81" y="385"/>
                  <a:pt x="89" y="382"/>
                </a:cubicBezTo>
                <a:cubicBezTo>
                  <a:pt x="94" y="380"/>
                  <a:pt x="100" y="376"/>
                  <a:pt x="102" y="374"/>
                </a:cubicBezTo>
                <a:cubicBezTo>
                  <a:pt x="101" y="371"/>
                  <a:pt x="101" y="369"/>
                  <a:pt x="101" y="366"/>
                </a:cubicBezTo>
                <a:cubicBezTo>
                  <a:pt x="98" y="364"/>
                  <a:pt x="91" y="363"/>
                  <a:pt x="86" y="363"/>
                </a:cubicBezTo>
                <a:cubicBezTo>
                  <a:pt x="77" y="362"/>
                  <a:pt x="77" y="358"/>
                  <a:pt x="77" y="355"/>
                </a:cubicBezTo>
                <a:cubicBezTo>
                  <a:pt x="77" y="351"/>
                  <a:pt x="76" y="347"/>
                  <a:pt x="84" y="345"/>
                </a:cubicBezTo>
                <a:cubicBezTo>
                  <a:pt x="90" y="344"/>
                  <a:pt x="95" y="341"/>
                  <a:pt x="98" y="339"/>
                </a:cubicBezTo>
                <a:cubicBezTo>
                  <a:pt x="98" y="336"/>
                  <a:pt x="98" y="334"/>
                  <a:pt x="98" y="331"/>
                </a:cubicBezTo>
                <a:cubicBezTo>
                  <a:pt x="95" y="329"/>
                  <a:pt x="89" y="327"/>
                  <a:pt x="84" y="325"/>
                </a:cubicBezTo>
                <a:cubicBezTo>
                  <a:pt x="76" y="324"/>
                  <a:pt x="76" y="319"/>
                  <a:pt x="77" y="316"/>
                </a:cubicBezTo>
                <a:cubicBezTo>
                  <a:pt x="77" y="313"/>
                  <a:pt x="77" y="308"/>
                  <a:pt x="85" y="308"/>
                </a:cubicBezTo>
                <a:cubicBezTo>
                  <a:pt x="90" y="307"/>
                  <a:pt x="97" y="306"/>
                  <a:pt x="100" y="304"/>
                </a:cubicBezTo>
                <a:cubicBezTo>
                  <a:pt x="100" y="301"/>
                  <a:pt x="100" y="299"/>
                  <a:pt x="101" y="296"/>
                </a:cubicBezTo>
                <a:cubicBezTo>
                  <a:pt x="98" y="294"/>
                  <a:pt x="93" y="290"/>
                  <a:pt x="88" y="288"/>
                </a:cubicBezTo>
                <a:cubicBezTo>
                  <a:pt x="80" y="285"/>
                  <a:pt x="81" y="281"/>
                  <a:pt x="82" y="278"/>
                </a:cubicBezTo>
                <a:cubicBezTo>
                  <a:pt x="83" y="275"/>
                  <a:pt x="83" y="271"/>
                  <a:pt x="90" y="271"/>
                </a:cubicBezTo>
                <a:cubicBezTo>
                  <a:pt x="90" y="271"/>
                  <a:pt x="91" y="271"/>
                  <a:pt x="92" y="271"/>
                </a:cubicBezTo>
                <a:cubicBezTo>
                  <a:pt x="93" y="271"/>
                  <a:pt x="94" y="271"/>
                  <a:pt x="95" y="271"/>
                </a:cubicBezTo>
                <a:cubicBezTo>
                  <a:pt x="99" y="271"/>
                  <a:pt x="104" y="271"/>
                  <a:pt x="107" y="269"/>
                </a:cubicBezTo>
                <a:cubicBezTo>
                  <a:pt x="107" y="267"/>
                  <a:pt x="108" y="265"/>
                  <a:pt x="109" y="262"/>
                </a:cubicBezTo>
                <a:cubicBezTo>
                  <a:pt x="107" y="259"/>
                  <a:pt x="102" y="255"/>
                  <a:pt x="98" y="252"/>
                </a:cubicBezTo>
                <a:cubicBezTo>
                  <a:pt x="90" y="248"/>
                  <a:pt x="92" y="244"/>
                  <a:pt x="93" y="241"/>
                </a:cubicBezTo>
                <a:cubicBezTo>
                  <a:pt x="94" y="239"/>
                  <a:pt x="95" y="235"/>
                  <a:pt x="100" y="235"/>
                </a:cubicBezTo>
                <a:cubicBezTo>
                  <a:pt x="101" y="235"/>
                  <a:pt x="103" y="236"/>
                  <a:pt x="104" y="236"/>
                </a:cubicBezTo>
                <a:cubicBezTo>
                  <a:pt x="107" y="237"/>
                  <a:pt x="111" y="237"/>
                  <a:pt x="114" y="237"/>
                </a:cubicBezTo>
                <a:cubicBezTo>
                  <a:pt x="116" y="237"/>
                  <a:pt x="118" y="237"/>
                  <a:pt x="119" y="237"/>
                </a:cubicBezTo>
                <a:cubicBezTo>
                  <a:pt x="120" y="234"/>
                  <a:pt x="121" y="232"/>
                  <a:pt x="122" y="230"/>
                </a:cubicBezTo>
                <a:cubicBezTo>
                  <a:pt x="121" y="226"/>
                  <a:pt x="117" y="222"/>
                  <a:pt x="113" y="218"/>
                </a:cubicBezTo>
                <a:cubicBezTo>
                  <a:pt x="106" y="213"/>
                  <a:pt x="109" y="209"/>
                  <a:pt x="110" y="207"/>
                </a:cubicBezTo>
                <a:cubicBezTo>
                  <a:pt x="112" y="205"/>
                  <a:pt x="113" y="202"/>
                  <a:pt x="117" y="202"/>
                </a:cubicBezTo>
                <a:cubicBezTo>
                  <a:pt x="118" y="202"/>
                  <a:pt x="120" y="202"/>
                  <a:pt x="122" y="203"/>
                </a:cubicBezTo>
                <a:cubicBezTo>
                  <a:pt x="126" y="205"/>
                  <a:pt x="131" y="206"/>
                  <a:pt x="135" y="206"/>
                </a:cubicBezTo>
                <a:cubicBezTo>
                  <a:pt x="136" y="206"/>
                  <a:pt x="136" y="206"/>
                  <a:pt x="137" y="206"/>
                </a:cubicBezTo>
                <a:cubicBezTo>
                  <a:pt x="138" y="204"/>
                  <a:pt x="139" y="202"/>
                  <a:pt x="141" y="200"/>
                </a:cubicBezTo>
                <a:cubicBezTo>
                  <a:pt x="140" y="197"/>
                  <a:pt x="137" y="191"/>
                  <a:pt x="133" y="187"/>
                </a:cubicBezTo>
                <a:cubicBezTo>
                  <a:pt x="127" y="181"/>
                  <a:pt x="130" y="178"/>
                  <a:pt x="133" y="175"/>
                </a:cubicBezTo>
                <a:cubicBezTo>
                  <a:pt x="134" y="174"/>
                  <a:pt x="135" y="171"/>
                  <a:pt x="138" y="171"/>
                </a:cubicBezTo>
                <a:cubicBezTo>
                  <a:pt x="140" y="171"/>
                  <a:pt x="142" y="172"/>
                  <a:pt x="144" y="174"/>
                </a:cubicBezTo>
                <a:cubicBezTo>
                  <a:pt x="149" y="176"/>
                  <a:pt x="155" y="179"/>
                  <a:pt x="159" y="179"/>
                </a:cubicBezTo>
                <a:cubicBezTo>
                  <a:pt x="160" y="177"/>
                  <a:pt x="162" y="175"/>
                  <a:pt x="164" y="174"/>
                </a:cubicBezTo>
                <a:cubicBezTo>
                  <a:pt x="163" y="170"/>
                  <a:pt x="161" y="164"/>
                  <a:pt x="158" y="159"/>
                </a:cubicBezTo>
                <a:cubicBezTo>
                  <a:pt x="153" y="152"/>
                  <a:pt x="157" y="150"/>
                  <a:pt x="159" y="148"/>
                </a:cubicBezTo>
                <a:cubicBezTo>
                  <a:pt x="161" y="146"/>
                  <a:pt x="162" y="145"/>
                  <a:pt x="165" y="145"/>
                </a:cubicBezTo>
                <a:cubicBezTo>
                  <a:pt x="167" y="145"/>
                  <a:pt x="169" y="145"/>
                  <a:pt x="171" y="148"/>
                </a:cubicBezTo>
                <a:cubicBezTo>
                  <a:pt x="175" y="151"/>
                  <a:pt x="181" y="155"/>
                  <a:pt x="184" y="155"/>
                </a:cubicBezTo>
                <a:cubicBezTo>
                  <a:pt x="186" y="154"/>
                  <a:pt x="188" y="152"/>
                  <a:pt x="190" y="151"/>
                </a:cubicBezTo>
                <a:cubicBezTo>
                  <a:pt x="191" y="147"/>
                  <a:pt x="189" y="141"/>
                  <a:pt x="187" y="136"/>
                </a:cubicBezTo>
                <a:cubicBezTo>
                  <a:pt x="183" y="128"/>
                  <a:pt x="187" y="126"/>
                  <a:pt x="190" y="125"/>
                </a:cubicBezTo>
                <a:cubicBezTo>
                  <a:pt x="192" y="124"/>
                  <a:pt x="193" y="122"/>
                  <a:pt x="195" y="122"/>
                </a:cubicBezTo>
                <a:cubicBezTo>
                  <a:pt x="197" y="122"/>
                  <a:pt x="199" y="123"/>
                  <a:pt x="202" y="127"/>
                </a:cubicBezTo>
                <a:cubicBezTo>
                  <a:pt x="205" y="131"/>
                  <a:pt x="210" y="135"/>
                  <a:pt x="214" y="136"/>
                </a:cubicBezTo>
                <a:cubicBezTo>
                  <a:pt x="216" y="135"/>
                  <a:pt x="218" y="134"/>
                  <a:pt x="220" y="133"/>
                </a:cubicBezTo>
                <a:cubicBezTo>
                  <a:pt x="221" y="129"/>
                  <a:pt x="221" y="123"/>
                  <a:pt x="219" y="117"/>
                </a:cubicBezTo>
                <a:cubicBezTo>
                  <a:pt x="217" y="109"/>
                  <a:pt x="221" y="108"/>
                  <a:pt x="224" y="107"/>
                </a:cubicBezTo>
                <a:cubicBezTo>
                  <a:pt x="226" y="106"/>
                  <a:pt x="227" y="105"/>
                  <a:pt x="229" y="105"/>
                </a:cubicBezTo>
                <a:cubicBezTo>
                  <a:pt x="231" y="105"/>
                  <a:pt x="233" y="106"/>
                  <a:pt x="235" y="110"/>
                </a:cubicBezTo>
                <a:cubicBezTo>
                  <a:pt x="238" y="115"/>
                  <a:pt x="242" y="120"/>
                  <a:pt x="246" y="122"/>
                </a:cubicBezTo>
                <a:cubicBezTo>
                  <a:pt x="248" y="121"/>
                  <a:pt x="250" y="120"/>
                  <a:pt x="253" y="119"/>
                </a:cubicBezTo>
                <a:cubicBezTo>
                  <a:pt x="254" y="116"/>
                  <a:pt x="254" y="110"/>
                  <a:pt x="254" y="104"/>
                </a:cubicBezTo>
                <a:cubicBezTo>
                  <a:pt x="253" y="96"/>
                  <a:pt x="257" y="95"/>
                  <a:pt x="261" y="94"/>
                </a:cubicBezTo>
                <a:cubicBezTo>
                  <a:pt x="262" y="94"/>
                  <a:pt x="263" y="94"/>
                  <a:pt x="264" y="94"/>
                </a:cubicBezTo>
                <a:cubicBezTo>
                  <a:pt x="267" y="94"/>
                  <a:pt x="269" y="95"/>
                  <a:pt x="271" y="100"/>
                </a:cubicBezTo>
                <a:cubicBezTo>
                  <a:pt x="273" y="105"/>
                  <a:pt x="277" y="110"/>
                  <a:pt x="280" y="112"/>
                </a:cubicBezTo>
                <a:cubicBezTo>
                  <a:pt x="282" y="112"/>
                  <a:pt x="284" y="111"/>
                  <a:pt x="287" y="111"/>
                </a:cubicBezTo>
                <a:cubicBezTo>
                  <a:pt x="289" y="108"/>
                  <a:pt x="290" y="102"/>
                  <a:pt x="290" y="96"/>
                </a:cubicBezTo>
                <a:cubicBezTo>
                  <a:pt x="291" y="88"/>
                  <a:pt x="295" y="88"/>
                  <a:pt x="299" y="88"/>
                </a:cubicBezTo>
                <a:cubicBezTo>
                  <a:pt x="299" y="88"/>
                  <a:pt x="300" y="87"/>
                  <a:pt x="301" y="87"/>
                </a:cubicBezTo>
                <a:cubicBezTo>
                  <a:pt x="304" y="87"/>
                  <a:pt x="307" y="89"/>
                  <a:pt x="308" y="95"/>
                </a:cubicBezTo>
                <a:cubicBezTo>
                  <a:pt x="309" y="100"/>
                  <a:pt x="312" y="106"/>
                  <a:pt x="314" y="109"/>
                </a:cubicBezTo>
                <a:moveTo>
                  <a:pt x="323" y="53"/>
                </a:moveTo>
                <a:cubicBezTo>
                  <a:pt x="258" y="53"/>
                  <a:pt x="192" y="73"/>
                  <a:pt x="135" y="114"/>
                </a:cubicBezTo>
                <a:cubicBezTo>
                  <a:pt x="128" y="118"/>
                  <a:pt x="122" y="123"/>
                  <a:pt x="116" y="128"/>
                </a:cubicBezTo>
                <a:cubicBezTo>
                  <a:pt x="72" y="165"/>
                  <a:pt x="40" y="210"/>
                  <a:pt x="21" y="260"/>
                </a:cubicBezTo>
                <a:cubicBezTo>
                  <a:pt x="23" y="260"/>
                  <a:pt x="25" y="262"/>
                  <a:pt x="24" y="265"/>
                </a:cubicBezTo>
                <a:cubicBezTo>
                  <a:pt x="24" y="266"/>
                  <a:pt x="24" y="267"/>
                  <a:pt x="24" y="268"/>
                </a:cubicBezTo>
                <a:cubicBezTo>
                  <a:pt x="23" y="270"/>
                  <a:pt x="22" y="271"/>
                  <a:pt x="20" y="271"/>
                </a:cubicBezTo>
                <a:cubicBezTo>
                  <a:pt x="20" y="271"/>
                  <a:pt x="19" y="271"/>
                  <a:pt x="19" y="271"/>
                </a:cubicBezTo>
                <a:cubicBezTo>
                  <a:pt x="17" y="271"/>
                  <a:pt x="17" y="271"/>
                  <a:pt x="17" y="271"/>
                </a:cubicBezTo>
                <a:cubicBezTo>
                  <a:pt x="15" y="274"/>
                  <a:pt x="14" y="278"/>
                  <a:pt x="13" y="282"/>
                </a:cubicBezTo>
                <a:cubicBezTo>
                  <a:pt x="13" y="282"/>
                  <a:pt x="13" y="282"/>
                  <a:pt x="13" y="282"/>
                </a:cubicBezTo>
                <a:cubicBezTo>
                  <a:pt x="15" y="283"/>
                  <a:pt x="15" y="283"/>
                  <a:pt x="15" y="283"/>
                </a:cubicBezTo>
                <a:cubicBezTo>
                  <a:pt x="17" y="284"/>
                  <a:pt x="18" y="286"/>
                  <a:pt x="17" y="288"/>
                </a:cubicBezTo>
                <a:cubicBezTo>
                  <a:pt x="17" y="289"/>
                  <a:pt x="16" y="290"/>
                  <a:pt x="15" y="291"/>
                </a:cubicBezTo>
                <a:cubicBezTo>
                  <a:pt x="15" y="293"/>
                  <a:pt x="13" y="294"/>
                  <a:pt x="12" y="294"/>
                </a:cubicBezTo>
                <a:cubicBezTo>
                  <a:pt x="11" y="294"/>
                  <a:pt x="11" y="293"/>
                  <a:pt x="10" y="293"/>
                </a:cubicBezTo>
                <a:cubicBezTo>
                  <a:pt x="10" y="293"/>
                  <a:pt x="10" y="293"/>
                  <a:pt x="10" y="293"/>
                </a:cubicBezTo>
                <a:cubicBezTo>
                  <a:pt x="5" y="312"/>
                  <a:pt x="1" y="332"/>
                  <a:pt x="0" y="352"/>
                </a:cubicBezTo>
                <a:cubicBezTo>
                  <a:pt x="2" y="388"/>
                  <a:pt x="11" y="423"/>
                  <a:pt x="26" y="456"/>
                </a:cubicBezTo>
                <a:cubicBezTo>
                  <a:pt x="64" y="475"/>
                  <a:pt x="64" y="475"/>
                  <a:pt x="64" y="475"/>
                </a:cubicBezTo>
                <a:cubicBezTo>
                  <a:pt x="57" y="511"/>
                  <a:pt x="57" y="511"/>
                  <a:pt x="57" y="511"/>
                </a:cubicBezTo>
                <a:cubicBezTo>
                  <a:pt x="62" y="519"/>
                  <a:pt x="68" y="526"/>
                  <a:pt x="73" y="533"/>
                </a:cubicBezTo>
                <a:cubicBezTo>
                  <a:pt x="73" y="533"/>
                  <a:pt x="74" y="533"/>
                  <a:pt x="74" y="533"/>
                </a:cubicBezTo>
                <a:cubicBezTo>
                  <a:pt x="74" y="533"/>
                  <a:pt x="74" y="533"/>
                  <a:pt x="74" y="533"/>
                </a:cubicBezTo>
                <a:cubicBezTo>
                  <a:pt x="74" y="533"/>
                  <a:pt x="74" y="533"/>
                  <a:pt x="74" y="534"/>
                </a:cubicBezTo>
                <a:cubicBezTo>
                  <a:pt x="81" y="542"/>
                  <a:pt x="89" y="550"/>
                  <a:pt x="96" y="558"/>
                </a:cubicBezTo>
                <a:cubicBezTo>
                  <a:pt x="141" y="535"/>
                  <a:pt x="141" y="535"/>
                  <a:pt x="141" y="535"/>
                </a:cubicBezTo>
                <a:cubicBezTo>
                  <a:pt x="177" y="577"/>
                  <a:pt x="177" y="577"/>
                  <a:pt x="177" y="577"/>
                </a:cubicBezTo>
                <a:cubicBezTo>
                  <a:pt x="158" y="605"/>
                  <a:pt x="158" y="605"/>
                  <a:pt x="158" y="605"/>
                </a:cubicBezTo>
                <a:cubicBezTo>
                  <a:pt x="209" y="635"/>
                  <a:pt x="266" y="650"/>
                  <a:pt x="324" y="650"/>
                </a:cubicBezTo>
                <a:cubicBezTo>
                  <a:pt x="324" y="650"/>
                  <a:pt x="324" y="650"/>
                  <a:pt x="324" y="650"/>
                </a:cubicBezTo>
                <a:cubicBezTo>
                  <a:pt x="324" y="650"/>
                  <a:pt x="324" y="650"/>
                  <a:pt x="324" y="650"/>
                </a:cubicBezTo>
                <a:cubicBezTo>
                  <a:pt x="394" y="650"/>
                  <a:pt x="465" y="627"/>
                  <a:pt x="525" y="580"/>
                </a:cubicBezTo>
                <a:cubicBezTo>
                  <a:pt x="525" y="580"/>
                  <a:pt x="525" y="580"/>
                  <a:pt x="525" y="580"/>
                </a:cubicBezTo>
                <a:cubicBezTo>
                  <a:pt x="527" y="579"/>
                  <a:pt x="529" y="577"/>
                  <a:pt x="531" y="575"/>
                </a:cubicBezTo>
                <a:cubicBezTo>
                  <a:pt x="601" y="517"/>
                  <a:pt x="641" y="436"/>
                  <a:pt x="647" y="352"/>
                </a:cubicBezTo>
                <a:cubicBezTo>
                  <a:pt x="647" y="350"/>
                  <a:pt x="647" y="348"/>
                  <a:pt x="647" y="346"/>
                </a:cubicBezTo>
                <a:cubicBezTo>
                  <a:pt x="646" y="336"/>
                  <a:pt x="644" y="325"/>
                  <a:pt x="642" y="315"/>
                </a:cubicBezTo>
                <a:cubicBezTo>
                  <a:pt x="632" y="264"/>
                  <a:pt x="609" y="214"/>
                  <a:pt x="574" y="171"/>
                </a:cubicBezTo>
                <a:cubicBezTo>
                  <a:pt x="570" y="166"/>
                  <a:pt x="567" y="162"/>
                  <a:pt x="563" y="158"/>
                </a:cubicBezTo>
                <a:cubicBezTo>
                  <a:pt x="562" y="157"/>
                  <a:pt x="560" y="156"/>
                  <a:pt x="559" y="154"/>
                </a:cubicBezTo>
                <a:cubicBezTo>
                  <a:pt x="557" y="152"/>
                  <a:pt x="554" y="149"/>
                  <a:pt x="552" y="147"/>
                </a:cubicBezTo>
                <a:cubicBezTo>
                  <a:pt x="551" y="146"/>
                  <a:pt x="550" y="145"/>
                  <a:pt x="550" y="145"/>
                </a:cubicBezTo>
                <a:cubicBezTo>
                  <a:pt x="581" y="192"/>
                  <a:pt x="599" y="250"/>
                  <a:pt x="597" y="311"/>
                </a:cubicBezTo>
                <a:cubicBezTo>
                  <a:pt x="585" y="309"/>
                  <a:pt x="585" y="309"/>
                  <a:pt x="585" y="309"/>
                </a:cubicBezTo>
                <a:cubicBezTo>
                  <a:pt x="577" y="208"/>
                  <a:pt x="518" y="119"/>
                  <a:pt x="432" y="72"/>
                </a:cubicBezTo>
                <a:cubicBezTo>
                  <a:pt x="430" y="71"/>
                  <a:pt x="428" y="70"/>
                  <a:pt x="426" y="70"/>
                </a:cubicBezTo>
                <a:cubicBezTo>
                  <a:pt x="424" y="69"/>
                  <a:pt x="422" y="68"/>
                  <a:pt x="420" y="68"/>
                </a:cubicBezTo>
                <a:cubicBezTo>
                  <a:pt x="417" y="67"/>
                  <a:pt x="414" y="66"/>
                  <a:pt x="411" y="65"/>
                </a:cubicBezTo>
                <a:cubicBezTo>
                  <a:pt x="409" y="65"/>
                  <a:pt x="407" y="64"/>
                  <a:pt x="405" y="64"/>
                </a:cubicBezTo>
                <a:cubicBezTo>
                  <a:pt x="402" y="63"/>
                  <a:pt x="399" y="62"/>
                  <a:pt x="396" y="61"/>
                </a:cubicBezTo>
                <a:cubicBezTo>
                  <a:pt x="394" y="61"/>
                  <a:pt x="393" y="61"/>
                  <a:pt x="391" y="60"/>
                </a:cubicBezTo>
                <a:cubicBezTo>
                  <a:pt x="388" y="60"/>
                  <a:pt x="384" y="59"/>
                  <a:pt x="381" y="58"/>
                </a:cubicBezTo>
                <a:cubicBezTo>
                  <a:pt x="379" y="58"/>
                  <a:pt x="378" y="58"/>
                  <a:pt x="377" y="58"/>
                </a:cubicBezTo>
                <a:cubicBezTo>
                  <a:pt x="373" y="57"/>
                  <a:pt x="369" y="56"/>
                  <a:pt x="366" y="56"/>
                </a:cubicBezTo>
                <a:cubicBezTo>
                  <a:pt x="364" y="56"/>
                  <a:pt x="363" y="56"/>
                  <a:pt x="362" y="56"/>
                </a:cubicBezTo>
                <a:cubicBezTo>
                  <a:pt x="358" y="55"/>
                  <a:pt x="354" y="55"/>
                  <a:pt x="350" y="54"/>
                </a:cubicBezTo>
                <a:cubicBezTo>
                  <a:pt x="350" y="54"/>
                  <a:pt x="349" y="54"/>
                  <a:pt x="348" y="54"/>
                </a:cubicBezTo>
                <a:cubicBezTo>
                  <a:pt x="344" y="54"/>
                  <a:pt x="339" y="54"/>
                  <a:pt x="335" y="53"/>
                </a:cubicBezTo>
                <a:cubicBezTo>
                  <a:pt x="334" y="53"/>
                  <a:pt x="334" y="53"/>
                  <a:pt x="334" y="53"/>
                </a:cubicBezTo>
                <a:cubicBezTo>
                  <a:pt x="331" y="53"/>
                  <a:pt x="327" y="53"/>
                  <a:pt x="323" y="53"/>
                </a:cubicBezTo>
                <a:moveTo>
                  <a:pt x="323" y="0"/>
                </a:moveTo>
                <a:cubicBezTo>
                  <a:pt x="258" y="0"/>
                  <a:pt x="192" y="20"/>
                  <a:pt x="135" y="61"/>
                </a:cubicBezTo>
                <a:cubicBezTo>
                  <a:pt x="135" y="61"/>
                  <a:pt x="135" y="61"/>
                  <a:pt x="135" y="61"/>
                </a:cubicBezTo>
                <a:cubicBezTo>
                  <a:pt x="129" y="65"/>
                  <a:pt x="124" y="69"/>
                  <a:pt x="119" y="73"/>
                </a:cubicBezTo>
                <a:cubicBezTo>
                  <a:pt x="181" y="31"/>
                  <a:pt x="252" y="11"/>
                  <a:pt x="323" y="11"/>
                </a:cubicBezTo>
                <a:cubicBezTo>
                  <a:pt x="327" y="11"/>
                  <a:pt x="331" y="11"/>
                  <a:pt x="334" y="11"/>
                </a:cubicBezTo>
                <a:cubicBezTo>
                  <a:pt x="335" y="11"/>
                  <a:pt x="336" y="11"/>
                  <a:pt x="336" y="11"/>
                </a:cubicBezTo>
                <a:cubicBezTo>
                  <a:pt x="341" y="11"/>
                  <a:pt x="346" y="11"/>
                  <a:pt x="350" y="12"/>
                </a:cubicBezTo>
                <a:cubicBezTo>
                  <a:pt x="351" y="12"/>
                  <a:pt x="353" y="12"/>
                  <a:pt x="354" y="12"/>
                </a:cubicBezTo>
                <a:cubicBezTo>
                  <a:pt x="358" y="12"/>
                  <a:pt x="362" y="13"/>
                  <a:pt x="367" y="13"/>
                </a:cubicBezTo>
                <a:cubicBezTo>
                  <a:pt x="368" y="13"/>
                  <a:pt x="369" y="14"/>
                  <a:pt x="371" y="14"/>
                </a:cubicBezTo>
                <a:cubicBezTo>
                  <a:pt x="375" y="14"/>
                  <a:pt x="379" y="15"/>
                  <a:pt x="383" y="16"/>
                </a:cubicBezTo>
                <a:cubicBezTo>
                  <a:pt x="385" y="16"/>
                  <a:pt x="386" y="16"/>
                  <a:pt x="388" y="16"/>
                </a:cubicBezTo>
                <a:cubicBezTo>
                  <a:pt x="392" y="17"/>
                  <a:pt x="396" y="18"/>
                  <a:pt x="399" y="19"/>
                </a:cubicBezTo>
                <a:cubicBezTo>
                  <a:pt x="401" y="19"/>
                  <a:pt x="403" y="19"/>
                  <a:pt x="405" y="20"/>
                </a:cubicBezTo>
                <a:cubicBezTo>
                  <a:pt x="409" y="21"/>
                  <a:pt x="412" y="22"/>
                  <a:pt x="416" y="22"/>
                </a:cubicBezTo>
                <a:cubicBezTo>
                  <a:pt x="418" y="23"/>
                  <a:pt x="420" y="24"/>
                  <a:pt x="422" y="24"/>
                </a:cubicBezTo>
                <a:cubicBezTo>
                  <a:pt x="425" y="25"/>
                  <a:pt x="429" y="26"/>
                  <a:pt x="432" y="27"/>
                </a:cubicBezTo>
                <a:cubicBezTo>
                  <a:pt x="434" y="28"/>
                  <a:pt x="437" y="28"/>
                  <a:pt x="439" y="29"/>
                </a:cubicBezTo>
                <a:cubicBezTo>
                  <a:pt x="442" y="30"/>
                  <a:pt x="445" y="31"/>
                  <a:pt x="448" y="32"/>
                </a:cubicBezTo>
                <a:cubicBezTo>
                  <a:pt x="451" y="33"/>
                  <a:pt x="453" y="34"/>
                  <a:pt x="455" y="35"/>
                </a:cubicBezTo>
                <a:cubicBezTo>
                  <a:pt x="458" y="36"/>
                  <a:pt x="461" y="37"/>
                  <a:pt x="464" y="39"/>
                </a:cubicBezTo>
                <a:cubicBezTo>
                  <a:pt x="467" y="40"/>
                  <a:pt x="469" y="41"/>
                  <a:pt x="472" y="42"/>
                </a:cubicBezTo>
                <a:cubicBezTo>
                  <a:pt x="474" y="43"/>
                  <a:pt x="477" y="44"/>
                  <a:pt x="480" y="46"/>
                </a:cubicBezTo>
                <a:cubicBezTo>
                  <a:pt x="483" y="47"/>
                  <a:pt x="485" y="48"/>
                  <a:pt x="487" y="49"/>
                </a:cubicBezTo>
                <a:cubicBezTo>
                  <a:pt x="490" y="51"/>
                  <a:pt x="493" y="52"/>
                  <a:pt x="496" y="53"/>
                </a:cubicBezTo>
                <a:cubicBezTo>
                  <a:pt x="498" y="55"/>
                  <a:pt x="501" y="56"/>
                  <a:pt x="503" y="57"/>
                </a:cubicBezTo>
                <a:cubicBezTo>
                  <a:pt x="506" y="59"/>
                  <a:pt x="508" y="60"/>
                  <a:pt x="511" y="62"/>
                </a:cubicBezTo>
                <a:cubicBezTo>
                  <a:pt x="513" y="63"/>
                  <a:pt x="516" y="65"/>
                  <a:pt x="518" y="67"/>
                </a:cubicBezTo>
                <a:cubicBezTo>
                  <a:pt x="521" y="68"/>
                  <a:pt x="523" y="70"/>
                  <a:pt x="526" y="71"/>
                </a:cubicBezTo>
                <a:cubicBezTo>
                  <a:pt x="527" y="72"/>
                  <a:pt x="528" y="73"/>
                  <a:pt x="529" y="73"/>
                </a:cubicBezTo>
                <a:cubicBezTo>
                  <a:pt x="526" y="71"/>
                  <a:pt x="523" y="68"/>
                  <a:pt x="519" y="66"/>
                </a:cubicBezTo>
                <a:cubicBezTo>
                  <a:pt x="462" y="22"/>
                  <a:pt x="393" y="0"/>
                  <a:pt x="3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0" name="Freeform 718">
            <a:extLst>
              <a:ext uri="{FF2B5EF4-FFF2-40B4-BE49-F238E27FC236}">
                <a16:creationId xmlns:a16="http://schemas.microsoft.com/office/drawing/2014/main" id="{487E840F-77BF-4FE8-9287-8F89C1B75C45}"/>
              </a:ext>
            </a:extLst>
          </p:cNvPr>
          <p:cNvSpPr>
            <a:spLocks noEditPoints="1"/>
          </p:cNvSpPr>
          <p:nvPr/>
        </p:nvSpPr>
        <p:spPr bwMode="auto">
          <a:xfrm>
            <a:off x="9126538" y="3505200"/>
            <a:ext cx="969963" cy="863600"/>
          </a:xfrm>
          <a:custGeom>
            <a:avLst/>
            <a:gdLst>
              <a:gd name="T0" fmla="*/ 149 w 451"/>
              <a:gd name="T1" fmla="*/ 335 h 402"/>
              <a:gd name="T2" fmla="*/ 143 w 451"/>
              <a:gd name="T3" fmla="*/ 329 h 402"/>
              <a:gd name="T4" fmla="*/ 149 w 451"/>
              <a:gd name="T5" fmla="*/ 323 h 402"/>
              <a:gd name="T6" fmla="*/ 304 w 451"/>
              <a:gd name="T7" fmla="*/ 323 h 402"/>
              <a:gd name="T8" fmla="*/ 310 w 451"/>
              <a:gd name="T9" fmla="*/ 329 h 402"/>
              <a:gd name="T10" fmla="*/ 304 w 451"/>
              <a:gd name="T11" fmla="*/ 335 h 402"/>
              <a:gd name="T12" fmla="*/ 149 w 451"/>
              <a:gd name="T13" fmla="*/ 335 h 402"/>
              <a:gd name="T14" fmla="*/ 183 w 451"/>
              <a:gd name="T15" fmla="*/ 123 h 402"/>
              <a:gd name="T16" fmla="*/ 196 w 451"/>
              <a:gd name="T17" fmla="*/ 71 h 402"/>
              <a:gd name="T18" fmla="*/ 225 w 451"/>
              <a:gd name="T19" fmla="*/ 53 h 402"/>
              <a:gd name="T20" fmla="*/ 251 w 451"/>
              <a:gd name="T21" fmla="*/ 59 h 402"/>
              <a:gd name="T22" fmla="*/ 269 w 451"/>
              <a:gd name="T23" fmla="*/ 123 h 402"/>
              <a:gd name="T24" fmla="*/ 269 w 451"/>
              <a:gd name="T25" fmla="*/ 123 h 402"/>
              <a:gd name="T26" fmla="*/ 270 w 451"/>
              <a:gd name="T27" fmla="*/ 123 h 402"/>
              <a:gd name="T28" fmla="*/ 280 w 451"/>
              <a:gd name="T29" fmla="*/ 133 h 402"/>
              <a:gd name="T30" fmla="*/ 270 w 451"/>
              <a:gd name="T31" fmla="*/ 143 h 402"/>
              <a:gd name="T32" fmla="*/ 268 w 451"/>
              <a:gd name="T33" fmla="*/ 143 h 402"/>
              <a:gd name="T34" fmla="*/ 242 w 451"/>
              <a:gd name="T35" fmla="*/ 176 h 402"/>
              <a:gd name="T36" fmla="*/ 242 w 451"/>
              <a:gd name="T37" fmla="*/ 184 h 402"/>
              <a:gd name="T38" fmla="*/ 266 w 451"/>
              <a:gd name="T39" fmla="*/ 191 h 402"/>
              <a:gd name="T40" fmla="*/ 326 w 451"/>
              <a:gd name="T41" fmla="*/ 291 h 402"/>
              <a:gd name="T42" fmla="*/ 306 w 451"/>
              <a:gd name="T43" fmla="*/ 307 h 402"/>
              <a:gd name="T44" fmla="*/ 306 w 451"/>
              <a:gd name="T45" fmla="*/ 321 h 402"/>
              <a:gd name="T46" fmla="*/ 147 w 451"/>
              <a:gd name="T47" fmla="*/ 321 h 402"/>
              <a:gd name="T48" fmla="*/ 147 w 451"/>
              <a:gd name="T49" fmla="*/ 296 h 402"/>
              <a:gd name="T50" fmla="*/ 137 w 451"/>
              <a:gd name="T51" fmla="*/ 295 h 402"/>
              <a:gd name="T52" fmla="*/ 125 w 451"/>
              <a:gd name="T53" fmla="*/ 296 h 402"/>
              <a:gd name="T54" fmla="*/ 147 w 451"/>
              <a:gd name="T55" fmla="*/ 235 h 402"/>
              <a:gd name="T56" fmla="*/ 147 w 451"/>
              <a:gd name="T57" fmla="*/ 234 h 402"/>
              <a:gd name="T58" fmla="*/ 151 w 451"/>
              <a:gd name="T59" fmla="*/ 227 h 402"/>
              <a:gd name="T60" fmla="*/ 166 w 451"/>
              <a:gd name="T61" fmla="*/ 203 h 402"/>
              <a:gd name="T62" fmla="*/ 211 w 451"/>
              <a:gd name="T63" fmla="*/ 184 h 402"/>
              <a:gd name="T64" fmla="*/ 211 w 451"/>
              <a:gd name="T65" fmla="*/ 176 h 402"/>
              <a:gd name="T66" fmla="*/ 184 w 451"/>
              <a:gd name="T67" fmla="*/ 143 h 402"/>
              <a:gd name="T68" fmla="*/ 183 w 451"/>
              <a:gd name="T69" fmla="*/ 143 h 402"/>
              <a:gd name="T70" fmla="*/ 173 w 451"/>
              <a:gd name="T71" fmla="*/ 133 h 402"/>
              <a:gd name="T72" fmla="*/ 183 w 451"/>
              <a:gd name="T73" fmla="*/ 123 h 402"/>
              <a:gd name="T74" fmla="*/ 183 w 451"/>
              <a:gd name="T75" fmla="*/ 123 h 402"/>
              <a:gd name="T76" fmla="*/ 225 w 451"/>
              <a:gd name="T77" fmla="*/ 0 h 402"/>
              <a:gd name="T78" fmla="*/ 71 w 451"/>
              <a:gd name="T79" fmla="*/ 72 h 402"/>
              <a:gd name="T80" fmla="*/ 97 w 451"/>
              <a:gd name="T81" fmla="*/ 356 h 402"/>
              <a:gd name="T82" fmla="*/ 225 w 451"/>
              <a:gd name="T83" fmla="*/ 402 h 402"/>
              <a:gd name="T84" fmla="*/ 380 w 451"/>
              <a:gd name="T85" fmla="*/ 329 h 402"/>
              <a:gd name="T86" fmla="*/ 354 w 451"/>
              <a:gd name="T87" fmla="*/ 46 h 402"/>
              <a:gd name="T88" fmla="*/ 225 w 451"/>
              <a:gd name="T8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1" h="402">
                <a:moveTo>
                  <a:pt x="149" y="335"/>
                </a:moveTo>
                <a:cubicBezTo>
                  <a:pt x="146" y="335"/>
                  <a:pt x="143" y="333"/>
                  <a:pt x="143" y="329"/>
                </a:cubicBezTo>
                <a:cubicBezTo>
                  <a:pt x="143" y="326"/>
                  <a:pt x="146" y="323"/>
                  <a:pt x="149" y="323"/>
                </a:cubicBezTo>
                <a:cubicBezTo>
                  <a:pt x="304" y="323"/>
                  <a:pt x="304" y="323"/>
                  <a:pt x="304" y="323"/>
                </a:cubicBezTo>
                <a:cubicBezTo>
                  <a:pt x="307" y="323"/>
                  <a:pt x="310" y="326"/>
                  <a:pt x="310" y="329"/>
                </a:cubicBezTo>
                <a:cubicBezTo>
                  <a:pt x="310" y="333"/>
                  <a:pt x="307" y="335"/>
                  <a:pt x="304" y="335"/>
                </a:cubicBezTo>
                <a:cubicBezTo>
                  <a:pt x="149" y="335"/>
                  <a:pt x="149" y="335"/>
                  <a:pt x="149" y="335"/>
                </a:cubicBezTo>
                <a:moveTo>
                  <a:pt x="183" y="123"/>
                </a:moveTo>
                <a:cubicBezTo>
                  <a:pt x="181" y="115"/>
                  <a:pt x="173" y="78"/>
                  <a:pt x="196" y="71"/>
                </a:cubicBezTo>
                <a:cubicBezTo>
                  <a:pt x="196" y="71"/>
                  <a:pt x="203" y="53"/>
                  <a:pt x="225" y="53"/>
                </a:cubicBezTo>
                <a:cubicBezTo>
                  <a:pt x="232" y="53"/>
                  <a:pt x="240" y="54"/>
                  <a:pt x="251" y="59"/>
                </a:cubicBezTo>
                <a:cubicBezTo>
                  <a:pt x="286" y="76"/>
                  <a:pt x="274" y="111"/>
                  <a:pt x="269" y="123"/>
                </a:cubicBezTo>
                <a:cubicBezTo>
                  <a:pt x="269" y="123"/>
                  <a:pt x="269" y="123"/>
                  <a:pt x="269" y="123"/>
                </a:cubicBezTo>
                <a:cubicBezTo>
                  <a:pt x="270" y="123"/>
                  <a:pt x="270" y="123"/>
                  <a:pt x="270" y="123"/>
                </a:cubicBezTo>
                <a:cubicBezTo>
                  <a:pt x="275" y="123"/>
                  <a:pt x="280" y="128"/>
                  <a:pt x="280" y="133"/>
                </a:cubicBezTo>
                <a:cubicBezTo>
                  <a:pt x="280" y="139"/>
                  <a:pt x="275" y="143"/>
                  <a:pt x="270" y="143"/>
                </a:cubicBezTo>
                <a:cubicBezTo>
                  <a:pt x="269" y="143"/>
                  <a:pt x="268" y="143"/>
                  <a:pt x="268" y="143"/>
                </a:cubicBezTo>
                <a:cubicBezTo>
                  <a:pt x="265" y="158"/>
                  <a:pt x="255" y="170"/>
                  <a:pt x="242" y="176"/>
                </a:cubicBezTo>
                <a:cubicBezTo>
                  <a:pt x="242" y="184"/>
                  <a:pt x="242" y="184"/>
                  <a:pt x="242" y="184"/>
                </a:cubicBezTo>
                <a:cubicBezTo>
                  <a:pt x="249" y="185"/>
                  <a:pt x="258" y="187"/>
                  <a:pt x="266" y="191"/>
                </a:cubicBezTo>
                <a:cubicBezTo>
                  <a:pt x="313" y="209"/>
                  <a:pt x="326" y="291"/>
                  <a:pt x="326" y="291"/>
                </a:cubicBezTo>
                <a:cubicBezTo>
                  <a:pt x="322" y="298"/>
                  <a:pt x="315" y="303"/>
                  <a:pt x="306" y="307"/>
                </a:cubicBezTo>
                <a:cubicBezTo>
                  <a:pt x="306" y="321"/>
                  <a:pt x="306" y="321"/>
                  <a:pt x="306" y="321"/>
                </a:cubicBezTo>
                <a:cubicBezTo>
                  <a:pt x="147" y="321"/>
                  <a:pt x="147" y="321"/>
                  <a:pt x="147" y="321"/>
                </a:cubicBezTo>
                <a:cubicBezTo>
                  <a:pt x="147" y="296"/>
                  <a:pt x="147" y="296"/>
                  <a:pt x="147" y="296"/>
                </a:cubicBezTo>
                <a:cubicBezTo>
                  <a:pt x="144" y="295"/>
                  <a:pt x="140" y="295"/>
                  <a:pt x="137" y="295"/>
                </a:cubicBezTo>
                <a:cubicBezTo>
                  <a:pt x="130" y="295"/>
                  <a:pt x="125" y="296"/>
                  <a:pt x="125" y="296"/>
                </a:cubicBezTo>
                <a:cubicBezTo>
                  <a:pt x="125" y="296"/>
                  <a:pt x="135" y="263"/>
                  <a:pt x="147" y="235"/>
                </a:cubicBezTo>
                <a:cubicBezTo>
                  <a:pt x="147" y="234"/>
                  <a:pt x="147" y="234"/>
                  <a:pt x="147" y="234"/>
                </a:cubicBezTo>
                <a:cubicBezTo>
                  <a:pt x="147" y="231"/>
                  <a:pt x="149" y="228"/>
                  <a:pt x="151" y="227"/>
                </a:cubicBezTo>
                <a:cubicBezTo>
                  <a:pt x="156" y="216"/>
                  <a:pt x="161" y="208"/>
                  <a:pt x="166" y="203"/>
                </a:cubicBezTo>
                <a:cubicBezTo>
                  <a:pt x="179" y="190"/>
                  <a:pt x="197" y="185"/>
                  <a:pt x="211" y="184"/>
                </a:cubicBezTo>
                <a:cubicBezTo>
                  <a:pt x="211" y="176"/>
                  <a:pt x="211" y="176"/>
                  <a:pt x="211" y="176"/>
                </a:cubicBezTo>
                <a:cubicBezTo>
                  <a:pt x="197" y="171"/>
                  <a:pt x="187" y="158"/>
                  <a:pt x="184" y="143"/>
                </a:cubicBezTo>
                <a:cubicBezTo>
                  <a:pt x="183" y="143"/>
                  <a:pt x="183" y="143"/>
                  <a:pt x="183" y="143"/>
                </a:cubicBezTo>
                <a:cubicBezTo>
                  <a:pt x="178" y="143"/>
                  <a:pt x="173" y="139"/>
                  <a:pt x="173" y="133"/>
                </a:cubicBezTo>
                <a:cubicBezTo>
                  <a:pt x="173" y="128"/>
                  <a:pt x="178" y="123"/>
                  <a:pt x="183" y="123"/>
                </a:cubicBezTo>
                <a:cubicBezTo>
                  <a:pt x="183" y="123"/>
                  <a:pt x="183" y="123"/>
                  <a:pt x="183" y="123"/>
                </a:cubicBezTo>
                <a:moveTo>
                  <a:pt x="225" y="0"/>
                </a:moveTo>
                <a:cubicBezTo>
                  <a:pt x="168" y="0"/>
                  <a:pt x="110" y="24"/>
                  <a:pt x="71" y="72"/>
                </a:cubicBezTo>
                <a:cubicBezTo>
                  <a:pt x="0" y="158"/>
                  <a:pt x="11" y="285"/>
                  <a:pt x="97" y="356"/>
                </a:cubicBezTo>
                <a:cubicBezTo>
                  <a:pt x="134" y="387"/>
                  <a:pt x="180" y="402"/>
                  <a:pt x="225" y="402"/>
                </a:cubicBezTo>
                <a:cubicBezTo>
                  <a:pt x="283" y="402"/>
                  <a:pt x="340" y="377"/>
                  <a:pt x="380" y="329"/>
                </a:cubicBezTo>
                <a:cubicBezTo>
                  <a:pt x="451" y="244"/>
                  <a:pt x="439" y="117"/>
                  <a:pt x="354" y="46"/>
                </a:cubicBezTo>
                <a:cubicBezTo>
                  <a:pt x="316" y="15"/>
                  <a:pt x="271" y="0"/>
                  <a:pt x="225" y="0"/>
                </a:cubicBezTo>
              </a:path>
            </a:pathLst>
          </a:custGeom>
          <a:solidFill>
            <a:srgbClr val="33C4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1" name="Freeform 719">
            <a:extLst>
              <a:ext uri="{FF2B5EF4-FFF2-40B4-BE49-F238E27FC236}">
                <a16:creationId xmlns:a16="http://schemas.microsoft.com/office/drawing/2014/main" id="{3496B677-51F5-4BA8-8C25-279C198B2873}"/>
              </a:ext>
            </a:extLst>
          </p:cNvPr>
          <p:cNvSpPr>
            <a:spLocks noEditPoints="1"/>
          </p:cNvSpPr>
          <p:nvPr/>
        </p:nvSpPr>
        <p:spPr bwMode="auto">
          <a:xfrm>
            <a:off x="9394825" y="3900488"/>
            <a:ext cx="433388" cy="265113"/>
          </a:xfrm>
          <a:custGeom>
            <a:avLst/>
            <a:gdLst>
              <a:gd name="T0" fmla="*/ 22 w 201"/>
              <a:gd name="T1" fmla="*/ 51 h 123"/>
              <a:gd name="T2" fmla="*/ 0 w 201"/>
              <a:gd name="T3" fmla="*/ 112 h 123"/>
              <a:gd name="T4" fmla="*/ 12 w 201"/>
              <a:gd name="T5" fmla="*/ 111 h 123"/>
              <a:gd name="T6" fmla="*/ 22 w 201"/>
              <a:gd name="T7" fmla="*/ 112 h 123"/>
              <a:gd name="T8" fmla="*/ 22 w 201"/>
              <a:gd name="T9" fmla="*/ 51 h 123"/>
              <a:gd name="T10" fmla="*/ 86 w 201"/>
              <a:gd name="T11" fmla="*/ 0 h 123"/>
              <a:gd name="T12" fmla="*/ 41 w 201"/>
              <a:gd name="T13" fmla="*/ 19 h 123"/>
              <a:gd name="T14" fmla="*/ 26 w 201"/>
              <a:gd name="T15" fmla="*/ 43 h 123"/>
              <a:gd name="T16" fmla="*/ 31 w 201"/>
              <a:gd name="T17" fmla="*/ 41 h 123"/>
              <a:gd name="T18" fmla="*/ 171 w 201"/>
              <a:gd name="T19" fmla="*/ 41 h 123"/>
              <a:gd name="T20" fmla="*/ 181 w 201"/>
              <a:gd name="T21" fmla="*/ 50 h 123"/>
              <a:gd name="T22" fmla="*/ 181 w 201"/>
              <a:gd name="T23" fmla="*/ 123 h 123"/>
              <a:gd name="T24" fmla="*/ 201 w 201"/>
              <a:gd name="T25" fmla="*/ 107 h 123"/>
              <a:gd name="T26" fmla="*/ 141 w 201"/>
              <a:gd name="T27" fmla="*/ 7 h 123"/>
              <a:gd name="T28" fmla="*/ 117 w 201"/>
              <a:gd name="T29" fmla="*/ 0 h 123"/>
              <a:gd name="T30" fmla="*/ 117 w 201"/>
              <a:gd name="T31" fmla="*/ 4 h 123"/>
              <a:gd name="T32" fmla="*/ 100 w 201"/>
              <a:gd name="T33" fmla="*/ 21 h 123"/>
              <a:gd name="T34" fmla="*/ 99 w 201"/>
              <a:gd name="T35" fmla="*/ 21 h 123"/>
              <a:gd name="T36" fmla="*/ 86 w 201"/>
              <a:gd name="T37" fmla="*/ 5 h 123"/>
              <a:gd name="T38" fmla="*/ 86 w 201"/>
              <a:gd name="T3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123">
                <a:moveTo>
                  <a:pt x="22" y="51"/>
                </a:moveTo>
                <a:cubicBezTo>
                  <a:pt x="10" y="79"/>
                  <a:pt x="0" y="112"/>
                  <a:pt x="0" y="112"/>
                </a:cubicBezTo>
                <a:cubicBezTo>
                  <a:pt x="0" y="112"/>
                  <a:pt x="5" y="111"/>
                  <a:pt x="12" y="111"/>
                </a:cubicBezTo>
                <a:cubicBezTo>
                  <a:pt x="15" y="111"/>
                  <a:pt x="19" y="111"/>
                  <a:pt x="22" y="112"/>
                </a:cubicBezTo>
                <a:cubicBezTo>
                  <a:pt x="22" y="51"/>
                  <a:pt x="22" y="51"/>
                  <a:pt x="22" y="51"/>
                </a:cubicBezTo>
                <a:moveTo>
                  <a:pt x="86" y="0"/>
                </a:moveTo>
                <a:cubicBezTo>
                  <a:pt x="72" y="1"/>
                  <a:pt x="54" y="6"/>
                  <a:pt x="41" y="19"/>
                </a:cubicBezTo>
                <a:cubicBezTo>
                  <a:pt x="36" y="24"/>
                  <a:pt x="31" y="32"/>
                  <a:pt x="26" y="43"/>
                </a:cubicBezTo>
                <a:cubicBezTo>
                  <a:pt x="28" y="41"/>
                  <a:pt x="29" y="41"/>
                  <a:pt x="31" y="41"/>
                </a:cubicBezTo>
                <a:cubicBezTo>
                  <a:pt x="171" y="41"/>
                  <a:pt x="171" y="41"/>
                  <a:pt x="171" y="41"/>
                </a:cubicBezTo>
                <a:cubicBezTo>
                  <a:pt x="176" y="41"/>
                  <a:pt x="181" y="45"/>
                  <a:pt x="181" y="50"/>
                </a:cubicBezTo>
                <a:cubicBezTo>
                  <a:pt x="181" y="123"/>
                  <a:pt x="181" y="123"/>
                  <a:pt x="181" y="123"/>
                </a:cubicBezTo>
                <a:cubicBezTo>
                  <a:pt x="190" y="119"/>
                  <a:pt x="197" y="114"/>
                  <a:pt x="201" y="107"/>
                </a:cubicBezTo>
                <a:cubicBezTo>
                  <a:pt x="201" y="107"/>
                  <a:pt x="188" y="25"/>
                  <a:pt x="141" y="7"/>
                </a:cubicBezTo>
                <a:cubicBezTo>
                  <a:pt x="133" y="3"/>
                  <a:pt x="124" y="1"/>
                  <a:pt x="117" y="0"/>
                </a:cubicBezTo>
                <a:cubicBezTo>
                  <a:pt x="117" y="4"/>
                  <a:pt x="117" y="4"/>
                  <a:pt x="117" y="4"/>
                </a:cubicBezTo>
                <a:cubicBezTo>
                  <a:pt x="117" y="4"/>
                  <a:pt x="118" y="21"/>
                  <a:pt x="100" y="21"/>
                </a:cubicBezTo>
                <a:cubicBezTo>
                  <a:pt x="100" y="21"/>
                  <a:pt x="99" y="21"/>
                  <a:pt x="99" y="21"/>
                </a:cubicBezTo>
                <a:cubicBezTo>
                  <a:pt x="86" y="18"/>
                  <a:pt x="86" y="5"/>
                  <a:pt x="86" y="5"/>
                </a:cubicBezTo>
                <a:cubicBezTo>
                  <a:pt x="86" y="0"/>
                  <a:pt x="86" y="0"/>
                  <a:pt x="86" y="0"/>
                </a:cubicBezTo>
              </a:path>
            </a:pathLst>
          </a:custGeom>
          <a:solidFill>
            <a:srgbClr val="A3C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2" name="Freeform 720">
            <a:extLst>
              <a:ext uri="{FF2B5EF4-FFF2-40B4-BE49-F238E27FC236}">
                <a16:creationId xmlns:a16="http://schemas.microsoft.com/office/drawing/2014/main" id="{85179200-E7B3-474E-90F9-DA3E8A90812D}"/>
              </a:ext>
            </a:extLst>
          </p:cNvPr>
          <p:cNvSpPr>
            <a:spLocks/>
          </p:cNvSpPr>
          <p:nvPr/>
        </p:nvSpPr>
        <p:spPr bwMode="auto">
          <a:xfrm>
            <a:off x="9580563" y="3883025"/>
            <a:ext cx="68263" cy="63500"/>
          </a:xfrm>
          <a:custGeom>
            <a:avLst/>
            <a:gdLst>
              <a:gd name="T0" fmla="*/ 31 w 32"/>
              <a:gd name="T1" fmla="*/ 0 h 29"/>
              <a:gd name="T2" fmla="*/ 15 w 32"/>
              <a:gd name="T3" fmla="*/ 3 h 29"/>
              <a:gd name="T4" fmla="*/ 0 w 32"/>
              <a:gd name="T5" fmla="*/ 0 h 29"/>
              <a:gd name="T6" fmla="*/ 0 w 32"/>
              <a:gd name="T7" fmla="*/ 8 h 29"/>
              <a:gd name="T8" fmla="*/ 0 w 32"/>
              <a:gd name="T9" fmla="*/ 13 h 29"/>
              <a:gd name="T10" fmla="*/ 13 w 32"/>
              <a:gd name="T11" fmla="*/ 29 h 29"/>
              <a:gd name="T12" fmla="*/ 14 w 32"/>
              <a:gd name="T13" fmla="*/ 29 h 29"/>
              <a:gd name="T14" fmla="*/ 31 w 32"/>
              <a:gd name="T15" fmla="*/ 12 h 29"/>
              <a:gd name="T16" fmla="*/ 31 w 32"/>
              <a:gd name="T17" fmla="*/ 8 h 29"/>
              <a:gd name="T18" fmla="*/ 31 w 3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9">
                <a:moveTo>
                  <a:pt x="31" y="0"/>
                </a:moveTo>
                <a:cubicBezTo>
                  <a:pt x="26" y="2"/>
                  <a:pt x="21" y="3"/>
                  <a:pt x="15" y="3"/>
                </a:cubicBezTo>
                <a:cubicBezTo>
                  <a:pt x="10" y="3"/>
                  <a:pt x="4" y="2"/>
                  <a:pt x="0" y="0"/>
                </a:cubicBezTo>
                <a:cubicBezTo>
                  <a:pt x="0" y="8"/>
                  <a:pt x="0" y="8"/>
                  <a:pt x="0" y="8"/>
                </a:cubicBezTo>
                <a:cubicBezTo>
                  <a:pt x="0" y="13"/>
                  <a:pt x="0" y="13"/>
                  <a:pt x="0" y="13"/>
                </a:cubicBezTo>
                <a:cubicBezTo>
                  <a:pt x="0" y="13"/>
                  <a:pt x="0" y="26"/>
                  <a:pt x="13" y="29"/>
                </a:cubicBezTo>
                <a:cubicBezTo>
                  <a:pt x="13" y="29"/>
                  <a:pt x="14" y="29"/>
                  <a:pt x="14" y="29"/>
                </a:cubicBezTo>
                <a:cubicBezTo>
                  <a:pt x="32" y="29"/>
                  <a:pt x="31" y="12"/>
                  <a:pt x="31" y="12"/>
                </a:cubicBezTo>
                <a:cubicBezTo>
                  <a:pt x="31" y="8"/>
                  <a:pt x="31" y="8"/>
                  <a:pt x="31" y="8"/>
                </a:cubicBez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3" name="Freeform 721">
            <a:extLst>
              <a:ext uri="{FF2B5EF4-FFF2-40B4-BE49-F238E27FC236}">
                <a16:creationId xmlns:a16="http://schemas.microsoft.com/office/drawing/2014/main" id="{312CFD06-3937-4FF1-BA0E-B1CA5975FE96}"/>
              </a:ext>
            </a:extLst>
          </p:cNvPr>
          <p:cNvSpPr>
            <a:spLocks/>
          </p:cNvSpPr>
          <p:nvPr/>
        </p:nvSpPr>
        <p:spPr bwMode="auto">
          <a:xfrm>
            <a:off x="9498013" y="3733800"/>
            <a:ext cx="230188" cy="155575"/>
          </a:xfrm>
          <a:custGeom>
            <a:avLst/>
            <a:gdLst>
              <a:gd name="T0" fmla="*/ 31 w 107"/>
              <a:gd name="T1" fmla="*/ 0 h 73"/>
              <a:gd name="T2" fmla="*/ 28 w 107"/>
              <a:gd name="T3" fmla="*/ 1 h 73"/>
              <a:gd name="T4" fmla="*/ 10 w 107"/>
              <a:gd name="T5" fmla="*/ 18 h 73"/>
              <a:gd name="T6" fmla="*/ 10 w 107"/>
              <a:gd name="T7" fmla="*/ 17 h 73"/>
              <a:gd name="T8" fmla="*/ 10 w 107"/>
              <a:gd name="T9" fmla="*/ 17 h 73"/>
              <a:gd name="T10" fmla="*/ 0 w 107"/>
              <a:gd name="T11" fmla="*/ 27 h 73"/>
              <a:gd name="T12" fmla="*/ 10 w 107"/>
              <a:gd name="T13" fmla="*/ 37 h 73"/>
              <a:gd name="T14" fmla="*/ 11 w 107"/>
              <a:gd name="T15" fmla="*/ 37 h 73"/>
              <a:gd name="T16" fmla="*/ 38 w 107"/>
              <a:gd name="T17" fmla="*/ 70 h 73"/>
              <a:gd name="T18" fmla="*/ 53 w 107"/>
              <a:gd name="T19" fmla="*/ 73 h 73"/>
              <a:gd name="T20" fmla="*/ 69 w 107"/>
              <a:gd name="T21" fmla="*/ 70 h 73"/>
              <a:gd name="T22" fmla="*/ 95 w 107"/>
              <a:gd name="T23" fmla="*/ 37 h 73"/>
              <a:gd name="T24" fmla="*/ 97 w 107"/>
              <a:gd name="T25" fmla="*/ 37 h 73"/>
              <a:gd name="T26" fmla="*/ 107 w 107"/>
              <a:gd name="T27" fmla="*/ 27 h 73"/>
              <a:gd name="T28" fmla="*/ 97 w 107"/>
              <a:gd name="T29" fmla="*/ 17 h 73"/>
              <a:gd name="T30" fmla="*/ 96 w 107"/>
              <a:gd name="T31" fmla="*/ 17 h 73"/>
              <a:gd name="T32" fmla="*/ 96 w 107"/>
              <a:gd name="T33" fmla="*/ 17 h 73"/>
              <a:gd name="T34" fmla="*/ 94 w 107"/>
              <a:gd name="T35" fmla="*/ 21 h 73"/>
              <a:gd name="T36" fmla="*/ 89 w 107"/>
              <a:gd name="T37" fmla="*/ 6 h 73"/>
              <a:gd name="T38" fmla="*/ 87 w 107"/>
              <a:gd name="T39" fmla="*/ 7 h 73"/>
              <a:gd name="T40" fmla="*/ 78 w 107"/>
              <a:gd name="T41" fmla="*/ 9 h 73"/>
              <a:gd name="T42" fmla="*/ 54 w 107"/>
              <a:gd name="T43" fmla="*/ 5 h 73"/>
              <a:gd name="T44" fmla="*/ 31 w 107"/>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73">
                <a:moveTo>
                  <a:pt x="31" y="0"/>
                </a:moveTo>
                <a:cubicBezTo>
                  <a:pt x="30" y="0"/>
                  <a:pt x="29" y="1"/>
                  <a:pt x="28" y="1"/>
                </a:cubicBezTo>
                <a:cubicBezTo>
                  <a:pt x="13" y="4"/>
                  <a:pt x="10" y="18"/>
                  <a:pt x="10" y="18"/>
                </a:cubicBezTo>
                <a:cubicBezTo>
                  <a:pt x="10" y="18"/>
                  <a:pt x="10" y="18"/>
                  <a:pt x="10" y="17"/>
                </a:cubicBezTo>
                <a:cubicBezTo>
                  <a:pt x="10" y="17"/>
                  <a:pt x="10" y="17"/>
                  <a:pt x="10" y="17"/>
                </a:cubicBezTo>
                <a:cubicBezTo>
                  <a:pt x="5" y="17"/>
                  <a:pt x="0" y="22"/>
                  <a:pt x="0" y="27"/>
                </a:cubicBezTo>
                <a:cubicBezTo>
                  <a:pt x="0" y="33"/>
                  <a:pt x="5" y="37"/>
                  <a:pt x="10" y="37"/>
                </a:cubicBezTo>
                <a:cubicBezTo>
                  <a:pt x="11" y="37"/>
                  <a:pt x="11" y="37"/>
                  <a:pt x="11" y="37"/>
                </a:cubicBezTo>
                <a:cubicBezTo>
                  <a:pt x="14" y="52"/>
                  <a:pt x="24" y="65"/>
                  <a:pt x="38" y="70"/>
                </a:cubicBezTo>
                <a:cubicBezTo>
                  <a:pt x="42" y="72"/>
                  <a:pt x="48" y="73"/>
                  <a:pt x="53" y="73"/>
                </a:cubicBezTo>
                <a:cubicBezTo>
                  <a:pt x="59" y="73"/>
                  <a:pt x="64" y="72"/>
                  <a:pt x="69" y="70"/>
                </a:cubicBezTo>
                <a:cubicBezTo>
                  <a:pt x="82" y="64"/>
                  <a:pt x="92" y="52"/>
                  <a:pt x="95" y="37"/>
                </a:cubicBezTo>
                <a:cubicBezTo>
                  <a:pt x="95" y="37"/>
                  <a:pt x="96" y="37"/>
                  <a:pt x="97" y="37"/>
                </a:cubicBezTo>
                <a:cubicBezTo>
                  <a:pt x="102" y="37"/>
                  <a:pt x="107" y="33"/>
                  <a:pt x="107" y="27"/>
                </a:cubicBezTo>
                <a:cubicBezTo>
                  <a:pt x="107" y="22"/>
                  <a:pt x="102" y="17"/>
                  <a:pt x="97" y="17"/>
                </a:cubicBezTo>
                <a:cubicBezTo>
                  <a:pt x="96" y="17"/>
                  <a:pt x="96" y="17"/>
                  <a:pt x="96" y="17"/>
                </a:cubicBezTo>
                <a:cubicBezTo>
                  <a:pt x="96" y="17"/>
                  <a:pt x="96" y="17"/>
                  <a:pt x="96" y="17"/>
                </a:cubicBezTo>
                <a:cubicBezTo>
                  <a:pt x="95" y="20"/>
                  <a:pt x="94" y="21"/>
                  <a:pt x="94" y="21"/>
                </a:cubicBezTo>
                <a:cubicBezTo>
                  <a:pt x="94" y="21"/>
                  <a:pt x="94" y="6"/>
                  <a:pt x="89" y="6"/>
                </a:cubicBezTo>
                <a:cubicBezTo>
                  <a:pt x="88" y="6"/>
                  <a:pt x="88" y="7"/>
                  <a:pt x="87" y="7"/>
                </a:cubicBezTo>
                <a:cubicBezTo>
                  <a:pt x="85" y="8"/>
                  <a:pt x="82" y="9"/>
                  <a:pt x="78" y="9"/>
                </a:cubicBezTo>
                <a:cubicBezTo>
                  <a:pt x="71" y="9"/>
                  <a:pt x="63" y="7"/>
                  <a:pt x="54" y="5"/>
                </a:cubicBezTo>
                <a:cubicBezTo>
                  <a:pt x="46" y="3"/>
                  <a:pt x="37"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4" name="Freeform 722">
            <a:extLst>
              <a:ext uri="{FF2B5EF4-FFF2-40B4-BE49-F238E27FC236}">
                <a16:creationId xmlns:a16="http://schemas.microsoft.com/office/drawing/2014/main" id="{E43AFA1A-AE61-4D28-B509-9BF6F1DEA460}"/>
              </a:ext>
            </a:extLst>
          </p:cNvPr>
          <p:cNvSpPr>
            <a:spLocks/>
          </p:cNvSpPr>
          <p:nvPr/>
        </p:nvSpPr>
        <p:spPr bwMode="auto">
          <a:xfrm>
            <a:off x="9498013" y="3619500"/>
            <a:ext cx="242888" cy="158750"/>
          </a:xfrm>
          <a:custGeom>
            <a:avLst/>
            <a:gdLst>
              <a:gd name="T0" fmla="*/ 52 w 113"/>
              <a:gd name="T1" fmla="*/ 0 h 74"/>
              <a:gd name="T2" fmla="*/ 23 w 113"/>
              <a:gd name="T3" fmla="*/ 18 h 74"/>
              <a:gd name="T4" fmla="*/ 10 w 113"/>
              <a:gd name="T5" fmla="*/ 70 h 74"/>
              <a:gd name="T6" fmla="*/ 10 w 113"/>
              <a:gd name="T7" fmla="*/ 71 h 74"/>
              <a:gd name="T8" fmla="*/ 28 w 113"/>
              <a:gd name="T9" fmla="*/ 54 h 74"/>
              <a:gd name="T10" fmla="*/ 31 w 113"/>
              <a:gd name="T11" fmla="*/ 53 h 74"/>
              <a:gd name="T12" fmla="*/ 54 w 113"/>
              <a:gd name="T13" fmla="*/ 58 h 74"/>
              <a:gd name="T14" fmla="*/ 78 w 113"/>
              <a:gd name="T15" fmla="*/ 62 h 74"/>
              <a:gd name="T16" fmla="*/ 87 w 113"/>
              <a:gd name="T17" fmla="*/ 60 h 74"/>
              <a:gd name="T18" fmla="*/ 89 w 113"/>
              <a:gd name="T19" fmla="*/ 59 h 74"/>
              <a:gd name="T20" fmla="*/ 94 w 113"/>
              <a:gd name="T21" fmla="*/ 74 h 74"/>
              <a:gd name="T22" fmla="*/ 96 w 113"/>
              <a:gd name="T23" fmla="*/ 70 h 74"/>
              <a:gd name="T24" fmla="*/ 78 w 113"/>
              <a:gd name="T25" fmla="*/ 6 h 74"/>
              <a:gd name="T26" fmla="*/ 52 w 113"/>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74">
                <a:moveTo>
                  <a:pt x="52" y="0"/>
                </a:moveTo>
                <a:cubicBezTo>
                  <a:pt x="30" y="0"/>
                  <a:pt x="23" y="18"/>
                  <a:pt x="23" y="18"/>
                </a:cubicBezTo>
                <a:cubicBezTo>
                  <a:pt x="0" y="25"/>
                  <a:pt x="8" y="62"/>
                  <a:pt x="10" y="70"/>
                </a:cubicBezTo>
                <a:cubicBezTo>
                  <a:pt x="10" y="71"/>
                  <a:pt x="10" y="71"/>
                  <a:pt x="10" y="71"/>
                </a:cubicBezTo>
                <a:cubicBezTo>
                  <a:pt x="10" y="71"/>
                  <a:pt x="13" y="57"/>
                  <a:pt x="28" y="54"/>
                </a:cubicBezTo>
                <a:cubicBezTo>
                  <a:pt x="29" y="54"/>
                  <a:pt x="30" y="53"/>
                  <a:pt x="31" y="53"/>
                </a:cubicBezTo>
                <a:cubicBezTo>
                  <a:pt x="37" y="53"/>
                  <a:pt x="46" y="56"/>
                  <a:pt x="54" y="58"/>
                </a:cubicBezTo>
                <a:cubicBezTo>
                  <a:pt x="63" y="60"/>
                  <a:pt x="71" y="62"/>
                  <a:pt x="78" y="62"/>
                </a:cubicBezTo>
                <a:cubicBezTo>
                  <a:pt x="82" y="62"/>
                  <a:pt x="85" y="61"/>
                  <a:pt x="87" y="60"/>
                </a:cubicBezTo>
                <a:cubicBezTo>
                  <a:pt x="88" y="60"/>
                  <a:pt x="88" y="59"/>
                  <a:pt x="89" y="59"/>
                </a:cubicBezTo>
                <a:cubicBezTo>
                  <a:pt x="94" y="59"/>
                  <a:pt x="94" y="74"/>
                  <a:pt x="94" y="74"/>
                </a:cubicBezTo>
                <a:cubicBezTo>
                  <a:pt x="94" y="74"/>
                  <a:pt x="95" y="73"/>
                  <a:pt x="96" y="70"/>
                </a:cubicBezTo>
                <a:cubicBezTo>
                  <a:pt x="101" y="58"/>
                  <a:pt x="113" y="23"/>
                  <a:pt x="78" y="6"/>
                </a:cubicBezTo>
                <a:cubicBezTo>
                  <a:pt x="67" y="1"/>
                  <a:pt x="59" y="0"/>
                  <a:pt x="52"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5" name="Freeform 723">
            <a:extLst>
              <a:ext uri="{FF2B5EF4-FFF2-40B4-BE49-F238E27FC236}">
                <a16:creationId xmlns:a16="http://schemas.microsoft.com/office/drawing/2014/main" id="{94FCA92B-358D-4785-BE69-7AFB8AF2B580}"/>
              </a:ext>
            </a:extLst>
          </p:cNvPr>
          <p:cNvSpPr>
            <a:spLocks noEditPoints="1"/>
          </p:cNvSpPr>
          <p:nvPr/>
        </p:nvSpPr>
        <p:spPr bwMode="auto">
          <a:xfrm>
            <a:off x="9442450" y="3989388"/>
            <a:ext cx="341313" cy="206375"/>
          </a:xfrm>
          <a:custGeom>
            <a:avLst/>
            <a:gdLst>
              <a:gd name="T0" fmla="*/ 79 w 159"/>
              <a:gd name="T1" fmla="*/ 70 h 96"/>
              <a:gd name="T2" fmla="*/ 72 w 159"/>
              <a:gd name="T3" fmla="*/ 68 h 96"/>
              <a:gd name="T4" fmla="*/ 67 w 159"/>
              <a:gd name="T5" fmla="*/ 49 h 96"/>
              <a:gd name="T6" fmla="*/ 73 w 159"/>
              <a:gd name="T7" fmla="*/ 43 h 96"/>
              <a:gd name="T8" fmla="*/ 74 w 159"/>
              <a:gd name="T9" fmla="*/ 43 h 96"/>
              <a:gd name="T10" fmla="*/ 75 w 159"/>
              <a:gd name="T11" fmla="*/ 43 h 96"/>
              <a:gd name="T12" fmla="*/ 78 w 159"/>
              <a:gd name="T13" fmla="*/ 42 h 96"/>
              <a:gd name="T14" fmla="*/ 87 w 159"/>
              <a:gd name="T15" fmla="*/ 45 h 96"/>
              <a:gd name="T16" fmla="*/ 93 w 159"/>
              <a:gd name="T17" fmla="*/ 56 h 96"/>
              <a:gd name="T18" fmla="*/ 91 w 159"/>
              <a:gd name="T19" fmla="*/ 63 h 96"/>
              <a:gd name="T20" fmla="*/ 79 w 159"/>
              <a:gd name="T21" fmla="*/ 70 h 96"/>
              <a:gd name="T22" fmla="*/ 149 w 159"/>
              <a:gd name="T23" fmla="*/ 0 h 96"/>
              <a:gd name="T24" fmla="*/ 9 w 159"/>
              <a:gd name="T25" fmla="*/ 0 h 96"/>
              <a:gd name="T26" fmla="*/ 4 w 159"/>
              <a:gd name="T27" fmla="*/ 2 h 96"/>
              <a:gd name="T28" fmla="*/ 0 w 159"/>
              <a:gd name="T29" fmla="*/ 9 h 96"/>
              <a:gd name="T30" fmla="*/ 0 w 159"/>
              <a:gd name="T31" fmla="*/ 10 h 96"/>
              <a:gd name="T32" fmla="*/ 0 w 159"/>
              <a:gd name="T33" fmla="*/ 71 h 96"/>
              <a:gd name="T34" fmla="*/ 0 w 159"/>
              <a:gd name="T35" fmla="*/ 96 h 96"/>
              <a:gd name="T36" fmla="*/ 159 w 159"/>
              <a:gd name="T37" fmla="*/ 96 h 96"/>
              <a:gd name="T38" fmla="*/ 159 w 159"/>
              <a:gd name="T39" fmla="*/ 82 h 96"/>
              <a:gd name="T40" fmla="*/ 159 w 159"/>
              <a:gd name="T41" fmla="*/ 9 h 96"/>
              <a:gd name="T42" fmla="*/ 149 w 159"/>
              <a:gd name="T4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96">
                <a:moveTo>
                  <a:pt x="79" y="70"/>
                </a:moveTo>
                <a:cubicBezTo>
                  <a:pt x="77" y="70"/>
                  <a:pt x="74" y="70"/>
                  <a:pt x="72" y="68"/>
                </a:cubicBezTo>
                <a:cubicBezTo>
                  <a:pt x="65" y="65"/>
                  <a:pt x="63" y="56"/>
                  <a:pt x="67" y="49"/>
                </a:cubicBezTo>
                <a:cubicBezTo>
                  <a:pt x="69" y="46"/>
                  <a:pt x="70" y="45"/>
                  <a:pt x="73" y="43"/>
                </a:cubicBezTo>
                <a:cubicBezTo>
                  <a:pt x="74" y="43"/>
                  <a:pt x="74" y="43"/>
                  <a:pt x="74" y="43"/>
                </a:cubicBezTo>
                <a:cubicBezTo>
                  <a:pt x="75" y="43"/>
                  <a:pt x="75" y="43"/>
                  <a:pt x="75" y="43"/>
                </a:cubicBezTo>
                <a:cubicBezTo>
                  <a:pt x="76" y="43"/>
                  <a:pt x="77" y="42"/>
                  <a:pt x="78" y="42"/>
                </a:cubicBezTo>
                <a:cubicBezTo>
                  <a:pt x="83" y="42"/>
                  <a:pt x="87" y="45"/>
                  <a:pt x="87" y="45"/>
                </a:cubicBezTo>
                <a:cubicBezTo>
                  <a:pt x="87" y="48"/>
                  <a:pt x="93" y="51"/>
                  <a:pt x="93" y="56"/>
                </a:cubicBezTo>
                <a:cubicBezTo>
                  <a:pt x="94" y="58"/>
                  <a:pt x="93" y="61"/>
                  <a:pt x="91" y="63"/>
                </a:cubicBezTo>
                <a:cubicBezTo>
                  <a:pt x="89" y="68"/>
                  <a:pt x="84" y="70"/>
                  <a:pt x="79" y="70"/>
                </a:cubicBezTo>
                <a:moveTo>
                  <a:pt x="149" y="0"/>
                </a:moveTo>
                <a:cubicBezTo>
                  <a:pt x="9" y="0"/>
                  <a:pt x="9" y="0"/>
                  <a:pt x="9" y="0"/>
                </a:cubicBezTo>
                <a:cubicBezTo>
                  <a:pt x="7" y="0"/>
                  <a:pt x="6" y="0"/>
                  <a:pt x="4" y="2"/>
                </a:cubicBezTo>
                <a:cubicBezTo>
                  <a:pt x="2" y="3"/>
                  <a:pt x="0" y="6"/>
                  <a:pt x="0" y="9"/>
                </a:cubicBezTo>
                <a:cubicBezTo>
                  <a:pt x="0" y="10"/>
                  <a:pt x="0" y="10"/>
                  <a:pt x="0" y="10"/>
                </a:cubicBezTo>
                <a:cubicBezTo>
                  <a:pt x="0" y="71"/>
                  <a:pt x="0" y="71"/>
                  <a:pt x="0" y="71"/>
                </a:cubicBezTo>
                <a:cubicBezTo>
                  <a:pt x="0" y="96"/>
                  <a:pt x="0" y="96"/>
                  <a:pt x="0" y="96"/>
                </a:cubicBezTo>
                <a:cubicBezTo>
                  <a:pt x="159" y="96"/>
                  <a:pt x="159" y="96"/>
                  <a:pt x="159" y="96"/>
                </a:cubicBezTo>
                <a:cubicBezTo>
                  <a:pt x="159" y="82"/>
                  <a:pt x="159" y="82"/>
                  <a:pt x="159" y="82"/>
                </a:cubicBezTo>
                <a:cubicBezTo>
                  <a:pt x="159" y="9"/>
                  <a:pt x="159" y="9"/>
                  <a:pt x="159" y="9"/>
                </a:cubicBezTo>
                <a:cubicBezTo>
                  <a:pt x="159" y="4"/>
                  <a:pt x="154" y="0"/>
                  <a:pt x="149"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6" name="Freeform 724">
            <a:extLst>
              <a:ext uri="{FF2B5EF4-FFF2-40B4-BE49-F238E27FC236}">
                <a16:creationId xmlns:a16="http://schemas.microsoft.com/office/drawing/2014/main" id="{0E297C2E-EBE6-4781-9CF0-C9831DBCA90D}"/>
              </a:ext>
            </a:extLst>
          </p:cNvPr>
          <p:cNvSpPr>
            <a:spLocks/>
          </p:cNvSpPr>
          <p:nvPr/>
        </p:nvSpPr>
        <p:spPr bwMode="auto">
          <a:xfrm>
            <a:off x="9434513" y="4198938"/>
            <a:ext cx="358775" cy="25400"/>
          </a:xfrm>
          <a:custGeom>
            <a:avLst/>
            <a:gdLst>
              <a:gd name="T0" fmla="*/ 161 w 167"/>
              <a:gd name="T1" fmla="*/ 0 h 12"/>
              <a:gd name="T2" fmla="*/ 6 w 167"/>
              <a:gd name="T3" fmla="*/ 0 h 12"/>
              <a:gd name="T4" fmla="*/ 0 w 167"/>
              <a:gd name="T5" fmla="*/ 6 h 12"/>
              <a:gd name="T6" fmla="*/ 6 w 167"/>
              <a:gd name="T7" fmla="*/ 12 h 12"/>
              <a:gd name="T8" fmla="*/ 161 w 167"/>
              <a:gd name="T9" fmla="*/ 12 h 12"/>
              <a:gd name="T10" fmla="*/ 167 w 167"/>
              <a:gd name="T11" fmla="*/ 6 h 12"/>
              <a:gd name="T12" fmla="*/ 161 w 16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7" h="12">
                <a:moveTo>
                  <a:pt x="161" y="0"/>
                </a:moveTo>
                <a:cubicBezTo>
                  <a:pt x="6" y="0"/>
                  <a:pt x="6" y="0"/>
                  <a:pt x="6" y="0"/>
                </a:cubicBezTo>
                <a:cubicBezTo>
                  <a:pt x="3" y="0"/>
                  <a:pt x="0" y="3"/>
                  <a:pt x="0" y="6"/>
                </a:cubicBezTo>
                <a:cubicBezTo>
                  <a:pt x="0" y="10"/>
                  <a:pt x="3" y="12"/>
                  <a:pt x="6" y="12"/>
                </a:cubicBezTo>
                <a:cubicBezTo>
                  <a:pt x="161" y="12"/>
                  <a:pt x="161" y="12"/>
                  <a:pt x="161" y="12"/>
                </a:cubicBezTo>
                <a:cubicBezTo>
                  <a:pt x="164" y="12"/>
                  <a:pt x="167" y="10"/>
                  <a:pt x="167" y="6"/>
                </a:cubicBezTo>
                <a:cubicBezTo>
                  <a:pt x="167" y="3"/>
                  <a:pt x="164" y="0"/>
                  <a:pt x="161"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Freeform 725">
            <a:extLst>
              <a:ext uri="{FF2B5EF4-FFF2-40B4-BE49-F238E27FC236}">
                <a16:creationId xmlns:a16="http://schemas.microsoft.com/office/drawing/2014/main" id="{10E0577B-E580-478B-8648-3985E8DD9680}"/>
              </a:ext>
            </a:extLst>
          </p:cNvPr>
          <p:cNvSpPr>
            <a:spLocks/>
          </p:cNvSpPr>
          <p:nvPr/>
        </p:nvSpPr>
        <p:spPr bwMode="auto">
          <a:xfrm>
            <a:off x="9577388" y="4078288"/>
            <a:ext cx="66675" cy="60325"/>
          </a:xfrm>
          <a:custGeom>
            <a:avLst/>
            <a:gdLst>
              <a:gd name="T0" fmla="*/ 15 w 31"/>
              <a:gd name="T1" fmla="*/ 0 h 28"/>
              <a:gd name="T2" fmla="*/ 12 w 31"/>
              <a:gd name="T3" fmla="*/ 1 h 28"/>
              <a:gd name="T4" fmla="*/ 11 w 31"/>
              <a:gd name="T5" fmla="*/ 1 h 28"/>
              <a:gd name="T6" fmla="*/ 10 w 31"/>
              <a:gd name="T7" fmla="*/ 1 h 28"/>
              <a:gd name="T8" fmla="*/ 4 w 31"/>
              <a:gd name="T9" fmla="*/ 7 h 28"/>
              <a:gd name="T10" fmla="*/ 9 w 31"/>
              <a:gd name="T11" fmla="*/ 26 h 28"/>
              <a:gd name="T12" fmla="*/ 16 w 31"/>
              <a:gd name="T13" fmla="*/ 28 h 28"/>
              <a:gd name="T14" fmla="*/ 28 w 31"/>
              <a:gd name="T15" fmla="*/ 21 h 28"/>
              <a:gd name="T16" fmla="*/ 30 w 31"/>
              <a:gd name="T17" fmla="*/ 14 h 28"/>
              <a:gd name="T18" fmla="*/ 24 w 31"/>
              <a:gd name="T19" fmla="*/ 3 h 28"/>
              <a:gd name="T20" fmla="*/ 15 w 31"/>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8">
                <a:moveTo>
                  <a:pt x="15" y="0"/>
                </a:moveTo>
                <a:cubicBezTo>
                  <a:pt x="14" y="0"/>
                  <a:pt x="13" y="1"/>
                  <a:pt x="12" y="1"/>
                </a:cubicBezTo>
                <a:cubicBezTo>
                  <a:pt x="11" y="1"/>
                  <a:pt x="11" y="1"/>
                  <a:pt x="11" y="1"/>
                </a:cubicBezTo>
                <a:cubicBezTo>
                  <a:pt x="10" y="1"/>
                  <a:pt x="10" y="1"/>
                  <a:pt x="10" y="1"/>
                </a:cubicBezTo>
                <a:cubicBezTo>
                  <a:pt x="7" y="3"/>
                  <a:pt x="6" y="4"/>
                  <a:pt x="4" y="7"/>
                </a:cubicBezTo>
                <a:cubicBezTo>
                  <a:pt x="0" y="14"/>
                  <a:pt x="2" y="23"/>
                  <a:pt x="9" y="26"/>
                </a:cubicBezTo>
                <a:cubicBezTo>
                  <a:pt x="11" y="28"/>
                  <a:pt x="14" y="28"/>
                  <a:pt x="16" y="28"/>
                </a:cubicBezTo>
                <a:cubicBezTo>
                  <a:pt x="21" y="28"/>
                  <a:pt x="26" y="26"/>
                  <a:pt x="28" y="21"/>
                </a:cubicBezTo>
                <a:cubicBezTo>
                  <a:pt x="30" y="19"/>
                  <a:pt x="31" y="16"/>
                  <a:pt x="30" y="14"/>
                </a:cubicBezTo>
                <a:cubicBezTo>
                  <a:pt x="30" y="9"/>
                  <a:pt x="24" y="6"/>
                  <a:pt x="24" y="3"/>
                </a:cubicBezTo>
                <a:cubicBezTo>
                  <a:pt x="24" y="3"/>
                  <a:pt x="20"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6" name="Freeform 726">
            <a:extLst>
              <a:ext uri="{FF2B5EF4-FFF2-40B4-BE49-F238E27FC236}">
                <a16:creationId xmlns:a16="http://schemas.microsoft.com/office/drawing/2014/main" id="{3830C82D-D955-48C7-A559-0A9F321E15A3}"/>
              </a:ext>
            </a:extLst>
          </p:cNvPr>
          <p:cNvSpPr>
            <a:spLocks noEditPoints="1"/>
          </p:cNvSpPr>
          <p:nvPr/>
        </p:nvSpPr>
        <p:spPr bwMode="auto">
          <a:xfrm>
            <a:off x="9083675" y="3411538"/>
            <a:ext cx="1055688" cy="1052513"/>
          </a:xfrm>
          <a:custGeom>
            <a:avLst/>
            <a:gdLst>
              <a:gd name="T0" fmla="*/ 374 w 491"/>
              <a:gd name="T1" fmla="*/ 90 h 490"/>
              <a:gd name="T2" fmla="*/ 246 w 491"/>
              <a:gd name="T3" fmla="*/ 21 h 490"/>
              <a:gd name="T4" fmla="*/ 214 w 491"/>
              <a:gd name="T5" fmla="*/ 9 h 490"/>
              <a:gd name="T6" fmla="*/ 185 w 491"/>
              <a:gd name="T7" fmla="*/ 7 h 490"/>
              <a:gd name="T8" fmla="*/ 153 w 491"/>
              <a:gd name="T9" fmla="*/ 18 h 490"/>
              <a:gd name="T10" fmla="*/ 126 w 491"/>
              <a:gd name="T11" fmla="*/ 40 h 490"/>
              <a:gd name="T12" fmla="*/ 108 w 491"/>
              <a:gd name="T13" fmla="*/ 68 h 490"/>
              <a:gd name="T14" fmla="*/ 88 w 491"/>
              <a:gd name="T15" fmla="*/ 87 h 490"/>
              <a:gd name="T16" fmla="*/ 57 w 491"/>
              <a:gd name="T17" fmla="*/ 100 h 490"/>
              <a:gd name="T18" fmla="*/ 41 w 491"/>
              <a:gd name="T19" fmla="*/ 115 h 490"/>
              <a:gd name="T20" fmla="*/ 38 w 491"/>
              <a:gd name="T21" fmla="*/ 150 h 490"/>
              <a:gd name="T22" fmla="*/ 33 w 491"/>
              <a:gd name="T23" fmla="*/ 175 h 490"/>
              <a:gd name="T24" fmla="*/ 6 w 491"/>
              <a:gd name="T25" fmla="*/ 191 h 490"/>
              <a:gd name="T26" fmla="*/ 1 w 491"/>
              <a:gd name="T27" fmla="*/ 229 h 490"/>
              <a:gd name="T28" fmla="*/ 1 w 491"/>
              <a:gd name="T29" fmla="*/ 268 h 490"/>
              <a:gd name="T30" fmla="*/ 8 w 491"/>
              <a:gd name="T31" fmla="*/ 305 h 490"/>
              <a:gd name="T32" fmla="*/ 35 w 491"/>
              <a:gd name="T33" fmla="*/ 320 h 490"/>
              <a:gd name="T34" fmla="*/ 42 w 491"/>
              <a:gd name="T35" fmla="*/ 345 h 490"/>
              <a:gd name="T36" fmla="*/ 44 w 491"/>
              <a:gd name="T37" fmla="*/ 381 h 490"/>
              <a:gd name="T38" fmla="*/ 61 w 491"/>
              <a:gd name="T39" fmla="*/ 395 h 490"/>
              <a:gd name="T40" fmla="*/ 92 w 491"/>
              <a:gd name="T41" fmla="*/ 408 h 490"/>
              <a:gd name="T42" fmla="*/ 114 w 491"/>
              <a:gd name="T43" fmla="*/ 425 h 490"/>
              <a:gd name="T44" fmla="*/ 132 w 491"/>
              <a:gd name="T45" fmla="*/ 453 h 490"/>
              <a:gd name="T46" fmla="*/ 159 w 491"/>
              <a:gd name="T47" fmla="*/ 474 h 490"/>
              <a:gd name="T48" fmla="*/ 192 w 491"/>
              <a:gd name="T49" fmla="*/ 484 h 490"/>
              <a:gd name="T50" fmla="*/ 221 w 491"/>
              <a:gd name="T51" fmla="*/ 481 h 490"/>
              <a:gd name="T52" fmla="*/ 252 w 491"/>
              <a:gd name="T53" fmla="*/ 468 h 490"/>
              <a:gd name="T54" fmla="*/ 280 w 491"/>
              <a:gd name="T55" fmla="*/ 465 h 490"/>
              <a:gd name="T56" fmla="*/ 313 w 491"/>
              <a:gd name="T57" fmla="*/ 472 h 490"/>
              <a:gd name="T58" fmla="*/ 342 w 491"/>
              <a:gd name="T59" fmla="*/ 470 h 490"/>
              <a:gd name="T60" fmla="*/ 371 w 491"/>
              <a:gd name="T61" fmla="*/ 454 h 490"/>
              <a:gd name="T62" fmla="*/ 395 w 491"/>
              <a:gd name="T63" fmla="*/ 429 h 490"/>
              <a:gd name="T64" fmla="*/ 408 w 491"/>
              <a:gd name="T65" fmla="*/ 398 h 490"/>
              <a:gd name="T66" fmla="*/ 426 w 491"/>
              <a:gd name="T67" fmla="*/ 376 h 490"/>
              <a:gd name="T68" fmla="*/ 456 w 491"/>
              <a:gd name="T69" fmla="*/ 370 h 490"/>
              <a:gd name="T70" fmla="*/ 463 w 491"/>
              <a:gd name="T71" fmla="*/ 341 h 490"/>
              <a:gd name="T72" fmla="*/ 460 w 491"/>
              <a:gd name="T73" fmla="*/ 307 h 490"/>
              <a:gd name="T74" fmla="*/ 479 w 491"/>
              <a:gd name="T75" fmla="*/ 288 h 490"/>
              <a:gd name="T76" fmla="*/ 483 w 491"/>
              <a:gd name="T77" fmla="*/ 251 h 490"/>
              <a:gd name="T78" fmla="*/ 481 w 491"/>
              <a:gd name="T79" fmla="*/ 214 h 490"/>
              <a:gd name="T80" fmla="*/ 475 w 491"/>
              <a:gd name="T81" fmla="*/ 177 h 490"/>
              <a:gd name="T82" fmla="*/ 467 w 491"/>
              <a:gd name="T83" fmla="*/ 159 h 490"/>
              <a:gd name="T84" fmla="*/ 445 w 491"/>
              <a:gd name="T85" fmla="*/ 144 h 490"/>
              <a:gd name="T86" fmla="*/ 441 w 491"/>
              <a:gd name="T87" fmla="*/ 110 h 490"/>
              <a:gd name="T88" fmla="*/ 429 w 491"/>
              <a:gd name="T89" fmla="*/ 83 h 490"/>
              <a:gd name="T90" fmla="*/ 404 w 491"/>
              <a:gd name="T91" fmla="*/ 68 h 490"/>
              <a:gd name="T92" fmla="*/ 371 w 491"/>
              <a:gd name="T93" fmla="*/ 60 h 490"/>
              <a:gd name="T94" fmla="*/ 347 w 491"/>
              <a:gd name="T95" fmla="*/ 46 h 490"/>
              <a:gd name="T96" fmla="*/ 325 w 491"/>
              <a:gd name="T97" fmla="*/ 21 h 490"/>
              <a:gd name="T98" fmla="*/ 295 w 491"/>
              <a:gd name="T99" fmla="*/ 5 h 490"/>
              <a:gd name="T100" fmla="*/ 261 w 491"/>
              <a:gd name="T10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1" h="490">
                <a:moveTo>
                  <a:pt x="245" y="446"/>
                </a:moveTo>
                <a:cubicBezTo>
                  <a:pt x="200" y="446"/>
                  <a:pt x="154" y="431"/>
                  <a:pt x="117" y="400"/>
                </a:cubicBezTo>
                <a:cubicBezTo>
                  <a:pt x="31" y="329"/>
                  <a:pt x="20" y="202"/>
                  <a:pt x="91" y="116"/>
                </a:cubicBezTo>
                <a:cubicBezTo>
                  <a:pt x="130" y="68"/>
                  <a:pt x="188" y="44"/>
                  <a:pt x="245" y="44"/>
                </a:cubicBezTo>
                <a:cubicBezTo>
                  <a:pt x="291" y="44"/>
                  <a:pt x="336" y="59"/>
                  <a:pt x="374" y="90"/>
                </a:cubicBezTo>
                <a:cubicBezTo>
                  <a:pt x="459" y="161"/>
                  <a:pt x="471" y="288"/>
                  <a:pt x="400" y="373"/>
                </a:cubicBezTo>
                <a:cubicBezTo>
                  <a:pt x="360" y="421"/>
                  <a:pt x="303" y="446"/>
                  <a:pt x="245" y="446"/>
                </a:cubicBezTo>
                <a:moveTo>
                  <a:pt x="259" y="0"/>
                </a:moveTo>
                <a:cubicBezTo>
                  <a:pt x="256" y="0"/>
                  <a:pt x="253" y="1"/>
                  <a:pt x="252" y="7"/>
                </a:cubicBezTo>
                <a:cubicBezTo>
                  <a:pt x="250" y="13"/>
                  <a:pt x="248" y="19"/>
                  <a:pt x="246" y="21"/>
                </a:cubicBezTo>
                <a:cubicBezTo>
                  <a:pt x="243" y="21"/>
                  <a:pt x="241" y="21"/>
                  <a:pt x="238" y="22"/>
                </a:cubicBezTo>
                <a:cubicBezTo>
                  <a:pt x="236" y="19"/>
                  <a:pt x="233" y="13"/>
                  <a:pt x="232" y="8"/>
                </a:cubicBezTo>
                <a:cubicBezTo>
                  <a:pt x="231" y="2"/>
                  <a:pt x="228" y="0"/>
                  <a:pt x="225" y="0"/>
                </a:cubicBezTo>
                <a:cubicBezTo>
                  <a:pt x="224" y="0"/>
                  <a:pt x="223" y="1"/>
                  <a:pt x="223" y="1"/>
                </a:cubicBezTo>
                <a:cubicBezTo>
                  <a:pt x="219" y="1"/>
                  <a:pt x="215" y="1"/>
                  <a:pt x="214" y="9"/>
                </a:cubicBezTo>
                <a:cubicBezTo>
                  <a:pt x="214" y="15"/>
                  <a:pt x="213" y="21"/>
                  <a:pt x="211" y="24"/>
                </a:cubicBezTo>
                <a:cubicBezTo>
                  <a:pt x="208" y="24"/>
                  <a:pt x="206" y="25"/>
                  <a:pt x="204" y="25"/>
                </a:cubicBezTo>
                <a:cubicBezTo>
                  <a:pt x="201" y="23"/>
                  <a:pt x="197" y="18"/>
                  <a:pt x="195" y="13"/>
                </a:cubicBezTo>
                <a:cubicBezTo>
                  <a:pt x="193" y="8"/>
                  <a:pt x="191" y="7"/>
                  <a:pt x="188" y="7"/>
                </a:cubicBezTo>
                <a:cubicBezTo>
                  <a:pt x="187" y="7"/>
                  <a:pt x="186" y="7"/>
                  <a:pt x="185" y="7"/>
                </a:cubicBezTo>
                <a:cubicBezTo>
                  <a:pt x="181" y="8"/>
                  <a:pt x="177" y="9"/>
                  <a:pt x="178" y="17"/>
                </a:cubicBezTo>
                <a:cubicBezTo>
                  <a:pt x="178" y="23"/>
                  <a:pt x="178" y="29"/>
                  <a:pt x="177" y="32"/>
                </a:cubicBezTo>
                <a:cubicBezTo>
                  <a:pt x="174" y="33"/>
                  <a:pt x="172" y="34"/>
                  <a:pt x="170" y="35"/>
                </a:cubicBezTo>
                <a:cubicBezTo>
                  <a:pt x="166" y="33"/>
                  <a:pt x="162" y="28"/>
                  <a:pt x="159" y="23"/>
                </a:cubicBezTo>
                <a:cubicBezTo>
                  <a:pt x="157" y="19"/>
                  <a:pt x="155" y="18"/>
                  <a:pt x="153" y="18"/>
                </a:cubicBezTo>
                <a:cubicBezTo>
                  <a:pt x="151" y="18"/>
                  <a:pt x="150" y="19"/>
                  <a:pt x="148" y="20"/>
                </a:cubicBezTo>
                <a:cubicBezTo>
                  <a:pt x="145" y="21"/>
                  <a:pt x="141" y="22"/>
                  <a:pt x="143" y="30"/>
                </a:cubicBezTo>
                <a:cubicBezTo>
                  <a:pt x="145" y="36"/>
                  <a:pt x="145" y="42"/>
                  <a:pt x="144" y="46"/>
                </a:cubicBezTo>
                <a:cubicBezTo>
                  <a:pt x="142" y="47"/>
                  <a:pt x="140" y="48"/>
                  <a:pt x="138" y="49"/>
                </a:cubicBezTo>
                <a:cubicBezTo>
                  <a:pt x="134" y="48"/>
                  <a:pt x="129" y="44"/>
                  <a:pt x="126" y="40"/>
                </a:cubicBezTo>
                <a:cubicBezTo>
                  <a:pt x="123" y="36"/>
                  <a:pt x="121" y="35"/>
                  <a:pt x="119" y="35"/>
                </a:cubicBezTo>
                <a:cubicBezTo>
                  <a:pt x="117" y="35"/>
                  <a:pt x="116" y="37"/>
                  <a:pt x="114" y="38"/>
                </a:cubicBezTo>
                <a:cubicBezTo>
                  <a:pt x="111" y="39"/>
                  <a:pt x="107" y="41"/>
                  <a:pt x="111" y="49"/>
                </a:cubicBezTo>
                <a:cubicBezTo>
                  <a:pt x="113" y="54"/>
                  <a:pt x="115" y="60"/>
                  <a:pt x="114" y="64"/>
                </a:cubicBezTo>
                <a:cubicBezTo>
                  <a:pt x="112" y="65"/>
                  <a:pt x="110" y="67"/>
                  <a:pt x="108" y="68"/>
                </a:cubicBezTo>
                <a:cubicBezTo>
                  <a:pt x="105" y="68"/>
                  <a:pt x="99" y="64"/>
                  <a:pt x="95" y="61"/>
                </a:cubicBezTo>
                <a:cubicBezTo>
                  <a:pt x="93" y="58"/>
                  <a:pt x="91" y="58"/>
                  <a:pt x="89" y="58"/>
                </a:cubicBezTo>
                <a:cubicBezTo>
                  <a:pt x="86" y="58"/>
                  <a:pt x="85" y="59"/>
                  <a:pt x="83" y="61"/>
                </a:cubicBezTo>
                <a:cubicBezTo>
                  <a:pt x="81" y="63"/>
                  <a:pt x="77" y="65"/>
                  <a:pt x="82" y="72"/>
                </a:cubicBezTo>
                <a:cubicBezTo>
                  <a:pt x="85" y="77"/>
                  <a:pt x="87" y="83"/>
                  <a:pt x="88" y="87"/>
                </a:cubicBezTo>
                <a:cubicBezTo>
                  <a:pt x="86" y="88"/>
                  <a:pt x="84" y="90"/>
                  <a:pt x="83" y="92"/>
                </a:cubicBezTo>
                <a:cubicBezTo>
                  <a:pt x="79" y="92"/>
                  <a:pt x="73" y="89"/>
                  <a:pt x="68" y="87"/>
                </a:cubicBezTo>
                <a:cubicBezTo>
                  <a:pt x="66" y="85"/>
                  <a:pt x="64" y="84"/>
                  <a:pt x="62" y="84"/>
                </a:cubicBezTo>
                <a:cubicBezTo>
                  <a:pt x="59" y="84"/>
                  <a:pt x="58" y="87"/>
                  <a:pt x="57" y="88"/>
                </a:cubicBezTo>
                <a:cubicBezTo>
                  <a:pt x="54" y="91"/>
                  <a:pt x="51" y="94"/>
                  <a:pt x="57" y="100"/>
                </a:cubicBezTo>
                <a:cubicBezTo>
                  <a:pt x="61" y="104"/>
                  <a:pt x="64" y="110"/>
                  <a:pt x="65" y="113"/>
                </a:cubicBezTo>
                <a:cubicBezTo>
                  <a:pt x="63" y="115"/>
                  <a:pt x="62" y="117"/>
                  <a:pt x="61" y="119"/>
                </a:cubicBezTo>
                <a:cubicBezTo>
                  <a:pt x="60" y="119"/>
                  <a:pt x="60" y="119"/>
                  <a:pt x="59" y="119"/>
                </a:cubicBezTo>
                <a:cubicBezTo>
                  <a:pt x="55" y="119"/>
                  <a:pt x="50" y="118"/>
                  <a:pt x="46" y="116"/>
                </a:cubicBezTo>
                <a:cubicBezTo>
                  <a:pt x="44" y="115"/>
                  <a:pt x="42" y="115"/>
                  <a:pt x="41" y="115"/>
                </a:cubicBezTo>
                <a:cubicBezTo>
                  <a:pt x="37" y="115"/>
                  <a:pt x="36" y="118"/>
                  <a:pt x="34" y="120"/>
                </a:cubicBezTo>
                <a:cubicBezTo>
                  <a:pt x="33" y="122"/>
                  <a:pt x="30" y="126"/>
                  <a:pt x="37" y="131"/>
                </a:cubicBezTo>
                <a:cubicBezTo>
                  <a:pt x="41" y="135"/>
                  <a:pt x="45" y="139"/>
                  <a:pt x="46" y="143"/>
                </a:cubicBezTo>
                <a:cubicBezTo>
                  <a:pt x="45" y="145"/>
                  <a:pt x="44" y="147"/>
                  <a:pt x="43" y="150"/>
                </a:cubicBezTo>
                <a:cubicBezTo>
                  <a:pt x="42" y="150"/>
                  <a:pt x="40" y="150"/>
                  <a:pt x="38" y="150"/>
                </a:cubicBezTo>
                <a:cubicBezTo>
                  <a:pt x="35" y="150"/>
                  <a:pt x="31" y="150"/>
                  <a:pt x="28" y="149"/>
                </a:cubicBezTo>
                <a:cubicBezTo>
                  <a:pt x="27" y="149"/>
                  <a:pt x="25" y="148"/>
                  <a:pt x="24" y="148"/>
                </a:cubicBezTo>
                <a:cubicBezTo>
                  <a:pt x="19" y="148"/>
                  <a:pt x="18" y="152"/>
                  <a:pt x="17" y="154"/>
                </a:cubicBezTo>
                <a:cubicBezTo>
                  <a:pt x="16" y="157"/>
                  <a:pt x="14" y="161"/>
                  <a:pt x="22" y="165"/>
                </a:cubicBezTo>
                <a:cubicBezTo>
                  <a:pt x="26" y="168"/>
                  <a:pt x="31" y="172"/>
                  <a:pt x="33" y="175"/>
                </a:cubicBezTo>
                <a:cubicBezTo>
                  <a:pt x="32" y="178"/>
                  <a:pt x="31" y="180"/>
                  <a:pt x="31" y="182"/>
                </a:cubicBezTo>
                <a:cubicBezTo>
                  <a:pt x="28" y="184"/>
                  <a:pt x="23" y="184"/>
                  <a:pt x="19" y="184"/>
                </a:cubicBezTo>
                <a:cubicBezTo>
                  <a:pt x="18" y="184"/>
                  <a:pt x="17" y="184"/>
                  <a:pt x="16" y="184"/>
                </a:cubicBezTo>
                <a:cubicBezTo>
                  <a:pt x="15" y="184"/>
                  <a:pt x="14" y="184"/>
                  <a:pt x="14" y="184"/>
                </a:cubicBezTo>
                <a:cubicBezTo>
                  <a:pt x="7" y="184"/>
                  <a:pt x="7" y="188"/>
                  <a:pt x="6" y="191"/>
                </a:cubicBezTo>
                <a:cubicBezTo>
                  <a:pt x="5" y="194"/>
                  <a:pt x="4" y="198"/>
                  <a:pt x="12" y="201"/>
                </a:cubicBezTo>
                <a:cubicBezTo>
                  <a:pt x="17" y="203"/>
                  <a:pt x="22" y="207"/>
                  <a:pt x="25" y="209"/>
                </a:cubicBezTo>
                <a:cubicBezTo>
                  <a:pt x="24" y="212"/>
                  <a:pt x="24" y="214"/>
                  <a:pt x="24" y="217"/>
                </a:cubicBezTo>
                <a:cubicBezTo>
                  <a:pt x="21" y="219"/>
                  <a:pt x="14" y="220"/>
                  <a:pt x="9" y="221"/>
                </a:cubicBezTo>
                <a:cubicBezTo>
                  <a:pt x="1" y="221"/>
                  <a:pt x="1" y="226"/>
                  <a:pt x="1" y="229"/>
                </a:cubicBezTo>
                <a:cubicBezTo>
                  <a:pt x="0" y="232"/>
                  <a:pt x="0" y="237"/>
                  <a:pt x="8" y="238"/>
                </a:cubicBezTo>
                <a:cubicBezTo>
                  <a:pt x="13" y="240"/>
                  <a:pt x="19" y="242"/>
                  <a:pt x="22" y="244"/>
                </a:cubicBezTo>
                <a:cubicBezTo>
                  <a:pt x="22" y="247"/>
                  <a:pt x="22" y="249"/>
                  <a:pt x="22" y="252"/>
                </a:cubicBezTo>
                <a:cubicBezTo>
                  <a:pt x="19" y="254"/>
                  <a:pt x="14" y="257"/>
                  <a:pt x="8" y="258"/>
                </a:cubicBezTo>
                <a:cubicBezTo>
                  <a:pt x="0" y="260"/>
                  <a:pt x="1" y="264"/>
                  <a:pt x="1" y="268"/>
                </a:cubicBezTo>
                <a:cubicBezTo>
                  <a:pt x="1" y="271"/>
                  <a:pt x="1" y="275"/>
                  <a:pt x="10" y="276"/>
                </a:cubicBezTo>
                <a:cubicBezTo>
                  <a:pt x="15" y="276"/>
                  <a:pt x="22" y="277"/>
                  <a:pt x="25" y="279"/>
                </a:cubicBezTo>
                <a:cubicBezTo>
                  <a:pt x="25" y="282"/>
                  <a:pt x="25" y="284"/>
                  <a:pt x="26" y="287"/>
                </a:cubicBezTo>
                <a:cubicBezTo>
                  <a:pt x="24" y="289"/>
                  <a:pt x="18" y="293"/>
                  <a:pt x="13" y="295"/>
                </a:cubicBezTo>
                <a:cubicBezTo>
                  <a:pt x="5" y="298"/>
                  <a:pt x="7" y="302"/>
                  <a:pt x="8" y="305"/>
                </a:cubicBezTo>
                <a:cubicBezTo>
                  <a:pt x="8" y="308"/>
                  <a:pt x="9" y="312"/>
                  <a:pt x="15" y="312"/>
                </a:cubicBezTo>
                <a:cubicBezTo>
                  <a:pt x="16" y="312"/>
                  <a:pt x="17" y="312"/>
                  <a:pt x="18" y="312"/>
                </a:cubicBezTo>
                <a:cubicBezTo>
                  <a:pt x="19" y="312"/>
                  <a:pt x="21" y="312"/>
                  <a:pt x="22" y="312"/>
                </a:cubicBezTo>
                <a:cubicBezTo>
                  <a:pt x="26" y="312"/>
                  <a:pt x="30" y="312"/>
                  <a:pt x="33" y="313"/>
                </a:cubicBezTo>
                <a:cubicBezTo>
                  <a:pt x="33" y="316"/>
                  <a:pt x="34" y="318"/>
                  <a:pt x="35" y="320"/>
                </a:cubicBezTo>
                <a:cubicBezTo>
                  <a:pt x="33" y="324"/>
                  <a:pt x="29" y="328"/>
                  <a:pt x="24" y="331"/>
                </a:cubicBezTo>
                <a:cubicBezTo>
                  <a:pt x="17" y="335"/>
                  <a:pt x="19" y="339"/>
                  <a:pt x="20" y="342"/>
                </a:cubicBezTo>
                <a:cubicBezTo>
                  <a:pt x="21" y="344"/>
                  <a:pt x="22" y="348"/>
                  <a:pt x="27" y="348"/>
                </a:cubicBezTo>
                <a:cubicBezTo>
                  <a:pt x="28" y="348"/>
                  <a:pt x="29" y="347"/>
                  <a:pt x="31" y="347"/>
                </a:cubicBezTo>
                <a:cubicBezTo>
                  <a:pt x="34" y="346"/>
                  <a:pt x="38" y="345"/>
                  <a:pt x="42" y="345"/>
                </a:cubicBezTo>
                <a:cubicBezTo>
                  <a:pt x="43" y="345"/>
                  <a:pt x="45" y="346"/>
                  <a:pt x="46" y="346"/>
                </a:cubicBezTo>
                <a:cubicBezTo>
                  <a:pt x="47" y="348"/>
                  <a:pt x="48" y="350"/>
                  <a:pt x="49" y="352"/>
                </a:cubicBezTo>
                <a:cubicBezTo>
                  <a:pt x="48" y="356"/>
                  <a:pt x="44" y="361"/>
                  <a:pt x="40" y="364"/>
                </a:cubicBezTo>
                <a:cubicBezTo>
                  <a:pt x="33" y="370"/>
                  <a:pt x="36" y="373"/>
                  <a:pt x="38" y="376"/>
                </a:cubicBezTo>
                <a:cubicBezTo>
                  <a:pt x="39" y="378"/>
                  <a:pt x="41" y="381"/>
                  <a:pt x="44" y="381"/>
                </a:cubicBezTo>
                <a:cubicBezTo>
                  <a:pt x="46" y="381"/>
                  <a:pt x="47" y="380"/>
                  <a:pt x="50" y="379"/>
                </a:cubicBezTo>
                <a:cubicBezTo>
                  <a:pt x="54" y="377"/>
                  <a:pt x="59" y="376"/>
                  <a:pt x="63" y="376"/>
                </a:cubicBezTo>
                <a:cubicBezTo>
                  <a:pt x="63" y="376"/>
                  <a:pt x="64" y="376"/>
                  <a:pt x="64" y="376"/>
                </a:cubicBezTo>
                <a:cubicBezTo>
                  <a:pt x="66" y="378"/>
                  <a:pt x="67" y="380"/>
                  <a:pt x="69" y="382"/>
                </a:cubicBezTo>
                <a:cubicBezTo>
                  <a:pt x="68" y="385"/>
                  <a:pt x="65" y="391"/>
                  <a:pt x="61" y="395"/>
                </a:cubicBezTo>
                <a:cubicBezTo>
                  <a:pt x="56" y="401"/>
                  <a:pt x="59" y="404"/>
                  <a:pt x="61" y="407"/>
                </a:cubicBezTo>
                <a:cubicBezTo>
                  <a:pt x="63" y="408"/>
                  <a:pt x="64" y="410"/>
                  <a:pt x="67" y="410"/>
                </a:cubicBezTo>
                <a:cubicBezTo>
                  <a:pt x="69" y="410"/>
                  <a:pt x="70" y="410"/>
                  <a:pt x="73" y="408"/>
                </a:cubicBezTo>
                <a:cubicBezTo>
                  <a:pt x="78" y="405"/>
                  <a:pt x="83" y="403"/>
                  <a:pt x="87" y="402"/>
                </a:cubicBezTo>
                <a:cubicBezTo>
                  <a:pt x="89" y="404"/>
                  <a:pt x="90" y="406"/>
                  <a:pt x="92" y="408"/>
                </a:cubicBezTo>
                <a:cubicBezTo>
                  <a:pt x="92" y="411"/>
                  <a:pt x="90" y="417"/>
                  <a:pt x="87" y="422"/>
                </a:cubicBezTo>
                <a:cubicBezTo>
                  <a:pt x="82" y="429"/>
                  <a:pt x="86" y="431"/>
                  <a:pt x="89" y="433"/>
                </a:cubicBezTo>
                <a:cubicBezTo>
                  <a:pt x="90" y="435"/>
                  <a:pt x="92" y="436"/>
                  <a:pt x="94" y="436"/>
                </a:cubicBezTo>
                <a:cubicBezTo>
                  <a:pt x="96" y="436"/>
                  <a:pt x="98" y="435"/>
                  <a:pt x="101" y="433"/>
                </a:cubicBezTo>
                <a:cubicBezTo>
                  <a:pt x="105" y="429"/>
                  <a:pt x="110" y="426"/>
                  <a:pt x="114" y="425"/>
                </a:cubicBezTo>
                <a:cubicBezTo>
                  <a:pt x="116" y="427"/>
                  <a:pt x="118" y="428"/>
                  <a:pt x="120" y="429"/>
                </a:cubicBezTo>
                <a:cubicBezTo>
                  <a:pt x="120" y="433"/>
                  <a:pt x="119" y="439"/>
                  <a:pt x="117" y="444"/>
                </a:cubicBezTo>
                <a:cubicBezTo>
                  <a:pt x="113" y="452"/>
                  <a:pt x="117" y="454"/>
                  <a:pt x="120" y="456"/>
                </a:cubicBezTo>
                <a:cubicBezTo>
                  <a:pt x="122" y="457"/>
                  <a:pt x="123" y="458"/>
                  <a:pt x="125" y="458"/>
                </a:cubicBezTo>
                <a:cubicBezTo>
                  <a:pt x="127" y="458"/>
                  <a:pt x="129" y="457"/>
                  <a:pt x="132" y="453"/>
                </a:cubicBezTo>
                <a:cubicBezTo>
                  <a:pt x="135" y="449"/>
                  <a:pt x="140" y="445"/>
                  <a:pt x="144" y="444"/>
                </a:cubicBezTo>
                <a:cubicBezTo>
                  <a:pt x="146" y="445"/>
                  <a:pt x="148" y="446"/>
                  <a:pt x="150" y="447"/>
                </a:cubicBezTo>
                <a:cubicBezTo>
                  <a:pt x="151" y="451"/>
                  <a:pt x="151" y="457"/>
                  <a:pt x="149" y="462"/>
                </a:cubicBezTo>
                <a:cubicBezTo>
                  <a:pt x="147" y="470"/>
                  <a:pt x="152" y="471"/>
                  <a:pt x="155" y="473"/>
                </a:cubicBezTo>
                <a:cubicBezTo>
                  <a:pt x="156" y="473"/>
                  <a:pt x="158" y="474"/>
                  <a:pt x="159" y="474"/>
                </a:cubicBezTo>
                <a:cubicBezTo>
                  <a:pt x="161" y="474"/>
                  <a:pt x="164" y="473"/>
                  <a:pt x="166" y="469"/>
                </a:cubicBezTo>
                <a:cubicBezTo>
                  <a:pt x="169" y="464"/>
                  <a:pt x="173" y="459"/>
                  <a:pt x="176" y="457"/>
                </a:cubicBezTo>
                <a:cubicBezTo>
                  <a:pt x="178" y="458"/>
                  <a:pt x="181" y="459"/>
                  <a:pt x="183" y="459"/>
                </a:cubicBezTo>
                <a:cubicBezTo>
                  <a:pt x="184" y="463"/>
                  <a:pt x="185" y="469"/>
                  <a:pt x="185" y="474"/>
                </a:cubicBezTo>
                <a:cubicBezTo>
                  <a:pt x="184" y="483"/>
                  <a:pt x="188" y="483"/>
                  <a:pt x="192" y="484"/>
                </a:cubicBezTo>
                <a:cubicBezTo>
                  <a:pt x="193" y="484"/>
                  <a:pt x="194" y="485"/>
                  <a:pt x="195" y="485"/>
                </a:cubicBezTo>
                <a:cubicBezTo>
                  <a:pt x="198" y="485"/>
                  <a:pt x="200" y="483"/>
                  <a:pt x="202" y="478"/>
                </a:cubicBezTo>
                <a:cubicBezTo>
                  <a:pt x="204" y="473"/>
                  <a:pt x="207" y="468"/>
                  <a:pt x="210" y="465"/>
                </a:cubicBezTo>
                <a:cubicBezTo>
                  <a:pt x="212" y="466"/>
                  <a:pt x="215" y="466"/>
                  <a:pt x="217" y="466"/>
                </a:cubicBezTo>
                <a:cubicBezTo>
                  <a:pt x="219" y="469"/>
                  <a:pt x="221" y="476"/>
                  <a:pt x="221" y="481"/>
                </a:cubicBezTo>
                <a:cubicBezTo>
                  <a:pt x="222" y="490"/>
                  <a:pt x="226" y="489"/>
                  <a:pt x="230" y="489"/>
                </a:cubicBezTo>
                <a:cubicBezTo>
                  <a:pt x="230" y="490"/>
                  <a:pt x="231" y="490"/>
                  <a:pt x="232" y="490"/>
                </a:cubicBezTo>
                <a:cubicBezTo>
                  <a:pt x="235" y="490"/>
                  <a:pt x="238" y="489"/>
                  <a:pt x="239" y="482"/>
                </a:cubicBezTo>
                <a:cubicBezTo>
                  <a:pt x="240" y="477"/>
                  <a:pt x="242" y="471"/>
                  <a:pt x="245" y="468"/>
                </a:cubicBezTo>
                <a:cubicBezTo>
                  <a:pt x="247" y="468"/>
                  <a:pt x="250" y="468"/>
                  <a:pt x="252" y="468"/>
                </a:cubicBezTo>
                <a:cubicBezTo>
                  <a:pt x="255" y="471"/>
                  <a:pt x="257" y="477"/>
                  <a:pt x="259" y="482"/>
                </a:cubicBezTo>
                <a:cubicBezTo>
                  <a:pt x="260" y="488"/>
                  <a:pt x="263" y="489"/>
                  <a:pt x="265" y="489"/>
                </a:cubicBezTo>
                <a:cubicBezTo>
                  <a:pt x="266" y="489"/>
                  <a:pt x="267" y="489"/>
                  <a:pt x="268" y="489"/>
                </a:cubicBezTo>
                <a:cubicBezTo>
                  <a:pt x="271" y="489"/>
                  <a:pt x="276" y="489"/>
                  <a:pt x="276" y="480"/>
                </a:cubicBezTo>
                <a:cubicBezTo>
                  <a:pt x="276" y="475"/>
                  <a:pt x="278" y="469"/>
                  <a:pt x="280" y="465"/>
                </a:cubicBezTo>
                <a:cubicBezTo>
                  <a:pt x="282" y="465"/>
                  <a:pt x="285" y="465"/>
                  <a:pt x="287" y="464"/>
                </a:cubicBezTo>
                <a:cubicBezTo>
                  <a:pt x="290" y="467"/>
                  <a:pt x="293" y="472"/>
                  <a:pt x="295" y="477"/>
                </a:cubicBezTo>
                <a:cubicBezTo>
                  <a:pt x="297" y="482"/>
                  <a:pt x="300" y="483"/>
                  <a:pt x="302" y="483"/>
                </a:cubicBezTo>
                <a:cubicBezTo>
                  <a:pt x="303" y="483"/>
                  <a:pt x="305" y="483"/>
                  <a:pt x="306" y="482"/>
                </a:cubicBezTo>
                <a:cubicBezTo>
                  <a:pt x="309" y="482"/>
                  <a:pt x="314" y="481"/>
                  <a:pt x="313" y="472"/>
                </a:cubicBezTo>
                <a:cubicBezTo>
                  <a:pt x="312" y="467"/>
                  <a:pt x="312" y="461"/>
                  <a:pt x="314" y="457"/>
                </a:cubicBezTo>
                <a:cubicBezTo>
                  <a:pt x="316" y="457"/>
                  <a:pt x="319" y="456"/>
                  <a:pt x="321" y="455"/>
                </a:cubicBezTo>
                <a:cubicBezTo>
                  <a:pt x="324" y="457"/>
                  <a:pt x="328" y="462"/>
                  <a:pt x="331" y="466"/>
                </a:cubicBezTo>
                <a:cubicBezTo>
                  <a:pt x="333" y="470"/>
                  <a:pt x="336" y="471"/>
                  <a:pt x="338" y="471"/>
                </a:cubicBezTo>
                <a:cubicBezTo>
                  <a:pt x="339" y="471"/>
                  <a:pt x="341" y="470"/>
                  <a:pt x="342" y="470"/>
                </a:cubicBezTo>
                <a:cubicBezTo>
                  <a:pt x="345" y="469"/>
                  <a:pt x="350" y="467"/>
                  <a:pt x="347" y="459"/>
                </a:cubicBezTo>
                <a:cubicBezTo>
                  <a:pt x="346" y="454"/>
                  <a:pt x="345" y="448"/>
                  <a:pt x="346" y="444"/>
                </a:cubicBezTo>
                <a:cubicBezTo>
                  <a:pt x="348" y="443"/>
                  <a:pt x="351" y="442"/>
                  <a:pt x="353" y="441"/>
                </a:cubicBezTo>
                <a:cubicBezTo>
                  <a:pt x="356" y="442"/>
                  <a:pt x="361" y="446"/>
                  <a:pt x="365" y="450"/>
                </a:cubicBezTo>
                <a:cubicBezTo>
                  <a:pt x="367" y="453"/>
                  <a:pt x="369" y="454"/>
                  <a:pt x="371" y="454"/>
                </a:cubicBezTo>
                <a:cubicBezTo>
                  <a:pt x="373" y="454"/>
                  <a:pt x="375" y="453"/>
                  <a:pt x="376" y="452"/>
                </a:cubicBezTo>
                <a:cubicBezTo>
                  <a:pt x="379" y="450"/>
                  <a:pt x="383" y="448"/>
                  <a:pt x="380" y="441"/>
                </a:cubicBezTo>
                <a:cubicBezTo>
                  <a:pt x="378" y="436"/>
                  <a:pt x="376" y="430"/>
                  <a:pt x="376" y="426"/>
                </a:cubicBezTo>
                <a:cubicBezTo>
                  <a:pt x="378" y="424"/>
                  <a:pt x="380" y="423"/>
                  <a:pt x="382" y="421"/>
                </a:cubicBezTo>
                <a:cubicBezTo>
                  <a:pt x="386" y="422"/>
                  <a:pt x="391" y="425"/>
                  <a:pt x="395" y="429"/>
                </a:cubicBezTo>
                <a:cubicBezTo>
                  <a:pt x="398" y="431"/>
                  <a:pt x="400" y="432"/>
                  <a:pt x="402" y="432"/>
                </a:cubicBezTo>
                <a:cubicBezTo>
                  <a:pt x="404" y="432"/>
                  <a:pt x="406" y="430"/>
                  <a:pt x="407" y="429"/>
                </a:cubicBezTo>
                <a:cubicBezTo>
                  <a:pt x="410" y="427"/>
                  <a:pt x="413" y="424"/>
                  <a:pt x="409" y="417"/>
                </a:cubicBezTo>
                <a:cubicBezTo>
                  <a:pt x="406" y="413"/>
                  <a:pt x="403" y="407"/>
                  <a:pt x="403" y="403"/>
                </a:cubicBezTo>
                <a:cubicBezTo>
                  <a:pt x="405" y="401"/>
                  <a:pt x="406" y="400"/>
                  <a:pt x="408" y="398"/>
                </a:cubicBezTo>
                <a:cubicBezTo>
                  <a:pt x="412" y="398"/>
                  <a:pt x="418" y="400"/>
                  <a:pt x="422" y="403"/>
                </a:cubicBezTo>
                <a:cubicBezTo>
                  <a:pt x="425" y="405"/>
                  <a:pt x="427" y="405"/>
                  <a:pt x="428" y="405"/>
                </a:cubicBezTo>
                <a:cubicBezTo>
                  <a:pt x="431" y="405"/>
                  <a:pt x="433" y="403"/>
                  <a:pt x="434" y="401"/>
                </a:cubicBezTo>
                <a:cubicBezTo>
                  <a:pt x="436" y="399"/>
                  <a:pt x="439" y="396"/>
                  <a:pt x="434" y="389"/>
                </a:cubicBezTo>
                <a:cubicBezTo>
                  <a:pt x="430" y="385"/>
                  <a:pt x="427" y="380"/>
                  <a:pt x="426" y="376"/>
                </a:cubicBezTo>
                <a:cubicBezTo>
                  <a:pt x="427" y="374"/>
                  <a:pt x="429" y="372"/>
                  <a:pt x="430" y="370"/>
                </a:cubicBezTo>
                <a:cubicBezTo>
                  <a:pt x="430" y="370"/>
                  <a:pt x="431" y="370"/>
                  <a:pt x="432" y="370"/>
                </a:cubicBezTo>
                <a:cubicBezTo>
                  <a:pt x="435" y="370"/>
                  <a:pt x="440" y="372"/>
                  <a:pt x="445" y="373"/>
                </a:cubicBezTo>
                <a:cubicBezTo>
                  <a:pt x="447" y="374"/>
                  <a:pt x="449" y="375"/>
                  <a:pt x="450" y="375"/>
                </a:cubicBezTo>
                <a:cubicBezTo>
                  <a:pt x="454" y="375"/>
                  <a:pt x="455" y="372"/>
                  <a:pt x="456" y="370"/>
                </a:cubicBezTo>
                <a:cubicBezTo>
                  <a:pt x="458" y="367"/>
                  <a:pt x="461" y="363"/>
                  <a:pt x="454" y="358"/>
                </a:cubicBezTo>
                <a:cubicBezTo>
                  <a:pt x="450" y="355"/>
                  <a:pt x="445" y="350"/>
                  <a:pt x="444" y="347"/>
                </a:cubicBezTo>
                <a:cubicBezTo>
                  <a:pt x="445" y="344"/>
                  <a:pt x="446" y="342"/>
                  <a:pt x="447" y="340"/>
                </a:cubicBezTo>
                <a:cubicBezTo>
                  <a:pt x="449" y="340"/>
                  <a:pt x="451" y="339"/>
                  <a:pt x="452" y="339"/>
                </a:cubicBezTo>
                <a:cubicBezTo>
                  <a:pt x="456" y="339"/>
                  <a:pt x="459" y="340"/>
                  <a:pt x="463" y="341"/>
                </a:cubicBezTo>
                <a:cubicBezTo>
                  <a:pt x="464" y="341"/>
                  <a:pt x="465" y="341"/>
                  <a:pt x="466" y="341"/>
                </a:cubicBezTo>
                <a:cubicBezTo>
                  <a:pt x="471" y="341"/>
                  <a:pt x="472" y="338"/>
                  <a:pt x="473" y="335"/>
                </a:cubicBezTo>
                <a:cubicBezTo>
                  <a:pt x="474" y="332"/>
                  <a:pt x="477" y="328"/>
                  <a:pt x="469" y="324"/>
                </a:cubicBezTo>
                <a:cubicBezTo>
                  <a:pt x="464" y="321"/>
                  <a:pt x="459" y="317"/>
                  <a:pt x="458" y="314"/>
                </a:cubicBezTo>
                <a:cubicBezTo>
                  <a:pt x="458" y="312"/>
                  <a:pt x="459" y="310"/>
                  <a:pt x="460" y="307"/>
                </a:cubicBezTo>
                <a:cubicBezTo>
                  <a:pt x="463" y="306"/>
                  <a:pt x="467" y="305"/>
                  <a:pt x="472" y="305"/>
                </a:cubicBezTo>
                <a:cubicBezTo>
                  <a:pt x="473" y="305"/>
                  <a:pt x="474" y="305"/>
                  <a:pt x="475" y="305"/>
                </a:cubicBezTo>
                <a:cubicBezTo>
                  <a:pt x="476" y="306"/>
                  <a:pt x="476" y="306"/>
                  <a:pt x="477" y="306"/>
                </a:cubicBezTo>
                <a:cubicBezTo>
                  <a:pt x="483" y="306"/>
                  <a:pt x="484" y="301"/>
                  <a:pt x="484" y="299"/>
                </a:cubicBezTo>
                <a:cubicBezTo>
                  <a:pt x="485" y="295"/>
                  <a:pt x="487" y="291"/>
                  <a:pt x="479" y="288"/>
                </a:cubicBezTo>
                <a:cubicBezTo>
                  <a:pt x="474" y="286"/>
                  <a:pt x="468" y="283"/>
                  <a:pt x="466" y="280"/>
                </a:cubicBezTo>
                <a:cubicBezTo>
                  <a:pt x="466" y="278"/>
                  <a:pt x="467" y="275"/>
                  <a:pt x="467" y="273"/>
                </a:cubicBezTo>
                <a:cubicBezTo>
                  <a:pt x="470" y="271"/>
                  <a:pt x="476" y="269"/>
                  <a:pt x="481" y="269"/>
                </a:cubicBezTo>
                <a:cubicBezTo>
                  <a:pt x="490" y="268"/>
                  <a:pt x="490" y="264"/>
                  <a:pt x="490" y="260"/>
                </a:cubicBezTo>
                <a:cubicBezTo>
                  <a:pt x="490" y="257"/>
                  <a:pt x="491" y="253"/>
                  <a:pt x="483" y="251"/>
                </a:cubicBezTo>
                <a:cubicBezTo>
                  <a:pt x="477" y="250"/>
                  <a:pt x="471" y="248"/>
                  <a:pt x="469" y="245"/>
                </a:cubicBezTo>
                <a:cubicBezTo>
                  <a:pt x="469" y="243"/>
                  <a:pt x="469" y="240"/>
                  <a:pt x="469" y="238"/>
                </a:cubicBezTo>
                <a:cubicBezTo>
                  <a:pt x="471" y="235"/>
                  <a:pt x="477" y="233"/>
                  <a:pt x="482" y="232"/>
                </a:cubicBezTo>
                <a:cubicBezTo>
                  <a:pt x="491" y="230"/>
                  <a:pt x="490" y="225"/>
                  <a:pt x="489" y="222"/>
                </a:cubicBezTo>
                <a:cubicBezTo>
                  <a:pt x="489" y="219"/>
                  <a:pt x="489" y="214"/>
                  <a:pt x="481" y="214"/>
                </a:cubicBezTo>
                <a:cubicBezTo>
                  <a:pt x="475" y="214"/>
                  <a:pt x="469" y="212"/>
                  <a:pt x="466" y="210"/>
                </a:cubicBezTo>
                <a:cubicBezTo>
                  <a:pt x="466" y="208"/>
                  <a:pt x="465" y="205"/>
                  <a:pt x="465" y="203"/>
                </a:cubicBezTo>
                <a:cubicBezTo>
                  <a:pt x="467" y="200"/>
                  <a:pt x="472" y="197"/>
                  <a:pt x="477" y="195"/>
                </a:cubicBezTo>
                <a:cubicBezTo>
                  <a:pt x="485" y="191"/>
                  <a:pt x="484" y="187"/>
                  <a:pt x="483" y="184"/>
                </a:cubicBezTo>
                <a:cubicBezTo>
                  <a:pt x="482" y="181"/>
                  <a:pt x="482" y="177"/>
                  <a:pt x="475" y="177"/>
                </a:cubicBezTo>
                <a:cubicBezTo>
                  <a:pt x="475" y="177"/>
                  <a:pt x="474" y="177"/>
                  <a:pt x="473" y="178"/>
                </a:cubicBezTo>
                <a:cubicBezTo>
                  <a:pt x="471" y="178"/>
                  <a:pt x="470" y="178"/>
                  <a:pt x="468" y="178"/>
                </a:cubicBezTo>
                <a:cubicBezTo>
                  <a:pt x="464" y="178"/>
                  <a:pt x="460" y="177"/>
                  <a:pt x="458" y="176"/>
                </a:cubicBezTo>
                <a:cubicBezTo>
                  <a:pt x="457" y="174"/>
                  <a:pt x="456" y="172"/>
                  <a:pt x="456" y="169"/>
                </a:cubicBezTo>
                <a:cubicBezTo>
                  <a:pt x="457" y="166"/>
                  <a:pt x="462" y="162"/>
                  <a:pt x="467" y="159"/>
                </a:cubicBezTo>
                <a:cubicBezTo>
                  <a:pt x="474" y="155"/>
                  <a:pt x="472" y="151"/>
                  <a:pt x="470" y="148"/>
                </a:cubicBezTo>
                <a:cubicBezTo>
                  <a:pt x="469" y="145"/>
                  <a:pt x="468" y="142"/>
                  <a:pt x="464" y="142"/>
                </a:cubicBezTo>
                <a:cubicBezTo>
                  <a:pt x="463" y="142"/>
                  <a:pt x="461" y="142"/>
                  <a:pt x="460" y="143"/>
                </a:cubicBezTo>
                <a:cubicBezTo>
                  <a:pt x="456" y="144"/>
                  <a:pt x="452" y="144"/>
                  <a:pt x="449" y="144"/>
                </a:cubicBezTo>
                <a:cubicBezTo>
                  <a:pt x="447" y="144"/>
                  <a:pt x="446" y="144"/>
                  <a:pt x="445" y="144"/>
                </a:cubicBezTo>
                <a:cubicBezTo>
                  <a:pt x="443" y="142"/>
                  <a:pt x="442" y="139"/>
                  <a:pt x="441" y="137"/>
                </a:cubicBezTo>
                <a:cubicBezTo>
                  <a:pt x="442" y="134"/>
                  <a:pt x="446" y="129"/>
                  <a:pt x="451" y="125"/>
                </a:cubicBezTo>
                <a:cubicBezTo>
                  <a:pt x="457" y="120"/>
                  <a:pt x="454" y="116"/>
                  <a:pt x="452" y="114"/>
                </a:cubicBezTo>
                <a:cubicBezTo>
                  <a:pt x="451" y="112"/>
                  <a:pt x="450" y="109"/>
                  <a:pt x="446" y="109"/>
                </a:cubicBezTo>
                <a:cubicBezTo>
                  <a:pt x="445" y="109"/>
                  <a:pt x="443" y="109"/>
                  <a:pt x="441" y="110"/>
                </a:cubicBezTo>
                <a:cubicBezTo>
                  <a:pt x="437" y="112"/>
                  <a:pt x="431" y="114"/>
                  <a:pt x="427" y="114"/>
                </a:cubicBezTo>
                <a:cubicBezTo>
                  <a:pt x="427" y="114"/>
                  <a:pt x="427" y="114"/>
                  <a:pt x="426" y="114"/>
                </a:cubicBezTo>
                <a:cubicBezTo>
                  <a:pt x="425" y="112"/>
                  <a:pt x="423" y="110"/>
                  <a:pt x="422" y="108"/>
                </a:cubicBezTo>
                <a:cubicBezTo>
                  <a:pt x="423" y="104"/>
                  <a:pt x="426" y="99"/>
                  <a:pt x="429" y="95"/>
                </a:cubicBezTo>
                <a:cubicBezTo>
                  <a:pt x="435" y="88"/>
                  <a:pt x="432" y="85"/>
                  <a:pt x="429" y="83"/>
                </a:cubicBezTo>
                <a:cubicBezTo>
                  <a:pt x="428" y="81"/>
                  <a:pt x="426" y="79"/>
                  <a:pt x="424" y="79"/>
                </a:cubicBezTo>
                <a:cubicBezTo>
                  <a:pt x="422" y="79"/>
                  <a:pt x="420" y="80"/>
                  <a:pt x="418" y="81"/>
                </a:cubicBezTo>
                <a:cubicBezTo>
                  <a:pt x="413" y="84"/>
                  <a:pt x="407" y="87"/>
                  <a:pt x="404" y="87"/>
                </a:cubicBezTo>
                <a:cubicBezTo>
                  <a:pt x="402" y="85"/>
                  <a:pt x="400" y="84"/>
                  <a:pt x="398" y="82"/>
                </a:cubicBezTo>
                <a:cubicBezTo>
                  <a:pt x="398" y="78"/>
                  <a:pt x="401" y="72"/>
                  <a:pt x="404" y="68"/>
                </a:cubicBezTo>
                <a:cubicBezTo>
                  <a:pt x="408" y="61"/>
                  <a:pt x="404" y="58"/>
                  <a:pt x="402" y="56"/>
                </a:cubicBezTo>
                <a:cubicBezTo>
                  <a:pt x="400" y="55"/>
                  <a:pt x="399" y="53"/>
                  <a:pt x="396" y="53"/>
                </a:cubicBezTo>
                <a:cubicBezTo>
                  <a:pt x="395" y="53"/>
                  <a:pt x="393" y="54"/>
                  <a:pt x="390" y="57"/>
                </a:cubicBezTo>
                <a:cubicBezTo>
                  <a:pt x="386" y="60"/>
                  <a:pt x="381" y="64"/>
                  <a:pt x="377" y="64"/>
                </a:cubicBezTo>
                <a:cubicBezTo>
                  <a:pt x="375" y="63"/>
                  <a:pt x="373" y="61"/>
                  <a:pt x="371" y="60"/>
                </a:cubicBezTo>
                <a:cubicBezTo>
                  <a:pt x="370" y="56"/>
                  <a:pt x="372" y="50"/>
                  <a:pt x="374" y="45"/>
                </a:cubicBezTo>
                <a:cubicBezTo>
                  <a:pt x="377" y="37"/>
                  <a:pt x="373" y="36"/>
                  <a:pt x="370" y="34"/>
                </a:cubicBezTo>
                <a:cubicBezTo>
                  <a:pt x="369" y="33"/>
                  <a:pt x="367" y="32"/>
                  <a:pt x="365" y="32"/>
                </a:cubicBezTo>
                <a:cubicBezTo>
                  <a:pt x="363" y="32"/>
                  <a:pt x="361" y="33"/>
                  <a:pt x="359" y="36"/>
                </a:cubicBezTo>
                <a:cubicBezTo>
                  <a:pt x="355" y="40"/>
                  <a:pt x="351" y="45"/>
                  <a:pt x="347" y="46"/>
                </a:cubicBezTo>
                <a:cubicBezTo>
                  <a:pt x="345" y="45"/>
                  <a:pt x="343" y="44"/>
                  <a:pt x="341" y="43"/>
                </a:cubicBezTo>
                <a:cubicBezTo>
                  <a:pt x="339" y="39"/>
                  <a:pt x="340" y="33"/>
                  <a:pt x="341" y="28"/>
                </a:cubicBezTo>
                <a:cubicBezTo>
                  <a:pt x="343" y="19"/>
                  <a:pt x="339" y="18"/>
                  <a:pt x="336" y="17"/>
                </a:cubicBezTo>
                <a:cubicBezTo>
                  <a:pt x="335" y="16"/>
                  <a:pt x="333" y="16"/>
                  <a:pt x="331" y="16"/>
                </a:cubicBezTo>
                <a:cubicBezTo>
                  <a:pt x="329" y="16"/>
                  <a:pt x="327" y="17"/>
                  <a:pt x="325" y="21"/>
                </a:cubicBezTo>
                <a:cubicBezTo>
                  <a:pt x="322" y="26"/>
                  <a:pt x="318" y="31"/>
                  <a:pt x="315" y="32"/>
                </a:cubicBezTo>
                <a:cubicBezTo>
                  <a:pt x="312" y="32"/>
                  <a:pt x="310" y="31"/>
                  <a:pt x="308" y="30"/>
                </a:cubicBezTo>
                <a:cubicBezTo>
                  <a:pt x="306" y="27"/>
                  <a:pt x="306" y="21"/>
                  <a:pt x="306" y="15"/>
                </a:cubicBezTo>
                <a:cubicBezTo>
                  <a:pt x="307" y="7"/>
                  <a:pt x="302" y="6"/>
                  <a:pt x="299" y="6"/>
                </a:cubicBezTo>
                <a:cubicBezTo>
                  <a:pt x="298" y="5"/>
                  <a:pt x="297" y="5"/>
                  <a:pt x="295" y="5"/>
                </a:cubicBezTo>
                <a:cubicBezTo>
                  <a:pt x="293" y="5"/>
                  <a:pt x="291" y="6"/>
                  <a:pt x="289" y="11"/>
                </a:cubicBezTo>
                <a:cubicBezTo>
                  <a:pt x="287" y="16"/>
                  <a:pt x="284" y="22"/>
                  <a:pt x="281" y="24"/>
                </a:cubicBezTo>
                <a:cubicBezTo>
                  <a:pt x="278" y="24"/>
                  <a:pt x="276" y="23"/>
                  <a:pt x="273" y="23"/>
                </a:cubicBezTo>
                <a:cubicBezTo>
                  <a:pt x="271" y="20"/>
                  <a:pt x="270" y="14"/>
                  <a:pt x="269" y="9"/>
                </a:cubicBezTo>
                <a:cubicBezTo>
                  <a:pt x="269" y="0"/>
                  <a:pt x="264" y="0"/>
                  <a:pt x="261" y="0"/>
                </a:cubicBezTo>
                <a:cubicBezTo>
                  <a:pt x="260" y="0"/>
                  <a:pt x="259" y="0"/>
                  <a:pt x="259" y="0"/>
                </a:cubicBezTo>
              </a:path>
            </a:pathLst>
          </a:custGeom>
          <a:solidFill>
            <a:srgbClr val="33C4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7" name="Freeform 727">
            <a:extLst>
              <a:ext uri="{FF2B5EF4-FFF2-40B4-BE49-F238E27FC236}">
                <a16:creationId xmlns:a16="http://schemas.microsoft.com/office/drawing/2014/main" id="{75EC3AF4-2F3E-45F7-A3E7-AE90D0EBEF8D}"/>
              </a:ext>
            </a:extLst>
          </p:cNvPr>
          <p:cNvSpPr>
            <a:spLocks noEditPoints="1"/>
          </p:cNvSpPr>
          <p:nvPr/>
        </p:nvSpPr>
        <p:spPr bwMode="auto">
          <a:xfrm>
            <a:off x="8940800" y="3783013"/>
            <a:ext cx="33338" cy="73025"/>
          </a:xfrm>
          <a:custGeom>
            <a:avLst/>
            <a:gdLst>
              <a:gd name="T0" fmla="*/ 3 w 15"/>
              <a:gd name="T1" fmla="*/ 22 h 34"/>
              <a:gd name="T2" fmla="*/ 0 w 15"/>
              <a:gd name="T3" fmla="*/ 33 h 34"/>
              <a:gd name="T4" fmla="*/ 0 w 15"/>
              <a:gd name="T5" fmla="*/ 33 h 34"/>
              <a:gd name="T6" fmla="*/ 2 w 15"/>
              <a:gd name="T7" fmla="*/ 34 h 34"/>
              <a:gd name="T8" fmla="*/ 5 w 15"/>
              <a:gd name="T9" fmla="*/ 31 h 34"/>
              <a:gd name="T10" fmla="*/ 7 w 15"/>
              <a:gd name="T11" fmla="*/ 28 h 34"/>
              <a:gd name="T12" fmla="*/ 5 w 15"/>
              <a:gd name="T13" fmla="*/ 23 h 34"/>
              <a:gd name="T14" fmla="*/ 3 w 15"/>
              <a:gd name="T15" fmla="*/ 22 h 34"/>
              <a:gd name="T16" fmla="*/ 3 w 15"/>
              <a:gd name="T17" fmla="*/ 22 h 34"/>
              <a:gd name="T18" fmla="*/ 11 w 15"/>
              <a:gd name="T19" fmla="*/ 0 h 34"/>
              <a:gd name="T20" fmla="*/ 7 w 15"/>
              <a:gd name="T21" fmla="*/ 11 h 34"/>
              <a:gd name="T22" fmla="*/ 9 w 15"/>
              <a:gd name="T23" fmla="*/ 11 h 34"/>
              <a:gd name="T24" fmla="*/ 10 w 15"/>
              <a:gd name="T25" fmla="*/ 11 h 34"/>
              <a:gd name="T26" fmla="*/ 14 w 15"/>
              <a:gd name="T27" fmla="*/ 8 h 34"/>
              <a:gd name="T28" fmla="*/ 14 w 15"/>
              <a:gd name="T29" fmla="*/ 5 h 34"/>
              <a:gd name="T30" fmla="*/ 11 w 15"/>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34">
                <a:moveTo>
                  <a:pt x="3" y="22"/>
                </a:moveTo>
                <a:cubicBezTo>
                  <a:pt x="2" y="26"/>
                  <a:pt x="1" y="29"/>
                  <a:pt x="0" y="33"/>
                </a:cubicBezTo>
                <a:cubicBezTo>
                  <a:pt x="0" y="33"/>
                  <a:pt x="0" y="33"/>
                  <a:pt x="0" y="33"/>
                </a:cubicBezTo>
                <a:cubicBezTo>
                  <a:pt x="1" y="33"/>
                  <a:pt x="1" y="34"/>
                  <a:pt x="2" y="34"/>
                </a:cubicBezTo>
                <a:cubicBezTo>
                  <a:pt x="3" y="34"/>
                  <a:pt x="5" y="33"/>
                  <a:pt x="5" y="31"/>
                </a:cubicBezTo>
                <a:cubicBezTo>
                  <a:pt x="6" y="30"/>
                  <a:pt x="7" y="29"/>
                  <a:pt x="7" y="28"/>
                </a:cubicBezTo>
                <a:cubicBezTo>
                  <a:pt x="8" y="26"/>
                  <a:pt x="7" y="24"/>
                  <a:pt x="5" y="23"/>
                </a:cubicBezTo>
                <a:cubicBezTo>
                  <a:pt x="3" y="22"/>
                  <a:pt x="3" y="22"/>
                  <a:pt x="3" y="22"/>
                </a:cubicBezTo>
                <a:cubicBezTo>
                  <a:pt x="3" y="22"/>
                  <a:pt x="3" y="22"/>
                  <a:pt x="3" y="22"/>
                </a:cubicBezTo>
                <a:moveTo>
                  <a:pt x="11" y="0"/>
                </a:moveTo>
                <a:cubicBezTo>
                  <a:pt x="9" y="4"/>
                  <a:pt x="8" y="7"/>
                  <a:pt x="7" y="11"/>
                </a:cubicBezTo>
                <a:cubicBezTo>
                  <a:pt x="9" y="11"/>
                  <a:pt x="9" y="11"/>
                  <a:pt x="9" y="11"/>
                </a:cubicBezTo>
                <a:cubicBezTo>
                  <a:pt x="9" y="11"/>
                  <a:pt x="10" y="11"/>
                  <a:pt x="10" y="11"/>
                </a:cubicBezTo>
                <a:cubicBezTo>
                  <a:pt x="12" y="11"/>
                  <a:pt x="13" y="10"/>
                  <a:pt x="14" y="8"/>
                </a:cubicBezTo>
                <a:cubicBezTo>
                  <a:pt x="14" y="7"/>
                  <a:pt x="14" y="6"/>
                  <a:pt x="14" y="5"/>
                </a:cubicBezTo>
                <a:cubicBezTo>
                  <a:pt x="15" y="2"/>
                  <a:pt x="13" y="0"/>
                  <a:pt x="11"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9" name="Freeform 728">
            <a:extLst>
              <a:ext uri="{FF2B5EF4-FFF2-40B4-BE49-F238E27FC236}">
                <a16:creationId xmlns:a16="http://schemas.microsoft.com/office/drawing/2014/main" id="{CABD505F-E644-4F9A-A9FF-099EEF625772}"/>
              </a:ext>
            </a:extLst>
          </p:cNvPr>
          <p:cNvSpPr>
            <a:spLocks noEditPoints="1"/>
          </p:cNvSpPr>
          <p:nvPr/>
        </p:nvSpPr>
        <p:spPr bwMode="auto">
          <a:xfrm>
            <a:off x="8990013" y="4233863"/>
            <a:ext cx="284163" cy="279400"/>
          </a:xfrm>
          <a:custGeom>
            <a:avLst/>
            <a:gdLst>
              <a:gd name="T0" fmla="*/ 105 w 132"/>
              <a:gd name="T1" fmla="*/ 77 h 130"/>
              <a:gd name="T2" fmla="*/ 71 w 132"/>
              <a:gd name="T3" fmla="*/ 95 h 130"/>
              <a:gd name="T4" fmla="*/ 117 w 132"/>
              <a:gd name="T5" fmla="*/ 130 h 130"/>
              <a:gd name="T6" fmla="*/ 132 w 132"/>
              <a:gd name="T7" fmla="*/ 108 h 130"/>
              <a:gd name="T8" fmla="*/ 105 w 132"/>
              <a:gd name="T9" fmla="*/ 77 h 130"/>
              <a:gd name="T10" fmla="*/ 0 w 132"/>
              <a:gd name="T11" fmla="*/ 0 h 130"/>
              <a:gd name="T12" fmla="*/ 17 w 132"/>
              <a:gd name="T13" fmla="*/ 30 h 130"/>
              <a:gd name="T14" fmla="*/ 21 w 132"/>
              <a:gd name="T15" fmla="*/ 11 h 130"/>
              <a:gd name="T16" fmla="*/ 0 w 132"/>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0">
                <a:moveTo>
                  <a:pt x="105" y="77"/>
                </a:moveTo>
                <a:cubicBezTo>
                  <a:pt x="71" y="95"/>
                  <a:pt x="71" y="95"/>
                  <a:pt x="71" y="95"/>
                </a:cubicBezTo>
                <a:cubicBezTo>
                  <a:pt x="85" y="108"/>
                  <a:pt x="101" y="120"/>
                  <a:pt x="117" y="130"/>
                </a:cubicBezTo>
                <a:cubicBezTo>
                  <a:pt x="132" y="108"/>
                  <a:pt x="132" y="108"/>
                  <a:pt x="132" y="108"/>
                </a:cubicBezTo>
                <a:cubicBezTo>
                  <a:pt x="105" y="77"/>
                  <a:pt x="105" y="77"/>
                  <a:pt x="105" y="77"/>
                </a:cubicBezTo>
                <a:moveTo>
                  <a:pt x="0" y="0"/>
                </a:moveTo>
                <a:cubicBezTo>
                  <a:pt x="5" y="10"/>
                  <a:pt x="10" y="20"/>
                  <a:pt x="17" y="30"/>
                </a:cubicBezTo>
                <a:cubicBezTo>
                  <a:pt x="21" y="11"/>
                  <a:pt x="21" y="11"/>
                  <a:pt x="21" y="1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0" name="Freeform 729">
            <a:extLst>
              <a:ext uri="{FF2B5EF4-FFF2-40B4-BE49-F238E27FC236}">
                <a16:creationId xmlns:a16="http://schemas.microsoft.com/office/drawing/2014/main" id="{0FE6DC3A-1594-45C5-B537-8BFB13C32B44}"/>
              </a:ext>
            </a:extLst>
          </p:cNvPr>
          <p:cNvSpPr>
            <a:spLocks noEditPoints="1"/>
          </p:cNvSpPr>
          <p:nvPr/>
        </p:nvSpPr>
        <p:spPr bwMode="auto">
          <a:xfrm>
            <a:off x="8975725" y="4203700"/>
            <a:ext cx="325438" cy="320675"/>
          </a:xfrm>
          <a:custGeom>
            <a:avLst/>
            <a:gdLst>
              <a:gd name="T0" fmla="*/ 115 w 151"/>
              <a:gd name="T1" fmla="*/ 79 h 149"/>
              <a:gd name="T2" fmla="*/ 70 w 151"/>
              <a:gd name="T3" fmla="*/ 102 h 149"/>
              <a:gd name="T4" fmla="*/ 78 w 151"/>
              <a:gd name="T5" fmla="*/ 109 h 149"/>
              <a:gd name="T6" fmla="*/ 112 w 151"/>
              <a:gd name="T7" fmla="*/ 91 h 149"/>
              <a:gd name="T8" fmla="*/ 139 w 151"/>
              <a:gd name="T9" fmla="*/ 122 h 149"/>
              <a:gd name="T10" fmla="*/ 124 w 151"/>
              <a:gd name="T11" fmla="*/ 144 h 149"/>
              <a:gd name="T12" fmla="*/ 132 w 151"/>
              <a:gd name="T13" fmla="*/ 149 h 149"/>
              <a:gd name="T14" fmla="*/ 151 w 151"/>
              <a:gd name="T15" fmla="*/ 121 h 149"/>
              <a:gd name="T16" fmla="*/ 115 w 151"/>
              <a:gd name="T17" fmla="*/ 79 h 149"/>
              <a:gd name="T18" fmla="*/ 0 w 151"/>
              <a:gd name="T19" fmla="*/ 0 h 149"/>
              <a:gd name="T20" fmla="*/ 7 w 151"/>
              <a:gd name="T21" fmla="*/ 14 h 149"/>
              <a:gd name="T22" fmla="*/ 28 w 151"/>
              <a:gd name="T23" fmla="*/ 25 h 149"/>
              <a:gd name="T24" fmla="*/ 24 w 151"/>
              <a:gd name="T25" fmla="*/ 44 h 149"/>
              <a:gd name="T26" fmla="*/ 31 w 151"/>
              <a:gd name="T27" fmla="*/ 55 h 149"/>
              <a:gd name="T28" fmla="*/ 38 w 151"/>
              <a:gd name="T29" fmla="*/ 19 h 149"/>
              <a:gd name="T30" fmla="*/ 0 w 151"/>
              <a:gd name="T3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49">
                <a:moveTo>
                  <a:pt x="115" y="79"/>
                </a:moveTo>
                <a:cubicBezTo>
                  <a:pt x="70" y="102"/>
                  <a:pt x="70" y="102"/>
                  <a:pt x="70" y="102"/>
                </a:cubicBezTo>
                <a:cubicBezTo>
                  <a:pt x="73" y="104"/>
                  <a:pt x="75" y="106"/>
                  <a:pt x="78" y="109"/>
                </a:cubicBezTo>
                <a:cubicBezTo>
                  <a:pt x="112" y="91"/>
                  <a:pt x="112" y="91"/>
                  <a:pt x="112" y="91"/>
                </a:cubicBezTo>
                <a:cubicBezTo>
                  <a:pt x="139" y="122"/>
                  <a:pt x="139" y="122"/>
                  <a:pt x="139" y="122"/>
                </a:cubicBezTo>
                <a:cubicBezTo>
                  <a:pt x="124" y="144"/>
                  <a:pt x="124" y="144"/>
                  <a:pt x="124" y="144"/>
                </a:cubicBezTo>
                <a:cubicBezTo>
                  <a:pt x="127" y="146"/>
                  <a:pt x="129" y="148"/>
                  <a:pt x="132" y="149"/>
                </a:cubicBezTo>
                <a:cubicBezTo>
                  <a:pt x="151" y="121"/>
                  <a:pt x="151" y="121"/>
                  <a:pt x="151" y="121"/>
                </a:cubicBezTo>
                <a:cubicBezTo>
                  <a:pt x="115" y="79"/>
                  <a:pt x="115" y="79"/>
                  <a:pt x="115" y="79"/>
                </a:cubicBezTo>
                <a:moveTo>
                  <a:pt x="0" y="0"/>
                </a:moveTo>
                <a:cubicBezTo>
                  <a:pt x="2" y="5"/>
                  <a:pt x="4" y="10"/>
                  <a:pt x="7" y="14"/>
                </a:cubicBezTo>
                <a:cubicBezTo>
                  <a:pt x="28" y="25"/>
                  <a:pt x="28" y="25"/>
                  <a:pt x="28" y="25"/>
                </a:cubicBezTo>
                <a:cubicBezTo>
                  <a:pt x="24" y="44"/>
                  <a:pt x="24" y="44"/>
                  <a:pt x="24" y="44"/>
                </a:cubicBezTo>
                <a:cubicBezTo>
                  <a:pt x="26" y="48"/>
                  <a:pt x="28" y="52"/>
                  <a:pt x="31" y="55"/>
                </a:cubicBezTo>
                <a:cubicBezTo>
                  <a:pt x="38" y="19"/>
                  <a:pt x="38" y="19"/>
                  <a:pt x="38" y="19"/>
                </a:cubicBezTo>
                <a:cubicBezTo>
                  <a:pt x="0" y="0"/>
                  <a:pt x="0" y="0"/>
                  <a:pt x="0" y="0"/>
                </a:cubicBezTo>
              </a:path>
            </a:pathLst>
          </a:custGeom>
          <a:solidFill>
            <a:srgbClr val="C8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1" name="Freeform 730">
            <a:extLst>
              <a:ext uri="{FF2B5EF4-FFF2-40B4-BE49-F238E27FC236}">
                <a16:creationId xmlns:a16="http://schemas.microsoft.com/office/drawing/2014/main" id="{4BB48C36-F472-4BBF-AB1A-D7A6BE424393}"/>
              </a:ext>
            </a:extLst>
          </p:cNvPr>
          <p:cNvSpPr>
            <a:spLocks noEditPoints="1"/>
          </p:cNvSpPr>
          <p:nvPr/>
        </p:nvSpPr>
        <p:spPr bwMode="auto">
          <a:xfrm>
            <a:off x="8915400" y="3248025"/>
            <a:ext cx="1400175" cy="731838"/>
          </a:xfrm>
          <a:custGeom>
            <a:avLst/>
            <a:gdLst>
              <a:gd name="T0" fmla="*/ 2 w 651"/>
              <a:gd name="T1" fmla="*/ 282 h 341"/>
              <a:gd name="T2" fmla="*/ 1 w 651"/>
              <a:gd name="T3" fmla="*/ 289 h 341"/>
              <a:gd name="T4" fmla="*/ 5 w 651"/>
              <a:gd name="T5" fmla="*/ 292 h 341"/>
              <a:gd name="T6" fmla="*/ 3 w 651"/>
              <a:gd name="T7" fmla="*/ 301 h 341"/>
              <a:gd name="T8" fmla="*/ 0 w 651"/>
              <a:gd name="T9" fmla="*/ 314 h 341"/>
              <a:gd name="T10" fmla="*/ 12 w 651"/>
              <a:gd name="T11" fmla="*/ 282 h 341"/>
              <a:gd name="T12" fmla="*/ 7 w 651"/>
              <a:gd name="T13" fmla="*/ 280 h 341"/>
              <a:gd name="T14" fmla="*/ 11 w 651"/>
              <a:gd name="T15" fmla="*/ 264 h 341"/>
              <a:gd name="T16" fmla="*/ 19 w 651"/>
              <a:gd name="T17" fmla="*/ 260 h 341"/>
              <a:gd name="T18" fmla="*/ 17 w 651"/>
              <a:gd name="T19" fmla="*/ 259 h 341"/>
              <a:gd name="T20" fmla="*/ 121 w 651"/>
              <a:gd name="T21" fmla="*/ 62 h 341"/>
              <a:gd name="T22" fmla="*/ 118 w 651"/>
              <a:gd name="T23" fmla="*/ 64 h 341"/>
              <a:gd name="T24" fmla="*/ 87 w 651"/>
              <a:gd name="T25" fmla="*/ 101 h 341"/>
              <a:gd name="T26" fmla="*/ 74 w 651"/>
              <a:gd name="T27" fmla="*/ 108 h 341"/>
              <a:gd name="T28" fmla="*/ 84 w 651"/>
              <a:gd name="T29" fmla="*/ 121 h 341"/>
              <a:gd name="T30" fmla="*/ 68 w 651"/>
              <a:gd name="T31" fmla="*/ 128 h 341"/>
              <a:gd name="T32" fmla="*/ 70 w 651"/>
              <a:gd name="T33" fmla="*/ 145 h 341"/>
              <a:gd name="T34" fmla="*/ 53 w 651"/>
              <a:gd name="T35" fmla="*/ 146 h 341"/>
              <a:gd name="T36" fmla="*/ 48 w 651"/>
              <a:gd name="T37" fmla="*/ 163 h 341"/>
              <a:gd name="T38" fmla="*/ 37 w 651"/>
              <a:gd name="T39" fmla="*/ 164 h 341"/>
              <a:gd name="T40" fmla="*/ 20 w 651"/>
              <a:gd name="T41" fmla="*/ 205 h 341"/>
              <a:gd name="T42" fmla="*/ 19 w 651"/>
              <a:gd name="T43" fmla="*/ 214 h 341"/>
              <a:gd name="T44" fmla="*/ 16 w 651"/>
              <a:gd name="T45" fmla="*/ 214 h 341"/>
              <a:gd name="T46" fmla="*/ 18 w 651"/>
              <a:gd name="T47" fmla="*/ 226 h 341"/>
              <a:gd name="T48" fmla="*/ 22 w 651"/>
              <a:gd name="T49" fmla="*/ 226 h 341"/>
              <a:gd name="T50" fmla="*/ 27 w 651"/>
              <a:gd name="T51" fmla="*/ 229 h 341"/>
              <a:gd name="T52" fmla="*/ 23 w 651"/>
              <a:gd name="T53" fmla="*/ 237 h 341"/>
              <a:gd name="T54" fmla="*/ 21 w 651"/>
              <a:gd name="T55" fmla="*/ 237 h 341"/>
              <a:gd name="T56" fmla="*/ 15 w 651"/>
              <a:gd name="T57" fmla="*/ 242 h 341"/>
              <a:gd name="T58" fmla="*/ 23 w 651"/>
              <a:gd name="T59" fmla="*/ 249 h 341"/>
              <a:gd name="T60" fmla="*/ 118 w 651"/>
              <a:gd name="T61" fmla="*/ 117 h 341"/>
              <a:gd name="T62" fmla="*/ 325 w 651"/>
              <a:gd name="T63" fmla="*/ 42 h 341"/>
              <a:gd name="T64" fmla="*/ 337 w 651"/>
              <a:gd name="T65" fmla="*/ 42 h 341"/>
              <a:gd name="T66" fmla="*/ 352 w 651"/>
              <a:gd name="T67" fmla="*/ 43 h 341"/>
              <a:gd name="T68" fmla="*/ 368 w 651"/>
              <a:gd name="T69" fmla="*/ 45 h 341"/>
              <a:gd name="T70" fmla="*/ 383 w 651"/>
              <a:gd name="T71" fmla="*/ 47 h 341"/>
              <a:gd name="T72" fmla="*/ 398 w 651"/>
              <a:gd name="T73" fmla="*/ 50 h 341"/>
              <a:gd name="T74" fmla="*/ 413 w 651"/>
              <a:gd name="T75" fmla="*/ 54 h 341"/>
              <a:gd name="T76" fmla="*/ 428 w 651"/>
              <a:gd name="T77" fmla="*/ 59 h 341"/>
              <a:gd name="T78" fmla="*/ 353 w 651"/>
              <a:gd name="T79" fmla="*/ 31 h 341"/>
              <a:gd name="T80" fmla="*/ 552 w 651"/>
              <a:gd name="T81" fmla="*/ 134 h 341"/>
              <a:gd name="T82" fmla="*/ 561 w 651"/>
              <a:gd name="T83" fmla="*/ 143 h 341"/>
              <a:gd name="T84" fmla="*/ 576 w 651"/>
              <a:gd name="T85" fmla="*/ 160 h 341"/>
              <a:gd name="T86" fmla="*/ 649 w 651"/>
              <a:gd name="T87" fmla="*/ 335 h 341"/>
              <a:gd name="T88" fmla="*/ 650 w 651"/>
              <a:gd name="T89" fmla="*/ 314 h 341"/>
              <a:gd name="T90" fmla="*/ 575 w 651"/>
              <a:gd name="T91" fmla="*/ 106 h 341"/>
              <a:gd name="T92" fmla="*/ 575 w 651"/>
              <a:gd name="T93" fmla="*/ 106 h 341"/>
              <a:gd name="T94" fmla="*/ 531 w 651"/>
              <a:gd name="T95" fmla="*/ 62 h 341"/>
              <a:gd name="T96" fmla="*/ 520 w 651"/>
              <a:gd name="T97" fmla="*/ 56 h 341"/>
              <a:gd name="T98" fmla="*/ 505 w 651"/>
              <a:gd name="T99" fmla="*/ 46 h 341"/>
              <a:gd name="T100" fmla="*/ 489 w 651"/>
              <a:gd name="T101" fmla="*/ 38 h 341"/>
              <a:gd name="T102" fmla="*/ 474 w 651"/>
              <a:gd name="T103" fmla="*/ 31 h 341"/>
              <a:gd name="T104" fmla="*/ 457 w 651"/>
              <a:gd name="T105" fmla="*/ 24 h 341"/>
              <a:gd name="T106" fmla="*/ 441 w 651"/>
              <a:gd name="T107" fmla="*/ 18 h 341"/>
              <a:gd name="T108" fmla="*/ 424 w 651"/>
              <a:gd name="T109" fmla="*/ 13 h 341"/>
              <a:gd name="T110" fmla="*/ 407 w 651"/>
              <a:gd name="T111" fmla="*/ 9 h 341"/>
              <a:gd name="T112" fmla="*/ 390 w 651"/>
              <a:gd name="T113" fmla="*/ 5 h 341"/>
              <a:gd name="T114" fmla="*/ 373 w 651"/>
              <a:gd name="T115" fmla="*/ 3 h 341"/>
              <a:gd name="T116" fmla="*/ 356 w 651"/>
              <a:gd name="T117" fmla="*/ 1 h 341"/>
              <a:gd name="T118" fmla="*/ 338 w 651"/>
              <a:gd name="T119" fmla="*/ 0 h 341"/>
              <a:gd name="T120" fmla="*/ 325 w 651"/>
              <a:gd name="T121"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341">
                <a:moveTo>
                  <a:pt x="7" y="280"/>
                </a:moveTo>
                <a:cubicBezTo>
                  <a:pt x="5" y="280"/>
                  <a:pt x="3" y="280"/>
                  <a:pt x="2" y="282"/>
                </a:cubicBezTo>
                <a:cubicBezTo>
                  <a:pt x="2" y="282"/>
                  <a:pt x="2" y="282"/>
                  <a:pt x="2" y="282"/>
                </a:cubicBezTo>
                <a:cubicBezTo>
                  <a:pt x="2" y="284"/>
                  <a:pt x="2" y="287"/>
                  <a:pt x="1" y="289"/>
                </a:cubicBezTo>
                <a:cubicBezTo>
                  <a:pt x="2" y="290"/>
                  <a:pt x="2" y="291"/>
                  <a:pt x="3" y="291"/>
                </a:cubicBezTo>
                <a:cubicBezTo>
                  <a:pt x="5" y="292"/>
                  <a:pt x="5" y="292"/>
                  <a:pt x="5" y="292"/>
                </a:cubicBezTo>
                <a:cubicBezTo>
                  <a:pt x="7" y="293"/>
                  <a:pt x="7" y="296"/>
                  <a:pt x="5" y="298"/>
                </a:cubicBezTo>
                <a:cubicBezTo>
                  <a:pt x="5" y="299"/>
                  <a:pt x="4" y="300"/>
                  <a:pt x="3" y="301"/>
                </a:cubicBezTo>
                <a:cubicBezTo>
                  <a:pt x="2" y="301"/>
                  <a:pt x="2" y="302"/>
                  <a:pt x="1" y="302"/>
                </a:cubicBezTo>
                <a:cubicBezTo>
                  <a:pt x="1" y="306"/>
                  <a:pt x="0" y="310"/>
                  <a:pt x="0" y="314"/>
                </a:cubicBezTo>
                <a:cubicBezTo>
                  <a:pt x="0" y="323"/>
                  <a:pt x="1" y="332"/>
                  <a:pt x="2" y="341"/>
                </a:cubicBezTo>
                <a:cubicBezTo>
                  <a:pt x="3" y="321"/>
                  <a:pt x="7" y="301"/>
                  <a:pt x="12" y="282"/>
                </a:cubicBezTo>
                <a:cubicBezTo>
                  <a:pt x="10" y="281"/>
                  <a:pt x="10" y="281"/>
                  <a:pt x="10" y="281"/>
                </a:cubicBezTo>
                <a:cubicBezTo>
                  <a:pt x="9" y="280"/>
                  <a:pt x="8" y="280"/>
                  <a:pt x="7" y="280"/>
                </a:cubicBezTo>
                <a:moveTo>
                  <a:pt x="17" y="259"/>
                </a:moveTo>
                <a:cubicBezTo>
                  <a:pt x="14" y="259"/>
                  <a:pt x="12" y="261"/>
                  <a:pt x="11" y="264"/>
                </a:cubicBezTo>
                <a:cubicBezTo>
                  <a:pt x="10" y="267"/>
                  <a:pt x="12" y="270"/>
                  <a:pt x="15" y="271"/>
                </a:cubicBezTo>
                <a:cubicBezTo>
                  <a:pt x="16" y="267"/>
                  <a:pt x="17" y="263"/>
                  <a:pt x="19" y="260"/>
                </a:cubicBezTo>
                <a:cubicBezTo>
                  <a:pt x="19" y="259"/>
                  <a:pt x="19" y="259"/>
                  <a:pt x="19" y="259"/>
                </a:cubicBezTo>
                <a:cubicBezTo>
                  <a:pt x="18" y="259"/>
                  <a:pt x="17" y="259"/>
                  <a:pt x="17" y="259"/>
                </a:cubicBezTo>
                <a:moveTo>
                  <a:pt x="325" y="0"/>
                </a:moveTo>
                <a:cubicBezTo>
                  <a:pt x="254" y="0"/>
                  <a:pt x="183" y="20"/>
                  <a:pt x="121" y="62"/>
                </a:cubicBezTo>
                <a:cubicBezTo>
                  <a:pt x="120" y="63"/>
                  <a:pt x="119" y="63"/>
                  <a:pt x="118" y="64"/>
                </a:cubicBezTo>
                <a:cubicBezTo>
                  <a:pt x="118" y="64"/>
                  <a:pt x="118" y="64"/>
                  <a:pt x="118" y="64"/>
                </a:cubicBezTo>
                <a:cubicBezTo>
                  <a:pt x="107" y="73"/>
                  <a:pt x="96" y="83"/>
                  <a:pt x="87" y="94"/>
                </a:cubicBezTo>
                <a:cubicBezTo>
                  <a:pt x="87" y="101"/>
                  <a:pt x="87" y="101"/>
                  <a:pt x="87" y="101"/>
                </a:cubicBezTo>
                <a:cubicBezTo>
                  <a:pt x="78" y="104"/>
                  <a:pt x="78" y="104"/>
                  <a:pt x="78" y="104"/>
                </a:cubicBezTo>
                <a:cubicBezTo>
                  <a:pt x="77" y="105"/>
                  <a:pt x="75" y="106"/>
                  <a:pt x="74" y="108"/>
                </a:cubicBezTo>
                <a:cubicBezTo>
                  <a:pt x="74" y="110"/>
                  <a:pt x="74" y="111"/>
                  <a:pt x="73" y="113"/>
                </a:cubicBezTo>
                <a:cubicBezTo>
                  <a:pt x="84" y="121"/>
                  <a:pt x="84" y="121"/>
                  <a:pt x="84" y="121"/>
                </a:cubicBezTo>
                <a:cubicBezTo>
                  <a:pt x="80" y="129"/>
                  <a:pt x="80" y="129"/>
                  <a:pt x="80" y="129"/>
                </a:cubicBezTo>
                <a:cubicBezTo>
                  <a:pt x="68" y="128"/>
                  <a:pt x="68" y="128"/>
                  <a:pt x="68" y="128"/>
                </a:cubicBezTo>
                <a:cubicBezTo>
                  <a:pt x="66" y="130"/>
                  <a:pt x="65" y="132"/>
                  <a:pt x="64" y="134"/>
                </a:cubicBezTo>
                <a:cubicBezTo>
                  <a:pt x="70" y="145"/>
                  <a:pt x="70" y="145"/>
                  <a:pt x="70" y="145"/>
                </a:cubicBezTo>
                <a:cubicBezTo>
                  <a:pt x="64" y="152"/>
                  <a:pt x="64" y="152"/>
                  <a:pt x="64" y="152"/>
                </a:cubicBezTo>
                <a:cubicBezTo>
                  <a:pt x="53" y="146"/>
                  <a:pt x="53" y="146"/>
                  <a:pt x="53" y="146"/>
                </a:cubicBezTo>
                <a:cubicBezTo>
                  <a:pt x="51" y="147"/>
                  <a:pt x="48" y="149"/>
                  <a:pt x="46" y="150"/>
                </a:cubicBezTo>
                <a:cubicBezTo>
                  <a:pt x="48" y="163"/>
                  <a:pt x="48" y="163"/>
                  <a:pt x="48" y="163"/>
                </a:cubicBezTo>
                <a:cubicBezTo>
                  <a:pt x="39" y="167"/>
                  <a:pt x="39" y="167"/>
                  <a:pt x="39" y="167"/>
                </a:cubicBezTo>
                <a:cubicBezTo>
                  <a:pt x="37" y="164"/>
                  <a:pt x="37" y="164"/>
                  <a:pt x="37" y="164"/>
                </a:cubicBezTo>
                <a:cubicBezTo>
                  <a:pt x="30" y="177"/>
                  <a:pt x="24" y="191"/>
                  <a:pt x="20" y="204"/>
                </a:cubicBezTo>
                <a:cubicBezTo>
                  <a:pt x="20" y="205"/>
                  <a:pt x="20" y="205"/>
                  <a:pt x="20" y="205"/>
                </a:cubicBezTo>
                <a:cubicBezTo>
                  <a:pt x="21" y="206"/>
                  <a:pt x="21" y="207"/>
                  <a:pt x="21" y="208"/>
                </a:cubicBezTo>
                <a:cubicBezTo>
                  <a:pt x="22" y="211"/>
                  <a:pt x="21" y="213"/>
                  <a:pt x="19" y="214"/>
                </a:cubicBezTo>
                <a:cubicBezTo>
                  <a:pt x="17" y="214"/>
                  <a:pt x="17" y="214"/>
                  <a:pt x="17" y="214"/>
                </a:cubicBezTo>
                <a:cubicBezTo>
                  <a:pt x="17" y="214"/>
                  <a:pt x="16" y="214"/>
                  <a:pt x="16" y="214"/>
                </a:cubicBezTo>
                <a:cubicBezTo>
                  <a:pt x="15" y="218"/>
                  <a:pt x="14" y="221"/>
                  <a:pt x="13" y="224"/>
                </a:cubicBezTo>
                <a:cubicBezTo>
                  <a:pt x="14" y="225"/>
                  <a:pt x="16" y="226"/>
                  <a:pt x="18" y="226"/>
                </a:cubicBezTo>
                <a:cubicBezTo>
                  <a:pt x="19" y="226"/>
                  <a:pt x="20" y="226"/>
                  <a:pt x="20" y="226"/>
                </a:cubicBezTo>
                <a:cubicBezTo>
                  <a:pt x="22" y="226"/>
                  <a:pt x="22" y="226"/>
                  <a:pt x="22" y="226"/>
                </a:cubicBezTo>
                <a:cubicBezTo>
                  <a:pt x="22" y="226"/>
                  <a:pt x="22" y="226"/>
                  <a:pt x="23" y="226"/>
                </a:cubicBezTo>
                <a:cubicBezTo>
                  <a:pt x="25" y="226"/>
                  <a:pt x="26" y="227"/>
                  <a:pt x="27" y="229"/>
                </a:cubicBezTo>
                <a:cubicBezTo>
                  <a:pt x="27" y="230"/>
                  <a:pt x="27" y="231"/>
                  <a:pt x="27" y="232"/>
                </a:cubicBezTo>
                <a:cubicBezTo>
                  <a:pt x="27" y="235"/>
                  <a:pt x="25" y="237"/>
                  <a:pt x="23" y="237"/>
                </a:cubicBezTo>
                <a:cubicBezTo>
                  <a:pt x="23" y="237"/>
                  <a:pt x="23" y="237"/>
                  <a:pt x="23" y="237"/>
                </a:cubicBezTo>
                <a:cubicBezTo>
                  <a:pt x="21" y="237"/>
                  <a:pt x="21" y="237"/>
                  <a:pt x="21" y="237"/>
                </a:cubicBezTo>
                <a:cubicBezTo>
                  <a:pt x="21" y="237"/>
                  <a:pt x="21" y="237"/>
                  <a:pt x="21" y="237"/>
                </a:cubicBezTo>
                <a:cubicBezTo>
                  <a:pt x="18" y="237"/>
                  <a:pt x="15" y="239"/>
                  <a:pt x="15" y="242"/>
                </a:cubicBezTo>
                <a:cubicBezTo>
                  <a:pt x="14" y="246"/>
                  <a:pt x="17" y="249"/>
                  <a:pt x="21" y="249"/>
                </a:cubicBezTo>
                <a:cubicBezTo>
                  <a:pt x="23" y="249"/>
                  <a:pt x="23" y="249"/>
                  <a:pt x="23" y="249"/>
                </a:cubicBezTo>
                <a:cubicBezTo>
                  <a:pt x="23" y="249"/>
                  <a:pt x="23" y="249"/>
                  <a:pt x="23" y="249"/>
                </a:cubicBezTo>
                <a:cubicBezTo>
                  <a:pt x="42" y="199"/>
                  <a:pt x="74" y="154"/>
                  <a:pt x="118" y="117"/>
                </a:cubicBezTo>
                <a:cubicBezTo>
                  <a:pt x="124" y="112"/>
                  <a:pt x="130" y="107"/>
                  <a:pt x="137" y="103"/>
                </a:cubicBezTo>
                <a:cubicBezTo>
                  <a:pt x="194" y="62"/>
                  <a:pt x="260" y="42"/>
                  <a:pt x="325" y="42"/>
                </a:cubicBezTo>
                <a:cubicBezTo>
                  <a:pt x="329" y="42"/>
                  <a:pt x="333" y="42"/>
                  <a:pt x="336" y="42"/>
                </a:cubicBezTo>
                <a:cubicBezTo>
                  <a:pt x="337" y="42"/>
                  <a:pt x="337" y="42"/>
                  <a:pt x="337" y="42"/>
                </a:cubicBezTo>
                <a:cubicBezTo>
                  <a:pt x="341" y="43"/>
                  <a:pt x="346" y="43"/>
                  <a:pt x="350" y="43"/>
                </a:cubicBezTo>
                <a:cubicBezTo>
                  <a:pt x="351" y="43"/>
                  <a:pt x="352" y="43"/>
                  <a:pt x="352" y="43"/>
                </a:cubicBezTo>
                <a:cubicBezTo>
                  <a:pt x="356" y="44"/>
                  <a:pt x="360" y="44"/>
                  <a:pt x="364" y="45"/>
                </a:cubicBezTo>
                <a:cubicBezTo>
                  <a:pt x="365" y="45"/>
                  <a:pt x="366" y="45"/>
                  <a:pt x="368" y="45"/>
                </a:cubicBezTo>
                <a:cubicBezTo>
                  <a:pt x="371" y="45"/>
                  <a:pt x="375" y="46"/>
                  <a:pt x="379" y="47"/>
                </a:cubicBezTo>
                <a:cubicBezTo>
                  <a:pt x="380" y="47"/>
                  <a:pt x="381" y="47"/>
                  <a:pt x="383" y="47"/>
                </a:cubicBezTo>
                <a:cubicBezTo>
                  <a:pt x="386" y="48"/>
                  <a:pt x="390" y="49"/>
                  <a:pt x="393" y="49"/>
                </a:cubicBezTo>
                <a:cubicBezTo>
                  <a:pt x="395" y="50"/>
                  <a:pt x="396" y="50"/>
                  <a:pt x="398" y="50"/>
                </a:cubicBezTo>
                <a:cubicBezTo>
                  <a:pt x="401" y="51"/>
                  <a:pt x="404" y="52"/>
                  <a:pt x="407" y="53"/>
                </a:cubicBezTo>
                <a:cubicBezTo>
                  <a:pt x="409" y="53"/>
                  <a:pt x="411" y="54"/>
                  <a:pt x="413" y="54"/>
                </a:cubicBezTo>
                <a:cubicBezTo>
                  <a:pt x="416" y="55"/>
                  <a:pt x="419" y="56"/>
                  <a:pt x="422" y="57"/>
                </a:cubicBezTo>
                <a:cubicBezTo>
                  <a:pt x="424" y="57"/>
                  <a:pt x="426" y="58"/>
                  <a:pt x="428" y="59"/>
                </a:cubicBezTo>
                <a:cubicBezTo>
                  <a:pt x="430" y="59"/>
                  <a:pt x="432" y="60"/>
                  <a:pt x="434" y="61"/>
                </a:cubicBezTo>
                <a:cubicBezTo>
                  <a:pt x="409" y="47"/>
                  <a:pt x="382" y="37"/>
                  <a:pt x="353" y="31"/>
                </a:cubicBezTo>
                <a:cubicBezTo>
                  <a:pt x="356" y="11"/>
                  <a:pt x="356" y="11"/>
                  <a:pt x="356" y="11"/>
                </a:cubicBezTo>
                <a:cubicBezTo>
                  <a:pt x="439" y="22"/>
                  <a:pt x="508" y="69"/>
                  <a:pt x="552" y="134"/>
                </a:cubicBezTo>
                <a:cubicBezTo>
                  <a:pt x="552" y="134"/>
                  <a:pt x="553" y="135"/>
                  <a:pt x="554" y="136"/>
                </a:cubicBezTo>
                <a:cubicBezTo>
                  <a:pt x="556" y="138"/>
                  <a:pt x="559" y="141"/>
                  <a:pt x="561" y="143"/>
                </a:cubicBezTo>
                <a:cubicBezTo>
                  <a:pt x="562" y="145"/>
                  <a:pt x="564" y="146"/>
                  <a:pt x="565" y="147"/>
                </a:cubicBezTo>
                <a:cubicBezTo>
                  <a:pt x="569" y="151"/>
                  <a:pt x="572" y="155"/>
                  <a:pt x="576" y="160"/>
                </a:cubicBezTo>
                <a:cubicBezTo>
                  <a:pt x="611" y="203"/>
                  <a:pt x="634" y="253"/>
                  <a:pt x="644" y="304"/>
                </a:cubicBezTo>
                <a:cubicBezTo>
                  <a:pt x="646" y="314"/>
                  <a:pt x="648" y="325"/>
                  <a:pt x="649" y="335"/>
                </a:cubicBezTo>
                <a:cubicBezTo>
                  <a:pt x="649" y="337"/>
                  <a:pt x="649" y="339"/>
                  <a:pt x="649" y="341"/>
                </a:cubicBezTo>
                <a:cubicBezTo>
                  <a:pt x="650" y="332"/>
                  <a:pt x="650" y="323"/>
                  <a:pt x="650" y="314"/>
                </a:cubicBezTo>
                <a:cubicBezTo>
                  <a:pt x="651" y="241"/>
                  <a:pt x="626" y="167"/>
                  <a:pt x="576" y="107"/>
                </a:cubicBezTo>
                <a:cubicBezTo>
                  <a:pt x="575" y="107"/>
                  <a:pt x="575" y="106"/>
                  <a:pt x="575" y="106"/>
                </a:cubicBezTo>
                <a:cubicBezTo>
                  <a:pt x="575" y="106"/>
                  <a:pt x="575" y="106"/>
                  <a:pt x="575" y="106"/>
                </a:cubicBezTo>
                <a:cubicBezTo>
                  <a:pt x="575" y="106"/>
                  <a:pt x="575" y="106"/>
                  <a:pt x="575" y="106"/>
                </a:cubicBezTo>
                <a:cubicBezTo>
                  <a:pt x="575" y="106"/>
                  <a:pt x="575" y="105"/>
                  <a:pt x="574" y="105"/>
                </a:cubicBezTo>
                <a:cubicBezTo>
                  <a:pt x="561" y="89"/>
                  <a:pt x="546" y="75"/>
                  <a:pt x="531" y="62"/>
                </a:cubicBezTo>
                <a:cubicBezTo>
                  <a:pt x="530" y="62"/>
                  <a:pt x="529" y="61"/>
                  <a:pt x="528" y="60"/>
                </a:cubicBezTo>
                <a:cubicBezTo>
                  <a:pt x="525" y="59"/>
                  <a:pt x="523" y="57"/>
                  <a:pt x="520" y="56"/>
                </a:cubicBezTo>
                <a:cubicBezTo>
                  <a:pt x="518" y="54"/>
                  <a:pt x="515" y="52"/>
                  <a:pt x="513" y="51"/>
                </a:cubicBezTo>
                <a:cubicBezTo>
                  <a:pt x="510" y="49"/>
                  <a:pt x="508" y="48"/>
                  <a:pt x="505" y="46"/>
                </a:cubicBezTo>
                <a:cubicBezTo>
                  <a:pt x="503" y="45"/>
                  <a:pt x="500" y="44"/>
                  <a:pt x="498" y="42"/>
                </a:cubicBezTo>
                <a:cubicBezTo>
                  <a:pt x="495" y="41"/>
                  <a:pt x="492" y="40"/>
                  <a:pt x="489" y="38"/>
                </a:cubicBezTo>
                <a:cubicBezTo>
                  <a:pt x="487" y="37"/>
                  <a:pt x="485" y="36"/>
                  <a:pt x="482" y="35"/>
                </a:cubicBezTo>
                <a:cubicBezTo>
                  <a:pt x="479" y="33"/>
                  <a:pt x="476" y="32"/>
                  <a:pt x="474" y="31"/>
                </a:cubicBezTo>
                <a:cubicBezTo>
                  <a:pt x="471" y="30"/>
                  <a:pt x="469" y="29"/>
                  <a:pt x="466" y="28"/>
                </a:cubicBezTo>
                <a:cubicBezTo>
                  <a:pt x="463" y="26"/>
                  <a:pt x="460" y="25"/>
                  <a:pt x="457" y="24"/>
                </a:cubicBezTo>
                <a:cubicBezTo>
                  <a:pt x="455" y="23"/>
                  <a:pt x="453" y="22"/>
                  <a:pt x="450" y="21"/>
                </a:cubicBezTo>
                <a:cubicBezTo>
                  <a:pt x="447" y="20"/>
                  <a:pt x="444" y="19"/>
                  <a:pt x="441" y="18"/>
                </a:cubicBezTo>
                <a:cubicBezTo>
                  <a:pt x="439" y="17"/>
                  <a:pt x="436" y="17"/>
                  <a:pt x="434" y="16"/>
                </a:cubicBezTo>
                <a:cubicBezTo>
                  <a:pt x="431" y="15"/>
                  <a:pt x="427" y="14"/>
                  <a:pt x="424" y="13"/>
                </a:cubicBezTo>
                <a:cubicBezTo>
                  <a:pt x="422" y="13"/>
                  <a:pt x="420" y="12"/>
                  <a:pt x="418" y="11"/>
                </a:cubicBezTo>
                <a:cubicBezTo>
                  <a:pt x="414" y="11"/>
                  <a:pt x="411" y="10"/>
                  <a:pt x="407" y="9"/>
                </a:cubicBezTo>
                <a:cubicBezTo>
                  <a:pt x="405" y="8"/>
                  <a:pt x="403" y="8"/>
                  <a:pt x="401" y="8"/>
                </a:cubicBezTo>
                <a:cubicBezTo>
                  <a:pt x="398" y="7"/>
                  <a:pt x="394" y="6"/>
                  <a:pt x="390" y="5"/>
                </a:cubicBezTo>
                <a:cubicBezTo>
                  <a:pt x="388" y="5"/>
                  <a:pt x="387" y="5"/>
                  <a:pt x="385" y="5"/>
                </a:cubicBezTo>
                <a:cubicBezTo>
                  <a:pt x="381" y="4"/>
                  <a:pt x="377" y="3"/>
                  <a:pt x="373" y="3"/>
                </a:cubicBezTo>
                <a:cubicBezTo>
                  <a:pt x="371" y="3"/>
                  <a:pt x="370" y="2"/>
                  <a:pt x="369" y="2"/>
                </a:cubicBezTo>
                <a:cubicBezTo>
                  <a:pt x="364" y="2"/>
                  <a:pt x="360" y="1"/>
                  <a:pt x="356" y="1"/>
                </a:cubicBezTo>
                <a:cubicBezTo>
                  <a:pt x="355" y="1"/>
                  <a:pt x="353" y="1"/>
                  <a:pt x="352" y="1"/>
                </a:cubicBezTo>
                <a:cubicBezTo>
                  <a:pt x="348" y="0"/>
                  <a:pt x="343" y="0"/>
                  <a:pt x="338" y="0"/>
                </a:cubicBezTo>
                <a:cubicBezTo>
                  <a:pt x="338" y="0"/>
                  <a:pt x="337" y="0"/>
                  <a:pt x="336" y="0"/>
                </a:cubicBezTo>
                <a:cubicBezTo>
                  <a:pt x="333" y="0"/>
                  <a:pt x="329" y="0"/>
                  <a:pt x="325" y="0"/>
                </a:cubicBezTo>
              </a:path>
            </a:pathLst>
          </a:custGeom>
          <a:solidFill>
            <a:srgbClr val="EB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2" name="Freeform 731">
            <a:extLst>
              <a:ext uri="{FF2B5EF4-FFF2-40B4-BE49-F238E27FC236}">
                <a16:creationId xmlns:a16="http://schemas.microsoft.com/office/drawing/2014/main" id="{579A4CCA-AA45-468B-AA61-95680DFE57CB}"/>
              </a:ext>
            </a:extLst>
          </p:cNvPr>
          <p:cNvSpPr>
            <a:spLocks noEditPoints="1"/>
          </p:cNvSpPr>
          <p:nvPr/>
        </p:nvSpPr>
        <p:spPr bwMode="auto">
          <a:xfrm>
            <a:off x="8994775" y="3449638"/>
            <a:ext cx="107950" cy="157163"/>
          </a:xfrm>
          <a:custGeom>
            <a:avLst/>
            <a:gdLst>
              <a:gd name="T0" fmla="*/ 37 w 50"/>
              <a:gd name="T1" fmla="*/ 14 h 73"/>
              <a:gd name="T2" fmla="*/ 0 w 50"/>
              <a:gd name="T3" fmla="*/ 70 h 73"/>
              <a:gd name="T4" fmla="*/ 2 w 50"/>
              <a:gd name="T5" fmla="*/ 73 h 73"/>
              <a:gd name="T6" fmla="*/ 11 w 50"/>
              <a:gd name="T7" fmla="*/ 69 h 73"/>
              <a:gd name="T8" fmla="*/ 9 w 50"/>
              <a:gd name="T9" fmla="*/ 56 h 73"/>
              <a:gd name="T10" fmla="*/ 16 w 50"/>
              <a:gd name="T11" fmla="*/ 52 h 73"/>
              <a:gd name="T12" fmla="*/ 27 w 50"/>
              <a:gd name="T13" fmla="*/ 58 h 73"/>
              <a:gd name="T14" fmla="*/ 33 w 50"/>
              <a:gd name="T15" fmla="*/ 51 h 73"/>
              <a:gd name="T16" fmla="*/ 27 w 50"/>
              <a:gd name="T17" fmla="*/ 40 h 73"/>
              <a:gd name="T18" fmla="*/ 31 w 50"/>
              <a:gd name="T19" fmla="*/ 34 h 73"/>
              <a:gd name="T20" fmla="*/ 43 w 50"/>
              <a:gd name="T21" fmla="*/ 35 h 73"/>
              <a:gd name="T22" fmla="*/ 47 w 50"/>
              <a:gd name="T23" fmla="*/ 27 h 73"/>
              <a:gd name="T24" fmla="*/ 36 w 50"/>
              <a:gd name="T25" fmla="*/ 19 h 73"/>
              <a:gd name="T26" fmla="*/ 37 w 50"/>
              <a:gd name="T27" fmla="*/ 14 h 73"/>
              <a:gd name="T28" fmla="*/ 50 w 50"/>
              <a:gd name="T29" fmla="*/ 0 h 73"/>
              <a:gd name="T30" fmla="*/ 41 w 50"/>
              <a:gd name="T31" fmla="*/ 10 h 73"/>
              <a:gd name="T32" fmla="*/ 50 w 50"/>
              <a:gd name="T33" fmla="*/ 7 h 73"/>
              <a:gd name="T34" fmla="*/ 50 w 50"/>
              <a:gd name="T3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3">
                <a:moveTo>
                  <a:pt x="37" y="14"/>
                </a:moveTo>
                <a:cubicBezTo>
                  <a:pt x="23" y="31"/>
                  <a:pt x="10" y="50"/>
                  <a:pt x="0" y="70"/>
                </a:cubicBezTo>
                <a:cubicBezTo>
                  <a:pt x="2" y="73"/>
                  <a:pt x="2" y="73"/>
                  <a:pt x="2" y="73"/>
                </a:cubicBezTo>
                <a:cubicBezTo>
                  <a:pt x="11" y="69"/>
                  <a:pt x="11" y="69"/>
                  <a:pt x="11" y="69"/>
                </a:cubicBezTo>
                <a:cubicBezTo>
                  <a:pt x="9" y="56"/>
                  <a:pt x="9" y="56"/>
                  <a:pt x="9" y="56"/>
                </a:cubicBezTo>
                <a:cubicBezTo>
                  <a:pt x="11" y="55"/>
                  <a:pt x="14" y="53"/>
                  <a:pt x="16" y="52"/>
                </a:cubicBezTo>
                <a:cubicBezTo>
                  <a:pt x="27" y="58"/>
                  <a:pt x="27" y="58"/>
                  <a:pt x="27" y="58"/>
                </a:cubicBezTo>
                <a:cubicBezTo>
                  <a:pt x="33" y="51"/>
                  <a:pt x="33" y="51"/>
                  <a:pt x="33" y="51"/>
                </a:cubicBezTo>
                <a:cubicBezTo>
                  <a:pt x="27" y="40"/>
                  <a:pt x="27" y="40"/>
                  <a:pt x="27" y="40"/>
                </a:cubicBezTo>
                <a:cubicBezTo>
                  <a:pt x="28" y="38"/>
                  <a:pt x="29" y="36"/>
                  <a:pt x="31" y="34"/>
                </a:cubicBezTo>
                <a:cubicBezTo>
                  <a:pt x="43" y="35"/>
                  <a:pt x="43" y="35"/>
                  <a:pt x="43" y="35"/>
                </a:cubicBezTo>
                <a:cubicBezTo>
                  <a:pt x="47" y="27"/>
                  <a:pt x="47" y="27"/>
                  <a:pt x="47" y="27"/>
                </a:cubicBezTo>
                <a:cubicBezTo>
                  <a:pt x="36" y="19"/>
                  <a:pt x="36" y="19"/>
                  <a:pt x="36" y="19"/>
                </a:cubicBezTo>
                <a:cubicBezTo>
                  <a:pt x="37" y="17"/>
                  <a:pt x="37" y="16"/>
                  <a:pt x="37" y="14"/>
                </a:cubicBezTo>
                <a:moveTo>
                  <a:pt x="50" y="0"/>
                </a:moveTo>
                <a:cubicBezTo>
                  <a:pt x="47" y="3"/>
                  <a:pt x="44" y="6"/>
                  <a:pt x="41" y="10"/>
                </a:cubicBezTo>
                <a:cubicBezTo>
                  <a:pt x="50" y="7"/>
                  <a:pt x="50" y="7"/>
                  <a:pt x="50" y="7"/>
                </a:cubicBezTo>
                <a:cubicBezTo>
                  <a:pt x="50" y="0"/>
                  <a:pt x="50" y="0"/>
                  <a:pt x="50"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3" name="Freeform 732">
            <a:extLst>
              <a:ext uri="{FF2B5EF4-FFF2-40B4-BE49-F238E27FC236}">
                <a16:creationId xmlns:a16="http://schemas.microsoft.com/office/drawing/2014/main" id="{2E2CFE2E-7067-49C5-9DD9-294329D23125}"/>
              </a:ext>
            </a:extLst>
          </p:cNvPr>
          <p:cNvSpPr>
            <a:spLocks noEditPoints="1"/>
          </p:cNvSpPr>
          <p:nvPr/>
        </p:nvSpPr>
        <p:spPr bwMode="auto">
          <a:xfrm>
            <a:off x="8916988" y="3686175"/>
            <a:ext cx="57150" cy="209550"/>
          </a:xfrm>
          <a:custGeom>
            <a:avLst/>
            <a:gdLst>
              <a:gd name="T0" fmla="*/ 0 w 26"/>
              <a:gd name="T1" fmla="*/ 85 h 98"/>
              <a:gd name="T2" fmla="*/ 0 w 26"/>
              <a:gd name="T3" fmla="*/ 98 h 98"/>
              <a:gd name="T4" fmla="*/ 2 w 26"/>
              <a:gd name="T5" fmla="*/ 97 h 98"/>
              <a:gd name="T6" fmla="*/ 4 w 26"/>
              <a:gd name="T7" fmla="*/ 94 h 98"/>
              <a:gd name="T8" fmla="*/ 4 w 26"/>
              <a:gd name="T9" fmla="*/ 88 h 98"/>
              <a:gd name="T10" fmla="*/ 2 w 26"/>
              <a:gd name="T11" fmla="*/ 87 h 98"/>
              <a:gd name="T12" fmla="*/ 0 w 26"/>
              <a:gd name="T13" fmla="*/ 85 h 98"/>
              <a:gd name="T14" fmla="*/ 12 w 26"/>
              <a:gd name="T15" fmla="*/ 20 h 98"/>
              <a:gd name="T16" fmla="*/ 1 w 26"/>
              <a:gd name="T17" fmla="*/ 78 h 98"/>
              <a:gd name="T18" fmla="*/ 1 w 26"/>
              <a:gd name="T19" fmla="*/ 78 h 98"/>
              <a:gd name="T20" fmla="*/ 6 w 26"/>
              <a:gd name="T21" fmla="*/ 76 h 98"/>
              <a:gd name="T22" fmla="*/ 9 w 26"/>
              <a:gd name="T23" fmla="*/ 77 h 98"/>
              <a:gd name="T24" fmla="*/ 11 w 26"/>
              <a:gd name="T25" fmla="*/ 78 h 98"/>
              <a:gd name="T26" fmla="*/ 14 w 26"/>
              <a:gd name="T27" fmla="*/ 67 h 98"/>
              <a:gd name="T28" fmla="*/ 10 w 26"/>
              <a:gd name="T29" fmla="*/ 60 h 98"/>
              <a:gd name="T30" fmla="*/ 16 w 26"/>
              <a:gd name="T31" fmla="*/ 55 h 98"/>
              <a:gd name="T32" fmla="*/ 18 w 26"/>
              <a:gd name="T33" fmla="*/ 55 h 98"/>
              <a:gd name="T34" fmla="*/ 18 w 26"/>
              <a:gd name="T35" fmla="*/ 56 h 98"/>
              <a:gd name="T36" fmla="*/ 22 w 26"/>
              <a:gd name="T37" fmla="*/ 45 h 98"/>
              <a:gd name="T38" fmla="*/ 22 w 26"/>
              <a:gd name="T39" fmla="*/ 45 h 98"/>
              <a:gd name="T40" fmla="*/ 20 w 26"/>
              <a:gd name="T41" fmla="*/ 45 h 98"/>
              <a:gd name="T42" fmla="*/ 14 w 26"/>
              <a:gd name="T43" fmla="*/ 38 h 98"/>
              <a:gd name="T44" fmla="*/ 20 w 26"/>
              <a:gd name="T45" fmla="*/ 33 h 98"/>
              <a:gd name="T46" fmla="*/ 20 w 26"/>
              <a:gd name="T47" fmla="*/ 33 h 98"/>
              <a:gd name="T48" fmla="*/ 22 w 26"/>
              <a:gd name="T49" fmla="*/ 33 h 98"/>
              <a:gd name="T50" fmla="*/ 22 w 26"/>
              <a:gd name="T51" fmla="*/ 33 h 98"/>
              <a:gd name="T52" fmla="*/ 26 w 26"/>
              <a:gd name="T53" fmla="*/ 28 h 98"/>
              <a:gd name="T54" fmla="*/ 26 w 26"/>
              <a:gd name="T55" fmla="*/ 25 h 98"/>
              <a:gd name="T56" fmla="*/ 22 w 26"/>
              <a:gd name="T57" fmla="*/ 22 h 98"/>
              <a:gd name="T58" fmla="*/ 21 w 26"/>
              <a:gd name="T59" fmla="*/ 22 h 98"/>
              <a:gd name="T60" fmla="*/ 19 w 26"/>
              <a:gd name="T61" fmla="*/ 22 h 98"/>
              <a:gd name="T62" fmla="*/ 17 w 26"/>
              <a:gd name="T63" fmla="*/ 22 h 98"/>
              <a:gd name="T64" fmla="*/ 12 w 26"/>
              <a:gd name="T65" fmla="*/ 20 h 98"/>
              <a:gd name="T66" fmla="*/ 19 w 26"/>
              <a:gd name="T67" fmla="*/ 0 h 98"/>
              <a:gd name="T68" fmla="*/ 15 w 26"/>
              <a:gd name="T69" fmla="*/ 10 h 98"/>
              <a:gd name="T70" fmla="*/ 16 w 26"/>
              <a:gd name="T71" fmla="*/ 10 h 98"/>
              <a:gd name="T72" fmla="*/ 18 w 26"/>
              <a:gd name="T73" fmla="*/ 10 h 98"/>
              <a:gd name="T74" fmla="*/ 20 w 26"/>
              <a:gd name="T75" fmla="*/ 4 h 98"/>
              <a:gd name="T76" fmla="*/ 19 w 26"/>
              <a:gd name="T77" fmla="*/ 1 h 98"/>
              <a:gd name="T78" fmla="*/ 19 w 26"/>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98">
                <a:moveTo>
                  <a:pt x="0" y="85"/>
                </a:moveTo>
                <a:cubicBezTo>
                  <a:pt x="0" y="89"/>
                  <a:pt x="0" y="94"/>
                  <a:pt x="0" y="98"/>
                </a:cubicBezTo>
                <a:cubicBezTo>
                  <a:pt x="1" y="98"/>
                  <a:pt x="1" y="97"/>
                  <a:pt x="2" y="97"/>
                </a:cubicBezTo>
                <a:cubicBezTo>
                  <a:pt x="3" y="96"/>
                  <a:pt x="4" y="95"/>
                  <a:pt x="4" y="94"/>
                </a:cubicBezTo>
                <a:cubicBezTo>
                  <a:pt x="6" y="92"/>
                  <a:pt x="6" y="89"/>
                  <a:pt x="4" y="88"/>
                </a:cubicBezTo>
                <a:cubicBezTo>
                  <a:pt x="2" y="87"/>
                  <a:pt x="2" y="87"/>
                  <a:pt x="2" y="87"/>
                </a:cubicBezTo>
                <a:cubicBezTo>
                  <a:pt x="1" y="87"/>
                  <a:pt x="1" y="86"/>
                  <a:pt x="0" y="85"/>
                </a:cubicBezTo>
                <a:moveTo>
                  <a:pt x="12" y="20"/>
                </a:moveTo>
                <a:cubicBezTo>
                  <a:pt x="7" y="39"/>
                  <a:pt x="3" y="58"/>
                  <a:pt x="1" y="78"/>
                </a:cubicBezTo>
                <a:cubicBezTo>
                  <a:pt x="1" y="78"/>
                  <a:pt x="1" y="78"/>
                  <a:pt x="1" y="78"/>
                </a:cubicBezTo>
                <a:cubicBezTo>
                  <a:pt x="2" y="76"/>
                  <a:pt x="4" y="76"/>
                  <a:pt x="6" y="76"/>
                </a:cubicBezTo>
                <a:cubicBezTo>
                  <a:pt x="7" y="76"/>
                  <a:pt x="8" y="76"/>
                  <a:pt x="9" y="77"/>
                </a:cubicBezTo>
                <a:cubicBezTo>
                  <a:pt x="11" y="78"/>
                  <a:pt x="11" y="78"/>
                  <a:pt x="11" y="78"/>
                </a:cubicBezTo>
                <a:cubicBezTo>
                  <a:pt x="12" y="74"/>
                  <a:pt x="13" y="71"/>
                  <a:pt x="14" y="67"/>
                </a:cubicBezTo>
                <a:cubicBezTo>
                  <a:pt x="11" y="66"/>
                  <a:pt x="9" y="63"/>
                  <a:pt x="10" y="60"/>
                </a:cubicBezTo>
                <a:cubicBezTo>
                  <a:pt x="11" y="57"/>
                  <a:pt x="13" y="55"/>
                  <a:pt x="16" y="55"/>
                </a:cubicBezTo>
                <a:cubicBezTo>
                  <a:pt x="16" y="55"/>
                  <a:pt x="17" y="55"/>
                  <a:pt x="18" y="55"/>
                </a:cubicBezTo>
                <a:cubicBezTo>
                  <a:pt x="18" y="56"/>
                  <a:pt x="18" y="56"/>
                  <a:pt x="18" y="56"/>
                </a:cubicBezTo>
                <a:cubicBezTo>
                  <a:pt x="19" y="52"/>
                  <a:pt x="20" y="49"/>
                  <a:pt x="22" y="45"/>
                </a:cubicBezTo>
                <a:cubicBezTo>
                  <a:pt x="22" y="45"/>
                  <a:pt x="22" y="45"/>
                  <a:pt x="22" y="45"/>
                </a:cubicBezTo>
                <a:cubicBezTo>
                  <a:pt x="20" y="45"/>
                  <a:pt x="20" y="45"/>
                  <a:pt x="20" y="45"/>
                </a:cubicBezTo>
                <a:cubicBezTo>
                  <a:pt x="16" y="45"/>
                  <a:pt x="13" y="42"/>
                  <a:pt x="14" y="38"/>
                </a:cubicBezTo>
                <a:cubicBezTo>
                  <a:pt x="14" y="35"/>
                  <a:pt x="17" y="33"/>
                  <a:pt x="20" y="33"/>
                </a:cubicBezTo>
                <a:cubicBezTo>
                  <a:pt x="20" y="33"/>
                  <a:pt x="20" y="33"/>
                  <a:pt x="20" y="33"/>
                </a:cubicBezTo>
                <a:cubicBezTo>
                  <a:pt x="22" y="33"/>
                  <a:pt x="22" y="33"/>
                  <a:pt x="22" y="33"/>
                </a:cubicBezTo>
                <a:cubicBezTo>
                  <a:pt x="22" y="33"/>
                  <a:pt x="22" y="33"/>
                  <a:pt x="22" y="33"/>
                </a:cubicBezTo>
                <a:cubicBezTo>
                  <a:pt x="24" y="33"/>
                  <a:pt x="26" y="31"/>
                  <a:pt x="26" y="28"/>
                </a:cubicBezTo>
                <a:cubicBezTo>
                  <a:pt x="26" y="27"/>
                  <a:pt x="26" y="26"/>
                  <a:pt x="26" y="25"/>
                </a:cubicBezTo>
                <a:cubicBezTo>
                  <a:pt x="25" y="23"/>
                  <a:pt x="24" y="22"/>
                  <a:pt x="22" y="22"/>
                </a:cubicBezTo>
                <a:cubicBezTo>
                  <a:pt x="21" y="22"/>
                  <a:pt x="21" y="22"/>
                  <a:pt x="21" y="22"/>
                </a:cubicBezTo>
                <a:cubicBezTo>
                  <a:pt x="19" y="22"/>
                  <a:pt x="19" y="22"/>
                  <a:pt x="19" y="22"/>
                </a:cubicBezTo>
                <a:cubicBezTo>
                  <a:pt x="19" y="22"/>
                  <a:pt x="18" y="22"/>
                  <a:pt x="17" y="22"/>
                </a:cubicBezTo>
                <a:cubicBezTo>
                  <a:pt x="15" y="22"/>
                  <a:pt x="13" y="21"/>
                  <a:pt x="12" y="20"/>
                </a:cubicBezTo>
                <a:moveTo>
                  <a:pt x="19" y="0"/>
                </a:moveTo>
                <a:cubicBezTo>
                  <a:pt x="17" y="4"/>
                  <a:pt x="16" y="7"/>
                  <a:pt x="15" y="10"/>
                </a:cubicBezTo>
                <a:cubicBezTo>
                  <a:pt x="15" y="10"/>
                  <a:pt x="16" y="10"/>
                  <a:pt x="16" y="10"/>
                </a:cubicBezTo>
                <a:cubicBezTo>
                  <a:pt x="18" y="10"/>
                  <a:pt x="18" y="10"/>
                  <a:pt x="18" y="10"/>
                </a:cubicBezTo>
                <a:cubicBezTo>
                  <a:pt x="20" y="9"/>
                  <a:pt x="21" y="7"/>
                  <a:pt x="20" y="4"/>
                </a:cubicBezTo>
                <a:cubicBezTo>
                  <a:pt x="20" y="3"/>
                  <a:pt x="20" y="2"/>
                  <a:pt x="19" y="1"/>
                </a:cubicBezTo>
                <a:cubicBezTo>
                  <a:pt x="19" y="1"/>
                  <a:pt x="19" y="1"/>
                  <a:pt x="19"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4" name="Freeform 733">
            <a:extLst>
              <a:ext uri="{FF2B5EF4-FFF2-40B4-BE49-F238E27FC236}">
                <a16:creationId xmlns:a16="http://schemas.microsoft.com/office/drawing/2014/main" id="{6124E514-C77E-45CC-BC4E-D40E87458A59}"/>
              </a:ext>
            </a:extLst>
          </p:cNvPr>
          <p:cNvSpPr>
            <a:spLocks noEditPoints="1"/>
          </p:cNvSpPr>
          <p:nvPr/>
        </p:nvSpPr>
        <p:spPr bwMode="auto">
          <a:xfrm>
            <a:off x="8915400" y="3365500"/>
            <a:ext cx="1400175" cy="1254125"/>
          </a:xfrm>
          <a:custGeom>
            <a:avLst/>
            <a:gdLst>
              <a:gd name="T0" fmla="*/ 326 w 651"/>
              <a:gd name="T1" fmla="*/ 584 h 584"/>
              <a:gd name="T2" fmla="*/ 326 w 651"/>
              <a:gd name="T3" fmla="*/ 584 h 584"/>
              <a:gd name="T4" fmla="*/ 326 w 651"/>
              <a:gd name="T5" fmla="*/ 584 h 584"/>
              <a:gd name="T6" fmla="*/ 326 w 651"/>
              <a:gd name="T7" fmla="*/ 584 h 584"/>
              <a:gd name="T8" fmla="*/ 76 w 651"/>
              <a:gd name="T9" fmla="*/ 468 h 584"/>
              <a:gd name="T10" fmla="*/ 326 w 651"/>
              <a:gd name="T11" fmla="*/ 584 h 584"/>
              <a:gd name="T12" fmla="*/ 160 w 651"/>
              <a:gd name="T13" fmla="*/ 539 h 584"/>
              <a:gd name="T14" fmla="*/ 152 w 651"/>
              <a:gd name="T15" fmla="*/ 534 h 584"/>
              <a:gd name="T16" fmla="*/ 106 w 651"/>
              <a:gd name="T17" fmla="*/ 499 h 584"/>
              <a:gd name="T18" fmla="*/ 98 w 651"/>
              <a:gd name="T19" fmla="*/ 492 h 584"/>
              <a:gd name="T20" fmla="*/ 76 w 651"/>
              <a:gd name="T21" fmla="*/ 468 h 584"/>
              <a:gd name="T22" fmla="*/ 76 w 651"/>
              <a:gd name="T23" fmla="*/ 467 h 584"/>
              <a:gd name="T24" fmla="*/ 76 w 651"/>
              <a:gd name="T25" fmla="*/ 467 h 584"/>
              <a:gd name="T26" fmla="*/ 76 w 651"/>
              <a:gd name="T27" fmla="*/ 467 h 584"/>
              <a:gd name="T28" fmla="*/ 575 w 651"/>
              <a:gd name="T29" fmla="*/ 51 h 584"/>
              <a:gd name="T30" fmla="*/ 576 w 651"/>
              <a:gd name="T31" fmla="*/ 52 h 584"/>
              <a:gd name="T32" fmla="*/ 650 w 651"/>
              <a:gd name="T33" fmla="*/ 259 h 584"/>
              <a:gd name="T34" fmla="*/ 650 w 651"/>
              <a:gd name="T35" fmla="*/ 259 h 584"/>
              <a:gd name="T36" fmla="*/ 576 w 651"/>
              <a:gd name="T37" fmla="*/ 52 h 584"/>
              <a:gd name="T38" fmla="*/ 575 w 651"/>
              <a:gd name="T39" fmla="*/ 51 h 584"/>
              <a:gd name="T40" fmla="*/ 575 w 651"/>
              <a:gd name="T41" fmla="*/ 51 h 584"/>
              <a:gd name="T42" fmla="*/ 575 w 651"/>
              <a:gd name="T43" fmla="*/ 51 h 584"/>
              <a:gd name="T44" fmla="*/ 575 w 651"/>
              <a:gd name="T45" fmla="*/ 51 h 584"/>
              <a:gd name="T46" fmla="*/ 118 w 651"/>
              <a:gd name="T47" fmla="*/ 9 h 584"/>
              <a:gd name="T48" fmla="*/ 118 w 651"/>
              <a:gd name="T49" fmla="*/ 9 h 584"/>
              <a:gd name="T50" fmla="*/ 0 w 651"/>
              <a:gd name="T51" fmla="*/ 259 h 584"/>
              <a:gd name="T52" fmla="*/ 1 w 651"/>
              <a:gd name="T53" fmla="*/ 247 h 584"/>
              <a:gd name="T54" fmla="*/ 1 w 651"/>
              <a:gd name="T55" fmla="*/ 234 h 584"/>
              <a:gd name="T56" fmla="*/ 2 w 651"/>
              <a:gd name="T57" fmla="*/ 227 h 584"/>
              <a:gd name="T58" fmla="*/ 13 w 651"/>
              <a:gd name="T59" fmla="*/ 169 h 584"/>
              <a:gd name="T60" fmla="*/ 16 w 651"/>
              <a:gd name="T61" fmla="*/ 159 h 584"/>
              <a:gd name="T62" fmla="*/ 20 w 651"/>
              <a:gd name="T63" fmla="*/ 149 h 584"/>
              <a:gd name="T64" fmla="*/ 37 w 651"/>
              <a:gd name="T65" fmla="*/ 109 h 584"/>
              <a:gd name="T66" fmla="*/ 74 w 651"/>
              <a:gd name="T67" fmla="*/ 53 h 584"/>
              <a:gd name="T68" fmla="*/ 78 w 651"/>
              <a:gd name="T69" fmla="*/ 49 h 584"/>
              <a:gd name="T70" fmla="*/ 87 w 651"/>
              <a:gd name="T71" fmla="*/ 39 h 584"/>
              <a:gd name="T72" fmla="*/ 118 w 651"/>
              <a:gd name="T73" fmla="*/ 9 h 584"/>
              <a:gd name="T74" fmla="*/ 118 w 651"/>
              <a:gd name="T75" fmla="*/ 9 h 584"/>
              <a:gd name="T76" fmla="*/ 521 w 651"/>
              <a:gd name="T77" fmla="*/ 0 h 584"/>
              <a:gd name="T78" fmla="*/ 531 w 651"/>
              <a:gd name="T79" fmla="*/ 7 h 584"/>
              <a:gd name="T80" fmla="*/ 574 w 651"/>
              <a:gd name="T81" fmla="*/ 50 h 584"/>
              <a:gd name="T82" fmla="*/ 537 w 651"/>
              <a:gd name="T83" fmla="*/ 12 h 584"/>
              <a:gd name="T84" fmla="*/ 521 w 651"/>
              <a:gd name="T85"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1" h="584">
                <a:moveTo>
                  <a:pt x="326" y="584"/>
                </a:moveTo>
                <a:cubicBezTo>
                  <a:pt x="326" y="584"/>
                  <a:pt x="326" y="584"/>
                  <a:pt x="326" y="584"/>
                </a:cubicBezTo>
                <a:cubicBezTo>
                  <a:pt x="326" y="584"/>
                  <a:pt x="326" y="584"/>
                  <a:pt x="326" y="584"/>
                </a:cubicBezTo>
                <a:cubicBezTo>
                  <a:pt x="326" y="584"/>
                  <a:pt x="326" y="584"/>
                  <a:pt x="326" y="584"/>
                </a:cubicBezTo>
                <a:moveTo>
                  <a:pt x="76" y="468"/>
                </a:moveTo>
                <a:cubicBezTo>
                  <a:pt x="140" y="544"/>
                  <a:pt x="233" y="584"/>
                  <a:pt x="326" y="584"/>
                </a:cubicBezTo>
                <a:cubicBezTo>
                  <a:pt x="268" y="584"/>
                  <a:pt x="211" y="569"/>
                  <a:pt x="160" y="539"/>
                </a:cubicBezTo>
                <a:cubicBezTo>
                  <a:pt x="157" y="538"/>
                  <a:pt x="155" y="536"/>
                  <a:pt x="152" y="534"/>
                </a:cubicBezTo>
                <a:cubicBezTo>
                  <a:pt x="136" y="524"/>
                  <a:pt x="120" y="512"/>
                  <a:pt x="106" y="499"/>
                </a:cubicBezTo>
                <a:cubicBezTo>
                  <a:pt x="103" y="496"/>
                  <a:pt x="101" y="494"/>
                  <a:pt x="98" y="492"/>
                </a:cubicBezTo>
                <a:cubicBezTo>
                  <a:pt x="91" y="484"/>
                  <a:pt x="83" y="476"/>
                  <a:pt x="76" y="468"/>
                </a:cubicBezTo>
                <a:moveTo>
                  <a:pt x="76" y="467"/>
                </a:moveTo>
                <a:cubicBezTo>
                  <a:pt x="76" y="467"/>
                  <a:pt x="76" y="467"/>
                  <a:pt x="76" y="467"/>
                </a:cubicBezTo>
                <a:cubicBezTo>
                  <a:pt x="76" y="467"/>
                  <a:pt x="76" y="467"/>
                  <a:pt x="76" y="467"/>
                </a:cubicBezTo>
                <a:moveTo>
                  <a:pt x="575" y="51"/>
                </a:moveTo>
                <a:cubicBezTo>
                  <a:pt x="575" y="51"/>
                  <a:pt x="575" y="52"/>
                  <a:pt x="576" y="52"/>
                </a:cubicBezTo>
                <a:cubicBezTo>
                  <a:pt x="626" y="112"/>
                  <a:pt x="651" y="186"/>
                  <a:pt x="650" y="259"/>
                </a:cubicBezTo>
                <a:cubicBezTo>
                  <a:pt x="650" y="259"/>
                  <a:pt x="650" y="259"/>
                  <a:pt x="650" y="259"/>
                </a:cubicBezTo>
                <a:cubicBezTo>
                  <a:pt x="651" y="186"/>
                  <a:pt x="626" y="112"/>
                  <a:pt x="576" y="52"/>
                </a:cubicBezTo>
                <a:cubicBezTo>
                  <a:pt x="575" y="52"/>
                  <a:pt x="575" y="51"/>
                  <a:pt x="575" y="51"/>
                </a:cubicBezTo>
                <a:moveTo>
                  <a:pt x="575" y="51"/>
                </a:moveTo>
                <a:cubicBezTo>
                  <a:pt x="575" y="51"/>
                  <a:pt x="575" y="51"/>
                  <a:pt x="575" y="51"/>
                </a:cubicBezTo>
                <a:cubicBezTo>
                  <a:pt x="575" y="51"/>
                  <a:pt x="575" y="51"/>
                  <a:pt x="575" y="51"/>
                </a:cubicBezTo>
                <a:moveTo>
                  <a:pt x="118" y="9"/>
                </a:moveTo>
                <a:cubicBezTo>
                  <a:pt x="118" y="9"/>
                  <a:pt x="118" y="9"/>
                  <a:pt x="118" y="9"/>
                </a:cubicBezTo>
                <a:cubicBezTo>
                  <a:pt x="41" y="73"/>
                  <a:pt x="1" y="166"/>
                  <a:pt x="0" y="259"/>
                </a:cubicBezTo>
                <a:cubicBezTo>
                  <a:pt x="0" y="255"/>
                  <a:pt x="1" y="251"/>
                  <a:pt x="1" y="247"/>
                </a:cubicBezTo>
                <a:cubicBezTo>
                  <a:pt x="1" y="243"/>
                  <a:pt x="1" y="238"/>
                  <a:pt x="1" y="234"/>
                </a:cubicBezTo>
                <a:cubicBezTo>
                  <a:pt x="2" y="232"/>
                  <a:pt x="2" y="229"/>
                  <a:pt x="2" y="227"/>
                </a:cubicBezTo>
                <a:cubicBezTo>
                  <a:pt x="4" y="207"/>
                  <a:pt x="8" y="188"/>
                  <a:pt x="13" y="169"/>
                </a:cubicBezTo>
                <a:cubicBezTo>
                  <a:pt x="14" y="166"/>
                  <a:pt x="15" y="163"/>
                  <a:pt x="16" y="159"/>
                </a:cubicBezTo>
                <a:cubicBezTo>
                  <a:pt x="17" y="156"/>
                  <a:pt x="18" y="153"/>
                  <a:pt x="20" y="149"/>
                </a:cubicBezTo>
                <a:cubicBezTo>
                  <a:pt x="24" y="136"/>
                  <a:pt x="30" y="122"/>
                  <a:pt x="37" y="109"/>
                </a:cubicBezTo>
                <a:cubicBezTo>
                  <a:pt x="47" y="89"/>
                  <a:pt x="60" y="70"/>
                  <a:pt x="74" y="53"/>
                </a:cubicBezTo>
                <a:cubicBezTo>
                  <a:pt x="75" y="51"/>
                  <a:pt x="77" y="50"/>
                  <a:pt x="78" y="49"/>
                </a:cubicBezTo>
                <a:cubicBezTo>
                  <a:pt x="81" y="45"/>
                  <a:pt x="84" y="42"/>
                  <a:pt x="87" y="39"/>
                </a:cubicBezTo>
                <a:cubicBezTo>
                  <a:pt x="96" y="28"/>
                  <a:pt x="107" y="18"/>
                  <a:pt x="118" y="9"/>
                </a:cubicBezTo>
                <a:cubicBezTo>
                  <a:pt x="118" y="9"/>
                  <a:pt x="118" y="9"/>
                  <a:pt x="118" y="9"/>
                </a:cubicBezTo>
                <a:moveTo>
                  <a:pt x="521" y="0"/>
                </a:moveTo>
                <a:cubicBezTo>
                  <a:pt x="525" y="2"/>
                  <a:pt x="528" y="5"/>
                  <a:pt x="531" y="7"/>
                </a:cubicBezTo>
                <a:cubicBezTo>
                  <a:pt x="546" y="20"/>
                  <a:pt x="561" y="34"/>
                  <a:pt x="574" y="50"/>
                </a:cubicBezTo>
                <a:cubicBezTo>
                  <a:pt x="563" y="36"/>
                  <a:pt x="550" y="24"/>
                  <a:pt x="537" y="12"/>
                </a:cubicBezTo>
                <a:cubicBezTo>
                  <a:pt x="532" y="8"/>
                  <a:pt x="527" y="4"/>
                  <a:pt x="521"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6" name="Freeform 734">
            <a:extLst>
              <a:ext uri="{FF2B5EF4-FFF2-40B4-BE49-F238E27FC236}">
                <a16:creationId xmlns:a16="http://schemas.microsoft.com/office/drawing/2014/main" id="{0BCB8CA2-4213-41AF-B357-3EE177057801}"/>
              </a:ext>
            </a:extLst>
          </p:cNvPr>
          <p:cNvSpPr>
            <a:spLocks/>
          </p:cNvSpPr>
          <p:nvPr/>
        </p:nvSpPr>
        <p:spPr bwMode="auto">
          <a:xfrm>
            <a:off x="9848850" y="3378200"/>
            <a:ext cx="358775" cy="514350"/>
          </a:xfrm>
          <a:custGeom>
            <a:avLst/>
            <a:gdLst>
              <a:gd name="T0" fmla="*/ 0 w 167"/>
              <a:gd name="T1" fmla="*/ 0 h 239"/>
              <a:gd name="T2" fmla="*/ 153 w 167"/>
              <a:gd name="T3" fmla="*/ 237 h 239"/>
              <a:gd name="T4" fmla="*/ 165 w 167"/>
              <a:gd name="T5" fmla="*/ 239 h 239"/>
              <a:gd name="T6" fmla="*/ 118 w 167"/>
              <a:gd name="T7" fmla="*/ 73 h 239"/>
              <a:gd name="T8" fmla="*/ 115 w 167"/>
              <a:gd name="T9" fmla="*/ 70 h 239"/>
              <a:gd name="T10" fmla="*/ 108 w 167"/>
              <a:gd name="T11" fmla="*/ 64 h 239"/>
              <a:gd name="T12" fmla="*/ 103 w 167"/>
              <a:gd name="T13" fmla="*/ 59 h 239"/>
              <a:gd name="T14" fmla="*/ 96 w 167"/>
              <a:gd name="T15" fmla="*/ 53 h 239"/>
              <a:gd name="T16" fmla="*/ 90 w 167"/>
              <a:gd name="T17" fmla="*/ 49 h 239"/>
              <a:gd name="T18" fmla="*/ 83 w 167"/>
              <a:gd name="T19" fmla="*/ 44 h 239"/>
              <a:gd name="T20" fmla="*/ 77 w 167"/>
              <a:gd name="T21" fmla="*/ 39 h 239"/>
              <a:gd name="T22" fmla="*/ 70 w 167"/>
              <a:gd name="T23" fmla="*/ 35 h 239"/>
              <a:gd name="T24" fmla="*/ 64 w 167"/>
              <a:gd name="T25" fmla="*/ 31 h 239"/>
              <a:gd name="T26" fmla="*/ 57 w 167"/>
              <a:gd name="T27" fmla="*/ 27 h 239"/>
              <a:gd name="T28" fmla="*/ 50 w 167"/>
              <a:gd name="T29" fmla="*/ 23 h 239"/>
              <a:gd name="T30" fmla="*/ 44 w 167"/>
              <a:gd name="T31" fmla="*/ 19 h 239"/>
              <a:gd name="T32" fmla="*/ 37 w 167"/>
              <a:gd name="T33" fmla="*/ 15 h 239"/>
              <a:gd name="T34" fmla="*/ 30 w 167"/>
              <a:gd name="T35" fmla="*/ 12 h 239"/>
              <a:gd name="T36" fmla="*/ 22 w 167"/>
              <a:gd name="T37" fmla="*/ 9 h 239"/>
              <a:gd name="T38" fmla="*/ 16 w 167"/>
              <a:gd name="T39" fmla="*/ 6 h 239"/>
              <a:gd name="T40" fmla="*/ 8 w 167"/>
              <a:gd name="T41" fmla="*/ 3 h 239"/>
              <a:gd name="T42" fmla="*/ 2 w 167"/>
              <a:gd name="T43" fmla="*/ 1 h 239"/>
              <a:gd name="T44" fmla="*/ 0 w 167"/>
              <a:gd name="T4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7" h="239">
                <a:moveTo>
                  <a:pt x="0" y="0"/>
                </a:moveTo>
                <a:cubicBezTo>
                  <a:pt x="86" y="47"/>
                  <a:pt x="145" y="136"/>
                  <a:pt x="153" y="237"/>
                </a:cubicBezTo>
                <a:cubicBezTo>
                  <a:pt x="165" y="239"/>
                  <a:pt x="165" y="239"/>
                  <a:pt x="165" y="239"/>
                </a:cubicBezTo>
                <a:cubicBezTo>
                  <a:pt x="167" y="178"/>
                  <a:pt x="149" y="120"/>
                  <a:pt x="118" y="73"/>
                </a:cubicBezTo>
                <a:cubicBezTo>
                  <a:pt x="117" y="72"/>
                  <a:pt x="116" y="71"/>
                  <a:pt x="115" y="70"/>
                </a:cubicBezTo>
                <a:cubicBezTo>
                  <a:pt x="113" y="68"/>
                  <a:pt x="110" y="66"/>
                  <a:pt x="108" y="64"/>
                </a:cubicBezTo>
                <a:cubicBezTo>
                  <a:pt x="106" y="62"/>
                  <a:pt x="104" y="61"/>
                  <a:pt x="103" y="59"/>
                </a:cubicBezTo>
                <a:cubicBezTo>
                  <a:pt x="100" y="57"/>
                  <a:pt x="98" y="55"/>
                  <a:pt x="96" y="53"/>
                </a:cubicBezTo>
                <a:cubicBezTo>
                  <a:pt x="94" y="52"/>
                  <a:pt x="92" y="50"/>
                  <a:pt x="90" y="49"/>
                </a:cubicBezTo>
                <a:cubicBezTo>
                  <a:pt x="88" y="47"/>
                  <a:pt x="86" y="45"/>
                  <a:pt x="83" y="44"/>
                </a:cubicBezTo>
                <a:cubicBezTo>
                  <a:pt x="81" y="42"/>
                  <a:pt x="79" y="41"/>
                  <a:pt x="77" y="39"/>
                </a:cubicBezTo>
                <a:cubicBezTo>
                  <a:pt x="75" y="38"/>
                  <a:pt x="73" y="36"/>
                  <a:pt x="70" y="35"/>
                </a:cubicBezTo>
                <a:cubicBezTo>
                  <a:pt x="68" y="33"/>
                  <a:pt x="66" y="32"/>
                  <a:pt x="64" y="31"/>
                </a:cubicBezTo>
                <a:cubicBezTo>
                  <a:pt x="62" y="29"/>
                  <a:pt x="60" y="28"/>
                  <a:pt x="57" y="27"/>
                </a:cubicBezTo>
                <a:cubicBezTo>
                  <a:pt x="55" y="25"/>
                  <a:pt x="53" y="24"/>
                  <a:pt x="50" y="23"/>
                </a:cubicBezTo>
                <a:cubicBezTo>
                  <a:pt x="48" y="21"/>
                  <a:pt x="46" y="20"/>
                  <a:pt x="44" y="19"/>
                </a:cubicBezTo>
                <a:cubicBezTo>
                  <a:pt x="41" y="18"/>
                  <a:pt x="39" y="17"/>
                  <a:pt x="37" y="15"/>
                </a:cubicBezTo>
                <a:cubicBezTo>
                  <a:pt x="34" y="14"/>
                  <a:pt x="32" y="13"/>
                  <a:pt x="30" y="12"/>
                </a:cubicBezTo>
                <a:cubicBezTo>
                  <a:pt x="28" y="11"/>
                  <a:pt x="25" y="10"/>
                  <a:pt x="22" y="9"/>
                </a:cubicBezTo>
                <a:cubicBezTo>
                  <a:pt x="20" y="8"/>
                  <a:pt x="18" y="7"/>
                  <a:pt x="16" y="6"/>
                </a:cubicBezTo>
                <a:cubicBezTo>
                  <a:pt x="14" y="5"/>
                  <a:pt x="11" y="4"/>
                  <a:pt x="8" y="3"/>
                </a:cubicBezTo>
                <a:cubicBezTo>
                  <a:pt x="6" y="2"/>
                  <a:pt x="4" y="1"/>
                  <a:pt x="2" y="1"/>
                </a:cubicBezTo>
                <a:cubicBezTo>
                  <a:pt x="1" y="0"/>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7" name="Freeform 735">
            <a:extLst>
              <a:ext uri="{FF2B5EF4-FFF2-40B4-BE49-F238E27FC236}">
                <a16:creationId xmlns:a16="http://schemas.microsoft.com/office/drawing/2014/main" id="{7EEF9675-5034-4FA0-B8D9-F2AAFA9D097D}"/>
              </a:ext>
            </a:extLst>
          </p:cNvPr>
          <p:cNvSpPr>
            <a:spLocks/>
          </p:cNvSpPr>
          <p:nvPr/>
        </p:nvSpPr>
        <p:spPr bwMode="auto">
          <a:xfrm>
            <a:off x="9674225" y="3271838"/>
            <a:ext cx="428625" cy="263525"/>
          </a:xfrm>
          <a:custGeom>
            <a:avLst/>
            <a:gdLst>
              <a:gd name="T0" fmla="*/ 3 w 199"/>
              <a:gd name="T1" fmla="*/ 0 h 123"/>
              <a:gd name="T2" fmla="*/ 0 w 199"/>
              <a:gd name="T3" fmla="*/ 20 h 123"/>
              <a:gd name="T4" fmla="*/ 81 w 199"/>
              <a:gd name="T5" fmla="*/ 50 h 123"/>
              <a:gd name="T6" fmla="*/ 83 w 199"/>
              <a:gd name="T7" fmla="*/ 51 h 123"/>
              <a:gd name="T8" fmla="*/ 89 w 199"/>
              <a:gd name="T9" fmla="*/ 53 h 123"/>
              <a:gd name="T10" fmla="*/ 97 w 199"/>
              <a:gd name="T11" fmla="*/ 56 h 123"/>
              <a:gd name="T12" fmla="*/ 103 w 199"/>
              <a:gd name="T13" fmla="*/ 59 h 123"/>
              <a:gd name="T14" fmla="*/ 111 w 199"/>
              <a:gd name="T15" fmla="*/ 62 h 123"/>
              <a:gd name="T16" fmla="*/ 118 w 199"/>
              <a:gd name="T17" fmla="*/ 65 h 123"/>
              <a:gd name="T18" fmla="*/ 125 w 199"/>
              <a:gd name="T19" fmla="*/ 69 h 123"/>
              <a:gd name="T20" fmla="*/ 131 w 199"/>
              <a:gd name="T21" fmla="*/ 73 h 123"/>
              <a:gd name="T22" fmla="*/ 138 w 199"/>
              <a:gd name="T23" fmla="*/ 77 h 123"/>
              <a:gd name="T24" fmla="*/ 145 w 199"/>
              <a:gd name="T25" fmla="*/ 81 h 123"/>
              <a:gd name="T26" fmla="*/ 151 w 199"/>
              <a:gd name="T27" fmla="*/ 85 h 123"/>
              <a:gd name="T28" fmla="*/ 158 w 199"/>
              <a:gd name="T29" fmla="*/ 89 h 123"/>
              <a:gd name="T30" fmla="*/ 164 w 199"/>
              <a:gd name="T31" fmla="*/ 94 h 123"/>
              <a:gd name="T32" fmla="*/ 171 w 199"/>
              <a:gd name="T33" fmla="*/ 99 h 123"/>
              <a:gd name="T34" fmla="*/ 177 w 199"/>
              <a:gd name="T35" fmla="*/ 103 h 123"/>
              <a:gd name="T36" fmla="*/ 184 w 199"/>
              <a:gd name="T37" fmla="*/ 109 h 123"/>
              <a:gd name="T38" fmla="*/ 189 w 199"/>
              <a:gd name="T39" fmla="*/ 114 h 123"/>
              <a:gd name="T40" fmla="*/ 196 w 199"/>
              <a:gd name="T41" fmla="*/ 120 h 123"/>
              <a:gd name="T42" fmla="*/ 199 w 199"/>
              <a:gd name="T43" fmla="*/ 123 h 123"/>
              <a:gd name="T44" fmla="*/ 3 w 199"/>
              <a:gd name="T4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9" h="123">
                <a:moveTo>
                  <a:pt x="3" y="0"/>
                </a:moveTo>
                <a:cubicBezTo>
                  <a:pt x="0" y="20"/>
                  <a:pt x="0" y="20"/>
                  <a:pt x="0" y="20"/>
                </a:cubicBezTo>
                <a:cubicBezTo>
                  <a:pt x="29" y="26"/>
                  <a:pt x="56" y="36"/>
                  <a:pt x="81" y="50"/>
                </a:cubicBezTo>
                <a:cubicBezTo>
                  <a:pt x="82" y="50"/>
                  <a:pt x="82" y="50"/>
                  <a:pt x="83" y="51"/>
                </a:cubicBezTo>
                <a:cubicBezTo>
                  <a:pt x="85" y="51"/>
                  <a:pt x="87" y="52"/>
                  <a:pt x="89" y="53"/>
                </a:cubicBezTo>
                <a:cubicBezTo>
                  <a:pt x="92" y="54"/>
                  <a:pt x="95" y="55"/>
                  <a:pt x="97" y="56"/>
                </a:cubicBezTo>
                <a:cubicBezTo>
                  <a:pt x="99" y="57"/>
                  <a:pt x="101" y="58"/>
                  <a:pt x="103" y="59"/>
                </a:cubicBezTo>
                <a:cubicBezTo>
                  <a:pt x="106" y="60"/>
                  <a:pt x="109" y="61"/>
                  <a:pt x="111" y="62"/>
                </a:cubicBezTo>
                <a:cubicBezTo>
                  <a:pt x="113" y="63"/>
                  <a:pt x="115" y="64"/>
                  <a:pt x="118" y="65"/>
                </a:cubicBezTo>
                <a:cubicBezTo>
                  <a:pt x="120" y="67"/>
                  <a:pt x="122" y="68"/>
                  <a:pt x="125" y="69"/>
                </a:cubicBezTo>
                <a:cubicBezTo>
                  <a:pt x="127" y="70"/>
                  <a:pt x="129" y="71"/>
                  <a:pt x="131" y="73"/>
                </a:cubicBezTo>
                <a:cubicBezTo>
                  <a:pt x="134" y="74"/>
                  <a:pt x="136" y="75"/>
                  <a:pt x="138" y="77"/>
                </a:cubicBezTo>
                <a:cubicBezTo>
                  <a:pt x="141" y="78"/>
                  <a:pt x="143" y="79"/>
                  <a:pt x="145" y="81"/>
                </a:cubicBezTo>
                <a:cubicBezTo>
                  <a:pt x="147" y="82"/>
                  <a:pt x="149" y="83"/>
                  <a:pt x="151" y="85"/>
                </a:cubicBezTo>
                <a:cubicBezTo>
                  <a:pt x="154" y="86"/>
                  <a:pt x="156" y="88"/>
                  <a:pt x="158" y="89"/>
                </a:cubicBezTo>
                <a:cubicBezTo>
                  <a:pt x="160" y="91"/>
                  <a:pt x="162" y="92"/>
                  <a:pt x="164" y="94"/>
                </a:cubicBezTo>
                <a:cubicBezTo>
                  <a:pt x="167" y="95"/>
                  <a:pt x="169" y="97"/>
                  <a:pt x="171" y="99"/>
                </a:cubicBezTo>
                <a:cubicBezTo>
                  <a:pt x="173" y="100"/>
                  <a:pt x="175" y="102"/>
                  <a:pt x="177" y="103"/>
                </a:cubicBezTo>
                <a:cubicBezTo>
                  <a:pt x="179" y="105"/>
                  <a:pt x="181" y="107"/>
                  <a:pt x="184" y="109"/>
                </a:cubicBezTo>
                <a:cubicBezTo>
                  <a:pt x="185" y="111"/>
                  <a:pt x="187" y="112"/>
                  <a:pt x="189" y="114"/>
                </a:cubicBezTo>
                <a:cubicBezTo>
                  <a:pt x="191" y="116"/>
                  <a:pt x="194" y="118"/>
                  <a:pt x="196" y="120"/>
                </a:cubicBezTo>
                <a:cubicBezTo>
                  <a:pt x="197" y="121"/>
                  <a:pt x="198" y="122"/>
                  <a:pt x="199" y="123"/>
                </a:cubicBezTo>
                <a:cubicBezTo>
                  <a:pt x="155" y="58"/>
                  <a:pt x="86" y="11"/>
                  <a:pt x="3" y="0"/>
                </a:cubicBezTo>
              </a:path>
            </a:pathLst>
          </a:custGeom>
          <a:solidFill>
            <a:srgbClr val="F4FA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9" name="Freeform 736">
            <a:extLst>
              <a:ext uri="{FF2B5EF4-FFF2-40B4-BE49-F238E27FC236}">
                <a16:creationId xmlns:a16="http://schemas.microsoft.com/office/drawing/2014/main" id="{B7CEF8AB-326D-4759-B5F5-33D05E547EB7}"/>
              </a:ext>
            </a:extLst>
          </p:cNvPr>
          <p:cNvSpPr>
            <a:spLocks/>
          </p:cNvSpPr>
          <p:nvPr/>
        </p:nvSpPr>
        <p:spPr bwMode="auto">
          <a:xfrm>
            <a:off x="10098088" y="4600575"/>
            <a:ext cx="1109663" cy="1347788"/>
          </a:xfrm>
          <a:custGeom>
            <a:avLst/>
            <a:gdLst>
              <a:gd name="T0" fmla="*/ 481 w 516"/>
              <a:gd name="T1" fmla="*/ 596 h 627"/>
              <a:gd name="T2" fmla="*/ 469 w 516"/>
              <a:gd name="T3" fmla="*/ 606 h 627"/>
              <a:gd name="T4" fmla="*/ 377 w 516"/>
              <a:gd name="T5" fmla="*/ 592 h 627"/>
              <a:gd name="T6" fmla="*/ 7 w 516"/>
              <a:gd name="T7" fmla="*/ 100 h 627"/>
              <a:gd name="T8" fmla="*/ 12 w 516"/>
              <a:gd name="T9" fmla="*/ 68 h 627"/>
              <a:gd name="T10" fmla="*/ 93 w 516"/>
              <a:gd name="T11" fmla="*/ 7 h 627"/>
              <a:gd name="T12" fmla="*/ 125 w 516"/>
              <a:gd name="T13" fmla="*/ 11 h 627"/>
              <a:gd name="T14" fmla="*/ 495 w 516"/>
              <a:gd name="T15" fmla="*/ 504 h 627"/>
              <a:gd name="T16" fmla="*/ 481 w 516"/>
              <a:gd name="T17" fmla="*/ 596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6" h="627">
                <a:moveTo>
                  <a:pt x="481" y="596"/>
                </a:moveTo>
                <a:cubicBezTo>
                  <a:pt x="469" y="606"/>
                  <a:pt x="469" y="606"/>
                  <a:pt x="469" y="606"/>
                </a:cubicBezTo>
                <a:cubicBezTo>
                  <a:pt x="440" y="627"/>
                  <a:pt x="399" y="622"/>
                  <a:pt x="377" y="592"/>
                </a:cubicBezTo>
                <a:cubicBezTo>
                  <a:pt x="7" y="100"/>
                  <a:pt x="7" y="100"/>
                  <a:pt x="7" y="100"/>
                </a:cubicBezTo>
                <a:cubicBezTo>
                  <a:pt x="0" y="90"/>
                  <a:pt x="2" y="76"/>
                  <a:pt x="12" y="68"/>
                </a:cubicBezTo>
                <a:cubicBezTo>
                  <a:pt x="93" y="7"/>
                  <a:pt x="93" y="7"/>
                  <a:pt x="93" y="7"/>
                </a:cubicBezTo>
                <a:cubicBezTo>
                  <a:pt x="103" y="0"/>
                  <a:pt x="117" y="2"/>
                  <a:pt x="125" y="11"/>
                </a:cubicBezTo>
                <a:cubicBezTo>
                  <a:pt x="495" y="504"/>
                  <a:pt x="495" y="504"/>
                  <a:pt x="495" y="504"/>
                </a:cubicBezTo>
                <a:cubicBezTo>
                  <a:pt x="516" y="533"/>
                  <a:pt x="510" y="575"/>
                  <a:pt x="481" y="59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0" name="Freeform 737">
            <a:extLst>
              <a:ext uri="{FF2B5EF4-FFF2-40B4-BE49-F238E27FC236}">
                <a16:creationId xmlns:a16="http://schemas.microsoft.com/office/drawing/2014/main" id="{B7898C5D-E32E-464E-A924-8824EFC5365B}"/>
              </a:ext>
            </a:extLst>
          </p:cNvPr>
          <p:cNvSpPr>
            <a:spLocks noEditPoints="1"/>
          </p:cNvSpPr>
          <p:nvPr/>
        </p:nvSpPr>
        <p:spPr bwMode="auto">
          <a:xfrm>
            <a:off x="9210675" y="3224213"/>
            <a:ext cx="1157288" cy="1404938"/>
          </a:xfrm>
          <a:custGeom>
            <a:avLst/>
            <a:gdLst>
              <a:gd name="T0" fmla="*/ 537 w 538"/>
              <a:gd name="T1" fmla="*/ 652 h 654"/>
              <a:gd name="T2" fmla="*/ 538 w 538"/>
              <a:gd name="T3" fmla="*/ 652 h 654"/>
              <a:gd name="T4" fmla="*/ 537 w 538"/>
              <a:gd name="T5" fmla="*/ 652 h 654"/>
              <a:gd name="T6" fmla="*/ 506 w 538"/>
              <a:gd name="T7" fmla="*/ 648 h 654"/>
              <a:gd name="T8" fmla="*/ 506 w 538"/>
              <a:gd name="T9" fmla="*/ 648 h 654"/>
              <a:gd name="T10" fmla="*/ 499 w 538"/>
              <a:gd name="T11" fmla="*/ 654 h 654"/>
              <a:gd name="T12" fmla="*/ 499 w 538"/>
              <a:gd name="T13" fmla="*/ 654 h 654"/>
              <a:gd name="T14" fmla="*/ 506 w 538"/>
              <a:gd name="T15" fmla="*/ 648 h 654"/>
              <a:gd name="T16" fmla="*/ 506 w 538"/>
              <a:gd name="T17" fmla="*/ 648 h 654"/>
              <a:gd name="T18" fmla="*/ 520 w 538"/>
              <a:gd name="T19" fmla="*/ 643 h 654"/>
              <a:gd name="T20" fmla="*/ 507 w 538"/>
              <a:gd name="T21" fmla="*/ 648 h 654"/>
              <a:gd name="T22" fmla="*/ 520 w 538"/>
              <a:gd name="T23" fmla="*/ 643 h 654"/>
              <a:gd name="T24" fmla="*/ 520 w 538"/>
              <a:gd name="T25" fmla="*/ 643 h 654"/>
              <a:gd name="T26" fmla="*/ 520 w 538"/>
              <a:gd name="T27" fmla="*/ 643 h 654"/>
              <a:gd name="T28" fmla="*/ 520 w 538"/>
              <a:gd name="T29" fmla="*/ 643 h 654"/>
              <a:gd name="T30" fmla="*/ 520 w 538"/>
              <a:gd name="T31" fmla="*/ 643 h 654"/>
              <a:gd name="T32" fmla="*/ 512 w 538"/>
              <a:gd name="T33" fmla="*/ 352 h 654"/>
              <a:gd name="T34" fmla="*/ 396 w 538"/>
              <a:gd name="T35" fmla="*/ 575 h 654"/>
              <a:gd name="T36" fmla="*/ 390 w 538"/>
              <a:gd name="T37" fmla="*/ 580 h 654"/>
              <a:gd name="T38" fmla="*/ 390 w 538"/>
              <a:gd name="T39" fmla="*/ 580 h 654"/>
              <a:gd name="T40" fmla="*/ 396 w 538"/>
              <a:gd name="T41" fmla="*/ 575 h 654"/>
              <a:gd name="T42" fmla="*/ 512 w 538"/>
              <a:gd name="T43" fmla="*/ 352 h 654"/>
              <a:gd name="T44" fmla="*/ 512 w 538"/>
              <a:gd name="T45" fmla="*/ 352 h 654"/>
              <a:gd name="T46" fmla="*/ 518 w 538"/>
              <a:gd name="T47" fmla="*/ 163 h 654"/>
              <a:gd name="T48" fmla="*/ 519 w 538"/>
              <a:gd name="T49" fmla="*/ 163 h 654"/>
              <a:gd name="T50" fmla="*/ 518 w 538"/>
              <a:gd name="T51" fmla="*/ 163 h 654"/>
              <a:gd name="T52" fmla="*/ 518 w 538"/>
              <a:gd name="T53" fmla="*/ 163 h 654"/>
              <a:gd name="T54" fmla="*/ 518 w 538"/>
              <a:gd name="T55" fmla="*/ 163 h 654"/>
              <a:gd name="T56" fmla="*/ 518 w 538"/>
              <a:gd name="T57" fmla="*/ 163 h 654"/>
              <a:gd name="T58" fmla="*/ 437 w 538"/>
              <a:gd name="T59" fmla="*/ 55 h 654"/>
              <a:gd name="T60" fmla="*/ 471 w 538"/>
              <a:gd name="T61" fmla="*/ 91 h 654"/>
              <a:gd name="T62" fmla="*/ 518 w 538"/>
              <a:gd name="T63" fmla="*/ 162 h 654"/>
              <a:gd name="T64" fmla="*/ 471 w 538"/>
              <a:gd name="T65" fmla="*/ 91 h 654"/>
              <a:gd name="T66" fmla="*/ 437 w 538"/>
              <a:gd name="T67" fmla="*/ 55 h 654"/>
              <a:gd name="T68" fmla="*/ 188 w 538"/>
              <a:gd name="T69" fmla="*/ 0 h 654"/>
              <a:gd name="T70" fmla="*/ 0 w 538"/>
              <a:gd name="T71" fmla="*/ 61 h 654"/>
              <a:gd name="T72" fmla="*/ 0 w 538"/>
              <a:gd name="T73" fmla="*/ 61 h 654"/>
              <a:gd name="T74" fmla="*/ 188 w 538"/>
              <a:gd name="T75" fmla="*/ 0 h 654"/>
              <a:gd name="T76" fmla="*/ 188 w 538"/>
              <a:gd name="T77" fmla="*/ 0 h 654"/>
              <a:gd name="T78" fmla="*/ 188 w 538"/>
              <a:gd name="T79" fmla="*/ 0 h 654"/>
              <a:gd name="T80" fmla="*/ 188 w 538"/>
              <a:gd name="T81" fmla="*/ 0 h 654"/>
              <a:gd name="T82" fmla="*/ 188 w 538"/>
              <a:gd name="T83"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8" h="654">
                <a:moveTo>
                  <a:pt x="537" y="652"/>
                </a:moveTo>
                <a:cubicBezTo>
                  <a:pt x="537" y="652"/>
                  <a:pt x="537" y="652"/>
                  <a:pt x="538" y="652"/>
                </a:cubicBezTo>
                <a:cubicBezTo>
                  <a:pt x="537" y="652"/>
                  <a:pt x="537" y="652"/>
                  <a:pt x="537" y="652"/>
                </a:cubicBezTo>
                <a:moveTo>
                  <a:pt x="506" y="648"/>
                </a:moveTo>
                <a:cubicBezTo>
                  <a:pt x="506" y="648"/>
                  <a:pt x="506" y="648"/>
                  <a:pt x="506" y="648"/>
                </a:cubicBezTo>
                <a:cubicBezTo>
                  <a:pt x="499" y="654"/>
                  <a:pt x="499" y="654"/>
                  <a:pt x="499" y="654"/>
                </a:cubicBezTo>
                <a:cubicBezTo>
                  <a:pt x="499" y="654"/>
                  <a:pt x="499" y="654"/>
                  <a:pt x="499" y="654"/>
                </a:cubicBezTo>
                <a:cubicBezTo>
                  <a:pt x="506" y="648"/>
                  <a:pt x="506" y="648"/>
                  <a:pt x="506" y="648"/>
                </a:cubicBezTo>
                <a:cubicBezTo>
                  <a:pt x="506" y="648"/>
                  <a:pt x="506" y="648"/>
                  <a:pt x="506" y="648"/>
                </a:cubicBezTo>
                <a:moveTo>
                  <a:pt x="520" y="643"/>
                </a:moveTo>
                <a:cubicBezTo>
                  <a:pt x="515" y="643"/>
                  <a:pt x="511" y="645"/>
                  <a:pt x="507" y="648"/>
                </a:cubicBezTo>
                <a:cubicBezTo>
                  <a:pt x="511" y="645"/>
                  <a:pt x="515" y="643"/>
                  <a:pt x="520" y="643"/>
                </a:cubicBezTo>
                <a:moveTo>
                  <a:pt x="520" y="643"/>
                </a:moveTo>
                <a:cubicBezTo>
                  <a:pt x="520" y="643"/>
                  <a:pt x="520" y="643"/>
                  <a:pt x="520" y="643"/>
                </a:cubicBezTo>
                <a:cubicBezTo>
                  <a:pt x="520" y="643"/>
                  <a:pt x="520" y="643"/>
                  <a:pt x="520" y="643"/>
                </a:cubicBezTo>
                <a:cubicBezTo>
                  <a:pt x="520" y="643"/>
                  <a:pt x="520" y="643"/>
                  <a:pt x="520" y="643"/>
                </a:cubicBezTo>
                <a:moveTo>
                  <a:pt x="512" y="352"/>
                </a:moveTo>
                <a:cubicBezTo>
                  <a:pt x="506" y="436"/>
                  <a:pt x="466" y="517"/>
                  <a:pt x="396" y="575"/>
                </a:cubicBezTo>
                <a:cubicBezTo>
                  <a:pt x="394" y="577"/>
                  <a:pt x="392" y="579"/>
                  <a:pt x="390" y="580"/>
                </a:cubicBezTo>
                <a:cubicBezTo>
                  <a:pt x="390" y="580"/>
                  <a:pt x="390" y="580"/>
                  <a:pt x="390" y="580"/>
                </a:cubicBezTo>
                <a:cubicBezTo>
                  <a:pt x="392" y="579"/>
                  <a:pt x="394" y="577"/>
                  <a:pt x="396" y="575"/>
                </a:cubicBezTo>
                <a:cubicBezTo>
                  <a:pt x="466" y="517"/>
                  <a:pt x="506" y="436"/>
                  <a:pt x="512" y="352"/>
                </a:cubicBezTo>
                <a:cubicBezTo>
                  <a:pt x="512" y="352"/>
                  <a:pt x="512" y="352"/>
                  <a:pt x="512" y="352"/>
                </a:cubicBezTo>
                <a:moveTo>
                  <a:pt x="518" y="163"/>
                </a:moveTo>
                <a:cubicBezTo>
                  <a:pt x="518" y="163"/>
                  <a:pt x="518" y="163"/>
                  <a:pt x="519" y="163"/>
                </a:cubicBezTo>
                <a:cubicBezTo>
                  <a:pt x="518" y="163"/>
                  <a:pt x="518" y="163"/>
                  <a:pt x="518" y="163"/>
                </a:cubicBezTo>
                <a:moveTo>
                  <a:pt x="518" y="163"/>
                </a:moveTo>
                <a:cubicBezTo>
                  <a:pt x="518" y="163"/>
                  <a:pt x="518" y="163"/>
                  <a:pt x="518" y="163"/>
                </a:cubicBezTo>
                <a:cubicBezTo>
                  <a:pt x="518" y="163"/>
                  <a:pt x="518" y="163"/>
                  <a:pt x="518" y="163"/>
                </a:cubicBezTo>
                <a:moveTo>
                  <a:pt x="437" y="55"/>
                </a:moveTo>
                <a:cubicBezTo>
                  <a:pt x="449" y="66"/>
                  <a:pt x="461" y="78"/>
                  <a:pt x="471" y="91"/>
                </a:cubicBezTo>
                <a:cubicBezTo>
                  <a:pt x="490" y="113"/>
                  <a:pt x="506" y="137"/>
                  <a:pt x="518" y="162"/>
                </a:cubicBezTo>
                <a:cubicBezTo>
                  <a:pt x="506" y="137"/>
                  <a:pt x="490" y="113"/>
                  <a:pt x="471" y="91"/>
                </a:cubicBezTo>
                <a:cubicBezTo>
                  <a:pt x="461" y="78"/>
                  <a:pt x="449" y="66"/>
                  <a:pt x="437" y="55"/>
                </a:cubicBezTo>
                <a:moveTo>
                  <a:pt x="188" y="0"/>
                </a:moveTo>
                <a:cubicBezTo>
                  <a:pt x="123" y="0"/>
                  <a:pt x="56" y="20"/>
                  <a:pt x="0" y="61"/>
                </a:cubicBezTo>
                <a:cubicBezTo>
                  <a:pt x="0" y="61"/>
                  <a:pt x="0" y="61"/>
                  <a:pt x="0" y="61"/>
                </a:cubicBezTo>
                <a:cubicBezTo>
                  <a:pt x="56" y="20"/>
                  <a:pt x="123" y="0"/>
                  <a:pt x="188" y="0"/>
                </a:cubicBezTo>
                <a:moveTo>
                  <a:pt x="188" y="0"/>
                </a:moveTo>
                <a:cubicBezTo>
                  <a:pt x="188" y="0"/>
                  <a:pt x="188" y="0"/>
                  <a:pt x="188" y="0"/>
                </a:cubicBezTo>
                <a:cubicBezTo>
                  <a:pt x="188" y="0"/>
                  <a:pt x="188" y="0"/>
                  <a:pt x="188" y="0"/>
                </a:cubicBezTo>
                <a:cubicBezTo>
                  <a:pt x="188" y="0"/>
                  <a:pt x="188" y="0"/>
                  <a:pt x="188" y="0"/>
                </a:cubicBezTo>
              </a:path>
            </a:pathLst>
          </a:custGeom>
          <a:solidFill>
            <a:srgbClr val="00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1" name="Freeform 738">
            <a:extLst>
              <a:ext uri="{FF2B5EF4-FFF2-40B4-BE49-F238E27FC236}">
                <a16:creationId xmlns:a16="http://schemas.microsoft.com/office/drawing/2014/main" id="{839FADF9-D774-4DC4-A32D-7D8E09BD4081}"/>
              </a:ext>
            </a:extLst>
          </p:cNvPr>
          <p:cNvSpPr>
            <a:spLocks/>
          </p:cNvSpPr>
          <p:nvPr/>
        </p:nvSpPr>
        <p:spPr bwMode="auto">
          <a:xfrm>
            <a:off x="10102850" y="4483100"/>
            <a:ext cx="180975" cy="201613"/>
          </a:xfrm>
          <a:custGeom>
            <a:avLst/>
            <a:gdLst>
              <a:gd name="T0" fmla="*/ 33 w 84"/>
              <a:gd name="T1" fmla="*/ 0 h 94"/>
              <a:gd name="T2" fmla="*/ 8 w 84"/>
              <a:gd name="T3" fmla="*/ 22 h 94"/>
              <a:gd name="T4" fmla="*/ 0 w 84"/>
              <a:gd name="T5" fmla="*/ 28 h 94"/>
              <a:gd name="T6" fmla="*/ 49 w 84"/>
              <a:gd name="T7" fmla="*/ 94 h 94"/>
              <a:gd name="T8" fmla="*/ 84 w 84"/>
              <a:gd name="T9" fmla="*/ 68 h 94"/>
              <a:gd name="T10" fmla="*/ 84 w 84"/>
              <a:gd name="T11" fmla="*/ 68 h 94"/>
              <a:gd name="T12" fmla="*/ 84 w 84"/>
              <a:gd name="T13" fmla="*/ 68 h 94"/>
              <a:gd name="T14" fmla="*/ 33 w 84"/>
              <a:gd name="T15" fmla="*/ 0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94">
                <a:moveTo>
                  <a:pt x="33" y="0"/>
                </a:moveTo>
                <a:cubicBezTo>
                  <a:pt x="25" y="8"/>
                  <a:pt x="17" y="15"/>
                  <a:pt x="8" y="22"/>
                </a:cubicBezTo>
                <a:cubicBezTo>
                  <a:pt x="6" y="24"/>
                  <a:pt x="3" y="26"/>
                  <a:pt x="0" y="28"/>
                </a:cubicBezTo>
                <a:cubicBezTo>
                  <a:pt x="49" y="94"/>
                  <a:pt x="49" y="94"/>
                  <a:pt x="49" y="94"/>
                </a:cubicBezTo>
                <a:cubicBezTo>
                  <a:pt x="84" y="68"/>
                  <a:pt x="84" y="68"/>
                  <a:pt x="84" y="68"/>
                </a:cubicBezTo>
                <a:cubicBezTo>
                  <a:pt x="84" y="68"/>
                  <a:pt x="84" y="68"/>
                  <a:pt x="84" y="68"/>
                </a:cubicBezTo>
                <a:cubicBezTo>
                  <a:pt x="84" y="68"/>
                  <a:pt x="84" y="68"/>
                  <a:pt x="84" y="68"/>
                </a:cubicBezTo>
                <a:cubicBezTo>
                  <a:pt x="33" y="0"/>
                  <a:pt x="33" y="0"/>
                  <a:pt x="33"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2" name="Freeform 739">
            <a:extLst>
              <a:ext uri="{FF2B5EF4-FFF2-40B4-BE49-F238E27FC236}">
                <a16:creationId xmlns:a16="http://schemas.microsoft.com/office/drawing/2014/main" id="{0247F8C1-E265-4B70-9A30-D2FB0B5BB0F4}"/>
              </a:ext>
            </a:extLst>
          </p:cNvPr>
          <p:cNvSpPr>
            <a:spLocks/>
          </p:cNvSpPr>
          <p:nvPr/>
        </p:nvSpPr>
        <p:spPr bwMode="auto">
          <a:xfrm>
            <a:off x="9153525" y="3133725"/>
            <a:ext cx="1319213" cy="1409700"/>
          </a:xfrm>
          <a:custGeom>
            <a:avLst/>
            <a:gdLst>
              <a:gd name="T0" fmla="*/ 214 w 613"/>
              <a:gd name="T1" fmla="*/ 0 h 656"/>
              <a:gd name="T2" fmla="*/ 0 w 613"/>
              <a:gd name="T3" fmla="*/ 69 h 656"/>
              <a:gd name="T4" fmla="*/ 26 w 613"/>
              <a:gd name="T5" fmla="*/ 103 h 656"/>
              <a:gd name="T6" fmla="*/ 214 w 613"/>
              <a:gd name="T7" fmla="*/ 42 h 656"/>
              <a:gd name="T8" fmla="*/ 214 w 613"/>
              <a:gd name="T9" fmla="*/ 42 h 656"/>
              <a:gd name="T10" fmla="*/ 214 w 613"/>
              <a:gd name="T11" fmla="*/ 42 h 656"/>
              <a:gd name="T12" fmla="*/ 214 w 613"/>
              <a:gd name="T13" fmla="*/ 42 h 656"/>
              <a:gd name="T14" fmla="*/ 214 w 613"/>
              <a:gd name="T15" fmla="*/ 42 h 656"/>
              <a:gd name="T16" fmla="*/ 426 w 613"/>
              <a:gd name="T17" fmla="*/ 120 h 656"/>
              <a:gd name="T18" fmla="*/ 465 w 613"/>
              <a:gd name="T19" fmla="*/ 160 h 656"/>
              <a:gd name="T20" fmla="*/ 539 w 613"/>
              <a:gd name="T21" fmla="*/ 367 h 656"/>
              <a:gd name="T22" fmla="*/ 539 w 613"/>
              <a:gd name="T23" fmla="*/ 367 h 656"/>
              <a:gd name="T24" fmla="*/ 538 w 613"/>
              <a:gd name="T25" fmla="*/ 394 h 656"/>
              <a:gd name="T26" fmla="*/ 422 w 613"/>
              <a:gd name="T27" fmla="*/ 617 h 656"/>
              <a:gd name="T28" fmla="*/ 416 w 613"/>
              <a:gd name="T29" fmla="*/ 622 h 656"/>
              <a:gd name="T30" fmla="*/ 441 w 613"/>
              <a:gd name="T31" fmla="*/ 656 h 656"/>
              <a:gd name="T32" fmla="*/ 449 w 613"/>
              <a:gd name="T33" fmla="*/ 650 h 656"/>
              <a:gd name="T34" fmla="*/ 474 w 613"/>
              <a:gd name="T35" fmla="*/ 628 h 656"/>
              <a:gd name="T36" fmla="*/ 474 w 613"/>
              <a:gd name="T37" fmla="*/ 628 h 656"/>
              <a:gd name="T38" fmla="*/ 545 w 613"/>
              <a:gd name="T39" fmla="*/ 205 h 656"/>
              <a:gd name="T40" fmla="*/ 544 w 613"/>
              <a:gd name="T41" fmla="*/ 205 h 656"/>
              <a:gd name="T42" fmla="*/ 544 w 613"/>
              <a:gd name="T43" fmla="*/ 205 h 656"/>
              <a:gd name="T44" fmla="*/ 544 w 613"/>
              <a:gd name="T45" fmla="*/ 205 h 656"/>
              <a:gd name="T46" fmla="*/ 544 w 613"/>
              <a:gd name="T47" fmla="*/ 204 h 656"/>
              <a:gd name="T48" fmla="*/ 497 w 613"/>
              <a:gd name="T49" fmla="*/ 133 h 656"/>
              <a:gd name="T50" fmla="*/ 463 w 613"/>
              <a:gd name="T51" fmla="*/ 97 h 656"/>
              <a:gd name="T52" fmla="*/ 214 w 613"/>
              <a:gd name="T53" fmla="*/ 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3" h="656">
                <a:moveTo>
                  <a:pt x="214" y="0"/>
                </a:moveTo>
                <a:cubicBezTo>
                  <a:pt x="140" y="0"/>
                  <a:pt x="65" y="22"/>
                  <a:pt x="0" y="69"/>
                </a:cubicBezTo>
                <a:cubicBezTo>
                  <a:pt x="26" y="103"/>
                  <a:pt x="26" y="103"/>
                  <a:pt x="26" y="103"/>
                </a:cubicBezTo>
                <a:cubicBezTo>
                  <a:pt x="82" y="62"/>
                  <a:pt x="149" y="42"/>
                  <a:pt x="214" y="42"/>
                </a:cubicBezTo>
                <a:cubicBezTo>
                  <a:pt x="214" y="42"/>
                  <a:pt x="214" y="42"/>
                  <a:pt x="214" y="42"/>
                </a:cubicBezTo>
                <a:cubicBezTo>
                  <a:pt x="214" y="42"/>
                  <a:pt x="214" y="42"/>
                  <a:pt x="214" y="42"/>
                </a:cubicBezTo>
                <a:cubicBezTo>
                  <a:pt x="214" y="42"/>
                  <a:pt x="214" y="42"/>
                  <a:pt x="214" y="42"/>
                </a:cubicBezTo>
                <a:cubicBezTo>
                  <a:pt x="214" y="42"/>
                  <a:pt x="214" y="42"/>
                  <a:pt x="214" y="42"/>
                </a:cubicBezTo>
                <a:cubicBezTo>
                  <a:pt x="290" y="42"/>
                  <a:pt x="365" y="69"/>
                  <a:pt x="426" y="120"/>
                </a:cubicBezTo>
                <a:cubicBezTo>
                  <a:pt x="439" y="132"/>
                  <a:pt x="453" y="145"/>
                  <a:pt x="465" y="160"/>
                </a:cubicBezTo>
                <a:cubicBezTo>
                  <a:pt x="515" y="220"/>
                  <a:pt x="540" y="294"/>
                  <a:pt x="539" y="367"/>
                </a:cubicBezTo>
                <a:cubicBezTo>
                  <a:pt x="539" y="367"/>
                  <a:pt x="539" y="367"/>
                  <a:pt x="539" y="367"/>
                </a:cubicBezTo>
                <a:cubicBezTo>
                  <a:pt x="539" y="376"/>
                  <a:pt x="539" y="385"/>
                  <a:pt x="538" y="394"/>
                </a:cubicBezTo>
                <a:cubicBezTo>
                  <a:pt x="532" y="478"/>
                  <a:pt x="492" y="559"/>
                  <a:pt x="422" y="617"/>
                </a:cubicBezTo>
                <a:cubicBezTo>
                  <a:pt x="420" y="619"/>
                  <a:pt x="418" y="621"/>
                  <a:pt x="416" y="622"/>
                </a:cubicBezTo>
                <a:cubicBezTo>
                  <a:pt x="441" y="656"/>
                  <a:pt x="441" y="656"/>
                  <a:pt x="441" y="656"/>
                </a:cubicBezTo>
                <a:cubicBezTo>
                  <a:pt x="444" y="654"/>
                  <a:pt x="447" y="652"/>
                  <a:pt x="449" y="650"/>
                </a:cubicBezTo>
                <a:cubicBezTo>
                  <a:pt x="458" y="643"/>
                  <a:pt x="466" y="636"/>
                  <a:pt x="474" y="628"/>
                </a:cubicBezTo>
                <a:cubicBezTo>
                  <a:pt x="474" y="628"/>
                  <a:pt x="474" y="628"/>
                  <a:pt x="474" y="628"/>
                </a:cubicBezTo>
                <a:cubicBezTo>
                  <a:pt x="587" y="516"/>
                  <a:pt x="613" y="345"/>
                  <a:pt x="545" y="205"/>
                </a:cubicBezTo>
                <a:cubicBezTo>
                  <a:pt x="544" y="205"/>
                  <a:pt x="544" y="205"/>
                  <a:pt x="544" y="205"/>
                </a:cubicBezTo>
                <a:cubicBezTo>
                  <a:pt x="544" y="205"/>
                  <a:pt x="544" y="205"/>
                  <a:pt x="544" y="205"/>
                </a:cubicBezTo>
                <a:cubicBezTo>
                  <a:pt x="544" y="205"/>
                  <a:pt x="544" y="205"/>
                  <a:pt x="544" y="205"/>
                </a:cubicBezTo>
                <a:cubicBezTo>
                  <a:pt x="544" y="204"/>
                  <a:pt x="544" y="204"/>
                  <a:pt x="544" y="204"/>
                </a:cubicBezTo>
                <a:cubicBezTo>
                  <a:pt x="532" y="179"/>
                  <a:pt x="516" y="155"/>
                  <a:pt x="497" y="133"/>
                </a:cubicBezTo>
                <a:cubicBezTo>
                  <a:pt x="487" y="120"/>
                  <a:pt x="475" y="108"/>
                  <a:pt x="463" y="97"/>
                </a:cubicBezTo>
                <a:cubicBezTo>
                  <a:pt x="394" y="33"/>
                  <a:pt x="304" y="0"/>
                  <a:pt x="214"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Freeform 740">
            <a:extLst>
              <a:ext uri="{FF2B5EF4-FFF2-40B4-BE49-F238E27FC236}">
                <a16:creationId xmlns:a16="http://schemas.microsoft.com/office/drawing/2014/main" id="{5988425E-5D0B-4510-999A-F10B733DC321}"/>
              </a:ext>
            </a:extLst>
          </p:cNvPr>
          <p:cNvSpPr>
            <a:spLocks noEditPoints="1"/>
          </p:cNvSpPr>
          <p:nvPr/>
        </p:nvSpPr>
        <p:spPr bwMode="auto">
          <a:xfrm>
            <a:off x="9210675" y="3224213"/>
            <a:ext cx="1100138" cy="1246188"/>
          </a:xfrm>
          <a:custGeom>
            <a:avLst/>
            <a:gdLst>
              <a:gd name="T0" fmla="*/ 512 w 512"/>
              <a:gd name="T1" fmla="*/ 352 h 580"/>
              <a:gd name="T2" fmla="*/ 396 w 512"/>
              <a:gd name="T3" fmla="*/ 575 h 580"/>
              <a:gd name="T4" fmla="*/ 390 w 512"/>
              <a:gd name="T5" fmla="*/ 580 h 580"/>
              <a:gd name="T6" fmla="*/ 390 w 512"/>
              <a:gd name="T7" fmla="*/ 580 h 580"/>
              <a:gd name="T8" fmla="*/ 396 w 512"/>
              <a:gd name="T9" fmla="*/ 575 h 580"/>
              <a:gd name="T10" fmla="*/ 512 w 512"/>
              <a:gd name="T11" fmla="*/ 352 h 580"/>
              <a:gd name="T12" fmla="*/ 512 w 512"/>
              <a:gd name="T13" fmla="*/ 352 h 580"/>
              <a:gd name="T14" fmla="*/ 188 w 512"/>
              <a:gd name="T15" fmla="*/ 0 h 580"/>
              <a:gd name="T16" fmla="*/ 188 w 512"/>
              <a:gd name="T17" fmla="*/ 0 h 580"/>
              <a:gd name="T18" fmla="*/ 0 w 512"/>
              <a:gd name="T19" fmla="*/ 61 h 580"/>
              <a:gd name="T20" fmla="*/ 0 w 512"/>
              <a:gd name="T21" fmla="*/ 61 h 580"/>
              <a:gd name="T22" fmla="*/ 188 w 512"/>
              <a:gd name="T23" fmla="*/ 0 h 580"/>
              <a:gd name="T24" fmla="*/ 384 w 512"/>
              <a:gd name="T25" fmla="*/ 66 h 580"/>
              <a:gd name="T26" fmla="*/ 188 w 512"/>
              <a:gd name="T27" fmla="*/ 0 h 580"/>
              <a:gd name="T28" fmla="*/ 188 w 512"/>
              <a:gd name="T29"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580">
                <a:moveTo>
                  <a:pt x="512" y="352"/>
                </a:moveTo>
                <a:cubicBezTo>
                  <a:pt x="506" y="436"/>
                  <a:pt x="466" y="517"/>
                  <a:pt x="396" y="575"/>
                </a:cubicBezTo>
                <a:cubicBezTo>
                  <a:pt x="394" y="577"/>
                  <a:pt x="392" y="579"/>
                  <a:pt x="390" y="580"/>
                </a:cubicBezTo>
                <a:cubicBezTo>
                  <a:pt x="390" y="580"/>
                  <a:pt x="390" y="580"/>
                  <a:pt x="390" y="580"/>
                </a:cubicBezTo>
                <a:cubicBezTo>
                  <a:pt x="392" y="579"/>
                  <a:pt x="394" y="577"/>
                  <a:pt x="396" y="575"/>
                </a:cubicBezTo>
                <a:cubicBezTo>
                  <a:pt x="466" y="517"/>
                  <a:pt x="506" y="436"/>
                  <a:pt x="512" y="352"/>
                </a:cubicBezTo>
                <a:cubicBezTo>
                  <a:pt x="512" y="352"/>
                  <a:pt x="512" y="352"/>
                  <a:pt x="512" y="352"/>
                </a:cubicBezTo>
                <a:moveTo>
                  <a:pt x="188" y="0"/>
                </a:moveTo>
                <a:cubicBezTo>
                  <a:pt x="188" y="0"/>
                  <a:pt x="188" y="0"/>
                  <a:pt x="188" y="0"/>
                </a:cubicBezTo>
                <a:cubicBezTo>
                  <a:pt x="123" y="0"/>
                  <a:pt x="56" y="20"/>
                  <a:pt x="0" y="61"/>
                </a:cubicBezTo>
                <a:cubicBezTo>
                  <a:pt x="0" y="61"/>
                  <a:pt x="0" y="61"/>
                  <a:pt x="0" y="61"/>
                </a:cubicBezTo>
                <a:cubicBezTo>
                  <a:pt x="57" y="20"/>
                  <a:pt x="123" y="0"/>
                  <a:pt x="188" y="0"/>
                </a:cubicBezTo>
                <a:cubicBezTo>
                  <a:pt x="258" y="0"/>
                  <a:pt x="327" y="22"/>
                  <a:pt x="384" y="66"/>
                </a:cubicBezTo>
                <a:cubicBezTo>
                  <a:pt x="327" y="22"/>
                  <a:pt x="258" y="0"/>
                  <a:pt x="188" y="0"/>
                </a:cubicBezTo>
                <a:cubicBezTo>
                  <a:pt x="188" y="0"/>
                  <a:pt x="188" y="0"/>
                  <a:pt x="188" y="0"/>
                </a:cubicBezTo>
              </a:path>
            </a:pathLst>
          </a:custGeom>
          <a:solidFill>
            <a:srgbClr val="00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4" name="Freeform 741">
            <a:extLst>
              <a:ext uri="{FF2B5EF4-FFF2-40B4-BE49-F238E27FC236}">
                <a16:creationId xmlns:a16="http://schemas.microsoft.com/office/drawing/2014/main" id="{BD848C75-0C1B-4397-8508-8B0A88B070CE}"/>
              </a:ext>
            </a:extLst>
          </p:cNvPr>
          <p:cNvSpPr>
            <a:spLocks/>
          </p:cNvSpPr>
          <p:nvPr/>
        </p:nvSpPr>
        <p:spPr bwMode="auto">
          <a:xfrm>
            <a:off x="10310813" y="3922713"/>
            <a:ext cx="3175" cy="57150"/>
          </a:xfrm>
          <a:custGeom>
            <a:avLst/>
            <a:gdLst>
              <a:gd name="T0" fmla="*/ 1 w 1"/>
              <a:gd name="T1" fmla="*/ 0 h 27"/>
              <a:gd name="T2" fmla="*/ 0 w 1"/>
              <a:gd name="T3" fmla="*/ 27 h 27"/>
              <a:gd name="T4" fmla="*/ 0 w 1"/>
              <a:gd name="T5" fmla="*/ 27 h 27"/>
              <a:gd name="T6" fmla="*/ 1 w 1"/>
              <a:gd name="T7" fmla="*/ 0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cubicBezTo>
                  <a:pt x="1" y="9"/>
                  <a:pt x="1" y="18"/>
                  <a:pt x="0" y="27"/>
                </a:cubicBezTo>
                <a:cubicBezTo>
                  <a:pt x="0" y="27"/>
                  <a:pt x="0" y="27"/>
                  <a:pt x="0" y="27"/>
                </a:cubicBezTo>
                <a:cubicBezTo>
                  <a:pt x="1" y="18"/>
                  <a:pt x="1" y="9"/>
                  <a:pt x="1" y="0"/>
                </a:cubicBezTo>
                <a:cubicBezTo>
                  <a:pt x="1" y="0"/>
                  <a:pt x="1" y="0"/>
                  <a:pt x="1" y="0"/>
                </a:cubicBezTo>
              </a:path>
            </a:pathLst>
          </a:custGeom>
          <a:solidFill>
            <a:srgbClr val="00B8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5" name="Freeform 742">
            <a:extLst>
              <a:ext uri="{FF2B5EF4-FFF2-40B4-BE49-F238E27FC236}">
                <a16:creationId xmlns:a16="http://schemas.microsoft.com/office/drawing/2014/main" id="{223E5F31-4EAC-4B27-BB01-F787FC1DD344}"/>
              </a:ext>
            </a:extLst>
          </p:cNvPr>
          <p:cNvSpPr>
            <a:spLocks noEditPoints="1"/>
          </p:cNvSpPr>
          <p:nvPr/>
        </p:nvSpPr>
        <p:spPr bwMode="auto">
          <a:xfrm>
            <a:off x="9613900" y="3224213"/>
            <a:ext cx="700088" cy="698500"/>
          </a:xfrm>
          <a:custGeom>
            <a:avLst/>
            <a:gdLst>
              <a:gd name="T0" fmla="*/ 325 w 325"/>
              <a:gd name="T1" fmla="*/ 325 h 325"/>
              <a:gd name="T2" fmla="*/ 325 w 325"/>
              <a:gd name="T3" fmla="*/ 325 h 325"/>
              <a:gd name="T4" fmla="*/ 325 w 325"/>
              <a:gd name="T5" fmla="*/ 325 h 325"/>
              <a:gd name="T6" fmla="*/ 325 w 325"/>
              <a:gd name="T7" fmla="*/ 325 h 325"/>
              <a:gd name="T8" fmla="*/ 0 w 325"/>
              <a:gd name="T9" fmla="*/ 0 h 325"/>
              <a:gd name="T10" fmla="*/ 196 w 325"/>
              <a:gd name="T11" fmla="*/ 66 h 325"/>
              <a:gd name="T12" fmla="*/ 212 w 325"/>
              <a:gd name="T13" fmla="*/ 78 h 325"/>
              <a:gd name="T14" fmla="*/ 0 w 325"/>
              <a:gd name="T15" fmla="*/ 0 h 325"/>
              <a:gd name="T16" fmla="*/ 0 w 325"/>
              <a:gd name="T17" fmla="*/ 0 h 325"/>
              <a:gd name="T18" fmla="*/ 0 w 325"/>
              <a:gd name="T19" fmla="*/ 0 h 325"/>
              <a:gd name="T20" fmla="*/ 0 w 325"/>
              <a:gd name="T21" fmla="*/ 0 h 325"/>
              <a:gd name="T22" fmla="*/ 0 w 325"/>
              <a:gd name="T23"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5" h="325">
                <a:moveTo>
                  <a:pt x="325" y="325"/>
                </a:moveTo>
                <a:cubicBezTo>
                  <a:pt x="325" y="325"/>
                  <a:pt x="325" y="325"/>
                  <a:pt x="325" y="325"/>
                </a:cubicBezTo>
                <a:cubicBezTo>
                  <a:pt x="325" y="325"/>
                  <a:pt x="325" y="325"/>
                  <a:pt x="325" y="325"/>
                </a:cubicBezTo>
                <a:cubicBezTo>
                  <a:pt x="325" y="325"/>
                  <a:pt x="325" y="325"/>
                  <a:pt x="325" y="325"/>
                </a:cubicBezTo>
                <a:moveTo>
                  <a:pt x="0" y="0"/>
                </a:moveTo>
                <a:cubicBezTo>
                  <a:pt x="70" y="0"/>
                  <a:pt x="139" y="22"/>
                  <a:pt x="196" y="66"/>
                </a:cubicBezTo>
                <a:cubicBezTo>
                  <a:pt x="202" y="70"/>
                  <a:pt x="207" y="74"/>
                  <a:pt x="212" y="78"/>
                </a:cubicBezTo>
                <a:cubicBezTo>
                  <a:pt x="151" y="27"/>
                  <a:pt x="76" y="0"/>
                  <a:pt x="0" y="0"/>
                </a:cubicBezTo>
                <a:moveTo>
                  <a:pt x="0" y="0"/>
                </a:moveTo>
                <a:cubicBezTo>
                  <a:pt x="0" y="0"/>
                  <a:pt x="0" y="0"/>
                  <a:pt x="0" y="0"/>
                </a:cubicBezTo>
                <a:cubicBezTo>
                  <a:pt x="0" y="0"/>
                  <a:pt x="0" y="0"/>
                  <a:pt x="0" y="0"/>
                </a:cubicBezTo>
                <a:cubicBezTo>
                  <a:pt x="0" y="0"/>
                  <a:pt x="0" y="0"/>
                  <a:pt x="0" y="0"/>
                </a:cubicBezTo>
              </a:path>
            </a:pathLst>
          </a:custGeom>
          <a:solidFill>
            <a:srgbClr val="1628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6" name="Freeform 743">
            <a:extLst>
              <a:ext uri="{FF2B5EF4-FFF2-40B4-BE49-F238E27FC236}">
                <a16:creationId xmlns:a16="http://schemas.microsoft.com/office/drawing/2014/main" id="{803DCF91-8838-49AD-BECE-D974EF9ED51B}"/>
              </a:ext>
            </a:extLst>
          </p:cNvPr>
          <p:cNvSpPr>
            <a:spLocks/>
          </p:cNvSpPr>
          <p:nvPr/>
        </p:nvSpPr>
        <p:spPr bwMode="auto">
          <a:xfrm>
            <a:off x="10207625" y="4605338"/>
            <a:ext cx="563563" cy="560388"/>
          </a:xfrm>
          <a:custGeom>
            <a:avLst/>
            <a:gdLst>
              <a:gd name="T0" fmla="*/ 56 w 262"/>
              <a:gd name="T1" fmla="*/ 0 h 261"/>
              <a:gd name="T2" fmla="*/ 56 w 262"/>
              <a:gd name="T3" fmla="*/ 0 h 261"/>
              <a:gd name="T4" fmla="*/ 43 w 262"/>
              <a:gd name="T5" fmla="*/ 5 h 261"/>
              <a:gd name="T6" fmla="*/ 42 w 262"/>
              <a:gd name="T7" fmla="*/ 5 h 261"/>
              <a:gd name="T8" fmla="*/ 42 w 262"/>
              <a:gd name="T9" fmla="*/ 5 h 261"/>
              <a:gd name="T10" fmla="*/ 35 w 262"/>
              <a:gd name="T11" fmla="*/ 11 h 261"/>
              <a:gd name="T12" fmla="*/ 0 w 262"/>
              <a:gd name="T13" fmla="*/ 37 h 261"/>
              <a:gd name="T14" fmla="*/ 65 w 262"/>
              <a:gd name="T15" fmla="*/ 123 h 261"/>
              <a:gd name="T16" fmla="*/ 83 w 262"/>
              <a:gd name="T17" fmla="*/ 119 h 261"/>
              <a:gd name="T18" fmla="*/ 89 w 262"/>
              <a:gd name="T19" fmla="*/ 120 h 261"/>
              <a:gd name="T20" fmla="*/ 173 w 262"/>
              <a:gd name="T21" fmla="*/ 169 h 261"/>
              <a:gd name="T22" fmla="*/ 262 w 262"/>
              <a:gd name="T23" fmla="*/ 261 h 261"/>
              <a:gd name="T24" fmla="*/ 235 w 262"/>
              <a:gd name="T25" fmla="*/ 225 h 261"/>
              <a:gd name="T26" fmla="*/ 227 w 262"/>
              <a:gd name="T27" fmla="*/ 214 h 261"/>
              <a:gd name="T28" fmla="*/ 221 w 262"/>
              <a:gd name="T29" fmla="*/ 205 h 261"/>
              <a:gd name="T30" fmla="*/ 147 w 262"/>
              <a:gd name="T31" fmla="*/ 108 h 261"/>
              <a:gd name="T32" fmla="*/ 145 w 262"/>
              <a:gd name="T33" fmla="*/ 104 h 261"/>
              <a:gd name="T34" fmla="*/ 123 w 262"/>
              <a:gd name="T35" fmla="*/ 76 h 261"/>
              <a:gd name="T36" fmla="*/ 74 w 262"/>
              <a:gd name="T37" fmla="*/ 9 h 261"/>
              <a:gd name="T38" fmla="*/ 74 w 262"/>
              <a:gd name="T39" fmla="*/ 9 h 261"/>
              <a:gd name="T40" fmla="*/ 74 w 262"/>
              <a:gd name="T41" fmla="*/ 9 h 261"/>
              <a:gd name="T42" fmla="*/ 73 w 262"/>
              <a:gd name="T43" fmla="*/ 9 h 261"/>
              <a:gd name="T44" fmla="*/ 56 w 262"/>
              <a:gd name="T45" fmla="*/ 0 h 261"/>
              <a:gd name="T46" fmla="*/ 56 w 262"/>
              <a:gd name="T4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261">
                <a:moveTo>
                  <a:pt x="56" y="0"/>
                </a:moveTo>
                <a:cubicBezTo>
                  <a:pt x="56" y="0"/>
                  <a:pt x="56" y="0"/>
                  <a:pt x="56" y="0"/>
                </a:cubicBezTo>
                <a:cubicBezTo>
                  <a:pt x="51" y="0"/>
                  <a:pt x="47" y="2"/>
                  <a:pt x="43" y="5"/>
                </a:cubicBezTo>
                <a:cubicBezTo>
                  <a:pt x="43" y="5"/>
                  <a:pt x="42" y="5"/>
                  <a:pt x="42" y="5"/>
                </a:cubicBezTo>
                <a:cubicBezTo>
                  <a:pt x="42" y="5"/>
                  <a:pt x="42" y="5"/>
                  <a:pt x="42" y="5"/>
                </a:cubicBezTo>
                <a:cubicBezTo>
                  <a:pt x="35" y="11"/>
                  <a:pt x="35" y="11"/>
                  <a:pt x="35" y="11"/>
                </a:cubicBezTo>
                <a:cubicBezTo>
                  <a:pt x="0" y="37"/>
                  <a:pt x="0" y="37"/>
                  <a:pt x="0" y="37"/>
                </a:cubicBezTo>
                <a:cubicBezTo>
                  <a:pt x="65" y="123"/>
                  <a:pt x="65" y="123"/>
                  <a:pt x="65" y="123"/>
                </a:cubicBezTo>
                <a:cubicBezTo>
                  <a:pt x="71" y="121"/>
                  <a:pt x="77" y="119"/>
                  <a:pt x="83" y="119"/>
                </a:cubicBezTo>
                <a:cubicBezTo>
                  <a:pt x="85" y="119"/>
                  <a:pt x="87" y="119"/>
                  <a:pt x="89" y="120"/>
                </a:cubicBezTo>
                <a:cubicBezTo>
                  <a:pt x="121" y="125"/>
                  <a:pt x="151" y="147"/>
                  <a:pt x="173" y="169"/>
                </a:cubicBezTo>
                <a:cubicBezTo>
                  <a:pt x="203" y="197"/>
                  <a:pt x="225" y="237"/>
                  <a:pt x="262" y="261"/>
                </a:cubicBezTo>
                <a:cubicBezTo>
                  <a:pt x="235" y="225"/>
                  <a:pt x="235" y="225"/>
                  <a:pt x="235" y="225"/>
                </a:cubicBezTo>
                <a:cubicBezTo>
                  <a:pt x="227" y="214"/>
                  <a:pt x="227" y="214"/>
                  <a:pt x="227" y="214"/>
                </a:cubicBezTo>
                <a:cubicBezTo>
                  <a:pt x="221" y="205"/>
                  <a:pt x="221" y="205"/>
                  <a:pt x="221" y="205"/>
                </a:cubicBezTo>
                <a:cubicBezTo>
                  <a:pt x="147" y="108"/>
                  <a:pt x="147" y="108"/>
                  <a:pt x="147" y="108"/>
                </a:cubicBezTo>
                <a:cubicBezTo>
                  <a:pt x="145" y="104"/>
                  <a:pt x="145" y="104"/>
                  <a:pt x="145" y="104"/>
                </a:cubicBezTo>
                <a:cubicBezTo>
                  <a:pt x="123" y="76"/>
                  <a:pt x="123" y="76"/>
                  <a:pt x="123" y="76"/>
                </a:cubicBezTo>
                <a:cubicBezTo>
                  <a:pt x="74" y="9"/>
                  <a:pt x="74" y="9"/>
                  <a:pt x="74" y="9"/>
                </a:cubicBezTo>
                <a:cubicBezTo>
                  <a:pt x="74" y="9"/>
                  <a:pt x="74" y="9"/>
                  <a:pt x="74" y="9"/>
                </a:cubicBezTo>
                <a:cubicBezTo>
                  <a:pt x="74" y="9"/>
                  <a:pt x="74" y="9"/>
                  <a:pt x="74" y="9"/>
                </a:cubicBezTo>
                <a:cubicBezTo>
                  <a:pt x="73" y="9"/>
                  <a:pt x="73" y="9"/>
                  <a:pt x="73" y="9"/>
                </a:cubicBezTo>
                <a:cubicBezTo>
                  <a:pt x="69" y="3"/>
                  <a:pt x="62" y="0"/>
                  <a:pt x="56" y="0"/>
                </a:cubicBezTo>
                <a:cubicBezTo>
                  <a:pt x="56" y="0"/>
                  <a:pt x="56" y="0"/>
                  <a:pt x="56"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7" name="Freeform 744">
            <a:extLst>
              <a:ext uri="{FF2B5EF4-FFF2-40B4-BE49-F238E27FC236}">
                <a16:creationId xmlns:a16="http://schemas.microsoft.com/office/drawing/2014/main" id="{6727EF9C-F0C4-4222-85B9-E8FFFFC3D20F}"/>
              </a:ext>
            </a:extLst>
          </p:cNvPr>
          <p:cNvSpPr>
            <a:spLocks/>
          </p:cNvSpPr>
          <p:nvPr/>
        </p:nvSpPr>
        <p:spPr bwMode="auto">
          <a:xfrm>
            <a:off x="10277475" y="4854575"/>
            <a:ext cx="1260475" cy="1130300"/>
          </a:xfrm>
          <a:custGeom>
            <a:avLst/>
            <a:gdLst>
              <a:gd name="T0" fmla="*/ 173 w 586"/>
              <a:gd name="T1" fmla="*/ 260 h 526"/>
              <a:gd name="T2" fmla="*/ 256 w 586"/>
              <a:gd name="T3" fmla="*/ 390 h 526"/>
              <a:gd name="T4" fmla="*/ 268 w 586"/>
              <a:gd name="T5" fmla="*/ 407 h 526"/>
              <a:gd name="T6" fmla="*/ 341 w 586"/>
              <a:gd name="T7" fmla="*/ 482 h 526"/>
              <a:gd name="T8" fmla="*/ 501 w 586"/>
              <a:gd name="T9" fmla="*/ 492 h 526"/>
              <a:gd name="T10" fmla="*/ 586 w 586"/>
              <a:gd name="T11" fmla="*/ 421 h 526"/>
              <a:gd name="T12" fmla="*/ 514 w 586"/>
              <a:gd name="T13" fmla="*/ 312 h 526"/>
              <a:gd name="T14" fmla="*/ 497 w 586"/>
              <a:gd name="T15" fmla="*/ 226 h 526"/>
              <a:gd name="T16" fmla="*/ 433 w 586"/>
              <a:gd name="T17" fmla="*/ 145 h 526"/>
              <a:gd name="T18" fmla="*/ 308 w 586"/>
              <a:gd name="T19" fmla="*/ 164 h 526"/>
              <a:gd name="T20" fmla="*/ 141 w 586"/>
              <a:gd name="T21" fmla="*/ 53 h 526"/>
              <a:gd name="T22" fmla="*/ 57 w 586"/>
              <a:gd name="T23" fmla="*/ 4 h 526"/>
              <a:gd name="T24" fmla="*/ 2 w 586"/>
              <a:gd name="T25" fmla="*/ 49 h 526"/>
              <a:gd name="T26" fmla="*/ 42 w 586"/>
              <a:gd name="T27" fmla="*/ 127 h 526"/>
              <a:gd name="T28" fmla="*/ 173 w 586"/>
              <a:gd name="T29" fmla="*/ 26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6" h="526">
                <a:moveTo>
                  <a:pt x="173" y="260"/>
                </a:moveTo>
                <a:cubicBezTo>
                  <a:pt x="192" y="289"/>
                  <a:pt x="238" y="360"/>
                  <a:pt x="256" y="390"/>
                </a:cubicBezTo>
                <a:cubicBezTo>
                  <a:pt x="256" y="390"/>
                  <a:pt x="260" y="397"/>
                  <a:pt x="268" y="407"/>
                </a:cubicBezTo>
                <a:cubicBezTo>
                  <a:pt x="272" y="412"/>
                  <a:pt x="310" y="458"/>
                  <a:pt x="341" y="482"/>
                </a:cubicBezTo>
                <a:cubicBezTo>
                  <a:pt x="391" y="520"/>
                  <a:pt x="443" y="526"/>
                  <a:pt x="501" y="492"/>
                </a:cubicBezTo>
                <a:cubicBezTo>
                  <a:pt x="532" y="474"/>
                  <a:pt x="574" y="434"/>
                  <a:pt x="586" y="421"/>
                </a:cubicBezTo>
                <a:cubicBezTo>
                  <a:pt x="566" y="387"/>
                  <a:pt x="510" y="330"/>
                  <a:pt x="514" y="312"/>
                </a:cubicBezTo>
                <a:cubicBezTo>
                  <a:pt x="520" y="283"/>
                  <a:pt x="508" y="253"/>
                  <a:pt x="497" y="226"/>
                </a:cubicBezTo>
                <a:cubicBezTo>
                  <a:pt x="483" y="193"/>
                  <a:pt x="466" y="157"/>
                  <a:pt x="433" y="145"/>
                </a:cubicBezTo>
                <a:cubicBezTo>
                  <a:pt x="392" y="132"/>
                  <a:pt x="351" y="162"/>
                  <a:pt x="308" y="164"/>
                </a:cubicBezTo>
                <a:cubicBezTo>
                  <a:pt x="216" y="169"/>
                  <a:pt x="187" y="96"/>
                  <a:pt x="141" y="53"/>
                </a:cubicBezTo>
                <a:cubicBezTo>
                  <a:pt x="119" y="31"/>
                  <a:pt x="89" y="9"/>
                  <a:pt x="57" y="4"/>
                </a:cubicBezTo>
                <a:cubicBezTo>
                  <a:pt x="31" y="0"/>
                  <a:pt x="5" y="24"/>
                  <a:pt x="2" y="49"/>
                </a:cubicBezTo>
                <a:cubicBezTo>
                  <a:pt x="0" y="71"/>
                  <a:pt x="16" y="91"/>
                  <a:pt x="42" y="127"/>
                </a:cubicBezTo>
                <a:cubicBezTo>
                  <a:pt x="119" y="233"/>
                  <a:pt x="139" y="208"/>
                  <a:pt x="173" y="260"/>
                </a:cubicBezTo>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7" name="Freeform 745">
            <a:extLst>
              <a:ext uri="{FF2B5EF4-FFF2-40B4-BE49-F238E27FC236}">
                <a16:creationId xmlns:a16="http://schemas.microsoft.com/office/drawing/2014/main" id="{04ABB806-3EAE-493B-9F63-CB9BF4844C84}"/>
              </a:ext>
            </a:extLst>
          </p:cNvPr>
          <p:cNvSpPr>
            <a:spLocks/>
          </p:cNvSpPr>
          <p:nvPr/>
        </p:nvSpPr>
        <p:spPr bwMode="auto">
          <a:xfrm>
            <a:off x="11079163" y="5937250"/>
            <a:ext cx="49213" cy="28575"/>
          </a:xfrm>
          <a:custGeom>
            <a:avLst/>
            <a:gdLst>
              <a:gd name="T0" fmla="*/ 0 w 23"/>
              <a:gd name="T1" fmla="*/ 0 h 13"/>
              <a:gd name="T2" fmla="*/ 23 w 23"/>
              <a:gd name="T3" fmla="*/ 13 h 13"/>
              <a:gd name="T4" fmla="*/ 0 w 23"/>
              <a:gd name="T5" fmla="*/ 0 h 13"/>
            </a:gdLst>
            <a:ahLst/>
            <a:cxnLst>
              <a:cxn ang="0">
                <a:pos x="T0" y="T1"/>
              </a:cxn>
              <a:cxn ang="0">
                <a:pos x="T2" y="T3"/>
              </a:cxn>
              <a:cxn ang="0">
                <a:pos x="T4" y="T5"/>
              </a:cxn>
            </a:cxnLst>
            <a:rect l="0" t="0" r="r" b="b"/>
            <a:pathLst>
              <a:path w="23" h="13">
                <a:moveTo>
                  <a:pt x="0" y="0"/>
                </a:moveTo>
                <a:cubicBezTo>
                  <a:pt x="7" y="5"/>
                  <a:pt x="15" y="10"/>
                  <a:pt x="23" y="13"/>
                </a:cubicBezTo>
                <a:cubicBezTo>
                  <a:pt x="16" y="9"/>
                  <a:pt x="8" y="5"/>
                  <a:pt x="0" y="0"/>
                </a:cubicBezTo>
              </a:path>
            </a:pathLst>
          </a:custGeom>
          <a:solidFill>
            <a:srgbClr val="DEEB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8" name="Freeform 746">
            <a:extLst>
              <a:ext uri="{FF2B5EF4-FFF2-40B4-BE49-F238E27FC236}">
                <a16:creationId xmlns:a16="http://schemas.microsoft.com/office/drawing/2014/main" id="{3D1A93E6-E1AE-4ED3-B7A9-A04345F73595}"/>
              </a:ext>
            </a:extLst>
          </p:cNvPr>
          <p:cNvSpPr>
            <a:spLocks/>
          </p:cNvSpPr>
          <p:nvPr/>
        </p:nvSpPr>
        <p:spPr bwMode="auto">
          <a:xfrm>
            <a:off x="11060113" y="5924550"/>
            <a:ext cx="68263" cy="42863"/>
          </a:xfrm>
          <a:custGeom>
            <a:avLst/>
            <a:gdLst>
              <a:gd name="T0" fmla="*/ 2 w 32"/>
              <a:gd name="T1" fmla="*/ 0 h 20"/>
              <a:gd name="T2" fmla="*/ 0 w 32"/>
              <a:gd name="T3" fmla="*/ 1 h 20"/>
              <a:gd name="T4" fmla="*/ 9 w 32"/>
              <a:gd name="T5" fmla="*/ 6 h 20"/>
              <a:gd name="T6" fmla="*/ 32 w 32"/>
              <a:gd name="T7" fmla="*/ 19 h 20"/>
              <a:gd name="T8" fmla="*/ 32 w 32"/>
              <a:gd name="T9" fmla="*/ 20 h 20"/>
              <a:gd name="T10" fmla="*/ 18 w 32"/>
              <a:gd name="T11" fmla="*/ 8 h 20"/>
              <a:gd name="T12" fmla="*/ 2 w 3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2" h="20">
                <a:moveTo>
                  <a:pt x="2" y="0"/>
                </a:moveTo>
                <a:cubicBezTo>
                  <a:pt x="1" y="0"/>
                  <a:pt x="0" y="0"/>
                  <a:pt x="0" y="1"/>
                </a:cubicBezTo>
                <a:cubicBezTo>
                  <a:pt x="3" y="3"/>
                  <a:pt x="6" y="5"/>
                  <a:pt x="9" y="6"/>
                </a:cubicBezTo>
                <a:cubicBezTo>
                  <a:pt x="17" y="11"/>
                  <a:pt x="25" y="15"/>
                  <a:pt x="32" y="19"/>
                </a:cubicBezTo>
                <a:cubicBezTo>
                  <a:pt x="32" y="20"/>
                  <a:pt x="32" y="20"/>
                  <a:pt x="32" y="20"/>
                </a:cubicBezTo>
                <a:cubicBezTo>
                  <a:pt x="27" y="16"/>
                  <a:pt x="22" y="12"/>
                  <a:pt x="18" y="8"/>
                </a:cubicBezTo>
                <a:cubicBezTo>
                  <a:pt x="12" y="5"/>
                  <a:pt x="7" y="3"/>
                  <a:pt x="2"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9" name="Freeform 747">
            <a:extLst>
              <a:ext uri="{FF2B5EF4-FFF2-40B4-BE49-F238E27FC236}">
                <a16:creationId xmlns:a16="http://schemas.microsoft.com/office/drawing/2014/main" id="{EF8D835F-47A1-4252-B8FE-EABA98FF5656}"/>
              </a:ext>
            </a:extLst>
          </p:cNvPr>
          <p:cNvSpPr>
            <a:spLocks/>
          </p:cNvSpPr>
          <p:nvPr/>
        </p:nvSpPr>
        <p:spPr bwMode="auto">
          <a:xfrm>
            <a:off x="11010900" y="5889625"/>
            <a:ext cx="53975" cy="36513"/>
          </a:xfrm>
          <a:custGeom>
            <a:avLst/>
            <a:gdLst>
              <a:gd name="T0" fmla="*/ 0 w 25"/>
              <a:gd name="T1" fmla="*/ 0 h 17"/>
              <a:gd name="T2" fmla="*/ 23 w 25"/>
              <a:gd name="T3" fmla="*/ 17 h 17"/>
              <a:gd name="T4" fmla="*/ 25 w 25"/>
              <a:gd name="T5" fmla="*/ 16 h 17"/>
              <a:gd name="T6" fmla="*/ 0 w 25"/>
              <a:gd name="T7" fmla="*/ 0 h 17"/>
            </a:gdLst>
            <a:ahLst/>
            <a:cxnLst>
              <a:cxn ang="0">
                <a:pos x="T0" y="T1"/>
              </a:cxn>
              <a:cxn ang="0">
                <a:pos x="T2" y="T3"/>
              </a:cxn>
              <a:cxn ang="0">
                <a:pos x="T4" y="T5"/>
              </a:cxn>
              <a:cxn ang="0">
                <a:pos x="T6" y="T7"/>
              </a:cxn>
            </a:cxnLst>
            <a:rect l="0" t="0" r="r" b="b"/>
            <a:pathLst>
              <a:path w="25" h="17">
                <a:moveTo>
                  <a:pt x="0" y="0"/>
                </a:moveTo>
                <a:cubicBezTo>
                  <a:pt x="7" y="5"/>
                  <a:pt x="15" y="11"/>
                  <a:pt x="23" y="17"/>
                </a:cubicBezTo>
                <a:cubicBezTo>
                  <a:pt x="23" y="16"/>
                  <a:pt x="24" y="16"/>
                  <a:pt x="25" y="16"/>
                </a:cubicBezTo>
                <a:cubicBezTo>
                  <a:pt x="16" y="12"/>
                  <a:pt x="8" y="6"/>
                  <a:pt x="0" y="0"/>
                </a:cubicBezTo>
              </a:path>
            </a:pathLst>
          </a:custGeom>
          <a:solidFill>
            <a:srgbClr val="2B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748">
            <a:extLst>
              <a:ext uri="{FF2B5EF4-FFF2-40B4-BE49-F238E27FC236}">
                <a16:creationId xmlns:a16="http://schemas.microsoft.com/office/drawing/2014/main" id="{DD2CE9C9-A8D1-4604-96E6-083773560F8B}"/>
              </a:ext>
            </a:extLst>
          </p:cNvPr>
          <p:cNvSpPr>
            <a:spLocks/>
          </p:cNvSpPr>
          <p:nvPr/>
        </p:nvSpPr>
        <p:spPr bwMode="auto">
          <a:xfrm>
            <a:off x="10280650" y="4959350"/>
            <a:ext cx="817563" cy="982663"/>
          </a:xfrm>
          <a:custGeom>
            <a:avLst/>
            <a:gdLst>
              <a:gd name="T0" fmla="*/ 0 w 380"/>
              <a:gd name="T1" fmla="*/ 0 h 457"/>
              <a:gd name="T2" fmla="*/ 0 w 380"/>
              <a:gd name="T3" fmla="*/ 0 h 457"/>
              <a:gd name="T4" fmla="*/ 0 w 380"/>
              <a:gd name="T5" fmla="*/ 4 h 457"/>
              <a:gd name="T6" fmla="*/ 40 w 380"/>
              <a:gd name="T7" fmla="*/ 78 h 457"/>
              <a:gd name="T8" fmla="*/ 171 w 380"/>
              <a:gd name="T9" fmla="*/ 211 h 457"/>
              <a:gd name="T10" fmla="*/ 254 w 380"/>
              <a:gd name="T11" fmla="*/ 341 h 457"/>
              <a:gd name="T12" fmla="*/ 266 w 380"/>
              <a:gd name="T13" fmla="*/ 358 h 457"/>
              <a:gd name="T14" fmla="*/ 339 w 380"/>
              <a:gd name="T15" fmla="*/ 433 h 457"/>
              <a:gd name="T16" fmla="*/ 339 w 380"/>
              <a:gd name="T17" fmla="*/ 433 h 457"/>
              <a:gd name="T18" fmla="*/ 364 w 380"/>
              <a:gd name="T19" fmla="*/ 449 h 457"/>
              <a:gd name="T20" fmla="*/ 380 w 380"/>
              <a:gd name="T21" fmla="*/ 457 h 457"/>
              <a:gd name="T22" fmla="*/ 311 w 380"/>
              <a:gd name="T23" fmla="*/ 385 h 457"/>
              <a:gd name="T24" fmla="*/ 213 w 380"/>
              <a:gd name="T25" fmla="*/ 249 h 457"/>
              <a:gd name="T26" fmla="*/ 99 w 380"/>
              <a:gd name="T27" fmla="*/ 128 h 457"/>
              <a:gd name="T28" fmla="*/ 38 w 380"/>
              <a:gd name="T29" fmla="*/ 66 h 457"/>
              <a:gd name="T30" fmla="*/ 0 w 380"/>
              <a:gd name="T31"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0" h="457">
                <a:moveTo>
                  <a:pt x="0" y="0"/>
                </a:moveTo>
                <a:cubicBezTo>
                  <a:pt x="0" y="0"/>
                  <a:pt x="0" y="0"/>
                  <a:pt x="0" y="0"/>
                </a:cubicBezTo>
                <a:cubicBezTo>
                  <a:pt x="0" y="1"/>
                  <a:pt x="0" y="3"/>
                  <a:pt x="0" y="4"/>
                </a:cubicBezTo>
                <a:cubicBezTo>
                  <a:pt x="0" y="25"/>
                  <a:pt x="16" y="44"/>
                  <a:pt x="40" y="78"/>
                </a:cubicBezTo>
                <a:cubicBezTo>
                  <a:pt x="117" y="184"/>
                  <a:pt x="137" y="159"/>
                  <a:pt x="171" y="211"/>
                </a:cubicBezTo>
                <a:cubicBezTo>
                  <a:pt x="190" y="240"/>
                  <a:pt x="236" y="311"/>
                  <a:pt x="254" y="341"/>
                </a:cubicBezTo>
                <a:cubicBezTo>
                  <a:pt x="254" y="341"/>
                  <a:pt x="258" y="348"/>
                  <a:pt x="266" y="358"/>
                </a:cubicBezTo>
                <a:cubicBezTo>
                  <a:pt x="270" y="363"/>
                  <a:pt x="308" y="409"/>
                  <a:pt x="339" y="433"/>
                </a:cubicBezTo>
                <a:cubicBezTo>
                  <a:pt x="339" y="433"/>
                  <a:pt x="339" y="433"/>
                  <a:pt x="339" y="433"/>
                </a:cubicBezTo>
                <a:cubicBezTo>
                  <a:pt x="347" y="439"/>
                  <a:pt x="355" y="445"/>
                  <a:pt x="364" y="449"/>
                </a:cubicBezTo>
                <a:cubicBezTo>
                  <a:pt x="369" y="452"/>
                  <a:pt x="374" y="454"/>
                  <a:pt x="380" y="457"/>
                </a:cubicBezTo>
                <a:cubicBezTo>
                  <a:pt x="356" y="435"/>
                  <a:pt x="333" y="407"/>
                  <a:pt x="311" y="385"/>
                </a:cubicBezTo>
                <a:cubicBezTo>
                  <a:pt x="270" y="344"/>
                  <a:pt x="242" y="297"/>
                  <a:pt x="213" y="249"/>
                </a:cubicBezTo>
                <a:cubicBezTo>
                  <a:pt x="185" y="201"/>
                  <a:pt x="142" y="161"/>
                  <a:pt x="99" y="128"/>
                </a:cubicBezTo>
                <a:cubicBezTo>
                  <a:pt x="88" y="120"/>
                  <a:pt x="55" y="91"/>
                  <a:pt x="38" y="66"/>
                </a:cubicBezTo>
                <a:cubicBezTo>
                  <a:pt x="21" y="43"/>
                  <a:pt x="4" y="22"/>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1" name="Freeform 749">
            <a:extLst>
              <a:ext uri="{FF2B5EF4-FFF2-40B4-BE49-F238E27FC236}">
                <a16:creationId xmlns:a16="http://schemas.microsoft.com/office/drawing/2014/main" id="{B33C50E7-B30B-4F21-A5FB-06268D446FC0}"/>
              </a:ext>
            </a:extLst>
          </p:cNvPr>
          <p:cNvSpPr>
            <a:spLocks/>
          </p:cNvSpPr>
          <p:nvPr/>
        </p:nvSpPr>
        <p:spPr bwMode="auto">
          <a:xfrm>
            <a:off x="10291763" y="4872038"/>
            <a:ext cx="219075" cy="227013"/>
          </a:xfrm>
          <a:custGeom>
            <a:avLst/>
            <a:gdLst>
              <a:gd name="T0" fmla="*/ 53 w 102"/>
              <a:gd name="T1" fmla="*/ 101 h 106"/>
              <a:gd name="T2" fmla="*/ 97 w 102"/>
              <a:gd name="T3" fmla="*/ 62 h 106"/>
              <a:gd name="T4" fmla="*/ 98 w 102"/>
              <a:gd name="T5" fmla="*/ 44 h 106"/>
              <a:gd name="T6" fmla="*/ 83 w 102"/>
              <a:gd name="T7" fmla="*/ 23 h 106"/>
              <a:gd name="T8" fmla="*/ 24 w 102"/>
              <a:gd name="T9" fmla="*/ 14 h 106"/>
              <a:gd name="T10" fmla="*/ 13 w 102"/>
              <a:gd name="T11" fmla="*/ 75 h 106"/>
              <a:gd name="T12" fmla="*/ 34 w 102"/>
              <a:gd name="T13" fmla="*/ 100 h 106"/>
              <a:gd name="T14" fmla="*/ 53 w 102"/>
              <a:gd name="T15" fmla="*/ 10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6">
                <a:moveTo>
                  <a:pt x="53" y="101"/>
                </a:moveTo>
                <a:cubicBezTo>
                  <a:pt x="97" y="62"/>
                  <a:pt x="97" y="62"/>
                  <a:pt x="97" y="62"/>
                </a:cubicBezTo>
                <a:cubicBezTo>
                  <a:pt x="102" y="57"/>
                  <a:pt x="102" y="50"/>
                  <a:pt x="98" y="44"/>
                </a:cubicBezTo>
                <a:cubicBezTo>
                  <a:pt x="83" y="23"/>
                  <a:pt x="83" y="23"/>
                  <a:pt x="83" y="23"/>
                </a:cubicBezTo>
                <a:cubicBezTo>
                  <a:pt x="69" y="4"/>
                  <a:pt x="43" y="0"/>
                  <a:pt x="24" y="14"/>
                </a:cubicBezTo>
                <a:cubicBezTo>
                  <a:pt x="1" y="31"/>
                  <a:pt x="0" y="57"/>
                  <a:pt x="13" y="75"/>
                </a:cubicBezTo>
                <a:cubicBezTo>
                  <a:pt x="34" y="100"/>
                  <a:pt x="34" y="100"/>
                  <a:pt x="34" y="100"/>
                </a:cubicBezTo>
                <a:cubicBezTo>
                  <a:pt x="39" y="105"/>
                  <a:pt x="48" y="106"/>
                  <a:pt x="53" y="101"/>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2" name="Freeform 750">
            <a:extLst>
              <a:ext uri="{FF2B5EF4-FFF2-40B4-BE49-F238E27FC236}">
                <a16:creationId xmlns:a16="http://schemas.microsoft.com/office/drawing/2014/main" id="{9FA4456F-B84F-46C5-AD9E-65D228997235}"/>
              </a:ext>
            </a:extLst>
          </p:cNvPr>
          <p:cNvSpPr>
            <a:spLocks/>
          </p:cNvSpPr>
          <p:nvPr/>
        </p:nvSpPr>
        <p:spPr bwMode="auto">
          <a:xfrm>
            <a:off x="11182350" y="5673725"/>
            <a:ext cx="542925" cy="463550"/>
          </a:xfrm>
          <a:custGeom>
            <a:avLst/>
            <a:gdLst>
              <a:gd name="T0" fmla="*/ 0 w 342"/>
              <a:gd name="T1" fmla="*/ 238 h 292"/>
              <a:gd name="T2" fmla="*/ 44 w 342"/>
              <a:gd name="T3" fmla="*/ 292 h 292"/>
              <a:gd name="T4" fmla="*/ 342 w 342"/>
              <a:gd name="T5" fmla="*/ 54 h 292"/>
              <a:gd name="T6" fmla="*/ 298 w 342"/>
              <a:gd name="T7" fmla="*/ 0 h 292"/>
              <a:gd name="T8" fmla="*/ 0 w 342"/>
              <a:gd name="T9" fmla="*/ 238 h 292"/>
            </a:gdLst>
            <a:ahLst/>
            <a:cxnLst>
              <a:cxn ang="0">
                <a:pos x="T0" y="T1"/>
              </a:cxn>
              <a:cxn ang="0">
                <a:pos x="T2" y="T3"/>
              </a:cxn>
              <a:cxn ang="0">
                <a:pos x="T4" y="T5"/>
              </a:cxn>
              <a:cxn ang="0">
                <a:pos x="T6" y="T7"/>
              </a:cxn>
              <a:cxn ang="0">
                <a:pos x="T8" y="T9"/>
              </a:cxn>
            </a:cxnLst>
            <a:rect l="0" t="0" r="r" b="b"/>
            <a:pathLst>
              <a:path w="342" h="292">
                <a:moveTo>
                  <a:pt x="0" y="238"/>
                </a:moveTo>
                <a:lnTo>
                  <a:pt x="44" y="292"/>
                </a:lnTo>
                <a:lnTo>
                  <a:pt x="342" y="54"/>
                </a:lnTo>
                <a:lnTo>
                  <a:pt x="298" y="0"/>
                </a:lnTo>
                <a:lnTo>
                  <a:pt x="0" y="2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Freeform 751">
            <a:extLst>
              <a:ext uri="{FF2B5EF4-FFF2-40B4-BE49-F238E27FC236}">
                <a16:creationId xmlns:a16="http://schemas.microsoft.com/office/drawing/2014/main" id="{8A1D6A46-E61D-4295-A4A3-A404C6439EAC}"/>
              </a:ext>
            </a:extLst>
          </p:cNvPr>
          <p:cNvSpPr>
            <a:spLocks/>
          </p:cNvSpPr>
          <p:nvPr/>
        </p:nvSpPr>
        <p:spPr bwMode="auto">
          <a:xfrm>
            <a:off x="11182350" y="5673725"/>
            <a:ext cx="542925" cy="463550"/>
          </a:xfrm>
          <a:custGeom>
            <a:avLst/>
            <a:gdLst>
              <a:gd name="T0" fmla="*/ 0 w 342"/>
              <a:gd name="T1" fmla="*/ 238 h 292"/>
              <a:gd name="T2" fmla="*/ 44 w 342"/>
              <a:gd name="T3" fmla="*/ 292 h 292"/>
              <a:gd name="T4" fmla="*/ 342 w 342"/>
              <a:gd name="T5" fmla="*/ 54 h 292"/>
              <a:gd name="T6" fmla="*/ 298 w 342"/>
              <a:gd name="T7" fmla="*/ 0 h 292"/>
              <a:gd name="T8" fmla="*/ 0 w 342"/>
              <a:gd name="T9" fmla="*/ 238 h 292"/>
            </a:gdLst>
            <a:ahLst/>
            <a:cxnLst>
              <a:cxn ang="0">
                <a:pos x="T0" y="T1"/>
              </a:cxn>
              <a:cxn ang="0">
                <a:pos x="T2" y="T3"/>
              </a:cxn>
              <a:cxn ang="0">
                <a:pos x="T4" y="T5"/>
              </a:cxn>
              <a:cxn ang="0">
                <a:pos x="T6" y="T7"/>
              </a:cxn>
              <a:cxn ang="0">
                <a:pos x="T8" y="T9"/>
              </a:cxn>
            </a:cxnLst>
            <a:rect l="0" t="0" r="r" b="b"/>
            <a:pathLst>
              <a:path w="342" h="292">
                <a:moveTo>
                  <a:pt x="0" y="238"/>
                </a:moveTo>
                <a:lnTo>
                  <a:pt x="44" y="292"/>
                </a:lnTo>
                <a:lnTo>
                  <a:pt x="342" y="54"/>
                </a:lnTo>
                <a:lnTo>
                  <a:pt x="298" y="0"/>
                </a:lnTo>
                <a:lnTo>
                  <a:pt x="0" y="2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752">
            <a:extLst>
              <a:ext uri="{FF2B5EF4-FFF2-40B4-BE49-F238E27FC236}">
                <a16:creationId xmlns:a16="http://schemas.microsoft.com/office/drawing/2014/main" id="{717307DF-E353-48E9-9D70-C7B387CC5336}"/>
              </a:ext>
            </a:extLst>
          </p:cNvPr>
          <p:cNvSpPr>
            <a:spLocks/>
          </p:cNvSpPr>
          <p:nvPr/>
        </p:nvSpPr>
        <p:spPr bwMode="auto">
          <a:xfrm>
            <a:off x="11176000" y="5689600"/>
            <a:ext cx="1016000" cy="787400"/>
          </a:xfrm>
          <a:custGeom>
            <a:avLst/>
            <a:gdLst>
              <a:gd name="T0" fmla="*/ 0 w 640"/>
              <a:gd name="T1" fmla="*/ 295 h 496"/>
              <a:gd name="T2" fmla="*/ 156 w 640"/>
              <a:gd name="T3" fmla="*/ 496 h 496"/>
              <a:gd name="T4" fmla="*/ 640 w 640"/>
              <a:gd name="T5" fmla="*/ 496 h 496"/>
              <a:gd name="T6" fmla="*/ 640 w 640"/>
              <a:gd name="T7" fmla="*/ 347 h 496"/>
              <a:gd name="T8" fmla="*/ 370 w 640"/>
              <a:gd name="T9" fmla="*/ 0 h 496"/>
              <a:gd name="T10" fmla="*/ 0 w 640"/>
              <a:gd name="T11" fmla="*/ 295 h 496"/>
            </a:gdLst>
            <a:ahLst/>
            <a:cxnLst>
              <a:cxn ang="0">
                <a:pos x="T0" y="T1"/>
              </a:cxn>
              <a:cxn ang="0">
                <a:pos x="T2" y="T3"/>
              </a:cxn>
              <a:cxn ang="0">
                <a:pos x="T4" y="T5"/>
              </a:cxn>
              <a:cxn ang="0">
                <a:pos x="T6" y="T7"/>
              </a:cxn>
              <a:cxn ang="0">
                <a:pos x="T8" y="T9"/>
              </a:cxn>
              <a:cxn ang="0">
                <a:pos x="T10" y="T11"/>
              </a:cxn>
            </a:cxnLst>
            <a:rect l="0" t="0" r="r" b="b"/>
            <a:pathLst>
              <a:path w="640" h="496">
                <a:moveTo>
                  <a:pt x="0" y="295"/>
                </a:moveTo>
                <a:lnTo>
                  <a:pt x="156" y="496"/>
                </a:lnTo>
                <a:lnTo>
                  <a:pt x="640" y="496"/>
                </a:lnTo>
                <a:lnTo>
                  <a:pt x="640" y="347"/>
                </a:lnTo>
                <a:lnTo>
                  <a:pt x="370" y="0"/>
                </a:lnTo>
                <a:lnTo>
                  <a:pt x="0" y="295"/>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753">
            <a:extLst>
              <a:ext uri="{FF2B5EF4-FFF2-40B4-BE49-F238E27FC236}">
                <a16:creationId xmlns:a16="http://schemas.microsoft.com/office/drawing/2014/main" id="{5E2EE135-17CA-4EC6-9D01-170943BC829B}"/>
              </a:ext>
            </a:extLst>
          </p:cNvPr>
          <p:cNvSpPr>
            <a:spLocks/>
          </p:cNvSpPr>
          <p:nvPr/>
        </p:nvSpPr>
        <p:spPr bwMode="auto">
          <a:xfrm>
            <a:off x="11176000" y="5689600"/>
            <a:ext cx="1016000" cy="787400"/>
          </a:xfrm>
          <a:custGeom>
            <a:avLst/>
            <a:gdLst>
              <a:gd name="T0" fmla="*/ 0 w 640"/>
              <a:gd name="T1" fmla="*/ 295 h 496"/>
              <a:gd name="T2" fmla="*/ 156 w 640"/>
              <a:gd name="T3" fmla="*/ 496 h 496"/>
              <a:gd name="T4" fmla="*/ 640 w 640"/>
              <a:gd name="T5" fmla="*/ 496 h 496"/>
              <a:gd name="T6" fmla="*/ 640 w 640"/>
              <a:gd name="T7" fmla="*/ 347 h 496"/>
              <a:gd name="T8" fmla="*/ 370 w 640"/>
              <a:gd name="T9" fmla="*/ 0 h 496"/>
              <a:gd name="T10" fmla="*/ 0 w 640"/>
              <a:gd name="T11" fmla="*/ 295 h 496"/>
            </a:gdLst>
            <a:ahLst/>
            <a:cxnLst>
              <a:cxn ang="0">
                <a:pos x="T0" y="T1"/>
              </a:cxn>
              <a:cxn ang="0">
                <a:pos x="T2" y="T3"/>
              </a:cxn>
              <a:cxn ang="0">
                <a:pos x="T4" y="T5"/>
              </a:cxn>
              <a:cxn ang="0">
                <a:pos x="T6" y="T7"/>
              </a:cxn>
              <a:cxn ang="0">
                <a:pos x="T8" y="T9"/>
              </a:cxn>
              <a:cxn ang="0">
                <a:pos x="T10" y="T11"/>
              </a:cxn>
            </a:cxnLst>
            <a:rect l="0" t="0" r="r" b="b"/>
            <a:pathLst>
              <a:path w="640" h="496">
                <a:moveTo>
                  <a:pt x="0" y="295"/>
                </a:moveTo>
                <a:lnTo>
                  <a:pt x="156" y="496"/>
                </a:lnTo>
                <a:lnTo>
                  <a:pt x="640" y="496"/>
                </a:lnTo>
                <a:lnTo>
                  <a:pt x="640" y="347"/>
                </a:lnTo>
                <a:lnTo>
                  <a:pt x="370" y="0"/>
                </a:lnTo>
                <a:lnTo>
                  <a:pt x="0" y="2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754">
            <a:extLst>
              <a:ext uri="{FF2B5EF4-FFF2-40B4-BE49-F238E27FC236}">
                <a16:creationId xmlns:a16="http://schemas.microsoft.com/office/drawing/2014/main" id="{E1FE5815-D104-4019-BC6C-49EF294445CC}"/>
              </a:ext>
            </a:extLst>
          </p:cNvPr>
          <p:cNvSpPr>
            <a:spLocks/>
          </p:cNvSpPr>
          <p:nvPr/>
        </p:nvSpPr>
        <p:spPr bwMode="auto">
          <a:xfrm>
            <a:off x="11182350" y="6018213"/>
            <a:ext cx="41275" cy="33338"/>
          </a:xfrm>
          <a:custGeom>
            <a:avLst/>
            <a:gdLst>
              <a:gd name="T0" fmla="*/ 26 w 26"/>
              <a:gd name="T1" fmla="*/ 0 h 21"/>
              <a:gd name="T2" fmla="*/ 0 w 26"/>
              <a:gd name="T3" fmla="*/ 21 h 21"/>
              <a:gd name="T4" fmla="*/ 26 w 26"/>
              <a:gd name="T5" fmla="*/ 0 h 21"/>
              <a:gd name="T6" fmla="*/ 26 w 26"/>
              <a:gd name="T7" fmla="*/ 0 h 21"/>
            </a:gdLst>
            <a:ahLst/>
            <a:cxnLst>
              <a:cxn ang="0">
                <a:pos x="T0" y="T1"/>
              </a:cxn>
              <a:cxn ang="0">
                <a:pos x="T2" y="T3"/>
              </a:cxn>
              <a:cxn ang="0">
                <a:pos x="T4" y="T5"/>
              </a:cxn>
              <a:cxn ang="0">
                <a:pos x="T6" y="T7"/>
              </a:cxn>
            </a:cxnLst>
            <a:rect l="0" t="0" r="r" b="b"/>
            <a:pathLst>
              <a:path w="26" h="21">
                <a:moveTo>
                  <a:pt x="26" y="0"/>
                </a:moveTo>
                <a:lnTo>
                  <a:pt x="0" y="21"/>
                </a:lnTo>
                <a:lnTo>
                  <a:pt x="26" y="0"/>
                </a:lnTo>
                <a:lnTo>
                  <a:pt x="26" y="0"/>
                </a:lnTo>
                <a:close/>
              </a:path>
            </a:pathLst>
          </a:custGeom>
          <a:solidFill>
            <a:srgbClr val="D3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755">
            <a:extLst>
              <a:ext uri="{FF2B5EF4-FFF2-40B4-BE49-F238E27FC236}">
                <a16:creationId xmlns:a16="http://schemas.microsoft.com/office/drawing/2014/main" id="{1428D3DB-53C1-45D7-A329-12A7E0C24527}"/>
              </a:ext>
            </a:extLst>
          </p:cNvPr>
          <p:cNvSpPr>
            <a:spLocks/>
          </p:cNvSpPr>
          <p:nvPr/>
        </p:nvSpPr>
        <p:spPr bwMode="auto">
          <a:xfrm>
            <a:off x="11182350" y="6018213"/>
            <a:ext cx="41275" cy="33338"/>
          </a:xfrm>
          <a:custGeom>
            <a:avLst/>
            <a:gdLst>
              <a:gd name="T0" fmla="*/ 26 w 26"/>
              <a:gd name="T1" fmla="*/ 0 h 21"/>
              <a:gd name="T2" fmla="*/ 0 w 26"/>
              <a:gd name="T3" fmla="*/ 21 h 21"/>
              <a:gd name="T4" fmla="*/ 26 w 26"/>
              <a:gd name="T5" fmla="*/ 0 h 21"/>
              <a:gd name="T6" fmla="*/ 26 w 26"/>
              <a:gd name="T7" fmla="*/ 0 h 21"/>
            </a:gdLst>
            <a:ahLst/>
            <a:cxnLst>
              <a:cxn ang="0">
                <a:pos x="T0" y="T1"/>
              </a:cxn>
              <a:cxn ang="0">
                <a:pos x="T2" y="T3"/>
              </a:cxn>
              <a:cxn ang="0">
                <a:pos x="T4" y="T5"/>
              </a:cxn>
              <a:cxn ang="0">
                <a:pos x="T6" y="T7"/>
              </a:cxn>
            </a:cxnLst>
            <a:rect l="0" t="0" r="r" b="b"/>
            <a:pathLst>
              <a:path w="26" h="21">
                <a:moveTo>
                  <a:pt x="26" y="0"/>
                </a:moveTo>
                <a:lnTo>
                  <a:pt x="0" y="21"/>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756">
            <a:extLst>
              <a:ext uri="{FF2B5EF4-FFF2-40B4-BE49-F238E27FC236}">
                <a16:creationId xmlns:a16="http://schemas.microsoft.com/office/drawing/2014/main" id="{7F9B8A1B-117F-4155-90F3-4975D7A16C2F}"/>
              </a:ext>
            </a:extLst>
          </p:cNvPr>
          <p:cNvSpPr>
            <a:spLocks/>
          </p:cNvSpPr>
          <p:nvPr/>
        </p:nvSpPr>
        <p:spPr bwMode="auto">
          <a:xfrm>
            <a:off x="11223625" y="5905500"/>
            <a:ext cx="144463" cy="112713"/>
          </a:xfrm>
          <a:custGeom>
            <a:avLst/>
            <a:gdLst>
              <a:gd name="T0" fmla="*/ 67 w 67"/>
              <a:gd name="T1" fmla="*/ 0 h 53"/>
              <a:gd name="T2" fmla="*/ 67 w 67"/>
              <a:gd name="T3" fmla="*/ 0 h 53"/>
              <a:gd name="T4" fmla="*/ 0 w 67"/>
              <a:gd name="T5" fmla="*/ 53 h 53"/>
              <a:gd name="T6" fmla="*/ 0 w 67"/>
              <a:gd name="T7" fmla="*/ 53 h 53"/>
              <a:gd name="T8" fmla="*/ 67 w 67"/>
              <a:gd name="T9" fmla="*/ 0 h 53"/>
            </a:gdLst>
            <a:ahLst/>
            <a:cxnLst>
              <a:cxn ang="0">
                <a:pos x="T0" y="T1"/>
              </a:cxn>
              <a:cxn ang="0">
                <a:pos x="T2" y="T3"/>
              </a:cxn>
              <a:cxn ang="0">
                <a:pos x="T4" y="T5"/>
              </a:cxn>
              <a:cxn ang="0">
                <a:pos x="T6" y="T7"/>
              </a:cxn>
              <a:cxn ang="0">
                <a:pos x="T8" y="T9"/>
              </a:cxn>
            </a:cxnLst>
            <a:rect l="0" t="0" r="r" b="b"/>
            <a:pathLst>
              <a:path w="67" h="53">
                <a:moveTo>
                  <a:pt x="67" y="0"/>
                </a:moveTo>
                <a:cubicBezTo>
                  <a:pt x="67" y="0"/>
                  <a:pt x="67" y="0"/>
                  <a:pt x="67" y="0"/>
                </a:cubicBezTo>
                <a:cubicBezTo>
                  <a:pt x="0" y="53"/>
                  <a:pt x="0" y="53"/>
                  <a:pt x="0" y="53"/>
                </a:cubicBezTo>
                <a:cubicBezTo>
                  <a:pt x="0" y="53"/>
                  <a:pt x="0" y="53"/>
                  <a:pt x="0" y="53"/>
                </a:cubicBezTo>
                <a:cubicBezTo>
                  <a:pt x="67" y="0"/>
                  <a:pt x="67" y="0"/>
                  <a:pt x="67" y="0"/>
                </a:cubicBezTo>
              </a:path>
            </a:pathLst>
          </a:custGeom>
          <a:solidFill>
            <a:srgbClr val="E6B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757">
            <a:extLst>
              <a:ext uri="{FF2B5EF4-FFF2-40B4-BE49-F238E27FC236}">
                <a16:creationId xmlns:a16="http://schemas.microsoft.com/office/drawing/2014/main" id="{B5202989-8064-43EA-B14F-866CB2B35DE9}"/>
              </a:ext>
            </a:extLst>
          </p:cNvPr>
          <p:cNvSpPr>
            <a:spLocks/>
          </p:cNvSpPr>
          <p:nvPr/>
        </p:nvSpPr>
        <p:spPr bwMode="auto">
          <a:xfrm>
            <a:off x="11368088" y="5862638"/>
            <a:ext cx="50800" cy="42863"/>
          </a:xfrm>
          <a:custGeom>
            <a:avLst/>
            <a:gdLst>
              <a:gd name="T0" fmla="*/ 24 w 24"/>
              <a:gd name="T1" fmla="*/ 0 h 20"/>
              <a:gd name="T2" fmla="*/ 0 w 24"/>
              <a:gd name="T3" fmla="*/ 20 h 20"/>
              <a:gd name="T4" fmla="*/ 0 w 24"/>
              <a:gd name="T5" fmla="*/ 20 h 20"/>
              <a:gd name="T6" fmla="*/ 24 w 24"/>
              <a:gd name="T7" fmla="*/ 0 h 20"/>
              <a:gd name="T8" fmla="*/ 24 w 24"/>
              <a:gd name="T9" fmla="*/ 0 h 20"/>
            </a:gdLst>
            <a:ahLst/>
            <a:cxnLst>
              <a:cxn ang="0">
                <a:pos x="T0" y="T1"/>
              </a:cxn>
              <a:cxn ang="0">
                <a:pos x="T2" y="T3"/>
              </a:cxn>
              <a:cxn ang="0">
                <a:pos x="T4" y="T5"/>
              </a:cxn>
              <a:cxn ang="0">
                <a:pos x="T6" y="T7"/>
              </a:cxn>
              <a:cxn ang="0">
                <a:pos x="T8" y="T9"/>
              </a:cxn>
            </a:cxnLst>
            <a:rect l="0" t="0" r="r" b="b"/>
            <a:pathLst>
              <a:path w="24" h="20">
                <a:moveTo>
                  <a:pt x="24" y="0"/>
                </a:moveTo>
                <a:cubicBezTo>
                  <a:pt x="0" y="20"/>
                  <a:pt x="0" y="20"/>
                  <a:pt x="0" y="20"/>
                </a:cubicBezTo>
                <a:cubicBezTo>
                  <a:pt x="0" y="20"/>
                  <a:pt x="0" y="20"/>
                  <a:pt x="0" y="20"/>
                </a:cubicBezTo>
                <a:cubicBezTo>
                  <a:pt x="24" y="0"/>
                  <a:pt x="24" y="0"/>
                  <a:pt x="24" y="0"/>
                </a:cubicBezTo>
                <a:cubicBezTo>
                  <a:pt x="24" y="0"/>
                  <a:pt x="24" y="0"/>
                  <a:pt x="24" y="0"/>
                </a:cubicBezTo>
              </a:path>
            </a:pathLst>
          </a:custGeom>
          <a:solidFill>
            <a:srgbClr val="E6B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758">
            <a:extLst>
              <a:ext uri="{FF2B5EF4-FFF2-40B4-BE49-F238E27FC236}">
                <a16:creationId xmlns:a16="http://schemas.microsoft.com/office/drawing/2014/main" id="{B18D983B-9FDC-45DB-A25D-F91390C2589A}"/>
              </a:ext>
            </a:extLst>
          </p:cNvPr>
          <p:cNvSpPr>
            <a:spLocks/>
          </p:cNvSpPr>
          <p:nvPr/>
        </p:nvSpPr>
        <p:spPr bwMode="auto">
          <a:xfrm>
            <a:off x="11176000" y="6126163"/>
            <a:ext cx="38100" cy="31750"/>
          </a:xfrm>
          <a:custGeom>
            <a:avLst/>
            <a:gdLst>
              <a:gd name="T0" fmla="*/ 24 w 24"/>
              <a:gd name="T1" fmla="*/ 0 h 20"/>
              <a:gd name="T2" fmla="*/ 0 w 24"/>
              <a:gd name="T3" fmla="*/ 20 h 20"/>
              <a:gd name="T4" fmla="*/ 24 w 24"/>
              <a:gd name="T5" fmla="*/ 0 h 20"/>
              <a:gd name="T6" fmla="*/ 24 w 24"/>
              <a:gd name="T7" fmla="*/ 0 h 20"/>
            </a:gdLst>
            <a:ahLst/>
            <a:cxnLst>
              <a:cxn ang="0">
                <a:pos x="T0" y="T1"/>
              </a:cxn>
              <a:cxn ang="0">
                <a:pos x="T2" y="T3"/>
              </a:cxn>
              <a:cxn ang="0">
                <a:pos x="T4" y="T5"/>
              </a:cxn>
              <a:cxn ang="0">
                <a:pos x="T6" y="T7"/>
              </a:cxn>
            </a:cxnLst>
            <a:rect l="0" t="0" r="r" b="b"/>
            <a:pathLst>
              <a:path w="24" h="20">
                <a:moveTo>
                  <a:pt x="24" y="0"/>
                </a:moveTo>
                <a:lnTo>
                  <a:pt x="0" y="20"/>
                </a:lnTo>
                <a:lnTo>
                  <a:pt x="24" y="0"/>
                </a:lnTo>
                <a:lnTo>
                  <a:pt x="24" y="0"/>
                </a:lnTo>
                <a:close/>
              </a:path>
            </a:pathLst>
          </a:custGeom>
          <a:solidFill>
            <a:srgbClr val="E6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759">
            <a:extLst>
              <a:ext uri="{FF2B5EF4-FFF2-40B4-BE49-F238E27FC236}">
                <a16:creationId xmlns:a16="http://schemas.microsoft.com/office/drawing/2014/main" id="{ABB3939B-E1B7-4524-B2E9-8936522288D3}"/>
              </a:ext>
            </a:extLst>
          </p:cNvPr>
          <p:cNvSpPr>
            <a:spLocks/>
          </p:cNvSpPr>
          <p:nvPr/>
        </p:nvSpPr>
        <p:spPr bwMode="auto">
          <a:xfrm>
            <a:off x="11176000" y="6126163"/>
            <a:ext cx="38100" cy="31750"/>
          </a:xfrm>
          <a:custGeom>
            <a:avLst/>
            <a:gdLst>
              <a:gd name="T0" fmla="*/ 24 w 24"/>
              <a:gd name="T1" fmla="*/ 0 h 20"/>
              <a:gd name="T2" fmla="*/ 0 w 24"/>
              <a:gd name="T3" fmla="*/ 20 h 20"/>
              <a:gd name="T4" fmla="*/ 24 w 24"/>
              <a:gd name="T5" fmla="*/ 0 h 20"/>
              <a:gd name="T6" fmla="*/ 24 w 24"/>
              <a:gd name="T7" fmla="*/ 0 h 20"/>
            </a:gdLst>
            <a:ahLst/>
            <a:cxnLst>
              <a:cxn ang="0">
                <a:pos x="T0" y="T1"/>
              </a:cxn>
              <a:cxn ang="0">
                <a:pos x="T2" y="T3"/>
              </a:cxn>
              <a:cxn ang="0">
                <a:pos x="T4" y="T5"/>
              </a:cxn>
              <a:cxn ang="0">
                <a:pos x="T6" y="T7"/>
              </a:cxn>
            </a:cxnLst>
            <a:rect l="0" t="0" r="r" b="b"/>
            <a:pathLst>
              <a:path w="24" h="20">
                <a:moveTo>
                  <a:pt x="24" y="0"/>
                </a:moveTo>
                <a:lnTo>
                  <a:pt x="0" y="20"/>
                </a:lnTo>
                <a:lnTo>
                  <a:pt x="24"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760">
            <a:extLst>
              <a:ext uri="{FF2B5EF4-FFF2-40B4-BE49-F238E27FC236}">
                <a16:creationId xmlns:a16="http://schemas.microsoft.com/office/drawing/2014/main" id="{9382BD4A-5553-41D4-BBE2-B8B24E937E6E}"/>
              </a:ext>
            </a:extLst>
          </p:cNvPr>
          <p:cNvSpPr>
            <a:spLocks/>
          </p:cNvSpPr>
          <p:nvPr/>
        </p:nvSpPr>
        <p:spPr bwMode="auto">
          <a:xfrm>
            <a:off x="11214100" y="6113463"/>
            <a:ext cx="17463" cy="12700"/>
          </a:xfrm>
          <a:custGeom>
            <a:avLst/>
            <a:gdLst>
              <a:gd name="T0" fmla="*/ 11 w 11"/>
              <a:gd name="T1" fmla="*/ 0 h 8"/>
              <a:gd name="T2" fmla="*/ 0 w 11"/>
              <a:gd name="T3" fmla="*/ 8 h 8"/>
              <a:gd name="T4" fmla="*/ 0 w 11"/>
              <a:gd name="T5" fmla="*/ 8 h 8"/>
              <a:gd name="T6" fmla="*/ 11 w 11"/>
              <a:gd name="T7" fmla="*/ 0 h 8"/>
              <a:gd name="T8" fmla="*/ 11 w 11"/>
              <a:gd name="T9" fmla="*/ 0 h 8"/>
            </a:gdLst>
            <a:ahLst/>
            <a:cxnLst>
              <a:cxn ang="0">
                <a:pos x="T0" y="T1"/>
              </a:cxn>
              <a:cxn ang="0">
                <a:pos x="T2" y="T3"/>
              </a:cxn>
              <a:cxn ang="0">
                <a:pos x="T4" y="T5"/>
              </a:cxn>
              <a:cxn ang="0">
                <a:pos x="T6" y="T7"/>
              </a:cxn>
              <a:cxn ang="0">
                <a:pos x="T8" y="T9"/>
              </a:cxn>
            </a:cxnLst>
            <a:rect l="0" t="0" r="r" b="b"/>
            <a:pathLst>
              <a:path w="11" h="8">
                <a:moveTo>
                  <a:pt x="11" y="0"/>
                </a:moveTo>
                <a:lnTo>
                  <a:pt x="0" y="8"/>
                </a:lnTo>
                <a:lnTo>
                  <a:pt x="0" y="8"/>
                </a:lnTo>
                <a:lnTo>
                  <a:pt x="11" y="0"/>
                </a:lnTo>
                <a:lnTo>
                  <a:pt x="11" y="0"/>
                </a:lnTo>
                <a:close/>
              </a:path>
            </a:pathLst>
          </a:custGeom>
          <a:solidFill>
            <a:srgbClr val="D3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761">
            <a:extLst>
              <a:ext uri="{FF2B5EF4-FFF2-40B4-BE49-F238E27FC236}">
                <a16:creationId xmlns:a16="http://schemas.microsoft.com/office/drawing/2014/main" id="{48427483-599F-4ABA-A81C-C95F93E6056B}"/>
              </a:ext>
            </a:extLst>
          </p:cNvPr>
          <p:cNvSpPr>
            <a:spLocks/>
          </p:cNvSpPr>
          <p:nvPr/>
        </p:nvSpPr>
        <p:spPr bwMode="auto">
          <a:xfrm>
            <a:off x="11214100" y="6113463"/>
            <a:ext cx="17463" cy="12700"/>
          </a:xfrm>
          <a:custGeom>
            <a:avLst/>
            <a:gdLst>
              <a:gd name="T0" fmla="*/ 11 w 11"/>
              <a:gd name="T1" fmla="*/ 0 h 8"/>
              <a:gd name="T2" fmla="*/ 0 w 11"/>
              <a:gd name="T3" fmla="*/ 8 h 8"/>
              <a:gd name="T4" fmla="*/ 0 w 11"/>
              <a:gd name="T5" fmla="*/ 8 h 8"/>
              <a:gd name="T6" fmla="*/ 11 w 11"/>
              <a:gd name="T7" fmla="*/ 0 h 8"/>
              <a:gd name="T8" fmla="*/ 11 w 11"/>
              <a:gd name="T9" fmla="*/ 0 h 8"/>
            </a:gdLst>
            <a:ahLst/>
            <a:cxnLst>
              <a:cxn ang="0">
                <a:pos x="T0" y="T1"/>
              </a:cxn>
              <a:cxn ang="0">
                <a:pos x="T2" y="T3"/>
              </a:cxn>
              <a:cxn ang="0">
                <a:pos x="T4" y="T5"/>
              </a:cxn>
              <a:cxn ang="0">
                <a:pos x="T6" y="T7"/>
              </a:cxn>
              <a:cxn ang="0">
                <a:pos x="T8" y="T9"/>
              </a:cxn>
            </a:cxnLst>
            <a:rect l="0" t="0" r="r" b="b"/>
            <a:pathLst>
              <a:path w="11" h="8">
                <a:moveTo>
                  <a:pt x="11" y="0"/>
                </a:moveTo>
                <a:lnTo>
                  <a:pt x="0" y="8"/>
                </a:lnTo>
                <a:lnTo>
                  <a:pt x="0" y="8"/>
                </a:lnTo>
                <a:lnTo>
                  <a:pt x="11" y="0"/>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762">
            <a:extLst>
              <a:ext uri="{FF2B5EF4-FFF2-40B4-BE49-F238E27FC236}">
                <a16:creationId xmlns:a16="http://schemas.microsoft.com/office/drawing/2014/main" id="{9799FFED-A8E7-4A55-965C-81A45ABB46A3}"/>
              </a:ext>
            </a:extLst>
          </p:cNvPr>
          <p:cNvSpPr>
            <a:spLocks/>
          </p:cNvSpPr>
          <p:nvPr/>
        </p:nvSpPr>
        <p:spPr bwMode="auto">
          <a:xfrm>
            <a:off x="11182350" y="5862638"/>
            <a:ext cx="285750" cy="250825"/>
          </a:xfrm>
          <a:custGeom>
            <a:avLst/>
            <a:gdLst>
              <a:gd name="T0" fmla="*/ 149 w 180"/>
              <a:gd name="T1" fmla="*/ 0 h 158"/>
              <a:gd name="T2" fmla="*/ 117 w 180"/>
              <a:gd name="T3" fmla="*/ 27 h 158"/>
              <a:gd name="T4" fmla="*/ 26 w 180"/>
              <a:gd name="T5" fmla="*/ 98 h 158"/>
              <a:gd name="T6" fmla="*/ 0 w 180"/>
              <a:gd name="T7" fmla="*/ 119 h 158"/>
              <a:gd name="T8" fmla="*/ 31 w 180"/>
              <a:gd name="T9" fmla="*/ 158 h 158"/>
              <a:gd name="T10" fmla="*/ 31 w 180"/>
              <a:gd name="T11" fmla="*/ 158 h 158"/>
              <a:gd name="T12" fmla="*/ 180 w 180"/>
              <a:gd name="T13" fmla="*/ 39 h 158"/>
              <a:gd name="T14" fmla="*/ 149 w 180"/>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58">
                <a:moveTo>
                  <a:pt x="149" y="0"/>
                </a:moveTo>
                <a:lnTo>
                  <a:pt x="117" y="27"/>
                </a:lnTo>
                <a:lnTo>
                  <a:pt x="26" y="98"/>
                </a:lnTo>
                <a:lnTo>
                  <a:pt x="0" y="119"/>
                </a:lnTo>
                <a:lnTo>
                  <a:pt x="31" y="158"/>
                </a:lnTo>
                <a:lnTo>
                  <a:pt x="31" y="158"/>
                </a:lnTo>
                <a:lnTo>
                  <a:pt x="180" y="39"/>
                </a:lnTo>
                <a:lnTo>
                  <a:pt x="149" y="0"/>
                </a:lnTo>
                <a:close/>
              </a:path>
            </a:pathLst>
          </a:custGeom>
          <a:solidFill>
            <a:srgbClr val="E6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763">
            <a:extLst>
              <a:ext uri="{FF2B5EF4-FFF2-40B4-BE49-F238E27FC236}">
                <a16:creationId xmlns:a16="http://schemas.microsoft.com/office/drawing/2014/main" id="{DD485093-D5DF-40D7-B343-78B0CF1E31AE}"/>
              </a:ext>
            </a:extLst>
          </p:cNvPr>
          <p:cNvSpPr>
            <a:spLocks/>
          </p:cNvSpPr>
          <p:nvPr/>
        </p:nvSpPr>
        <p:spPr bwMode="auto">
          <a:xfrm>
            <a:off x="11182350" y="5862638"/>
            <a:ext cx="285750" cy="250825"/>
          </a:xfrm>
          <a:custGeom>
            <a:avLst/>
            <a:gdLst>
              <a:gd name="T0" fmla="*/ 149 w 180"/>
              <a:gd name="T1" fmla="*/ 0 h 158"/>
              <a:gd name="T2" fmla="*/ 117 w 180"/>
              <a:gd name="T3" fmla="*/ 27 h 158"/>
              <a:gd name="T4" fmla="*/ 26 w 180"/>
              <a:gd name="T5" fmla="*/ 98 h 158"/>
              <a:gd name="T6" fmla="*/ 0 w 180"/>
              <a:gd name="T7" fmla="*/ 119 h 158"/>
              <a:gd name="T8" fmla="*/ 31 w 180"/>
              <a:gd name="T9" fmla="*/ 158 h 158"/>
              <a:gd name="T10" fmla="*/ 31 w 180"/>
              <a:gd name="T11" fmla="*/ 158 h 158"/>
              <a:gd name="T12" fmla="*/ 180 w 180"/>
              <a:gd name="T13" fmla="*/ 39 h 158"/>
              <a:gd name="T14" fmla="*/ 149 w 180"/>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58">
                <a:moveTo>
                  <a:pt x="149" y="0"/>
                </a:moveTo>
                <a:lnTo>
                  <a:pt x="117" y="27"/>
                </a:lnTo>
                <a:lnTo>
                  <a:pt x="26" y="98"/>
                </a:lnTo>
                <a:lnTo>
                  <a:pt x="0" y="119"/>
                </a:lnTo>
                <a:lnTo>
                  <a:pt x="31" y="158"/>
                </a:lnTo>
                <a:lnTo>
                  <a:pt x="31" y="158"/>
                </a:lnTo>
                <a:lnTo>
                  <a:pt x="180" y="3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764">
            <a:extLst>
              <a:ext uri="{FF2B5EF4-FFF2-40B4-BE49-F238E27FC236}">
                <a16:creationId xmlns:a16="http://schemas.microsoft.com/office/drawing/2014/main" id="{9E203D22-545E-4013-8B41-E4F5933148EE}"/>
              </a:ext>
            </a:extLst>
          </p:cNvPr>
          <p:cNvSpPr>
            <a:spLocks/>
          </p:cNvSpPr>
          <p:nvPr/>
        </p:nvSpPr>
        <p:spPr bwMode="auto">
          <a:xfrm>
            <a:off x="11176000" y="5924550"/>
            <a:ext cx="720725" cy="552450"/>
          </a:xfrm>
          <a:custGeom>
            <a:avLst/>
            <a:gdLst>
              <a:gd name="T0" fmla="*/ 184 w 454"/>
              <a:gd name="T1" fmla="*/ 0 h 348"/>
              <a:gd name="T2" fmla="*/ 35 w 454"/>
              <a:gd name="T3" fmla="*/ 119 h 348"/>
              <a:gd name="T4" fmla="*/ 24 w 454"/>
              <a:gd name="T5" fmla="*/ 127 h 348"/>
              <a:gd name="T6" fmla="*/ 0 w 454"/>
              <a:gd name="T7" fmla="*/ 147 h 348"/>
              <a:gd name="T8" fmla="*/ 156 w 454"/>
              <a:gd name="T9" fmla="*/ 348 h 348"/>
              <a:gd name="T10" fmla="*/ 454 w 454"/>
              <a:gd name="T11" fmla="*/ 348 h 348"/>
              <a:gd name="T12" fmla="*/ 184 w 45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454" h="348">
                <a:moveTo>
                  <a:pt x="184" y="0"/>
                </a:moveTo>
                <a:lnTo>
                  <a:pt x="35" y="119"/>
                </a:lnTo>
                <a:lnTo>
                  <a:pt x="24" y="127"/>
                </a:lnTo>
                <a:lnTo>
                  <a:pt x="0" y="147"/>
                </a:lnTo>
                <a:lnTo>
                  <a:pt x="156" y="348"/>
                </a:lnTo>
                <a:lnTo>
                  <a:pt x="454" y="348"/>
                </a:lnTo>
                <a:lnTo>
                  <a:pt x="184" y="0"/>
                </a:lnTo>
                <a:close/>
              </a:path>
            </a:pathLst>
          </a:custGeom>
          <a:solidFill>
            <a:srgbClr val="007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765">
            <a:extLst>
              <a:ext uri="{FF2B5EF4-FFF2-40B4-BE49-F238E27FC236}">
                <a16:creationId xmlns:a16="http://schemas.microsoft.com/office/drawing/2014/main" id="{D6FD5CFC-C82E-410D-936E-B8DBB806A9F7}"/>
              </a:ext>
            </a:extLst>
          </p:cNvPr>
          <p:cNvSpPr>
            <a:spLocks/>
          </p:cNvSpPr>
          <p:nvPr/>
        </p:nvSpPr>
        <p:spPr bwMode="auto">
          <a:xfrm>
            <a:off x="11176000" y="5924550"/>
            <a:ext cx="720725" cy="552450"/>
          </a:xfrm>
          <a:custGeom>
            <a:avLst/>
            <a:gdLst>
              <a:gd name="T0" fmla="*/ 184 w 454"/>
              <a:gd name="T1" fmla="*/ 0 h 348"/>
              <a:gd name="T2" fmla="*/ 35 w 454"/>
              <a:gd name="T3" fmla="*/ 119 h 348"/>
              <a:gd name="T4" fmla="*/ 24 w 454"/>
              <a:gd name="T5" fmla="*/ 127 h 348"/>
              <a:gd name="T6" fmla="*/ 0 w 454"/>
              <a:gd name="T7" fmla="*/ 147 h 348"/>
              <a:gd name="T8" fmla="*/ 156 w 454"/>
              <a:gd name="T9" fmla="*/ 348 h 348"/>
              <a:gd name="T10" fmla="*/ 454 w 454"/>
              <a:gd name="T11" fmla="*/ 348 h 348"/>
              <a:gd name="T12" fmla="*/ 184 w 45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454" h="348">
                <a:moveTo>
                  <a:pt x="184" y="0"/>
                </a:moveTo>
                <a:lnTo>
                  <a:pt x="35" y="119"/>
                </a:lnTo>
                <a:lnTo>
                  <a:pt x="24" y="127"/>
                </a:lnTo>
                <a:lnTo>
                  <a:pt x="0" y="147"/>
                </a:lnTo>
                <a:lnTo>
                  <a:pt x="156" y="348"/>
                </a:lnTo>
                <a:lnTo>
                  <a:pt x="454" y="348"/>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8" name="Freeform 766">
            <a:extLst>
              <a:ext uri="{FF2B5EF4-FFF2-40B4-BE49-F238E27FC236}">
                <a16:creationId xmlns:a16="http://schemas.microsoft.com/office/drawing/2014/main" id="{3A113ADA-85E8-407A-8D4C-3CB5E74D547A}"/>
              </a:ext>
            </a:extLst>
          </p:cNvPr>
          <p:cNvSpPr>
            <a:spLocks/>
          </p:cNvSpPr>
          <p:nvPr/>
        </p:nvSpPr>
        <p:spPr bwMode="auto">
          <a:xfrm>
            <a:off x="11268075" y="6175375"/>
            <a:ext cx="84138" cy="84138"/>
          </a:xfrm>
          <a:custGeom>
            <a:avLst/>
            <a:gdLst>
              <a:gd name="T0" fmla="*/ 4 w 39"/>
              <a:gd name="T1" fmla="*/ 26 h 39"/>
              <a:gd name="T2" fmla="*/ 26 w 39"/>
              <a:gd name="T3" fmla="*/ 35 h 39"/>
              <a:gd name="T4" fmla="*/ 35 w 39"/>
              <a:gd name="T5" fmla="*/ 12 h 39"/>
              <a:gd name="T6" fmla="*/ 12 w 39"/>
              <a:gd name="T7" fmla="*/ 4 h 39"/>
              <a:gd name="T8" fmla="*/ 4 w 39"/>
              <a:gd name="T9" fmla="*/ 26 h 39"/>
            </a:gdLst>
            <a:ahLst/>
            <a:cxnLst>
              <a:cxn ang="0">
                <a:pos x="T0" y="T1"/>
              </a:cxn>
              <a:cxn ang="0">
                <a:pos x="T2" y="T3"/>
              </a:cxn>
              <a:cxn ang="0">
                <a:pos x="T4" y="T5"/>
              </a:cxn>
              <a:cxn ang="0">
                <a:pos x="T6" y="T7"/>
              </a:cxn>
              <a:cxn ang="0">
                <a:pos x="T8" y="T9"/>
              </a:cxn>
            </a:cxnLst>
            <a:rect l="0" t="0" r="r" b="b"/>
            <a:pathLst>
              <a:path w="39" h="39">
                <a:moveTo>
                  <a:pt x="4" y="26"/>
                </a:moveTo>
                <a:cubicBezTo>
                  <a:pt x="7" y="35"/>
                  <a:pt x="17" y="39"/>
                  <a:pt x="26" y="35"/>
                </a:cubicBezTo>
                <a:cubicBezTo>
                  <a:pt x="35" y="31"/>
                  <a:pt x="39" y="21"/>
                  <a:pt x="35" y="12"/>
                </a:cubicBezTo>
                <a:cubicBezTo>
                  <a:pt x="31" y="4"/>
                  <a:pt x="21" y="0"/>
                  <a:pt x="12" y="4"/>
                </a:cubicBezTo>
                <a:cubicBezTo>
                  <a:pt x="3" y="8"/>
                  <a:pt x="0" y="18"/>
                  <a:pt x="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9" name="Freeform 767">
            <a:extLst>
              <a:ext uri="{FF2B5EF4-FFF2-40B4-BE49-F238E27FC236}">
                <a16:creationId xmlns:a16="http://schemas.microsoft.com/office/drawing/2014/main" id="{1B5CEC5F-B196-471D-BB75-C1F210AD03D5}"/>
              </a:ext>
            </a:extLst>
          </p:cNvPr>
          <p:cNvSpPr>
            <a:spLocks/>
          </p:cNvSpPr>
          <p:nvPr/>
        </p:nvSpPr>
        <p:spPr bwMode="auto">
          <a:xfrm>
            <a:off x="11361738" y="6294438"/>
            <a:ext cx="82550" cy="82550"/>
          </a:xfrm>
          <a:custGeom>
            <a:avLst/>
            <a:gdLst>
              <a:gd name="T0" fmla="*/ 4 w 39"/>
              <a:gd name="T1" fmla="*/ 27 h 39"/>
              <a:gd name="T2" fmla="*/ 27 w 39"/>
              <a:gd name="T3" fmla="*/ 35 h 39"/>
              <a:gd name="T4" fmla="*/ 35 w 39"/>
              <a:gd name="T5" fmla="*/ 13 h 39"/>
              <a:gd name="T6" fmla="*/ 13 w 39"/>
              <a:gd name="T7" fmla="*/ 4 h 39"/>
              <a:gd name="T8" fmla="*/ 4 w 39"/>
              <a:gd name="T9" fmla="*/ 27 h 39"/>
            </a:gdLst>
            <a:ahLst/>
            <a:cxnLst>
              <a:cxn ang="0">
                <a:pos x="T0" y="T1"/>
              </a:cxn>
              <a:cxn ang="0">
                <a:pos x="T2" y="T3"/>
              </a:cxn>
              <a:cxn ang="0">
                <a:pos x="T4" y="T5"/>
              </a:cxn>
              <a:cxn ang="0">
                <a:pos x="T6" y="T7"/>
              </a:cxn>
              <a:cxn ang="0">
                <a:pos x="T8" y="T9"/>
              </a:cxn>
            </a:cxnLst>
            <a:rect l="0" t="0" r="r" b="b"/>
            <a:pathLst>
              <a:path w="39" h="39">
                <a:moveTo>
                  <a:pt x="4" y="27"/>
                </a:moveTo>
                <a:cubicBezTo>
                  <a:pt x="8" y="35"/>
                  <a:pt x="18" y="39"/>
                  <a:pt x="27" y="35"/>
                </a:cubicBezTo>
                <a:cubicBezTo>
                  <a:pt x="35" y="31"/>
                  <a:pt x="39" y="21"/>
                  <a:pt x="35" y="13"/>
                </a:cubicBezTo>
                <a:cubicBezTo>
                  <a:pt x="31" y="4"/>
                  <a:pt x="21" y="0"/>
                  <a:pt x="13" y="4"/>
                </a:cubicBezTo>
                <a:cubicBezTo>
                  <a:pt x="4" y="8"/>
                  <a:pt x="0" y="18"/>
                  <a:pt x="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57426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60" userDrawn="1">
          <p15:clr>
            <a:srgbClr val="FBAE40"/>
          </p15:clr>
        </p15:guide>
        <p15:guide id="2" pos="25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21"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227348" y="160527"/>
            <a:ext cx="11118573" cy="844589"/>
          </a:xfrm>
          <a:prstGeom prst="rect">
            <a:avLst/>
          </a:prstGeom>
        </p:spPr>
        <p:txBody>
          <a:bodyPr lIns="0" tIns="0" rIns="0" bIns="0" anchor="t"/>
          <a:lstStyle>
            <a:lvl1pPr>
              <a:lnSpc>
                <a:spcPct val="100000"/>
              </a:lnSpc>
              <a:defRPr sz="2000">
                <a:solidFill>
                  <a:schemeClr val="accent1"/>
                </a:solidFill>
              </a:defRPr>
            </a:lvl1pPr>
          </a:lstStyle>
          <a:p>
            <a:r>
              <a:rPr lang="en-US" dirty="0"/>
              <a:t>Click to edit Master title style</a:t>
            </a:r>
            <a:endParaRPr lang="en-GB"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9" name="Groupe 1"/>
          <p:cNvGrpSpPr/>
          <p:nvPr userDrawn="1"/>
        </p:nvGrpSpPr>
        <p:grpSpPr>
          <a:xfrm>
            <a:off x="11501102" y="171573"/>
            <a:ext cx="419436" cy="388988"/>
            <a:chOff x="11501102" y="171573"/>
            <a:chExt cx="419436" cy="388988"/>
          </a:xfrm>
        </p:grpSpPr>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934503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4.xml"/><Relationship Id="rId4" Type="http://schemas.openxmlformats.org/officeDocument/2006/relationships/vmlDrawing" Target="../drawings/vmlDrawing10.v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2.vml"/><Relationship Id="rId3" Type="http://schemas.openxmlformats.org/officeDocument/2006/relationships/slideLayout" Target="../slideLayouts/slideLayout17.xml"/><Relationship Id="rId7" Type="http://schemas.openxmlformats.org/officeDocument/2006/relationships/theme" Target="../theme/theme3.xml"/><Relationship Id="rId12" Type="http://schemas.openxmlformats.org/officeDocument/2006/relationships/image" Target="../media/image29.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12.bin"/><Relationship Id="rId5" Type="http://schemas.openxmlformats.org/officeDocument/2006/relationships/slideLayout" Target="../slideLayouts/slideLayout19.xml"/><Relationship Id="rId10" Type="http://schemas.openxmlformats.org/officeDocument/2006/relationships/tags" Target="../tags/tag17.xml"/><Relationship Id="rId4" Type="http://schemas.openxmlformats.org/officeDocument/2006/relationships/slideLayout" Target="../slideLayouts/slideLayout18.xml"/><Relationship Id="rId9"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extLst>
              <p:ext uri="{D42A27DB-BD31-4B8C-83A1-F6EECF244321}">
                <p14:modId xmlns:p14="http://schemas.microsoft.com/office/powerpoint/2010/main" val="234467531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7" imgW="270" imgH="270" progId="TCLayout.ActiveDocument.1">
                  <p:embed/>
                </p:oleObj>
              </mc:Choice>
              <mc:Fallback>
                <p:oleObj name="think-cell Slide" r:id="rId17" imgW="270" imgH="27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B3D63BF-7E47-4EBD-A755-4B6BAA5BE750}"/>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3000" b="0" i="0" baseline="0" dirty="0">
              <a:latin typeface="Verdana" panose="020B0604030504040204" pitchFamily="34" charset="0"/>
              <a:ea typeface="+mj-ea"/>
              <a:cs typeface="+mj-cs"/>
              <a:sym typeface="Verdana" panose="020B0604030504040204" pitchFamily="34" charset="0"/>
            </a:endParaRPr>
          </a:p>
        </p:txBody>
      </p:sp>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5"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sp>
        <p:nvSpPr>
          <p:cNvPr id="16"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World Wealth Report 2020 | July 9, 2020</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1" r:id="rId2"/>
    <p:sldLayoutId id="2147483834" r:id="rId3"/>
    <p:sldLayoutId id="2147483906" r:id="rId4"/>
    <p:sldLayoutId id="2147483907" r:id="rId5"/>
    <p:sldLayoutId id="2147483908" r:id="rId6"/>
    <p:sldLayoutId id="2147483909" r:id="rId7"/>
    <p:sldLayoutId id="2147483910" r:id="rId8"/>
    <p:sldLayoutId id="2147483914" r:id="rId9"/>
    <p:sldLayoutId id="2147483915" r:id="rId10"/>
    <p:sldLayoutId id="2147483917" r:id="rId11"/>
    <p:sldLayoutId id="2147483918" r:id="rId12"/>
  </p:sldLayoutIdLst>
  <p:txStyles>
    <p:titleStyle>
      <a:lvl1pPr marL="0" marR="0" indent="0" algn="l" defTabSz="914400" rtl="0" eaLnBrk="1" fontAlgn="auto" latinLnBrk="0" hangingPunct="1">
        <a:lnSpc>
          <a:spcPct val="100000"/>
        </a:lnSpc>
        <a:spcBef>
          <a:spcPct val="0"/>
        </a:spcBef>
        <a:spcAft>
          <a:spcPts val="60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extLst>
              <p:ext uri="{D42A27DB-BD31-4B8C-83A1-F6EECF244321}">
                <p14:modId xmlns:p14="http://schemas.microsoft.com/office/powerpoint/2010/main" val="644031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5"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60691636"/>
      </p:ext>
    </p:extLst>
  </p:cSld>
  <p:clrMap bg1="lt1" tx1="dk1" bg2="lt2" tx2="dk2" accent1="accent1" accent2="accent2" accent3="accent3" accent4="accent4" accent5="accent5" accent6="accent6" hlink="hlink" folHlink="folHlink"/>
  <p:sldLayoutIdLst>
    <p:sldLayoutId id="2147483904" r:id="rId1"/>
    <p:sldLayoutId id="2147483912"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EE74F-42BB-400A-BDF7-2AC4EB895E92}"/>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11" imgW="270" imgH="270" progId="TCLayout.ActiveDocument.1">
                  <p:embed/>
                </p:oleObj>
              </mc:Choice>
              <mc:Fallback>
                <p:oleObj name="think-cell Slide" r:id="rId11" imgW="270" imgH="270" progId="TCLayout.ActiveDocument.1">
                  <p:embed/>
                  <p:pic>
                    <p:nvPicPr>
                      <p:cNvPr id="3" name="Object 2" hidden="1">
                        <a:extLst>
                          <a:ext uri="{FF2B5EF4-FFF2-40B4-BE49-F238E27FC236}">
                            <a16:creationId xmlns:a16="http://schemas.microsoft.com/office/drawing/2014/main" id="{575EE74F-42BB-400A-BDF7-2AC4EB895E9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3EAB68-6143-4F24-BBF2-8F54A5561D71}"/>
              </a:ext>
            </a:extLst>
          </p:cNvPr>
          <p:cNvSpPr/>
          <p:nvPr userDrawn="1">
            <p:custDataLst>
              <p:tags r:id="rId10"/>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chemeClr val="tx1"/>
              </a:solidFill>
              <a:latin typeface="Verdana" panose="020B0604030504040204" pitchFamily="34" charset="0"/>
              <a:ea typeface="+mj-ea"/>
              <a:cs typeface="+mj-cs"/>
              <a:sym typeface="Verdana" panose="020B0604030504040204" pitchFamily="34" charset="0"/>
            </a:endParaRPr>
          </a:p>
        </p:txBody>
      </p:sp>
      <p:grpSp>
        <p:nvGrpSpPr>
          <p:cNvPr id="46" name="Group_Sticker" hidden="1">
            <a:extLst>
              <a:ext uri="{FF2B5EF4-FFF2-40B4-BE49-F238E27FC236}">
                <a16:creationId xmlns:a16="http://schemas.microsoft.com/office/drawing/2014/main" id="{6BA3AC09-368D-406B-9C11-01FA82904368}"/>
              </a:ext>
            </a:extLst>
          </p:cNvPr>
          <p:cNvGrpSpPr/>
          <p:nvPr userDrawn="1"/>
        </p:nvGrpSpPr>
        <p:grpSpPr>
          <a:xfrm>
            <a:off x="11280847" y="1134206"/>
            <a:ext cx="649217" cy="251301"/>
            <a:chOff x="11280847" y="1134206"/>
            <a:chExt cx="649217" cy="251301"/>
          </a:xfrm>
        </p:grpSpPr>
        <p:sp>
          <p:nvSpPr>
            <p:cNvPr id="43" name="TextBox 42">
              <a:extLst>
                <a:ext uri="{FF2B5EF4-FFF2-40B4-BE49-F238E27FC236}">
                  <a16:creationId xmlns:a16="http://schemas.microsoft.com/office/drawing/2014/main" id="{797002E4-A702-4C7E-95F9-36FE6F712A90}"/>
                </a:ext>
              </a:extLst>
            </p:cNvPr>
            <p:cNvSpPr txBox="1"/>
            <p:nvPr/>
          </p:nvSpPr>
          <p:spPr>
            <a:xfrm>
              <a:off x="11280847" y="1139286"/>
              <a:ext cx="649217" cy="246221"/>
            </a:xfrm>
            <a:prstGeom prst="rect">
              <a:avLst/>
            </a:prstGeom>
            <a:noFill/>
          </p:spPr>
          <p:txBody>
            <a:bodyPr vert="horz" wrap="none" lIns="0" rIns="0" rtlCol="0" anchor="ctr">
              <a:spAutoFit/>
            </a:bodyPr>
            <a:lstStyle/>
            <a:p>
              <a:pPr algn="ctr"/>
              <a:r>
                <a:rPr lang="en-GB" sz="1000" b="1" dirty="0"/>
                <a:t>BACK-UP</a:t>
              </a:r>
            </a:p>
          </p:txBody>
        </p:sp>
        <p:cxnSp>
          <p:nvCxnSpPr>
            <p:cNvPr id="44" name="Straight Connector 43">
              <a:extLst>
                <a:ext uri="{FF2B5EF4-FFF2-40B4-BE49-F238E27FC236}">
                  <a16:creationId xmlns:a16="http://schemas.microsoft.com/office/drawing/2014/main" id="{4FAD93BE-4B3C-4597-ADA9-8069D73ACA33}"/>
                </a:ext>
              </a:extLst>
            </p:cNvPr>
            <p:cNvCxnSpPr/>
            <p:nvPr/>
          </p:nvCxnSpPr>
          <p:spPr>
            <a:xfrm>
              <a:off x="11280847" y="1134206"/>
              <a:ext cx="64921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F62299C-8783-44E4-AF5A-729CAB86BED9}"/>
                </a:ext>
              </a:extLst>
            </p:cNvPr>
            <p:cNvCxnSpPr/>
            <p:nvPr/>
          </p:nvCxnSpPr>
          <p:spPr>
            <a:xfrm>
              <a:off x="11280847" y="1377887"/>
              <a:ext cx="64921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 name="Text Placholder 1"/>
          <p:cNvSpPr>
            <a:spLocks noGrp="1"/>
          </p:cNvSpPr>
          <p:nvPr userDrawn="1">
            <p:ph type="body" idx="1"/>
          </p:nvPr>
        </p:nvSpPr>
        <p:spPr>
          <a:xfrm>
            <a:off x="550200" y="1624108"/>
            <a:ext cx="11090938" cy="4657445"/>
          </a:xfrm>
          <a:prstGeom prst="rect">
            <a:avLst/>
          </a:prstGeom>
        </p:spPr>
        <p:txBody>
          <a:bodyPr vert="horz" lIns="18000" tIns="0" rIns="18000" bIns="0" rtlCol="0">
            <a:normAutofit/>
          </a:bodyPr>
          <a:lstStyle/>
          <a:p>
            <a:pPr lvl="0"/>
            <a:r>
              <a:rPr lang="fr-FR" dirty="0"/>
              <a:t>Enter </a:t>
            </a:r>
            <a:r>
              <a:rPr lang="fr-FR" dirty="0" err="1"/>
              <a:t>your</a:t>
            </a:r>
            <a:r>
              <a:rPr lang="fr-FR" dirty="0"/>
              <a:t> content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en-US" dirty="0"/>
          </a:p>
        </p:txBody>
      </p:sp>
      <p:grpSp>
        <p:nvGrpSpPr>
          <p:cNvPr id="31" name="Groupe 1">
            <a:extLst>
              <a:ext uri="{FF2B5EF4-FFF2-40B4-BE49-F238E27FC236}">
                <a16:creationId xmlns:a16="http://schemas.microsoft.com/office/drawing/2014/main" id="{F31688C0-3AAB-457C-86FA-4177A059CF79}"/>
              </a:ext>
            </a:extLst>
          </p:cNvPr>
          <p:cNvGrpSpPr/>
          <p:nvPr userDrawn="1"/>
        </p:nvGrpSpPr>
        <p:grpSpPr>
          <a:xfrm>
            <a:off x="11501102" y="171573"/>
            <a:ext cx="419436" cy="388988"/>
            <a:chOff x="11501102" y="171573"/>
            <a:chExt cx="419436" cy="388988"/>
          </a:xfrm>
        </p:grpSpPr>
        <p:sp>
          <p:nvSpPr>
            <p:cNvPr id="33" name="Freeform 13">
              <a:extLst>
                <a:ext uri="{FF2B5EF4-FFF2-40B4-BE49-F238E27FC236}">
                  <a16:creationId xmlns:a16="http://schemas.microsoft.com/office/drawing/2014/main" id="{0DF4B7FE-AA65-4E55-B964-75A3DEE12DA3}"/>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4">
              <a:extLst>
                <a:ext uri="{FF2B5EF4-FFF2-40B4-BE49-F238E27FC236}">
                  <a16:creationId xmlns:a16="http://schemas.microsoft.com/office/drawing/2014/main" id="{08DB13D7-F3B3-4CCC-9572-7C835EA669A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0" name="Footer Placeholder 9">
            <a:extLst>
              <a:ext uri="{FF2B5EF4-FFF2-40B4-BE49-F238E27FC236}">
                <a16:creationId xmlns:a16="http://schemas.microsoft.com/office/drawing/2014/main" id="{86402A7C-5AA9-45DD-B951-474860BA57D2}"/>
              </a:ext>
            </a:extLst>
          </p:cNvPr>
          <p:cNvSpPr>
            <a:spLocks noGrp="1"/>
          </p:cNvSpPr>
          <p:nvPr userDrawn="1">
            <p:ph type="ftr" sz="quarter" idx="3"/>
          </p:nvPr>
        </p:nvSpPr>
        <p:spPr>
          <a:xfrm>
            <a:off x="299326" y="6650661"/>
            <a:ext cx="4716524" cy="123111"/>
          </a:xfrm>
          <a:prstGeom prst="rect">
            <a:avLst/>
          </a:prstGeom>
        </p:spPr>
        <p:txBody>
          <a:bodyPr wrap="none" lIns="0" tIns="0" rIns="0" bIns="0" anchor="ctr" anchorCtr="0">
            <a:noAutofit/>
          </a:bodyPr>
          <a:lstStyle>
            <a:lvl1pPr>
              <a:defRPr lang="de-DE" sz="800">
                <a:solidFill>
                  <a:schemeClr val="bg1">
                    <a:lumMod val="65000"/>
                  </a:schemeClr>
                </a:solidFill>
              </a:defRPr>
            </a:lvl1pPr>
          </a:lstStyle>
          <a:p>
            <a:pPr>
              <a:spcBef>
                <a:spcPts val="1000"/>
              </a:spcBef>
              <a:buFont typeface="Arial" panose="020B0604020202020204" pitchFamily="34" charset="0"/>
              <a:buNone/>
            </a:pPr>
            <a:r>
              <a:rPr lang="en-US" dirty="0"/>
              <a:t>Customer engagement | Capgemini Invent</a:t>
            </a:r>
          </a:p>
        </p:txBody>
      </p:sp>
      <p:sp>
        <p:nvSpPr>
          <p:cNvPr id="35" name="Date Placeholder 34">
            <a:extLst>
              <a:ext uri="{FF2B5EF4-FFF2-40B4-BE49-F238E27FC236}">
                <a16:creationId xmlns:a16="http://schemas.microsoft.com/office/drawing/2014/main" id="{9E7A3BD3-DDA4-42A3-B05C-F6E4E51D9B78}"/>
              </a:ext>
            </a:extLst>
          </p:cNvPr>
          <p:cNvSpPr>
            <a:spLocks noGrp="1"/>
          </p:cNvSpPr>
          <p:nvPr userDrawn="1">
            <p:ph type="dt" sz="half" idx="2"/>
          </p:nvPr>
        </p:nvSpPr>
        <p:spPr>
          <a:xfrm>
            <a:off x="8934673" y="6650661"/>
            <a:ext cx="2664297" cy="123111"/>
          </a:xfrm>
          <a:prstGeom prst="rect">
            <a:avLst/>
          </a:prstGeom>
        </p:spPr>
        <p:txBody>
          <a:bodyPr lIns="0" tIns="0" rIns="0" bIns="0" anchor="ctr" anchorCtr="0">
            <a:noAutofit/>
          </a:bodyPr>
          <a:lstStyle>
            <a:lvl1pPr>
              <a:defRPr lang="de-DE" sz="800" smtClean="0">
                <a:solidFill>
                  <a:schemeClr val="bg1">
                    <a:lumMod val="65000"/>
                  </a:schemeClr>
                </a:solidFill>
              </a:defRPr>
            </a:lvl1pPr>
          </a:lstStyle>
          <a:p>
            <a:pPr algn="r">
              <a:spcBef>
                <a:spcPts val="1000"/>
              </a:spcBef>
              <a:buFont typeface="Arial" panose="020B0604020202020204" pitchFamily="34" charset="0"/>
              <a:buNone/>
            </a:pPr>
            <a:r>
              <a:rPr lang="nl-BE"/>
              <a:t>© Capgemini Invent 2019. All rights reserved.</a:t>
            </a:r>
            <a:endParaRPr lang="en-US" dirty="0"/>
          </a:p>
        </p:txBody>
      </p:sp>
      <p:cxnSp>
        <p:nvCxnSpPr>
          <p:cNvPr id="37" name="Straight Connector 36">
            <a:extLst>
              <a:ext uri="{FF2B5EF4-FFF2-40B4-BE49-F238E27FC236}">
                <a16:creationId xmlns:a16="http://schemas.microsoft.com/office/drawing/2014/main" id="{61FB5033-B740-4260-9925-A29E1C4DD7E9}"/>
              </a:ext>
            </a:extLst>
          </p:cNvPr>
          <p:cNvCxnSpPr/>
          <p:nvPr userDrawn="1"/>
        </p:nvCxnSpPr>
        <p:spPr>
          <a:xfrm>
            <a:off x="11647152" y="6668075"/>
            <a:ext cx="0" cy="972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8" name="Slide Number Placeholder 37">
            <a:extLst>
              <a:ext uri="{FF2B5EF4-FFF2-40B4-BE49-F238E27FC236}">
                <a16:creationId xmlns:a16="http://schemas.microsoft.com/office/drawing/2014/main" id="{7AB8C2A9-4C2D-43C3-9F07-0C825FF51364}"/>
              </a:ext>
            </a:extLst>
          </p:cNvPr>
          <p:cNvSpPr>
            <a:spLocks noGrp="1"/>
          </p:cNvSpPr>
          <p:nvPr userDrawn="1">
            <p:ph type="sldNum" sz="quarter" idx="4"/>
          </p:nvPr>
        </p:nvSpPr>
        <p:spPr>
          <a:xfrm>
            <a:off x="11695335" y="6650661"/>
            <a:ext cx="232665" cy="123111"/>
          </a:xfrm>
          <a:prstGeom prst="rect">
            <a:avLst/>
          </a:prstGeom>
        </p:spPr>
        <p:txBody>
          <a:bodyPr wrap="square" lIns="0" tIns="0" rIns="0" bIns="0" anchor="ctr" anchorCtr="0">
            <a:spAutoFit/>
          </a:bodyPr>
          <a:lstStyle>
            <a:lvl1pPr>
              <a:defRPr lang="de-DE" sz="800" smtClean="0">
                <a:solidFill>
                  <a:schemeClr val="bg1">
                    <a:lumMod val="65000"/>
                  </a:schemeClr>
                </a:solidFill>
                <a:cs typeface="Arial" panose="020B0604020202020204" pitchFamily="34" charset="0"/>
              </a:defRPr>
            </a:lvl1pPr>
          </a:lstStyle>
          <a:p>
            <a:pPr algn="r"/>
            <a:fld id="{5D9A5160-6218-4E5A-B9E6-B93E3DAE377C}" type="slidenum">
              <a:rPr lang="en-US" smtClean="0"/>
              <a:pPr algn="r"/>
              <a:t>‹#›</a:t>
            </a:fld>
            <a:endParaRPr lang="en-US" dirty="0"/>
          </a:p>
        </p:txBody>
      </p:sp>
      <p:sp>
        <p:nvSpPr>
          <p:cNvPr id="40" name="CapgeminiBox" hidden="1">
            <a:extLst>
              <a:ext uri="{FF2B5EF4-FFF2-40B4-BE49-F238E27FC236}">
                <a16:creationId xmlns:a16="http://schemas.microsoft.com/office/drawing/2014/main" id="{E8770BC8-052E-4EAA-8660-F1973D1A5377}"/>
              </a:ext>
            </a:extLst>
          </p:cNvPr>
          <p:cNvSpPr txBox="1">
            <a:spLocks/>
          </p:cNvSpPr>
          <p:nvPr userDrawn="1"/>
        </p:nvSpPr>
        <p:spPr>
          <a:xfrm>
            <a:off x="0" y="0"/>
            <a:ext cx="2376218" cy="287973"/>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77800" indent="-177800"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1950" indent="-18415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539750" indent="-177800" algn="l" defTabSz="914400" rtl="0" eaLnBrk="1" latinLnBrk="0" hangingPunct="1">
              <a:lnSpc>
                <a:spcPct val="100000"/>
              </a:lnSpc>
              <a:spcBef>
                <a:spcPts val="600"/>
              </a:spcBef>
              <a:buClr>
                <a:schemeClr val="accent1"/>
              </a:buClr>
              <a:buFont typeface="Verdana" panose="020B0604030504040204" pitchFamily="34" charset="0"/>
              <a:buChar char="‒"/>
              <a:tabLst/>
              <a:defRPr sz="1200" kern="1200">
                <a:solidFill>
                  <a:schemeClr val="tx1"/>
                </a:solidFill>
                <a:latin typeface="+mn-lt"/>
                <a:ea typeface="+mn-ea"/>
                <a:cs typeface="+mn-cs"/>
              </a:defRPr>
            </a:lvl4pPr>
            <a:lvl5pPr marL="717550" indent="-177800"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GB" dirty="0" err="1">
                <a:solidFill>
                  <a:schemeClr val="tx1">
                    <a:lumMod val="85000"/>
                    <a:lumOff val="15000"/>
                  </a:schemeClr>
                </a:solidFill>
              </a:rPr>
              <a:t>Capgemini</a:t>
            </a:r>
            <a:r>
              <a:rPr lang="en-GB" dirty="0">
                <a:solidFill>
                  <a:schemeClr val="tx1">
                    <a:lumMod val="85000"/>
                    <a:lumOff val="15000"/>
                  </a:schemeClr>
                </a:solidFill>
              </a:rPr>
              <a:t> Invent</a:t>
            </a:r>
            <a:r>
              <a:rPr lang="en-GB" baseline="0" dirty="0">
                <a:solidFill>
                  <a:schemeClr val="tx1">
                    <a:lumMod val="85000"/>
                    <a:lumOff val="15000"/>
                  </a:schemeClr>
                </a:solidFill>
              </a:rPr>
              <a:t> </a:t>
            </a:r>
            <a:r>
              <a:rPr lang="en-GB" dirty="0">
                <a:solidFill>
                  <a:schemeClr val="tx1">
                    <a:lumMod val="85000"/>
                    <a:lumOff val="15000"/>
                  </a:schemeClr>
                </a:solidFill>
              </a:rPr>
              <a:t>v9.0</a:t>
            </a:r>
          </a:p>
        </p:txBody>
      </p:sp>
      <p:sp>
        <p:nvSpPr>
          <p:cNvPr id="41" name="FootnoteAndSource" hidden="1">
            <a:extLst>
              <a:ext uri="{FF2B5EF4-FFF2-40B4-BE49-F238E27FC236}">
                <a16:creationId xmlns:a16="http://schemas.microsoft.com/office/drawing/2014/main" id="{3DA1185B-144A-40DE-A4C3-65613C483C82}"/>
              </a:ext>
            </a:extLst>
          </p:cNvPr>
          <p:cNvSpPr txBox="1"/>
          <p:nvPr userDrawn="1"/>
        </p:nvSpPr>
        <p:spPr>
          <a:xfrm>
            <a:off x="545323" y="6304130"/>
            <a:ext cx="11340000" cy="162096"/>
          </a:xfrm>
          <a:prstGeom prst="rect">
            <a:avLst/>
          </a:prstGeom>
          <a:noFill/>
        </p:spPr>
        <p:txBody>
          <a:bodyPr vert="horz" wrap="square" lIns="0" tIns="25400" rIns="0" bIns="25400" rtlCol="0" anchor="b" anchorCtr="0">
            <a:spAutoFit/>
          </a:bodyPr>
          <a:lstStyle>
            <a:defPPr>
              <a:defRPr lang="pt-PT"/>
            </a:defPPr>
            <a:lvl1pPr marL="429768" indent="-429768">
              <a:lnSpc>
                <a:spcPct val="90000"/>
              </a:lnSpc>
              <a:tabLst>
                <a:tab pos="347472" algn="r"/>
              </a:tabLst>
              <a:defRPr sz="800"/>
            </a:lvl1pPr>
          </a:lstStyle>
          <a:p>
            <a:pPr marL="429768" indent="-429768" defTabSz="914400">
              <a:lnSpc>
                <a:spcPct val="90000"/>
              </a:lnSpc>
              <a:tabLst>
                <a:tab pos="347472" algn="r"/>
              </a:tabLst>
            </a:pPr>
            <a:r>
              <a:rPr lang="de-DE" sz="800" dirty="0"/>
              <a:t>	Source:	Source Text</a:t>
            </a:r>
          </a:p>
        </p:txBody>
      </p:sp>
      <p:sp>
        <p:nvSpPr>
          <p:cNvPr id="5" name="Title Placeholder 4">
            <a:extLst>
              <a:ext uri="{FF2B5EF4-FFF2-40B4-BE49-F238E27FC236}">
                <a16:creationId xmlns:a16="http://schemas.microsoft.com/office/drawing/2014/main" id="{D28F27D4-FFE2-4FAB-BA1B-9D013846C4B7}"/>
              </a:ext>
            </a:extLst>
          </p:cNvPr>
          <p:cNvSpPr>
            <a:spLocks noGrp="1"/>
          </p:cNvSpPr>
          <p:nvPr>
            <p:ph type="title"/>
          </p:nvPr>
        </p:nvSpPr>
        <p:spPr>
          <a:xfrm>
            <a:off x="550863" y="6907"/>
            <a:ext cx="10873877" cy="1127300"/>
          </a:xfrm>
          <a:prstGeom prst="rect">
            <a:avLst/>
          </a:prstGeom>
        </p:spPr>
        <p:txBody>
          <a:bodyPr vert="horz" lIns="0" tIns="180000" rIns="0" bIns="0" rtlCol="0" anchor="t" anchorCtr="0">
            <a:noAutofit/>
          </a:bodyPr>
          <a:lstStyle/>
          <a:p>
            <a:r>
              <a:rPr lang="en-US"/>
              <a:t>Click to edit Master title style</a:t>
            </a:r>
            <a:endParaRPr lang="de-DE" dirty="0"/>
          </a:p>
        </p:txBody>
      </p:sp>
    </p:spTree>
    <p:extLst>
      <p:ext uri="{BB962C8B-B14F-4D97-AF65-F5344CB8AC3E}">
        <p14:creationId xmlns:p14="http://schemas.microsoft.com/office/powerpoint/2010/main" val="2820656681"/>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Lst>
  <p:hf hdr="0"/>
  <p:txStyles>
    <p:title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100" normalizeH="0" baseline="0" noProof="0" dirty="0">
          <a:ln>
            <a:noFill/>
          </a:ln>
          <a:solidFill>
            <a:schemeClr val="tx2"/>
          </a:solidFill>
          <a:effectLst/>
          <a:uLnTx/>
          <a:uFillTx/>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1"/>
          </a:solidFill>
          <a:latin typeface="+mn-lt"/>
          <a:ea typeface="+mn-ea"/>
          <a:cs typeface="+mn-cs"/>
        </a:defRPr>
      </a:lvl3pPr>
      <a:lvl4pPr marL="539750" indent="-180000" algn="l" defTabSz="914400" rtl="0" eaLnBrk="1" latinLnBrk="0" hangingPunct="1">
        <a:lnSpc>
          <a:spcPct val="100000"/>
        </a:lnSpc>
        <a:spcBef>
          <a:spcPts val="600"/>
        </a:spcBef>
        <a:buClr>
          <a:schemeClr val="accent1"/>
        </a:buClr>
        <a:buFont typeface="Verdana" panose="020B0604030504040204" pitchFamily="34" charset="0"/>
        <a:buChar char="‒"/>
        <a:tabLst/>
        <a:defRPr sz="1200" kern="1200">
          <a:solidFill>
            <a:schemeClr val="tx1"/>
          </a:solidFill>
          <a:latin typeface="+mn-lt"/>
          <a:ea typeface="+mn-ea"/>
          <a:cs typeface="+mn-cs"/>
        </a:defRPr>
      </a:lvl4pPr>
      <a:lvl5pPr marL="719138" indent="-180975" algn="l" defTabSz="914400" rtl="0" eaLnBrk="1" latinLnBrk="0" hangingPunct="1">
        <a:lnSpc>
          <a:spcPct val="10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8">
          <p15:clr>
            <a:srgbClr val="F26B43"/>
          </p15:clr>
        </p15:guide>
        <p15:guide id="3" orient="horz" pos="4065">
          <p15:clr>
            <a:srgbClr val="F26B43"/>
          </p15:clr>
        </p15:guide>
        <p15:guide id="5" orient="horz" pos="1026">
          <p15:clr>
            <a:srgbClr val="F26B43"/>
          </p15:clr>
        </p15:guide>
        <p15:guide id="6" pos="347">
          <p15:clr>
            <a:srgbClr val="F26B43"/>
          </p15:clr>
        </p15:guide>
        <p15:guide id="7" pos="3840">
          <p15:clr>
            <a:srgbClr val="F26B43"/>
          </p15:clr>
        </p15:guide>
        <p15:guide id="8" pos="7333">
          <p15:clr>
            <a:srgbClr val="F26B43"/>
          </p15:clr>
        </p15:guide>
        <p15:guide id="9" orient="horz" pos="16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40.png"/><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18.emf"/><Relationship Id="rId5" Type="http://schemas.openxmlformats.org/officeDocument/2006/relationships/oleObject" Target="../embeddings/oleObject19.bin"/><Relationship Id="rId4"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9.xml"/><Relationship Id="rId7" Type="http://schemas.openxmlformats.org/officeDocument/2006/relationships/image" Target="../media/image32.emf"/><Relationship Id="rId2" Type="http://schemas.openxmlformats.org/officeDocument/2006/relationships/tags" Target="../tags/tag2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hyperlink" Target="https://www.world-exchanges.org/news/articles/world-federation-exchanges-releases-first-quarter-2020-full-year-2019-market-highlights" TargetMode="External"/><Relationship Id="rId3" Type="http://schemas.openxmlformats.org/officeDocument/2006/relationships/tags" Target="../tags/tag31.xml"/><Relationship Id="rId7" Type="http://schemas.openxmlformats.org/officeDocument/2006/relationships/image" Target="../media/image32.emf"/><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5.xml"/><Relationship Id="rId10" Type="http://schemas.openxmlformats.org/officeDocument/2006/relationships/image" Target="../media/image40.png"/><Relationship Id="rId4" Type="http://schemas.openxmlformats.org/officeDocument/2006/relationships/slideLayout" Target="../slideLayouts/slideLayout9.xml"/><Relationship Id="rId9" Type="http://schemas.openxmlformats.org/officeDocument/2006/relationships/chart" Target="../charts/chart1.xml"/></Relationships>
</file>

<file path=ppt/slides/_rels/slide13.xml.rels><?xml version="1.0" encoding="UTF-8" standalone="yes"?>
<Relationships xmlns="http://schemas.openxmlformats.org/package/2006/relationships"><Relationship Id="rId8" Type="http://schemas.openxmlformats.org/officeDocument/2006/relationships/hyperlink" Target="https://www.world-exchanges.org/news/articles/world-federation-exchanges-releases-first-quarter-2020-full-year-2019-market-highlights" TargetMode="External"/><Relationship Id="rId3" Type="http://schemas.openxmlformats.org/officeDocument/2006/relationships/tags" Target="../tags/tag33.xml"/><Relationship Id="rId7" Type="http://schemas.openxmlformats.org/officeDocument/2006/relationships/image" Target="../media/image32.emf"/><Relationship Id="rId2" Type="http://schemas.openxmlformats.org/officeDocument/2006/relationships/tags" Target="../tags/tag32.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6.xml"/><Relationship Id="rId10" Type="http://schemas.openxmlformats.org/officeDocument/2006/relationships/image" Target="../media/image40.png"/><Relationship Id="rId4" Type="http://schemas.openxmlformats.org/officeDocument/2006/relationships/slideLayout" Target="../slideLayouts/slideLayout9.xml"/><Relationship Id="rId9"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35.xml"/><Relationship Id="rId7" Type="http://schemas.openxmlformats.org/officeDocument/2006/relationships/chart" Target="../charts/chart4.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32.emf"/><Relationship Id="rId5" Type="http://schemas.openxmlformats.org/officeDocument/2006/relationships/oleObject" Target="../embeddings/oleObject23.bin"/><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7.xml"/></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9.xml"/><Relationship Id="rId7" Type="http://schemas.openxmlformats.org/officeDocument/2006/relationships/image" Target="../media/image32.emf"/><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8.xml"/><Relationship Id="rId4" Type="http://schemas.openxmlformats.org/officeDocument/2006/relationships/slideLayout" Target="../slideLayouts/slideLayout9.xml"/><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image" Target="../media/image40.png"/><Relationship Id="rId5" Type="http://schemas.openxmlformats.org/officeDocument/2006/relationships/image" Target="../media/image46.png"/><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3.jpeg"/><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hyperlink" Target="mailto:robert.van.der.eijk@capgemini.com" TargetMode="External"/><Relationship Id="rId5" Type="http://schemas.openxmlformats.org/officeDocument/2006/relationships/image" Target="../media/image32.emf"/><Relationship Id="rId4" Type="http://schemas.openxmlformats.org/officeDocument/2006/relationships/oleObject" Target="../embeddings/oleObject16.bin"/></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2.xml"/><Relationship Id="rId7" Type="http://schemas.openxmlformats.org/officeDocument/2006/relationships/image" Target="../media/image32.emf"/><Relationship Id="rId2" Type="http://schemas.openxmlformats.org/officeDocument/2006/relationships/tags" Target="../tags/tag4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chart" Target="../charts/chart7.xml"/></Relationships>
</file>

<file path=ppt/slides/_rels/slide2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notesSlide" Target="../notesSlides/notesSlide11.xml"/><Relationship Id="rId7"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40.png"/><Relationship Id="rId9" Type="http://schemas.openxmlformats.org/officeDocument/2006/relationships/image" Target="../media/image48.svg"/></Relationships>
</file>

<file path=ppt/slides/_rels/slide22.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12.xml"/><Relationship Id="rId7" Type="http://schemas.openxmlformats.org/officeDocument/2006/relationships/chart" Target="../charts/chart13.xml"/><Relationship Id="rId12" Type="http://schemas.openxmlformats.org/officeDocument/2006/relationships/image" Target="../media/image48.svg"/><Relationship Id="rId2" Type="http://schemas.openxmlformats.org/officeDocument/2006/relationships/slideLayout" Target="../slideLayouts/slideLayout9.xml"/><Relationship Id="rId1" Type="http://schemas.openxmlformats.org/officeDocument/2006/relationships/tags" Target="../tags/tag44.xml"/><Relationship Id="rId6" Type="http://schemas.openxmlformats.org/officeDocument/2006/relationships/chart" Target="../charts/chart12.xml"/><Relationship Id="rId11" Type="http://schemas.openxmlformats.org/officeDocument/2006/relationships/image" Target="../media/image47.png"/><Relationship Id="rId5" Type="http://schemas.openxmlformats.org/officeDocument/2006/relationships/chart" Target="../charts/chart11.xml"/><Relationship Id="rId10" Type="http://schemas.openxmlformats.org/officeDocument/2006/relationships/chart" Target="../charts/chart16.xml"/><Relationship Id="rId4" Type="http://schemas.openxmlformats.org/officeDocument/2006/relationships/image" Target="../media/image40.png"/><Relationship Id="rId9" Type="http://schemas.openxmlformats.org/officeDocument/2006/relationships/chart" Target="../charts/chart15.xml"/></Relationships>
</file>

<file path=ppt/slides/_rels/slide23.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chart" Target="../charts/chart21.xml"/><Relationship Id="rId3" Type="http://schemas.openxmlformats.org/officeDocument/2006/relationships/tags" Target="../tags/tag46.xml"/><Relationship Id="rId7" Type="http://schemas.openxmlformats.org/officeDocument/2006/relationships/oleObject" Target="../embeddings/oleObject26.bin"/><Relationship Id="rId12" Type="http://schemas.openxmlformats.org/officeDocument/2006/relationships/chart" Target="../charts/chart20.xml"/><Relationship Id="rId17" Type="http://schemas.openxmlformats.org/officeDocument/2006/relationships/image" Target="../media/image40.png"/><Relationship Id="rId2" Type="http://schemas.openxmlformats.org/officeDocument/2006/relationships/tags" Target="../tags/tag45.xml"/><Relationship Id="rId16" Type="http://schemas.openxmlformats.org/officeDocument/2006/relationships/chart" Target="../charts/chart24.xml"/><Relationship Id="rId1" Type="http://schemas.openxmlformats.org/officeDocument/2006/relationships/vmlDrawing" Target="../drawings/vmlDrawing26.vml"/><Relationship Id="rId6" Type="http://schemas.openxmlformats.org/officeDocument/2006/relationships/notesSlide" Target="../notesSlides/notesSlide13.xml"/><Relationship Id="rId11" Type="http://schemas.openxmlformats.org/officeDocument/2006/relationships/chart" Target="../charts/chart19.xml"/><Relationship Id="rId5" Type="http://schemas.openxmlformats.org/officeDocument/2006/relationships/slideLayout" Target="../slideLayouts/slideLayout9.xml"/><Relationship Id="rId15" Type="http://schemas.openxmlformats.org/officeDocument/2006/relationships/chart" Target="../charts/chart23.xml"/><Relationship Id="rId10" Type="http://schemas.openxmlformats.org/officeDocument/2006/relationships/chart" Target="../charts/chart18.xml"/><Relationship Id="rId4" Type="http://schemas.openxmlformats.org/officeDocument/2006/relationships/tags" Target="../tags/tag47.xml"/><Relationship Id="rId9" Type="http://schemas.openxmlformats.org/officeDocument/2006/relationships/chart" Target="../charts/chart17.xml"/><Relationship Id="rId14" Type="http://schemas.openxmlformats.org/officeDocument/2006/relationships/chart" Target="../charts/chart22.xml"/></Relationships>
</file>

<file path=ppt/slides/_rels/slide24.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hyperlink" Target="https://www.bloomberg.com/news/articles/2020-03-31/esg-stock-resilance-is-paving-the-way-for-a-surge-in-popularity" TargetMode="External"/><Relationship Id="rId3" Type="http://schemas.openxmlformats.org/officeDocument/2006/relationships/tags" Target="../tags/tag49.xml"/><Relationship Id="rId7" Type="http://schemas.openxmlformats.org/officeDocument/2006/relationships/oleObject" Target="../embeddings/oleObject27.bin"/><Relationship Id="rId12" Type="http://schemas.openxmlformats.org/officeDocument/2006/relationships/image" Target="../media/image52.png"/><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notesSlide" Target="../notesSlides/notesSlide14.xml"/><Relationship Id="rId11" Type="http://schemas.openxmlformats.org/officeDocument/2006/relationships/image" Target="../media/image51.png"/><Relationship Id="rId5" Type="http://schemas.openxmlformats.org/officeDocument/2006/relationships/slideLayout" Target="../slideLayouts/slideLayout9.xml"/><Relationship Id="rId15" Type="http://schemas.openxmlformats.org/officeDocument/2006/relationships/image" Target="../media/image40.png"/><Relationship Id="rId10" Type="http://schemas.openxmlformats.org/officeDocument/2006/relationships/image" Target="../media/image50.svg"/><Relationship Id="rId4" Type="http://schemas.openxmlformats.org/officeDocument/2006/relationships/tags" Target="../tags/tag50.xml"/><Relationship Id="rId9" Type="http://schemas.openxmlformats.org/officeDocument/2006/relationships/image" Target="../media/image49.png"/><Relationship Id="rId14" Type="http://schemas.openxmlformats.org/officeDocument/2006/relationships/hyperlink" Target="https://www.bloomberg.com/news/articles/2020-04-02/virus-boosts-rich-asian-interest-in-sustainable-investing-trend" TargetMode="Externa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51.xml"/><Relationship Id="rId5" Type="http://schemas.openxmlformats.org/officeDocument/2006/relationships/image" Target="../media/image40.png"/><Relationship Id="rId4" Type="http://schemas.openxmlformats.org/officeDocument/2006/relationships/image" Target="../media/image53.png"/></Relationships>
</file>

<file path=ppt/slides/_rels/slide2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slideLayout" Target="../slideLayouts/slideLayout9.xml"/><Relationship Id="rId1" Type="http://schemas.openxmlformats.org/officeDocument/2006/relationships/tags" Target="../tags/tag52.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54.xml"/><Relationship Id="rId7" Type="http://schemas.openxmlformats.org/officeDocument/2006/relationships/image" Target="../media/image32.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6.xml"/><Relationship Id="rId4" Type="http://schemas.openxmlformats.org/officeDocument/2006/relationships/slideLayout" Target="../slideLayouts/slideLayout9.xml"/><Relationship Id="rId9"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9.xml"/><Relationship Id="rId1" Type="http://schemas.openxmlformats.org/officeDocument/2006/relationships/tags" Target="../tags/tag55.xml"/><Relationship Id="rId6" Type="http://schemas.openxmlformats.org/officeDocument/2006/relationships/image" Target="../media/image40.png"/><Relationship Id="rId5" Type="http://schemas.openxmlformats.org/officeDocument/2006/relationships/image" Target="../media/image57.png"/><Relationship Id="rId4" Type="http://schemas.openxmlformats.org/officeDocument/2006/relationships/image" Target="../media/image56.svg"/></Relationships>
</file>

<file path=ppt/slides/_rels/slide29.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57.xml"/><Relationship Id="rId7" Type="http://schemas.openxmlformats.org/officeDocument/2006/relationships/oleObject" Target="../embeddings/oleObject29.bin"/><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notesSlide" Target="../notesSlides/notesSlide17.xml"/><Relationship Id="rId5" Type="http://schemas.openxmlformats.org/officeDocument/2006/relationships/slideLayout" Target="../slideLayouts/slideLayout9.xml"/><Relationship Id="rId10" Type="http://schemas.openxmlformats.org/officeDocument/2006/relationships/image" Target="../media/image40.png"/><Relationship Id="rId4" Type="http://schemas.openxmlformats.org/officeDocument/2006/relationships/tags" Target="../tags/tag58.xml"/><Relationship Id="rId9" Type="http://schemas.openxmlformats.org/officeDocument/2006/relationships/image" Target="../media/image58.emf"/></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0.xml"/><Relationship Id="rId7" Type="http://schemas.openxmlformats.org/officeDocument/2006/relationships/image" Target="../media/image35.png"/><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34.png"/><Relationship Id="rId5" Type="http://schemas.openxmlformats.org/officeDocument/2006/relationships/image" Target="../media/image29.emf"/><Relationship Id="rId4" Type="http://schemas.openxmlformats.org/officeDocument/2006/relationships/oleObject" Target="../embeddings/oleObject17.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0.png"/><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32.emf"/><Relationship Id="rId5" Type="http://schemas.openxmlformats.org/officeDocument/2006/relationships/oleObject" Target="../embeddings/oleObject18.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780" name="Title 108779">
            <a:extLst>
              <a:ext uri="{FF2B5EF4-FFF2-40B4-BE49-F238E27FC236}">
                <a16:creationId xmlns:a16="http://schemas.microsoft.com/office/drawing/2014/main" id="{8AC776D6-5EDD-4E67-ACEB-5AAC23F8FC15}"/>
              </a:ext>
            </a:extLst>
          </p:cNvPr>
          <p:cNvSpPr>
            <a:spLocks noGrp="1"/>
          </p:cNvSpPr>
          <p:nvPr>
            <p:ph type="ctrTitle"/>
          </p:nvPr>
        </p:nvSpPr>
        <p:spPr>
          <a:xfrm>
            <a:off x="407988" y="1307049"/>
            <a:ext cx="6397926" cy="1475154"/>
          </a:xfrm>
        </p:spPr>
        <p:txBody>
          <a:bodyPr anchor="ctr"/>
          <a:lstStyle/>
          <a:p>
            <a:pPr>
              <a:lnSpc>
                <a:spcPct val="100000"/>
              </a:lnSpc>
              <a:spcAft>
                <a:spcPts val="600"/>
              </a:spcAft>
            </a:pPr>
            <a:r>
              <a:rPr lang="en-GB" sz="3200" dirty="0"/>
              <a:t>World Wealth Report 2020</a:t>
            </a:r>
            <a:br>
              <a:rPr lang="en-GB" sz="3200" dirty="0"/>
            </a:br>
            <a:r>
              <a:rPr lang="en-GB" sz="2800" dirty="0"/>
              <a:t>Key Findings</a:t>
            </a:r>
            <a:endParaRPr lang="en-GB" sz="3200" dirty="0"/>
          </a:p>
        </p:txBody>
      </p:sp>
      <p:sp>
        <p:nvSpPr>
          <p:cNvPr id="108781" name="Subtitle 108780">
            <a:extLst>
              <a:ext uri="{FF2B5EF4-FFF2-40B4-BE49-F238E27FC236}">
                <a16:creationId xmlns:a16="http://schemas.microsoft.com/office/drawing/2014/main" id="{0EF68345-7F8E-4959-8778-67E44149E731}"/>
              </a:ext>
            </a:extLst>
          </p:cNvPr>
          <p:cNvSpPr>
            <a:spLocks noGrp="1"/>
          </p:cNvSpPr>
          <p:nvPr>
            <p:ph type="subTitle" idx="1"/>
          </p:nvPr>
        </p:nvSpPr>
        <p:spPr>
          <a:xfrm>
            <a:off x="407988" y="2782203"/>
            <a:ext cx="3807085" cy="483699"/>
          </a:xfrm>
        </p:spPr>
        <p:txBody>
          <a:bodyPr/>
          <a:lstStyle/>
          <a:p>
            <a:r>
              <a:rPr lang="en-GB" sz="1800" dirty="0"/>
              <a:t>Luxembourg</a:t>
            </a:r>
          </a:p>
          <a:p>
            <a:r>
              <a:rPr lang="en-GB" sz="1800" dirty="0"/>
              <a:t>July 10, 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D0103F1E-1D32-4746-BC22-A5144634C789}"/>
              </a:ext>
            </a:extLst>
          </p:cNvPr>
          <p:cNvGraphicFramePr>
            <a:graphicFrameLocks noChangeAspect="1"/>
          </p:cNvGraphicFramePr>
          <p:nvPr>
            <p:custDataLst>
              <p:tags r:id="rId2"/>
            </p:custDataLst>
            <p:extLst>
              <p:ext uri="{D42A27DB-BD31-4B8C-83A1-F6EECF244321}">
                <p14:modId xmlns:p14="http://schemas.microsoft.com/office/powerpoint/2010/main" val="162389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0" name="think-cell Slide" r:id="rId5" imgW="503" imgH="503" progId="TCLayout.ActiveDocument.1">
                  <p:embed/>
                </p:oleObj>
              </mc:Choice>
              <mc:Fallback>
                <p:oleObj name="think-cell Slide" r:id="rId5" imgW="503" imgH="503" progId="TCLayout.ActiveDocument.1">
                  <p:embed/>
                  <p:pic>
                    <p:nvPicPr>
                      <p:cNvPr id="30" name="Object 29" hidden="1">
                        <a:extLst>
                          <a:ext uri="{FF2B5EF4-FFF2-40B4-BE49-F238E27FC236}">
                            <a16:creationId xmlns:a16="http://schemas.microsoft.com/office/drawing/2014/main" id="{D0103F1E-1D32-4746-BC22-A5144634C7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397B6AC1-B3BB-4F6E-B06D-71BA1F0D7C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fr-FR" sz="2400" u="none" strike="noStrike" kern="1200" cap="none" spc="0" normalizeH="0" noProof="0" dirty="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E4873407-4FE5-4436-AD95-2D4BCF17EAB9}"/>
              </a:ext>
            </a:extLst>
          </p:cNvPr>
          <p:cNvSpPr>
            <a:spLocks noGrp="1"/>
          </p:cNvSpPr>
          <p:nvPr>
            <p:ph type="title"/>
          </p:nvPr>
        </p:nvSpPr>
        <p:spPr>
          <a:xfrm>
            <a:off x="550200" y="0"/>
            <a:ext cx="8455385" cy="1104900"/>
          </a:xfrm>
        </p:spPr>
        <p:txBody>
          <a:bodyPr/>
          <a:lstStyle/>
          <a:p>
            <a:r>
              <a:rPr lang="fr-FR" sz="2400" dirty="0" err="1"/>
              <a:t>We</a:t>
            </a:r>
            <a:r>
              <a:rPr lang="fr-FR" sz="2400" dirty="0"/>
              <a:t> </a:t>
            </a:r>
            <a:r>
              <a:rPr lang="fr-FR" sz="2400" dirty="0" err="1"/>
              <a:t>believe</a:t>
            </a:r>
            <a:r>
              <a:rPr lang="fr-FR" sz="2400" dirty="0"/>
              <a:t> Responsive </a:t>
            </a:r>
            <a:r>
              <a:rPr lang="fr-FR" sz="2400" dirty="0" err="1"/>
              <a:t>Working</a:t>
            </a:r>
            <a:r>
              <a:rPr lang="fr-FR" sz="2400" dirty="0"/>
              <a:t> </a:t>
            </a:r>
            <a:r>
              <a:rPr lang="fr-FR" sz="2400" dirty="0" err="1"/>
              <a:t>Paradigm</a:t>
            </a:r>
            <a:r>
              <a:rPr lang="fr-FR" sz="2400" dirty="0"/>
              <a:t> </a:t>
            </a:r>
            <a:r>
              <a:rPr lang="fr-FR" sz="2400" dirty="0" err="1"/>
              <a:t>should</a:t>
            </a:r>
            <a:r>
              <a:rPr lang="fr-FR" sz="2400" dirty="0"/>
              <a:t> </a:t>
            </a:r>
            <a:r>
              <a:rPr lang="fr-FR" sz="2400" dirty="0" err="1"/>
              <a:t>be</a:t>
            </a:r>
            <a:r>
              <a:rPr lang="fr-FR" sz="2400" dirty="0"/>
              <a:t> </a:t>
            </a:r>
            <a:r>
              <a:rPr lang="fr-FR" sz="2400" dirty="0" err="1"/>
              <a:t>designed</a:t>
            </a:r>
            <a:r>
              <a:rPr lang="fr-FR" sz="2400" dirty="0"/>
              <a:t> to </a:t>
            </a:r>
            <a:r>
              <a:rPr lang="fr-FR" sz="2400" dirty="0" err="1"/>
              <a:t>benefit</a:t>
            </a:r>
            <a:r>
              <a:rPr lang="fr-FR" sz="2400" dirty="0"/>
              <a:t> </a:t>
            </a:r>
            <a:r>
              <a:rPr lang="fr-FR" sz="2400" dirty="0" err="1"/>
              <a:t>Corporates</a:t>
            </a:r>
            <a:r>
              <a:rPr lang="fr-FR" sz="2400" dirty="0"/>
              <a:t>, </a:t>
            </a:r>
            <a:r>
              <a:rPr lang="fr-FR" sz="2400" dirty="0" err="1"/>
              <a:t>Employees</a:t>
            </a:r>
            <a:r>
              <a:rPr lang="fr-FR" sz="2400" dirty="0"/>
              <a:t> and Society</a:t>
            </a:r>
          </a:p>
        </p:txBody>
      </p:sp>
      <p:sp>
        <p:nvSpPr>
          <p:cNvPr id="5" name="TextBox 4">
            <a:extLst>
              <a:ext uri="{FF2B5EF4-FFF2-40B4-BE49-F238E27FC236}">
                <a16:creationId xmlns:a16="http://schemas.microsoft.com/office/drawing/2014/main" id="{616547C7-3FCD-4603-A8B5-9878CAB2A753}"/>
              </a:ext>
            </a:extLst>
          </p:cNvPr>
          <p:cNvSpPr txBox="1"/>
          <p:nvPr/>
        </p:nvSpPr>
        <p:spPr>
          <a:xfrm>
            <a:off x="1280160" y="2132656"/>
            <a:ext cx="300285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70AD"/>
                </a:solidFill>
                <a:effectLst/>
                <a:uLnTx/>
                <a:uFillTx/>
                <a:latin typeface="Verdana"/>
                <a:ea typeface="+mn-ea"/>
                <a:cs typeface="+mn-cs"/>
              </a:rPr>
              <a:t>REDUCE COSTS </a:t>
            </a:r>
            <a:r>
              <a:rPr kumimoji="0" lang="fr-FR" sz="1800" b="0" i="0" u="none" strike="noStrike" kern="1200" cap="none" spc="0" normalizeH="0" baseline="0" noProof="0" dirty="0">
                <a:ln>
                  <a:noFill/>
                </a:ln>
                <a:solidFill>
                  <a:srgbClr val="0070AD"/>
                </a:solidFill>
                <a:effectLst/>
                <a:uLnTx/>
                <a:uFillTx/>
                <a:latin typeface="Verdana"/>
                <a:ea typeface="+mn-ea"/>
                <a:cs typeface="+mn-cs"/>
              </a:rPr>
              <a:t>WHILE </a:t>
            </a:r>
            <a:r>
              <a:rPr kumimoji="0" lang="fr-FR" sz="1800" b="1" i="0" u="none" strike="noStrike" kern="1200" cap="none" spc="0" normalizeH="0" baseline="0" noProof="0" dirty="0">
                <a:ln>
                  <a:noFill/>
                </a:ln>
                <a:solidFill>
                  <a:srgbClr val="0070AD"/>
                </a:solidFill>
                <a:effectLst/>
                <a:uLnTx/>
                <a:uFillTx/>
                <a:latin typeface="Verdana"/>
                <a:ea typeface="+mn-ea"/>
                <a:cs typeface="+mn-cs"/>
              </a:rPr>
              <a:t>REENGAGING</a:t>
            </a:r>
            <a:r>
              <a:rPr kumimoji="0" lang="fr-FR" sz="1800" b="0" i="0" u="none" strike="noStrike" kern="1200" cap="none" spc="0" normalizeH="0" baseline="0" noProof="0" dirty="0">
                <a:ln>
                  <a:noFill/>
                </a:ln>
                <a:solidFill>
                  <a:srgbClr val="0070AD"/>
                </a:solidFill>
                <a:effectLst/>
                <a:uLnTx/>
                <a:uFillTx/>
                <a:latin typeface="Verdana"/>
                <a:ea typeface="+mn-ea"/>
                <a:cs typeface="+mn-cs"/>
              </a:rPr>
              <a:t> A POSITIVE </a:t>
            </a:r>
            <a:r>
              <a:rPr kumimoji="0" lang="fr-FR" sz="1800" b="1" i="0" u="none" strike="noStrike" kern="1200" cap="none" spc="0" normalizeH="0" baseline="0" noProof="0" dirty="0">
                <a:ln>
                  <a:noFill/>
                </a:ln>
                <a:solidFill>
                  <a:srgbClr val="0070AD"/>
                </a:solidFill>
                <a:effectLst/>
                <a:uLnTx/>
                <a:uFillTx/>
                <a:latin typeface="Verdana"/>
                <a:ea typeface="+mn-ea"/>
                <a:cs typeface="+mn-cs"/>
              </a:rPr>
              <a:t>PEOPLE DYNAM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70AD"/>
              </a:solidFill>
              <a:effectLst/>
              <a:uLnTx/>
              <a:uFillTx/>
              <a:latin typeface="Verdana"/>
              <a:ea typeface="+mn-ea"/>
              <a:cs typeface="+mn-cs"/>
            </a:endParaRPr>
          </a:p>
        </p:txBody>
      </p:sp>
      <p:sp>
        <p:nvSpPr>
          <p:cNvPr id="6" name="TextBox 5">
            <a:extLst>
              <a:ext uri="{FF2B5EF4-FFF2-40B4-BE49-F238E27FC236}">
                <a16:creationId xmlns:a16="http://schemas.microsoft.com/office/drawing/2014/main" id="{32EF9C1C-BDCD-46D3-AD8C-26748BD0B6E7}"/>
              </a:ext>
            </a:extLst>
          </p:cNvPr>
          <p:cNvSpPr txBox="1"/>
          <p:nvPr/>
        </p:nvSpPr>
        <p:spPr>
          <a:xfrm>
            <a:off x="7509828" y="1665288"/>
            <a:ext cx="416623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12ABDB"/>
                </a:solidFill>
                <a:effectLst/>
                <a:uLnTx/>
                <a:uFillTx/>
                <a:latin typeface="Verdana"/>
                <a:ea typeface="+mn-ea"/>
                <a:cs typeface="+mn-cs"/>
              </a:rPr>
              <a:t>REINVENT</a:t>
            </a:r>
            <a:r>
              <a:rPr kumimoji="0" lang="fr-FR" sz="1800" b="0" i="0" u="none" strike="noStrike" kern="1200" cap="none" spc="0" normalizeH="0" baseline="0" noProof="0" dirty="0">
                <a:ln>
                  <a:noFill/>
                </a:ln>
                <a:solidFill>
                  <a:srgbClr val="12ABDB"/>
                </a:solidFill>
                <a:effectLst/>
                <a:uLnTx/>
                <a:uFillTx/>
                <a:latin typeface="Verdana"/>
                <a:ea typeface="+mn-ea"/>
                <a:cs typeface="+mn-cs"/>
              </a:rPr>
              <a:t> A MORE FLEXIBLE WORKING PARADIGM </a:t>
            </a:r>
            <a:r>
              <a:rPr kumimoji="0" lang="fr-FR" sz="1800" b="1" i="0" u="none" strike="noStrike" kern="1200" cap="none" spc="0" normalizeH="0" baseline="0" noProof="0" dirty="0">
                <a:ln>
                  <a:noFill/>
                </a:ln>
                <a:solidFill>
                  <a:srgbClr val="12ABDB"/>
                </a:solidFill>
                <a:effectLst/>
                <a:uLnTx/>
                <a:uFillTx/>
                <a:latin typeface="Verdana"/>
                <a:ea typeface="+mn-ea"/>
                <a:cs typeface="+mn-cs"/>
              </a:rPr>
              <a:t>BUT PERSERVE SKILLS AND KNOW-HOW</a:t>
            </a:r>
          </a:p>
        </p:txBody>
      </p:sp>
      <p:sp>
        <p:nvSpPr>
          <p:cNvPr id="7" name="TextBox 6">
            <a:extLst>
              <a:ext uri="{FF2B5EF4-FFF2-40B4-BE49-F238E27FC236}">
                <a16:creationId xmlns:a16="http://schemas.microsoft.com/office/drawing/2014/main" id="{47E296B0-486E-42BB-A0E6-34BD66E00FA8}"/>
              </a:ext>
            </a:extLst>
          </p:cNvPr>
          <p:cNvSpPr txBox="1"/>
          <p:nvPr/>
        </p:nvSpPr>
        <p:spPr>
          <a:xfrm>
            <a:off x="7493058" y="4028663"/>
            <a:ext cx="408172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304C"/>
                </a:solidFill>
                <a:effectLst/>
                <a:uLnTx/>
                <a:uFillTx/>
                <a:latin typeface="Verdana"/>
                <a:ea typeface="+mn-ea"/>
                <a:cs typeface="+mn-cs"/>
              </a:rPr>
              <a:t>REDEFINE</a:t>
            </a:r>
            <a:r>
              <a:rPr kumimoji="0" lang="fr-FR" sz="1800" b="0" i="0" u="none" strike="noStrike" kern="1200" cap="none" spc="0" normalizeH="0" baseline="0" noProof="0" dirty="0">
                <a:ln>
                  <a:noFill/>
                </a:ln>
                <a:solidFill>
                  <a:srgbClr val="FF304C"/>
                </a:solidFill>
                <a:effectLst/>
                <a:uLnTx/>
                <a:uFillTx/>
                <a:latin typeface="Verdana"/>
                <a:ea typeface="+mn-ea"/>
                <a:cs typeface="+mn-cs"/>
              </a:rPr>
              <a:t> THE EMPLOYER / EMPLOYEE </a:t>
            </a:r>
            <a:r>
              <a:rPr kumimoji="0" lang="fr-FR" sz="1800" b="1" i="0" u="none" strike="noStrike" kern="1200" cap="none" spc="0" normalizeH="0" baseline="0" noProof="0" dirty="0">
                <a:ln>
                  <a:noFill/>
                </a:ln>
                <a:solidFill>
                  <a:srgbClr val="FF304C"/>
                </a:solidFill>
                <a:effectLst/>
                <a:uLnTx/>
                <a:uFillTx/>
                <a:latin typeface="Verdana"/>
                <a:ea typeface="+mn-ea"/>
                <a:cs typeface="+mn-cs"/>
              </a:rPr>
              <a:t>SOCIAL CONTRACT </a:t>
            </a:r>
            <a:r>
              <a:rPr kumimoji="0" lang="fr-FR" sz="1800" b="0" i="0" u="none" strike="noStrike" kern="1200" cap="none" spc="0" normalizeH="0" baseline="0" noProof="0" dirty="0">
                <a:ln>
                  <a:noFill/>
                </a:ln>
                <a:solidFill>
                  <a:srgbClr val="FF304C"/>
                </a:solidFill>
                <a:effectLst/>
                <a:uLnTx/>
                <a:uFillTx/>
                <a:latin typeface="Verdana"/>
                <a:ea typeface="+mn-ea"/>
                <a:cs typeface="+mn-cs"/>
              </a:rPr>
              <a:t>WITHOUT LOOSING DNA</a:t>
            </a:r>
          </a:p>
        </p:txBody>
      </p:sp>
      <p:sp>
        <p:nvSpPr>
          <p:cNvPr id="10" name="Freeform 2">
            <a:extLst>
              <a:ext uri="{FF2B5EF4-FFF2-40B4-BE49-F238E27FC236}">
                <a16:creationId xmlns:a16="http://schemas.microsoft.com/office/drawing/2014/main" id="{38C12822-88E4-4ADC-BE96-D08047931015}"/>
              </a:ext>
            </a:extLst>
          </p:cNvPr>
          <p:cNvSpPr>
            <a:spLocks noChangeArrowheads="1"/>
          </p:cNvSpPr>
          <p:nvPr/>
        </p:nvSpPr>
        <p:spPr bwMode="auto">
          <a:xfrm>
            <a:off x="5006467" y="4036733"/>
            <a:ext cx="1973892" cy="501686"/>
          </a:xfrm>
          <a:custGeom>
            <a:avLst/>
            <a:gdLst>
              <a:gd name="T0" fmla="*/ 5208 w 8889"/>
              <a:gd name="T1" fmla="*/ 0 h 2263"/>
              <a:gd name="T2" fmla="*/ 5208 w 8889"/>
              <a:gd name="T3" fmla="*/ 0 h 2263"/>
              <a:gd name="T4" fmla="*/ 5208 w 8889"/>
              <a:gd name="T5" fmla="*/ 156 h 2263"/>
              <a:gd name="T6" fmla="*/ 5230 w 8889"/>
              <a:gd name="T7" fmla="*/ 222 h 2263"/>
              <a:gd name="T8" fmla="*/ 5296 w 8889"/>
              <a:gd name="T9" fmla="*/ 377 h 2263"/>
              <a:gd name="T10" fmla="*/ 5363 w 8889"/>
              <a:gd name="T11" fmla="*/ 621 h 2263"/>
              <a:gd name="T12" fmla="*/ 5363 w 8889"/>
              <a:gd name="T13" fmla="*/ 621 h 2263"/>
              <a:gd name="T14" fmla="*/ 5363 w 8889"/>
              <a:gd name="T15" fmla="*/ 643 h 2263"/>
              <a:gd name="T16" fmla="*/ 5363 w 8889"/>
              <a:gd name="T17" fmla="*/ 643 h 2263"/>
              <a:gd name="T18" fmla="*/ 4942 w 8889"/>
              <a:gd name="T19" fmla="*/ 975 h 2263"/>
              <a:gd name="T20" fmla="*/ 4521 w 8889"/>
              <a:gd name="T21" fmla="*/ 599 h 2263"/>
              <a:gd name="T22" fmla="*/ 4521 w 8889"/>
              <a:gd name="T23" fmla="*/ 599 h 2263"/>
              <a:gd name="T24" fmla="*/ 4609 w 8889"/>
              <a:gd name="T25" fmla="*/ 377 h 2263"/>
              <a:gd name="T26" fmla="*/ 4676 w 8889"/>
              <a:gd name="T27" fmla="*/ 244 h 2263"/>
              <a:gd name="T28" fmla="*/ 4698 w 8889"/>
              <a:gd name="T29" fmla="*/ 156 h 2263"/>
              <a:gd name="T30" fmla="*/ 4698 w 8889"/>
              <a:gd name="T31" fmla="*/ 156 h 2263"/>
              <a:gd name="T32" fmla="*/ 4698 w 8889"/>
              <a:gd name="T33" fmla="*/ 0 h 2263"/>
              <a:gd name="T34" fmla="*/ 177 w 8889"/>
              <a:gd name="T35" fmla="*/ 0 h 2263"/>
              <a:gd name="T36" fmla="*/ 0 w 8889"/>
              <a:gd name="T37" fmla="*/ 1020 h 2263"/>
              <a:gd name="T38" fmla="*/ 5496 w 8889"/>
              <a:gd name="T39" fmla="*/ 2262 h 2263"/>
              <a:gd name="T40" fmla="*/ 5961 w 8889"/>
              <a:gd name="T41" fmla="*/ 843 h 2263"/>
              <a:gd name="T42" fmla="*/ 8533 w 8889"/>
              <a:gd name="T43" fmla="*/ 843 h 2263"/>
              <a:gd name="T44" fmla="*/ 8888 w 8889"/>
              <a:gd name="T45" fmla="*/ 0 h 2263"/>
              <a:gd name="T46" fmla="*/ 5208 w 8889"/>
              <a:gd name="T47" fmla="*/ 0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89" h="2263">
                <a:moveTo>
                  <a:pt x="5208" y="0"/>
                </a:moveTo>
                <a:lnTo>
                  <a:pt x="5208" y="0"/>
                </a:lnTo>
                <a:cubicBezTo>
                  <a:pt x="5208" y="156"/>
                  <a:pt x="5208" y="156"/>
                  <a:pt x="5208" y="156"/>
                </a:cubicBezTo>
                <a:cubicBezTo>
                  <a:pt x="5230" y="222"/>
                  <a:pt x="5230" y="222"/>
                  <a:pt x="5230" y="222"/>
                </a:cubicBezTo>
                <a:cubicBezTo>
                  <a:pt x="5252" y="288"/>
                  <a:pt x="5252" y="311"/>
                  <a:pt x="5296" y="377"/>
                </a:cubicBezTo>
                <a:cubicBezTo>
                  <a:pt x="5363" y="444"/>
                  <a:pt x="5385" y="532"/>
                  <a:pt x="5363" y="621"/>
                </a:cubicBezTo>
                <a:lnTo>
                  <a:pt x="5363" y="621"/>
                </a:lnTo>
                <a:cubicBezTo>
                  <a:pt x="5363" y="643"/>
                  <a:pt x="5363" y="643"/>
                  <a:pt x="5363" y="643"/>
                </a:cubicBezTo>
                <a:lnTo>
                  <a:pt x="5363" y="643"/>
                </a:lnTo>
                <a:cubicBezTo>
                  <a:pt x="5363" y="820"/>
                  <a:pt x="5164" y="975"/>
                  <a:pt x="4942" y="975"/>
                </a:cubicBezTo>
                <a:cubicBezTo>
                  <a:pt x="4721" y="975"/>
                  <a:pt x="4521" y="798"/>
                  <a:pt x="4521" y="599"/>
                </a:cubicBezTo>
                <a:lnTo>
                  <a:pt x="4521" y="599"/>
                </a:lnTo>
                <a:cubicBezTo>
                  <a:pt x="4521" y="510"/>
                  <a:pt x="4543" y="444"/>
                  <a:pt x="4609" y="377"/>
                </a:cubicBezTo>
                <a:cubicBezTo>
                  <a:pt x="4632" y="333"/>
                  <a:pt x="4654" y="288"/>
                  <a:pt x="4676" y="244"/>
                </a:cubicBezTo>
                <a:cubicBezTo>
                  <a:pt x="4698" y="156"/>
                  <a:pt x="4698" y="156"/>
                  <a:pt x="4698" y="156"/>
                </a:cubicBezTo>
                <a:lnTo>
                  <a:pt x="4698" y="156"/>
                </a:lnTo>
                <a:cubicBezTo>
                  <a:pt x="4698" y="0"/>
                  <a:pt x="4698" y="0"/>
                  <a:pt x="4698" y="0"/>
                </a:cubicBezTo>
                <a:cubicBezTo>
                  <a:pt x="177" y="0"/>
                  <a:pt x="177" y="0"/>
                  <a:pt x="177" y="0"/>
                </a:cubicBezTo>
                <a:cubicBezTo>
                  <a:pt x="111" y="554"/>
                  <a:pt x="0" y="1020"/>
                  <a:pt x="0" y="1020"/>
                </a:cubicBezTo>
                <a:cubicBezTo>
                  <a:pt x="5496" y="2262"/>
                  <a:pt x="5496" y="2262"/>
                  <a:pt x="5496" y="2262"/>
                </a:cubicBezTo>
                <a:cubicBezTo>
                  <a:pt x="5496" y="2262"/>
                  <a:pt x="5696" y="931"/>
                  <a:pt x="5961" y="843"/>
                </a:cubicBezTo>
                <a:cubicBezTo>
                  <a:pt x="6250" y="731"/>
                  <a:pt x="8001" y="1486"/>
                  <a:pt x="8533" y="843"/>
                </a:cubicBezTo>
                <a:cubicBezTo>
                  <a:pt x="8754" y="554"/>
                  <a:pt x="8866" y="244"/>
                  <a:pt x="8888" y="0"/>
                </a:cubicBezTo>
                <a:lnTo>
                  <a:pt x="5208" y="0"/>
                </a:lnTo>
              </a:path>
            </a:pathLst>
          </a:custGeom>
          <a:solidFill>
            <a:srgbClr val="FF304C"/>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5">
            <a:extLst>
              <a:ext uri="{FF2B5EF4-FFF2-40B4-BE49-F238E27FC236}">
                <a16:creationId xmlns:a16="http://schemas.microsoft.com/office/drawing/2014/main" id="{0B1144C2-D03E-411F-8609-77C9D7261EF6}"/>
              </a:ext>
            </a:extLst>
          </p:cNvPr>
          <p:cNvSpPr>
            <a:spLocks noChangeArrowheads="1"/>
          </p:cNvSpPr>
          <p:nvPr/>
        </p:nvSpPr>
        <p:spPr bwMode="auto">
          <a:xfrm>
            <a:off x="4688445" y="3413886"/>
            <a:ext cx="1113191" cy="604570"/>
          </a:xfrm>
          <a:custGeom>
            <a:avLst/>
            <a:gdLst>
              <a:gd name="T0" fmla="*/ 1751 w 4456"/>
              <a:gd name="T1" fmla="*/ 0 h 2727"/>
              <a:gd name="T2" fmla="*/ 1751 w 4456"/>
              <a:gd name="T3" fmla="*/ 0 h 2727"/>
              <a:gd name="T4" fmla="*/ 1751 w 4456"/>
              <a:gd name="T5" fmla="*/ 112 h 2727"/>
              <a:gd name="T6" fmla="*/ 1773 w 4456"/>
              <a:gd name="T7" fmla="*/ 200 h 2727"/>
              <a:gd name="T8" fmla="*/ 1840 w 4456"/>
              <a:gd name="T9" fmla="*/ 333 h 2727"/>
              <a:gd name="T10" fmla="*/ 1906 w 4456"/>
              <a:gd name="T11" fmla="*/ 577 h 2727"/>
              <a:gd name="T12" fmla="*/ 1906 w 4456"/>
              <a:gd name="T13" fmla="*/ 577 h 2727"/>
              <a:gd name="T14" fmla="*/ 1906 w 4456"/>
              <a:gd name="T15" fmla="*/ 599 h 2727"/>
              <a:gd name="T16" fmla="*/ 1906 w 4456"/>
              <a:gd name="T17" fmla="*/ 599 h 2727"/>
              <a:gd name="T18" fmla="*/ 1486 w 4456"/>
              <a:gd name="T19" fmla="*/ 931 h 2727"/>
              <a:gd name="T20" fmla="*/ 1064 w 4456"/>
              <a:gd name="T21" fmla="*/ 554 h 2727"/>
              <a:gd name="T22" fmla="*/ 1064 w 4456"/>
              <a:gd name="T23" fmla="*/ 554 h 2727"/>
              <a:gd name="T24" fmla="*/ 1131 w 4456"/>
              <a:gd name="T25" fmla="*/ 333 h 2727"/>
              <a:gd name="T26" fmla="*/ 1220 w 4456"/>
              <a:gd name="T27" fmla="*/ 200 h 2727"/>
              <a:gd name="T28" fmla="*/ 1242 w 4456"/>
              <a:gd name="T29" fmla="*/ 112 h 2727"/>
              <a:gd name="T30" fmla="*/ 1242 w 4456"/>
              <a:gd name="T31" fmla="*/ 112 h 2727"/>
              <a:gd name="T32" fmla="*/ 1242 w 4456"/>
              <a:gd name="T33" fmla="*/ 0 h 2727"/>
              <a:gd name="T34" fmla="*/ 0 w 4456"/>
              <a:gd name="T35" fmla="*/ 0 h 2727"/>
              <a:gd name="T36" fmla="*/ 1220 w 4456"/>
              <a:gd name="T37" fmla="*/ 1552 h 2727"/>
              <a:gd name="T38" fmla="*/ 1374 w 4456"/>
              <a:gd name="T39" fmla="*/ 2726 h 2727"/>
              <a:gd name="T40" fmla="*/ 4455 w 4456"/>
              <a:gd name="T41" fmla="*/ 2726 h 2727"/>
              <a:gd name="T42" fmla="*/ 4455 w 4456"/>
              <a:gd name="T43" fmla="*/ 0 h 2727"/>
              <a:gd name="T44" fmla="*/ 1751 w 4456"/>
              <a:gd name="T45"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56" h="2727">
                <a:moveTo>
                  <a:pt x="1751" y="0"/>
                </a:moveTo>
                <a:lnTo>
                  <a:pt x="1751" y="0"/>
                </a:lnTo>
                <a:cubicBezTo>
                  <a:pt x="1751" y="112"/>
                  <a:pt x="1751" y="112"/>
                  <a:pt x="1751" y="112"/>
                </a:cubicBezTo>
                <a:cubicBezTo>
                  <a:pt x="1773" y="200"/>
                  <a:pt x="1773" y="200"/>
                  <a:pt x="1773" y="200"/>
                </a:cubicBezTo>
                <a:cubicBezTo>
                  <a:pt x="1795" y="244"/>
                  <a:pt x="1795" y="266"/>
                  <a:pt x="1840" y="333"/>
                </a:cubicBezTo>
                <a:cubicBezTo>
                  <a:pt x="1906" y="399"/>
                  <a:pt x="1929" y="488"/>
                  <a:pt x="1906" y="577"/>
                </a:cubicBezTo>
                <a:lnTo>
                  <a:pt x="1906" y="577"/>
                </a:lnTo>
                <a:cubicBezTo>
                  <a:pt x="1906" y="599"/>
                  <a:pt x="1906" y="599"/>
                  <a:pt x="1906" y="599"/>
                </a:cubicBezTo>
                <a:lnTo>
                  <a:pt x="1906" y="599"/>
                </a:lnTo>
                <a:cubicBezTo>
                  <a:pt x="1884" y="776"/>
                  <a:pt x="1707" y="931"/>
                  <a:pt x="1486" y="931"/>
                </a:cubicBezTo>
                <a:cubicBezTo>
                  <a:pt x="1264" y="931"/>
                  <a:pt x="1064" y="754"/>
                  <a:pt x="1064" y="554"/>
                </a:cubicBezTo>
                <a:lnTo>
                  <a:pt x="1064" y="554"/>
                </a:lnTo>
                <a:cubicBezTo>
                  <a:pt x="1064" y="466"/>
                  <a:pt x="1086" y="399"/>
                  <a:pt x="1131" y="333"/>
                </a:cubicBezTo>
                <a:cubicBezTo>
                  <a:pt x="1175" y="289"/>
                  <a:pt x="1197" y="244"/>
                  <a:pt x="1220" y="200"/>
                </a:cubicBezTo>
                <a:cubicBezTo>
                  <a:pt x="1242" y="112"/>
                  <a:pt x="1242" y="112"/>
                  <a:pt x="1242" y="112"/>
                </a:cubicBezTo>
                <a:lnTo>
                  <a:pt x="1242" y="112"/>
                </a:lnTo>
                <a:cubicBezTo>
                  <a:pt x="1242" y="0"/>
                  <a:pt x="1242" y="0"/>
                  <a:pt x="1242" y="0"/>
                </a:cubicBezTo>
                <a:cubicBezTo>
                  <a:pt x="0" y="0"/>
                  <a:pt x="0" y="0"/>
                  <a:pt x="0" y="0"/>
                </a:cubicBezTo>
                <a:cubicBezTo>
                  <a:pt x="311" y="532"/>
                  <a:pt x="710" y="1042"/>
                  <a:pt x="1220" y="1552"/>
                </a:cubicBezTo>
                <a:cubicBezTo>
                  <a:pt x="1397" y="1729"/>
                  <a:pt x="1419" y="2217"/>
                  <a:pt x="1374" y="2726"/>
                </a:cubicBezTo>
                <a:cubicBezTo>
                  <a:pt x="4455" y="2726"/>
                  <a:pt x="4455" y="2726"/>
                  <a:pt x="4455" y="2726"/>
                </a:cubicBezTo>
                <a:cubicBezTo>
                  <a:pt x="4455" y="0"/>
                  <a:pt x="4455" y="0"/>
                  <a:pt x="4455" y="0"/>
                </a:cubicBezTo>
                <a:lnTo>
                  <a:pt x="1751" y="0"/>
                </a:lnTo>
              </a:path>
            </a:pathLst>
          </a:custGeom>
          <a:solidFill>
            <a:srgbClr val="0070AD"/>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8">
            <a:extLst>
              <a:ext uri="{FF2B5EF4-FFF2-40B4-BE49-F238E27FC236}">
                <a16:creationId xmlns:a16="http://schemas.microsoft.com/office/drawing/2014/main" id="{B979882C-77A2-4741-AC9F-BCED68554378}"/>
              </a:ext>
            </a:extLst>
          </p:cNvPr>
          <p:cNvSpPr>
            <a:spLocks noChangeArrowheads="1"/>
          </p:cNvSpPr>
          <p:nvPr/>
        </p:nvSpPr>
        <p:spPr bwMode="auto">
          <a:xfrm>
            <a:off x="5848922" y="3434056"/>
            <a:ext cx="1461563" cy="604570"/>
          </a:xfrm>
          <a:custGeom>
            <a:avLst/>
            <a:gdLst>
              <a:gd name="T0" fmla="*/ 6582 w 6583"/>
              <a:gd name="T1" fmla="*/ 0 h 2727"/>
              <a:gd name="T2" fmla="*/ 6582 w 6583"/>
              <a:gd name="T3" fmla="*/ 0 h 2727"/>
              <a:gd name="T4" fmla="*/ 0 w 6583"/>
              <a:gd name="T5" fmla="*/ 0 h 2727"/>
              <a:gd name="T6" fmla="*/ 0 w 6583"/>
              <a:gd name="T7" fmla="*/ 2726 h 2727"/>
              <a:gd name="T8" fmla="*/ 4832 w 6583"/>
              <a:gd name="T9" fmla="*/ 2726 h 2727"/>
              <a:gd name="T10" fmla="*/ 4832 w 6583"/>
              <a:gd name="T11" fmla="*/ 2726 h 2727"/>
              <a:gd name="T12" fmla="*/ 5098 w 6583"/>
              <a:gd name="T13" fmla="*/ 2726 h 2727"/>
              <a:gd name="T14" fmla="*/ 5098 w 6583"/>
              <a:gd name="T15" fmla="*/ 2305 h 2727"/>
              <a:gd name="T16" fmla="*/ 5452 w 6583"/>
              <a:gd name="T17" fmla="*/ 1995 h 2727"/>
              <a:gd name="T18" fmla="*/ 5342 w 6583"/>
              <a:gd name="T19" fmla="*/ 1662 h 2727"/>
              <a:gd name="T20" fmla="*/ 5541 w 6583"/>
              <a:gd name="T21" fmla="*/ 1264 h 2727"/>
              <a:gd name="T22" fmla="*/ 5407 w 6583"/>
              <a:gd name="T23" fmla="*/ 864 h 2727"/>
              <a:gd name="T24" fmla="*/ 5519 w 6583"/>
              <a:gd name="T25" fmla="*/ 532 h 2727"/>
              <a:gd name="T26" fmla="*/ 5585 w 6583"/>
              <a:gd name="T27" fmla="*/ 399 h 2727"/>
              <a:gd name="T28" fmla="*/ 6582 w 6583"/>
              <a:gd name="T29"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83" h="2727">
                <a:moveTo>
                  <a:pt x="6582" y="0"/>
                </a:moveTo>
                <a:lnTo>
                  <a:pt x="6582" y="0"/>
                </a:lnTo>
                <a:cubicBezTo>
                  <a:pt x="0" y="0"/>
                  <a:pt x="0" y="0"/>
                  <a:pt x="0" y="0"/>
                </a:cubicBezTo>
                <a:cubicBezTo>
                  <a:pt x="0" y="2726"/>
                  <a:pt x="0" y="2726"/>
                  <a:pt x="0" y="2726"/>
                </a:cubicBezTo>
                <a:cubicBezTo>
                  <a:pt x="4832" y="2726"/>
                  <a:pt x="4832" y="2726"/>
                  <a:pt x="4832" y="2726"/>
                </a:cubicBezTo>
                <a:lnTo>
                  <a:pt x="4832" y="2726"/>
                </a:lnTo>
                <a:cubicBezTo>
                  <a:pt x="5098" y="2726"/>
                  <a:pt x="5098" y="2726"/>
                  <a:pt x="5098" y="2726"/>
                </a:cubicBezTo>
                <a:cubicBezTo>
                  <a:pt x="5098" y="2305"/>
                  <a:pt x="5098" y="2305"/>
                  <a:pt x="5098" y="2305"/>
                </a:cubicBezTo>
                <a:cubicBezTo>
                  <a:pt x="5098" y="2305"/>
                  <a:pt x="5385" y="2106"/>
                  <a:pt x="5452" y="1995"/>
                </a:cubicBezTo>
                <a:cubicBezTo>
                  <a:pt x="5541" y="1751"/>
                  <a:pt x="5342" y="1662"/>
                  <a:pt x="5342" y="1662"/>
                </a:cubicBezTo>
                <a:cubicBezTo>
                  <a:pt x="5342" y="1662"/>
                  <a:pt x="5651" y="1463"/>
                  <a:pt x="5541" y="1264"/>
                </a:cubicBezTo>
                <a:cubicBezTo>
                  <a:pt x="5496" y="1175"/>
                  <a:pt x="5407" y="864"/>
                  <a:pt x="5407" y="864"/>
                </a:cubicBezTo>
                <a:cubicBezTo>
                  <a:pt x="5519" y="532"/>
                  <a:pt x="5519" y="532"/>
                  <a:pt x="5519" y="532"/>
                </a:cubicBezTo>
                <a:cubicBezTo>
                  <a:pt x="5585" y="399"/>
                  <a:pt x="5585" y="399"/>
                  <a:pt x="5585" y="399"/>
                </a:cubicBezTo>
                <a:lnTo>
                  <a:pt x="6582" y="0"/>
                </a:lnTo>
              </a:path>
            </a:pathLst>
          </a:custGeom>
          <a:solidFill>
            <a:schemeClr val="accent4"/>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Freeform 6">
            <a:extLst>
              <a:ext uri="{FF2B5EF4-FFF2-40B4-BE49-F238E27FC236}">
                <a16:creationId xmlns:a16="http://schemas.microsoft.com/office/drawing/2014/main" id="{C952C333-A61D-448C-9997-BDD5C122F5F7}"/>
              </a:ext>
            </a:extLst>
          </p:cNvPr>
          <p:cNvSpPr>
            <a:spLocks noChangeArrowheads="1"/>
          </p:cNvSpPr>
          <p:nvPr/>
        </p:nvSpPr>
        <p:spPr bwMode="auto">
          <a:xfrm>
            <a:off x="5359164" y="1430410"/>
            <a:ext cx="1560502" cy="665546"/>
          </a:xfrm>
          <a:custGeom>
            <a:avLst/>
            <a:gdLst>
              <a:gd name="T0" fmla="*/ 4965 w 7027"/>
              <a:gd name="T1" fmla="*/ 909 h 2418"/>
              <a:gd name="T2" fmla="*/ 4965 w 7027"/>
              <a:gd name="T3" fmla="*/ 909 h 2418"/>
              <a:gd name="T4" fmla="*/ 0 w 7027"/>
              <a:gd name="T5" fmla="*/ 842 h 2418"/>
              <a:gd name="T6" fmla="*/ 0 w 7027"/>
              <a:gd name="T7" fmla="*/ 2417 h 2418"/>
              <a:gd name="T8" fmla="*/ 3790 w 7027"/>
              <a:gd name="T9" fmla="*/ 2417 h 2418"/>
              <a:gd name="T10" fmla="*/ 3790 w 7027"/>
              <a:gd name="T11" fmla="*/ 2151 h 2418"/>
              <a:gd name="T12" fmla="*/ 3768 w 7027"/>
              <a:gd name="T13" fmla="*/ 2062 h 2418"/>
              <a:gd name="T14" fmla="*/ 3679 w 7027"/>
              <a:gd name="T15" fmla="*/ 1929 h 2418"/>
              <a:gd name="T16" fmla="*/ 3613 w 7027"/>
              <a:gd name="T17" fmla="*/ 1686 h 2418"/>
              <a:gd name="T18" fmla="*/ 3613 w 7027"/>
              <a:gd name="T19" fmla="*/ 1663 h 2418"/>
              <a:gd name="T20" fmla="*/ 3613 w 7027"/>
              <a:gd name="T21" fmla="*/ 1663 h 2418"/>
              <a:gd name="T22" fmla="*/ 4034 w 7027"/>
              <a:gd name="T23" fmla="*/ 1330 h 2418"/>
              <a:gd name="T24" fmla="*/ 4454 w 7027"/>
              <a:gd name="T25" fmla="*/ 1686 h 2418"/>
              <a:gd name="T26" fmla="*/ 4454 w 7027"/>
              <a:gd name="T27" fmla="*/ 1686 h 2418"/>
              <a:gd name="T28" fmla="*/ 4388 w 7027"/>
              <a:gd name="T29" fmla="*/ 1929 h 2418"/>
              <a:gd name="T30" fmla="*/ 4322 w 7027"/>
              <a:gd name="T31" fmla="*/ 2040 h 2418"/>
              <a:gd name="T32" fmla="*/ 4300 w 7027"/>
              <a:gd name="T33" fmla="*/ 2151 h 2418"/>
              <a:gd name="T34" fmla="*/ 4277 w 7027"/>
              <a:gd name="T35" fmla="*/ 2151 h 2418"/>
              <a:gd name="T36" fmla="*/ 4277 w 7027"/>
              <a:gd name="T37" fmla="*/ 2417 h 2418"/>
              <a:gd name="T38" fmla="*/ 7026 w 7027"/>
              <a:gd name="T39" fmla="*/ 2417 h 2418"/>
              <a:gd name="T40" fmla="*/ 4965 w 7027"/>
              <a:gd name="T41" fmla="*/ 909 h 2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27" h="2418">
                <a:moveTo>
                  <a:pt x="4965" y="909"/>
                </a:moveTo>
                <a:lnTo>
                  <a:pt x="4965" y="909"/>
                </a:lnTo>
                <a:cubicBezTo>
                  <a:pt x="2970" y="0"/>
                  <a:pt x="1286" y="200"/>
                  <a:pt x="0" y="842"/>
                </a:cubicBezTo>
                <a:cubicBezTo>
                  <a:pt x="0" y="2417"/>
                  <a:pt x="0" y="2417"/>
                  <a:pt x="0" y="2417"/>
                </a:cubicBezTo>
                <a:cubicBezTo>
                  <a:pt x="3790" y="2417"/>
                  <a:pt x="3790" y="2417"/>
                  <a:pt x="3790" y="2417"/>
                </a:cubicBezTo>
                <a:cubicBezTo>
                  <a:pt x="3790" y="2151"/>
                  <a:pt x="3790" y="2151"/>
                  <a:pt x="3790" y="2151"/>
                </a:cubicBezTo>
                <a:cubicBezTo>
                  <a:pt x="3768" y="2062"/>
                  <a:pt x="3768" y="2062"/>
                  <a:pt x="3768" y="2062"/>
                </a:cubicBezTo>
                <a:cubicBezTo>
                  <a:pt x="3745" y="1995"/>
                  <a:pt x="3723" y="1973"/>
                  <a:pt x="3679" y="1929"/>
                </a:cubicBezTo>
                <a:cubicBezTo>
                  <a:pt x="3635" y="1840"/>
                  <a:pt x="3613" y="1774"/>
                  <a:pt x="3613" y="1686"/>
                </a:cubicBezTo>
                <a:cubicBezTo>
                  <a:pt x="3613" y="1663"/>
                  <a:pt x="3613" y="1663"/>
                  <a:pt x="3613" y="1663"/>
                </a:cubicBezTo>
                <a:lnTo>
                  <a:pt x="3613" y="1663"/>
                </a:lnTo>
                <a:cubicBezTo>
                  <a:pt x="3635" y="1486"/>
                  <a:pt x="3812" y="1330"/>
                  <a:pt x="4034" y="1330"/>
                </a:cubicBezTo>
                <a:cubicBezTo>
                  <a:pt x="4277" y="1330"/>
                  <a:pt x="4454" y="1486"/>
                  <a:pt x="4454" y="1686"/>
                </a:cubicBezTo>
                <a:lnTo>
                  <a:pt x="4454" y="1686"/>
                </a:lnTo>
                <a:cubicBezTo>
                  <a:pt x="4454" y="1774"/>
                  <a:pt x="4432" y="1863"/>
                  <a:pt x="4388" y="1929"/>
                </a:cubicBezTo>
                <a:cubicBezTo>
                  <a:pt x="4343" y="1973"/>
                  <a:pt x="4322" y="1995"/>
                  <a:pt x="4322" y="2040"/>
                </a:cubicBezTo>
                <a:cubicBezTo>
                  <a:pt x="4300" y="2151"/>
                  <a:pt x="4300" y="2151"/>
                  <a:pt x="4300" y="2151"/>
                </a:cubicBezTo>
                <a:cubicBezTo>
                  <a:pt x="4277" y="2151"/>
                  <a:pt x="4277" y="2151"/>
                  <a:pt x="4277" y="2151"/>
                </a:cubicBezTo>
                <a:cubicBezTo>
                  <a:pt x="4277" y="2417"/>
                  <a:pt x="4277" y="2417"/>
                  <a:pt x="4277" y="2417"/>
                </a:cubicBezTo>
                <a:cubicBezTo>
                  <a:pt x="7026" y="2417"/>
                  <a:pt x="7026" y="2417"/>
                  <a:pt x="7026" y="2417"/>
                </a:cubicBezTo>
                <a:cubicBezTo>
                  <a:pt x="6560" y="1863"/>
                  <a:pt x="5896" y="1352"/>
                  <a:pt x="4965" y="909"/>
                </a:cubicBez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11">
            <a:extLst>
              <a:ext uri="{FF2B5EF4-FFF2-40B4-BE49-F238E27FC236}">
                <a16:creationId xmlns:a16="http://schemas.microsoft.com/office/drawing/2014/main" id="{A837C7CE-3264-47DA-B6DA-C2147C4FDE32}"/>
              </a:ext>
            </a:extLst>
          </p:cNvPr>
          <p:cNvSpPr>
            <a:spLocks noChangeArrowheads="1"/>
          </p:cNvSpPr>
          <p:nvPr/>
        </p:nvSpPr>
        <p:spPr bwMode="auto">
          <a:xfrm>
            <a:off x="4829244" y="1648850"/>
            <a:ext cx="515194" cy="500901"/>
          </a:xfrm>
          <a:custGeom>
            <a:avLst/>
            <a:gdLst>
              <a:gd name="T0" fmla="*/ 1462 w 1463"/>
              <a:gd name="T1" fmla="*/ 1309 h 1310"/>
              <a:gd name="T2" fmla="*/ 1462 w 1463"/>
              <a:gd name="T3" fmla="*/ 1309 h 1310"/>
              <a:gd name="T4" fmla="*/ 1462 w 1463"/>
              <a:gd name="T5" fmla="*/ 0 h 1310"/>
              <a:gd name="T6" fmla="*/ 0 w 1463"/>
              <a:gd name="T7" fmla="*/ 1309 h 1310"/>
              <a:gd name="T8" fmla="*/ 1462 w 1463"/>
              <a:gd name="T9" fmla="*/ 1309 h 1310"/>
            </a:gdLst>
            <a:ahLst/>
            <a:cxnLst>
              <a:cxn ang="0">
                <a:pos x="T0" y="T1"/>
              </a:cxn>
              <a:cxn ang="0">
                <a:pos x="T2" y="T3"/>
              </a:cxn>
              <a:cxn ang="0">
                <a:pos x="T4" y="T5"/>
              </a:cxn>
              <a:cxn ang="0">
                <a:pos x="T6" y="T7"/>
              </a:cxn>
              <a:cxn ang="0">
                <a:pos x="T8" y="T9"/>
              </a:cxn>
            </a:cxnLst>
            <a:rect l="0" t="0" r="r" b="b"/>
            <a:pathLst>
              <a:path w="1463" h="1310">
                <a:moveTo>
                  <a:pt x="1462" y="1309"/>
                </a:moveTo>
                <a:lnTo>
                  <a:pt x="1462" y="1309"/>
                </a:lnTo>
                <a:cubicBezTo>
                  <a:pt x="1462" y="0"/>
                  <a:pt x="1462" y="0"/>
                  <a:pt x="1462" y="0"/>
                </a:cubicBezTo>
                <a:cubicBezTo>
                  <a:pt x="886" y="378"/>
                  <a:pt x="377" y="821"/>
                  <a:pt x="0" y="1309"/>
                </a:cubicBezTo>
                <a:lnTo>
                  <a:pt x="1462" y="1309"/>
                </a:ln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13">
            <a:extLst>
              <a:ext uri="{FF2B5EF4-FFF2-40B4-BE49-F238E27FC236}">
                <a16:creationId xmlns:a16="http://schemas.microsoft.com/office/drawing/2014/main" id="{44ECB8B9-AD10-4FEA-AEDA-077A10E55CCA}"/>
              </a:ext>
            </a:extLst>
          </p:cNvPr>
          <p:cNvSpPr>
            <a:spLocks noChangeArrowheads="1"/>
          </p:cNvSpPr>
          <p:nvPr/>
        </p:nvSpPr>
        <p:spPr bwMode="auto">
          <a:xfrm>
            <a:off x="4542936" y="4499629"/>
            <a:ext cx="2066954" cy="728032"/>
          </a:xfrm>
          <a:custGeom>
            <a:avLst/>
            <a:gdLst>
              <a:gd name="T0" fmla="*/ 0 w 9309"/>
              <a:gd name="T1" fmla="*/ 3279 h 3280"/>
              <a:gd name="T2" fmla="*/ 1219 w 9309"/>
              <a:gd name="T3" fmla="*/ 0 h 3280"/>
              <a:gd name="T4" fmla="*/ 7779 w 9309"/>
              <a:gd name="T5" fmla="*/ 1396 h 3280"/>
              <a:gd name="T6" fmla="*/ 7779 w 9309"/>
              <a:gd name="T7" fmla="*/ 1174 h 3280"/>
              <a:gd name="T8" fmla="*/ 9308 w 9309"/>
              <a:gd name="T9" fmla="*/ 3279 h 3280"/>
              <a:gd name="T10" fmla="*/ 0 w 9309"/>
              <a:gd name="T11" fmla="*/ 3279 h 3280"/>
            </a:gdLst>
            <a:ahLst/>
            <a:cxnLst>
              <a:cxn ang="0">
                <a:pos x="T0" y="T1"/>
              </a:cxn>
              <a:cxn ang="0">
                <a:pos x="T2" y="T3"/>
              </a:cxn>
              <a:cxn ang="0">
                <a:pos x="T4" y="T5"/>
              </a:cxn>
              <a:cxn ang="0">
                <a:pos x="T6" y="T7"/>
              </a:cxn>
              <a:cxn ang="0">
                <a:pos x="T8" y="T9"/>
              </a:cxn>
              <a:cxn ang="0">
                <a:pos x="T10" y="T11"/>
              </a:cxn>
            </a:cxnLst>
            <a:rect l="0" t="0" r="r" b="b"/>
            <a:pathLst>
              <a:path w="9309" h="3280">
                <a:moveTo>
                  <a:pt x="0" y="3279"/>
                </a:moveTo>
                <a:lnTo>
                  <a:pt x="1219" y="0"/>
                </a:lnTo>
                <a:lnTo>
                  <a:pt x="7779" y="1396"/>
                </a:lnTo>
                <a:lnTo>
                  <a:pt x="7779" y="1174"/>
                </a:lnTo>
                <a:lnTo>
                  <a:pt x="9308" y="3279"/>
                </a:lnTo>
                <a:lnTo>
                  <a:pt x="0" y="3279"/>
                </a:lnTo>
              </a:path>
            </a:pathLst>
          </a:custGeom>
          <a:solidFill>
            <a:schemeClr val="accent6"/>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14">
            <a:extLst>
              <a:ext uri="{FF2B5EF4-FFF2-40B4-BE49-F238E27FC236}">
                <a16:creationId xmlns:a16="http://schemas.microsoft.com/office/drawing/2014/main" id="{22C1F0DD-349F-4640-B276-D7EFEAABDECA}"/>
              </a:ext>
            </a:extLst>
          </p:cNvPr>
          <p:cNvSpPr>
            <a:spLocks noChangeArrowheads="1"/>
          </p:cNvSpPr>
          <p:nvPr/>
        </p:nvSpPr>
        <p:spPr bwMode="auto">
          <a:xfrm>
            <a:off x="4813306" y="4135124"/>
            <a:ext cx="1456663" cy="674139"/>
          </a:xfrm>
          <a:custGeom>
            <a:avLst/>
            <a:gdLst>
              <a:gd name="T0" fmla="*/ 6560 w 6561"/>
              <a:gd name="T1" fmla="*/ 3037 h 3038"/>
              <a:gd name="T2" fmla="*/ 0 w 6561"/>
              <a:gd name="T3" fmla="*/ 1641 h 3038"/>
              <a:gd name="T4" fmla="*/ 554 w 6561"/>
              <a:gd name="T5" fmla="*/ 0 h 3038"/>
              <a:gd name="T6" fmla="*/ 6560 w 6561"/>
              <a:gd name="T7" fmla="*/ 1419 h 3038"/>
              <a:gd name="T8" fmla="*/ 6560 w 6561"/>
              <a:gd name="T9" fmla="*/ 3037 h 3038"/>
            </a:gdLst>
            <a:ahLst/>
            <a:cxnLst>
              <a:cxn ang="0">
                <a:pos x="T0" y="T1"/>
              </a:cxn>
              <a:cxn ang="0">
                <a:pos x="T2" y="T3"/>
              </a:cxn>
              <a:cxn ang="0">
                <a:pos x="T4" y="T5"/>
              </a:cxn>
              <a:cxn ang="0">
                <a:pos x="T6" y="T7"/>
              </a:cxn>
              <a:cxn ang="0">
                <a:pos x="T8" y="T9"/>
              </a:cxn>
            </a:cxnLst>
            <a:rect l="0" t="0" r="r" b="b"/>
            <a:pathLst>
              <a:path w="6561" h="3038">
                <a:moveTo>
                  <a:pt x="6560" y="3037"/>
                </a:moveTo>
                <a:lnTo>
                  <a:pt x="0" y="1641"/>
                </a:lnTo>
                <a:lnTo>
                  <a:pt x="554" y="0"/>
                </a:lnTo>
                <a:lnTo>
                  <a:pt x="6560" y="1419"/>
                </a:lnTo>
                <a:lnTo>
                  <a:pt x="6560" y="3037"/>
                </a:lnTo>
              </a:path>
            </a:pathLst>
          </a:custGeom>
          <a:solidFill>
            <a:schemeClr val="bg2"/>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Freeform 4">
            <a:extLst>
              <a:ext uri="{FF2B5EF4-FFF2-40B4-BE49-F238E27FC236}">
                <a16:creationId xmlns:a16="http://schemas.microsoft.com/office/drawing/2014/main" id="{D0FC3C3A-0BBC-40EF-BF2B-E294FCC27E59}"/>
              </a:ext>
            </a:extLst>
          </p:cNvPr>
          <p:cNvSpPr>
            <a:spLocks noChangeArrowheads="1"/>
          </p:cNvSpPr>
          <p:nvPr/>
        </p:nvSpPr>
        <p:spPr bwMode="auto">
          <a:xfrm>
            <a:off x="5379334" y="2810230"/>
            <a:ext cx="998212" cy="604570"/>
          </a:xfrm>
          <a:custGeom>
            <a:avLst/>
            <a:gdLst>
              <a:gd name="T0" fmla="*/ 4499 w 4500"/>
              <a:gd name="T1" fmla="*/ 0 h 2727"/>
              <a:gd name="T2" fmla="*/ 4499 w 4500"/>
              <a:gd name="T3" fmla="*/ 0 h 2727"/>
              <a:gd name="T4" fmla="*/ 0 w 4500"/>
              <a:gd name="T5" fmla="*/ 0 h 2727"/>
              <a:gd name="T6" fmla="*/ 0 w 4500"/>
              <a:gd name="T7" fmla="*/ 2726 h 2727"/>
              <a:gd name="T8" fmla="*/ 399 w 4500"/>
              <a:gd name="T9" fmla="*/ 2726 h 2727"/>
              <a:gd name="T10" fmla="*/ 399 w 4500"/>
              <a:gd name="T11" fmla="*/ 2593 h 2727"/>
              <a:gd name="T12" fmla="*/ 377 w 4500"/>
              <a:gd name="T13" fmla="*/ 2504 h 2727"/>
              <a:gd name="T14" fmla="*/ 311 w 4500"/>
              <a:gd name="T15" fmla="*/ 2349 h 2727"/>
              <a:gd name="T16" fmla="*/ 244 w 4500"/>
              <a:gd name="T17" fmla="*/ 2105 h 2727"/>
              <a:gd name="T18" fmla="*/ 244 w 4500"/>
              <a:gd name="T19" fmla="*/ 2105 h 2727"/>
              <a:gd name="T20" fmla="*/ 244 w 4500"/>
              <a:gd name="T21" fmla="*/ 2105 h 2727"/>
              <a:gd name="T22" fmla="*/ 244 w 4500"/>
              <a:gd name="T23" fmla="*/ 2105 h 2727"/>
              <a:gd name="T24" fmla="*/ 665 w 4500"/>
              <a:gd name="T25" fmla="*/ 1773 h 2727"/>
              <a:gd name="T26" fmla="*/ 1086 w 4500"/>
              <a:gd name="T27" fmla="*/ 2128 h 2727"/>
              <a:gd name="T28" fmla="*/ 1086 w 4500"/>
              <a:gd name="T29" fmla="*/ 2128 h 2727"/>
              <a:gd name="T30" fmla="*/ 997 w 4500"/>
              <a:gd name="T31" fmla="*/ 2349 h 2727"/>
              <a:gd name="T32" fmla="*/ 931 w 4500"/>
              <a:gd name="T33" fmla="*/ 2481 h 2727"/>
              <a:gd name="T34" fmla="*/ 908 w 4500"/>
              <a:gd name="T35" fmla="*/ 2593 h 2727"/>
              <a:gd name="T36" fmla="*/ 908 w 4500"/>
              <a:gd name="T37" fmla="*/ 2593 h 2727"/>
              <a:gd name="T38" fmla="*/ 908 w 4500"/>
              <a:gd name="T39" fmla="*/ 2726 h 2727"/>
              <a:gd name="T40" fmla="*/ 4499 w 4500"/>
              <a:gd name="T41" fmla="*/ 2726 h 2727"/>
              <a:gd name="T42" fmla="*/ 4499 w 4500"/>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00" h="2727">
                <a:moveTo>
                  <a:pt x="4499" y="0"/>
                </a:moveTo>
                <a:lnTo>
                  <a:pt x="4499" y="0"/>
                </a:lnTo>
                <a:cubicBezTo>
                  <a:pt x="0" y="0"/>
                  <a:pt x="0" y="0"/>
                  <a:pt x="0" y="0"/>
                </a:cubicBezTo>
                <a:cubicBezTo>
                  <a:pt x="0" y="2726"/>
                  <a:pt x="0" y="2726"/>
                  <a:pt x="0" y="2726"/>
                </a:cubicBezTo>
                <a:cubicBezTo>
                  <a:pt x="399" y="2726"/>
                  <a:pt x="399" y="2726"/>
                  <a:pt x="399" y="2726"/>
                </a:cubicBezTo>
                <a:cubicBezTo>
                  <a:pt x="399" y="2593"/>
                  <a:pt x="399" y="2593"/>
                  <a:pt x="399" y="2593"/>
                </a:cubicBezTo>
                <a:cubicBezTo>
                  <a:pt x="377" y="2504"/>
                  <a:pt x="377" y="2504"/>
                  <a:pt x="377" y="2504"/>
                </a:cubicBezTo>
                <a:cubicBezTo>
                  <a:pt x="355" y="2437"/>
                  <a:pt x="355" y="2416"/>
                  <a:pt x="311" y="2349"/>
                </a:cubicBezTo>
                <a:cubicBezTo>
                  <a:pt x="244" y="2282"/>
                  <a:pt x="222" y="2216"/>
                  <a:pt x="244" y="2105"/>
                </a:cubicBezTo>
                <a:lnTo>
                  <a:pt x="244" y="2105"/>
                </a:lnTo>
                <a:lnTo>
                  <a:pt x="244" y="2105"/>
                </a:lnTo>
                <a:lnTo>
                  <a:pt x="244" y="2105"/>
                </a:lnTo>
                <a:cubicBezTo>
                  <a:pt x="244" y="1906"/>
                  <a:pt x="443" y="1773"/>
                  <a:pt x="665" y="1773"/>
                </a:cubicBezTo>
                <a:cubicBezTo>
                  <a:pt x="886" y="1773"/>
                  <a:pt x="1086" y="1928"/>
                  <a:pt x="1086" y="2128"/>
                </a:cubicBezTo>
                <a:lnTo>
                  <a:pt x="1086" y="2128"/>
                </a:lnTo>
                <a:cubicBezTo>
                  <a:pt x="1086" y="2216"/>
                  <a:pt x="1064" y="2282"/>
                  <a:pt x="997" y="2349"/>
                </a:cubicBezTo>
                <a:cubicBezTo>
                  <a:pt x="975" y="2416"/>
                  <a:pt x="953" y="2437"/>
                  <a:pt x="931" y="2481"/>
                </a:cubicBezTo>
                <a:cubicBezTo>
                  <a:pt x="908" y="2593"/>
                  <a:pt x="908" y="2593"/>
                  <a:pt x="908" y="2593"/>
                </a:cubicBezTo>
                <a:lnTo>
                  <a:pt x="908" y="2593"/>
                </a:lnTo>
                <a:cubicBezTo>
                  <a:pt x="908" y="2726"/>
                  <a:pt x="908" y="2726"/>
                  <a:pt x="908" y="2726"/>
                </a:cubicBezTo>
                <a:cubicBezTo>
                  <a:pt x="4499" y="2726"/>
                  <a:pt x="4499" y="2726"/>
                  <a:pt x="4499" y="2726"/>
                </a:cubicBezTo>
                <a:lnTo>
                  <a:pt x="4499" y="0"/>
                </a:lnTo>
              </a:path>
            </a:pathLst>
          </a:custGeom>
          <a:solidFill>
            <a:srgbClr val="12ABDB"/>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Freeform 9">
            <a:extLst>
              <a:ext uri="{FF2B5EF4-FFF2-40B4-BE49-F238E27FC236}">
                <a16:creationId xmlns:a16="http://schemas.microsoft.com/office/drawing/2014/main" id="{7C8F1CF1-A0E9-462E-9229-737D5124C804}"/>
              </a:ext>
            </a:extLst>
          </p:cNvPr>
          <p:cNvSpPr>
            <a:spLocks noChangeArrowheads="1"/>
          </p:cNvSpPr>
          <p:nvPr/>
        </p:nvSpPr>
        <p:spPr bwMode="auto">
          <a:xfrm>
            <a:off x="4514788" y="2803506"/>
            <a:ext cx="856097" cy="604570"/>
          </a:xfrm>
          <a:custGeom>
            <a:avLst/>
            <a:gdLst>
              <a:gd name="T0" fmla="*/ 2881 w 2882"/>
              <a:gd name="T1" fmla="*/ 0 h 2727"/>
              <a:gd name="T2" fmla="*/ 2881 w 2882"/>
              <a:gd name="T3" fmla="*/ 0 h 2727"/>
              <a:gd name="T4" fmla="*/ 22 w 2882"/>
              <a:gd name="T5" fmla="*/ 0 h 2727"/>
              <a:gd name="T6" fmla="*/ 598 w 2882"/>
              <a:gd name="T7" fmla="*/ 2726 h 2727"/>
              <a:gd name="T8" fmla="*/ 2881 w 2882"/>
              <a:gd name="T9" fmla="*/ 2726 h 2727"/>
              <a:gd name="T10" fmla="*/ 2881 w 2882"/>
              <a:gd name="T11" fmla="*/ 0 h 2727"/>
            </a:gdLst>
            <a:ahLst/>
            <a:cxnLst>
              <a:cxn ang="0">
                <a:pos x="T0" y="T1"/>
              </a:cxn>
              <a:cxn ang="0">
                <a:pos x="T2" y="T3"/>
              </a:cxn>
              <a:cxn ang="0">
                <a:pos x="T4" y="T5"/>
              </a:cxn>
              <a:cxn ang="0">
                <a:pos x="T6" y="T7"/>
              </a:cxn>
              <a:cxn ang="0">
                <a:pos x="T8" y="T9"/>
              </a:cxn>
              <a:cxn ang="0">
                <a:pos x="T10" y="T11"/>
              </a:cxn>
            </a:cxnLst>
            <a:rect l="0" t="0" r="r" b="b"/>
            <a:pathLst>
              <a:path w="2882" h="2727">
                <a:moveTo>
                  <a:pt x="2881" y="0"/>
                </a:moveTo>
                <a:lnTo>
                  <a:pt x="2881" y="0"/>
                </a:lnTo>
                <a:cubicBezTo>
                  <a:pt x="22" y="0"/>
                  <a:pt x="22" y="0"/>
                  <a:pt x="22" y="0"/>
                </a:cubicBezTo>
                <a:cubicBezTo>
                  <a:pt x="0" y="864"/>
                  <a:pt x="133" y="1773"/>
                  <a:pt x="598" y="2726"/>
                </a:cubicBezTo>
                <a:cubicBezTo>
                  <a:pt x="2881" y="2726"/>
                  <a:pt x="2881" y="2726"/>
                  <a:pt x="2881" y="2726"/>
                </a:cubicBezTo>
                <a:lnTo>
                  <a:pt x="2881" y="0"/>
                </a:lnTo>
              </a:path>
            </a:pathLst>
          </a:custGeom>
          <a:solidFill>
            <a:srgbClr val="0070AD"/>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2" name="Freeform 15">
            <a:extLst>
              <a:ext uri="{FF2B5EF4-FFF2-40B4-BE49-F238E27FC236}">
                <a16:creationId xmlns:a16="http://schemas.microsoft.com/office/drawing/2014/main" id="{07303236-1CD9-4EC1-B65C-B00F3507DEC6}"/>
              </a:ext>
            </a:extLst>
          </p:cNvPr>
          <p:cNvSpPr>
            <a:spLocks noChangeArrowheads="1"/>
          </p:cNvSpPr>
          <p:nvPr/>
        </p:nvSpPr>
        <p:spPr bwMode="auto">
          <a:xfrm>
            <a:off x="6428574" y="2756438"/>
            <a:ext cx="870863" cy="604570"/>
          </a:xfrm>
          <a:custGeom>
            <a:avLst/>
            <a:gdLst>
              <a:gd name="T0" fmla="*/ 1927 w 3923"/>
              <a:gd name="T1" fmla="*/ 2459 h 2727"/>
              <a:gd name="T2" fmla="*/ 1927 w 3923"/>
              <a:gd name="T3" fmla="*/ 2459 h 2727"/>
              <a:gd name="T4" fmla="*/ 1839 w 3923"/>
              <a:gd name="T5" fmla="*/ 2305 h 2727"/>
              <a:gd name="T6" fmla="*/ 1772 w 3923"/>
              <a:gd name="T7" fmla="*/ 2061 h 2727"/>
              <a:gd name="T8" fmla="*/ 1772 w 3923"/>
              <a:gd name="T9" fmla="*/ 2061 h 2727"/>
              <a:gd name="T10" fmla="*/ 1772 w 3923"/>
              <a:gd name="T11" fmla="*/ 2039 h 2727"/>
              <a:gd name="T12" fmla="*/ 1772 w 3923"/>
              <a:gd name="T13" fmla="*/ 2039 h 2727"/>
              <a:gd name="T14" fmla="*/ 2194 w 3923"/>
              <a:gd name="T15" fmla="*/ 1707 h 2727"/>
              <a:gd name="T16" fmla="*/ 2615 w 3923"/>
              <a:gd name="T17" fmla="*/ 2083 h 2727"/>
              <a:gd name="T18" fmla="*/ 2615 w 3923"/>
              <a:gd name="T19" fmla="*/ 2083 h 2727"/>
              <a:gd name="T20" fmla="*/ 2549 w 3923"/>
              <a:gd name="T21" fmla="*/ 2305 h 2727"/>
              <a:gd name="T22" fmla="*/ 2482 w 3923"/>
              <a:gd name="T23" fmla="*/ 2437 h 2727"/>
              <a:gd name="T24" fmla="*/ 2460 w 3923"/>
              <a:gd name="T25" fmla="*/ 2526 h 2727"/>
              <a:gd name="T26" fmla="*/ 2438 w 3923"/>
              <a:gd name="T27" fmla="*/ 2526 h 2727"/>
              <a:gd name="T28" fmla="*/ 2438 w 3923"/>
              <a:gd name="T29" fmla="*/ 2726 h 2727"/>
              <a:gd name="T30" fmla="*/ 3922 w 3923"/>
              <a:gd name="T31" fmla="*/ 2726 h 2727"/>
              <a:gd name="T32" fmla="*/ 2925 w 3923"/>
              <a:gd name="T33" fmla="*/ 443 h 2727"/>
              <a:gd name="T34" fmla="*/ 3014 w 3923"/>
              <a:gd name="T35" fmla="*/ 0 h 2727"/>
              <a:gd name="T36" fmla="*/ 0 w 3923"/>
              <a:gd name="T37" fmla="*/ 0 h 2727"/>
              <a:gd name="T38" fmla="*/ 0 w 3923"/>
              <a:gd name="T39" fmla="*/ 466 h 2727"/>
              <a:gd name="T40" fmla="*/ 177 w 3923"/>
              <a:gd name="T41" fmla="*/ 466 h 2727"/>
              <a:gd name="T42" fmla="*/ 266 w 3923"/>
              <a:gd name="T43" fmla="*/ 443 h 2727"/>
              <a:gd name="T44" fmla="*/ 399 w 3923"/>
              <a:gd name="T45" fmla="*/ 354 h 2727"/>
              <a:gd name="T46" fmla="*/ 642 w 3923"/>
              <a:gd name="T47" fmla="*/ 288 h 2727"/>
              <a:gd name="T48" fmla="*/ 665 w 3923"/>
              <a:gd name="T49" fmla="*/ 288 h 2727"/>
              <a:gd name="T50" fmla="*/ 665 w 3923"/>
              <a:gd name="T51" fmla="*/ 288 h 2727"/>
              <a:gd name="T52" fmla="*/ 665 w 3923"/>
              <a:gd name="T53" fmla="*/ 288 h 2727"/>
              <a:gd name="T54" fmla="*/ 996 w 3923"/>
              <a:gd name="T55" fmla="*/ 710 h 2727"/>
              <a:gd name="T56" fmla="*/ 620 w 3923"/>
              <a:gd name="T57" fmla="*/ 1130 h 2727"/>
              <a:gd name="T58" fmla="*/ 620 w 3923"/>
              <a:gd name="T59" fmla="*/ 1130 h 2727"/>
              <a:gd name="T60" fmla="*/ 399 w 3923"/>
              <a:gd name="T61" fmla="*/ 1064 h 2727"/>
              <a:gd name="T62" fmla="*/ 266 w 3923"/>
              <a:gd name="T63" fmla="*/ 998 h 2727"/>
              <a:gd name="T64" fmla="*/ 177 w 3923"/>
              <a:gd name="T65" fmla="*/ 976 h 2727"/>
              <a:gd name="T66" fmla="*/ 177 w 3923"/>
              <a:gd name="T67" fmla="*/ 953 h 2727"/>
              <a:gd name="T68" fmla="*/ 0 w 3923"/>
              <a:gd name="T69" fmla="*/ 953 h 2727"/>
              <a:gd name="T70" fmla="*/ 0 w 3923"/>
              <a:gd name="T71" fmla="*/ 2726 h 2727"/>
              <a:gd name="T72" fmla="*/ 1949 w 3923"/>
              <a:gd name="T73" fmla="*/ 2726 h 2727"/>
              <a:gd name="T74" fmla="*/ 1949 w 3923"/>
              <a:gd name="T75" fmla="*/ 2526 h 2727"/>
              <a:gd name="T76" fmla="*/ 1927 w 3923"/>
              <a:gd name="T77" fmla="*/ 2459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3" h="2727">
                <a:moveTo>
                  <a:pt x="1927" y="2459"/>
                </a:moveTo>
                <a:lnTo>
                  <a:pt x="1927" y="2459"/>
                </a:lnTo>
                <a:cubicBezTo>
                  <a:pt x="1905" y="2394"/>
                  <a:pt x="1883" y="2371"/>
                  <a:pt x="1839" y="2305"/>
                </a:cubicBezTo>
                <a:cubicBezTo>
                  <a:pt x="1794" y="2238"/>
                  <a:pt x="1772" y="2150"/>
                  <a:pt x="1772" y="2061"/>
                </a:cubicBezTo>
                <a:lnTo>
                  <a:pt x="1772" y="2061"/>
                </a:lnTo>
                <a:cubicBezTo>
                  <a:pt x="1772" y="2039"/>
                  <a:pt x="1772" y="2039"/>
                  <a:pt x="1772" y="2039"/>
                </a:cubicBezTo>
                <a:lnTo>
                  <a:pt x="1772" y="2039"/>
                </a:lnTo>
                <a:cubicBezTo>
                  <a:pt x="1794" y="1862"/>
                  <a:pt x="1972" y="1707"/>
                  <a:pt x="2194" y="1707"/>
                </a:cubicBezTo>
                <a:cubicBezTo>
                  <a:pt x="2438" y="1707"/>
                  <a:pt x="2615" y="1884"/>
                  <a:pt x="2615" y="2083"/>
                </a:cubicBezTo>
                <a:lnTo>
                  <a:pt x="2615" y="2083"/>
                </a:lnTo>
                <a:cubicBezTo>
                  <a:pt x="2615" y="2172"/>
                  <a:pt x="2592" y="2238"/>
                  <a:pt x="2549" y="2305"/>
                </a:cubicBezTo>
                <a:cubicBezTo>
                  <a:pt x="2504" y="2349"/>
                  <a:pt x="2482" y="2394"/>
                  <a:pt x="2482" y="2437"/>
                </a:cubicBezTo>
                <a:cubicBezTo>
                  <a:pt x="2460" y="2526"/>
                  <a:pt x="2460" y="2526"/>
                  <a:pt x="2460" y="2526"/>
                </a:cubicBezTo>
                <a:cubicBezTo>
                  <a:pt x="2438" y="2526"/>
                  <a:pt x="2438" y="2526"/>
                  <a:pt x="2438" y="2526"/>
                </a:cubicBezTo>
                <a:cubicBezTo>
                  <a:pt x="2438" y="2726"/>
                  <a:pt x="2438" y="2726"/>
                  <a:pt x="2438" y="2726"/>
                </a:cubicBezTo>
                <a:cubicBezTo>
                  <a:pt x="3922" y="2726"/>
                  <a:pt x="3922" y="2726"/>
                  <a:pt x="3922" y="2726"/>
                </a:cubicBezTo>
                <a:cubicBezTo>
                  <a:pt x="3922" y="2726"/>
                  <a:pt x="2947" y="1064"/>
                  <a:pt x="2925" y="443"/>
                </a:cubicBezTo>
                <a:cubicBezTo>
                  <a:pt x="2925" y="332"/>
                  <a:pt x="2970" y="288"/>
                  <a:pt x="3014" y="0"/>
                </a:cubicBezTo>
                <a:cubicBezTo>
                  <a:pt x="0" y="0"/>
                  <a:pt x="0" y="0"/>
                  <a:pt x="0" y="0"/>
                </a:cubicBezTo>
                <a:cubicBezTo>
                  <a:pt x="0" y="466"/>
                  <a:pt x="0" y="466"/>
                  <a:pt x="0" y="466"/>
                </a:cubicBezTo>
                <a:cubicBezTo>
                  <a:pt x="177" y="466"/>
                  <a:pt x="177" y="466"/>
                  <a:pt x="177" y="466"/>
                </a:cubicBezTo>
                <a:cubicBezTo>
                  <a:pt x="266" y="443"/>
                  <a:pt x="266" y="443"/>
                  <a:pt x="266" y="443"/>
                </a:cubicBezTo>
                <a:cubicBezTo>
                  <a:pt x="310" y="421"/>
                  <a:pt x="332" y="399"/>
                  <a:pt x="399" y="354"/>
                </a:cubicBezTo>
                <a:cubicBezTo>
                  <a:pt x="465" y="311"/>
                  <a:pt x="553" y="288"/>
                  <a:pt x="642" y="288"/>
                </a:cubicBezTo>
                <a:cubicBezTo>
                  <a:pt x="665" y="288"/>
                  <a:pt x="665" y="288"/>
                  <a:pt x="665" y="288"/>
                </a:cubicBezTo>
                <a:lnTo>
                  <a:pt x="665" y="288"/>
                </a:lnTo>
                <a:lnTo>
                  <a:pt x="665" y="288"/>
                </a:lnTo>
                <a:cubicBezTo>
                  <a:pt x="842" y="311"/>
                  <a:pt x="996" y="488"/>
                  <a:pt x="996" y="710"/>
                </a:cubicBezTo>
                <a:cubicBezTo>
                  <a:pt x="996" y="953"/>
                  <a:pt x="819" y="1130"/>
                  <a:pt x="620" y="1130"/>
                </a:cubicBezTo>
                <a:lnTo>
                  <a:pt x="620" y="1130"/>
                </a:lnTo>
                <a:cubicBezTo>
                  <a:pt x="553" y="1130"/>
                  <a:pt x="465" y="1108"/>
                  <a:pt x="399" y="1064"/>
                </a:cubicBezTo>
                <a:cubicBezTo>
                  <a:pt x="354" y="1020"/>
                  <a:pt x="332" y="998"/>
                  <a:pt x="266" y="998"/>
                </a:cubicBezTo>
                <a:cubicBezTo>
                  <a:pt x="177" y="976"/>
                  <a:pt x="177" y="976"/>
                  <a:pt x="177" y="976"/>
                </a:cubicBezTo>
                <a:cubicBezTo>
                  <a:pt x="177" y="953"/>
                  <a:pt x="177" y="953"/>
                  <a:pt x="177" y="953"/>
                </a:cubicBezTo>
                <a:cubicBezTo>
                  <a:pt x="0" y="953"/>
                  <a:pt x="0" y="953"/>
                  <a:pt x="0" y="953"/>
                </a:cubicBezTo>
                <a:cubicBezTo>
                  <a:pt x="0" y="2726"/>
                  <a:pt x="0" y="2726"/>
                  <a:pt x="0" y="2726"/>
                </a:cubicBezTo>
                <a:cubicBezTo>
                  <a:pt x="1949" y="2726"/>
                  <a:pt x="1949" y="2726"/>
                  <a:pt x="1949" y="2726"/>
                </a:cubicBezTo>
                <a:cubicBezTo>
                  <a:pt x="1949" y="2526"/>
                  <a:pt x="1949" y="2526"/>
                  <a:pt x="1949" y="2526"/>
                </a:cubicBezTo>
                <a:lnTo>
                  <a:pt x="1927" y="2459"/>
                </a:ln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Freeform 3">
            <a:extLst>
              <a:ext uri="{FF2B5EF4-FFF2-40B4-BE49-F238E27FC236}">
                <a16:creationId xmlns:a16="http://schemas.microsoft.com/office/drawing/2014/main" id="{EEC4E9A4-4B2C-4031-A053-C92245DD9E56}"/>
              </a:ext>
            </a:extLst>
          </p:cNvPr>
          <p:cNvSpPr>
            <a:spLocks noChangeArrowheads="1"/>
          </p:cNvSpPr>
          <p:nvPr/>
        </p:nvSpPr>
        <p:spPr bwMode="auto">
          <a:xfrm>
            <a:off x="6415131" y="2152774"/>
            <a:ext cx="693556" cy="604570"/>
          </a:xfrm>
          <a:custGeom>
            <a:avLst/>
            <a:gdLst>
              <a:gd name="T0" fmla="*/ 2393 w 3125"/>
              <a:gd name="T1" fmla="*/ 0 h 2727"/>
              <a:gd name="T2" fmla="*/ 2393 w 3125"/>
              <a:gd name="T3" fmla="*/ 0 h 2727"/>
              <a:gd name="T4" fmla="*/ 0 w 3125"/>
              <a:gd name="T5" fmla="*/ 0 h 2727"/>
              <a:gd name="T6" fmla="*/ 0 w 3125"/>
              <a:gd name="T7" fmla="*/ 2726 h 2727"/>
              <a:gd name="T8" fmla="*/ 399 w 3125"/>
              <a:gd name="T9" fmla="*/ 2726 h 2727"/>
              <a:gd name="T10" fmla="*/ 399 w 3125"/>
              <a:gd name="T11" fmla="*/ 2637 h 2727"/>
              <a:gd name="T12" fmla="*/ 376 w 3125"/>
              <a:gd name="T13" fmla="*/ 2571 h 2727"/>
              <a:gd name="T14" fmla="*/ 310 w 3125"/>
              <a:gd name="T15" fmla="*/ 2415 h 2727"/>
              <a:gd name="T16" fmla="*/ 244 w 3125"/>
              <a:gd name="T17" fmla="*/ 2171 h 2727"/>
              <a:gd name="T18" fmla="*/ 244 w 3125"/>
              <a:gd name="T19" fmla="*/ 2171 h 2727"/>
              <a:gd name="T20" fmla="*/ 244 w 3125"/>
              <a:gd name="T21" fmla="*/ 2149 h 2727"/>
              <a:gd name="T22" fmla="*/ 244 w 3125"/>
              <a:gd name="T23" fmla="*/ 2149 h 2727"/>
              <a:gd name="T24" fmla="*/ 665 w 3125"/>
              <a:gd name="T25" fmla="*/ 1817 h 2727"/>
              <a:gd name="T26" fmla="*/ 1085 w 3125"/>
              <a:gd name="T27" fmla="*/ 2194 h 2727"/>
              <a:gd name="T28" fmla="*/ 1085 w 3125"/>
              <a:gd name="T29" fmla="*/ 2194 h 2727"/>
              <a:gd name="T30" fmla="*/ 1019 w 3125"/>
              <a:gd name="T31" fmla="*/ 2415 h 2727"/>
              <a:gd name="T32" fmla="*/ 931 w 3125"/>
              <a:gd name="T33" fmla="*/ 2549 h 2727"/>
              <a:gd name="T34" fmla="*/ 908 w 3125"/>
              <a:gd name="T35" fmla="*/ 2637 h 2727"/>
              <a:gd name="T36" fmla="*/ 908 w 3125"/>
              <a:gd name="T37" fmla="*/ 2637 h 2727"/>
              <a:gd name="T38" fmla="*/ 908 w 3125"/>
              <a:gd name="T39" fmla="*/ 2726 h 2727"/>
              <a:gd name="T40" fmla="*/ 3080 w 3125"/>
              <a:gd name="T41" fmla="*/ 2726 h 2727"/>
              <a:gd name="T42" fmla="*/ 2393 w 3125"/>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5" h="2727">
                <a:moveTo>
                  <a:pt x="2393" y="0"/>
                </a:moveTo>
                <a:lnTo>
                  <a:pt x="2393" y="0"/>
                </a:lnTo>
                <a:cubicBezTo>
                  <a:pt x="0" y="0"/>
                  <a:pt x="0" y="0"/>
                  <a:pt x="0" y="0"/>
                </a:cubicBezTo>
                <a:cubicBezTo>
                  <a:pt x="0" y="2726"/>
                  <a:pt x="0" y="2726"/>
                  <a:pt x="0" y="2726"/>
                </a:cubicBezTo>
                <a:cubicBezTo>
                  <a:pt x="399" y="2726"/>
                  <a:pt x="399" y="2726"/>
                  <a:pt x="399" y="2726"/>
                </a:cubicBezTo>
                <a:cubicBezTo>
                  <a:pt x="399" y="2637"/>
                  <a:pt x="399" y="2637"/>
                  <a:pt x="399" y="2637"/>
                </a:cubicBezTo>
                <a:cubicBezTo>
                  <a:pt x="376" y="2571"/>
                  <a:pt x="376" y="2571"/>
                  <a:pt x="376" y="2571"/>
                </a:cubicBezTo>
                <a:cubicBezTo>
                  <a:pt x="376" y="2504"/>
                  <a:pt x="354" y="2482"/>
                  <a:pt x="310" y="2415"/>
                </a:cubicBezTo>
                <a:cubicBezTo>
                  <a:pt x="244" y="2349"/>
                  <a:pt x="244" y="2260"/>
                  <a:pt x="244" y="2171"/>
                </a:cubicBezTo>
                <a:lnTo>
                  <a:pt x="244" y="2171"/>
                </a:lnTo>
                <a:cubicBezTo>
                  <a:pt x="244" y="2149"/>
                  <a:pt x="244" y="2149"/>
                  <a:pt x="244" y="2149"/>
                </a:cubicBezTo>
                <a:lnTo>
                  <a:pt x="244" y="2149"/>
                </a:lnTo>
                <a:cubicBezTo>
                  <a:pt x="266" y="1972"/>
                  <a:pt x="443" y="1817"/>
                  <a:pt x="665" y="1817"/>
                </a:cubicBezTo>
                <a:cubicBezTo>
                  <a:pt x="886" y="1817"/>
                  <a:pt x="1085" y="1994"/>
                  <a:pt x="1085" y="2194"/>
                </a:cubicBezTo>
                <a:lnTo>
                  <a:pt x="1085" y="2194"/>
                </a:lnTo>
                <a:cubicBezTo>
                  <a:pt x="1085" y="2282"/>
                  <a:pt x="1063" y="2349"/>
                  <a:pt x="1019" y="2415"/>
                </a:cubicBezTo>
                <a:cubicBezTo>
                  <a:pt x="975" y="2460"/>
                  <a:pt x="953" y="2504"/>
                  <a:pt x="931" y="2549"/>
                </a:cubicBezTo>
                <a:cubicBezTo>
                  <a:pt x="908" y="2637"/>
                  <a:pt x="908" y="2637"/>
                  <a:pt x="908" y="2637"/>
                </a:cubicBezTo>
                <a:lnTo>
                  <a:pt x="908" y="2637"/>
                </a:lnTo>
                <a:cubicBezTo>
                  <a:pt x="908" y="2726"/>
                  <a:pt x="908" y="2726"/>
                  <a:pt x="908" y="2726"/>
                </a:cubicBezTo>
                <a:cubicBezTo>
                  <a:pt x="3080" y="2726"/>
                  <a:pt x="3080" y="2726"/>
                  <a:pt x="3080" y="2726"/>
                </a:cubicBezTo>
                <a:cubicBezTo>
                  <a:pt x="3124" y="2017"/>
                  <a:pt x="3036" y="997"/>
                  <a:pt x="2393" y="0"/>
                </a:cubicBez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Freeform 7">
            <a:extLst>
              <a:ext uri="{FF2B5EF4-FFF2-40B4-BE49-F238E27FC236}">
                <a16:creationId xmlns:a16="http://schemas.microsoft.com/office/drawing/2014/main" id="{0718E4B0-F30C-43D1-A627-02C3F2BFF601}"/>
              </a:ext>
            </a:extLst>
          </p:cNvPr>
          <p:cNvSpPr>
            <a:spLocks noChangeArrowheads="1"/>
          </p:cNvSpPr>
          <p:nvPr/>
        </p:nvSpPr>
        <p:spPr bwMode="auto">
          <a:xfrm>
            <a:off x="5406236" y="2152774"/>
            <a:ext cx="998212" cy="604570"/>
          </a:xfrm>
          <a:custGeom>
            <a:avLst/>
            <a:gdLst>
              <a:gd name="T0" fmla="*/ 0 w 4500"/>
              <a:gd name="T1" fmla="*/ 0 h 2727"/>
              <a:gd name="T2" fmla="*/ 0 w 4500"/>
              <a:gd name="T3" fmla="*/ 0 h 2727"/>
              <a:gd name="T4" fmla="*/ 0 w 4500"/>
              <a:gd name="T5" fmla="*/ 2726 h 2727"/>
              <a:gd name="T6" fmla="*/ 3479 w 4500"/>
              <a:gd name="T7" fmla="*/ 2726 h 2727"/>
              <a:gd name="T8" fmla="*/ 3479 w 4500"/>
              <a:gd name="T9" fmla="*/ 2460 h 2727"/>
              <a:gd name="T10" fmla="*/ 3457 w 4500"/>
              <a:gd name="T11" fmla="*/ 2371 h 2727"/>
              <a:gd name="T12" fmla="*/ 3391 w 4500"/>
              <a:gd name="T13" fmla="*/ 2238 h 2727"/>
              <a:gd name="T14" fmla="*/ 3324 w 4500"/>
              <a:gd name="T15" fmla="*/ 1972 h 2727"/>
              <a:gd name="T16" fmla="*/ 3324 w 4500"/>
              <a:gd name="T17" fmla="*/ 1972 h 2727"/>
              <a:gd name="T18" fmla="*/ 3324 w 4500"/>
              <a:gd name="T19" fmla="*/ 1972 h 2727"/>
              <a:gd name="T20" fmla="*/ 3324 w 4500"/>
              <a:gd name="T21" fmla="*/ 1972 h 2727"/>
              <a:gd name="T22" fmla="*/ 3745 w 4500"/>
              <a:gd name="T23" fmla="*/ 1640 h 2727"/>
              <a:gd name="T24" fmla="*/ 4166 w 4500"/>
              <a:gd name="T25" fmla="*/ 1994 h 2727"/>
              <a:gd name="T26" fmla="*/ 4166 w 4500"/>
              <a:gd name="T27" fmla="*/ 1994 h 2727"/>
              <a:gd name="T28" fmla="*/ 4100 w 4500"/>
              <a:gd name="T29" fmla="*/ 2238 h 2727"/>
              <a:gd name="T30" fmla="*/ 4011 w 4500"/>
              <a:gd name="T31" fmla="*/ 2349 h 2727"/>
              <a:gd name="T32" fmla="*/ 3989 w 4500"/>
              <a:gd name="T33" fmla="*/ 2460 h 2727"/>
              <a:gd name="T34" fmla="*/ 3989 w 4500"/>
              <a:gd name="T35" fmla="*/ 2460 h 2727"/>
              <a:gd name="T36" fmla="*/ 3989 w 4500"/>
              <a:gd name="T37" fmla="*/ 2726 h 2727"/>
              <a:gd name="T38" fmla="*/ 4499 w 4500"/>
              <a:gd name="T39" fmla="*/ 2726 h 2727"/>
              <a:gd name="T40" fmla="*/ 4499 w 4500"/>
              <a:gd name="T41" fmla="*/ 0 h 2727"/>
              <a:gd name="T42" fmla="*/ 0 w 4500"/>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00" h="2727">
                <a:moveTo>
                  <a:pt x="0" y="0"/>
                </a:moveTo>
                <a:lnTo>
                  <a:pt x="0" y="0"/>
                </a:lnTo>
                <a:cubicBezTo>
                  <a:pt x="0" y="2726"/>
                  <a:pt x="0" y="2726"/>
                  <a:pt x="0" y="2726"/>
                </a:cubicBezTo>
                <a:cubicBezTo>
                  <a:pt x="3479" y="2726"/>
                  <a:pt x="3479" y="2726"/>
                  <a:pt x="3479" y="2726"/>
                </a:cubicBezTo>
                <a:cubicBezTo>
                  <a:pt x="3479" y="2460"/>
                  <a:pt x="3479" y="2460"/>
                  <a:pt x="3479" y="2460"/>
                </a:cubicBezTo>
                <a:cubicBezTo>
                  <a:pt x="3457" y="2371"/>
                  <a:pt x="3457" y="2371"/>
                  <a:pt x="3457" y="2371"/>
                </a:cubicBezTo>
                <a:cubicBezTo>
                  <a:pt x="3435" y="2305"/>
                  <a:pt x="3435" y="2282"/>
                  <a:pt x="3391" y="2238"/>
                </a:cubicBezTo>
                <a:cubicBezTo>
                  <a:pt x="3324" y="2149"/>
                  <a:pt x="3302" y="2083"/>
                  <a:pt x="3324" y="1972"/>
                </a:cubicBezTo>
                <a:lnTo>
                  <a:pt x="3324" y="1972"/>
                </a:lnTo>
                <a:lnTo>
                  <a:pt x="3324" y="1972"/>
                </a:lnTo>
                <a:lnTo>
                  <a:pt x="3324" y="1972"/>
                </a:lnTo>
                <a:cubicBezTo>
                  <a:pt x="3347" y="1795"/>
                  <a:pt x="3524" y="1640"/>
                  <a:pt x="3745" y="1640"/>
                </a:cubicBezTo>
                <a:cubicBezTo>
                  <a:pt x="3967" y="1640"/>
                  <a:pt x="4166" y="1795"/>
                  <a:pt x="4166" y="1994"/>
                </a:cubicBezTo>
                <a:lnTo>
                  <a:pt x="4166" y="1994"/>
                </a:lnTo>
                <a:cubicBezTo>
                  <a:pt x="4166" y="2083"/>
                  <a:pt x="4144" y="2171"/>
                  <a:pt x="4100" y="2238"/>
                </a:cubicBezTo>
                <a:cubicBezTo>
                  <a:pt x="4056" y="2282"/>
                  <a:pt x="4034" y="2305"/>
                  <a:pt x="4011" y="2349"/>
                </a:cubicBezTo>
                <a:cubicBezTo>
                  <a:pt x="3989" y="2460"/>
                  <a:pt x="3989" y="2460"/>
                  <a:pt x="3989" y="2460"/>
                </a:cubicBezTo>
                <a:lnTo>
                  <a:pt x="3989" y="2460"/>
                </a:lnTo>
                <a:cubicBezTo>
                  <a:pt x="3989" y="2726"/>
                  <a:pt x="3989" y="2726"/>
                  <a:pt x="3989" y="2726"/>
                </a:cubicBezTo>
                <a:cubicBezTo>
                  <a:pt x="4499" y="2726"/>
                  <a:pt x="4499" y="2726"/>
                  <a:pt x="4499" y="2726"/>
                </a:cubicBezTo>
                <a:cubicBezTo>
                  <a:pt x="4499" y="0"/>
                  <a:pt x="4499" y="0"/>
                  <a:pt x="4499" y="0"/>
                </a:cubicBezTo>
                <a:lnTo>
                  <a:pt x="0" y="0"/>
                </a:ln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9" name="Freeform 16">
            <a:extLst>
              <a:ext uri="{FF2B5EF4-FFF2-40B4-BE49-F238E27FC236}">
                <a16:creationId xmlns:a16="http://schemas.microsoft.com/office/drawing/2014/main" id="{B877DDAF-65EE-4D03-B876-13BDC7D8D5F2}"/>
              </a:ext>
            </a:extLst>
          </p:cNvPr>
          <p:cNvSpPr>
            <a:spLocks noChangeArrowheads="1"/>
          </p:cNvSpPr>
          <p:nvPr/>
        </p:nvSpPr>
        <p:spPr bwMode="auto">
          <a:xfrm>
            <a:off x="4522764" y="2156475"/>
            <a:ext cx="835121" cy="587428"/>
          </a:xfrm>
          <a:custGeom>
            <a:avLst/>
            <a:gdLst>
              <a:gd name="T0" fmla="*/ 2814 w 2815"/>
              <a:gd name="T1" fmla="*/ 0 h 2727"/>
              <a:gd name="T2" fmla="*/ 2814 w 2815"/>
              <a:gd name="T3" fmla="*/ 0 h 2727"/>
              <a:gd name="T4" fmla="*/ 997 w 2815"/>
              <a:gd name="T5" fmla="*/ 0 h 2727"/>
              <a:gd name="T6" fmla="*/ 620 w 2815"/>
              <a:gd name="T7" fmla="*/ 642 h 2727"/>
              <a:gd name="T8" fmla="*/ 0 w 2815"/>
              <a:gd name="T9" fmla="*/ 2726 h 2727"/>
              <a:gd name="T10" fmla="*/ 1706 w 2815"/>
              <a:gd name="T11" fmla="*/ 2726 h 2727"/>
              <a:gd name="T12" fmla="*/ 1706 w 2815"/>
              <a:gd name="T13" fmla="*/ 2460 h 2727"/>
              <a:gd name="T14" fmla="*/ 1684 w 2815"/>
              <a:gd name="T15" fmla="*/ 2371 h 2727"/>
              <a:gd name="T16" fmla="*/ 1596 w 2815"/>
              <a:gd name="T17" fmla="*/ 2238 h 2727"/>
              <a:gd name="T18" fmla="*/ 1529 w 2815"/>
              <a:gd name="T19" fmla="*/ 1994 h 2727"/>
              <a:gd name="T20" fmla="*/ 1529 w 2815"/>
              <a:gd name="T21" fmla="*/ 1972 h 2727"/>
              <a:gd name="T22" fmla="*/ 1529 w 2815"/>
              <a:gd name="T23" fmla="*/ 1972 h 2727"/>
              <a:gd name="T24" fmla="*/ 1529 w 2815"/>
              <a:gd name="T25" fmla="*/ 1972 h 2727"/>
              <a:gd name="T26" fmla="*/ 1950 w 2815"/>
              <a:gd name="T27" fmla="*/ 1640 h 2727"/>
              <a:gd name="T28" fmla="*/ 2371 w 2815"/>
              <a:gd name="T29" fmla="*/ 2017 h 2727"/>
              <a:gd name="T30" fmla="*/ 2371 w 2815"/>
              <a:gd name="T31" fmla="*/ 2017 h 2727"/>
              <a:gd name="T32" fmla="*/ 2305 w 2815"/>
              <a:gd name="T33" fmla="*/ 2238 h 2727"/>
              <a:gd name="T34" fmla="*/ 2238 w 2815"/>
              <a:gd name="T35" fmla="*/ 2371 h 2727"/>
              <a:gd name="T36" fmla="*/ 2216 w 2815"/>
              <a:gd name="T37" fmla="*/ 2460 h 2727"/>
              <a:gd name="T38" fmla="*/ 2216 w 2815"/>
              <a:gd name="T39" fmla="*/ 2460 h 2727"/>
              <a:gd name="T40" fmla="*/ 2216 w 2815"/>
              <a:gd name="T41" fmla="*/ 2726 h 2727"/>
              <a:gd name="T42" fmla="*/ 2814 w 2815"/>
              <a:gd name="T43" fmla="*/ 2726 h 2727"/>
              <a:gd name="T44" fmla="*/ 2814 w 2815"/>
              <a:gd name="T45"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5" h="2727">
                <a:moveTo>
                  <a:pt x="2814" y="0"/>
                </a:moveTo>
                <a:lnTo>
                  <a:pt x="2814" y="0"/>
                </a:lnTo>
                <a:cubicBezTo>
                  <a:pt x="997" y="0"/>
                  <a:pt x="997" y="0"/>
                  <a:pt x="997" y="0"/>
                </a:cubicBezTo>
                <a:cubicBezTo>
                  <a:pt x="842" y="221"/>
                  <a:pt x="730" y="443"/>
                  <a:pt x="620" y="642"/>
                </a:cubicBezTo>
                <a:cubicBezTo>
                  <a:pt x="332" y="1241"/>
                  <a:pt x="88" y="1928"/>
                  <a:pt x="0" y="2726"/>
                </a:cubicBezTo>
                <a:cubicBezTo>
                  <a:pt x="1706" y="2726"/>
                  <a:pt x="1706" y="2726"/>
                  <a:pt x="1706" y="2726"/>
                </a:cubicBezTo>
                <a:cubicBezTo>
                  <a:pt x="1706" y="2460"/>
                  <a:pt x="1706" y="2460"/>
                  <a:pt x="1706" y="2460"/>
                </a:cubicBezTo>
                <a:cubicBezTo>
                  <a:pt x="1684" y="2371"/>
                  <a:pt x="1684" y="2371"/>
                  <a:pt x="1684" y="2371"/>
                </a:cubicBezTo>
                <a:cubicBezTo>
                  <a:pt x="1662" y="2327"/>
                  <a:pt x="1639" y="2305"/>
                  <a:pt x="1596" y="2238"/>
                </a:cubicBezTo>
                <a:cubicBezTo>
                  <a:pt x="1551" y="2171"/>
                  <a:pt x="1529" y="2083"/>
                  <a:pt x="1529" y="1994"/>
                </a:cubicBezTo>
                <a:cubicBezTo>
                  <a:pt x="1529" y="1972"/>
                  <a:pt x="1529" y="1972"/>
                  <a:pt x="1529" y="1972"/>
                </a:cubicBezTo>
                <a:lnTo>
                  <a:pt x="1529" y="1972"/>
                </a:lnTo>
                <a:lnTo>
                  <a:pt x="1529" y="1972"/>
                </a:lnTo>
                <a:cubicBezTo>
                  <a:pt x="1551" y="1795"/>
                  <a:pt x="1729" y="1640"/>
                  <a:pt x="1950" y="1640"/>
                </a:cubicBezTo>
                <a:cubicBezTo>
                  <a:pt x="2194" y="1640"/>
                  <a:pt x="2371" y="1817"/>
                  <a:pt x="2371" y="2017"/>
                </a:cubicBezTo>
                <a:lnTo>
                  <a:pt x="2371" y="2017"/>
                </a:lnTo>
                <a:cubicBezTo>
                  <a:pt x="2371" y="2083"/>
                  <a:pt x="2349" y="2171"/>
                  <a:pt x="2305" y="2238"/>
                </a:cubicBezTo>
                <a:cubicBezTo>
                  <a:pt x="2261" y="2282"/>
                  <a:pt x="2261" y="2305"/>
                  <a:pt x="2238" y="2371"/>
                </a:cubicBezTo>
                <a:cubicBezTo>
                  <a:pt x="2216" y="2460"/>
                  <a:pt x="2216" y="2460"/>
                  <a:pt x="2216" y="2460"/>
                </a:cubicBezTo>
                <a:lnTo>
                  <a:pt x="2216" y="2460"/>
                </a:lnTo>
                <a:cubicBezTo>
                  <a:pt x="2216" y="2726"/>
                  <a:pt x="2216" y="2726"/>
                  <a:pt x="2216" y="2726"/>
                </a:cubicBezTo>
                <a:cubicBezTo>
                  <a:pt x="2814" y="2726"/>
                  <a:pt x="2814" y="2726"/>
                  <a:pt x="2814" y="2726"/>
                </a:cubicBezTo>
                <a:lnTo>
                  <a:pt x="2814" y="0"/>
                </a:ln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FA507A54-55B5-4823-9710-1E7E165826F8}"/>
              </a:ext>
            </a:extLst>
          </p:cNvPr>
          <p:cNvSpPr txBox="1"/>
          <p:nvPr/>
        </p:nvSpPr>
        <p:spPr>
          <a:xfrm>
            <a:off x="3554115" y="5508407"/>
            <a:ext cx="46197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C37B"/>
                </a:solidFill>
                <a:effectLst/>
                <a:uLnTx/>
                <a:uFillTx/>
                <a:latin typeface="Verdana"/>
                <a:ea typeface="+mn-ea"/>
                <a:cs typeface="+mn-cs"/>
              </a:rPr>
              <a:t>LOWER THE CARBON FOOTPRINT </a:t>
            </a:r>
            <a:r>
              <a:rPr kumimoji="0" lang="fr-FR" sz="1800" b="0" i="0" u="none" strike="noStrike" kern="1200" cap="none" spc="0" normalizeH="0" baseline="0" noProof="0" dirty="0">
                <a:ln>
                  <a:noFill/>
                </a:ln>
                <a:solidFill>
                  <a:srgbClr val="00C37B"/>
                </a:solidFill>
                <a:effectLst/>
                <a:uLnTx/>
                <a:uFillTx/>
                <a:latin typeface="Verdana"/>
                <a:ea typeface="+mn-ea"/>
                <a:cs typeface="+mn-cs"/>
              </a:rPr>
              <a:t>OF WORK RELATED SYSTEM</a:t>
            </a:r>
          </a:p>
        </p:txBody>
      </p:sp>
      <p:sp>
        <p:nvSpPr>
          <p:cNvPr id="3" name="TextBox 2">
            <a:extLst>
              <a:ext uri="{FF2B5EF4-FFF2-40B4-BE49-F238E27FC236}">
                <a16:creationId xmlns:a16="http://schemas.microsoft.com/office/drawing/2014/main" id="{BC50DC5F-67F4-4246-B534-95793F206B03}"/>
              </a:ext>
            </a:extLst>
          </p:cNvPr>
          <p:cNvSpPr txBox="1"/>
          <p:nvPr/>
        </p:nvSpPr>
        <p:spPr>
          <a:xfrm rot="16200000">
            <a:off x="4595616" y="2582436"/>
            <a:ext cx="987771" cy="523220"/>
          </a:xfrm>
          <a:prstGeom prst="rect">
            <a:avLst/>
          </a:prstGeom>
          <a:solidFill>
            <a:srgbClr val="0070A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FRUGAL</a:t>
            </a:r>
            <a:br>
              <a:rPr kumimoji="0" lang="fr-FR" sz="1400" b="1" i="1" u="none" strike="noStrike" kern="1200" cap="none" spc="0" normalizeH="0" baseline="0" noProof="0" dirty="0">
                <a:ln>
                  <a:noFill/>
                </a:ln>
                <a:solidFill>
                  <a:srgbClr val="FFFFFF"/>
                </a:solidFill>
                <a:effectLst/>
                <a:uLnTx/>
                <a:uFillTx/>
                <a:latin typeface="Verdana"/>
                <a:ea typeface="+mn-ea"/>
                <a:cs typeface="+mn-cs"/>
              </a:rPr>
            </a:br>
            <a:endParaRPr kumimoji="0" lang="fr-FR" sz="1400" b="1" i="1" u="none" strike="noStrike" kern="1200" cap="none" spc="0" normalizeH="0" baseline="0" noProof="0" dirty="0">
              <a:ln>
                <a:noFill/>
              </a:ln>
              <a:solidFill>
                <a:srgbClr val="FFFFFF"/>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33334A10-2430-4277-BAED-E663A899C27F}"/>
              </a:ext>
            </a:extLst>
          </p:cNvPr>
          <p:cNvSpPr txBox="1"/>
          <p:nvPr/>
        </p:nvSpPr>
        <p:spPr>
          <a:xfrm>
            <a:off x="5379360" y="2164080"/>
            <a:ext cx="1284326" cy="738664"/>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AGILE / </a:t>
            </a:r>
            <a:br>
              <a:rPr kumimoji="0" lang="fr-FR" sz="1400" b="1" i="1" u="none" strike="noStrike" kern="1200" cap="none" spc="0" normalizeH="0" baseline="0" noProof="0" dirty="0">
                <a:ln>
                  <a:noFill/>
                </a:ln>
                <a:solidFill>
                  <a:srgbClr val="FFFFFF"/>
                </a:solidFill>
                <a:effectLst/>
                <a:uLnTx/>
                <a:uFillTx/>
                <a:latin typeface="Verdana"/>
                <a:ea typeface="+mn-ea"/>
                <a:cs typeface="+mn-cs"/>
              </a:rPr>
            </a:br>
            <a:r>
              <a:rPr kumimoji="0" lang="fr-FR" sz="1400" b="1" i="1" u="none" strike="noStrike" kern="1200" cap="none" spc="0" normalizeH="0" baseline="0" noProof="0" dirty="0">
                <a:ln>
                  <a:noFill/>
                </a:ln>
                <a:solidFill>
                  <a:srgbClr val="FFFFFF"/>
                </a:solidFill>
                <a:effectLst/>
                <a:uLnTx/>
                <a:uFillTx/>
                <a:latin typeface="Verdana"/>
                <a:ea typeface="+mn-ea"/>
                <a:cs typeface="+mn-cs"/>
              </a:rPr>
              <a:t>RESILI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1" i="1" u="none" strike="noStrike" kern="1200" cap="none" spc="0" normalizeH="0" baseline="0" noProof="0" dirty="0">
              <a:ln>
                <a:noFill/>
              </a:ln>
              <a:solidFill>
                <a:srgbClr val="FFFFFF"/>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A8DDE018-900C-44E8-AC5E-634715854E7C}"/>
              </a:ext>
            </a:extLst>
          </p:cNvPr>
          <p:cNvSpPr txBox="1"/>
          <p:nvPr/>
        </p:nvSpPr>
        <p:spPr>
          <a:xfrm>
            <a:off x="5859420" y="3444240"/>
            <a:ext cx="1080745" cy="523220"/>
          </a:xfrm>
          <a:prstGeom prst="rect">
            <a:avLst/>
          </a:prstGeom>
          <a:solidFill>
            <a:srgbClr val="FF304C"/>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PEOPLE </a:t>
            </a:r>
            <a:br>
              <a:rPr kumimoji="0" lang="fr-FR" sz="1400" b="1" i="1" u="none" strike="noStrike" kern="1200" cap="none" spc="0" normalizeH="0" baseline="0" noProof="0" dirty="0">
                <a:ln>
                  <a:noFill/>
                </a:ln>
                <a:solidFill>
                  <a:srgbClr val="FFFFFF"/>
                </a:solidFill>
                <a:effectLst/>
                <a:uLnTx/>
                <a:uFillTx/>
                <a:latin typeface="Verdana"/>
                <a:ea typeface="+mn-ea"/>
                <a:cs typeface="+mn-cs"/>
              </a:rPr>
            </a:br>
            <a:r>
              <a:rPr kumimoji="0" lang="fr-FR" sz="1400" b="1" i="1" u="none" strike="noStrike" kern="1200" cap="none" spc="0" normalizeH="0" baseline="0" noProof="0" dirty="0">
                <a:ln>
                  <a:noFill/>
                </a:ln>
                <a:solidFill>
                  <a:srgbClr val="FFFFFF"/>
                </a:solidFill>
                <a:effectLst/>
                <a:uLnTx/>
                <a:uFillTx/>
                <a:latin typeface="Verdana"/>
                <a:ea typeface="+mn-ea"/>
                <a:cs typeface="+mn-cs"/>
              </a:rPr>
              <a:t>CENTRIC</a:t>
            </a:r>
          </a:p>
        </p:txBody>
      </p:sp>
      <p:sp>
        <p:nvSpPr>
          <p:cNvPr id="32" name="TextBox 31">
            <a:extLst>
              <a:ext uri="{FF2B5EF4-FFF2-40B4-BE49-F238E27FC236}">
                <a16:creationId xmlns:a16="http://schemas.microsoft.com/office/drawing/2014/main" id="{B63D305F-0222-4AC3-B7E8-D19DF81EAC93}"/>
              </a:ext>
            </a:extLst>
          </p:cNvPr>
          <p:cNvSpPr txBox="1"/>
          <p:nvPr/>
        </p:nvSpPr>
        <p:spPr>
          <a:xfrm>
            <a:off x="4693560" y="4869180"/>
            <a:ext cx="1611339" cy="307777"/>
          </a:xfrm>
          <a:prstGeom prst="rect">
            <a:avLst/>
          </a:prstGeom>
          <a:solidFill>
            <a:srgbClr val="00C37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SUSTAINABLE</a:t>
            </a:r>
          </a:p>
        </p:txBody>
      </p:sp>
      <p:grpSp>
        <p:nvGrpSpPr>
          <p:cNvPr id="33" name="Group 32">
            <a:extLst>
              <a:ext uri="{FF2B5EF4-FFF2-40B4-BE49-F238E27FC236}">
                <a16:creationId xmlns:a16="http://schemas.microsoft.com/office/drawing/2014/main" id="{C8AEBA0F-4566-4ADF-9658-77FE25A479BB}"/>
              </a:ext>
            </a:extLst>
          </p:cNvPr>
          <p:cNvGrpSpPr/>
          <p:nvPr/>
        </p:nvGrpSpPr>
        <p:grpSpPr>
          <a:xfrm>
            <a:off x="9034432" y="85117"/>
            <a:ext cx="2319556" cy="608099"/>
            <a:chOff x="9034432" y="85117"/>
            <a:chExt cx="2319556" cy="608099"/>
          </a:xfrm>
        </p:grpSpPr>
        <p:grpSp>
          <p:nvGrpSpPr>
            <p:cNvPr id="34" name="Group 33">
              <a:extLst>
                <a:ext uri="{FF2B5EF4-FFF2-40B4-BE49-F238E27FC236}">
                  <a16:creationId xmlns:a16="http://schemas.microsoft.com/office/drawing/2014/main" id="{B1576D31-5A85-49DC-97EA-4ABD4839254D}"/>
                </a:ext>
              </a:extLst>
            </p:cNvPr>
            <p:cNvGrpSpPr/>
            <p:nvPr/>
          </p:nvGrpSpPr>
          <p:grpSpPr>
            <a:xfrm>
              <a:off x="9034432" y="122400"/>
              <a:ext cx="537780" cy="533532"/>
              <a:chOff x="411163" y="2006600"/>
              <a:chExt cx="3617913" cy="3589337"/>
            </a:xfrm>
            <a:solidFill>
              <a:schemeClr val="bg1">
                <a:lumMod val="75000"/>
              </a:schemeClr>
            </a:solidFill>
          </p:grpSpPr>
          <p:sp>
            <p:nvSpPr>
              <p:cNvPr id="104" name="Freeform 5">
                <a:extLst>
                  <a:ext uri="{FF2B5EF4-FFF2-40B4-BE49-F238E27FC236}">
                    <a16:creationId xmlns:a16="http://schemas.microsoft.com/office/drawing/2014/main" id="{90F2D248-53BB-4615-9382-C2AD69252378}"/>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6">
                <a:extLst>
                  <a:ext uri="{FF2B5EF4-FFF2-40B4-BE49-F238E27FC236}">
                    <a16:creationId xmlns:a16="http://schemas.microsoft.com/office/drawing/2014/main" id="{661E6FC8-B1AC-40DE-A623-BF8A921A01F4}"/>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7">
                <a:extLst>
                  <a:ext uri="{FF2B5EF4-FFF2-40B4-BE49-F238E27FC236}">
                    <a16:creationId xmlns:a16="http://schemas.microsoft.com/office/drawing/2014/main" id="{B9817B70-5355-479C-A4AD-7920CADE42C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8">
                <a:extLst>
                  <a:ext uri="{FF2B5EF4-FFF2-40B4-BE49-F238E27FC236}">
                    <a16:creationId xmlns:a16="http://schemas.microsoft.com/office/drawing/2014/main" id="{72FF0134-576B-4AA6-BD6E-3C41496E08E9}"/>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9">
                <a:extLst>
                  <a:ext uri="{FF2B5EF4-FFF2-40B4-BE49-F238E27FC236}">
                    <a16:creationId xmlns:a16="http://schemas.microsoft.com/office/drawing/2014/main" id="{FF444EC0-4B91-4899-B128-211662ADBF24}"/>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5" name="Groupe 825">
              <a:extLst>
                <a:ext uri="{FF2B5EF4-FFF2-40B4-BE49-F238E27FC236}">
                  <a16:creationId xmlns:a16="http://schemas.microsoft.com/office/drawing/2014/main" id="{DE258669-F335-4871-9F11-B6DACCE0C16A}"/>
                </a:ext>
              </a:extLst>
            </p:cNvPr>
            <p:cNvGrpSpPr/>
            <p:nvPr/>
          </p:nvGrpSpPr>
          <p:grpSpPr>
            <a:xfrm>
              <a:off x="9138494" y="248487"/>
              <a:ext cx="337206" cy="317707"/>
              <a:chOff x="6500813" y="736601"/>
              <a:chExt cx="538163" cy="581025"/>
            </a:xfrm>
            <a:solidFill>
              <a:schemeClr val="bg1">
                <a:lumMod val="50000"/>
              </a:schemeClr>
            </a:solidFill>
          </p:grpSpPr>
          <p:sp>
            <p:nvSpPr>
              <p:cNvPr id="55" name="Freeform 37">
                <a:extLst>
                  <a:ext uri="{FF2B5EF4-FFF2-40B4-BE49-F238E27FC236}">
                    <a16:creationId xmlns:a16="http://schemas.microsoft.com/office/drawing/2014/main" id="{E46AC2BE-E90A-48CD-BBA2-B67D5387C406}"/>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38">
                <a:extLst>
                  <a:ext uri="{FF2B5EF4-FFF2-40B4-BE49-F238E27FC236}">
                    <a16:creationId xmlns:a16="http://schemas.microsoft.com/office/drawing/2014/main" id="{62D2A455-85EF-4673-9376-3B4615FA22E4}"/>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39">
                <a:extLst>
                  <a:ext uri="{FF2B5EF4-FFF2-40B4-BE49-F238E27FC236}">
                    <a16:creationId xmlns:a16="http://schemas.microsoft.com/office/drawing/2014/main" id="{A4C99765-E6A2-4852-B25F-E62D506EAC01}"/>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40">
                <a:extLst>
                  <a:ext uri="{FF2B5EF4-FFF2-40B4-BE49-F238E27FC236}">
                    <a16:creationId xmlns:a16="http://schemas.microsoft.com/office/drawing/2014/main" id="{4AC4048E-2687-4222-8CA5-8C3D3A0A320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41">
                <a:extLst>
                  <a:ext uri="{FF2B5EF4-FFF2-40B4-BE49-F238E27FC236}">
                    <a16:creationId xmlns:a16="http://schemas.microsoft.com/office/drawing/2014/main" id="{CF6A7FD4-9C07-41DD-A582-DE7FFC6F431A}"/>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42">
                <a:extLst>
                  <a:ext uri="{FF2B5EF4-FFF2-40B4-BE49-F238E27FC236}">
                    <a16:creationId xmlns:a16="http://schemas.microsoft.com/office/drawing/2014/main" id="{94E3D112-5FDC-4C27-BBCC-F51698E3460E}"/>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43">
                <a:extLst>
                  <a:ext uri="{FF2B5EF4-FFF2-40B4-BE49-F238E27FC236}">
                    <a16:creationId xmlns:a16="http://schemas.microsoft.com/office/drawing/2014/main" id="{9164A60C-63BB-40FE-9E27-FE178726C962}"/>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44">
                <a:extLst>
                  <a:ext uri="{FF2B5EF4-FFF2-40B4-BE49-F238E27FC236}">
                    <a16:creationId xmlns:a16="http://schemas.microsoft.com/office/drawing/2014/main" id="{F9A06BAD-6B46-4B08-8181-1D6B753608E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45">
                <a:extLst>
                  <a:ext uri="{FF2B5EF4-FFF2-40B4-BE49-F238E27FC236}">
                    <a16:creationId xmlns:a16="http://schemas.microsoft.com/office/drawing/2014/main" id="{BC2E97CE-D453-4D0D-888E-A86BEDEA6DAB}"/>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46">
                <a:extLst>
                  <a:ext uri="{FF2B5EF4-FFF2-40B4-BE49-F238E27FC236}">
                    <a16:creationId xmlns:a16="http://schemas.microsoft.com/office/drawing/2014/main" id="{E3BC8311-5280-4F75-8958-D0FAFE1A47E7}"/>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47">
                <a:extLst>
                  <a:ext uri="{FF2B5EF4-FFF2-40B4-BE49-F238E27FC236}">
                    <a16:creationId xmlns:a16="http://schemas.microsoft.com/office/drawing/2014/main" id="{B66CC6C9-7284-4AC4-827F-B0FF046C8D8A}"/>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48">
                <a:extLst>
                  <a:ext uri="{FF2B5EF4-FFF2-40B4-BE49-F238E27FC236}">
                    <a16:creationId xmlns:a16="http://schemas.microsoft.com/office/drawing/2014/main" id="{8B0CFCCD-556F-4B87-AECA-1F7BB1E446AC}"/>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49">
                <a:extLst>
                  <a:ext uri="{FF2B5EF4-FFF2-40B4-BE49-F238E27FC236}">
                    <a16:creationId xmlns:a16="http://schemas.microsoft.com/office/drawing/2014/main" id="{165B10B2-DF6F-4119-87AB-FDA884A5C607}"/>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50">
                <a:extLst>
                  <a:ext uri="{FF2B5EF4-FFF2-40B4-BE49-F238E27FC236}">
                    <a16:creationId xmlns:a16="http://schemas.microsoft.com/office/drawing/2014/main" id="{37431C0A-32D9-4252-A4C4-7DF2C14386DB}"/>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51">
                <a:extLst>
                  <a:ext uri="{FF2B5EF4-FFF2-40B4-BE49-F238E27FC236}">
                    <a16:creationId xmlns:a16="http://schemas.microsoft.com/office/drawing/2014/main" id="{336E8450-FD27-44C6-9E0C-0FA9E0092AA4}"/>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52">
                <a:extLst>
                  <a:ext uri="{FF2B5EF4-FFF2-40B4-BE49-F238E27FC236}">
                    <a16:creationId xmlns:a16="http://schemas.microsoft.com/office/drawing/2014/main" id="{E6ABC31C-2A03-4DAE-A46E-933F0ADFC08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53">
                <a:extLst>
                  <a:ext uri="{FF2B5EF4-FFF2-40B4-BE49-F238E27FC236}">
                    <a16:creationId xmlns:a16="http://schemas.microsoft.com/office/drawing/2014/main" id="{53C51424-6E6A-49C5-907A-9B1ABA392634}"/>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54">
                <a:extLst>
                  <a:ext uri="{FF2B5EF4-FFF2-40B4-BE49-F238E27FC236}">
                    <a16:creationId xmlns:a16="http://schemas.microsoft.com/office/drawing/2014/main" id="{F304704C-4CD7-4F65-8D6D-4EF81644D0C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55">
                <a:extLst>
                  <a:ext uri="{FF2B5EF4-FFF2-40B4-BE49-F238E27FC236}">
                    <a16:creationId xmlns:a16="http://schemas.microsoft.com/office/drawing/2014/main" id="{EEA70E7B-7485-475A-AE2E-F4CCCA66D9EB}"/>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56">
                <a:extLst>
                  <a:ext uri="{FF2B5EF4-FFF2-40B4-BE49-F238E27FC236}">
                    <a16:creationId xmlns:a16="http://schemas.microsoft.com/office/drawing/2014/main" id="{06C3D78F-B57B-4F1A-BCE0-20E93D810A72}"/>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57">
                <a:extLst>
                  <a:ext uri="{FF2B5EF4-FFF2-40B4-BE49-F238E27FC236}">
                    <a16:creationId xmlns:a16="http://schemas.microsoft.com/office/drawing/2014/main" id="{38632591-35AA-4F6C-8082-C9F30F7725C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58">
                <a:extLst>
                  <a:ext uri="{FF2B5EF4-FFF2-40B4-BE49-F238E27FC236}">
                    <a16:creationId xmlns:a16="http://schemas.microsoft.com/office/drawing/2014/main" id="{E087B5FA-D178-4484-AFE3-57AF7E9291F7}"/>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59">
                <a:extLst>
                  <a:ext uri="{FF2B5EF4-FFF2-40B4-BE49-F238E27FC236}">
                    <a16:creationId xmlns:a16="http://schemas.microsoft.com/office/drawing/2014/main" id="{284424B8-1BDD-44B5-94CF-AFFA94C6848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60">
                <a:extLst>
                  <a:ext uri="{FF2B5EF4-FFF2-40B4-BE49-F238E27FC236}">
                    <a16:creationId xmlns:a16="http://schemas.microsoft.com/office/drawing/2014/main" id="{396E5D4C-8D56-41A3-8106-0786675C1E7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61">
                <a:extLst>
                  <a:ext uri="{FF2B5EF4-FFF2-40B4-BE49-F238E27FC236}">
                    <a16:creationId xmlns:a16="http://schemas.microsoft.com/office/drawing/2014/main" id="{FFF9086B-0FEF-4C0D-9F3C-35447A00EC8F}"/>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62">
                <a:extLst>
                  <a:ext uri="{FF2B5EF4-FFF2-40B4-BE49-F238E27FC236}">
                    <a16:creationId xmlns:a16="http://schemas.microsoft.com/office/drawing/2014/main" id="{C36B12BB-0F78-453F-81BC-5095561E6ADD}"/>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63">
                <a:extLst>
                  <a:ext uri="{FF2B5EF4-FFF2-40B4-BE49-F238E27FC236}">
                    <a16:creationId xmlns:a16="http://schemas.microsoft.com/office/drawing/2014/main" id="{FF6E89E1-2A06-4E50-8E80-7FEB189155BE}"/>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64">
                <a:extLst>
                  <a:ext uri="{FF2B5EF4-FFF2-40B4-BE49-F238E27FC236}">
                    <a16:creationId xmlns:a16="http://schemas.microsoft.com/office/drawing/2014/main" id="{7C77D961-65A8-465F-8395-377CF84DFBEB}"/>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65">
                <a:extLst>
                  <a:ext uri="{FF2B5EF4-FFF2-40B4-BE49-F238E27FC236}">
                    <a16:creationId xmlns:a16="http://schemas.microsoft.com/office/drawing/2014/main" id="{D7D2E920-AA9D-4AD0-B0E7-69267C8ACBEE}"/>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66">
                <a:extLst>
                  <a:ext uri="{FF2B5EF4-FFF2-40B4-BE49-F238E27FC236}">
                    <a16:creationId xmlns:a16="http://schemas.microsoft.com/office/drawing/2014/main" id="{4E153454-B0F4-4FEA-9422-4E80EB46DE0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67">
                <a:extLst>
                  <a:ext uri="{FF2B5EF4-FFF2-40B4-BE49-F238E27FC236}">
                    <a16:creationId xmlns:a16="http://schemas.microsoft.com/office/drawing/2014/main" id="{06084994-02C6-4551-AF9E-94051E5BD4A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68">
                <a:extLst>
                  <a:ext uri="{FF2B5EF4-FFF2-40B4-BE49-F238E27FC236}">
                    <a16:creationId xmlns:a16="http://schemas.microsoft.com/office/drawing/2014/main" id="{6CC89571-9FF9-4EAE-93DA-A22CA2A668FB}"/>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69">
                <a:extLst>
                  <a:ext uri="{FF2B5EF4-FFF2-40B4-BE49-F238E27FC236}">
                    <a16:creationId xmlns:a16="http://schemas.microsoft.com/office/drawing/2014/main" id="{1B0E3946-4601-43A9-BB51-8AF35F75C441}"/>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70">
                <a:extLst>
                  <a:ext uri="{FF2B5EF4-FFF2-40B4-BE49-F238E27FC236}">
                    <a16:creationId xmlns:a16="http://schemas.microsoft.com/office/drawing/2014/main" id="{11D50889-7EC5-40D5-B16A-A696647B7342}"/>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71">
                <a:extLst>
                  <a:ext uri="{FF2B5EF4-FFF2-40B4-BE49-F238E27FC236}">
                    <a16:creationId xmlns:a16="http://schemas.microsoft.com/office/drawing/2014/main" id="{9C6FC139-0641-4564-90A7-6B50A1EEAB4A}"/>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72">
                <a:extLst>
                  <a:ext uri="{FF2B5EF4-FFF2-40B4-BE49-F238E27FC236}">
                    <a16:creationId xmlns:a16="http://schemas.microsoft.com/office/drawing/2014/main" id="{C703954B-1918-4271-B10D-A7404F01CC1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73">
                <a:extLst>
                  <a:ext uri="{FF2B5EF4-FFF2-40B4-BE49-F238E27FC236}">
                    <a16:creationId xmlns:a16="http://schemas.microsoft.com/office/drawing/2014/main" id="{1A1487F6-94CA-480E-919D-33DC7EF547DA}"/>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74">
                <a:extLst>
                  <a:ext uri="{FF2B5EF4-FFF2-40B4-BE49-F238E27FC236}">
                    <a16:creationId xmlns:a16="http://schemas.microsoft.com/office/drawing/2014/main" id="{9025B58C-68C3-4287-BD8A-3182AED9DD9F}"/>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75">
                <a:extLst>
                  <a:ext uri="{FF2B5EF4-FFF2-40B4-BE49-F238E27FC236}">
                    <a16:creationId xmlns:a16="http://schemas.microsoft.com/office/drawing/2014/main" id="{809C0F8E-40D0-4A7F-9281-91392B6B74D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76">
                <a:extLst>
                  <a:ext uri="{FF2B5EF4-FFF2-40B4-BE49-F238E27FC236}">
                    <a16:creationId xmlns:a16="http://schemas.microsoft.com/office/drawing/2014/main" id="{38FF1128-04E5-4D42-85F6-D444113BF46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77">
                <a:extLst>
                  <a:ext uri="{FF2B5EF4-FFF2-40B4-BE49-F238E27FC236}">
                    <a16:creationId xmlns:a16="http://schemas.microsoft.com/office/drawing/2014/main" id="{B39CD200-360E-43DB-A364-8A9EEFE0B4B8}"/>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78">
                <a:extLst>
                  <a:ext uri="{FF2B5EF4-FFF2-40B4-BE49-F238E27FC236}">
                    <a16:creationId xmlns:a16="http://schemas.microsoft.com/office/drawing/2014/main" id="{0E28A597-AA25-4FFA-BEA8-44468BBDDF6B}"/>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79">
                <a:extLst>
                  <a:ext uri="{FF2B5EF4-FFF2-40B4-BE49-F238E27FC236}">
                    <a16:creationId xmlns:a16="http://schemas.microsoft.com/office/drawing/2014/main" id="{D5C5AE4B-3F41-4875-96FF-CB026867CB4F}"/>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80">
                <a:extLst>
                  <a:ext uri="{FF2B5EF4-FFF2-40B4-BE49-F238E27FC236}">
                    <a16:creationId xmlns:a16="http://schemas.microsoft.com/office/drawing/2014/main" id="{E295D278-8221-4F3D-AC20-3C3A8388DB8E}"/>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81">
                <a:extLst>
                  <a:ext uri="{FF2B5EF4-FFF2-40B4-BE49-F238E27FC236}">
                    <a16:creationId xmlns:a16="http://schemas.microsoft.com/office/drawing/2014/main" id="{C94AD25B-0650-4160-87B8-8D83D5C2EE5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82">
                <a:extLst>
                  <a:ext uri="{FF2B5EF4-FFF2-40B4-BE49-F238E27FC236}">
                    <a16:creationId xmlns:a16="http://schemas.microsoft.com/office/drawing/2014/main" id="{8935DD6C-DD21-41A2-9678-2869A5031696}"/>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83">
                <a:extLst>
                  <a:ext uri="{FF2B5EF4-FFF2-40B4-BE49-F238E27FC236}">
                    <a16:creationId xmlns:a16="http://schemas.microsoft.com/office/drawing/2014/main" id="{7321BFEC-0C33-415A-9F57-72EDFC9071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84">
                <a:extLst>
                  <a:ext uri="{FF2B5EF4-FFF2-40B4-BE49-F238E27FC236}">
                    <a16:creationId xmlns:a16="http://schemas.microsoft.com/office/drawing/2014/main" id="{8E9293D6-5AB0-4DC1-98A3-C104CE88836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85">
                <a:extLst>
                  <a:ext uri="{FF2B5EF4-FFF2-40B4-BE49-F238E27FC236}">
                    <a16:creationId xmlns:a16="http://schemas.microsoft.com/office/drawing/2014/main" id="{B734084F-D66D-4477-BF39-015E74268DA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36" name="Group 35">
              <a:extLst>
                <a:ext uri="{FF2B5EF4-FFF2-40B4-BE49-F238E27FC236}">
                  <a16:creationId xmlns:a16="http://schemas.microsoft.com/office/drawing/2014/main" id="{3F884520-D6EE-48A2-B58F-6BE0FB320D5B}"/>
                </a:ext>
              </a:extLst>
            </p:cNvPr>
            <p:cNvGrpSpPr/>
            <p:nvPr/>
          </p:nvGrpSpPr>
          <p:grpSpPr>
            <a:xfrm>
              <a:off x="9622537" y="85117"/>
              <a:ext cx="559961" cy="608099"/>
              <a:chOff x="9622537" y="85117"/>
              <a:chExt cx="559961" cy="608099"/>
            </a:xfrm>
          </p:grpSpPr>
          <p:sp>
            <p:nvSpPr>
              <p:cNvPr id="50" name="Freeform 10">
                <a:extLst>
                  <a:ext uri="{FF2B5EF4-FFF2-40B4-BE49-F238E27FC236}">
                    <a16:creationId xmlns:a16="http://schemas.microsoft.com/office/drawing/2014/main" id="{038E9D87-C09D-4198-AB24-4F1578CFCF4A}"/>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1">
                <a:extLst>
                  <a:ext uri="{FF2B5EF4-FFF2-40B4-BE49-F238E27FC236}">
                    <a16:creationId xmlns:a16="http://schemas.microsoft.com/office/drawing/2014/main" id="{1BA1F73D-8567-47FB-823B-76B49BB3D6A8}"/>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2">
                <a:extLst>
                  <a:ext uri="{FF2B5EF4-FFF2-40B4-BE49-F238E27FC236}">
                    <a16:creationId xmlns:a16="http://schemas.microsoft.com/office/drawing/2014/main" id="{EE09E911-2473-42F8-BFA0-91D41624419B}"/>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13">
                <a:extLst>
                  <a:ext uri="{FF2B5EF4-FFF2-40B4-BE49-F238E27FC236}">
                    <a16:creationId xmlns:a16="http://schemas.microsoft.com/office/drawing/2014/main" id="{AB34BAB7-7040-4850-88B7-C0519CE481CC}"/>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4">
                <a:extLst>
                  <a:ext uri="{FF2B5EF4-FFF2-40B4-BE49-F238E27FC236}">
                    <a16:creationId xmlns:a16="http://schemas.microsoft.com/office/drawing/2014/main" id="{37086B3B-069F-4F76-9F0A-C825EFB2E7F2}"/>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7" name="Group 36">
              <a:extLst>
                <a:ext uri="{FF2B5EF4-FFF2-40B4-BE49-F238E27FC236}">
                  <a16:creationId xmlns:a16="http://schemas.microsoft.com/office/drawing/2014/main" id="{B2EC5249-544B-463F-ADB3-7A8FB44BC75D}"/>
                </a:ext>
              </a:extLst>
            </p:cNvPr>
            <p:cNvGrpSpPr/>
            <p:nvPr/>
          </p:nvGrpSpPr>
          <p:grpSpPr>
            <a:xfrm>
              <a:off x="10232823" y="122400"/>
              <a:ext cx="537308" cy="533532"/>
              <a:chOff x="8169276" y="2006600"/>
              <a:chExt cx="3614737" cy="3589337"/>
            </a:xfrm>
            <a:solidFill>
              <a:schemeClr val="bg1">
                <a:lumMod val="75000"/>
              </a:schemeClr>
            </a:solidFill>
          </p:grpSpPr>
          <p:sp>
            <p:nvSpPr>
              <p:cNvPr id="45" name="Freeform 18">
                <a:extLst>
                  <a:ext uri="{FF2B5EF4-FFF2-40B4-BE49-F238E27FC236}">
                    <a16:creationId xmlns:a16="http://schemas.microsoft.com/office/drawing/2014/main" id="{BA0768B1-CEB2-4EC6-87D0-C6883AA1AE7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15">
                <a:extLst>
                  <a:ext uri="{FF2B5EF4-FFF2-40B4-BE49-F238E27FC236}">
                    <a16:creationId xmlns:a16="http://schemas.microsoft.com/office/drawing/2014/main" id="{4F901DA4-0A6A-4C77-A10C-E6667322D97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16">
                <a:extLst>
                  <a:ext uri="{FF2B5EF4-FFF2-40B4-BE49-F238E27FC236}">
                    <a16:creationId xmlns:a16="http://schemas.microsoft.com/office/drawing/2014/main" id="{37EA7CEA-1979-4FAB-9155-A8B16C5E88E7}"/>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Freeform 17">
                <a:extLst>
                  <a:ext uri="{FF2B5EF4-FFF2-40B4-BE49-F238E27FC236}">
                    <a16:creationId xmlns:a16="http://schemas.microsoft.com/office/drawing/2014/main" id="{DF65EBC3-2539-4438-9D43-6453B0C7C245}"/>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19">
                <a:extLst>
                  <a:ext uri="{FF2B5EF4-FFF2-40B4-BE49-F238E27FC236}">
                    <a16:creationId xmlns:a16="http://schemas.microsoft.com/office/drawing/2014/main" id="{CD0E1CDA-9445-4A31-988F-3436D0300E0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8" name="Group 37">
              <a:extLst>
                <a:ext uri="{FF2B5EF4-FFF2-40B4-BE49-F238E27FC236}">
                  <a16:creationId xmlns:a16="http://schemas.microsoft.com/office/drawing/2014/main" id="{96E1581A-DBF8-45FB-A246-2DD40A3A2625}"/>
                </a:ext>
              </a:extLst>
            </p:cNvPr>
            <p:cNvGrpSpPr/>
            <p:nvPr/>
          </p:nvGrpSpPr>
          <p:grpSpPr>
            <a:xfrm rot="16938775">
              <a:off x="10818568" y="122400"/>
              <a:ext cx="537307" cy="533532"/>
              <a:chOff x="8169276" y="2006600"/>
              <a:chExt cx="3614737" cy="3589337"/>
            </a:xfrm>
          </p:grpSpPr>
          <p:sp>
            <p:nvSpPr>
              <p:cNvPr id="40" name="Freeform 18">
                <a:extLst>
                  <a:ext uri="{FF2B5EF4-FFF2-40B4-BE49-F238E27FC236}">
                    <a16:creationId xmlns:a16="http://schemas.microsoft.com/office/drawing/2014/main" id="{77BDE46C-56B7-477D-968E-D7A506B79A8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1" name="Freeform 15">
                <a:extLst>
                  <a:ext uri="{FF2B5EF4-FFF2-40B4-BE49-F238E27FC236}">
                    <a16:creationId xmlns:a16="http://schemas.microsoft.com/office/drawing/2014/main" id="{EC391864-CA66-4DA9-9704-2B8BC2C67EB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2" name="Oval 16">
                <a:extLst>
                  <a:ext uri="{FF2B5EF4-FFF2-40B4-BE49-F238E27FC236}">
                    <a16:creationId xmlns:a16="http://schemas.microsoft.com/office/drawing/2014/main" id="{5A4AD317-3B9B-487D-8C6C-1C53907C0262}"/>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7">
                <a:extLst>
                  <a:ext uri="{FF2B5EF4-FFF2-40B4-BE49-F238E27FC236}">
                    <a16:creationId xmlns:a16="http://schemas.microsoft.com/office/drawing/2014/main" id="{630771DA-0DC5-49F4-B90A-BDDEA4D67B7C}"/>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4" name="Freeform 19">
                <a:extLst>
                  <a:ext uri="{FF2B5EF4-FFF2-40B4-BE49-F238E27FC236}">
                    <a16:creationId xmlns:a16="http://schemas.microsoft.com/office/drawing/2014/main" id="{93EF43BD-0507-4398-9B08-0E6D1041A2A4}"/>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9" name="Picture 4" descr="Coronavirus | United Nations">
              <a:extLst>
                <a:ext uri="{FF2B5EF4-FFF2-40B4-BE49-F238E27FC236}">
                  <a16:creationId xmlns:a16="http://schemas.microsoft.com/office/drawing/2014/main" id="{A69A5192-5C7E-4AA0-A8D7-DB78412366EF}"/>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Freeform 332">
            <a:extLst>
              <a:ext uri="{FF2B5EF4-FFF2-40B4-BE49-F238E27FC236}">
                <a16:creationId xmlns:a16="http://schemas.microsoft.com/office/drawing/2014/main" id="{CEBF84CF-3BEE-45E6-AC81-72CFEFDA7EF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0" name="Group 109">
            <a:extLst>
              <a:ext uri="{FF2B5EF4-FFF2-40B4-BE49-F238E27FC236}">
                <a16:creationId xmlns:a16="http://schemas.microsoft.com/office/drawing/2014/main" id="{FFB8BEE9-CC0D-44B1-ADE4-735223D3DE17}"/>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11" name="Freeform 46">
              <a:extLst>
                <a:ext uri="{FF2B5EF4-FFF2-40B4-BE49-F238E27FC236}">
                  <a16:creationId xmlns:a16="http://schemas.microsoft.com/office/drawing/2014/main" id="{6C11EE25-CF23-4B9C-AD5E-E6041AF2CE2D}"/>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
              <a:extLst>
                <a:ext uri="{FF2B5EF4-FFF2-40B4-BE49-F238E27FC236}">
                  <a16:creationId xmlns:a16="http://schemas.microsoft.com/office/drawing/2014/main" id="{C4C65AA5-8681-441C-8785-882493379E72}"/>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8">
              <a:extLst>
                <a:ext uri="{FF2B5EF4-FFF2-40B4-BE49-F238E27FC236}">
                  <a16:creationId xmlns:a16="http://schemas.microsoft.com/office/drawing/2014/main" id="{F931EC65-07AC-43DA-A84B-F96FFA4FC8D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F3F01D91-A8E1-49A6-977A-86025D707EB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0">
              <a:extLst>
                <a:ext uri="{FF2B5EF4-FFF2-40B4-BE49-F238E27FC236}">
                  <a16:creationId xmlns:a16="http://schemas.microsoft.com/office/drawing/2014/main" id="{3B6D28FB-E9F4-4E8D-8A25-248531772D03}"/>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1">
              <a:extLst>
                <a:ext uri="{FF2B5EF4-FFF2-40B4-BE49-F238E27FC236}">
                  <a16:creationId xmlns:a16="http://schemas.microsoft.com/office/drawing/2014/main" id="{86AE8EA1-1345-4768-96AD-AEFEF9BC34A1}"/>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6032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7A94A4-CF45-4486-993F-9739B89482DE}"/>
              </a:ext>
            </a:extLst>
          </p:cNvPr>
          <p:cNvGraphicFramePr>
            <a:graphicFrameLocks noChangeAspect="1"/>
          </p:cNvGraphicFramePr>
          <p:nvPr>
            <p:custDataLst>
              <p:tags r:id="rId2"/>
            </p:custDataLst>
            <p:extLst>
              <p:ext uri="{D42A27DB-BD31-4B8C-83A1-F6EECF244321}">
                <p14:modId xmlns:p14="http://schemas.microsoft.com/office/powerpoint/2010/main" val="137793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0"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1BEAFC7-84D2-4736-91BB-670B506D5D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a:xfrm>
            <a:off x="227348" y="160527"/>
            <a:ext cx="8705138" cy="844589"/>
          </a:xfrm>
        </p:spPr>
        <p:txBody>
          <a:bodyPr/>
          <a:lstStyle/>
          <a:p>
            <a:r>
              <a:rPr lang="en-US" sz="2800" dirty="0"/>
              <a:t>Real-time information and complex global interdependencies spark unusual market trends</a:t>
            </a:r>
            <a:endParaRPr lang="en-US"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grpSp>
        <p:nvGrpSpPr>
          <p:cNvPr id="175" name="Group 174">
            <a:extLst>
              <a:ext uri="{FF2B5EF4-FFF2-40B4-BE49-F238E27FC236}">
                <a16:creationId xmlns:a16="http://schemas.microsoft.com/office/drawing/2014/main" id="{A7E1ADC1-3339-4AB1-B2CE-44C68276AFE0}"/>
              </a:ext>
            </a:extLst>
          </p:cNvPr>
          <p:cNvGrpSpPr/>
          <p:nvPr/>
        </p:nvGrpSpPr>
        <p:grpSpPr>
          <a:xfrm>
            <a:off x="180499" y="1502393"/>
            <a:ext cx="2685201" cy="2664000"/>
            <a:chOff x="411163" y="2006600"/>
            <a:chExt cx="3617913" cy="3589337"/>
          </a:xfrm>
        </p:grpSpPr>
        <p:sp>
          <p:nvSpPr>
            <p:cNvPr id="176" name="Freeform 5">
              <a:extLst>
                <a:ext uri="{FF2B5EF4-FFF2-40B4-BE49-F238E27FC236}">
                  <a16:creationId xmlns:a16="http://schemas.microsoft.com/office/drawing/2014/main" id="{F6B79B8C-913A-4752-A0EE-0AFFA4BC9436}"/>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7" name="Oval 6">
              <a:extLst>
                <a:ext uri="{FF2B5EF4-FFF2-40B4-BE49-F238E27FC236}">
                  <a16:creationId xmlns:a16="http://schemas.microsoft.com/office/drawing/2014/main" id="{2AF7CAB7-EDC5-41DF-B854-346E2A86A7A5}"/>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8" name="Freeform 7">
              <a:extLst>
                <a:ext uri="{FF2B5EF4-FFF2-40B4-BE49-F238E27FC236}">
                  <a16:creationId xmlns:a16="http://schemas.microsoft.com/office/drawing/2014/main" id="{0D6955AA-4940-4CB0-8071-F5DF0D28EAB9}"/>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9" name="Freeform 8">
              <a:extLst>
                <a:ext uri="{FF2B5EF4-FFF2-40B4-BE49-F238E27FC236}">
                  <a16:creationId xmlns:a16="http://schemas.microsoft.com/office/drawing/2014/main" id="{662652AE-BF82-400F-B7FA-10E4DE47C9A5}"/>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0" name="Freeform 9">
              <a:extLst>
                <a:ext uri="{FF2B5EF4-FFF2-40B4-BE49-F238E27FC236}">
                  <a16:creationId xmlns:a16="http://schemas.microsoft.com/office/drawing/2014/main" id="{424140D0-4223-496C-A01E-E20EB1ED4DC9}"/>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1" name="Rectangle 180">
              <a:extLst>
                <a:ext uri="{FF2B5EF4-FFF2-40B4-BE49-F238E27FC236}">
                  <a16:creationId xmlns:a16="http://schemas.microsoft.com/office/drawing/2014/main" id="{CBB4D887-6E39-44EE-AED9-9DBDBC02CE16}"/>
                </a:ext>
              </a:extLst>
            </p:cNvPr>
            <p:cNvSpPr/>
            <p:nvPr/>
          </p:nvSpPr>
          <p:spPr>
            <a:xfrm>
              <a:off x="1021031" y="3889139"/>
              <a:ext cx="2490934" cy="307777"/>
            </a:xfrm>
            <a:prstGeom prst="rect">
              <a:avLst/>
            </a:prstGeom>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182" name="Groupe 825">
            <a:extLst>
              <a:ext uri="{FF2B5EF4-FFF2-40B4-BE49-F238E27FC236}">
                <a16:creationId xmlns:a16="http://schemas.microsoft.com/office/drawing/2014/main" id="{B1F36037-D3F5-46EB-A817-179FBC4EB065}"/>
              </a:ext>
            </a:extLst>
          </p:cNvPr>
          <p:cNvGrpSpPr>
            <a:grpSpLocks noChangeAspect="1"/>
          </p:cNvGrpSpPr>
          <p:nvPr/>
        </p:nvGrpSpPr>
        <p:grpSpPr>
          <a:xfrm>
            <a:off x="961744" y="2339292"/>
            <a:ext cx="1177409" cy="1080000"/>
            <a:chOff x="6500813" y="736601"/>
            <a:chExt cx="538163" cy="581025"/>
          </a:xfrm>
        </p:grpSpPr>
        <p:sp>
          <p:nvSpPr>
            <p:cNvPr id="183" name="Freeform 37">
              <a:extLst>
                <a:ext uri="{FF2B5EF4-FFF2-40B4-BE49-F238E27FC236}">
                  <a16:creationId xmlns:a16="http://schemas.microsoft.com/office/drawing/2014/main" id="{3702618A-64B7-47E8-991B-F0A4DA593F6B}"/>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8">
              <a:extLst>
                <a:ext uri="{FF2B5EF4-FFF2-40B4-BE49-F238E27FC236}">
                  <a16:creationId xmlns:a16="http://schemas.microsoft.com/office/drawing/2014/main" id="{7019CEF7-4ACF-4802-9B75-F69196ECF2F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9">
              <a:extLst>
                <a:ext uri="{FF2B5EF4-FFF2-40B4-BE49-F238E27FC236}">
                  <a16:creationId xmlns:a16="http://schemas.microsoft.com/office/drawing/2014/main" id="{842DA033-EC9A-42B6-8E6E-00D8A02A8BE7}"/>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0">
              <a:extLst>
                <a:ext uri="{FF2B5EF4-FFF2-40B4-BE49-F238E27FC236}">
                  <a16:creationId xmlns:a16="http://schemas.microsoft.com/office/drawing/2014/main" id="{B2DB3E6B-B505-4067-8C0A-14D36FF175F0}"/>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1">
              <a:extLst>
                <a:ext uri="{FF2B5EF4-FFF2-40B4-BE49-F238E27FC236}">
                  <a16:creationId xmlns:a16="http://schemas.microsoft.com/office/drawing/2014/main" id="{132E6C26-DAD8-41EC-9EA2-AC41BDAE3F9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2">
              <a:extLst>
                <a:ext uri="{FF2B5EF4-FFF2-40B4-BE49-F238E27FC236}">
                  <a16:creationId xmlns:a16="http://schemas.microsoft.com/office/drawing/2014/main" id="{092F22FC-4784-4AFC-A38B-14B3FEEE5C51}"/>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3">
              <a:extLst>
                <a:ext uri="{FF2B5EF4-FFF2-40B4-BE49-F238E27FC236}">
                  <a16:creationId xmlns:a16="http://schemas.microsoft.com/office/drawing/2014/main" id="{E67FE561-EEE7-4C7E-A263-D9B8A4A05B7B}"/>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4">
              <a:extLst>
                <a:ext uri="{FF2B5EF4-FFF2-40B4-BE49-F238E27FC236}">
                  <a16:creationId xmlns:a16="http://schemas.microsoft.com/office/drawing/2014/main" id="{1497DD48-E9F6-4A3D-9ABE-53B7B64DAC9E}"/>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5">
              <a:extLst>
                <a:ext uri="{FF2B5EF4-FFF2-40B4-BE49-F238E27FC236}">
                  <a16:creationId xmlns:a16="http://schemas.microsoft.com/office/drawing/2014/main" id="{CB6D5425-5CA1-4FF5-A5D6-DCAA6E263F4C}"/>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6">
              <a:extLst>
                <a:ext uri="{FF2B5EF4-FFF2-40B4-BE49-F238E27FC236}">
                  <a16:creationId xmlns:a16="http://schemas.microsoft.com/office/drawing/2014/main" id="{3A4C2BAC-36CC-4819-AEF2-1786BAB1E8C0}"/>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7">
              <a:extLst>
                <a:ext uri="{FF2B5EF4-FFF2-40B4-BE49-F238E27FC236}">
                  <a16:creationId xmlns:a16="http://schemas.microsoft.com/office/drawing/2014/main" id="{D7338A93-E975-471D-93B6-42D7728990B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8">
              <a:extLst>
                <a:ext uri="{FF2B5EF4-FFF2-40B4-BE49-F238E27FC236}">
                  <a16:creationId xmlns:a16="http://schemas.microsoft.com/office/drawing/2014/main" id="{D317EDFE-5AC0-4682-88D1-C04F11648B9F}"/>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9">
              <a:extLst>
                <a:ext uri="{FF2B5EF4-FFF2-40B4-BE49-F238E27FC236}">
                  <a16:creationId xmlns:a16="http://schemas.microsoft.com/office/drawing/2014/main" id="{899935A1-1B2F-4657-A0D1-AF26B93067D9}"/>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0">
              <a:extLst>
                <a:ext uri="{FF2B5EF4-FFF2-40B4-BE49-F238E27FC236}">
                  <a16:creationId xmlns:a16="http://schemas.microsoft.com/office/drawing/2014/main" id="{F7923418-6DFE-4576-BE44-1BB034F9205B}"/>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1">
              <a:extLst>
                <a:ext uri="{FF2B5EF4-FFF2-40B4-BE49-F238E27FC236}">
                  <a16:creationId xmlns:a16="http://schemas.microsoft.com/office/drawing/2014/main" id="{E4213D0C-45D4-40E8-A8C2-367000668CC7}"/>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2">
              <a:extLst>
                <a:ext uri="{FF2B5EF4-FFF2-40B4-BE49-F238E27FC236}">
                  <a16:creationId xmlns:a16="http://schemas.microsoft.com/office/drawing/2014/main" id="{06042513-5D52-4B34-9D24-ABE769166B79}"/>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3">
              <a:extLst>
                <a:ext uri="{FF2B5EF4-FFF2-40B4-BE49-F238E27FC236}">
                  <a16:creationId xmlns:a16="http://schemas.microsoft.com/office/drawing/2014/main" id="{80CC024F-F6FB-4D51-A51D-81FC88A8E50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4">
              <a:extLst>
                <a:ext uri="{FF2B5EF4-FFF2-40B4-BE49-F238E27FC236}">
                  <a16:creationId xmlns:a16="http://schemas.microsoft.com/office/drawing/2014/main" id="{A17C15B8-70C9-47B7-88DE-DF5E53B25C76}"/>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5">
              <a:extLst>
                <a:ext uri="{FF2B5EF4-FFF2-40B4-BE49-F238E27FC236}">
                  <a16:creationId xmlns:a16="http://schemas.microsoft.com/office/drawing/2014/main" id="{F628BE72-9CD6-4E6C-B2AC-336C699CD315}"/>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6">
              <a:extLst>
                <a:ext uri="{FF2B5EF4-FFF2-40B4-BE49-F238E27FC236}">
                  <a16:creationId xmlns:a16="http://schemas.microsoft.com/office/drawing/2014/main" id="{787C5094-C7CE-4DC3-AAE4-A42556954585}"/>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57">
              <a:extLst>
                <a:ext uri="{FF2B5EF4-FFF2-40B4-BE49-F238E27FC236}">
                  <a16:creationId xmlns:a16="http://schemas.microsoft.com/office/drawing/2014/main" id="{C7B662C4-9E59-492B-AE0C-70CDF4171FC9}"/>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58">
              <a:extLst>
                <a:ext uri="{FF2B5EF4-FFF2-40B4-BE49-F238E27FC236}">
                  <a16:creationId xmlns:a16="http://schemas.microsoft.com/office/drawing/2014/main" id="{62F1FBCB-E0E2-4D26-89BC-6D1C26148143}"/>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9">
              <a:extLst>
                <a:ext uri="{FF2B5EF4-FFF2-40B4-BE49-F238E27FC236}">
                  <a16:creationId xmlns:a16="http://schemas.microsoft.com/office/drawing/2014/main" id="{CB761E90-A351-4656-BEFC-09FF08C5AE1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60">
              <a:extLst>
                <a:ext uri="{FF2B5EF4-FFF2-40B4-BE49-F238E27FC236}">
                  <a16:creationId xmlns:a16="http://schemas.microsoft.com/office/drawing/2014/main" id="{E295F0CB-B52E-401B-8CCB-6DE2E450AC6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61">
              <a:extLst>
                <a:ext uri="{FF2B5EF4-FFF2-40B4-BE49-F238E27FC236}">
                  <a16:creationId xmlns:a16="http://schemas.microsoft.com/office/drawing/2014/main" id="{0B3A59DB-9AE7-4C3A-9EC2-EABE05AF8E2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62">
              <a:extLst>
                <a:ext uri="{FF2B5EF4-FFF2-40B4-BE49-F238E27FC236}">
                  <a16:creationId xmlns:a16="http://schemas.microsoft.com/office/drawing/2014/main" id="{01E75096-C2F3-4A9C-9D3A-09342F3FF70C}"/>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63">
              <a:extLst>
                <a:ext uri="{FF2B5EF4-FFF2-40B4-BE49-F238E27FC236}">
                  <a16:creationId xmlns:a16="http://schemas.microsoft.com/office/drawing/2014/main" id="{ED1E233B-0C16-4DFB-BF88-666121D1123B}"/>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64">
              <a:extLst>
                <a:ext uri="{FF2B5EF4-FFF2-40B4-BE49-F238E27FC236}">
                  <a16:creationId xmlns:a16="http://schemas.microsoft.com/office/drawing/2014/main" id="{FFDF0982-02E1-4F81-8BA9-6BCA172D8C3D}"/>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5">
              <a:extLst>
                <a:ext uri="{FF2B5EF4-FFF2-40B4-BE49-F238E27FC236}">
                  <a16:creationId xmlns:a16="http://schemas.microsoft.com/office/drawing/2014/main" id="{98F6F8F9-F34F-4604-9BD9-965B3916E81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6">
              <a:extLst>
                <a:ext uri="{FF2B5EF4-FFF2-40B4-BE49-F238E27FC236}">
                  <a16:creationId xmlns:a16="http://schemas.microsoft.com/office/drawing/2014/main" id="{E81F423B-193C-4DD0-ACF1-45D499DB2985}"/>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7">
              <a:extLst>
                <a:ext uri="{FF2B5EF4-FFF2-40B4-BE49-F238E27FC236}">
                  <a16:creationId xmlns:a16="http://schemas.microsoft.com/office/drawing/2014/main" id="{8AB64EBF-1891-4439-B92F-94BC4C1CB0B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8">
              <a:extLst>
                <a:ext uri="{FF2B5EF4-FFF2-40B4-BE49-F238E27FC236}">
                  <a16:creationId xmlns:a16="http://schemas.microsoft.com/office/drawing/2014/main" id="{3DB4DC89-942D-44F4-BD2A-A1B8C226BDFB}"/>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9">
              <a:extLst>
                <a:ext uri="{FF2B5EF4-FFF2-40B4-BE49-F238E27FC236}">
                  <a16:creationId xmlns:a16="http://schemas.microsoft.com/office/drawing/2014/main" id="{D8149F92-2A2C-4156-9070-CB74A02F7C23}"/>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70">
              <a:extLst>
                <a:ext uri="{FF2B5EF4-FFF2-40B4-BE49-F238E27FC236}">
                  <a16:creationId xmlns:a16="http://schemas.microsoft.com/office/drawing/2014/main" id="{8D270E3E-8289-40E1-94B2-55E7F974881E}"/>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71">
              <a:extLst>
                <a:ext uri="{FF2B5EF4-FFF2-40B4-BE49-F238E27FC236}">
                  <a16:creationId xmlns:a16="http://schemas.microsoft.com/office/drawing/2014/main" id="{6DB30183-24DD-41E1-B646-13BF6BB18C06}"/>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72">
              <a:extLst>
                <a:ext uri="{FF2B5EF4-FFF2-40B4-BE49-F238E27FC236}">
                  <a16:creationId xmlns:a16="http://schemas.microsoft.com/office/drawing/2014/main" id="{1E4CC89E-937F-4D0E-BE0A-499E1D94ABEB}"/>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73">
              <a:extLst>
                <a:ext uri="{FF2B5EF4-FFF2-40B4-BE49-F238E27FC236}">
                  <a16:creationId xmlns:a16="http://schemas.microsoft.com/office/drawing/2014/main" id="{C47CF542-D375-4449-AF27-91D615D560E6}"/>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74">
              <a:extLst>
                <a:ext uri="{FF2B5EF4-FFF2-40B4-BE49-F238E27FC236}">
                  <a16:creationId xmlns:a16="http://schemas.microsoft.com/office/drawing/2014/main" id="{D26D8AEA-83B2-4FD9-99BE-4B22A3C8FBE6}"/>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5">
              <a:extLst>
                <a:ext uri="{FF2B5EF4-FFF2-40B4-BE49-F238E27FC236}">
                  <a16:creationId xmlns:a16="http://schemas.microsoft.com/office/drawing/2014/main" id="{6400E6F9-874D-4FED-9569-7D7FE663939C}"/>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76">
              <a:extLst>
                <a:ext uri="{FF2B5EF4-FFF2-40B4-BE49-F238E27FC236}">
                  <a16:creationId xmlns:a16="http://schemas.microsoft.com/office/drawing/2014/main" id="{C5F74F05-5D30-4569-A9D1-DEBE7F22D6A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77">
              <a:extLst>
                <a:ext uri="{FF2B5EF4-FFF2-40B4-BE49-F238E27FC236}">
                  <a16:creationId xmlns:a16="http://schemas.microsoft.com/office/drawing/2014/main" id="{6778B39A-E20C-4617-BD01-8CFF18C67B94}"/>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78">
              <a:extLst>
                <a:ext uri="{FF2B5EF4-FFF2-40B4-BE49-F238E27FC236}">
                  <a16:creationId xmlns:a16="http://schemas.microsoft.com/office/drawing/2014/main" id="{94AAB2EA-0902-489D-A871-AB0087BD1D88}"/>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9">
              <a:extLst>
                <a:ext uri="{FF2B5EF4-FFF2-40B4-BE49-F238E27FC236}">
                  <a16:creationId xmlns:a16="http://schemas.microsoft.com/office/drawing/2014/main" id="{0BF48890-386C-41AB-A10E-1499E2D12600}"/>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80">
              <a:extLst>
                <a:ext uri="{FF2B5EF4-FFF2-40B4-BE49-F238E27FC236}">
                  <a16:creationId xmlns:a16="http://schemas.microsoft.com/office/drawing/2014/main" id="{C23B8357-C818-4149-B7D7-9A0B3972C0ED}"/>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81">
              <a:extLst>
                <a:ext uri="{FF2B5EF4-FFF2-40B4-BE49-F238E27FC236}">
                  <a16:creationId xmlns:a16="http://schemas.microsoft.com/office/drawing/2014/main" id="{E2DA07D3-CA51-4C4D-A3B8-5C745D5F578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82">
              <a:extLst>
                <a:ext uri="{FF2B5EF4-FFF2-40B4-BE49-F238E27FC236}">
                  <a16:creationId xmlns:a16="http://schemas.microsoft.com/office/drawing/2014/main" id="{E0532850-C632-4DA0-B3E1-62979513E45F}"/>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83">
              <a:extLst>
                <a:ext uri="{FF2B5EF4-FFF2-40B4-BE49-F238E27FC236}">
                  <a16:creationId xmlns:a16="http://schemas.microsoft.com/office/drawing/2014/main" id="{B461B537-1857-4B22-9A5E-AA1693A94F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84">
              <a:extLst>
                <a:ext uri="{FF2B5EF4-FFF2-40B4-BE49-F238E27FC236}">
                  <a16:creationId xmlns:a16="http://schemas.microsoft.com/office/drawing/2014/main" id="{A64FBC42-B7C5-4DCC-8CC2-6483CC82BD3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5">
              <a:extLst>
                <a:ext uri="{FF2B5EF4-FFF2-40B4-BE49-F238E27FC236}">
                  <a16:creationId xmlns:a16="http://schemas.microsoft.com/office/drawing/2014/main" id="{627BF3E8-0828-4618-A1E5-F6954ED3B124}"/>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2" name="Rectangle 231">
            <a:extLst>
              <a:ext uri="{FF2B5EF4-FFF2-40B4-BE49-F238E27FC236}">
                <a16:creationId xmlns:a16="http://schemas.microsoft.com/office/drawing/2014/main" id="{84461D37-67A3-4ED5-B26C-8E1A74F65071}"/>
              </a:ext>
            </a:extLst>
          </p:cNvPr>
          <p:cNvSpPr/>
          <p:nvPr/>
        </p:nvSpPr>
        <p:spPr>
          <a:xfrm>
            <a:off x="169385" y="4260669"/>
            <a:ext cx="2736000" cy="2308324"/>
          </a:xfrm>
          <a:prstGeom prst="rect">
            <a:avLst/>
          </a:prstGeom>
        </p:spPr>
        <p:txBody>
          <a:bodyPr wrap="square">
            <a:spAutoFit/>
          </a:bodyPr>
          <a:lstStyle/>
          <a:p>
            <a:pPr algn="ctr"/>
            <a:r>
              <a:rPr lang="en-US" sz="1600" dirty="0"/>
              <a:t>Driven by real-time connectivity and economic ambiguity</a:t>
            </a:r>
            <a:r>
              <a:rPr lang="en-US" sz="1600" b="1" dirty="0"/>
              <a:t>, unusual financial trends</a:t>
            </a:r>
            <a:r>
              <a:rPr lang="en-US" sz="1600" dirty="0"/>
              <a:t> </a:t>
            </a:r>
            <a:r>
              <a:rPr lang="en-US" sz="1600" b="1" dirty="0"/>
              <a:t>are emerging</a:t>
            </a:r>
            <a:r>
              <a:rPr lang="en-US" sz="1600" dirty="0"/>
              <a:t> and the strategic case for </a:t>
            </a:r>
            <a:r>
              <a:rPr lang="en-US" sz="1600" b="1" dirty="0"/>
              <a:t>sustainable investment </a:t>
            </a:r>
            <a:r>
              <a:rPr lang="en-US" sz="1600" dirty="0"/>
              <a:t>is advancing</a:t>
            </a:r>
            <a:endParaRPr lang="fr-BE" sz="1600" dirty="0"/>
          </a:p>
        </p:txBody>
      </p:sp>
      <p:sp>
        <p:nvSpPr>
          <p:cNvPr id="233" name="Rectangle: Rounded Corners 232">
            <a:extLst>
              <a:ext uri="{FF2B5EF4-FFF2-40B4-BE49-F238E27FC236}">
                <a16:creationId xmlns:a16="http://schemas.microsoft.com/office/drawing/2014/main" id="{6D613730-D16C-4F67-8E4C-424FA26AA60B}"/>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4" name="Rectangle 233">
            <a:extLst>
              <a:ext uri="{FF2B5EF4-FFF2-40B4-BE49-F238E27FC236}">
                <a16:creationId xmlns:a16="http://schemas.microsoft.com/office/drawing/2014/main" id="{B5FCC773-343B-449E-99FA-2ED6B0111264}"/>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235" name="Picture 4" descr="Coronavirus | United Nations">
            <a:extLst>
              <a:ext uri="{FF2B5EF4-FFF2-40B4-BE49-F238E27FC236}">
                <a16:creationId xmlns:a16="http://schemas.microsoft.com/office/drawing/2014/main" id="{C52F7E27-2C95-4B1C-82A2-59F197ABFEC5}"/>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4" descr="Abort Stop Cancel Terminate Svg Png Icon Free Download (#517382 ...">
            <a:extLst>
              <a:ext uri="{FF2B5EF4-FFF2-40B4-BE49-F238E27FC236}">
                <a16:creationId xmlns:a16="http://schemas.microsoft.com/office/drawing/2014/main" id="{8C72AD17-1B3E-4B57-B2CC-8ECBF3C1EF5B}"/>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0669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064804-C754-4E15-98F6-5A5E3F3EA19B}"/>
              </a:ext>
            </a:extLst>
          </p:cNvPr>
          <p:cNvGraphicFramePr>
            <a:graphicFrameLocks noChangeAspect="1"/>
          </p:cNvGraphicFramePr>
          <p:nvPr>
            <p:custDataLst>
              <p:tags r:id="rId2"/>
            </p:custDataLst>
            <p:extLst>
              <p:ext uri="{D42A27DB-BD31-4B8C-83A1-F6EECF244321}">
                <p14:modId xmlns:p14="http://schemas.microsoft.com/office/powerpoint/2010/main" val="136699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EA8A15-8F55-4CC9-9D05-0F9A7DAFA1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sp>
        <p:nvSpPr>
          <p:cNvPr id="156" name="Rectangle: Rounded Corners 155">
            <a:extLst>
              <a:ext uri="{FF2B5EF4-FFF2-40B4-BE49-F238E27FC236}">
                <a16:creationId xmlns:a16="http://schemas.microsoft.com/office/drawing/2014/main" id="{CF77753D-03C9-4061-9C88-1FB45CDFD38B}"/>
              </a:ext>
            </a:extLst>
          </p:cNvPr>
          <p:cNvSpPr/>
          <p:nvPr/>
        </p:nvSpPr>
        <p:spPr>
          <a:xfrm>
            <a:off x="7296573" y="4611870"/>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7" name="Isosceles Triangle 156">
            <a:extLst>
              <a:ext uri="{FF2B5EF4-FFF2-40B4-BE49-F238E27FC236}">
                <a16:creationId xmlns:a16="http://schemas.microsoft.com/office/drawing/2014/main" id="{7A42B608-5392-489C-BC3D-9AC81D6AE215}"/>
              </a:ext>
            </a:extLst>
          </p:cNvPr>
          <p:cNvSpPr/>
          <p:nvPr/>
        </p:nvSpPr>
        <p:spPr>
          <a:xfrm rot="5400000">
            <a:off x="9884450" y="4673793"/>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8" name="TextBox 157">
            <a:extLst>
              <a:ext uri="{FF2B5EF4-FFF2-40B4-BE49-F238E27FC236}">
                <a16:creationId xmlns:a16="http://schemas.microsoft.com/office/drawing/2014/main" id="{9D0FA27B-3BF1-4C4D-9F48-8BB933FB426C}"/>
              </a:ext>
            </a:extLst>
          </p:cNvPr>
          <p:cNvSpPr txBox="1"/>
          <p:nvPr/>
        </p:nvSpPr>
        <p:spPr>
          <a:xfrm>
            <a:off x="10340085" y="4462189"/>
            <a:ext cx="1851915" cy="738664"/>
          </a:xfrm>
          <a:prstGeom prst="rect">
            <a:avLst/>
          </a:prstGeom>
          <a:noFill/>
        </p:spPr>
        <p:txBody>
          <a:bodyPr wrap="square" rtlCol="0">
            <a:spAutoFit/>
          </a:bodyPr>
          <a:lstStyle/>
          <a:p>
            <a:r>
              <a:rPr lang="en-US" sz="1400" i="1" dirty="0"/>
              <a:t>For 1</a:t>
            </a:r>
            <a:r>
              <a:rPr lang="en-US" sz="1400" i="1" baseline="30000" dirty="0"/>
              <a:t>st</a:t>
            </a:r>
            <a:r>
              <a:rPr lang="en-US" sz="1400" i="1" dirty="0"/>
              <a:t> time since 2012, not leading the growth</a:t>
            </a:r>
          </a:p>
        </p:txBody>
      </p:sp>
      <p:sp>
        <p:nvSpPr>
          <p:cNvPr id="153" name="Rectangle: Rounded Corners 152">
            <a:extLst>
              <a:ext uri="{FF2B5EF4-FFF2-40B4-BE49-F238E27FC236}">
                <a16:creationId xmlns:a16="http://schemas.microsoft.com/office/drawing/2014/main" id="{F34C7F93-9DAB-4880-8310-5414AAC8B942}"/>
              </a:ext>
            </a:extLst>
          </p:cNvPr>
          <p:cNvSpPr/>
          <p:nvPr/>
        </p:nvSpPr>
        <p:spPr>
          <a:xfrm>
            <a:off x="7303388" y="2732888"/>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4" name="Isosceles Triangle 153">
            <a:extLst>
              <a:ext uri="{FF2B5EF4-FFF2-40B4-BE49-F238E27FC236}">
                <a16:creationId xmlns:a16="http://schemas.microsoft.com/office/drawing/2014/main" id="{95344E1C-34EA-463C-8DDB-570F17510A16}"/>
              </a:ext>
            </a:extLst>
          </p:cNvPr>
          <p:cNvSpPr/>
          <p:nvPr/>
        </p:nvSpPr>
        <p:spPr>
          <a:xfrm rot="5400000">
            <a:off x="9891265" y="2794811"/>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5" name="TextBox 154">
            <a:extLst>
              <a:ext uri="{FF2B5EF4-FFF2-40B4-BE49-F238E27FC236}">
                <a16:creationId xmlns:a16="http://schemas.microsoft.com/office/drawing/2014/main" id="{0E1EA32B-03E6-4A52-883F-137505C334DC}"/>
              </a:ext>
            </a:extLst>
          </p:cNvPr>
          <p:cNvSpPr txBox="1"/>
          <p:nvPr/>
        </p:nvSpPr>
        <p:spPr>
          <a:xfrm>
            <a:off x="10340085" y="2763960"/>
            <a:ext cx="1851914" cy="307777"/>
          </a:xfrm>
          <a:prstGeom prst="rect">
            <a:avLst/>
          </a:prstGeom>
          <a:noFill/>
        </p:spPr>
        <p:txBody>
          <a:bodyPr wrap="square" rtlCol="0">
            <a:spAutoFit/>
          </a:bodyPr>
          <a:lstStyle/>
          <a:p>
            <a:r>
              <a:rPr lang="en-US" sz="1400" i="1" dirty="0"/>
              <a:t>Strong growth </a:t>
            </a:r>
          </a:p>
        </p:txBody>
      </p:sp>
      <p:sp>
        <p:nvSpPr>
          <p:cNvPr id="7" name="Rectangle: Rounded Corners 6">
            <a:extLst>
              <a:ext uri="{FF2B5EF4-FFF2-40B4-BE49-F238E27FC236}">
                <a16:creationId xmlns:a16="http://schemas.microsoft.com/office/drawing/2014/main" id="{5E36AF32-E6F3-4B28-B319-71638F3A8577}"/>
              </a:ext>
            </a:extLst>
          </p:cNvPr>
          <p:cNvSpPr/>
          <p:nvPr/>
        </p:nvSpPr>
        <p:spPr>
          <a:xfrm>
            <a:off x="7289265" y="3429000"/>
            <a:ext cx="2485873" cy="63807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a:xfrm>
            <a:off x="227349" y="160527"/>
            <a:ext cx="8185026" cy="844589"/>
          </a:xfrm>
        </p:spPr>
        <p:txBody>
          <a:bodyPr/>
          <a:lstStyle/>
          <a:p>
            <a:r>
              <a:rPr lang="en-IN" sz="2200" dirty="0"/>
              <a:t>Stock markets shine in a slowing economy to drive up HNWI population</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Chart numbers and quoted percentages may not add up due to rounding. </a:t>
            </a:r>
          </a:p>
          <a:p>
            <a:pPr marL="457211" indent="-457211" defTabSz="912836">
              <a:spcBef>
                <a:spcPct val="10000"/>
              </a:spcBef>
            </a:pPr>
            <a:r>
              <a:rPr lang="en-US" sz="800" dirty="0"/>
              <a:t>Source:	</a:t>
            </a:r>
            <a:r>
              <a:rPr lang="fr-FR" sz="800" dirty="0"/>
              <a:t>Capgemini Financial Services Analysis, 2020; </a:t>
            </a:r>
            <a:r>
              <a:rPr lang="fr-FR" sz="800" dirty="0">
                <a:hlinkClick r:id="rId8"/>
              </a:rPr>
              <a:t>https://www.world-exchanges.org/news/articles/world-federation-exchanges-releases-first-quarter-2020-full-year-2019-market-highlight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869769"/>
            <a:ext cx="9788089" cy="342476"/>
          </a:xfrm>
          <a:prstGeom prst="rect">
            <a:avLst/>
          </a:prstGeom>
          <a:noFill/>
        </p:spPr>
        <p:txBody>
          <a:bodyPr wrap="square" rtlCol="0">
            <a:noAutofit/>
          </a:bodyPr>
          <a:lstStyle/>
          <a:p>
            <a:pPr algn="ctr"/>
            <a:r>
              <a:rPr lang="en-US" sz="1600" b="1" i="1" dirty="0"/>
              <a:t>HNWI population, 2012–2019 (by region)</a:t>
            </a:r>
          </a:p>
        </p:txBody>
      </p:sp>
      <p:sp>
        <p:nvSpPr>
          <p:cNvPr id="83" name="Text Box 28"/>
          <p:cNvSpPr txBox="1">
            <a:spLocks noChangeArrowheads="1"/>
          </p:cNvSpPr>
          <p:nvPr/>
        </p:nvSpPr>
        <p:spPr bwMode="gray">
          <a:xfrm>
            <a:off x="2081726" y="1421174"/>
            <a:ext cx="2788595"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CAGR 2012–2018: </a:t>
            </a:r>
            <a:r>
              <a:rPr lang="en-US" sz="1200" b="1" dirty="0">
                <a:solidFill>
                  <a:srgbClr val="00B050"/>
                </a:solidFill>
              </a:rPr>
              <a:t>7.1%</a:t>
            </a:r>
          </a:p>
        </p:txBody>
      </p:sp>
      <p:sp>
        <p:nvSpPr>
          <p:cNvPr id="84" name="Text Box 28"/>
          <p:cNvSpPr txBox="1">
            <a:spLocks noChangeArrowheads="1"/>
          </p:cNvSpPr>
          <p:nvPr/>
        </p:nvSpPr>
        <p:spPr bwMode="gray">
          <a:xfrm>
            <a:off x="5467102" y="1421174"/>
            <a:ext cx="3317471"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Annual growth 2018–2019: </a:t>
            </a:r>
            <a:r>
              <a:rPr lang="en-US" sz="1200" b="1" dirty="0">
                <a:solidFill>
                  <a:srgbClr val="00B050"/>
                </a:solidFill>
              </a:rPr>
              <a:t>8.8%</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Hyper-connectivity and speed of communications are changing the rules of the game.</a:t>
            </a:r>
          </a:p>
        </p:txBody>
      </p:sp>
      <p:sp>
        <p:nvSpPr>
          <p:cNvPr id="42" name="Rectangle: Diagonal Corners Rounded 2">
            <a:extLst>
              <a:ext uri="{FF2B5EF4-FFF2-40B4-BE49-F238E27FC236}">
                <a16:creationId xmlns:a16="http://schemas.microsoft.com/office/drawing/2014/main" id="{51E5CF6A-8CF4-4CAD-AEAF-13C764D52315}"/>
              </a:ext>
            </a:extLst>
          </p:cNvPr>
          <p:cNvSpPr/>
          <p:nvPr/>
        </p:nvSpPr>
        <p:spPr>
          <a:xfrm>
            <a:off x="9941821" y="1028106"/>
            <a:ext cx="2105673" cy="144335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2019 global GDP growth decelerated by 0.6 PP to 2.3% </a:t>
            </a:r>
          </a:p>
          <a:p>
            <a:pPr algn="ctr"/>
            <a:r>
              <a:rPr lang="en-US" sz="1100" dirty="0">
                <a:solidFill>
                  <a:schemeClr val="tx1"/>
                </a:solidFill>
              </a:rPr>
              <a:t>(from 2.9% in 2018)</a:t>
            </a:r>
          </a:p>
        </p:txBody>
      </p:sp>
      <p:grpSp>
        <p:nvGrpSpPr>
          <p:cNvPr id="3" name="Group 2">
            <a:extLst>
              <a:ext uri="{FF2B5EF4-FFF2-40B4-BE49-F238E27FC236}">
                <a16:creationId xmlns:a16="http://schemas.microsoft.com/office/drawing/2014/main" id="{9C22D2FA-B85C-4502-8E11-FD3499D20BCD}"/>
              </a:ext>
            </a:extLst>
          </p:cNvPr>
          <p:cNvGrpSpPr/>
          <p:nvPr/>
        </p:nvGrpSpPr>
        <p:grpSpPr>
          <a:xfrm>
            <a:off x="840858" y="1709424"/>
            <a:ext cx="8950649" cy="4007705"/>
            <a:chOff x="1345561" y="1168300"/>
            <a:chExt cx="9873256" cy="4724631"/>
          </a:xfrm>
        </p:grpSpPr>
        <p:graphicFrame>
          <p:nvGraphicFramePr>
            <p:cNvPr id="43" name="Object 41">
              <a:extLst>
                <a:ext uri="{FF2B5EF4-FFF2-40B4-BE49-F238E27FC236}">
                  <a16:creationId xmlns:a16="http://schemas.microsoft.com/office/drawing/2014/main" id="{58A2D36A-E5F2-4E80-872E-16E03FB7038D}"/>
                </a:ext>
              </a:extLst>
            </p:cNvPr>
            <p:cNvGraphicFramePr>
              <a:graphicFrameLocks noChangeAspect="1"/>
            </p:cNvGraphicFramePr>
            <p:nvPr/>
          </p:nvGraphicFramePr>
          <p:xfrm>
            <a:off x="1429137" y="1224384"/>
            <a:ext cx="6868807" cy="4668547"/>
          </p:xfrm>
          <a:graphic>
            <a:graphicData uri="http://schemas.openxmlformats.org/drawingml/2006/chart">
              <c:chart xmlns:c="http://schemas.openxmlformats.org/drawingml/2006/chart" xmlns:r="http://schemas.openxmlformats.org/officeDocument/2006/relationships" r:id="rId9"/>
            </a:graphicData>
          </a:graphic>
        </p:graphicFrame>
        <p:sp>
          <p:nvSpPr>
            <p:cNvPr id="44" name="Text Box 36">
              <a:extLst>
                <a:ext uri="{FF2B5EF4-FFF2-40B4-BE49-F238E27FC236}">
                  <a16:creationId xmlns:a16="http://schemas.microsoft.com/office/drawing/2014/main" id="{0A4A4E16-09C1-4742-9C7F-32C39FA67C13}"/>
                </a:ext>
              </a:extLst>
            </p:cNvPr>
            <p:cNvSpPr txBox="1">
              <a:spLocks noChangeArrowheads="1"/>
            </p:cNvSpPr>
            <p:nvPr/>
          </p:nvSpPr>
          <p:spPr bwMode="gray">
            <a:xfrm>
              <a:off x="1989678" y="2592823"/>
              <a:ext cx="721772" cy="276999"/>
            </a:xfrm>
            <a:prstGeom prst="rect">
              <a:avLst/>
            </a:prstGeom>
            <a:noFill/>
            <a:ln w="19050">
              <a:noFill/>
              <a:miter lim="800000"/>
              <a:headEnd/>
              <a:tailEnd/>
            </a:ln>
          </p:spPr>
          <p:txBody>
            <a:bodyPr wrap="square">
              <a:spAutoFit/>
            </a:bodyPr>
            <a:lstStyle/>
            <a:p>
              <a:pPr algn="ctr" defTabSz="957780" eaLnBrk="0" hangingPunct="0"/>
              <a:r>
                <a:rPr lang="en-US" sz="1200" b="1" dirty="0"/>
                <a:t>12.0</a:t>
              </a:r>
            </a:p>
          </p:txBody>
        </p:sp>
        <p:sp>
          <p:nvSpPr>
            <p:cNvPr id="46" name="Text Box 36">
              <a:extLst>
                <a:ext uri="{FF2B5EF4-FFF2-40B4-BE49-F238E27FC236}">
                  <a16:creationId xmlns:a16="http://schemas.microsoft.com/office/drawing/2014/main" id="{299C0B95-63DE-4C56-90A1-0DDC38288FA8}"/>
                </a:ext>
              </a:extLst>
            </p:cNvPr>
            <p:cNvSpPr txBox="1">
              <a:spLocks noChangeArrowheads="1"/>
            </p:cNvSpPr>
            <p:nvPr/>
          </p:nvSpPr>
          <p:spPr bwMode="gray">
            <a:xfrm>
              <a:off x="2791932" y="2323680"/>
              <a:ext cx="721772" cy="276999"/>
            </a:xfrm>
            <a:prstGeom prst="rect">
              <a:avLst/>
            </a:prstGeom>
            <a:noFill/>
            <a:ln w="19050">
              <a:noFill/>
              <a:miter lim="800000"/>
              <a:headEnd/>
              <a:tailEnd/>
            </a:ln>
          </p:spPr>
          <p:txBody>
            <a:bodyPr>
              <a:spAutoFit/>
            </a:bodyPr>
            <a:lstStyle/>
            <a:p>
              <a:pPr algn="ctr" defTabSz="957780" eaLnBrk="0" hangingPunct="0"/>
              <a:r>
                <a:rPr lang="en-US" sz="1200" b="1" dirty="0"/>
                <a:t>13.7</a:t>
              </a:r>
            </a:p>
          </p:txBody>
        </p:sp>
        <p:sp>
          <p:nvSpPr>
            <p:cNvPr id="47" name="Text Box 36">
              <a:extLst>
                <a:ext uri="{FF2B5EF4-FFF2-40B4-BE49-F238E27FC236}">
                  <a16:creationId xmlns:a16="http://schemas.microsoft.com/office/drawing/2014/main" id="{6774E866-E818-4EE1-BB20-D86E7FB69C84}"/>
                </a:ext>
              </a:extLst>
            </p:cNvPr>
            <p:cNvSpPr txBox="1">
              <a:spLocks noChangeArrowheads="1"/>
            </p:cNvSpPr>
            <p:nvPr/>
          </p:nvSpPr>
          <p:spPr bwMode="gray">
            <a:xfrm>
              <a:off x="3545315" y="2177468"/>
              <a:ext cx="721772" cy="276999"/>
            </a:xfrm>
            <a:prstGeom prst="rect">
              <a:avLst/>
            </a:prstGeom>
            <a:noFill/>
            <a:ln w="19050">
              <a:noFill/>
              <a:miter lim="800000"/>
              <a:headEnd/>
              <a:tailEnd/>
            </a:ln>
          </p:spPr>
          <p:txBody>
            <a:bodyPr>
              <a:spAutoFit/>
            </a:bodyPr>
            <a:lstStyle/>
            <a:p>
              <a:pPr algn="ctr" defTabSz="957780" eaLnBrk="0" hangingPunct="0"/>
              <a:r>
                <a:rPr lang="en-US" sz="1200" b="1" dirty="0"/>
                <a:t>14.7</a:t>
              </a:r>
            </a:p>
          </p:txBody>
        </p:sp>
        <p:sp>
          <p:nvSpPr>
            <p:cNvPr id="48" name="Text Box 36">
              <a:extLst>
                <a:ext uri="{FF2B5EF4-FFF2-40B4-BE49-F238E27FC236}">
                  <a16:creationId xmlns:a16="http://schemas.microsoft.com/office/drawing/2014/main" id="{056D35B4-00EC-4B65-AF4B-9D9475CA620C}"/>
                </a:ext>
              </a:extLst>
            </p:cNvPr>
            <p:cNvSpPr txBox="1">
              <a:spLocks noChangeArrowheads="1"/>
            </p:cNvSpPr>
            <p:nvPr/>
          </p:nvSpPr>
          <p:spPr bwMode="gray">
            <a:xfrm>
              <a:off x="4342055" y="2035579"/>
              <a:ext cx="721772" cy="276999"/>
            </a:xfrm>
            <a:prstGeom prst="rect">
              <a:avLst/>
            </a:prstGeom>
            <a:noFill/>
            <a:ln w="19050">
              <a:noFill/>
              <a:miter lim="800000"/>
              <a:headEnd/>
              <a:tailEnd/>
            </a:ln>
          </p:spPr>
          <p:txBody>
            <a:bodyPr>
              <a:spAutoFit/>
            </a:bodyPr>
            <a:lstStyle/>
            <a:p>
              <a:pPr algn="ctr" defTabSz="957780" eaLnBrk="0" hangingPunct="0"/>
              <a:r>
                <a:rPr lang="en-US" sz="1200" b="1" dirty="0"/>
                <a:t>15.4</a:t>
              </a:r>
            </a:p>
          </p:txBody>
        </p:sp>
        <p:sp>
          <p:nvSpPr>
            <p:cNvPr id="49" name="Text Box 36">
              <a:extLst>
                <a:ext uri="{FF2B5EF4-FFF2-40B4-BE49-F238E27FC236}">
                  <a16:creationId xmlns:a16="http://schemas.microsoft.com/office/drawing/2014/main" id="{93D1591F-FE34-43E7-836C-160FB7CD2C88}"/>
                </a:ext>
              </a:extLst>
            </p:cNvPr>
            <p:cNvSpPr txBox="1">
              <a:spLocks noChangeArrowheads="1"/>
            </p:cNvSpPr>
            <p:nvPr/>
          </p:nvSpPr>
          <p:spPr bwMode="gray">
            <a:xfrm>
              <a:off x="5118068" y="1864015"/>
              <a:ext cx="721772" cy="276999"/>
            </a:xfrm>
            <a:prstGeom prst="rect">
              <a:avLst/>
            </a:prstGeom>
            <a:noFill/>
            <a:ln w="19050">
              <a:noFill/>
              <a:miter lim="800000"/>
              <a:headEnd/>
              <a:tailEnd/>
            </a:ln>
          </p:spPr>
          <p:txBody>
            <a:bodyPr>
              <a:spAutoFit/>
            </a:bodyPr>
            <a:lstStyle/>
            <a:p>
              <a:pPr algn="ctr" defTabSz="957780" eaLnBrk="0" hangingPunct="0"/>
              <a:r>
                <a:rPr lang="en-US" sz="1200" b="1" dirty="0"/>
                <a:t>16.5</a:t>
              </a:r>
            </a:p>
          </p:txBody>
        </p:sp>
        <p:sp>
          <p:nvSpPr>
            <p:cNvPr id="51" name="Text Box 36">
              <a:extLst>
                <a:ext uri="{FF2B5EF4-FFF2-40B4-BE49-F238E27FC236}">
                  <a16:creationId xmlns:a16="http://schemas.microsoft.com/office/drawing/2014/main" id="{55ED7AB5-FB4D-4FCB-91AB-852756A869A3}"/>
                </a:ext>
              </a:extLst>
            </p:cNvPr>
            <p:cNvSpPr txBox="1">
              <a:spLocks noChangeArrowheads="1"/>
            </p:cNvSpPr>
            <p:nvPr/>
          </p:nvSpPr>
          <p:spPr bwMode="gray">
            <a:xfrm>
              <a:off x="5884254" y="1551801"/>
              <a:ext cx="721772" cy="276999"/>
            </a:xfrm>
            <a:prstGeom prst="rect">
              <a:avLst/>
            </a:prstGeom>
            <a:noFill/>
            <a:ln w="19050">
              <a:noFill/>
              <a:miter lim="800000"/>
              <a:headEnd/>
              <a:tailEnd/>
            </a:ln>
          </p:spPr>
          <p:txBody>
            <a:bodyPr>
              <a:spAutoFit/>
            </a:bodyPr>
            <a:lstStyle/>
            <a:p>
              <a:pPr algn="ctr" defTabSz="957780" eaLnBrk="0" hangingPunct="0"/>
              <a:r>
                <a:rPr lang="en-US" sz="1200" b="1" dirty="0"/>
                <a:t>18.1</a:t>
              </a:r>
            </a:p>
          </p:txBody>
        </p:sp>
        <p:sp>
          <p:nvSpPr>
            <p:cNvPr id="52" name="Text Box 36">
              <a:extLst>
                <a:ext uri="{FF2B5EF4-FFF2-40B4-BE49-F238E27FC236}">
                  <a16:creationId xmlns:a16="http://schemas.microsoft.com/office/drawing/2014/main" id="{E4247C50-76EE-4646-9754-F5B1349017B7}"/>
                </a:ext>
              </a:extLst>
            </p:cNvPr>
            <p:cNvSpPr txBox="1">
              <a:spLocks noChangeArrowheads="1"/>
            </p:cNvSpPr>
            <p:nvPr/>
          </p:nvSpPr>
          <p:spPr bwMode="gray">
            <a:xfrm>
              <a:off x="6641468" y="1534504"/>
              <a:ext cx="721772" cy="276999"/>
            </a:xfrm>
            <a:prstGeom prst="rect">
              <a:avLst/>
            </a:prstGeom>
            <a:noFill/>
            <a:ln w="19050">
              <a:noFill/>
              <a:miter lim="800000"/>
              <a:headEnd/>
              <a:tailEnd/>
            </a:ln>
          </p:spPr>
          <p:txBody>
            <a:bodyPr>
              <a:spAutoFit/>
            </a:bodyPr>
            <a:lstStyle/>
            <a:p>
              <a:pPr algn="ctr" defTabSz="957780" eaLnBrk="0" hangingPunct="0"/>
              <a:r>
                <a:rPr lang="en-US" sz="1200" b="1" dirty="0"/>
                <a:t>18.0</a:t>
              </a:r>
            </a:p>
          </p:txBody>
        </p:sp>
        <p:sp>
          <p:nvSpPr>
            <p:cNvPr id="53" name="Text Box 29">
              <a:extLst>
                <a:ext uri="{FF2B5EF4-FFF2-40B4-BE49-F238E27FC236}">
                  <a16:creationId xmlns:a16="http://schemas.microsoft.com/office/drawing/2014/main" id="{40ACE7FC-C787-4287-8276-5DAB2EBD598C}"/>
                </a:ext>
              </a:extLst>
            </p:cNvPr>
            <p:cNvSpPr txBox="1">
              <a:spLocks noChangeArrowheads="1"/>
            </p:cNvSpPr>
            <p:nvPr/>
          </p:nvSpPr>
          <p:spPr bwMode="gray">
            <a:xfrm>
              <a:off x="9862595" y="20835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9.3%</a:t>
              </a:r>
            </a:p>
          </p:txBody>
        </p:sp>
        <p:sp>
          <p:nvSpPr>
            <p:cNvPr id="54" name="Text Box 27">
              <a:extLst>
                <a:ext uri="{FF2B5EF4-FFF2-40B4-BE49-F238E27FC236}">
                  <a16:creationId xmlns:a16="http://schemas.microsoft.com/office/drawing/2014/main" id="{3ADE3689-F854-41CE-8DA5-19C2C239F628}"/>
                </a:ext>
              </a:extLst>
            </p:cNvPr>
            <p:cNvSpPr txBox="1">
              <a:spLocks noChangeArrowheads="1"/>
            </p:cNvSpPr>
            <p:nvPr/>
          </p:nvSpPr>
          <p:spPr bwMode="gray">
            <a:xfrm>
              <a:off x="9862595" y="18549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2.7%</a:t>
              </a:r>
            </a:p>
          </p:txBody>
        </p:sp>
        <p:sp>
          <p:nvSpPr>
            <p:cNvPr id="55" name="Text Box 24">
              <a:extLst>
                <a:ext uri="{FF2B5EF4-FFF2-40B4-BE49-F238E27FC236}">
                  <a16:creationId xmlns:a16="http://schemas.microsoft.com/office/drawing/2014/main" id="{0F672240-0CDB-4183-99CA-2B3A825DC22A}"/>
                </a:ext>
              </a:extLst>
            </p:cNvPr>
            <p:cNvSpPr txBox="1">
              <a:spLocks noChangeArrowheads="1"/>
            </p:cNvSpPr>
            <p:nvPr/>
          </p:nvSpPr>
          <p:spPr bwMode="gray">
            <a:xfrm>
              <a:off x="9938795" y="4676002"/>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7.6%</a:t>
              </a:r>
            </a:p>
          </p:txBody>
        </p:sp>
        <p:sp>
          <p:nvSpPr>
            <p:cNvPr id="56" name="Text Box 11">
              <a:extLst>
                <a:ext uri="{FF2B5EF4-FFF2-40B4-BE49-F238E27FC236}">
                  <a16:creationId xmlns:a16="http://schemas.microsoft.com/office/drawing/2014/main" id="{059FFDB3-7EAD-4DA5-A020-7AE57A5E1500}"/>
                </a:ext>
              </a:extLst>
            </p:cNvPr>
            <p:cNvSpPr txBox="1">
              <a:spLocks noChangeArrowheads="1"/>
            </p:cNvSpPr>
            <p:nvPr/>
          </p:nvSpPr>
          <p:spPr bwMode="gray">
            <a:xfrm>
              <a:off x="8458651" y="246456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Europe</a:t>
              </a:r>
            </a:p>
          </p:txBody>
        </p:sp>
        <p:sp>
          <p:nvSpPr>
            <p:cNvPr id="80" name="Text Box 12">
              <a:extLst>
                <a:ext uri="{FF2B5EF4-FFF2-40B4-BE49-F238E27FC236}">
                  <a16:creationId xmlns:a16="http://schemas.microsoft.com/office/drawing/2014/main" id="{9419A1D8-449C-4A81-8D4E-63A18FFEE334}"/>
                </a:ext>
              </a:extLst>
            </p:cNvPr>
            <p:cNvSpPr txBox="1">
              <a:spLocks noChangeArrowheads="1"/>
            </p:cNvSpPr>
            <p:nvPr/>
          </p:nvSpPr>
          <p:spPr bwMode="gray">
            <a:xfrm>
              <a:off x="8525264" y="3315258"/>
              <a:ext cx="1573242" cy="633902"/>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600" b="1" dirty="0"/>
                <a:t>North America</a:t>
              </a:r>
            </a:p>
          </p:txBody>
        </p:sp>
        <p:sp>
          <p:nvSpPr>
            <p:cNvPr id="87" name="Text Box 13">
              <a:extLst>
                <a:ext uri="{FF2B5EF4-FFF2-40B4-BE49-F238E27FC236}">
                  <a16:creationId xmlns:a16="http://schemas.microsoft.com/office/drawing/2014/main" id="{B9D7C861-0848-48F5-AD6F-7FEBB5CAB891}"/>
                </a:ext>
              </a:extLst>
            </p:cNvPr>
            <p:cNvSpPr txBox="1">
              <a:spLocks noChangeArrowheads="1"/>
            </p:cNvSpPr>
            <p:nvPr/>
          </p:nvSpPr>
          <p:spPr bwMode="gray">
            <a:xfrm>
              <a:off x="8534851" y="4676001"/>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sia-Pacific</a:t>
              </a:r>
            </a:p>
          </p:txBody>
        </p:sp>
        <p:sp>
          <p:nvSpPr>
            <p:cNvPr id="88" name="Text Box 14">
              <a:extLst>
                <a:ext uri="{FF2B5EF4-FFF2-40B4-BE49-F238E27FC236}">
                  <a16:creationId xmlns:a16="http://schemas.microsoft.com/office/drawing/2014/main" id="{E52B3A76-AA4B-40F6-813F-6802A3F012B8}"/>
                </a:ext>
              </a:extLst>
            </p:cNvPr>
            <p:cNvSpPr txBox="1">
              <a:spLocks noChangeArrowheads="1"/>
            </p:cNvSpPr>
            <p:nvPr/>
          </p:nvSpPr>
          <p:spPr bwMode="gray">
            <a:xfrm>
              <a:off x="8458651" y="1854965"/>
              <a:ext cx="1556488"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dirty="0"/>
                <a:t>Latin America</a:t>
              </a:r>
            </a:p>
          </p:txBody>
        </p:sp>
        <p:sp>
          <p:nvSpPr>
            <p:cNvPr id="89" name="Text Box 15">
              <a:extLst>
                <a:ext uri="{FF2B5EF4-FFF2-40B4-BE49-F238E27FC236}">
                  <a16:creationId xmlns:a16="http://schemas.microsoft.com/office/drawing/2014/main" id="{4A710D6F-90A6-4A23-9C52-01BA2B2C3DCA}"/>
                </a:ext>
              </a:extLst>
            </p:cNvPr>
            <p:cNvSpPr txBox="1">
              <a:spLocks noChangeArrowheads="1"/>
            </p:cNvSpPr>
            <p:nvPr/>
          </p:nvSpPr>
          <p:spPr bwMode="gray">
            <a:xfrm>
              <a:off x="8458651" y="208356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Middle East</a:t>
              </a:r>
            </a:p>
          </p:txBody>
        </p:sp>
        <p:sp>
          <p:nvSpPr>
            <p:cNvPr id="90" name="Text Box 16">
              <a:extLst>
                <a:ext uri="{FF2B5EF4-FFF2-40B4-BE49-F238E27FC236}">
                  <a16:creationId xmlns:a16="http://schemas.microsoft.com/office/drawing/2014/main" id="{D991DD0F-7D3D-42B1-93E2-CFF97454F177}"/>
                </a:ext>
              </a:extLst>
            </p:cNvPr>
            <p:cNvSpPr txBox="1">
              <a:spLocks noChangeArrowheads="1"/>
            </p:cNvSpPr>
            <p:nvPr/>
          </p:nvSpPr>
          <p:spPr bwMode="gray">
            <a:xfrm>
              <a:off x="8458651" y="1654166"/>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frica</a:t>
              </a:r>
            </a:p>
          </p:txBody>
        </p:sp>
        <p:sp>
          <p:nvSpPr>
            <p:cNvPr id="91" name="Text Box 24">
              <a:extLst>
                <a:ext uri="{FF2B5EF4-FFF2-40B4-BE49-F238E27FC236}">
                  <a16:creationId xmlns:a16="http://schemas.microsoft.com/office/drawing/2014/main" id="{959B7AD9-1688-47C8-ADC8-A4CA4CB8B659}"/>
                </a:ext>
              </a:extLst>
            </p:cNvPr>
            <p:cNvSpPr txBox="1">
              <a:spLocks noChangeArrowheads="1"/>
            </p:cNvSpPr>
            <p:nvPr/>
          </p:nvSpPr>
          <p:spPr bwMode="gray">
            <a:xfrm>
              <a:off x="9938795" y="3407250"/>
              <a:ext cx="1230730" cy="362834"/>
            </a:xfrm>
            <a:prstGeom prst="rect">
              <a:avLst/>
            </a:prstGeom>
            <a:noFill/>
            <a:ln w="19050">
              <a:noFill/>
              <a:miter lim="800000"/>
              <a:headEnd/>
              <a:tailEnd/>
            </a:ln>
          </p:spPr>
          <p:txBody>
            <a:bodyPr wrap="square" rIns="274320">
              <a:spAutoFit/>
            </a:bodyPr>
            <a:lstStyle/>
            <a:p>
              <a:pPr algn="r" defTabSz="957780" eaLnBrk="0" hangingPunct="0"/>
              <a:r>
                <a:rPr lang="en-US" sz="1400" b="1" dirty="0"/>
                <a:t>10.9%</a:t>
              </a:r>
            </a:p>
          </p:txBody>
        </p:sp>
        <p:sp>
          <p:nvSpPr>
            <p:cNvPr id="92" name="Text Box 26">
              <a:extLst>
                <a:ext uri="{FF2B5EF4-FFF2-40B4-BE49-F238E27FC236}">
                  <a16:creationId xmlns:a16="http://schemas.microsoft.com/office/drawing/2014/main" id="{143DDE4A-5134-41A0-BBC4-0937F9589ABF}"/>
                </a:ext>
              </a:extLst>
            </p:cNvPr>
            <p:cNvSpPr txBox="1">
              <a:spLocks noChangeArrowheads="1"/>
            </p:cNvSpPr>
            <p:nvPr/>
          </p:nvSpPr>
          <p:spPr bwMode="gray">
            <a:xfrm>
              <a:off x="9862595" y="24645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8.7%</a:t>
              </a:r>
            </a:p>
          </p:txBody>
        </p:sp>
        <p:sp>
          <p:nvSpPr>
            <p:cNvPr id="93" name="Text Box 28">
              <a:extLst>
                <a:ext uri="{FF2B5EF4-FFF2-40B4-BE49-F238E27FC236}">
                  <a16:creationId xmlns:a16="http://schemas.microsoft.com/office/drawing/2014/main" id="{F1BA9C82-9390-4CFB-8BFE-5384D4DC6C6F}"/>
                </a:ext>
              </a:extLst>
            </p:cNvPr>
            <p:cNvSpPr txBox="1">
              <a:spLocks noChangeArrowheads="1"/>
            </p:cNvSpPr>
            <p:nvPr/>
          </p:nvSpPr>
          <p:spPr bwMode="gray">
            <a:xfrm>
              <a:off x="9862595" y="1654166"/>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6.1%</a:t>
              </a:r>
            </a:p>
          </p:txBody>
        </p:sp>
        <p:cxnSp>
          <p:nvCxnSpPr>
            <p:cNvPr id="94" name="Straight Connector 93">
              <a:extLst>
                <a:ext uri="{FF2B5EF4-FFF2-40B4-BE49-F238E27FC236}">
                  <a16:creationId xmlns:a16="http://schemas.microsoft.com/office/drawing/2014/main" id="{C2322C29-193C-4C88-BD42-E8C32A8C7908}"/>
                </a:ext>
              </a:extLst>
            </p:cNvPr>
            <p:cNvCxnSpPr>
              <a:cxnSpLocks/>
              <a:stCxn id="90" idx="1"/>
            </p:cNvCxnSpPr>
            <p:nvPr/>
          </p:nvCxnSpPr>
          <p:spPr>
            <a:xfrm flipH="1" flipV="1">
              <a:off x="8031717" y="1751438"/>
              <a:ext cx="426934" cy="33085"/>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1BD7644-3BC8-454B-88AD-60E9455DF032}"/>
                </a:ext>
              </a:extLst>
            </p:cNvPr>
            <p:cNvCxnSpPr>
              <a:cxnSpLocks/>
            </p:cNvCxnSpPr>
            <p:nvPr/>
          </p:nvCxnSpPr>
          <p:spPr>
            <a:xfrm flipH="1" flipV="1">
              <a:off x="8039096" y="1866286"/>
              <a:ext cx="426934" cy="64144"/>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2C428C2-7626-46C3-91DC-0C000FB3DA7D}"/>
                </a:ext>
              </a:extLst>
            </p:cNvPr>
            <p:cNvCxnSpPr>
              <a:cxnSpLocks/>
            </p:cNvCxnSpPr>
            <p:nvPr/>
          </p:nvCxnSpPr>
          <p:spPr>
            <a:xfrm flipH="1" flipV="1">
              <a:off x="8084477" y="1991174"/>
              <a:ext cx="426934" cy="146541"/>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97" name="Text Box 28">
              <a:extLst>
                <a:ext uri="{FF2B5EF4-FFF2-40B4-BE49-F238E27FC236}">
                  <a16:creationId xmlns:a16="http://schemas.microsoft.com/office/drawing/2014/main" id="{4E0354BA-5B62-4533-96D2-73BC9673ED8D}"/>
                </a:ext>
              </a:extLst>
            </p:cNvPr>
            <p:cNvSpPr txBox="1">
              <a:spLocks noChangeArrowheads="1"/>
            </p:cNvSpPr>
            <p:nvPr/>
          </p:nvSpPr>
          <p:spPr bwMode="gray">
            <a:xfrm>
              <a:off x="9317083" y="1168300"/>
              <a:ext cx="1901734" cy="544251"/>
            </a:xfrm>
            <a:prstGeom prst="rect">
              <a:avLst/>
            </a:prstGeom>
            <a:noFill/>
            <a:ln w="19050">
              <a:noFill/>
              <a:miter lim="800000"/>
              <a:headEnd/>
              <a:tailEnd/>
            </a:ln>
          </p:spPr>
          <p:txBody>
            <a:bodyPr wrap="square" rIns="274320">
              <a:spAutoFit/>
            </a:bodyPr>
            <a:lstStyle/>
            <a:p>
              <a:pPr algn="r" defTabSz="957780" eaLnBrk="0" hangingPunct="0"/>
              <a:r>
                <a:rPr lang="en-US" sz="1200" b="1" dirty="0"/>
                <a:t>% change 2018–19:</a:t>
              </a:r>
            </a:p>
          </p:txBody>
        </p:sp>
        <p:sp>
          <p:nvSpPr>
            <p:cNvPr id="98" name="Text Box 36">
              <a:extLst>
                <a:ext uri="{FF2B5EF4-FFF2-40B4-BE49-F238E27FC236}">
                  <a16:creationId xmlns:a16="http://schemas.microsoft.com/office/drawing/2014/main" id="{B558AF4D-A867-4E9F-A1B9-4A97A8E86906}"/>
                </a:ext>
              </a:extLst>
            </p:cNvPr>
            <p:cNvSpPr txBox="1">
              <a:spLocks noChangeArrowheads="1"/>
            </p:cNvSpPr>
            <p:nvPr/>
          </p:nvSpPr>
          <p:spPr bwMode="gray">
            <a:xfrm>
              <a:off x="7418593" y="1270663"/>
              <a:ext cx="721772" cy="276999"/>
            </a:xfrm>
            <a:prstGeom prst="rect">
              <a:avLst/>
            </a:prstGeom>
            <a:noFill/>
            <a:ln w="19050">
              <a:noFill/>
              <a:miter lim="800000"/>
              <a:headEnd/>
              <a:tailEnd/>
            </a:ln>
          </p:spPr>
          <p:txBody>
            <a:bodyPr>
              <a:spAutoFit/>
            </a:bodyPr>
            <a:lstStyle/>
            <a:p>
              <a:pPr algn="ctr" defTabSz="957780" eaLnBrk="0" hangingPunct="0"/>
              <a:r>
                <a:rPr lang="en-US" sz="1200" b="1" dirty="0"/>
                <a:t>19.6</a:t>
              </a:r>
            </a:p>
          </p:txBody>
        </p:sp>
        <p:sp>
          <p:nvSpPr>
            <p:cNvPr id="99" name="TextBox 98">
              <a:extLst>
                <a:ext uri="{FF2B5EF4-FFF2-40B4-BE49-F238E27FC236}">
                  <a16:creationId xmlns:a16="http://schemas.microsoft.com/office/drawing/2014/main" id="{DB5547D4-973E-4388-9947-3FBBECFDFF69}"/>
                </a:ext>
              </a:extLst>
            </p:cNvPr>
            <p:cNvSpPr txBox="1"/>
            <p:nvPr/>
          </p:nvSpPr>
          <p:spPr>
            <a:xfrm rot="16200000">
              <a:off x="212219" y="3271058"/>
              <a:ext cx="2538286" cy="271601"/>
            </a:xfrm>
            <a:prstGeom prst="rect">
              <a:avLst/>
            </a:prstGeom>
            <a:noFill/>
          </p:spPr>
          <p:txBody>
            <a:bodyPr wrap="square" rtlCol="0">
              <a:spAutoFit/>
            </a:bodyPr>
            <a:lstStyle/>
            <a:p>
              <a:pPr algn="ctr"/>
              <a:r>
                <a:rPr lang="en-US" sz="1000" dirty="0"/>
                <a:t>HNWI population (millions)</a:t>
              </a:r>
            </a:p>
          </p:txBody>
        </p:sp>
      </p:grpSp>
      <p:grpSp>
        <p:nvGrpSpPr>
          <p:cNvPr id="36" name="Group 35">
            <a:extLst>
              <a:ext uri="{FF2B5EF4-FFF2-40B4-BE49-F238E27FC236}">
                <a16:creationId xmlns:a16="http://schemas.microsoft.com/office/drawing/2014/main" id="{C9FDF338-DB4C-4B4A-89B3-D77C4794F238}"/>
              </a:ext>
            </a:extLst>
          </p:cNvPr>
          <p:cNvGrpSpPr/>
          <p:nvPr/>
        </p:nvGrpSpPr>
        <p:grpSpPr>
          <a:xfrm>
            <a:off x="9034432" y="122400"/>
            <a:ext cx="537780" cy="533532"/>
            <a:chOff x="411163" y="2006600"/>
            <a:chExt cx="3617913" cy="3589337"/>
          </a:xfrm>
          <a:solidFill>
            <a:schemeClr val="bg1">
              <a:lumMod val="75000"/>
            </a:schemeClr>
          </a:solidFill>
        </p:grpSpPr>
        <p:sp>
          <p:nvSpPr>
            <p:cNvPr id="37" name="Freeform 5">
              <a:extLst>
                <a:ext uri="{FF2B5EF4-FFF2-40B4-BE49-F238E27FC236}">
                  <a16:creationId xmlns:a16="http://schemas.microsoft.com/office/drawing/2014/main" id="{7586A59D-D9A4-402B-A71D-A17A5D123F29}"/>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9" name="Oval 6">
              <a:extLst>
                <a:ext uri="{FF2B5EF4-FFF2-40B4-BE49-F238E27FC236}">
                  <a16:creationId xmlns:a16="http://schemas.microsoft.com/office/drawing/2014/main" id="{B80B79CF-6D26-47FF-91FC-A9A3A52464A7}"/>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0" name="Freeform 7">
              <a:extLst>
                <a:ext uri="{FF2B5EF4-FFF2-40B4-BE49-F238E27FC236}">
                  <a16:creationId xmlns:a16="http://schemas.microsoft.com/office/drawing/2014/main" id="{774DB666-C95D-48E5-985E-B366470D1A6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1" name="Freeform 8">
              <a:extLst>
                <a:ext uri="{FF2B5EF4-FFF2-40B4-BE49-F238E27FC236}">
                  <a16:creationId xmlns:a16="http://schemas.microsoft.com/office/drawing/2014/main" id="{88CBB204-C8D0-43AA-BBA7-137F07242681}"/>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9">
              <a:extLst>
                <a:ext uri="{FF2B5EF4-FFF2-40B4-BE49-F238E27FC236}">
                  <a16:creationId xmlns:a16="http://schemas.microsoft.com/office/drawing/2014/main" id="{5E46C1BC-122C-4FEB-B373-4B59B97008DA}"/>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58" name="Group 57">
            <a:extLst>
              <a:ext uri="{FF2B5EF4-FFF2-40B4-BE49-F238E27FC236}">
                <a16:creationId xmlns:a16="http://schemas.microsoft.com/office/drawing/2014/main" id="{216FAB72-FB2B-4DB3-AC60-493C35A0CDF7}"/>
              </a:ext>
            </a:extLst>
          </p:cNvPr>
          <p:cNvGrpSpPr/>
          <p:nvPr/>
        </p:nvGrpSpPr>
        <p:grpSpPr>
          <a:xfrm>
            <a:off x="9622537" y="85117"/>
            <a:ext cx="559961" cy="608099"/>
            <a:chOff x="9622537" y="85117"/>
            <a:chExt cx="559961" cy="608099"/>
          </a:xfrm>
        </p:grpSpPr>
        <p:sp>
          <p:nvSpPr>
            <p:cNvPr id="59" name="Freeform 10">
              <a:extLst>
                <a:ext uri="{FF2B5EF4-FFF2-40B4-BE49-F238E27FC236}">
                  <a16:creationId xmlns:a16="http://schemas.microsoft.com/office/drawing/2014/main" id="{6661B183-EB55-4B3C-924A-A381C25843DE}"/>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11">
              <a:extLst>
                <a:ext uri="{FF2B5EF4-FFF2-40B4-BE49-F238E27FC236}">
                  <a16:creationId xmlns:a16="http://schemas.microsoft.com/office/drawing/2014/main" id="{91C84C2E-5E14-40D4-B1FE-96AC66AEA55E}"/>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12">
              <a:extLst>
                <a:ext uri="{FF2B5EF4-FFF2-40B4-BE49-F238E27FC236}">
                  <a16:creationId xmlns:a16="http://schemas.microsoft.com/office/drawing/2014/main" id="{A713DB54-972A-4EE5-AB53-D6C64CC458B2}"/>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13">
              <a:extLst>
                <a:ext uri="{FF2B5EF4-FFF2-40B4-BE49-F238E27FC236}">
                  <a16:creationId xmlns:a16="http://schemas.microsoft.com/office/drawing/2014/main" id="{53096D3B-8B27-436E-8E8C-FDB5469A3DAE}"/>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14">
              <a:extLst>
                <a:ext uri="{FF2B5EF4-FFF2-40B4-BE49-F238E27FC236}">
                  <a16:creationId xmlns:a16="http://schemas.microsoft.com/office/drawing/2014/main" id="{11977466-B82E-427F-BA79-64B07F0B237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64" name="Group 63">
            <a:extLst>
              <a:ext uri="{FF2B5EF4-FFF2-40B4-BE49-F238E27FC236}">
                <a16:creationId xmlns:a16="http://schemas.microsoft.com/office/drawing/2014/main" id="{699C843F-AFD4-4A5F-9A65-BBF00C19C986}"/>
              </a:ext>
            </a:extLst>
          </p:cNvPr>
          <p:cNvGrpSpPr/>
          <p:nvPr/>
        </p:nvGrpSpPr>
        <p:grpSpPr>
          <a:xfrm>
            <a:off x="10232823" y="122400"/>
            <a:ext cx="537308" cy="533532"/>
            <a:chOff x="8169276" y="2006600"/>
            <a:chExt cx="3614737" cy="3589337"/>
          </a:xfrm>
          <a:solidFill>
            <a:schemeClr val="bg1">
              <a:lumMod val="75000"/>
            </a:schemeClr>
          </a:solidFill>
        </p:grpSpPr>
        <p:sp>
          <p:nvSpPr>
            <p:cNvPr id="65" name="Freeform 18">
              <a:extLst>
                <a:ext uri="{FF2B5EF4-FFF2-40B4-BE49-F238E27FC236}">
                  <a16:creationId xmlns:a16="http://schemas.microsoft.com/office/drawing/2014/main" id="{FC0E3EFA-D493-407B-9185-4C8EA4D5AD4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6" name="Freeform 15">
              <a:extLst>
                <a:ext uri="{FF2B5EF4-FFF2-40B4-BE49-F238E27FC236}">
                  <a16:creationId xmlns:a16="http://schemas.microsoft.com/office/drawing/2014/main" id="{274C11CA-4FFF-4C39-A26D-A3C80C0C3F3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F1ACF4ED-4F6E-4629-B528-1256EC3F2F33}"/>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8" name="Freeform 17">
              <a:extLst>
                <a:ext uri="{FF2B5EF4-FFF2-40B4-BE49-F238E27FC236}">
                  <a16:creationId xmlns:a16="http://schemas.microsoft.com/office/drawing/2014/main" id="{483D8942-83E9-4290-A3A3-69B093F552B1}"/>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19">
              <a:extLst>
                <a:ext uri="{FF2B5EF4-FFF2-40B4-BE49-F238E27FC236}">
                  <a16:creationId xmlns:a16="http://schemas.microsoft.com/office/drawing/2014/main" id="{235AC7A2-8CC5-4E92-BA7E-D8B0788B7EC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0" name="Freeform 332">
            <a:extLst>
              <a:ext uri="{FF2B5EF4-FFF2-40B4-BE49-F238E27FC236}">
                <a16:creationId xmlns:a16="http://schemas.microsoft.com/office/drawing/2014/main" id="{7D7C1FB1-F85D-440B-8DAE-6CA86DBFB41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0A25D54D-65A2-45DB-B1D3-FC2CD40C550C}"/>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2" name="Freeform 46">
              <a:extLst>
                <a:ext uri="{FF2B5EF4-FFF2-40B4-BE49-F238E27FC236}">
                  <a16:creationId xmlns:a16="http://schemas.microsoft.com/office/drawing/2014/main" id="{AA27A7BE-9576-495E-9788-DDAAD3525DEF}"/>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7">
              <a:extLst>
                <a:ext uri="{FF2B5EF4-FFF2-40B4-BE49-F238E27FC236}">
                  <a16:creationId xmlns:a16="http://schemas.microsoft.com/office/drawing/2014/main" id="{3491D12A-BF3D-4349-A67A-35F45A302CA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8">
              <a:extLst>
                <a:ext uri="{FF2B5EF4-FFF2-40B4-BE49-F238E27FC236}">
                  <a16:creationId xmlns:a16="http://schemas.microsoft.com/office/drawing/2014/main" id="{7EC8A7D4-0545-4D49-AD89-9C8A8E61702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9">
              <a:extLst>
                <a:ext uri="{FF2B5EF4-FFF2-40B4-BE49-F238E27FC236}">
                  <a16:creationId xmlns:a16="http://schemas.microsoft.com/office/drawing/2014/main" id="{329C7835-2D5E-459A-B789-5B6EF09EACCF}"/>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0">
              <a:extLst>
                <a:ext uri="{FF2B5EF4-FFF2-40B4-BE49-F238E27FC236}">
                  <a16:creationId xmlns:a16="http://schemas.microsoft.com/office/drawing/2014/main" id="{99CB509E-A54C-4C66-9B0F-C02C2EFF75F4}"/>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1">
              <a:extLst>
                <a:ext uri="{FF2B5EF4-FFF2-40B4-BE49-F238E27FC236}">
                  <a16:creationId xmlns:a16="http://schemas.microsoft.com/office/drawing/2014/main" id="{BCB0672C-0365-48D5-92F3-2AECF7E8ED6A}"/>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e 825">
            <a:extLst>
              <a:ext uri="{FF2B5EF4-FFF2-40B4-BE49-F238E27FC236}">
                <a16:creationId xmlns:a16="http://schemas.microsoft.com/office/drawing/2014/main" id="{BC4B1790-7491-44B2-AA04-27B61D9FE740}"/>
              </a:ext>
            </a:extLst>
          </p:cNvPr>
          <p:cNvGrpSpPr/>
          <p:nvPr/>
        </p:nvGrpSpPr>
        <p:grpSpPr>
          <a:xfrm>
            <a:off x="9138494" y="248487"/>
            <a:ext cx="337206" cy="317707"/>
            <a:chOff x="6500813" y="736601"/>
            <a:chExt cx="538163" cy="581025"/>
          </a:xfrm>
        </p:grpSpPr>
        <p:sp>
          <p:nvSpPr>
            <p:cNvPr id="79" name="Freeform 37">
              <a:extLst>
                <a:ext uri="{FF2B5EF4-FFF2-40B4-BE49-F238E27FC236}">
                  <a16:creationId xmlns:a16="http://schemas.microsoft.com/office/drawing/2014/main" id="{81A254E2-AB6E-4337-8483-8452975CEB25}"/>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38">
              <a:extLst>
                <a:ext uri="{FF2B5EF4-FFF2-40B4-BE49-F238E27FC236}">
                  <a16:creationId xmlns:a16="http://schemas.microsoft.com/office/drawing/2014/main" id="{B053CB97-0F54-4C3B-8075-96758C3A6DA0}"/>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39">
              <a:extLst>
                <a:ext uri="{FF2B5EF4-FFF2-40B4-BE49-F238E27FC236}">
                  <a16:creationId xmlns:a16="http://schemas.microsoft.com/office/drawing/2014/main" id="{04DF621F-3DC2-428B-A25C-0B5D46586FA4}"/>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40">
              <a:extLst>
                <a:ext uri="{FF2B5EF4-FFF2-40B4-BE49-F238E27FC236}">
                  <a16:creationId xmlns:a16="http://schemas.microsoft.com/office/drawing/2014/main" id="{DDBD54C5-008E-4528-9152-378D0DAD93A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41">
              <a:extLst>
                <a:ext uri="{FF2B5EF4-FFF2-40B4-BE49-F238E27FC236}">
                  <a16:creationId xmlns:a16="http://schemas.microsoft.com/office/drawing/2014/main" id="{323145E6-A9A0-47DD-9CF4-9FE31B7E0539}"/>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42">
              <a:extLst>
                <a:ext uri="{FF2B5EF4-FFF2-40B4-BE49-F238E27FC236}">
                  <a16:creationId xmlns:a16="http://schemas.microsoft.com/office/drawing/2014/main" id="{118D08BA-C995-4377-B5FE-E3A33972CDEF}"/>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43">
              <a:extLst>
                <a:ext uri="{FF2B5EF4-FFF2-40B4-BE49-F238E27FC236}">
                  <a16:creationId xmlns:a16="http://schemas.microsoft.com/office/drawing/2014/main" id="{3D4ED506-DCDE-416B-B3AE-BCCC2F2CF2E3}"/>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44">
              <a:extLst>
                <a:ext uri="{FF2B5EF4-FFF2-40B4-BE49-F238E27FC236}">
                  <a16:creationId xmlns:a16="http://schemas.microsoft.com/office/drawing/2014/main" id="{F82736DC-5815-4D34-B42C-026F7E57C61C}"/>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45">
              <a:extLst>
                <a:ext uri="{FF2B5EF4-FFF2-40B4-BE49-F238E27FC236}">
                  <a16:creationId xmlns:a16="http://schemas.microsoft.com/office/drawing/2014/main" id="{F3C4CECC-EF79-46D8-AED0-9E96AB65DB1D}"/>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46">
              <a:extLst>
                <a:ext uri="{FF2B5EF4-FFF2-40B4-BE49-F238E27FC236}">
                  <a16:creationId xmlns:a16="http://schemas.microsoft.com/office/drawing/2014/main" id="{F5B71FC8-3B9A-4B16-A0FC-F834B14EF96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47">
              <a:extLst>
                <a:ext uri="{FF2B5EF4-FFF2-40B4-BE49-F238E27FC236}">
                  <a16:creationId xmlns:a16="http://schemas.microsoft.com/office/drawing/2014/main" id="{4126DA06-B01E-4A5E-B61C-2C87BCB596D6}"/>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48">
              <a:extLst>
                <a:ext uri="{FF2B5EF4-FFF2-40B4-BE49-F238E27FC236}">
                  <a16:creationId xmlns:a16="http://schemas.microsoft.com/office/drawing/2014/main" id="{924677D7-884F-489C-A468-50E47B104084}"/>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9">
              <a:extLst>
                <a:ext uri="{FF2B5EF4-FFF2-40B4-BE49-F238E27FC236}">
                  <a16:creationId xmlns:a16="http://schemas.microsoft.com/office/drawing/2014/main" id="{A9B8E0D3-1250-4FF0-BC27-3A4A5948A72A}"/>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50">
              <a:extLst>
                <a:ext uri="{FF2B5EF4-FFF2-40B4-BE49-F238E27FC236}">
                  <a16:creationId xmlns:a16="http://schemas.microsoft.com/office/drawing/2014/main" id="{39E52BBE-4EB6-4DC1-9A83-3C976E1ABFC9}"/>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51">
              <a:extLst>
                <a:ext uri="{FF2B5EF4-FFF2-40B4-BE49-F238E27FC236}">
                  <a16:creationId xmlns:a16="http://schemas.microsoft.com/office/drawing/2014/main" id="{B0F08418-6B93-4B55-A280-960206CA6C0B}"/>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52">
              <a:extLst>
                <a:ext uri="{FF2B5EF4-FFF2-40B4-BE49-F238E27FC236}">
                  <a16:creationId xmlns:a16="http://schemas.microsoft.com/office/drawing/2014/main" id="{0B8AA6B9-46F6-46A0-A87C-DBDB7D37EAA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53">
              <a:extLst>
                <a:ext uri="{FF2B5EF4-FFF2-40B4-BE49-F238E27FC236}">
                  <a16:creationId xmlns:a16="http://schemas.microsoft.com/office/drawing/2014/main" id="{4B275BEE-900D-4A34-8B7D-992E7AFECAD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54">
              <a:extLst>
                <a:ext uri="{FF2B5EF4-FFF2-40B4-BE49-F238E27FC236}">
                  <a16:creationId xmlns:a16="http://schemas.microsoft.com/office/drawing/2014/main" id="{0DE87562-2F75-41EA-A29F-E6EE5DC108FD}"/>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55">
              <a:extLst>
                <a:ext uri="{FF2B5EF4-FFF2-40B4-BE49-F238E27FC236}">
                  <a16:creationId xmlns:a16="http://schemas.microsoft.com/office/drawing/2014/main" id="{DD454381-5117-4B6E-9405-E38D42D5D658}"/>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56">
              <a:extLst>
                <a:ext uri="{FF2B5EF4-FFF2-40B4-BE49-F238E27FC236}">
                  <a16:creationId xmlns:a16="http://schemas.microsoft.com/office/drawing/2014/main" id="{6D877C84-4449-4C0B-B104-2D81DF178E9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57">
              <a:extLst>
                <a:ext uri="{FF2B5EF4-FFF2-40B4-BE49-F238E27FC236}">
                  <a16:creationId xmlns:a16="http://schemas.microsoft.com/office/drawing/2014/main" id="{5F53B123-1832-4342-875E-919B5D8F0575}"/>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58">
              <a:extLst>
                <a:ext uri="{FF2B5EF4-FFF2-40B4-BE49-F238E27FC236}">
                  <a16:creationId xmlns:a16="http://schemas.microsoft.com/office/drawing/2014/main" id="{EABB93FB-4A85-4566-A5C4-F4C1488F4795}"/>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59">
              <a:extLst>
                <a:ext uri="{FF2B5EF4-FFF2-40B4-BE49-F238E27FC236}">
                  <a16:creationId xmlns:a16="http://schemas.microsoft.com/office/drawing/2014/main" id="{1FF92A7E-9D0A-48CC-A597-B597DE7AE72B}"/>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60">
              <a:extLst>
                <a:ext uri="{FF2B5EF4-FFF2-40B4-BE49-F238E27FC236}">
                  <a16:creationId xmlns:a16="http://schemas.microsoft.com/office/drawing/2014/main" id="{97F5B8CE-6D34-4783-B52E-004677C768E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61">
              <a:extLst>
                <a:ext uri="{FF2B5EF4-FFF2-40B4-BE49-F238E27FC236}">
                  <a16:creationId xmlns:a16="http://schemas.microsoft.com/office/drawing/2014/main" id="{D35AD64E-2D39-4D8C-89BB-C6C8887F7228}"/>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62">
              <a:extLst>
                <a:ext uri="{FF2B5EF4-FFF2-40B4-BE49-F238E27FC236}">
                  <a16:creationId xmlns:a16="http://schemas.microsoft.com/office/drawing/2014/main" id="{1B67F1C8-D911-43E5-9ED4-1A7E9E0BFCA3}"/>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63">
              <a:extLst>
                <a:ext uri="{FF2B5EF4-FFF2-40B4-BE49-F238E27FC236}">
                  <a16:creationId xmlns:a16="http://schemas.microsoft.com/office/drawing/2014/main" id="{A83331E7-260B-4D9F-A49E-348D89C09885}"/>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64">
              <a:extLst>
                <a:ext uri="{FF2B5EF4-FFF2-40B4-BE49-F238E27FC236}">
                  <a16:creationId xmlns:a16="http://schemas.microsoft.com/office/drawing/2014/main" id="{4852B42E-34CD-4F6C-BBC9-86121EA6E8A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65">
              <a:extLst>
                <a:ext uri="{FF2B5EF4-FFF2-40B4-BE49-F238E27FC236}">
                  <a16:creationId xmlns:a16="http://schemas.microsoft.com/office/drawing/2014/main" id="{D7DFA13E-40FE-4A13-9662-994F6E12ECF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66">
              <a:extLst>
                <a:ext uri="{FF2B5EF4-FFF2-40B4-BE49-F238E27FC236}">
                  <a16:creationId xmlns:a16="http://schemas.microsoft.com/office/drawing/2014/main" id="{AA8FCA85-F9B8-42CD-88DF-1C83B6F0D1F6}"/>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67">
              <a:extLst>
                <a:ext uri="{FF2B5EF4-FFF2-40B4-BE49-F238E27FC236}">
                  <a16:creationId xmlns:a16="http://schemas.microsoft.com/office/drawing/2014/main" id="{7714334F-A132-41CF-9D1D-0E911FBF965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68">
              <a:extLst>
                <a:ext uri="{FF2B5EF4-FFF2-40B4-BE49-F238E27FC236}">
                  <a16:creationId xmlns:a16="http://schemas.microsoft.com/office/drawing/2014/main" id="{B13010E0-0206-476D-9EE5-315C3BF79C85}"/>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69">
              <a:extLst>
                <a:ext uri="{FF2B5EF4-FFF2-40B4-BE49-F238E27FC236}">
                  <a16:creationId xmlns:a16="http://schemas.microsoft.com/office/drawing/2014/main" id="{3B1E6AF0-0D72-4AA0-A333-5C1CCB1F3FDC}"/>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70">
              <a:extLst>
                <a:ext uri="{FF2B5EF4-FFF2-40B4-BE49-F238E27FC236}">
                  <a16:creationId xmlns:a16="http://schemas.microsoft.com/office/drawing/2014/main" id="{AC85BDA1-6325-4463-95C5-2D7C45E5154F}"/>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71">
              <a:extLst>
                <a:ext uri="{FF2B5EF4-FFF2-40B4-BE49-F238E27FC236}">
                  <a16:creationId xmlns:a16="http://schemas.microsoft.com/office/drawing/2014/main" id="{9B0971BB-F24A-4F02-9FDD-63CFE993CAFE}"/>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72">
              <a:extLst>
                <a:ext uri="{FF2B5EF4-FFF2-40B4-BE49-F238E27FC236}">
                  <a16:creationId xmlns:a16="http://schemas.microsoft.com/office/drawing/2014/main" id="{0BA7C5DA-5F48-486C-B10A-1C9ED81D68E7}"/>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73">
              <a:extLst>
                <a:ext uri="{FF2B5EF4-FFF2-40B4-BE49-F238E27FC236}">
                  <a16:creationId xmlns:a16="http://schemas.microsoft.com/office/drawing/2014/main" id="{41E5D410-1C6B-4FA0-BFE0-3FC55088FA04}"/>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74">
              <a:extLst>
                <a:ext uri="{FF2B5EF4-FFF2-40B4-BE49-F238E27FC236}">
                  <a16:creationId xmlns:a16="http://schemas.microsoft.com/office/drawing/2014/main" id="{72D15A18-E9C7-4DF4-9694-18BA0F623130}"/>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75">
              <a:extLst>
                <a:ext uri="{FF2B5EF4-FFF2-40B4-BE49-F238E27FC236}">
                  <a16:creationId xmlns:a16="http://schemas.microsoft.com/office/drawing/2014/main" id="{F7151390-F16D-42E7-BA46-10A99C4D712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76">
              <a:extLst>
                <a:ext uri="{FF2B5EF4-FFF2-40B4-BE49-F238E27FC236}">
                  <a16:creationId xmlns:a16="http://schemas.microsoft.com/office/drawing/2014/main" id="{968E2FC5-86E1-4289-A5C6-2E2B659D001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77">
              <a:extLst>
                <a:ext uri="{FF2B5EF4-FFF2-40B4-BE49-F238E27FC236}">
                  <a16:creationId xmlns:a16="http://schemas.microsoft.com/office/drawing/2014/main" id="{D01392F0-0AD8-4781-B8D7-8A03AFA4656E}"/>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78">
              <a:extLst>
                <a:ext uri="{FF2B5EF4-FFF2-40B4-BE49-F238E27FC236}">
                  <a16:creationId xmlns:a16="http://schemas.microsoft.com/office/drawing/2014/main" id="{8DB3F927-DF7E-4FE7-8B9B-457079360FE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79">
              <a:extLst>
                <a:ext uri="{FF2B5EF4-FFF2-40B4-BE49-F238E27FC236}">
                  <a16:creationId xmlns:a16="http://schemas.microsoft.com/office/drawing/2014/main" id="{1942DD9C-DC40-4AE0-BB2C-5254B93AAE96}"/>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80">
              <a:extLst>
                <a:ext uri="{FF2B5EF4-FFF2-40B4-BE49-F238E27FC236}">
                  <a16:creationId xmlns:a16="http://schemas.microsoft.com/office/drawing/2014/main" id="{357C72B2-A81E-49A6-8096-0672A84C7716}"/>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81">
              <a:extLst>
                <a:ext uri="{FF2B5EF4-FFF2-40B4-BE49-F238E27FC236}">
                  <a16:creationId xmlns:a16="http://schemas.microsoft.com/office/drawing/2014/main" id="{88DE1D2B-534E-4297-B4B4-6A9E0C271716}"/>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82">
              <a:extLst>
                <a:ext uri="{FF2B5EF4-FFF2-40B4-BE49-F238E27FC236}">
                  <a16:creationId xmlns:a16="http://schemas.microsoft.com/office/drawing/2014/main" id="{563B77DB-2834-453F-9A6E-83F4611254A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83">
              <a:extLst>
                <a:ext uri="{FF2B5EF4-FFF2-40B4-BE49-F238E27FC236}">
                  <a16:creationId xmlns:a16="http://schemas.microsoft.com/office/drawing/2014/main" id="{0FDDDE5A-0B9A-4CEB-BC39-31D7DA35C23C}"/>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84">
              <a:extLst>
                <a:ext uri="{FF2B5EF4-FFF2-40B4-BE49-F238E27FC236}">
                  <a16:creationId xmlns:a16="http://schemas.microsoft.com/office/drawing/2014/main" id="{B334478E-BAE8-44D4-92E7-8010EED6F3BA}"/>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85">
              <a:extLst>
                <a:ext uri="{FF2B5EF4-FFF2-40B4-BE49-F238E27FC236}">
                  <a16:creationId xmlns:a16="http://schemas.microsoft.com/office/drawing/2014/main" id="{2550CE19-D24F-492E-BBFF-EA32777F9726}"/>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44" name="Freeform 14">
            <a:extLst>
              <a:ext uri="{FF2B5EF4-FFF2-40B4-BE49-F238E27FC236}">
                <a16:creationId xmlns:a16="http://schemas.microsoft.com/office/drawing/2014/main" id="{361F5CFC-2703-4B86-A661-C74DEE1AC31C}"/>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45" name="Group 144">
            <a:extLst>
              <a:ext uri="{FF2B5EF4-FFF2-40B4-BE49-F238E27FC236}">
                <a16:creationId xmlns:a16="http://schemas.microsoft.com/office/drawing/2014/main" id="{5CD63BD6-D092-40BE-98E3-1A4F09B49AC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46" name="Freeform 18">
              <a:extLst>
                <a:ext uri="{FF2B5EF4-FFF2-40B4-BE49-F238E27FC236}">
                  <a16:creationId xmlns:a16="http://schemas.microsoft.com/office/drawing/2014/main" id="{F74E215F-96BF-4501-8994-C55259B39E5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7" name="Freeform 15">
              <a:extLst>
                <a:ext uri="{FF2B5EF4-FFF2-40B4-BE49-F238E27FC236}">
                  <a16:creationId xmlns:a16="http://schemas.microsoft.com/office/drawing/2014/main" id="{3B246E06-0032-4A23-BB25-26C8E64D6B2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8" name="Oval 16">
              <a:extLst>
                <a:ext uri="{FF2B5EF4-FFF2-40B4-BE49-F238E27FC236}">
                  <a16:creationId xmlns:a16="http://schemas.microsoft.com/office/drawing/2014/main" id="{08302D02-06C5-4C50-BF2D-A52EF73611A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9" name="Freeform 17">
              <a:extLst>
                <a:ext uri="{FF2B5EF4-FFF2-40B4-BE49-F238E27FC236}">
                  <a16:creationId xmlns:a16="http://schemas.microsoft.com/office/drawing/2014/main" id="{86939CD3-854A-49B1-A454-D260A1499524}"/>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0" name="Freeform 19">
              <a:extLst>
                <a:ext uri="{FF2B5EF4-FFF2-40B4-BE49-F238E27FC236}">
                  <a16:creationId xmlns:a16="http://schemas.microsoft.com/office/drawing/2014/main" id="{7EAADE61-0406-4744-AE6B-F3E219CAE61D}"/>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51" name="Picture 4" descr="Coronavirus | United Nations">
            <a:extLst>
              <a:ext uri="{FF2B5EF4-FFF2-40B4-BE49-F238E27FC236}">
                <a16:creationId xmlns:a16="http://schemas.microsoft.com/office/drawing/2014/main" id="{2B8D4B0B-CD4C-485C-9D34-47C795D524C1}"/>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926D9F26-CD88-47E0-8FDB-AA0A4AF54B6E}"/>
              </a:ext>
            </a:extLst>
          </p:cNvPr>
          <p:cNvSpPr/>
          <p:nvPr/>
        </p:nvSpPr>
        <p:spPr>
          <a:xfrm rot="5400000">
            <a:off x="9877142" y="3609467"/>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3F5196F9-24B9-428E-8C8F-8CC227FC2FAE}"/>
              </a:ext>
            </a:extLst>
          </p:cNvPr>
          <p:cNvSpPr txBox="1"/>
          <p:nvPr/>
        </p:nvSpPr>
        <p:spPr>
          <a:xfrm>
            <a:off x="10340085" y="3493552"/>
            <a:ext cx="1521735" cy="523220"/>
          </a:xfrm>
          <a:prstGeom prst="rect">
            <a:avLst/>
          </a:prstGeom>
          <a:noFill/>
        </p:spPr>
        <p:txBody>
          <a:bodyPr wrap="square" rtlCol="0">
            <a:spAutoFit/>
          </a:bodyPr>
          <a:lstStyle/>
          <a:p>
            <a:r>
              <a:rPr lang="en-US" sz="1400" i="1" dirty="0"/>
              <a:t>Growth champion</a:t>
            </a:r>
          </a:p>
        </p:txBody>
      </p:sp>
    </p:spTree>
    <p:extLst>
      <p:ext uri="{BB962C8B-B14F-4D97-AF65-F5344CB8AC3E}">
        <p14:creationId xmlns:p14="http://schemas.microsoft.com/office/powerpoint/2010/main" val="3707867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B52A02-52AB-4D1B-BB9F-5221E24972D9}"/>
              </a:ext>
            </a:extLst>
          </p:cNvPr>
          <p:cNvGraphicFramePr>
            <a:graphicFrameLocks noChangeAspect="1"/>
          </p:cNvGraphicFramePr>
          <p:nvPr>
            <p:custDataLst>
              <p:tags r:id="rId2"/>
            </p:custDataLst>
            <p:extLst>
              <p:ext uri="{D42A27DB-BD31-4B8C-83A1-F6EECF244321}">
                <p14:modId xmlns:p14="http://schemas.microsoft.com/office/powerpoint/2010/main" val="145744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0"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F9CFE4B-E11F-4124-AB77-1B70ABBBD2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sp>
        <p:nvSpPr>
          <p:cNvPr id="156" name="Rectangle: Rounded Corners 155">
            <a:extLst>
              <a:ext uri="{FF2B5EF4-FFF2-40B4-BE49-F238E27FC236}">
                <a16:creationId xmlns:a16="http://schemas.microsoft.com/office/drawing/2014/main" id="{96BD08DC-5037-4E6E-BCE0-FB5BEF1C776A}"/>
              </a:ext>
            </a:extLst>
          </p:cNvPr>
          <p:cNvSpPr/>
          <p:nvPr/>
        </p:nvSpPr>
        <p:spPr>
          <a:xfrm>
            <a:off x="7423210" y="4952352"/>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7" name="Isosceles Triangle 156">
            <a:extLst>
              <a:ext uri="{FF2B5EF4-FFF2-40B4-BE49-F238E27FC236}">
                <a16:creationId xmlns:a16="http://schemas.microsoft.com/office/drawing/2014/main" id="{29B64750-EAF1-4E47-89A9-36F67DFE2458}"/>
              </a:ext>
            </a:extLst>
          </p:cNvPr>
          <p:cNvSpPr/>
          <p:nvPr/>
        </p:nvSpPr>
        <p:spPr>
          <a:xfrm rot="5400000">
            <a:off x="10011087" y="5014275"/>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8" name="TextBox 157">
            <a:extLst>
              <a:ext uri="{FF2B5EF4-FFF2-40B4-BE49-F238E27FC236}">
                <a16:creationId xmlns:a16="http://schemas.microsoft.com/office/drawing/2014/main" id="{5FB49B58-C487-4A0E-9B06-8B744A2EF546}"/>
              </a:ext>
            </a:extLst>
          </p:cNvPr>
          <p:cNvSpPr txBox="1"/>
          <p:nvPr/>
        </p:nvSpPr>
        <p:spPr>
          <a:xfrm>
            <a:off x="10466722" y="4802671"/>
            <a:ext cx="1851915" cy="738664"/>
          </a:xfrm>
          <a:prstGeom prst="rect">
            <a:avLst/>
          </a:prstGeom>
          <a:noFill/>
        </p:spPr>
        <p:txBody>
          <a:bodyPr wrap="square" rtlCol="0">
            <a:spAutoFit/>
          </a:bodyPr>
          <a:lstStyle/>
          <a:p>
            <a:r>
              <a:rPr lang="en-US" sz="1400" i="1" dirty="0"/>
              <a:t>For 1</a:t>
            </a:r>
            <a:r>
              <a:rPr lang="en-US" sz="1400" i="1" baseline="30000" dirty="0"/>
              <a:t>st</a:t>
            </a:r>
            <a:r>
              <a:rPr lang="en-US" sz="1400" i="1" dirty="0"/>
              <a:t> time since 2012, not leading the growth</a:t>
            </a:r>
          </a:p>
        </p:txBody>
      </p:sp>
      <p:sp>
        <p:nvSpPr>
          <p:cNvPr id="159" name="Rectangle: Rounded Corners 158">
            <a:extLst>
              <a:ext uri="{FF2B5EF4-FFF2-40B4-BE49-F238E27FC236}">
                <a16:creationId xmlns:a16="http://schemas.microsoft.com/office/drawing/2014/main" id="{7C0CFDF0-333A-4728-999C-0CC516116440}"/>
              </a:ext>
            </a:extLst>
          </p:cNvPr>
          <p:cNvSpPr/>
          <p:nvPr/>
        </p:nvSpPr>
        <p:spPr>
          <a:xfrm>
            <a:off x="7430025" y="3073370"/>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0" name="Isosceles Triangle 159">
            <a:extLst>
              <a:ext uri="{FF2B5EF4-FFF2-40B4-BE49-F238E27FC236}">
                <a16:creationId xmlns:a16="http://schemas.microsoft.com/office/drawing/2014/main" id="{63F2CE34-6AA3-4F2A-86BE-D757ADF4F271}"/>
              </a:ext>
            </a:extLst>
          </p:cNvPr>
          <p:cNvSpPr/>
          <p:nvPr/>
        </p:nvSpPr>
        <p:spPr>
          <a:xfrm rot="5400000">
            <a:off x="10017902" y="3135293"/>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1" name="TextBox 160">
            <a:extLst>
              <a:ext uri="{FF2B5EF4-FFF2-40B4-BE49-F238E27FC236}">
                <a16:creationId xmlns:a16="http://schemas.microsoft.com/office/drawing/2014/main" id="{81D890EF-FF48-44C7-BDB7-066D916B68DD}"/>
              </a:ext>
            </a:extLst>
          </p:cNvPr>
          <p:cNvSpPr txBox="1"/>
          <p:nvPr/>
        </p:nvSpPr>
        <p:spPr>
          <a:xfrm>
            <a:off x="10466721" y="3104442"/>
            <a:ext cx="1622497" cy="307777"/>
          </a:xfrm>
          <a:prstGeom prst="rect">
            <a:avLst/>
          </a:prstGeom>
          <a:noFill/>
        </p:spPr>
        <p:txBody>
          <a:bodyPr wrap="square" rtlCol="0">
            <a:spAutoFit/>
          </a:bodyPr>
          <a:lstStyle/>
          <a:p>
            <a:r>
              <a:rPr lang="en-US" sz="1400" i="1" dirty="0"/>
              <a:t>Strong growth </a:t>
            </a:r>
          </a:p>
        </p:txBody>
      </p:sp>
      <p:sp>
        <p:nvSpPr>
          <p:cNvPr id="162" name="Rectangle: Rounded Corners 161">
            <a:extLst>
              <a:ext uri="{FF2B5EF4-FFF2-40B4-BE49-F238E27FC236}">
                <a16:creationId xmlns:a16="http://schemas.microsoft.com/office/drawing/2014/main" id="{69692811-EC75-4A84-8C53-8C0C815A31BA}"/>
              </a:ext>
            </a:extLst>
          </p:cNvPr>
          <p:cNvSpPr/>
          <p:nvPr/>
        </p:nvSpPr>
        <p:spPr>
          <a:xfrm>
            <a:off x="7415902" y="3769482"/>
            <a:ext cx="2485873" cy="63807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3" name="Isosceles Triangle 162">
            <a:extLst>
              <a:ext uri="{FF2B5EF4-FFF2-40B4-BE49-F238E27FC236}">
                <a16:creationId xmlns:a16="http://schemas.microsoft.com/office/drawing/2014/main" id="{1E3CAB6F-826A-4B6F-95DD-F7D70EAA6CDA}"/>
              </a:ext>
            </a:extLst>
          </p:cNvPr>
          <p:cNvSpPr/>
          <p:nvPr/>
        </p:nvSpPr>
        <p:spPr>
          <a:xfrm rot="5400000">
            <a:off x="10003779" y="3949949"/>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4" name="TextBox 163">
            <a:extLst>
              <a:ext uri="{FF2B5EF4-FFF2-40B4-BE49-F238E27FC236}">
                <a16:creationId xmlns:a16="http://schemas.microsoft.com/office/drawing/2014/main" id="{A85842D9-F15D-4252-931B-DF65C1FA11F6}"/>
              </a:ext>
            </a:extLst>
          </p:cNvPr>
          <p:cNvSpPr txBox="1"/>
          <p:nvPr/>
        </p:nvSpPr>
        <p:spPr>
          <a:xfrm>
            <a:off x="10466722" y="3834034"/>
            <a:ext cx="1521735" cy="523220"/>
          </a:xfrm>
          <a:prstGeom prst="rect">
            <a:avLst/>
          </a:prstGeom>
          <a:noFill/>
        </p:spPr>
        <p:txBody>
          <a:bodyPr wrap="square" rtlCol="0">
            <a:spAutoFit/>
          </a:bodyPr>
          <a:lstStyle/>
          <a:p>
            <a:r>
              <a:rPr lang="en-US" sz="1400" i="1" dirty="0"/>
              <a:t>Growth champion</a:t>
            </a:r>
          </a:p>
        </p:txBody>
      </p:sp>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a:xfrm>
            <a:off x="227349" y="160527"/>
            <a:ext cx="8154652" cy="844589"/>
          </a:xfrm>
        </p:spPr>
        <p:txBody>
          <a:bodyPr/>
          <a:lstStyle/>
          <a:p>
            <a:r>
              <a:rPr lang="en-IN" sz="2200" dirty="0"/>
              <a:t>Bucking a decade-old trend, developed markets lead global wealth growth</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Chart numbers and quoted percentages may not add up due to rounding. </a:t>
            </a:r>
          </a:p>
          <a:p>
            <a:pPr marL="457211" indent="-457211" defTabSz="912836">
              <a:spcBef>
                <a:spcPct val="10000"/>
              </a:spcBef>
            </a:pPr>
            <a:r>
              <a:rPr lang="en-US" sz="800" dirty="0"/>
              <a:t>Source:	</a:t>
            </a:r>
            <a:r>
              <a:rPr lang="fr-FR" sz="800" dirty="0"/>
              <a:t>Capgemini Financial Services Analysis, 2020; </a:t>
            </a:r>
            <a:r>
              <a:rPr lang="fr-FR" sz="800" dirty="0">
                <a:hlinkClick r:id="rId8"/>
              </a:rPr>
              <a:t>https://www.world-exchanges.org/news/articles/world-federation-exchanges-releases-first-quarter-2020-full-year-2019-market-highlight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869769"/>
            <a:ext cx="9788089" cy="342476"/>
          </a:xfrm>
          <a:prstGeom prst="rect">
            <a:avLst/>
          </a:prstGeom>
          <a:noFill/>
        </p:spPr>
        <p:txBody>
          <a:bodyPr wrap="square" rtlCol="0">
            <a:noAutofit/>
          </a:bodyPr>
          <a:lstStyle/>
          <a:p>
            <a:pPr algn="ctr"/>
            <a:r>
              <a:rPr lang="en-US" sz="1600" b="1" i="1" dirty="0"/>
              <a:t>HNWI financial wealth, 2012–2019 (by region)</a:t>
            </a:r>
          </a:p>
        </p:txBody>
      </p:sp>
      <p:graphicFrame>
        <p:nvGraphicFramePr>
          <p:cNvPr id="57" name="Object 41"/>
          <p:cNvGraphicFramePr>
            <a:graphicFrameLocks noChangeAspect="1"/>
          </p:cNvGraphicFramePr>
          <p:nvPr>
            <p:extLst>
              <p:ext uri="{D42A27DB-BD31-4B8C-83A1-F6EECF244321}">
                <p14:modId xmlns:p14="http://schemas.microsoft.com/office/powerpoint/2010/main" val="1172503093"/>
              </p:ext>
            </p:extLst>
          </p:nvPr>
        </p:nvGraphicFramePr>
        <p:xfrm>
          <a:off x="675394" y="1870486"/>
          <a:ext cx="6867144" cy="3946888"/>
        </p:xfrm>
        <a:graphic>
          <a:graphicData uri="http://schemas.openxmlformats.org/drawingml/2006/chart">
            <c:chart xmlns:c="http://schemas.openxmlformats.org/drawingml/2006/chart" xmlns:r="http://schemas.openxmlformats.org/officeDocument/2006/relationships" r:id="rId9"/>
          </a:graphicData>
        </a:graphic>
      </p:graphicFrame>
      <p:sp>
        <p:nvSpPr>
          <p:cNvPr id="58" name="Text Box 36"/>
          <p:cNvSpPr txBox="1">
            <a:spLocks noChangeArrowheads="1"/>
          </p:cNvSpPr>
          <p:nvPr/>
        </p:nvSpPr>
        <p:spPr bwMode="gray">
          <a:xfrm>
            <a:off x="1282122" y="3068844"/>
            <a:ext cx="721772" cy="276999"/>
          </a:xfrm>
          <a:prstGeom prst="rect">
            <a:avLst/>
          </a:prstGeom>
          <a:noFill/>
          <a:ln w="19050">
            <a:noFill/>
            <a:miter lim="800000"/>
            <a:headEnd/>
            <a:tailEnd/>
          </a:ln>
        </p:spPr>
        <p:txBody>
          <a:bodyPr wrap="square">
            <a:spAutoFit/>
          </a:bodyPr>
          <a:lstStyle/>
          <a:p>
            <a:pPr algn="ctr" defTabSz="957780" eaLnBrk="0" hangingPunct="0"/>
            <a:r>
              <a:rPr lang="en-US" sz="1200" b="1" dirty="0"/>
              <a:t>46.2</a:t>
            </a:r>
          </a:p>
        </p:txBody>
      </p:sp>
      <p:sp>
        <p:nvSpPr>
          <p:cNvPr id="59" name="Text Box 36"/>
          <p:cNvSpPr txBox="1">
            <a:spLocks noChangeArrowheads="1"/>
          </p:cNvSpPr>
          <p:nvPr/>
        </p:nvSpPr>
        <p:spPr bwMode="gray">
          <a:xfrm>
            <a:off x="2020057" y="2813443"/>
            <a:ext cx="721772" cy="276999"/>
          </a:xfrm>
          <a:prstGeom prst="rect">
            <a:avLst/>
          </a:prstGeom>
          <a:noFill/>
          <a:ln w="19050">
            <a:noFill/>
            <a:miter lim="800000"/>
            <a:headEnd/>
            <a:tailEnd/>
          </a:ln>
        </p:spPr>
        <p:txBody>
          <a:bodyPr>
            <a:spAutoFit/>
          </a:bodyPr>
          <a:lstStyle/>
          <a:p>
            <a:pPr algn="ctr" defTabSz="957780" eaLnBrk="0" hangingPunct="0"/>
            <a:r>
              <a:rPr lang="en-US" sz="1200" b="1" dirty="0"/>
              <a:t>52.6</a:t>
            </a:r>
          </a:p>
        </p:txBody>
      </p:sp>
      <p:sp>
        <p:nvSpPr>
          <p:cNvPr id="60" name="Text Box 36"/>
          <p:cNvSpPr txBox="1">
            <a:spLocks noChangeArrowheads="1"/>
          </p:cNvSpPr>
          <p:nvPr/>
        </p:nvSpPr>
        <p:spPr bwMode="gray">
          <a:xfrm>
            <a:off x="2804182" y="2594623"/>
            <a:ext cx="721772" cy="276999"/>
          </a:xfrm>
          <a:prstGeom prst="rect">
            <a:avLst/>
          </a:prstGeom>
          <a:noFill/>
          <a:ln w="19050">
            <a:noFill/>
            <a:miter lim="800000"/>
            <a:headEnd/>
            <a:tailEnd/>
          </a:ln>
        </p:spPr>
        <p:txBody>
          <a:bodyPr>
            <a:spAutoFit/>
          </a:bodyPr>
          <a:lstStyle/>
          <a:p>
            <a:pPr algn="ctr" defTabSz="957780" eaLnBrk="0" hangingPunct="0"/>
            <a:r>
              <a:rPr lang="en-US" sz="1200" b="1" dirty="0"/>
              <a:t>56.4</a:t>
            </a:r>
          </a:p>
        </p:txBody>
      </p:sp>
      <p:sp>
        <p:nvSpPr>
          <p:cNvPr id="61" name="Text Box 36"/>
          <p:cNvSpPr txBox="1">
            <a:spLocks noChangeArrowheads="1"/>
          </p:cNvSpPr>
          <p:nvPr/>
        </p:nvSpPr>
        <p:spPr bwMode="gray">
          <a:xfrm>
            <a:off x="3588306" y="2469953"/>
            <a:ext cx="721772" cy="276999"/>
          </a:xfrm>
          <a:prstGeom prst="rect">
            <a:avLst/>
          </a:prstGeom>
          <a:noFill/>
          <a:ln w="19050">
            <a:noFill/>
            <a:miter lim="800000"/>
            <a:headEnd/>
            <a:tailEnd/>
          </a:ln>
        </p:spPr>
        <p:txBody>
          <a:bodyPr>
            <a:spAutoFit/>
          </a:bodyPr>
          <a:lstStyle/>
          <a:p>
            <a:pPr algn="ctr" defTabSz="957780" eaLnBrk="0" hangingPunct="0"/>
            <a:r>
              <a:rPr lang="en-US" sz="1200" b="1" dirty="0"/>
              <a:t>58.7</a:t>
            </a:r>
          </a:p>
        </p:txBody>
      </p:sp>
      <p:sp>
        <p:nvSpPr>
          <p:cNvPr id="62" name="Text Box 36"/>
          <p:cNvSpPr txBox="1">
            <a:spLocks noChangeArrowheads="1"/>
          </p:cNvSpPr>
          <p:nvPr/>
        </p:nvSpPr>
        <p:spPr bwMode="gray">
          <a:xfrm>
            <a:off x="4376366" y="2341046"/>
            <a:ext cx="721772" cy="276999"/>
          </a:xfrm>
          <a:prstGeom prst="rect">
            <a:avLst/>
          </a:prstGeom>
          <a:noFill/>
          <a:ln w="19050">
            <a:noFill/>
            <a:miter lim="800000"/>
            <a:headEnd/>
            <a:tailEnd/>
          </a:ln>
        </p:spPr>
        <p:txBody>
          <a:bodyPr>
            <a:spAutoFit/>
          </a:bodyPr>
          <a:lstStyle/>
          <a:p>
            <a:pPr algn="ctr" defTabSz="957780" eaLnBrk="0" hangingPunct="0"/>
            <a:r>
              <a:rPr lang="en-US" sz="1200" b="1" dirty="0"/>
              <a:t>63.5</a:t>
            </a:r>
          </a:p>
        </p:txBody>
      </p:sp>
      <p:sp>
        <p:nvSpPr>
          <p:cNvPr id="63" name="Text Box 36"/>
          <p:cNvSpPr txBox="1">
            <a:spLocks noChangeArrowheads="1"/>
          </p:cNvSpPr>
          <p:nvPr/>
        </p:nvSpPr>
        <p:spPr bwMode="gray">
          <a:xfrm>
            <a:off x="5154993" y="2076333"/>
            <a:ext cx="721772" cy="276999"/>
          </a:xfrm>
          <a:prstGeom prst="rect">
            <a:avLst/>
          </a:prstGeom>
          <a:noFill/>
          <a:ln w="19050">
            <a:noFill/>
            <a:miter lim="800000"/>
            <a:headEnd/>
            <a:tailEnd/>
          </a:ln>
        </p:spPr>
        <p:txBody>
          <a:bodyPr>
            <a:spAutoFit/>
          </a:bodyPr>
          <a:lstStyle/>
          <a:p>
            <a:pPr algn="ctr" defTabSz="957780" eaLnBrk="0" hangingPunct="0"/>
            <a:r>
              <a:rPr lang="en-US" sz="1200" b="1" dirty="0"/>
              <a:t>70.2</a:t>
            </a:r>
          </a:p>
        </p:txBody>
      </p:sp>
      <p:sp>
        <p:nvSpPr>
          <p:cNvPr id="64" name="Text Box 36"/>
          <p:cNvSpPr txBox="1">
            <a:spLocks noChangeArrowheads="1"/>
          </p:cNvSpPr>
          <p:nvPr/>
        </p:nvSpPr>
        <p:spPr bwMode="gray">
          <a:xfrm>
            <a:off x="5940682" y="2175168"/>
            <a:ext cx="721772" cy="276999"/>
          </a:xfrm>
          <a:prstGeom prst="rect">
            <a:avLst/>
          </a:prstGeom>
          <a:noFill/>
          <a:ln w="19050">
            <a:noFill/>
            <a:miter lim="800000"/>
            <a:headEnd/>
            <a:tailEnd/>
          </a:ln>
        </p:spPr>
        <p:txBody>
          <a:bodyPr>
            <a:spAutoFit/>
          </a:bodyPr>
          <a:lstStyle/>
          <a:p>
            <a:pPr algn="ctr" defTabSz="957780" eaLnBrk="0" hangingPunct="0"/>
            <a:r>
              <a:rPr lang="en-US" sz="1200" b="1" dirty="0"/>
              <a:t>68.1</a:t>
            </a:r>
          </a:p>
        </p:txBody>
      </p:sp>
      <p:cxnSp>
        <p:nvCxnSpPr>
          <p:cNvPr id="65" name="Straight Connector 64"/>
          <p:cNvCxnSpPr/>
          <p:nvPr/>
        </p:nvCxnSpPr>
        <p:spPr>
          <a:xfrm flipH="1" flipV="1">
            <a:off x="6768929" y="2962366"/>
            <a:ext cx="15226" cy="47918"/>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6" name="Text Box 29"/>
          <p:cNvSpPr txBox="1">
            <a:spLocks noChangeArrowheads="1"/>
          </p:cNvSpPr>
          <p:nvPr/>
        </p:nvSpPr>
        <p:spPr bwMode="gray">
          <a:xfrm>
            <a:off x="9100681" y="2754841"/>
            <a:ext cx="952500" cy="276999"/>
          </a:xfrm>
          <a:prstGeom prst="rect">
            <a:avLst/>
          </a:prstGeom>
          <a:noFill/>
          <a:ln w="19050">
            <a:noFill/>
            <a:miter lim="800000"/>
            <a:headEnd/>
            <a:tailEnd/>
          </a:ln>
        </p:spPr>
        <p:txBody>
          <a:bodyPr rIns="274320">
            <a:spAutoFit/>
          </a:bodyPr>
          <a:lstStyle/>
          <a:p>
            <a:pPr algn="r" defTabSz="957780" eaLnBrk="0" hangingPunct="0"/>
            <a:r>
              <a:rPr lang="en-US" sz="1200" dirty="0"/>
              <a:t>4.4%</a:t>
            </a:r>
          </a:p>
        </p:txBody>
      </p:sp>
      <p:sp>
        <p:nvSpPr>
          <p:cNvPr id="67" name="Text Box 27"/>
          <p:cNvSpPr txBox="1">
            <a:spLocks noChangeArrowheads="1"/>
          </p:cNvSpPr>
          <p:nvPr/>
        </p:nvSpPr>
        <p:spPr bwMode="gray">
          <a:xfrm>
            <a:off x="9100681" y="2406080"/>
            <a:ext cx="952500" cy="276999"/>
          </a:xfrm>
          <a:prstGeom prst="rect">
            <a:avLst/>
          </a:prstGeom>
          <a:noFill/>
          <a:ln w="19050">
            <a:noFill/>
            <a:miter lim="800000"/>
            <a:headEnd/>
            <a:tailEnd/>
          </a:ln>
        </p:spPr>
        <p:txBody>
          <a:bodyPr rIns="274320">
            <a:spAutoFit/>
          </a:bodyPr>
          <a:lstStyle/>
          <a:p>
            <a:pPr algn="r" defTabSz="957780" eaLnBrk="0" hangingPunct="0"/>
            <a:r>
              <a:rPr lang="en-US" sz="1200" dirty="0"/>
              <a:t>10.2%</a:t>
            </a:r>
          </a:p>
        </p:txBody>
      </p:sp>
      <p:sp>
        <p:nvSpPr>
          <p:cNvPr id="68" name="Text Box 24"/>
          <p:cNvSpPr txBox="1">
            <a:spLocks noChangeArrowheads="1"/>
          </p:cNvSpPr>
          <p:nvPr/>
        </p:nvSpPr>
        <p:spPr bwMode="gray">
          <a:xfrm>
            <a:off x="9100681" y="5016845"/>
            <a:ext cx="952500" cy="276999"/>
          </a:xfrm>
          <a:prstGeom prst="rect">
            <a:avLst/>
          </a:prstGeom>
          <a:noFill/>
          <a:ln w="19050">
            <a:noFill/>
            <a:miter lim="800000"/>
            <a:headEnd/>
            <a:tailEnd/>
          </a:ln>
        </p:spPr>
        <p:txBody>
          <a:bodyPr rIns="274320">
            <a:spAutoFit/>
          </a:bodyPr>
          <a:lstStyle/>
          <a:p>
            <a:pPr algn="r" defTabSz="957780" eaLnBrk="0" hangingPunct="0"/>
            <a:r>
              <a:rPr lang="en-US" sz="1200" dirty="0"/>
              <a:t>7.9%</a:t>
            </a:r>
          </a:p>
        </p:txBody>
      </p:sp>
      <p:sp>
        <p:nvSpPr>
          <p:cNvPr id="69" name="Text Box 11"/>
          <p:cNvSpPr txBox="1">
            <a:spLocks noChangeArrowheads="1"/>
          </p:cNvSpPr>
          <p:nvPr/>
        </p:nvSpPr>
        <p:spPr bwMode="gray">
          <a:xfrm>
            <a:off x="7752715" y="3135841"/>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b="1" dirty="0"/>
              <a:t>Europe</a:t>
            </a:r>
          </a:p>
        </p:txBody>
      </p:sp>
      <p:sp>
        <p:nvSpPr>
          <p:cNvPr id="70" name="Text Box 12"/>
          <p:cNvSpPr txBox="1">
            <a:spLocks noChangeArrowheads="1"/>
          </p:cNvSpPr>
          <p:nvPr/>
        </p:nvSpPr>
        <p:spPr bwMode="gray">
          <a:xfrm>
            <a:off x="7752715" y="4020284"/>
            <a:ext cx="1633409"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b="1" dirty="0"/>
              <a:t>North America</a:t>
            </a:r>
          </a:p>
        </p:txBody>
      </p:sp>
      <p:sp>
        <p:nvSpPr>
          <p:cNvPr id="71" name="Text Box 13"/>
          <p:cNvSpPr txBox="1">
            <a:spLocks noChangeArrowheads="1"/>
          </p:cNvSpPr>
          <p:nvPr/>
        </p:nvSpPr>
        <p:spPr bwMode="gray">
          <a:xfrm>
            <a:off x="7752715" y="501684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sia-Pacific</a:t>
            </a:r>
          </a:p>
        </p:txBody>
      </p:sp>
      <p:sp>
        <p:nvSpPr>
          <p:cNvPr id="72" name="Text Box 14"/>
          <p:cNvSpPr txBox="1">
            <a:spLocks noChangeArrowheads="1"/>
          </p:cNvSpPr>
          <p:nvPr/>
        </p:nvSpPr>
        <p:spPr bwMode="gray">
          <a:xfrm>
            <a:off x="7752715" y="2754841"/>
            <a:ext cx="1328609"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dirty="0"/>
              <a:t>Latin America</a:t>
            </a:r>
          </a:p>
        </p:txBody>
      </p:sp>
      <p:sp>
        <p:nvSpPr>
          <p:cNvPr id="73" name="Text Box 15"/>
          <p:cNvSpPr txBox="1">
            <a:spLocks noChangeArrowheads="1"/>
          </p:cNvSpPr>
          <p:nvPr/>
        </p:nvSpPr>
        <p:spPr bwMode="gray">
          <a:xfrm>
            <a:off x="7752715" y="2406080"/>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Middle East</a:t>
            </a:r>
          </a:p>
        </p:txBody>
      </p:sp>
      <p:sp>
        <p:nvSpPr>
          <p:cNvPr id="74" name="Text Box 16"/>
          <p:cNvSpPr txBox="1">
            <a:spLocks noChangeArrowheads="1"/>
          </p:cNvSpPr>
          <p:nvPr/>
        </p:nvSpPr>
        <p:spPr bwMode="gray">
          <a:xfrm>
            <a:off x="7752715" y="2140529"/>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frica</a:t>
            </a:r>
          </a:p>
        </p:txBody>
      </p:sp>
      <p:sp>
        <p:nvSpPr>
          <p:cNvPr id="75" name="Text Box 24"/>
          <p:cNvSpPr txBox="1">
            <a:spLocks noChangeArrowheads="1"/>
          </p:cNvSpPr>
          <p:nvPr/>
        </p:nvSpPr>
        <p:spPr bwMode="gray">
          <a:xfrm>
            <a:off x="9100681" y="4012141"/>
            <a:ext cx="952500" cy="276999"/>
          </a:xfrm>
          <a:prstGeom prst="rect">
            <a:avLst/>
          </a:prstGeom>
          <a:noFill/>
          <a:ln w="19050">
            <a:noFill/>
            <a:miter lim="800000"/>
            <a:headEnd/>
            <a:tailEnd/>
          </a:ln>
        </p:spPr>
        <p:txBody>
          <a:bodyPr rIns="274320">
            <a:spAutoFit/>
          </a:bodyPr>
          <a:lstStyle/>
          <a:p>
            <a:pPr algn="r" defTabSz="957780" eaLnBrk="0" hangingPunct="0"/>
            <a:r>
              <a:rPr lang="en-US" sz="1200" b="1" dirty="0"/>
              <a:t>11.0%</a:t>
            </a:r>
          </a:p>
        </p:txBody>
      </p:sp>
      <p:sp>
        <p:nvSpPr>
          <p:cNvPr id="76" name="Text Box 26"/>
          <p:cNvSpPr txBox="1">
            <a:spLocks noChangeArrowheads="1"/>
          </p:cNvSpPr>
          <p:nvPr/>
        </p:nvSpPr>
        <p:spPr bwMode="gray">
          <a:xfrm>
            <a:off x="9100681" y="3135841"/>
            <a:ext cx="952500" cy="276999"/>
          </a:xfrm>
          <a:prstGeom prst="rect">
            <a:avLst/>
          </a:prstGeom>
          <a:noFill/>
          <a:ln w="19050">
            <a:noFill/>
            <a:miter lim="800000"/>
            <a:headEnd/>
            <a:tailEnd/>
          </a:ln>
        </p:spPr>
        <p:txBody>
          <a:bodyPr rIns="274320">
            <a:spAutoFit/>
          </a:bodyPr>
          <a:lstStyle/>
          <a:p>
            <a:pPr algn="r" defTabSz="957780" eaLnBrk="0" hangingPunct="0"/>
            <a:r>
              <a:rPr lang="en-US" sz="1200" b="1" dirty="0"/>
              <a:t>8.8%</a:t>
            </a:r>
          </a:p>
        </p:txBody>
      </p:sp>
      <p:sp>
        <p:nvSpPr>
          <p:cNvPr id="77" name="Text Box 28"/>
          <p:cNvSpPr txBox="1">
            <a:spLocks noChangeArrowheads="1"/>
          </p:cNvSpPr>
          <p:nvPr/>
        </p:nvSpPr>
        <p:spPr bwMode="gray">
          <a:xfrm>
            <a:off x="9091445" y="2140529"/>
            <a:ext cx="952500" cy="276999"/>
          </a:xfrm>
          <a:prstGeom prst="rect">
            <a:avLst/>
          </a:prstGeom>
          <a:noFill/>
          <a:ln w="19050">
            <a:noFill/>
            <a:miter lim="800000"/>
            <a:headEnd/>
            <a:tailEnd/>
          </a:ln>
        </p:spPr>
        <p:txBody>
          <a:bodyPr rIns="274320">
            <a:spAutoFit/>
          </a:bodyPr>
          <a:lstStyle/>
          <a:p>
            <a:pPr algn="r" defTabSz="957780" eaLnBrk="0" hangingPunct="0"/>
            <a:r>
              <a:rPr lang="en-US" sz="1200" dirty="0"/>
              <a:t>6.5%</a:t>
            </a:r>
          </a:p>
        </p:txBody>
      </p:sp>
      <p:cxnSp>
        <p:nvCxnSpPr>
          <p:cNvPr id="78" name="Straight Connector 77"/>
          <p:cNvCxnSpPr>
            <a:cxnSpLocks/>
          </p:cNvCxnSpPr>
          <p:nvPr/>
        </p:nvCxnSpPr>
        <p:spPr>
          <a:xfrm flipH="1">
            <a:off x="7335909" y="2291318"/>
            <a:ext cx="446723" cy="17918"/>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flipH="1" flipV="1">
            <a:off x="7350353" y="2431653"/>
            <a:ext cx="446723" cy="85453"/>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81" name="Text Box 36">
            <a:extLst>
              <a:ext uri="{FF2B5EF4-FFF2-40B4-BE49-F238E27FC236}">
                <a16:creationId xmlns:a16="http://schemas.microsoft.com/office/drawing/2014/main" id="{3FFDE3D5-3089-47FD-8929-AD789DB1DA74}"/>
              </a:ext>
            </a:extLst>
          </p:cNvPr>
          <p:cNvSpPr txBox="1">
            <a:spLocks noChangeArrowheads="1"/>
          </p:cNvSpPr>
          <p:nvPr/>
        </p:nvSpPr>
        <p:spPr bwMode="gray">
          <a:xfrm>
            <a:off x="6726371" y="1907380"/>
            <a:ext cx="721772" cy="276999"/>
          </a:xfrm>
          <a:prstGeom prst="rect">
            <a:avLst/>
          </a:prstGeom>
          <a:noFill/>
          <a:ln w="19050">
            <a:noFill/>
            <a:miter lim="800000"/>
            <a:headEnd/>
            <a:tailEnd/>
          </a:ln>
        </p:spPr>
        <p:txBody>
          <a:bodyPr>
            <a:spAutoFit/>
          </a:bodyPr>
          <a:lstStyle/>
          <a:p>
            <a:pPr algn="ctr" defTabSz="957780" eaLnBrk="0" hangingPunct="0"/>
            <a:r>
              <a:rPr lang="en-US" sz="1200" b="1" dirty="0"/>
              <a:t>74.0</a:t>
            </a:r>
          </a:p>
        </p:txBody>
      </p:sp>
      <p:cxnSp>
        <p:nvCxnSpPr>
          <p:cNvPr id="82" name="Straight Connector 81">
            <a:extLst>
              <a:ext uri="{FF2B5EF4-FFF2-40B4-BE49-F238E27FC236}">
                <a16:creationId xmlns:a16="http://schemas.microsoft.com/office/drawing/2014/main" id="{48643873-D67A-41A8-8270-2FEE3A4CF42C}"/>
              </a:ext>
            </a:extLst>
          </p:cNvPr>
          <p:cNvCxnSpPr>
            <a:cxnSpLocks/>
          </p:cNvCxnSpPr>
          <p:nvPr/>
        </p:nvCxnSpPr>
        <p:spPr>
          <a:xfrm>
            <a:off x="7332570" y="2715916"/>
            <a:ext cx="475612" cy="117669"/>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83" name="Text Box 28"/>
          <p:cNvSpPr txBox="1">
            <a:spLocks noChangeArrowheads="1"/>
          </p:cNvSpPr>
          <p:nvPr/>
        </p:nvSpPr>
        <p:spPr bwMode="gray">
          <a:xfrm>
            <a:off x="2081726" y="1449749"/>
            <a:ext cx="2788595"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CAGR 2012–2018: </a:t>
            </a:r>
            <a:r>
              <a:rPr lang="en-US" sz="1200" b="1" dirty="0">
                <a:solidFill>
                  <a:srgbClr val="00B050"/>
                </a:solidFill>
              </a:rPr>
              <a:t>6.7%</a:t>
            </a:r>
          </a:p>
        </p:txBody>
      </p:sp>
      <p:sp>
        <p:nvSpPr>
          <p:cNvPr id="84" name="Text Box 28"/>
          <p:cNvSpPr txBox="1">
            <a:spLocks noChangeArrowheads="1"/>
          </p:cNvSpPr>
          <p:nvPr/>
        </p:nvSpPr>
        <p:spPr bwMode="gray">
          <a:xfrm>
            <a:off x="5467102" y="1449749"/>
            <a:ext cx="3317471"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Annual growth 2018–2019: </a:t>
            </a:r>
            <a:r>
              <a:rPr lang="en-US" sz="1200" b="1" dirty="0">
                <a:solidFill>
                  <a:srgbClr val="00B050"/>
                </a:solidFill>
              </a:rPr>
              <a:t>8.6%</a:t>
            </a:r>
          </a:p>
        </p:txBody>
      </p:sp>
      <p:sp>
        <p:nvSpPr>
          <p:cNvPr id="85" name="Text Box 28"/>
          <p:cNvSpPr txBox="1">
            <a:spLocks noChangeArrowheads="1"/>
          </p:cNvSpPr>
          <p:nvPr/>
        </p:nvSpPr>
        <p:spPr bwMode="gray">
          <a:xfrm>
            <a:off x="7641332" y="1787373"/>
            <a:ext cx="2535688" cy="461665"/>
          </a:xfrm>
          <a:prstGeom prst="rect">
            <a:avLst/>
          </a:prstGeom>
          <a:noFill/>
          <a:ln w="19050">
            <a:noFill/>
            <a:miter lim="800000"/>
            <a:headEnd/>
            <a:tailEnd/>
          </a:ln>
        </p:spPr>
        <p:txBody>
          <a:bodyPr wrap="square" rIns="274320">
            <a:spAutoFit/>
          </a:bodyPr>
          <a:lstStyle/>
          <a:p>
            <a:pPr algn="r" defTabSz="957780" eaLnBrk="0" hangingPunct="0"/>
            <a:r>
              <a:rPr lang="en-US" sz="1200" b="1" dirty="0"/>
              <a:t>% change </a:t>
            </a:r>
          </a:p>
          <a:p>
            <a:pPr algn="r" defTabSz="957780" eaLnBrk="0" hangingPunct="0"/>
            <a:r>
              <a:rPr lang="en-US" sz="1200" b="1" dirty="0"/>
              <a:t>2018-19</a:t>
            </a:r>
          </a:p>
        </p:txBody>
      </p:sp>
      <p:sp>
        <p:nvSpPr>
          <p:cNvPr id="86" name="TextBox 85"/>
          <p:cNvSpPr txBox="1"/>
          <p:nvPr/>
        </p:nvSpPr>
        <p:spPr>
          <a:xfrm rot="16200000">
            <a:off x="-584482" y="3611072"/>
            <a:ext cx="2665882" cy="246221"/>
          </a:xfrm>
          <a:prstGeom prst="rect">
            <a:avLst/>
          </a:prstGeom>
          <a:noFill/>
        </p:spPr>
        <p:txBody>
          <a:bodyPr wrap="square" rtlCol="0">
            <a:spAutoFit/>
          </a:bodyPr>
          <a:lstStyle/>
          <a:p>
            <a:pPr algn="ctr"/>
            <a:r>
              <a:rPr lang="en-US" sz="1000" dirty="0"/>
              <a:t>HNWI financial wealth (USD trillions)</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Will the financial markets prove more resilient than the economy in 2020 as well?</a:t>
            </a:r>
          </a:p>
        </p:txBody>
      </p:sp>
      <p:grpSp>
        <p:nvGrpSpPr>
          <p:cNvPr id="39" name="Group 38">
            <a:extLst>
              <a:ext uri="{FF2B5EF4-FFF2-40B4-BE49-F238E27FC236}">
                <a16:creationId xmlns:a16="http://schemas.microsoft.com/office/drawing/2014/main" id="{E8E165E4-95A8-4B01-894C-AF9473949D06}"/>
              </a:ext>
            </a:extLst>
          </p:cNvPr>
          <p:cNvGrpSpPr/>
          <p:nvPr/>
        </p:nvGrpSpPr>
        <p:grpSpPr>
          <a:xfrm>
            <a:off x="9034432" y="122400"/>
            <a:ext cx="537780" cy="533532"/>
            <a:chOff x="411163" y="2006600"/>
            <a:chExt cx="3617913" cy="3589337"/>
          </a:xfrm>
          <a:solidFill>
            <a:schemeClr val="bg1">
              <a:lumMod val="75000"/>
            </a:schemeClr>
          </a:solidFill>
        </p:grpSpPr>
        <p:sp>
          <p:nvSpPr>
            <p:cNvPr id="40" name="Freeform 5">
              <a:extLst>
                <a:ext uri="{FF2B5EF4-FFF2-40B4-BE49-F238E27FC236}">
                  <a16:creationId xmlns:a16="http://schemas.microsoft.com/office/drawing/2014/main" id="{82C1F9BA-8072-455F-91A5-26ADCB0F736F}"/>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2" name="Oval 6">
              <a:extLst>
                <a:ext uri="{FF2B5EF4-FFF2-40B4-BE49-F238E27FC236}">
                  <a16:creationId xmlns:a16="http://schemas.microsoft.com/office/drawing/2014/main" id="{34DB2D27-E5B9-4FDB-AC87-EB813D159DD4}"/>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4" name="Freeform 7">
              <a:extLst>
                <a:ext uri="{FF2B5EF4-FFF2-40B4-BE49-F238E27FC236}">
                  <a16:creationId xmlns:a16="http://schemas.microsoft.com/office/drawing/2014/main" id="{BC4334CC-D05F-42F9-99CE-8151E40189AB}"/>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6" name="Freeform 8">
              <a:extLst>
                <a:ext uri="{FF2B5EF4-FFF2-40B4-BE49-F238E27FC236}">
                  <a16:creationId xmlns:a16="http://schemas.microsoft.com/office/drawing/2014/main" id="{10F63554-1A3E-4911-8BBC-C9E6E80FBDD3}"/>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7" name="Freeform 9">
              <a:extLst>
                <a:ext uri="{FF2B5EF4-FFF2-40B4-BE49-F238E27FC236}">
                  <a16:creationId xmlns:a16="http://schemas.microsoft.com/office/drawing/2014/main" id="{8B43D3F4-4238-42B5-B352-8650EE9891EA}"/>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48" name="Group 47">
            <a:extLst>
              <a:ext uri="{FF2B5EF4-FFF2-40B4-BE49-F238E27FC236}">
                <a16:creationId xmlns:a16="http://schemas.microsoft.com/office/drawing/2014/main" id="{29DD7DCF-3C1E-4B16-BB89-D9A4A5013ABD}"/>
              </a:ext>
            </a:extLst>
          </p:cNvPr>
          <p:cNvGrpSpPr/>
          <p:nvPr/>
        </p:nvGrpSpPr>
        <p:grpSpPr>
          <a:xfrm>
            <a:off x="9622537" y="85117"/>
            <a:ext cx="559961" cy="608099"/>
            <a:chOff x="9622537" y="85117"/>
            <a:chExt cx="559961" cy="608099"/>
          </a:xfrm>
        </p:grpSpPr>
        <p:sp>
          <p:nvSpPr>
            <p:cNvPr id="49" name="Freeform 10">
              <a:extLst>
                <a:ext uri="{FF2B5EF4-FFF2-40B4-BE49-F238E27FC236}">
                  <a16:creationId xmlns:a16="http://schemas.microsoft.com/office/drawing/2014/main" id="{C296E79F-45BD-44E1-B6CC-68F6A0C1104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1">
              <a:extLst>
                <a:ext uri="{FF2B5EF4-FFF2-40B4-BE49-F238E27FC236}">
                  <a16:creationId xmlns:a16="http://schemas.microsoft.com/office/drawing/2014/main" id="{CE3C7AB6-77A7-4B01-9BA4-142E1C977B35}"/>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2">
              <a:extLst>
                <a:ext uri="{FF2B5EF4-FFF2-40B4-BE49-F238E27FC236}">
                  <a16:creationId xmlns:a16="http://schemas.microsoft.com/office/drawing/2014/main" id="{A475F869-BA08-41DE-8549-6F36AE9AEFF1}"/>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13">
              <a:extLst>
                <a:ext uri="{FF2B5EF4-FFF2-40B4-BE49-F238E27FC236}">
                  <a16:creationId xmlns:a16="http://schemas.microsoft.com/office/drawing/2014/main" id="{A40B9148-A4BD-4EA0-9373-AC7BA38EAD64}"/>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4">
              <a:extLst>
                <a:ext uri="{FF2B5EF4-FFF2-40B4-BE49-F238E27FC236}">
                  <a16:creationId xmlns:a16="http://schemas.microsoft.com/office/drawing/2014/main" id="{8D855192-09E0-4875-ACFA-57C1F21491A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BFE7F138-E58B-455A-A66F-1FACD4B2403E}"/>
              </a:ext>
            </a:extLst>
          </p:cNvPr>
          <p:cNvGrpSpPr/>
          <p:nvPr/>
        </p:nvGrpSpPr>
        <p:grpSpPr>
          <a:xfrm>
            <a:off x="10232823" y="122400"/>
            <a:ext cx="537308" cy="533532"/>
            <a:chOff x="8169276" y="2006600"/>
            <a:chExt cx="3614737" cy="3589337"/>
          </a:xfrm>
          <a:solidFill>
            <a:schemeClr val="bg1">
              <a:lumMod val="75000"/>
            </a:schemeClr>
          </a:solidFill>
        </p:grpSpPr>
        <p:sp>
          <p:nvSpPr>
            <p:cNvPr id="56" name="Freeform 18">
              <a:extLst>
                <a:ext uri="{FF2B5EF4-FFF2-40B4-BE49-F238E27FC236}">
                  <a16:creationId xmlns:a16="http://schemas.microsoft.com/office/drawing/2014/main" id="{220B832C-D839-4EF9-A785-63F7EE826021}"/>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15">
              <a:extLst>
                <a:ext uri="{FF2B5EF4-FFF2-40B4-BE49-F238E27FC236}">
                  <a16:creationId xmlns:a16="http://schemas.microsoft.com/office/drawing/2014/main" id="{16408E8E-2E28-441B-AD9D-47B8EEF1D47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16">
              <a:extLst>
                <a:ext uri="{FF2B5EF4-FFF2-40B4-BE49-F238E27FC236}">
                  <a16:creationId xmlns:a16="http://schemas.microsoft.com/office/drawing/2014/main" id="{387ED486-A2EE-4785-8B4F-52EF75DCCFA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17">
              <a:extLst>
                <a:ext uri="{FF2B5EF4-FFF2-40B4-BE49-F238E27FC236}">
                  <a16:creationId xmlns:a16="http://schemas.microsoft.com/office/drawing/2014/main" id="{17EEF08D-4155-4906-8635-33703E2B7A8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19">
              <a:extLst>
                <a:ext uri="{FF2B5EF4-FFF2-40B4-BE49-F238E27FC236}">
                  <a16:creationId xmlns:a16="http://schemas.microsoft.com/office/drawing/2014/main" id="{CD3BC057-CEB9-416B-9EE9-48EF2538EAA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90" name="Freeform 332">
            <a:extLst>
              <a:ext uri="{FF2B5EF4-FFF2-40B4-BE49-F238E27FC236}">
                <a16:creationId xmlns:a16="http://schemas.microsoft.com/office/drawing/2014/main" id="{A033152C-3871-429E-9913-89D92AE6DDAF}"/>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89942F0D-FC90-42EB-8D7D-561692E697C2}"/>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92" name="Freeform 46">
              <a:extLst>
                <a:ext uri="{FF2B5EF4-FFF2-40B4-BE49-F238E27FC236}">
                  <a16:creationId xmlns:a16="http://schemas.microsoft.com/office/drawing/2014/main" id="{91D134F3-B7EE-44C1-843D-9BD7637F5E51}"/>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7">
              <a:extLst>
                <a:ext uri="{FF2B5EF4-FFF2-40B4-BE49-F238E27FC236}">
                  <a16:creationId xmlns:a16="http://schemas.microsoft.com/office/drawing/2014/main" id="{EB8CAFAC-9098-4463-8C44-42FBF59AFDE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8">
              <a:extLst>
                <a:ext uri="{FF2B5EF4-FFF2-40B4-BE49-F238E27FC236}">
                  <a16:creationId xmlns:a16="http://schemas.microsoft.com/office/drawing/2014/main" id="{94B927DB-1919-469C-9D5F-F9B170D1A21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9">
              <a:extLst>
                <a:ext uri="{FF2B5EF4-FFF2-40B4-BE49-F238E27FC236}">
                  <a16:creationId xmlns:a16="http://schemas.microsoft.com/office/drawing/2014/main" id="{2CB88026-F73F-46F3-BE8B-6DEF41E94F24}"/>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0">
              <a:extLst>
                <a:ext uri="{FF2B5EF4-FFF2-40B4-BE49-F238E27FC236}">
                  <a16:creationId xmlns:a16="http://schemas.microsoft.com/office/drawing/2014/main" id="{43E8E364-62AD-480A-A304-AEE4D66C1771}"/>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1">
              <a:extLst>
                <a:ext uri="{FF2B5EF4-FFF2-40B4-BE49-F238E27FC236}">
                  <a16:creationId xmlns:a16="http://schemas.microsoft.com/office/drawing/2014/main" id="{BEEC5A8C-F63C-442D-B621-4C4D8479FC0A}"/>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e 825">
            <a:extLst>
              <a:ext uri="{FF2B5EF4-FFF2-40B4-BE49-F238E27FC236}">
                <a16:creationId xmlns:a16="http://schemas.microsoft.com/office/drawing/2014/main" id="{F1529551-AAC8-4AC3-AADA-C32A844A4786}"/>
              </a:ext>
            </a:extLst>
          </p:cNvPr>
          <p:cNvGrpSpPr/>
          <p:nvPr/>
        </p:nvGrpSpPr>
        <p:grpSpPr>
          <a:xfrm>
            <a:off x="9138494" y="248487"/>
            <a:ext cx="337206" cy="317707"/>
            <a:chOff x="6500813" y="736601"/>
            <a:chExt cx="538163" cy="581025"/>
          </a:xfrm>
        </p:grpSpPr>
        <p:sp>
          <p:nvSpPr>
            <p:cNvPr id="99" name="Freeform 37">
              <a:extLst>
                <a:ext uri="{FF2B5EF4-FFF2-40B4-BE49-F238E27FC236}">
                  <a16:creationId xmlns:a16="http://schemas.microsoft.com/office/drawing/2014/main" id="{65A5F29B-269A-4B9A-AF25-3F9BC7B15047}"/>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38">
              <a:extLst>
                <a:ext uri="{FF2B5EF4-FFF2-40B4-BE49-F238E27FC236}">
                  <a16:creationId xmlns:a16="http://schemas.microsoft.com/office/drawing/2014/main" id="{BBD93E73-39F5-4B3F-A44B-C0FA14F1785B}"/>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39">
              <a:extLst>
                <a:ext uri="{FF2B5EF4-FFF2-40B4-BE49-F238E27FC236}">
                  <a16:creationId xmlns:a16="http://schemas.microsoft.com/office/drawing/2014/main" id="{97165CB9-3F82-491D-BF39-9F71A49867EC}"/>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40">
              <a:extLst>
                <a:ext uri="{FF2B5EF4-FFF2-40B4-BE49-F238E27FC236}">
                  <a16:creationId xmlns:a16="http://schemas.microsoft.com/office/drawing/2014/main" id="{68049831-94E4-4F6E-90E0-ED3FB4BD3C01}"/>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41">
              <a:extLst>
                <a:ext uri="{FF2B5EF4-FFF2-40B4-BE49-F238E27FC236}">
                  <a16:creationId xmlns:a16="http://schemas.microsoft.com/office/drawing/2014/main" id="{9F516C84-0785-4A36-82C5-B858433AC4C7}"/>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42">
              <a:extLst>
                <a:ext uri="{FF2B5EF4-FFF2-40B4-BE49-F238E27FC236}">
                  <a16:creationId xmlns:a16="http://schemas.microsoft.com/office/drawing/2014/main" id="{54CFA872-568C-48AB-A062-4B3705506BC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43">
              <a:extLst>
                <a:ext uri="{FF2B5EF4-FFF2-40B4-BE49-F238E27FC236}">
                  <a16:creationId xmlns:a16="http://schemas.microsoft.com/office/drawing/2014/main" id="{AFF1BA34-106F-463B-BC33-A12A00D0671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44">
              <a:extLst>
                <a:ext uri="{FF2B5EF4-FFF2-40B4-BE49-F238E27FC236}">
                  <a16:creationId xmlns:a16="http://schemas.microsoft.com/office/drawing/2014/main" id="{0F3BF08A-BE3C-4170-917C-002955885EA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5">
              <a:extLst>
                <a:ext uri="{FF2B5EF4-FFF2-40B4-BE49-F238E27FC236}">
                  <a16:creationId xmlns:a16="http://schemas.microsoft.com/office/drawing/2014/main" id="{EF5FF6BE-E23F-4942-B157-4584EE417E3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46">
              <a:extLst>
                <a:ext uri="{FF2B5EF4-FFF2-40B4-BE49-F238E27FC236}">
                  <a16:creationId xmlns:a16="http://schemas.microsoft.com/office/drawing/2014/main" id="{1F8D2892-0ED4-48F7-A4F0-366E9CAE4595}"/>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47">
              <a:extLst>
                <a:ext uri="{FF2B5EF4-FFF2-40B4-BE49-F238E27FC236}">
                  <a16:creationId xmlns:a16="http://schemas.microsoft.com/office/drawing/2014/main" id="{D67479B3-5F44-477F-96D1-7E7EB1F8712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48">
              <a:extLst>
                <a:ext uri="{FF2B5EF4-FFF2-40B4-BE49-F238E27FC236}">
                  <a16:creationId xmlns:a16="http://schemas.microsoft.com/office/drawing/2014/main" id="{66C9CB98-650B-47C4-84A8-39B85299AFB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49">
              <a:extLst>
                <a:ext uri="{FF2B5EF4-FFF2-40B4-BE49-F238E27FC236}">
                  <a16:creationId xmlns:a16="http://schemas.microsoft.com/office/drawing/2014/main" id="{FC6365DF-457C-4236-8BC3-96979F72EAF4}"/>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50">
              <a:extLst>
                <a:ext uri="{FF2B5EF4-FFF2-40B4-BE49-F238E27FC236}">
                  <a16:creationId xmlns:a16="http://schemas.microsoft.com/office/drawing/2014/main" id="{CF003B36-D056-442F-A0D3-8481BEE62768}"/>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51">
              <a:extLst>
                <a:ext uri="{FF2B5EF4-FFF2-40B4-BE49-F238E27FC236}">
                  <a16:creationId xmlns:a16="http://schemas.microsoft.com/office/drawing/2014/main" id="{9A56A6C6-00E5-4627-9BC6-498E77FABA49}"/>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52">
              <a:extLst>
                <a:ext uri="{FF2B5EF4-FFF2-40B4-BE49-F238E27FC236}">
                  <a16:creationId xmlns:a16="http://schemas.microsoft.com/office/drawing/2014/main" id="{667B5CE9-96D3-409C-B2BF-D0E39F8180E8}"/>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53">
              <a:extLst>
                <a:ext uri="{FF2B5EF4-FFF2-40B4-BE49-F238E27FC236}">
                  <a16:creationId xmlns:a16="http://schemas.microsoft.com/office/drawing/2014/main" id="{D1ECD08A-8852-4C07-8A1D-0E41DD877220}"/>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54">
              <a:extLst>
                <a:ext uri="{FF2B5EF4-FFF2-40B4-BE49-F238E27FC236}">
                  <a16:creationId xmlns:a16="http://schemas.microsoft.com/office/drawing/2014/main" id="{645AA08F-6D5F-4BE6-AA9B-4A3A6695140F}"/>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55">
              <a:extLst>
                <a:ext uri="{FF2B5EF4-FFF2-40B4-BE49-F238E27FC236}">
                  <a16:creationId xmlns:a16="http://schemas.microsoft.com/office/drawing/2014/main" id="{8FBC09FF-6D94-4F92-89F2-B7152A1E8F2B}"/>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56">
              <a:extLst>
                <a:ext uri="{FF2B5EF4-FFF2-40B4-BE49-F238E27FC236}">
                  <a16:creationId xmlns:a16="http://schemas.microsoft.com/office/drawing/2014/main" id="{B38C8246-7AA7-470F-B0C8-22E8DF9774B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57">
              <a:extLst>
                <a:ext uri="{FF2B5EF4-FFF2-40B4-BE49-F238E27FC236}">
                  <a16:creationId xmlns:a16="http://schemas.microsoft.com/office/drawing/2014/main" id="{077BDAAA-AA2F-459D-A6A4-225DD04CBE7E}"/>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58">
              <a:extLst>
                <a:ext uri="{FF2B5EF4-FFF2-40B4-BE49-F238E27FC236}">
                  <a16:creationId xmlns:a16="http://schemas.microsoft.com/office/drawing/2014/main" id="{2D40D617-6B67-49DB-B723-716AA6BD5406}"/>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59">
              <a:extLst>
                <a:ext uri="{FF2B5EF4-FFF2-40B4-BE49-F238E27FC236}">
                  <a16:creationId xmlns:a16="http://schemas.microsoft.com/office/drawing/2014/main" id="{EDC0F88C-F74F-4B93-85BB-21B4A34FD85D}"/>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60">
              <a:extLst>
                <a:ext uri="{FF2B5EF4-FFF2-40B4-BE49-F238E27FC236}">
                  <a16:creationId xmlns:a16="http://schemas.microsoft.com/office/drawing/2014/main" id="{B51623C2-F0A9-44A5-9A20-866E965532B4}"/>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61">
              <a:extLst>
                <a:ext uri="{FF2B5EF4-FFF2-40B4-BE49-F238E27FC236}">
                  <a16:creationId xmlns:a16="http://schemas.microsoft.com/office/drawing/2014/main" id="{00B2503C-C015-4734-A8AC-35345BA10D4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62">
              <a:extLst>
                <a:ext uri="{FF2B5EF4-FFF2-40B4-BE49-F238E27FC236}">
                  <a16:creationId xmlns:a16="http://schemas.microsoft.com/office/drawing/2014/main" id="{CA0A6C12-FA12-4EBE-8DF4-E98044000E20}"/>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63">
              <a:extLst>
                <a:ext uri="{FF2B5EF4-FFF2-40B4-BE49-F238E27FC236}">
                  <a16:creationId xmlns:a16="http://schemas.microsoft.com/office/drawing/2014/main" id="{10EA5305-F1B0-47A9-879A-2937974ED3EC}"/>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64">
              <a:extLst>
                <a:ext uri="{FF2B5EF4-FFF2-40B4-BE49-F238E27FC236}">
                  <a16:creationId xmlns:a16="http://schemas.microsoft.com/office/drawing/2014/main" id="{22F71B70-70F1-494F-AE21-D9F0553087B3}"/>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65">
              <a:extLst>
                <a:ext uri="{FF2B5EF4-FFF2-40B4-BE49-F238E27FC236}">
                  <a16:creationId xmlns:a16="http://schemas.microsoft.com/office/drawing/2014/main" id="{3F5CB53C-E426-43A9-861A-AA2AB71FBD7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66">
              <a:extLst>
                <a:ext uri="{FF2B5EF4-FFF2-40B4-BE49-F238E27FC236}">
                  <a16:creationId xmlns:a16="http://schemas.microsoft.com/office/drawing/2014/main" id="{F38A75DB-FF7B-4E64-9A0E-E46F6C48906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67">
              <a:extLst>
                <a:ext uri="{FF2B5EF4-FFF2-40B4-BE49-F238E27FC236}">
                  <a16:creationId xmlns:a16="http://schemas.microsoft.com/office/drawing/2014/main" id="{71EB1982-FC4D-4109-8206-C52DD01E93FC}"/>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68">
              <a:extLst>
                <a:ext uri="{FF2B5EF4-FFF2-40B4-BE49-F238E27FC236}">
                  <a16:creationId xmlns:a16="http://schemas.microsoft.com/office/drawing/2014/main" id="{1ED945A8-9981-495F-8E59-0829FCE879F3}"/>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69">
              <a:extLst>
                <a:ext uri="{FF2B5EF4-FFF2-40B4-BE49-F238E27FC236}">
                  <a16:creationId xmlns:a16="http://schemas.microsoft.com/office/drawing/2014/main" id="{C5406525-41B2-41EA-A2D4-52420BDF3D4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70">
              <a:extLst>
                <a:ext uri="{FF2B5EF4-FFF2-40B4-BE49-F238E27FC236}">
                  <a16:creationId xmlns:a16="http://schemas.microsoft.com/office/drawing/2014/main" id="{35E38A47-0047-4B9E-ABCA-7CEC9A61F605}"/>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71">
              <a:extLst>
                <a:ext uri="{FF2B5EF4-FFF2-40B4-BE49-F238E27FC236}">
                  <a16:creationId xmlns:a16="http://schemas.microsoft.com/office/drawing/2014/main" id="{32522AB0-DD45-4854-83D0-77E2DC055CDE}"/>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72">
              <a:extLst>
                <a:ext uri="{FF2B5EF4-FFF2-40B4-BE49-F238E27FC236}">
                  <a16:creationId xmlns:a16="http://schemas.microsoft.com/office/drawing/2014/main" id="{9B529905-307F-4904-8D4A-28393DB0A4D4}"/>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73">
              <a:extLst>
                <a:ext uri="{FF2B5EF4-FFF2-40B4-BE49-F238E27FC236}">
                  <a16:creationId xmlns:a16="http://schemas.microsoft.com/office/drawing/2014/main" id="{DBC4AF0E-9B86-47A0-B65D-9FE69B6F56E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74">
              <a:extLst>
                <a:ext uri="{FF2B5EF4-FFF2-40B4-BE49-F238E27FC236}">
                  <a16:creationId xmlns:a16="http://schemas.microsoft.com/office/drawing/2014/main" id="{87774562-E3E3-445D-BE27-A78B1158E91A}"/>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75">
              <a:extLst>
                <a:ext uri="{FF2B5EF4-FFF2-40B4-BE49-F238E27FC236}">
                  <a16:creationId xmlns:a16="http://schemas.microsoft.com/office/drawing/2014/main" id="{ABF45D7E-2001-4269-89FF-77F39ECBC06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76">
              <a:extLst>
                <a:ext uri="{FF2B5EF4-FFF2-40B4-BE49-F238E27FC236}">
                  <a16:creationId xmlns:a16="http://schemas.microsoft.com/office/drawing/2014/main" id="{A89BDCC5-3A1F-45CF-8672-BC1833D89962}"/>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77">
              <a:extLst>
                <a:ext uri="{FF2B5EF4-FFF2-40B4-BE49-F238E27FC236}">
                  <a16:creationId xmlns:a16="http://schemas.microsoft.com/office/drawing/2014/main" id="{78BBC82A-6627-4AC5-852C-2D363BA37C72}"/>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78">
              <a:extLst>
                <a:ext uri="{FF2B5EF4-FFF2-40B4-BE49-F238E27FC236}">
                  <a16:creationId xmlns:a16="http://schemas.microsoft.com/office/drawing/2014/main" id="{064A358C-DCF6-4B3E-9F93-ADFFBCF501C9}"/>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79">
              <a:extLst>
                <a:ext uri="{FF2B5EF4-FFF2-40B4-BE49-F238E27FC236}">
                  <a16:creationId xmlns:a16="http://schemas.microsoft.com/office/drawing/2014/main" id="{F9B6CFA9-5567-47BD-9B98-F8A68DADAF8E}"/>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80">
              <a:extLst>
                <a:ext uri="{FF2B5EF4-FFF2-40B4-BE49-F238E27FC236}">
                  <a16:creationId xmlns:a16="http://schemas.microsoft.com/office/drawing/2014/main" id="{F1F89CFB-37E5-42E1-8C1C-565320F556F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81">
              <a:extLst>
                <a:ext uri="{FF2B5EF4-FFF2-40B4-BE49-F238E27FC236}">
                  <a16:creationId xmlns:a16="http://schemas.microsoft.com/office/drawing/2014/main" id="{0DD30D72-83A4-410E-A1FF-1471F5C41DBE}"/>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82">
              <a:extLst>
                <a:ext uri="{FF2B5EF4-FFF2-40B4-BE49-F238E27FC236}">
                  <a16:creationId xmlns:a16="http://schemas.microsoft.com/office/drawing/2014/main" id="{6024FC46-C69F-4831-BF8F-EAAB573B3AA3}"/>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83">
              <a:extLst>
                <a:ext uri="{FF2B5EF4-FFF2-40B4-BE49-F238E27FC236}">
                  <a16:creationId xmlns:a16="http://schemas.microsoft.com/office/drawing/2014/main" id="{5112BFDA-F5EF-4953-A1D4-2EA6E9635DDB}"/>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84">
              <a:extLst>
                <a:ext uri="{FF2B5EF4-FFF2-40B4-BE49-F238E27FC236}">
                  <a16:creationId xmlns:a16="http://schemas.microsoft.com/office/drawing/2014/main" id="{C120B7A8-5E61-4B5A-8094-82C54BCE76F1}"/>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85">
              <a:extLst>
                <a:ext uri="{FF2B5EF4-FFF2-40B4-BE49-F238E27FC236}">
                  <a16:creationId xmlns:a16="http://schemas.microsoft.com/office/drawing/2014/main" id="{B7FB6B41-6581-4B31-9EC3-7F2E2D93807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48" name="Freeform 14">
            <a:extLst>
              <a:ext uri="{FF2B5EF4-FFF2-40B4-BE49-F238E27FC236}">
                <a16:creationId xmlns:a16="http://schemas.microsoft.com/office/drawing/2014/main" id="{B37816FF-5E2B-4384-852B-8C5CD8AF15DB}"/>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49" name="Group 148">
            <a:extLst>
              <a:ext uri="{FF2B5EF4-FFF2-40B4-BE49-F238E27FC236}">
                <a16:creationId xmlns:a16="http://schemas.microsoft.com/office/drawing/2014/main" id="{995E6B05-01B5-4C16-BA15-7A107CBFD61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50" name="Freeform 18">
              <a:extLst>
                <a:ext uri="{FF2B5EF4-FFF2-40B4-BE49-F238E27FC236}">
                  <a16:creationId xmlns:a16="http://schemas.microsoft.com/office/drawing/2014/main" id="{08EE4782-8A42-4DAC-8EC7-19B8FC26040E}"/>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1" name="Freeform 15">
              <a:extLst>
                <a:ext uri="{FF2B5EF4-FFF2-40B4-BE49-F238E27FC236}">
                  <a16:creationId xmlns:a16="http://schemas.microsoft.com/office/drawing/2014/main" id="{F60AD4EF-10F6-4963-B7A5-AC7AB1A37624}"/>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2" name="Oval 16">
              <a:extLst>
                <a:ext uri="{FF2B5EF4-FFF2-40B4-BE49-F238E27FC236}">
                  <a16:creationId xmlns:a16="http://schemas.microsoft.com/office/drawing/2014/main" id="{DB650E1F-0DF8-4C45-8AFA-AE334E317BA8}"/>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3" name="Freeform 17">
              <a:extLst>
                <a:ext uri="{FF2B5EF4-FFF2-40B4-BE49-F238E27FC236}">
                  <a16:creationId xmlns:a16="http://schemas.microsoft.com/office/drawing/2014/main" id="{4D921FB1-95DF-40F1-A2BB-83E78923D00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4" name="Freeform 19">
              <a:extLst>
                <a:ext uri="{FF2B5EF4-FFF2-40B4-BE49-F238E27FC236}">
                  <a16:creationId xmlns:a16="http://schemas.microsoft.com/office/drawing/2014/main" id="{2A003DA9-ACA7-4F45-B1E6-F699D633462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55" name="Picture 4" descr="Coronavirus | United Nations">
            <a:extLst>
              <a:ext uri="{FF2B5EF4-FFF2-40B4-BE49-F238E27FC236}">
                <a16:creationId xmlns:a16="http://schemas.microsoft.com/office/drawing/2014/main" id="{77F27B02-2E97-424B-A8A6-2D43A21395F8}"/>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61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p:txBody>
          <a:bodyPr/>
          <a:lstStyle/>
          <a:p>
            <a:r>
              <a:rPr lang="en-IN" sz="2200" dirty="0"/>
              <a:t>COVID-19 makes a huge dent but markets slowly revive</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a:t>
            </a:r>
            <a:r>
              <a:rPr lang="en-US" sz="800" dirty="0">
                <a:solidFill>
                  <a:prstClr val="black"/>
                </a:solidFill>
                <a:ea typeface="Verdana" panose="020B0604030504040204" pitchFamily="34" charset="0"/>
                <a:cs typeface="Verdana" panose="020B0604030504040204" pitchFamily="34" charset="0"/>
              </a:rPr>
              <a:t> The stock index chart represents percentage change from 29 Jan 2020</a:t>
            </a:r>
            <a:r>
              <a:rPr lang="en-US" sz="800" dirty="0"/>
              <a:t>. </a:t>
            </a:r>
          </a:p>
          <a:p>
            <a:pPr marL="457211" indent="-457211" defTabSz="912836">
              <a:spcBef>
                <a:spcPct val="10000"/>
              </a:spcBef>
            </a:pPr>
            <a:r>
              <a:rPr lang="en-US" sz="800" dirty="0"/>
              <a:t>Source:	</a:t>
            </a:r>
            <a:r>
              <a:rPr lang="fr-FR" sz="800" dirty="0"/>
              <a:t>Capgemini Financial Services Analysis, 2020; </a:t>
            </a:r>
            <a:r>
              <a:rPr lang="fr-FR" sz="800" dirty="0" err="1"/>
              <a:t>Text</a:t>
            </a:r>
            <a:r>
              <a:rPr lang="fr-FR" sz="800" dirty="0"/>
              <a:t> Line </a:t>
            </a:r>
            <a:r>
              <a:rPr lang="fr-FR" sz="800" dirty="0" err="1"/>
              <a:t>Searche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736419"/>
            <a:ext cx="9788089" cy="342476"/>
          </a:xfrm>
          <a:prstGeom prst="rect">
            <a:avLst/>
          </a:prstGeom>
          <a:noFill/>
        </p:spPr>
        <p:txBody>
          <a:bodyPr wrap="square" rtlCol="0">
            <a:noAutofit/>
          </a:bodyPr>
          <a:lstStyle/>
          <a:p>
            <a:pPr algn="ctr"/>
            <a:r>
              <a:rPr lang="en-US" sz="1600" b="1" i="1" dirty="0"/>
              <a:t>Early analysis of COVID-19 impact on financial markets, Jan–Jun 2020</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Future-proof the business to prepare for volatility.</a:t>
            </a:r>
          </a:p>
        </p:txBody>
      </p:sp>
      <p:sp>
        <p:nvSpPr>
          <p:cNvPr id="3" name="Rectangle: Diagonal Corners Rounded 2">
            <a:extLst>
              <a:ext uri="{FF2B5EF4-FFF2-40B4-BE49-F238E27FC236}">
                <a16:creationId xmlns:a16="http://schemas.microsoft.com/office/drawing/2014/main" id="{043E356A-BADC-4169-8ADF-3AA586ADE402}"/>
              </a:ext>
            </a:extLst>
          </p:cNvPr>
          <p:cNvSpPr/>
          <p:nvPr/>
        </p:nvSpPr>
        <p:spPr>
          <a:xfrm>
            <a:off x="227347" y="1198598"/>
            <a:ext cx="8068928" cy="506377"/>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In Q1 2020, the impact of COVID-19 </a:t>
            </a:r>
            <a:r>
              <a:rPr lang="fr-FR" sz="1200" dirty="0" err="1"/>
              <a:t>wiped</a:t>
            </a:r>
            <a:r>
              <a:rPr lang="fr-FR" sz="1200" dirty="0"/>
              <a:t> out over USD18 trillion </a:t>
            </a:r>
            <a:r>
              <a:rPr lang="fr-FR" sz="1200" dirty="0" err="1"/>
              <a:t>from</a:t>
            </a:r>
            <a:r>
              <a:rPr lang="fr-FR" sz="1200" dirty="0"/>
              <a:t> </a:t>
            </a:r>
            <a:r>
              <a:rPr lang="fr-FR" sz="1200" dirty="0" err="1"/>
              <a:t>markets</a:t>
            </a:r>
            <a:r>
              <a:rPr lang="fr-FR" sz="1200" dirty="0"/>
              <a:t> </a:t>
            </a:r>
            <a:r>
              <a:rPr lang="fr-FR" sz="1200" dirty="0" err="1"/>
              <a:t>globally</a:t>
            </a:r>
            <a:r>
              <a:rPr lang="fr-FR" sz="1200" dirty="0"/>
              <a:t> over the course of </a:t>
            </a:r>
            <a:r>
              <a:rPr lang="fr-FR" sz="1200" dirty="0" err="1"/>
              <a:t>February</a:t>
            </a:r>
            <a:r>
              <a:rPr lang="fr-FR" sz="1200" dirty="0"/>
              <a:t> and March 2020, </a:t>
            </a:r>
            <a:r>
              <a:rPr lang="fr-FR" sz="1200" dirty="0" err="1"/>
              <a:t>before</a:t>
            </a:r>
            <a:r>
              <a:rPr lang="fr-FR" sz="1200" dirty="0"/>
              <a:t> </a:t>
            </a:r>
            <a:r>
              <a:rPr lang="fr-FR" sz="1200" dirty="0" err="1"/>
              <a:t>recovering</a:t>
            </a:r>
            <a:r>
              <a:rPr lang="fr-FR" sz="1200" dirty="0"/>
              <a:t> </a:t>
            </a:r>
            <a:r>
              <a:rPr lang="fr-FR" sz="1200" dirty="0" err="1"/>
              <a:t>slightly</a:t>
            </a:r>
            <a:r>
              <a:rPr lang="fr-FR" sz="1200" dirty="0"/>
              <a:t> in April.</a:t>
            </a:r>
            <a:endParaRPr lang="en-US" sz="1200" dirty="0"/>
          </a:p>
        </p:txBody>
      </p:sp>
      <p:grpSp>
        <p:nvGrpSpPr>
          <p:cNvPr id="6" name="Group 5">
            <a:extLst>
              <a:ext uri="{FF2B5EF4-FFF2-40B4-BE49-F238E27FC236}">
                <a16:creationId xmlns:a16="http://schemas.microsoft.com/office/drawing/2014/main" id="{8191A2AA-A363-427B-820F-D27B1FA6B1DB}"/>
              </a:ext>
            </a:extLst>
          </p:cNvPr>
          <p:cNvGrpSpPr/>
          <p:nvPr/>
        </p:nvGrpSpPr>
        <p:grpSpPr>
          <a:xfrm>
            <a:off x="227347" y="1635565"/>
            <a:ext cx="8068928" cy="4144879"/>
            <a:chOff x="3093606" y="865847"/>
            <a:chExt cx="8869794" cy="5105116"/>
          </a:xfrm>
        </p:grpSpPr>
        <p:sp>
          <p:nvSpPr>
            <p:cNvPr id="39" name="Rectangle: Diagonal Corners Rounded 2">
              <a:extLst>
                <a:ext uri="{FF2B5EF4-FFF2-40B4-BE49-F238E27FC236}">
                  <a16:creationId xmlns:a16="http://schemas.microsoft.com/office/drawing/2014/main" id="{51E5CF6A-8CF4-4CAD-AEAF-13C764D52315}"/>
                </a:ext>
              </a:extLst>
            </p:cNvPr>
            <p:cNvSpPr/>
            <p:nvPr/>
          </p:nvSpPr>
          <p:spPr>
            <a:xfrm>
              <a:off x="8505825" y="2435233"/>
              <a:ext cx="3438525" cy="2187931"/>
            </a:xfrm>
            <a:prstGeom prst="star32">
              <a:avLst>
                <a:gd name="adj" fmla="val 4486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Estimated</a:t>
              </a:r>
              <a:r>
                <a:rPr lang="en-IN" sz="1200" dirty="0">
                  <a:solidFill>
                    <a:schemeClr val="tx1"/>
                  </a:solidFill>
                </a:rPr>
                <a:t> </a:t>
              </a:r>
              <a:r>
                <a:rPr lang="en-IN" sz="1200" b="1" dirty="0">
                  <a:solidFill>
                    <a:schemeClr val="tx1"/>
                  </a:solidFill>
                </a:rPr>
                <a:t>decline of </a:t>
              </a:r>
            </a:p>
            <a:p>
              <a:pPr algn="ctr"/>
              <a:r>
                <a:rPr lang="en-IN" sz="1200" b="1" dirty="0">
                  <a:solidFill>
                    <a:schemeClr val="tx1"/>
                  </a:solidFill>
                </a:rPr>
                <a:t>6–8% in the global wealth till the end of April 2020 </a:t>
              </a:r>
            </a:p>
            <a:p>
              <a:pPr algn="ctr"/>
              <a:r>
                <a:rPr lang="en-IN" sz="1200" dirty="0">
                  <a:solidFill>
                    <a:schemeClr val="tx1"/>
                  </a:solidFill>
                </a:rPr>
                <a:t>(vs the end of 2019)</a:t>
              </a:r>
              <a:endParaRPr lang="en-US" sz="1200" dirty="0">
                <a:solidFill>
                  <a:schemeClr val="tx1"/>
                </a:solidFill>
              </a:endParaRPr>
            </a:p>
          </p:txBody>
        </p:sp>
        <p:sp>
          <p:nvSpPr>
            <p:cNvPr id="32" name="Rectangle 31">
              <a:extLst>
                <a:ext uri="{FF2B5EF4-FFF2-40B4-BE49-F238E27FC236}">
                  <a16:creationId xmlns:a16="http://schemas.microsoft.com/office/drawing/2014/main" id="{F2CC8E82-2BE0-41AB-BEC6-0CA51899F905}"/>
                </a:ext>
              </a:extLst>
            </p:cNvPr>
            <p:cNvSpPr/>
            <p:nvPr/>
          </p:nvSpPr>
          <p:spPr>
            <a:xfrm>
              <a:off x="3093606" y="1177193"/>
              <a:ext cx="2045592" cy="407608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C13DB05-EEDC-485F-8695-43FDF52063C6}"/>
                </a:ext>
              </a:extLst>
            </p:cNvPr>
            <p:cNvSpPr/>
            <p:nvPr/>
          </p:nvSpPr>
          <p:spPr>
            <a:xfrm>
              <a:off x="8630403" y="1177193"/>
              <a:ext cx="3332997" cy="40760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2C87D2D-A69B-48A5-AD5F-85FEAF63505F}"/>
                </a:ext>
              </a:extLst>
            </p:cNvPr>
            <p:cNvSpPr/>
            <p:nvPr/>
          </p:nvSpPr>
          <p:spPr>
            <a:xfrm>
              <a:off x="5139197" y="1177193"/>
              <a:ext cx="3491205" cy="4076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Chart 34">
              <a:extLst>
                <a:ext uri="{FF2B5EF4-FFF2-40B4-BE49-F238E27FC236}">
                  <a16:creationId xmlns:a16="http://schemas.microsoft.com/office/drawing/2014/main" id="{7A8761AF-4FE1-4D1E-808A-7279FE8B996A}"/>
                </a:ext>
              </a:extLst>
            </p:cNvPr>
            <p:cNvGraphicFramePr/>
            <p:nvPr/>
          </p:nvGraphicFramePr>
          <p:xfrm>
            <a:off x="3093606" y="865847"/>
            <a:ext cx="8869794" cy="5105116"/>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Straight Connector 35">
              <a:extLst>
                <a:ext uri="{FF2B5EF4-FFF2-40B4-BE49-F238E27FC236}">
                  <a16:creationId xmlns:a16="http://schemas.microsoft.com/office/drawing/2014/main" id="{F9D29CA3-BDC2-4AEA-94EE-F8E6604E8F75}"/>
                </a:ext>
              </a:extLst>
            </p:cNvPr>
            <p:cNvCxnSpPr>
              <a:cxnSpLocks/>
            </p:cNvCxnSpPr>
            <p:nvPr/>
          </p:nvCxnSpPr>
          <p:spPr>
            <a:xfrm>
              <a:off x="5139199" y="1181537"/>
              <a:ext cx="0" cy="4071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F88A813-4FEF-450E-9798-0F2440D9BCD2}"/>
                </a:ext>
              </a:extLst>
            </p:cNvPr>
            <p:cNvCxnSpPr>
              <a:cxnSpLocks/>
            </p:cNvCxnSpPr>
            <p:nvPr/>
          </p:nvCxnSpPr>
          <p:spPr>
            <a:xfrm>
              <a:off x="8620915" y="1219796"/>
              <a:ext cx="9488" cy="4033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49D396D-9AE8-4784-8458-2CAB47DDB50C}"/>
                </a:ext>
              </a:extLst>
            </p:cNvPr>
            <p:cNvSpPr txBox="1"/>
            <p:nvPr/>
          </p:nvSpPr>
          <p:spPr>
            <a:xfrm>
              <a:off x="3318430" y="1431535"/>
              <a:ext cx="1378523" cy="322217"/>
            </a:xfrm>
            <a:prstGeom prst="rect">
              <a:avLst/>
            </a:prstGeom>
            <a:noFill/>
          </p:spPr>
          <p:txBody>
            <a:bodyPr wrap="square" rtlCol="0">
              <a:spAutoFit/>
            </a:bodyPr>
            <a:lstStyle/>
            <a:p>
              <a:pPr algn="ctr"/>
              <a:r>
                <a:rPr lang="en-US" sz="1100" b="1" dirty="0"/>
                <a:t>Pre-COVID</a:t>
              </a:r>
            </a:p>
          </p:txBody>
        </p:sp>
        <p:sp>
          <p:nvSpPr>
            <p:cNvPr id="41" name="TextBox 40">
              <a:extLst>
                <a:ext uri="{FF2B5EF4-FFF2-40B4-BE49-F238E27FC236}">
                  <a16:creationId xmlns:a16="http://schemas.microsoft.com/office/drawing/2014/main" id="{A0E7627F-2AFF-4017-9782-AF6CF0748568}"/>
                </a:ext>
              </a:extLst>
            </p:cNvPr>
            <p:cNvSpPr txBox="1"/>
            <p:nvPr/>
          </p:nvSpPr>
          <p:spPr>
            <a:xfrm>
              <a:off x="6185315" y="1417067"/>
              <a:ext cx="1343188" cy="261610"/>
            </a:xfrm>
            <a:prstGeom prst="rect">
              <a:avLst/>
            </a:prstGeom>
            <a:noFill/>
          </p:spPr>
          <p:txBody>
            <a:bodyPr wrap="square" rtlCol="0">
              <a:spAutoFit/>
            </a:bodyPr>
            <a:lstStyle/>
            <a:p>
              <a:pPr algn="ctr"/>
              <a:r>
                <a:rPr lang="en-US" sz="1100" b="1" dirty="0"/>
                <a:t>Peak COVID</a:t>
              </a:r>
            </a:p>
          </p:txBody>
        </p:sp>
        <p:sp>
          <p:nvSpPr>
            <p:cNvPr id="42" name="TextBox 41">
              <a:extLst>
                <a:ext uri="{FF2B5EF4-FFF2-40B4-BE49-F238E27FC236}">
                  <a16:creationId xmlns:a16="http://schemas.microsoft.com/office/drawing/2014/main" id="{39BF742F-E2FA-4347-9F81-6C3C3A465F1F}"/>
                </a:ext>
              </a:extLst>
            </p:cNvPr>
            <p:cNvSpPr txBox="1"/>
            <p:nvPr/>
          </p:nvSpPr>
          <p:spPr>
            <a:xfrm>
              <a:off x="9620198" y="1392067"/>
              <a:ext cx="1126750" cy="261610"/>
            </a:xfrm>
            <a:prstGeom prst="rect">
              <a:avLst/>
            </a:prstGeom>
            <a:noFill/>
          </p:spPr>
          <p:txBody>
            <a:bodyPr wrap="square" rtlCol="0">
              <a:spAutoFit/>
            </a:bodyPr>
            <a:lstStyle/>
            <a:p>
              <a:pPr algn="ctr"/>
              <a:r>
                <a:rPr lang="en-US" sz="1100" b="1" dirty="0"/>
                <a:t>Current</a:t>
              </a:r>
            </a:p>
          </p:txBody>
        </p:sp>
      </p:grpSp>
      <p:sp>
        <p:nvSpPr>
          <p:cNvPr id="44" name="TextBox 43">
            <a:extLst>
              <a:ext uri="{FF2B5EF4-FFF2-40B4-BE49-F238E27FC236}">
                <a16:creationId xmlns:a16="http://schemas.microsoft.com/office/drawing/2014/main" id="{3CCFE543-23E5-427C-B0ED-28FA0EAEA410}"/>
              </a:ext>
            </a:extLst>
          </p:cNvPr>
          <p:cNvSpPr txBox="1"/>
          <p:nvPr/>
        </p:nvSpPr>
        <p:spPr>
          <a:xfrm>
            <a:off x="227972" y="1800986"/>
            <a:ext cx="8077828" cy="276999"/>
          </a:xfrm>
          <a:prstGeom prst="rect">
            <a:avLst/>
          </a:prstGeom>
          <a:solidFill>
            <a:schemeClr val="accent2"/>
          </a:solidFill>
        </p:spPr>
        <p:txBody>
          <a:bodyPr wrap="square" lIns="274320" rtlCol="0">
            <a:spAutoFit/>
          </a:bodyPr>
          <a:lstStyle/>
          <a:p>
            <a:pPr algn="ctr"/>
            <a:r>
              <a:rPr lang="en-US" sz="1200" b="1" dirty="0">
                <a:solidFill>
                  <a:schemeClr val="bg1"/>
                </a:solidFill>
              </a:rPr>
              <a:t>Global Stock Market Chart (29</a:t>
            </a:r>
            <a:r>
              <a:rPr lang="en-US" sz="1200" b="1" baseline="30000" dirty="0">
                <a:solidFill>
                  <a:schemeClr val="bg1"/>
                </a:solidFill>
              </a:rPr>
              <a:t>th</a:t>
            </a:r>
            <a:r>
              <a:rPr lang="en-US" sz="1200" b="1" dirty="0">
                <a:solidFill>
                  <a:schemeClr val="bg1"/>
                </a:solidFill>
              </a:rPr>
              <a:t>  Jan – 26</a:t>
            </a:r>
            <a:r>
              <a:rPr lang="en-US" sz="1200" b="1" baseline="30000" dirty="0">
                <a:solidFill>
                  <a:schemeClr val="bg1"/>
                </a:solidFill>
              </a:rPr>
              <a:t>th</a:t>
            </a:r>
            <a:r>
              <a:rPr lang="en-US" sz="1200" b="1" dirty="0">
                <a:solidFill>
                  <a:schemeClr val="bg1"/>
                </a:solidFill>
              </a:rPr>
              <a:t> Jun 2020)</a:t>
            </a:r>
          </a:p>
        </p:txBody>
      </p:sp>
      <p:grpSp>
        <p:nvGrpSpPr>
          <p:cNvPr id="5" name="Group 4">
            <a:extLst>
              <a:ext uri="{FF2B5EF4-FFF2-40B4-BE49-F238E27FC236}">
                <a16:creationId xmlns:a16="http://schemas.microsoft.com/office/drawing/2014/main" id="{DE69A19E-6198-473E-BFF3-8A78F1F3DFE5}"/>
              </a:ext>
            </a:extLst>
          </p:cNvPr>
          <p:cNvGrpSpPr/>
          <p:nvPr/>
        </p:nvGrpSpPr>
        <p:grpSpPr>
          <a:xfrm>
            <a:off x="8510324" y="1578286"/>
            <a:ext cx="3454329" cy="3145557"/>
            <a:chOff x="8510324" y="1578286"/>
            <a:chExt cx="3454329" cy="3145557"/>
          </a:xfrm>
        </p:grpSpPr>
        <p:sp>
          <p:nvSpPr>
            <p:cNvPr id="47" name="Rectangle: Diagonal Corners Rounded 2">
              <a:extLst>
                <a:ext uri="{FF2B5EF4-FFF2-40B4-BE49-F238E27FC236}">
                  <a16:creationId xmlns:a16="http://schemas.microsoft.com/office/drawing/2014/main" id="{C23F3DFC-2ABA-493B-8B22-FE8CB7FFE41A}"/>
                </a:ext>
              </a:extLst>
            </p:cNvPr>
            <p:cNvSpPr/>
            <p:nvPr/>
          </p:nvSpPr>
          <p:spPr>
            <a:xfrm>
              <a:off x="8510324" y="1578286"/>
              <a:ext cx="3438525" cy="2187931"/>
            </a:xfrm>
            <a:prstGeom prst="star32">
              <a:avLst>
                <a:gd name="adj" fmla="val 4486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Estimated</a:t>
              </a:r>
              <a:r>
                <a:rPr lang="en-IN" sz="1200" dirty="0">
                  <a:solidFill>
                    <a:schemeClr val="tx1"/>
                  </a:solidFill>
                </a:rPr>
                <a:t> </a:t>
              </a:r>
              <a:r>
                <a:rPr lang="en-IN" sz="1200" b="1" dirty="0">
                  <a:solidFill>
                    <a:schemeClr val="tx1"/>
                  </a:solidFill>
                </a:rPr>
                <a:t>decline of </a:t>
              </a:r>
            </a:p>
            <a:p>
              <a:pPr algn="ctr"/>
              <a:r>
                <a:rPr lang="en-IN" sz="1200" b="1" dirty="0">
                  <a:solidFill>
                    <a:schemeClr val="tx1"/>
                  </a:solidFill>
                </a:rPr>
                <a:t>6–8% in the global HNWI wealth till the end of April 2020 </a:t>
              </a:r>
            </a:p>
            <a:p>
              <a:pPr algn="ctr"/>
              <a:r>
                <a:rPr lang="en-IN" sz="1200" dirty="0">
                  <a:solidFill>
                    <a:schemeClr val="tx1"/>
                  </a:solidFill>
                </a:rPr>
                <a:t>(vs the end of 2019)*</a:t>
              </a:r>
              <a:endParaRPr lang="en-US" sz="1200" dirty="0">
                <a:solidFill>
                  <a:schemeClr val="tx1"/>
                </a:solidFill>
              </a:endParaRPr>
            </a:p>
          </p:txBody>
        </p:sp>
        <p:sp>
          <p:nvSpPr>
            <p:cNvPr id="4" name="TextBox 3">
              <a:extLst>
                <a:ext uri="{FF2B5EF4-FFF2-40B4-BE49-F238E27FC236}">
                  <a16:creationId xmlns:a16="http://schemas.microsoft.com/office/drawing/2014/main" id="{B4263147-0DBF-4E9B-917D-981892D30EF9}"/>
                </a:ext>
              </a:extLst>
            </p:cNvPr>
            <p:cNvSpPr txBox="1"/>
            <p:nvPr/>
          </p:nvSpPr>
          <p:spPr>
            <a:xfrm>
              <a:off x="9145253" y="3892846"/>
              <a:ext cx="2819400" cy="830997"/>
            </a:xfrm>
            <a:prstGeom prst="rect">
              <a:avLst/>
            </a:prstGeom>
            <a:noFill/>
          </p:spPr>
          <p:txBody>
            <a:bodyPr wrap="square" rtlCol="0">
              <a:spAutoFit/>
            </a:bodyPr>
            <a:lstStyle/>
            <a:p>
              <a:r>
                <a:rPr lang="en-IN" sz="1200" i="1" dirty="0"/>
                <a:t>*calculated based on EIU data for national statistics and asset returns for various asset classes from publicly available sources </a:t>
              </a:r>
              <a:endParaRPr lang="en-US" sz="1200" i="1" dirty="0"/>
            </a:p>
          </p:txBody>
        </p:sp>
      </p:grpSp>
      <p:grpSp>
        <p:nvGrpSpPr>
          <p:cNvPr id="22" name="Group 21">
            <a:extLst>
              <a:ext uri="{FF2B5EF4-FFF2-40B4-BE49-F238E27FC236}">
                <a16:creationId xmlns:a16="http://schemas.microsoft.com/office/drawing/2014/main" id="{A30B8099-C68E-48BF-AD60-92B84299AE7C}"/>
              </a:ext>
            </a:extLst>
          </p:cNvPr>
          <p:cNvGrpSpPr/>
          <p:nvPr/>
        </p:nvGrpSpPr>
        <p:grpSpPr>
          <a:xfrm>
            <a:off x="9034432" y="122400"/>
            <a:ext cx="537780" cy="533532"/>
            <a:chOff x="411163" y="2006600"/>
            <a:chExt cx="3617913" cy="3589337"/>
          </a:xfrm>
          <a:solidFill>
            <a:schemeClr val="bg1">
              <a:lumMod val="75000"/>
            </a:schemeClr>
          </a:solidFill>
        </p:grpSpPr>
        <p:sp>
          <p:nvSpPr>
            <p:cNvPr id="23" name="Freeform 5">
              <a:extLst>
                <a:ext uri="{FF2B5EF4-FFF2-40B4-BE49-F238E27FC236}">
                  <a16:creationId xmlns:a16="http://schemas.microsoft.com/office/drawing/2014/main" id="{A503F30B-1118-4DE5-8BD4-3FC97A2C64D0}"/>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 name="Oval 6">
              <a:extLst>
                <a:ext uri="{FF2B5EF4-FFF2-40B4-BE49-F238E27FC236}">
                  <a16:creationId xmlns:a16="http://schemas.microsoft.com/office/drawing/2014/main" id="{C2029EAF-56BE-4F2E-9A60-9E01181F5A84}"/>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5" name="Freeform 7">
              <a:extLst>
                <a:ext uri="{FF2B5EF4-FFF2-40B4-BE49-F238E27FC236}">
                  <a16:creationId xmlns:a16="http://schemas.microsoft.com/office/drawing/2014/main" id="{B916131D-1A95-416B-AAC9-078567BF628A}"/>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6" name="Freeform 8">
              <a:extLst>
                <a:ext uri="{FF2B5EF4-FFF2-40B4-BE49-F238E27FC236}">
                  <a16:creationId xmlns:a16="http://schemas.microsoft.com/office/drawing/2014/main" id="{76635014-F0B0-441F-9CB6-B0BD6B75165C}"/>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7" name="Freeform 9">
              <a:extLst>
                <a:ext uri="{FF2B5EF4-FFF2-40B4-BE49-F238E27FC236}">
                  <a16:creationId xmlns:a16="http://schemas.microsoft.com/office/drawing/2014/main" id="{08C3108F-077E-4185-92A3-DF5341A822D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28" name="Group 27">
            <a:extLst>
              <a:ext uri="{FF2B5EF4-FFF2-40B4-BE49-F238E27FC236}">
                <a16:creationId xmlns:a16="http://schemas.microsoft.com/office/drawing/2014/main" id="{86872DEB-E4F8-4A3F-8D0A-FBC18116E751}"/>
              </a:ext>
            </a:extLst>
          </p:cNvPr>
          <p:cNvGrpSpPr/>
          <p:nvPr/>
        </p:nvGrpSpPr>
        <p:grpSpPr>
          <a:xfrm>
            <a:off x="9622537" y="85117"/>
            <a:ext cx="559961" cy="608099"/>
            <a:chOff x="9622537" y="85117"/>
            <a:chExt cx="559961" cy="608099"/>
          </a:xfrm>
        </p:grpSpPr>
        <p:sp>
          <p:nvSpPr>
            <p:cNvPr id="29" name="Freeform 10">
              <a:extLst>
                <a:ext uri="{FF2B5EF4-FFF2-40B4-BE49-F238E27FC236}">
                  <a16:creationId xmlns:a16="http://schemas.microsoft.com/office/drawing/2014/main" id="{343FC195-39E8-493C-A8B9-E3D710CF1921}"/>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11">
              <a:extLst>
                <a:ext uri="{FF2B5EF4-FFF2-40B4-BE49-F238E27FC236}">
                  <a16:creationId xmlns:a16="http://schemas.microsoft.com/office/drawing/2014/main" id="{B4006A1E-CDE2-4D09-A6FB-69F91D1A4075}"/>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12">
              <a:extLst>
                <a:ext uri="{FF2B5EF4-FFF2-40B4-BE49-F238E27FC236}">
                  <a16:creationId xmlns:a16="http://schemas.microsoft.com/office/drawing/2014/main" id="{F35CFC75-8373-4DF3-9A0F-EC56299E0A7B}"/>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3">
              <a:extLst>
                <a:ext uri="{FF2B5EF4-FFF2-40B4-BE49-F238E27FC236}">
                  <a16:creationId xmlns:a16="http://schemas.microsoft.com/office/drawing/2014/main" id="{B3C7796D-CFD2-4FEC-8A8E-64B8949AFD8A}"/>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14">
              <a:extLst>
                <a:ext uri="{FF2B5EF4-FFF2-40B4-BE49-F238E27FC236}">
                  <a16:creationId xmlns:a16="http://schemas.microsoft.com/office/drawing/2014/main" id="{D81688E2-A368-4EB2-AC9C-506FC514D10F}"/>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8" name="Group 47">
            <a:extLst>
              <a:ext uri="{FF2B5EF4-FFF2-40B4-BE49-F238E27FC236}">
                <a16:creationId xmlns:a16="http://schemas.microsoft.com/office/drawing/2014/main" id="{E1278699-327D-45D4-B404-ACA5EC283E9F}"/>
              </a:ext>
            </a:extLst>
          </p:cNvPr>
          <p:cNvGrpSpPr/>
          <p:nvPr/>
        </p:nvGrpSpPr>
        <p:grpSpPr>
          <a:xfrm>
            <a:off x="10232823" y="122400"/>
            <a:ext cx="537308" cy="533532"/>
            <a:chOff x="8169276" y="2006600"/>
            <a:chExt cx="3614737" cy="3589337"/>
          </a:xfrm>
          <a:solidFill>
            <a:schemeClr val="bg1">
              <a:lumMod val="75000"/>
            </a:schemeClr>
          </a:solidFill>
        </p:grpSpPr>
        <p:sp>
          <p:nvSpPr>
            <p:cNvPr id="49" name="Freeform 18">
              <a:extLst>
                <a:ext uri="{FF2B5EF4-FFF2-40B4-BE49-F238E27FC236}">
                  <a16:creationId xmlns:a16="http://schemas.microsoft.com/office/drawing/2014/main" id="{E3F5EBBD-A0A5-4772-8ADD-69EDE4E1CC3D}"/>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5">
              <a:extLst>
                <a:ext uri="{FF2B5EF4-FFF2-40B4-BE49-F238E27FC236}">
                  <a16:creationId xmlns:a16="http://schemas.microsoft.com/office/drawing/2014/main" id="{D375923A-25FF-49D6-92CF-7C02014D4CC0}"/>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Oval 16">
              <a:extLst>
                <a:ext uri="{FF2B5EF4-FFF2-40B4-BE49-F238E27FC236}">
                  <a16:creationId xmlns:a16="http://schemas.microsoft.com/office/drawing/2014/main" id="{C9B111F1-BA33-400B-894A-FAB77395E78C}"/>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3" name="Freeform 17">
              <a:extLst>
                <a:ext uri="{FF2B5EF4-FFF2-40B4-BE49-F238E27FC236}">
                  <a16:creationId xmlns:a16="http://schemas.microsoft.com/office/drawing/2014/main" id="{6CAFA674-E1BC-4787-BA42-7D6886B9B497}"/>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9">
              <a:extLst>
                <a:ext uri="{FF2B5EF4-FFF2-40B4-BE49-F238E27FC236}">
                  <a16:creationId xmlns:a16="http://schemas.microsoft.com/office/drawing/2014/main" id="{92DEA2EE-BE1C-496A-B8FE-3F524023B2A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55" name="Freeform 332">
            <a:extLst>
              <a:ext uri="{FF2B5EF4-FFF2-40B4-BE49-F238E27FC236}">
                <a16:creationId xmlns:a16="http://schemas.microsoft.com/office/drawing/2014/main" id="{22EC81E7-D6BB-4ABD-A37A-E9F63615086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B79FBA24-395C-4308-8641-138D0D65135B}"/>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57" name="Freeform 46">
              <a:extLst>
                <a:ext uri="{FF2B5EF4-FFF2-40B4-BE49-F238E27FC236}">
                  <a16:creationId xmlns:a16="http://schemas.microsoft.com/office/drawing/2014/main" id="{60E26E0A-03BA-4DC4-9488-3FD5F7C8065E}"/>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
              <a:extLst>
                <a:ext uri="{FF2B5EF4-FFF2-40B4-BE49-F238E27FC236}">
                  <a16:creationId xmlns:a16="http://schemas.microsoft.com/office/drawing/2014/main" id="{5665BA2C-428D-46AD-AB9E-5EC47C78E1AE}"/>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8">
              <a:extLst>
                <a:ext uri="{FF2B5EF4-FFF2-40B4-BE49-F238E27FC236}">
                  <a16:creationId xmlns:a16="http://schemas.microsoft.com/office/drawing/2014/main" id="{DA3D4C44-8EF4-4C51-A4C4-DA510AD9E4F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9">
              <a:extLst>
                <a:ext uri="{FF2B5EF4-FFF2-40B4-BE49-F238E27FC236}">
                  <a16:creationId xmlns:a16="http://schemas.microsoft.com/office/drawing/2014/main" id="{F56B0716-7443-41F8-ADDE-121DE98DF513}"/>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0">
              <a:extLst>
                <a:ext uri="{FF2B5EF4-FFF2-40B4-BE49-F238E27FC236}">
                  <a16:creationId xmlns:a16="http://schemas.microsoft.com/office/drawing/2014/main" id="{8F9F66F1-FB04-4393-A271-524B060E9EE7}"/>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1">
              <a:extLst>
                <a:ext uri="{FF2B5EF4-FFF2-40B4-BE49-F238E27FC236}">
                  <a16:creationId xmlns:a16="http://schemas.microsoft.com/office/drawing/2014/main" id="{720B5C66-0453-4593-AE90-2CBD4B045961}"/>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e 825">
            <a:extLst>
              <a:ext uri="{FF2B5EF4-FFF2-40B4-BE49-F238E27FC236}">
                <a16:creationId xmlns:a16="http://schemas.microsoft.com/office/drawing/2014/main" id="{0C1FA370-5896-498C-9CF4-5D9FE6D6D804}"/>
              </a:ext>
            </a:extLst>
          </p:cNvPr>
          <p:cNvGrpSpPr/>
          <p:nvPr/>
        </p:nvGrpSpPr>
        <p:grpSpPr>
          <a:xfrm>
            <a:off x="9138494" y="248487"/>
            <a:ext cx="337206" cy="317707"/>
            <a:chOff x="6500813" y="736601"/>
            <a:chExt cx="538163" cy="581025"/>
          </a:xfrm>
        </p:grpSpPr>
        <p:sp>
          <p:nvSpPr>
            <p:cNvPr id="64" name="Freeform 37">
              <a:extLst>
                <a:ext uri="{FF2B5EF4-FFF2-40B4-BE49-F238E27FC236}">
                  <a16:creationId xmlns:a16="http://schemas.microsoft.com/office/drawing/2014/main" id="{137DFB29-71FB-4738-898D-AC8A33D2603A}"/>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38">
              <a:extLst>
                <a:ext uri="{FF2B5EF4-FFF2-40B4-BE49-F238E27FC236}">
                  <a16:creationId xmlns:a16="http://schemas.microsoft.com/office/drawing/2014/main" id="{645DB1E5-97A8-43AD-BF4B-347AF335DC4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39">
              <a:extLst>
                <a:ext uri="{FF2B5EF4-FFF2-40B4-BE49-F238E27FC236}">
                  <a16:creationId xmlns:a16="http://schemas.microsoft.com/office/drawing/2014/main" id="{92E65B11-5972-4C47-AFFF-088F9758DAE5}"/>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40">
              <a:extLst>
                <a:ext uri="{FF2B5EF4-FFF2-40B4-BE49-F238E27FC236}">
                  <a16:creationId xmlns:a16="http://schemas.microsoft.com/office/drawing/2014/main" id="{121252FB-65D8-4537-B70C-211A3B81EBDA}"/>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41">
              <a:extLst>
                <a:ext uri="{FF2B5EF4-FFF2-40B4-BE49-F238E27FC236}">
                  <a16:creationId xmlns:a16="http://schemas.microsoft.com/office/drawing/2014/main" id="{801CA854-56C4-40FE-A82D-07DAD422ADA8}"/>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42">
              <a:extLst>
                <a:ext uri="{FF2B5EF4-FFF2-40B4-BE49-F238E27FC236}">
                  <a16:creationId xmlns:a16="http://schemas.microsoft.com/office/drawing/2014/main" id="{C5C045E3-E7EE-4C53-87A2-5E1154860378}"/>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43">
              <a:extLst>
                <a:ext uri="{FF2B5EF4-FFF2-40B4-BE49-F238E27FC236}">
                  <a16:creationId xmlns:a16="http://schemas.microsoft.com/office/drawing/2014/main" id="{04111111-B7C8-42DB-A3FD-93F6AF7A07A9}"/>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44">
              <a:extLst>
                <a:ext uri="{FF2B5EF4-FFF2-40B4-BE49-F238E27FC236}">
                  <a16:creationId xmlns:a16="http://schemas.microsoft.com/office/drawing/2014/main" id="{7EEB018F-D6DA-4A1F-9E2F-757BEA7CC915}"/>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45">
              <a:extLst>
                <a:ext uri="{FF2B5EF4-FFF2-40B4-BE49-F238E27FC236}">
                  <a16:creationId xmlns:a16="http://schemas.microsoft.com/office/drawing/2014/main" id="{3A00BD12-D20E-4CED-B4EA-F6375467E8B5}"/>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46">
              <a:extLst>
                <a:ext uri="{FF2B5EF4-FFF2-40B4-BE49-F238E27FC236}">
                  <a16:creationId xmlns:a16="http://schemas.microsoft.com/office/drawing/2014/main" id="{7F825283-2BC9-4717-B372-E6F05B6C0A9D}"/>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47">
              <a:extLst>
                <a:ext uri="{FF2B5EF4-FFF2-40B4-BE49-F238E27FC236}">
                  <a16:creationId xmlns:a16="http://schemas.microsoft.com/office/drawing/2014/main" id="{DECD2FE9-8AB4-4CC9-8AE8-2DFD7DDE04BA}"/>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48">
              <a:extLst>
                <a:ext uri="{FF2B5EF4-FFF2-40B4-BE49-F238E27FC236}">
                  <a16:creationId xmlns:a16="http://schemas.microsoft.com/office/drawing/2014/main" id="{1A1E8982-2313-46FC-982A-DCBA36E53596}"/>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49">
              <a:extLst>
                <a:ext uri="{FF2B5EF4-FFF2-40B4-BE49-F238E27FC236}">
                  <a16:creationId xmlns:a16="http://schemas.microsoft.com/office/drawing/2014/main" id="{D0D5C01E-6B7F-4A32-AFB9-FBF6FAC1078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50">
              <a:extLst>
                <a:ext uri="{FF2B5EF4-FFF2-40B4-BE49-F238E27FC236}">
                  <a16:creationId xmlns:a16="http://schemas.microsoft.com/office/drawing/2014/main" id="{41A7855F-64A4-4CD0-8800-5628D3631615}"/>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51">
              <a:extLst>
                <a:ext uri="{FF2B5EF4-FFF2-40B4-BE49-F238E27FC236}">
                  <a16:creationId xmlns:a16="http://schemas.microsoft.com/office/drawing/2014/main" id="{54260D3D-CA69-4322-A9A0-2266D82FDEB4}"/>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52">
              <a:extLst>
                <a:ext uri="{FF2B5EF4-FFF2-40B4-BE49-F238E27FC236}">
                  <a16:creationId xmlns:a16="http://schemas.microsoft.com/office/drawing/2014/main" id="{5E2380D7-5D14-498C-B61B-34BA54ECF6BC}"/>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53">
              <a:extLst>
                <a:ext uri="{FF2B5EF4-FFF2-40B4-BE49-F238E27FC236}">
                  <a16:creationId xmlns:a16="http://schemas.microsoft.com/office/drawing/2014/main" id="{A9BFBA90-6DCF-49D1-AEEC-527F7F33031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54">
              <a:extLst>
                <a:ext uri="{FF2B5EF4-FFF2-40B4-BE49-F238E27FC236}">
                  <a16:creationId xmlns:a16="http://schemas.microsoft.com/office/drawing/2014/main" id="{D9A62416-690E-48E7-B4FA-5B32B813F37C}"/>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55">
              <a:extLst>
                <a:ext uri="{FF2B5EF4-FFF2-40B4-BE49-F238E27FC236}">
                  <a16:creationId xmlns:a16="http://schemas.microsoft.com/office/drawing/2014/main" id="{B07F62A1-AF2F-4E04-B3D0-3F90C1888CCA}"/>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56">
              <a:extLst>
                <a:ext uri="{FF2B5EF4-FFF2-40B4-BE49-F238E27FC236}">
                  <a16:creationId xmlns:a16="http://schemas.microsoft.com/office/drawing/2014/main" id="{A0C74391-5031-47C2-911A-C1E8C747ABF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57">
              <a:extLst>
                <a:ext uri="{FF2B5EF4-FFF2-40B4-BE49-F238E27FC236}">
                  <a16:creationId xmlns:a16="http://schemas.microsoft.com/office/drawing/2014/main" id="{98640DA9-C94A-4DEC-B7A2-53405907C7C3}"/>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58">
              <a:extLst>
                <a:ext uri="{FF2B5EF4-FFF2-40B4-BE49-F238E27FC236}">
                  <a16:creationId xmlns:a16="http://schemas.microsoft.com/office/drawing/2014/main" id="{B7829AD8-B6C1-4E6E-BD76-5F28E5B2A0C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59">
              <a:extLst>
                <a:ext uri="{FF2B5EF4-FFF2-40B4-BE49-F238E27FC236}">
                  <a16:creationId xmlns:a16="http://schemas.microsoft.com/office/drawing/2014/main" id="{E9E1BC40-6FE5-461A-9475-EC511CA65591}"/>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60">
              <a:extLst>
                <a:ext uri="{FF2B5EF4-FFF2-40B4-BE49-F238E27FC236}">
                  <a16:creationId xmlns:a16="http://schemas.microsoft.com/office/drawing/2014/main" id="{2375B829-C78E-42FE-B90E-FDC0188DB3F4}"/>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61">
              <a:extLst>
                <a:ext uri="{FF2B5EF4-FFF2-40B4-BE49-F238E27FC236}">
                  <a16:creationId xmlns:a16="http://schemas.microsoft.com/office/drawing/2014/main" id="{56CAB7CF-4983-481B-8FEF-5BA0A5FCEC08}"/>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62">
              <a:extLst>
                <a:ext uri="{FF2B5EF4-FFF2-40B4-BE49-F238E27FC236}">
                  <a16:creationId xmlns:a16="http://schemas.microsoft.com/office/drawing/2014/main" id="{0E33F642-7E1D-41D6-A105-4F00E2F138E4}"/>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63">
              <a:extLst>
                <a:ext uri="{FF2B5EF4-FFF2-40B4-BE49-F238E27FC236}">
                  <a16:creationId xmlns:a16="http://schemas.microsoft.com/office/drawing/2014/main" id="{127B270D-A2B6-4061-AB54-86426B010D0F}"/>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64">
              <a:extLst>
                <a:ext uri="{FF2B5EF4-FFF2-40B4-BE49-F238E27FC236}">
                  <a16:creationId xmlns:a16="http://schemas.microsoft.com/office/drawing/2014/main" id="{67E108F3-F310-41D6-A4DC-A7C8D3BB96AE}"/>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65">
              <a:extLst>
                <a:ext uri="{FF2B5EF4-FFF2-40B4-BE49-F238E27FC236}">
                  <a16:creationId xmlns:a16="http://schemas.microsoft.com/office/drawing/2014/main" id="{6E48A1AD-5462-441A-B34A-DB0CBF09DDF4}"/>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66">
              <a:extLst>
                <a:ext uri="{FF2B5EF4-FFF2-40B4-BE49-F238E27FC236}">
                  <a16:creationId xmlns:a16="http://schemas.microsoft.com/office/drawing/2014/main" id="{B0692B8D-75EA-486C-81F5-6F8303CCF4C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67">
              <a:extLst>
                <a:ext uri="{FF2B5EF4-FFF2-40B4-BE49-F238E27FC236}">
                  <a16:creationId xmlns:a16="http://schemas.microsoft.com/office/drawing/2014/main" id="{C5A27571-2623-4584-AD42-B151C8C6FFB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68">
              <a:extLst>
                <a:ext uri="{FF2B5EF4-FFF2-40B4-BE49-F238E27FC236}">
                  <a16:creationId xmlns:a16="http://schemas.microsoft.com/office/drawing/2014/main" id="{48EA3887-E3E1-4A06-A2D8-A076290E9A90}"/>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69">
              <a:extLst>
                <a:ext uri="{FF2B5EF4-FFF2-40B4-BE49-F238E27FC236}">
                  <a16:creationId xmlns:a16="http://schemas.microsoft.com/office/drawing/2014/main" id="{E3E681FA-FF41-4961-9787-30BCC0070390}"/>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70">
              <a:extLst>
                <a:ext uri="{FF2B5EF4-FFF2-40B4-BE49-F238E27FC236}">
                  <a16:creationId xmlns:a16="http://schemas.microsoft.com/office/drawing/2014/main" id="{B29B4611-EDAE-4ADD-804A-7BC902531A22}"/>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71">
              <a:extLst>
                <a:ext uri="{FF2B5EF4-FFF2-40B4-BE49-F238E27FC236}">
                  <a16:creationId xmlns:a16="http://schemas.microsoft.com/office/drawing/2014/main" id="{B1D36FE6-3393-44BD-9CED-15229C971DED}"/>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72">
              <a:extLst>
                <a:ext uri="{FF2B5EF4-FFF2-40B4-BE49-F238E27FC236}">
                  <a16:creationId xmlns:a16="http://schemas.microsoft.com/office/drawing/2014/main" id="{53296659-1E14-4707-AD45-04DC298C8C2C}"/>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73">
              <a:extLst>
                <a:ext uri="{FF2B5EF4-FFF2-40B4-BE49-F238E27FC236}">
                  <a16:creationId xmlns:a16="http://schemas.microsoft.com/office/drawing/2014/main" id="{F9E7D541-42A0-46A5-820B-C7341B6B700F}"/>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74">
              <a:extLst>
                <a:ext uri="{FF2B5EF4-FFF2-40B4-BE49-F238E27FC236}">
                  <a16:creationId xmlns:a16="http://schemas.microsoft.com/office/drawing/2014/main" id="{FD7094B3-E173-48B3-84A8-D514D6D93433}"/>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75">
              <a:extLst>
                <a:ext uri="{FF2B5EF4-FFF2-40B4-BE49-F238E27FC236}">
                  <a16:creationId xmlns:a16="http://schemas.microsoft.com/office/drawing/2014/main" id="{6B967CF1-00B4-48CD-925B-219CEBEB35AE}"/>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76">
              <a:extLst>
                <a:ext uri="{FF2B5EF4-FFF2-40B4-BE49-F238E27FC236}">
                  <a16:creationId xmlns:a16="http://schemas.microsoft.com/office/drawing/2014/main" id="{D39E0BD2-0783-458F-9119-B17D1C3AAF66}"/>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77">
              <a:extLst>
                <a:ext uri="{FF2B5EF4-FFF2-40B4-BE49-F238E27FC236}">
                  <a16:creationId xmlns:a16="http://schemas.microsoft.com/office/drawing/2014/main" id="{A505A7AF-79B7-4A5B-9079-9E0CF46CCACE}"/>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78">
              <a:extLst>
                <a:ext uri="{FF2B5EF4-FFF2-40B4-BE49-F238E27FC236}">
                  <a16:creationId xmlns:a16="http://schemas.microsoft.com/office/drawing/2014/main" id="{A5F5FCA3-4486-4AE1-8CE0-B4797C813AD3}"/>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79">
              <a:extLst>
                <a:ext uri="{FF2B5EF4-FFF2-40B4-BE49-F238E27FC236}">
                  <a16:creationId xmlns:a16="http://schemas.microsoft.com/office/drawing/2014/main" id="{5158E107-76BB-46C4-975E-E9B59D1957F3}"/>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80">
              <a:extLst>
                <a:ext uri="{FF2B5EF4-FFF2-40B4-BE49-F238E27FC236}">
                  <a16:creationId xmlns:a16="http://schemas.microsoft.com/office/drawing/2014/main" id="{FB983A9A-FA2F-4AAB-BC46-0D6724F4BEFC}"/>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81">
              <a:extLst>
                <a:ext uri="{FF2B5EF4-FFF2-40B4-BE49-F238E27FC236}">
                  <a16:creationId xmlns:a16="http://schemas.microsoft.com/office/drawing/2014/main" id="{A92028C7-06E3-4883-AAD6-FB847190FEA9}"/>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82">
              <a:extLst>
                <a:ext uri="{FF2B5EF4-FFF2-40B4-BE49-F238E27FC236}">
                  <a16:creationId xmlns:a16="http://schemas.microsoft.com/office/drawing/2014/main" id="{5F939F02-5B1E-46B3-847E-E1CD3A57D624}"/>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83">
              <a:extLst>
                <a:ext uri="{FF2B5EF4-FFF2-40B4-BE49-F238E27FC236}">
                  <a16:creationId xmlns:a16="http://schemas.microsoft.com/office/drawing/2014/main" id="{33EADD4E-07AF-4F8E-A4F0-4A04A1DE84D0}"/>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84">
              <a:extLst>
                <a:ext uri="{FF2B5EF4-FFF2-40B4-BE49-F238E27FC236}">
                  <a16:creationId xmlns:a16="http://schemas.microsoft.com/office/drawing/2014/main" id="{0FED846B-6AB7-4945-9833-38CBA4C16C08}"/>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85">
              <a:extLst>
                <a:ext uri="{FF2B5EF4-FFF2-40B4-BE49-F238E27FC236}">
                  <a16:creationId xmlns:a16="http://schemas.microsoft.com/office/drawing/2014/main" id="{747BCC49-50E7-46BA-9186-B2DA7B4F7260}"/>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13" name="Freeform 14">
            <a:extLst>
              <a:ext uri="{FF2B5EF4-FFF2-40B4-BE49-F238E27FC236}">
                <a16:creationId xmlns:a16="http://schemas.microsoft.com/office/drawing/2014/main" id="{FA53E4CA-1974-49D1-837C-ED3FF85E39CA}"/>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 113">
            <a:extLst>
              <a:ext uri="{FF2B5EF4-FFF2-40B4-BE49-F238E27FC236}">
                <a16:creationId xmlns:a16="http://schemas.microsoft.com/office/drawing/2014/main" id="{A72F210D-CE1D-40EA-9F01-DF2F9498AE9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5" name="Freeform 18">
              <a:extLst>
                <a:ext uri="{FF2B5EF4-FFF2-40B4-BE49-F238E27FC236}">
                  <a16:creationId xmlns:a16="http://schemas.microsoft.com/office/drawing/2014/main" id="{7FFE6D32-CEF5-4838-A56B-D1EFB6A7B91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15">
              <a:extLst>
                <a:ext uri="{FF2B5EF4-FFF2-40B4-BE49-F238E27FC236}">
                  <a16:creationId xmlns:a16="http://schemas.microsoft.com/office/drawing/2014/main" id="{E347E1B0-6F78-4C45-A490-4C735D36302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Oval 16">
              <a:extLst>
                <a:ext uri="{FF2B5EF4-FFF2-40B4-BE49-F238E27FC236}">
                  <a16:creationId xmlns:a16="http://schemas.microsoft.com/office/drawing/2014/main" id="{13A342E3-F902-4E9A-AF33-F157B2D3A835}"/>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7">
              <a:extLst>
                <a:ext uri="{FF2B5EF4-FFF2-40B4-BE49-F238E27FC236}">
                  <a16:creationId xmlns:a16="http://schemas.microsoft.com/office/drawing/2014/main" id="{B5B05899-38D6-4662-8D9D-A89D6FFE884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19">
              <a:extLst>
                <a:ext uri="{FF2B5EF4-FFF2-40B4-BE49-F238E27FC236}">
                  <a16:creationId xmlns:a16="http://schemas.microsoft.com/office/drawing/2014/main" id="{ED058E5A-0D63-4BC4-BD72-312B2578453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0" name="Picture 4" descr="Coronavirus | United Nations">
            <a:extLst>
              <a:ext uri="{FF2B5EF4-FFF2-40B4-BE49-F238E27FC236}">
                <a16:creationId xmlns:a16="http://schemas.microsoft.com/office/drawing/2014/main" id="{7E6145B1-17CC-4A93-A99E-C1FA60F69608}"/>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627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459159-2787-4B9D-BF7B-46DBD08D1E8F}"/>
              </a:ext>
            </a:extLst>
          </p:cNvPr>
          <p:cNvGraphicFramePr>
            <a:graphicFrameLocks noChangeAspect="1"/>
          </p:cNvGraphicFramePr>
          <p:nvPr>
            <p:custDataLst>
              <p:tags r:id="rId2"/>
            </p:custDataLst>
            <p:extLst>
              <p:ext uri="{D42A27DB-BD31-4B8C-83A1-F6EECF244321}">
                <p14:modId xmlns:p14="http://schemas.microsoft.com/office/powerpoint/2010/main" val="334203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Luxembourg</a:t>
            </a:r>
          </a:p>
        </p:txBody>
      </p:sp>
      <p:sp>
        <p:nvSpPr>
          <p:cNvPr id="8" name="Text Placeholder 5"/>
          <p:cNvSpPr txBox="1">
            <a:spLocks/>
          </p:cNvSpPr>
          <p:nvPr/>
        </p:nvSpPr>
        <p:spPr bwMode="auto">
          <a:xfrm>
            <a:off x="6745487" y="1495425"/>
            <a:ext cx="4747928" cy="365760"/>
          </a:xfrm>
          <a:prstGeom prst="rect">
            <a:avLst/>
          </a:prstGeom>
          <a:solidFill>
            <a:schemeClr val="accent1"/>
          </a:solidFill>
          <a:ln w="9525">
            <a:solidFill>
              <a:schemeClr val="accent1"/>
            </a:solidFill>
            <a:miter lim="800000"/>
            <a:headEnd/>
            <a:tailEnd/>
          </a:ln>
          <a:effectLst>
            <a:outerShdw dist="50800" dir="2700000" algn="ctr" rotWithShape="0">
              <a:schemeClr val="accent1"/>
            </a:outerShdw>
          </a:effectLst>
        </p:spPr>
        <p:txBody>
          <a:bodyPr vert="horz" wrap="square" lIns="91148" tIns="45574" rIns="91148" bIns="45574" numCol="1" anchor="ctr" anchorCtr="0" compatLnSpc="1">
            <a:prstTxWarp prst="textNoShape">
              <a:avLst/>
            </a:prstTxWarp>
          </a:bodyPr>
          <a:lstStyle/>
          <a:p>
            <a:pPr marL="341794" indent="-341794" algn="ctr" defTabSz="911225" eaLnBrk="0" hangingPunct="0">
              <a:lnSpc>
                <a:spcPct val="90000"/>
              </a:lnSpc>
              <a:tabLst>
                <a:tab pos="6442075" algn="r"/>
              </a:tabLst>
              <a:defRPr/>
            </a:pPr>
            <a:r>
              <a:rPr lang="en-US" sz="1400" b="1" dirty="0">
                <a:solidFill>
                  <a:srgbClr val="FFFFFF"/>
                </a:solidFill>
              </a:rPr>
              <a:t>Drivers of Wealth (+)</a:t>
            </a:r>
          </a:p>
        </p:txBody>
      </p:sp>
      <p:sp>
        <p:nvSpPr>
          <p:cNvPr id="9" name="Content Placeholder 7"/>
          <p:cNvSpPr txBox="1">
            <a:spLocks/>
          </p:cNvSpPr>
          <p:nvPr/>
        </p:nvSpPr>
        <p:spPr bwMode="auto">
          <a:xfrm>
            <a:off x="6745487" y="1861185"/>
            <a:ext cx="4747928" cy="672465"/>
          </a:xfrm>
          <a:prstGeom prst="rect">
            <a:avLst/>
          </a:prstGeom>
          <a:solidFill>
            <a:schemeClr val="bg1"/>
          </a:solidFill>
          <a:ln w="9525">
            <a:solidFill>
              <a:schemeClr val="accent1"/>
            </a:solidFill>
            <a:miter lim="800000"/>
            <a:headEnd/>
            <a:tailEnd/>
          </a:ln>
          <a:effectLst>
            <a:outerShdw dist="50800" dir="2700000" algn="ctr" rotWithShape="0">
              <a:schemeClr val="accent1"/>
            </a:outerShdw>
          </a:effectLst>
        </p:spPr>
        <p:txBody>
          <a:bodyPr vert="horz" wrap="square" lIns="91426" tIns="45714" rIns="91426" bIns="45714" numCol="1" anchor="t" anchorCtr="0" compatLnSpc="1">
            <a:prstTxWarp prst="textNoShape">
              <a:avLst/>
            </a:prstTxWarp>
          </a:bodyPr>
          <a:lstStyle/>
          <a:p>
            <a:pPr marL="166688" indent="-166688">
              <a:spcBef>
                <a:spcPts val="200"/>
              </a:spcBef>
              <a:buClr>
                <a:schemeClr val="accent1"/>
              </a:buClr>
              <a:buFont typeface="Wingdings" pitchFamily="2" charset="2"/>
              <a:buChar char="§"/>
            </a:pPr>
            <a:r>
              <a:rPr lang="en-US" sz="1100" dirty="0">
                <a:solidFill>
                  <a:schemeClr val="tx2">
                    <a:lumMod val="50000"/>
                  </a:schemeClr>
                </a:solidFill>
              </a:rPr>
              <a:t>Real estate prices increased by 14.6% in 2019</a:t>
            </a:r>
          </a:p>
          <a:p>
            <a:pPr marL="166688" indent="-166688">
              <a:spcBef>
                <a:spcPts val="200"/>
              </a:spcBef>
              <a:buClr>
                <a:schemeClr val="accent1"/>
              </a:buClr>
              <a:buFont typeface="Wingdings" pitchFamily="2" charset="2"/>
              <a:buChar char="§"/>
            </a:pPr>
            <a:endParaRPr lang="en-US" sz="1100" dirty="0">
              <a:solidFill>
                <a:schemeClr val="tx2">
                  <a:lumMod val="50000"/>
                </a:schemeClr>
              </a:solidFill>
            </a:endParaRPr>
          </a:p>
        </p:txBody>
      </p:sp>
      <p:sp>
        <p:nvSpPr>
          <p:cNvPr id="10" name="Text Placeholder 5"/>
          <p:cNvSpPr txBox="1">
            <a:spLocks/>
          </p:cNvSpPr>
          <p:nvPr/>
        </p:nvSpPr>
        <p:spPr bwMode="auto">
          <a:xfrm>
            <a:off x="6745487" y="2895600"/>
            <a:ext cx="4747928" cy="365760"/>
          </a:xfrm>
          <a:prstGeom prst="rect">
            <a:avLst/>
          </a:prstGeom>
          <a:solidFill>
            <a:schemeClr val="accent1"/>
          </a:solidFill>
          <a:ln w="9525">
            <a:solidFill>
              <a:schemeClr val="accent1"/>
            </a:solidFill>
            <a:miter lim="800000"/>
            <a:headEnd/>
            <a:tailEnd/>
          </a:ln>
          <a:effectLst>
            <a:outerShdw dist="50800" dir="2700000" algn="ctr" rotWithShape="0">
              <a:schemeClr val="accent1"/>
            </a:outerShdw>
          </a:effectLst>
        </p:spPr>
        <p:txBody>
          <a:bodyPr vert="horz" wrap="square" lIns="91148" tIns="45574" rIns="91148" bIns="45574" numCol="1" anchor="ctr" anchorCtr="0" compatLnSpc="1">
            <a:prstTxWarp prst="textNoShape">
              <a:avLst/>
            </a:prstTxWarp>
          </a:bodyPr>
          <a:lstStyle/>
          <a:p>
            <a:pPr marL="341794" indent="-341794" algn="ctr" defTabSz="911225" eaLnBrk="0" hangingPunct="0">
              <a:lnSpc>
                <a:spcPct val="90000"/>
              </a:lnSpc>
              <a:tabLst>
                <a:tab pos="6442075" algn="r"/>
              </a:tabLst>
              <a:defRPr/>
            </a:pPr>
            <a:r>
              <a:rPr lang="en-US" sz="1400" b="1" dirty="0">
                <a:solidFill>
                  <a:srgbClr val="FFFFFF"/>
                </a:solidFill>
              </a:rPr>
              <a:t>Inhibitors of Wealth (-)</a:t>
            </a:r>
          </a:p>
        </p:txBody>
      </p:sp>
      <p:sp>
        <p:nvSpPr>
          <p:cNvPr id="11" name="Content Placeholder 7"/>
          <p:cNvSpPr txBox="1">
            <a:spLocks/>
          </p:cNvSpPr>
          <p:nvPr/>
        </p:nvSpPr>
        <p:spPr bwMode="auto">
          <a:xfrm>
            <a:off x="6745487" y="3261360"/>
            <a:ext cx="4747928" cy="1015330"/>
          </a:xfrm>
          <a:prstGeom prst="rect">
            <a:avLst/>
          </a:prstGeom>
          <a:solidFill>
            <a:schemeClr val="bg1"/>
          </a:solidFill>
          <a:ln w="9525">
            <a:solidFill>
              <a:schemeClr val="accent1"/>
            </a:solidFill>
            <a:miter lim="800000"/>
            <a:headEnd/>
            <a:tailEnd/>
          </a:ln>
          <a:effectLst>
            <a:outerShdw dist="50800" dir="2700000" algn="ctr" rotWithShape="0">
              <a:schemeClr val="accent1"/>
            </a:outerShdw>
          </a:effectLst>
        </p:spPr>
        <p:txBody>
          <a:bodyPr vert="horz" wrap="square" lIns="91426" tIns="45714" rIns="91426" bIns="45714" numCol="1" anchor="t" anchorCtr="0" compatLnSpc="1">
            <a:prstTxWarp prst="textNoShape">
              <a:avLst/>
            </a:prstTxWarp>
          </a:bodyPr>
          <a:lstStyle/>
          <a:p>
            <a:pPr marL="166688" indent="-166688">
              <a:spcBef>
                <a:spcPts val="200"/>
              </a:spcBef>
              <a:buClr>
                <a:schemeClr val="accent1"/>
              </a:buClr>
              <a:buFont typeface="Wingdings" pitchFamily="2" charset="2"/>
              <a:buChar char="§"/>
            </a:pPr>
            <a:r>
              <a:rPr lang="en-US" sz="1100" dirty="0">
                <a:solidFill>
                  <a:schemeClr val="tx2">
                    <a:lumMod val="50000"/>
                  </a:schemeClr>
                </a:solidFill>
              </a:rPr>
              <a:t>Real GDP grew by 2.3% in 2019, lower than 3.1% growth in 2018</a:t>
            </a:r>
          </a:p>
          <a:p>
            <a:pPr marL="166688" indent="-166688">
              <a:spcBef>
                <a:spcPts val="200"/>
              </a:spcBef>
              <a:buClr>
                <a:schemeClr val="accent1"/>
              </a:buClr>
              <a:buFont typeface="Wingdings" pitchFamily="2" charset="2"/>
              <a:buChar char="§"/>
            </a:pPr>
            <a:r>
              <a:rPr lang="en-US" sz="1100" dirty="0">
                <a:solidFill>
                  <a:schemeClr val="tx2">
                    <a:lumMod val="50000"/>
                  </a:schemeClr>
                </a:solidFill>
              </a:rPr>
              <a:t>Market Capitalization declined by 10.6% in 2019</a:t>
            </a:r>
          </a:p>
          <a:p>
            <a:pPr marL="166688" indent="-166688">
              <a:spcBef>
                <a:spcPts val="200"/>
              </a:spcBef>
              <a:buClr>
                <a:schemeClr val="accent1"/>
              </a:buClr>
              <a:buFont typeface="Wingdings" pitchFamily="2" charset="2"/>
              <a:buChar char="§"/>
            </a:pPr>
            <a:r>
              <a:rPr lang="en-US" sz="1100" dirty="0">
                <a:solidFill>
                  <a:schemeClr val="tx2">
                    <a:lumMod val="50000"/>
                  </a:schemeClr>
                </a:solidFill>
              </a:rPr>
              <a:t>National savings as a percentage of GDP declined marginally to 20.5% in 2019</a:t>
            </a:r>
          </a:p>
          <a:p>
            <a:pPr marL="166688" indent="-166688">
              <a:spcBef>
                <a:spcPts val="200"/>
              </a:spcBef>
              <a:buClr>
                <a:schemeClr val="accent1"/>
              </a:buClr>
              <a:buFont typeface="Wingdings" pitchFamily="2" charset="2"/>
              <a:buChar char="§"/>
            </a:pPr>
            <a:endParaRPr lang="en-US" sz="1100" dirty="0">
              <a:solidFill>
                <a:schemeClr val="tx2">
                  <a:lumMod val="50000"/>
                </a:schemeClr>
              </a:solidFill>
            </a:endParaRPr>
          </a:p>
        </p:txBody>
      </p:sp>
      <p:sp>
        <p:nvSpPr>
          <p:cNvPr id="17" name="Rectangle 16">
            <a:extLst>
              <a:ext uri="{FF2B5EF4-FFF2-40B4-BE49-F238E27FC236}">
                <a16:creationId xmlns:a16="http://schemas.microsoft.com/office/drawing/2014/main" id="{2B7C0AF3-116F-4AE2-BD21-85D194283F30}"/>
              </a:ext>
            </a:extLst>
          </p:cNvPr>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LUXEMBOURG</a:t>
            </a:r>
          </a:p>
        </p:txBody>
      </p:sp>
      <p:sp>
        <p:nvSpPr>
          <p:cNvPr id="24" name="Rectangle 23">
            <a:extLst>
              <a:ext uri="{FF2B5EF4-FFF2-40B4-BE49-F238E27FC236}">
                <a16:creationId xmlns:a16="http://schemas.microsoft.com/office/drawing/2014/main" id="{95E4993E-252A-4184-A1A6-105E38F245A4}"/>
              </a:ext>
            </a:extLst>
          </p:cNvPr>
          <p:cNvSpPr>
            <a:spLocks noChangeArrowheads="1"/>
          </p:cNvSpPr>
          <p:nvPr>
            <p:custDataLst>
              <p:tags r:id="rId3"/>
            </p:custDataLst>
          </p:nvPr>
        </p:nvSpPr>
        <p:spPr bwMode="auto">
          <a:xfrm>
            <a:off x="308728" y="6190667"/>
            <a:ext cx="10972800" cy="246221"/>
          </a:xfrm>
          <a:prstGeom prst="rect">
            <a:avLst/>
          </a:prstGeom>
          <a:noFill/>
          <a:ln w="9525">
            <a:noFill/>
            <a:miter lim="800000"/>
            <a:headEnd/>
            <a:tailEnd/>
          </a:ln>
          <a:effectLst/>
        </p:spPr>
        <p:txBody>
          <a:bodyPr wrap="square" lIns="0" tIns="0" rIns="0" bIns="0" anchor="b">
            <a:spAutoFit/>
          </a:bodyPr>
          <a:lstStyle/>
          <a:p>
            <a:pPr marL="403225" indent="-403225">
              <a:spcBef>
                <a:spcPct val="15000"/>
              </a:spcBef>
              <a:tabLst>
                <a:tab pos="6464300" algn="r"/>
              </a:tabLst>
            </a:pPr>
            <a:r>
              <a:rPr lang="en-US" sz="800" dirty="0"/>
              <a:t>Note:	 HNWI numbers have been rounded up to one decimal place for representation while the change is calculated based on complete numbers</a:t>
            </a:r>
          </a:p>
          <a:p>
            <a:r>
              <a:rPr lang="en-US" sz="800" dirty="0"/>
              <a:t>Source: Capgemini Financial Services Analysis, 2020; Capgemini Lorenz curve methodology; Economist Intelligence Unit, May 2020; Global Property Guide House Price Index, March 2020</a:t>
            </a:r>
          </a:p>
        </p:txBody>
      </p:sp>
      <p:sp>
        <p:nvSpPr>
          <p:cNvPr id="15" name="Text Box 55">
            <a:extLst>
              <a:ext uri="{FF2B5EF4-FFF2-40B4-BE49-F238E27FC236}">
                <a16:creationId xmlns:a16="http://schemas.microsoft.com/office/drawing/2014/main" id="{B3150C5C-6089-4FFB-B7D0-D90CE556B9C2}"/>
              </a:ext>
            </a:extLst>
          </p:cNvPr>
          <p:cNvSpPr txBox="1">
            <a:spLocks noChangeArrowheads="1"/>
          </p:cNvSpPr>
          <p:nvPr/>
        </p:nvSpPr>
        <p:spPr bwMode="auto">
          <a:xfrm>
            <a:off x="1565464" y="1295400"/>
            <a:ext cx="3742609" cy="433452"/>
          </a:xfrm>
          <a:prstGeom prst="rect">
            <a:avLst/>
          </a:prstGeom>
          <a:noFill/>
          <a:ln w="9525">
            <a:noFill/>
            <a:miter lim="800000"/>
            <a:headEnd/>
            <a:tailEnd/>
          </a:ln>
        </p:spPr>
        <p:txBody>
          <a:bodyPr wrap="square" lIns="0" tIns="0" rIns="0" bIns="0">
            <a:spAutoFit/>
          </a:bodyPr>
          <a:lstStyle/>
          <a:p>
            <a:pPr algn="ctr">
              <a:spcBef>
                <a:spcPts val="468"/>
              </a:spcBef>
            </a:pPr>
            <a:r>
              <a:rPr lang="en-US" sz="1200" b="1" i="1" dirty="0">
                <a:solidFill>
                  <a:schemeClr val="tx2">
                    <a:lumMod val="50000"/>
                  </a:schemeClr>
                </a:solidFill>
              </a:rPr>
              <a:t>Number of HNWIs for Luxembourg (‘000),</a:t>
            </a:r>
          </a:p>
          <a:p>
            <a:pPr algn="ctr">
              <a:spcBef>
                <a:spcPts val="468"/>
              </a:spcBef>
            </a:pPr>
            <a:r>
              <a:rPr lang="en-US" sz="1200" b="1" i="1" dirty="0">
                <a:solidFill>
                  <a:schemeClr val="tx2">
                    <a:lumMod val="50000"/>
                  </a:schemeClr>
                </a:solidFill>
              </a:rPr>
              <a:t>2018–2019</a:t>
            </a:r>
          </a:p>
        </p:txBody>
      </p:sp>
      <p:grpSp>
        <p:nvGrpSpPr>
          <p:cNvPr id="16" name="Group 14">
            <a:extLst>
              <a:ext uri="{FF2B5EF4-FFF2-40B4-BE49-F238E27FC236}">
                <a16:creationId xmlns:a16="http://schemas.microsoft.com/office/drawing/2014/main" id="{58B05CDB-73B0-42F7-B0D8-B09153BB65B5}"/>
              </a:ext>
            </a:extLst>
          </p:cNvPr>
          <p:cNvGrpSpPr/>
          <p:nvPr/>
        </p:nvGrpSpPr>
        <p:grpSpPr>
          <a:xfrm>
            <a:off x="5207859" y="1679341"/>
            <a:ext cx="1107469" cy="345645"/>
            <a:chOff x="3610050" y="1700775"/>
            <a:chExt cx="731520" cy="345645"/>
          </a:xfrm>
        </p:grpSpPr>
        <p:sp>
          <p:nvSpPr>
            <p:cNvPr id="18" name="TextBox 17">
              <a:extLst>
                <a:ext uri="{FF2B5EF4-FFF2-40B4-BE49-F238E27FC236}">
                  <a16:creationId xmlns:a16="http://schemas.microsoft.com/office/drawing/2014/main" id="{15088F7C-F67A-4E11-B84F-1F0EAD4D2EB8}"/>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8–2019)</a:t>
              </a:r>
            </a:p>
          </p:txBody>
        </p:sp>
        <p:cxnSp>
          <p:nvCxnSpPr>
            <p:cNvPr id="19" name="Straight Connector 18">
              <a:extLst>
                <a:ext uri="{FF2B5EF4-FFF2-40B4-BE49-F238E27FC236}">
                  <a16:creationId xmlns:a16="http://schemas.microsoft.com/office/drawing/2014/main" id="{FEAA9456-8A12-4803-B032-C3705CF161A4}"/>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20" name="TextBox 17">
            <a:extLst>
              <a:ext uri="{FF2B5EF4-FFF2-40B4-BE49-F238E27FC236}">
                <a16:creationId xmlns:a16="http://schemas.microsoft.com/office/drawing/2014/main" id="{DC569A01-D535-4AFC-826B-47A4565201CA}"/>
              </a:ext>
            </a:extLst>
          </p:cNvPr>
          <p:cNvSpPr txBox="1">
            <a:spLocks noChangeArrowheads="1"/>
          </p:cNvSpPr>
          <p:nvPr/>
        </p:nvSpPr>
        <p:spPr bwMode="auto">
          <a:xfrm>
            <a:off x="5409962" y="2066884"/>
            <a:ext cx="703262" cy="246221"/>
          </a:xfrm>
          <a:prstGeom prst="rect">
            <a:avLst/>
          </a:prstGeom>
          <a:noFill/>
          <a:ln w="9525">
            <a:noFill/>
            <a:miter lim="800000"/>
            <a:headEnd/>
            <a:tailEnd/>
          </a:ln>
        </p:spPr>
        <p:txBody>
          <a:bodyPr rIns="182880">
            <a:spAutoFit/>
          </a:bodyPr>
          <a:lstStyle/>
          <a:p>
            <a:pPr algn="r"/>
            <a:r>
              <a:rPr lang="en-US" sz="1000" dirty="0">
                <a:solidFill>
                  <a:schemeClr val="tx2">
                    <a:lumMod val="50000"/>
                  </a:schemeClr>
                </a:solidFill>
              </a:rPr>
              <a:t>0.4%</a:t>
            </a:r>
          </a:p>
        </p:txBody>
      </p:sp>
      <p:graphicFrame>
        <p:nvGraphicFramePr>
          <p:cNvPr id="21" name="Object 8">
            <a:extLst>
              <a:ext uri="{FF2B5EF4-FFF2-40B4-BE49-F238E27FC236}">
                <a16:creationId xmlns:a16="http://schemas.microsoft.com/office/drawing/2014/main" id="{72A03E4D-1DC0-4990-AFD4-8559A67FA010}"/>
              </a:ext>
            </a:extLst>
          </p:cNvPr>
          <p:cNvGraphicFramePr>
            <a:graphicFrameLocks/>
          </p:cNvGraphicFramePr>
          <p:nvPr/>
        </p:nvGraphicFramePr>
        <p:xfrm>
          <a:off x="1144034" y="1676400"/>
          <a:ext cx="3657600" cy="1828800"/>
        </p:xfrm>
        <a:graphic>
          <a:graphicData uri="http://schemas.openxmlformats.org/drawingml/2006/chart">
            <c:chart xmlns:c="http://schemas.openxmlformats.org/drawingml/2006/chart" xmlns:r="http://schemas.openxmlformats.org/officeDocument/2006/relationships" r:id="rId7"/>
          </a:graphicData>
        </a:graphic>
      </p:graphicFrame>
      <p:sp>
        <p:nvSpPr>
          <p:cNvPr id="22" name="Text Box 55">
            <a:extLst>
              <a:ext uri="{FF2B5EF4-FFF2-40B4-BE49-F238E27FC236}">
                <a16:creationId xmlns:a16="http://schemas.microsoft.com/office/drawing/2014/main" id="{2E0661D1-DFEC-4ADD-8E1D-800F3316E05F}"/>
              </a:ext>
            </a:extLst>
          </p:cNvPr>
          <p:cNvSpPr txBox="1">
            <a:spLocks noChangeArrowheads="1"/>
          </p:cNvSpPr>
          <p:nvPr/>
        </p:nvSpPr>
        <p:spPr bwMode="auto">
          <a:xfrm>
            <a:off x="1172490" y="3733800"/>
            <a:ext cx="4576124" cy="433452"/>
          </a:xfrm>
          <a:prstGeom prst="rect">
            <a:avLst/>
          </a:prstGeom>
          <a:noFill/>
          <a:ln w="9525">
            <a:noFill/>
            <a:miter lim="800000"/>
            <a:headEnd/>
            <a:tailEnd/>
          </a:ln>
        </p:spPr>
        <p:txBody>
          <a:bodyPr wrap="square" lIns="0" tIns="0" rIns="0" bIns="0">
            <a:spAutoFit/>
          </a:bodyPr>
          <a:lstStyle/>
          <a:p>
            <a:pPr algn="ctr">
              <a:spcBef>
                <a:spcPts val="468"/>
              </a:spcBef>
            </a:pPr>
            <a:r>
              <a:rPr lang="en-US" sz="1200" b="1" i="1" dirty="0">
                <a:solidFill>
                  <a:schemeClr val="tx2">
                    <a:lumMod val="50000"/>
                  </a:schemeClr>
                </a:solidFill>
              </a:rPr>
              <a:t>HNWI Financial Wealth (US$ billion) for </a:t>
            </a:r>
          </a:p>
          <a:p>
            <a:pPr algn="ctr">
              <a:spcBef>
                <a:spcPts val="468"/>
              </a:spcBef>
            </a:pPr>
            <a:r>
              <a:rPr lang="en-US" sz="1200" b="1" i="1" dirty="0">
                <a:solidFill>
                  <a:schemeClr val="tx2">
                    <a:lumMod val="50000"/>
                  </a:schemeClr>
                </a:solidFill>
              </a:rPr>
              <a:t>Luxembourg, 2018–2019</a:t>
            </a:r>
          </a:p>
        </p:txBody>
      </p:sp>
      <p:grpSp>
        <p:nvGrpSpPr>
          <p:cNvPr id="23" name="Group 14">
            <a:extLst>
              <a:ext uri="{FF2B5EF4-FFF2-40B4-BE49-F238E27FC236}">
                <a16:creationId xmlns:a16="http://schemas.microsoft.com/office/drawing/2014/main" id="{E220B2F7-4A5E-4059-90D3-8EEC8F8B6618}"/>
              </a:ext>
            </a:extLst>
          </p:cNvPr>
          <p:cNvGrpSpPr/>
          <p:nvPr/>
        </p:nvGrpSpPr>
        <p:grpSpPr>
          <a:xfrm>
            <a:off x="5170845" y="4262665"/>
            <a:ext cx="1107469" cy="345645"/>
            <a:chOff x="3610050" y="1700775"/>
            <a:chExt cx="731520" cy="345645"/>
          </a:xfrm>
        </p:grpSpPr>
        <p:sp>
          <p:nvSpPr>
            <p:cNvPr id="31" name="TextBox 30">
              <a:extLst>
                <a:ext uri="{FF2B5EF4-FFF2-40B4-BE49-F238E27FC236}">
                  <a16:creationId xmlns:a16="http://schemas.microsoft.com/office/drawing/2014/main" id="{E0C61272-D796-4FA4-8770-62E1C86A4FB1}"/>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8–2019)</a:t>
              </a:r>
            </a:p>
          </p:txBody>
        </p:sp>
        <p:cxnSp>
          <p:nvCxnSpPr>
            <p:cNvPr id="32" name="Straight Connector 31">
              <a:extLst>
                <a:ext uri="{FF2B5EF4-FFF2-40B4-BE49-F238E27FC236}">
                  <a16:creationId xmlns:a16="http://schemas.microsoft.com/office/drawing/2014/main" id="{5237872E-9FEA-4D92-8A61-80786284F2D9}"/>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33" name="TextBox 17">
            <a:extLst>
              <a:ext uri="{FF2B5EF4-FFF2-40B4-BE49-F238E27FC236}">
                <a16:creationId xmlns:a16="http://schemas.microsoft.com/office/drawing/2014/main" id="{8BAFFC51-4B67-482D-8924-141778359E77}"/>
              </a:ext>
            </a:extLst>
          </p:cNvPr>
          <p:cNvSpPr txBox="1">
            <a:spLocks noChangeArrowheads="1"/>
          </p:cNvSpPr>
          <p:nvPr/>
        </p:nvSpPr>
        <p:spPr bwMode="auto">
          <a:xfrm>
            <a:off x="5372948" y="4642311"/>
            <a:ext cx="740276" cy="246221"/>
          </a:xfrm>
          <a:prstGeom prst="rect">
            <a:avLst/>
          </a:prstGeom>
          <a:noFill/>
          <a:ln w="9525">
            <a:noFill/>
            <a:miter lim="800000"/>
            <a:headEnd/>
            <a:tailEnd/>
          </a:ln>
        </p:spPr>
        <p:txBody>
          <a:bodyPr wrap="square" rIns="182880">
            <a:spAutoFit/>
          </a:bodyPr>
          <a:lstStyle/>
          <a:p>
            <a:pPr algn="r"/>
            <a:r>
              <a:rPr lang="en-US" sz="1000" dirty="0"/>
              <a:t>0.6%</a:t>
            </a:r>
          </a:p>
        </p:txBody>
      </p:sp>
      <p:graphicFrame>
        <p:nvGraphicFramePr>
          <p:cNvPr id="34" name="Object 8">
            <a:extLst>
              <a:ext uri="{FF2B5EF4-FFF2-40B4-BE49-F238E27FC236}">
                <a16:creationId xmlns:a16="http://schemas.microsoft.com/office/drawing/2014/main" id="{3FA287B8-FBF8-4820-A708-0C6128170795}"/>
              </a:ext>
            </a:extLst>
          </p:cNvPr>
          <p:cNvGraphicFramePr>
            <a:graphicFrameLocks/>
          </p:cNvGraphicFramePr>
          <p:nvPr/>
        </p:nvGraphicFramePr>
        <p:xfrm>
          <a:off x="1172490" y="4272301"/>
          <a:ext cx="3657600" cy="1828800"/>
        </p:xfrm>
        <a:graphic>
          <a:graphicData uri="http://schemas.openxmlformats.org/drawingml/2006/chart">
            <c:chart xmlns:c="http://schemas.openxmlformats.org/drawingml/2006/chart" xmlns:r="http://schemas.openxmlformats.org/officeDocument/2006/relationships" r:id="rId8"/>
          </a:graphicData>
        </a:graphic>
      </p:graphicFrame>
      <p:sp>
        <p:nvSpPr>
          <p:cNvPr id="27" name="Rectangle: Diagonal Corners Rounded 2">
            <a:extLst>
              <a:ext uri="{FF2B5EF4-FFF2-40B4-BE49-F238E27FC236}">
                <a16:creationId xmlns:a16="http://schemas.microsoft.com/office/drawing/2014/main" id="{8D0FC009-8480-475E-B30F-59E1B10404C7}"/>
              </a:ext>
            </a:extLst>
          </p:cNvPr>
          <p:cNvSpPr/>
          <p:nvPr/>
        </p:nvSpPr>
        <p:spPr>
          <a:xfrm>
            <a:off x="6705600" y="4648200"/>
            <a:ext cx="4804256" cy="760825"/>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IN" sz="1100" b="1" u="sng" dirty="0">
                <a:solidFill>
                  <a:schemeClr val="tx1"/>
                </a:solidFill>
              </a:rPr>
              <a:t>COVID-19 IMPACT</a:t>
            </a:r>
          </a:p>
          <a:p>
            <a:r>
              <a:rPr lang="en-IN" sz="1100" b="1" dirty="0">
                <a:solidFill>
                  <a:schemeClr val="tx1"/>
                </a:solidFill>
              </a:rPr>
              <a:t>We have estimated</a:t>
            </a:r>
            <a:r>
              <a:rPr lang="en-IN" sz="1100" dirty="0">
                <a:solidFill>
                  <a:schemeClr val="tx1"/>
                </a:solidFill>
              </a:rPr>
              <a:t> </a:t>
            </a:r>
            <a:r>
              <a:rPr lang="en-IN" sz="1100" b="1" dirty="0">
                <a:solidFill>
                  <a:schemeClr val="tx1"/>
                </a:solidFill>
              </a:rPr>
              <a:t>a</a:t>
            </a:r>
            <a:r>
              <a:rPr lang="en-IN" sz="1100" dirty="0">
                <a:solidFill>
                  <a:schemeClr val="tx1"/>
                </a:solidFill>
              </a:rPr>
              <a:t> </a:t>
            </a:r>
            <a:r>
              <a:rPr lang="en-IN" sz="1100" b="1" dirty="0">
                <a:solidFill>
                  <a:schemeClr val="tx1"/>
                </a:solidFill>
              </a:rPr>
              <a:t>decline of 6</a:t>
            </a:r>
            <a:r>
              <a:rPr lang="en-IN" sz="1100" b="1" dirty="0">
                <a:solidFill>
                  <a:schemeClr val="tx1"/>
                </a:solidFill>
                <a:latin typeface="Verdana" panose="020B0604030504040204" pitchFamily="34" charset="0"/>
                <a:ea typeface="Verdana" panose="020B0604030504040204" pitchFamily="34" charset="0"/>
              </a:rPr>
              <a:t>–8</a:t>
            </a:r>
            <a:r>
              <a:rPr lang="en-IN" sz="1100" b="1" dirty="0">
                <a:solidFill>
                  <a:schemeClr val="tx1"/>
                </a:solidFill>
              </a:rPr>
              <a:t>% in the global HNWI wealth till the end of April 2020 </a:t>
            </a:r>
            <a:r>
              <a:rPr lang="en-IN" sz="1100" dirty="0">
                <a:solidFill>
                  <a:schemeClr val="tx1"/>
                </a:solidFill>
              </a:rPr>
              <a:t>(vs the end of 2019)*</a:t>
            </a:r>
            <a:endParaRPr lang="en-US" sz="1100" dirty="0">
              <a:solidFill>
                <a:schemeClr val="tx1"/>
              </a:solidFill>
            </a:endParaRPr>
          </a:p>
        </p:txBody>
      </p:sp>
      <p:sp>
        <p:nvSpPr>
          <p:cNvPr id="28" name="TextBox 27">
            <a:extLst>
              <a:ext uri="{FF2B5EF4-FFF2-40B4-BE49-F238E27FC236}">
                <a16:creationId xmlns:a16="http://schemas.microsoft.com/office/drawing/2014/main" id="{F8C3B0E0-E451-4D56-8694-98F016CE4EF2}"/>
              </a:ext>
            </a:extLst>
          </p:cNvPr>
          <p:cNvSpPr txBox="1"/>
          <p:nvPr/>
        </p:nvSpPr>
        <p:spPr>
          <a:xfrm>
            <a:off x="6755646" y="5454525"/>
            <a:ext cx="5067309" cy="369332"/>
          </a:xfrm>
          <a:prstGeom prst="rect">
            <a:avLst/>
          </a:prstGeom>
          <a:noFill/>
        </p:spPr>
        <p:txBody>
          <a:bodyPr wrap="square" rtlCol="0">
            <a:spAutoFit/>
          </a:bodyPr>
          <a:lstStyle/>
          <a:p>
            <a:r>
              <a:rPr lang="en-IN" sz="900" i="1" dirty="0"/>
              <a:t>*calculated based on EIU data for national statistics and asset returns for various asset classes from publicly available sources </a:t>
            </a:r>
            <a:endParaRPr lang="en-US" sz="900" i="1" dirty="0"/>
          </a:p>
        </p:txBody>
      </p:sp>
    </p:spTree>
    <p:extLst>
      <p:ext uri="{BB962C8B-B14F-4D97-AF65-F5344CB8AC3E}">
        <p14:creationId xmlns:p14="http://schemas.microsoft.com/office/powerpoint/2010/main" val="104714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xembourg – 2019 Economic Review</a:t>
            </a:r>
          </a:p>
        </p:txBody>
      </p:sp>
      <p:sp>
        <p:nvSpPr>
          <p:cNvPr id="5" name="Rectangle 4"/>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LUXEMBOURG</a:t>
            </a:r>
          </a:p>
        </p:txBody>
      </p:sp>
      <p:sp>
        <p:nvSpPr>
          <p:cNvPr id="6" name="Text Box 55"/>
          <p:cNvSpPr txBox="1">
            <a:spLocks noChangeArrowheads="1"/>
          </p:cNvSpPr>
          <p:nvPr/>
        </p:nvSpPr>
        <p:spPr bwMode="auto">
          <a:xfrm>
            <a:off x="1471728" y="1101784"/>
            <a:ext cx="9269297" cy="307777"/>
          </a:xfrm>
          <a:prstGeom prst="rect">
            <a:avLst/>
          </a:prstGeom>
          <a:noFill/>
          <a:ln w="9525">
            <a:noFill/>
            <a:miter lim="800000"/>
            <a:headEnd/>
            <a:tailEnd/>
          </a:ln>
        </p:spPr>
        <p:txBody>
          <a:bodyPr wrap="square">
            <a:spAutoFit/>
          </a:bodyPr>
          <a:lstStyle/>
          <a:p>
            <a:pPr algn="ctr">
              <a:spcBef>
                <a:spcPts val="468"/>
              </a:spcBef>
            </a:pPr>
            <a:r>
              <a:rPr lang="en-US" sz="1400" b="1" i="1" dirty="0">
                <a:solidFill>
                  <a:schemeClr val="tx2">
                    <a:lumMod val="50000"/>
                  </a:schemeClr>
                </a:solidFill>
              </a:rPr>
              <a:t>Key Macroeconomic Drivers and Inhibitors of HNWI Wealth</a:t>
            </a:r>
          </a:p>
        </p:txBody>
      </p:sp>
      <p:graphicFrame>
        <p:nvGraphicFramePr>
          <p:cNvPr id="7" name="Table 6"/>
          <p:cNvGraphicFramePr>
            <a:graphicFrameLocks noGrp="1"/>
          </p:cNvGraphicFramePr>
          <p:nvPr/>
        </p:nvGraphicFramePr>
        <p:xfrm>
          <a:off x="685800" y="1495425"/>
          <a:ext cx="10595729" cy="3635081"/>
        </p:xfrm>
        <a:graphic>
          <a:graphicData uri="http://schemas.openxmlformats.org/drawingml/2006/table">
            <a:tbl>
              <a:tblPr firstRow="1" bandRow="1">
                <a:tableStyleId>{9DCAF9ED-07DC-4A11-8D7F-57B35C25682E}</a:tableStyleId>
              </a:tblPr>
              <a:tblGrid>
                <a:gridCol w="1464431">
                  <a:extLst>
                    <a:ext uri="{9D8B030D-6E8A-4147-A177-3AD203B41FA5}">
                      <a16:colId xmlns:a16="http://schemas.microsoft.com/office/drawing/2014/main" val="20000"/>
                    </a:ext>
                  </a:extLst>
                </a:gridCol>
                <a:gridCol w="2141039">
                  <a:extLst>
                    <a:ext uri="{9D8B030D-6E8A-4147-A177-3AD203B41FA5}">
                      <a16:colId xmlns:a16="http://schemas.microsoft.com/office/drawing/2014/main" val="20001"/>
                    </a:ext>
                  </a:extLst>
                </a:gridCol>
                <a:gridCol w="6990259">
                  <a:extLst>
                    <a:ext uri="{9D8B030D-6E8A-4147-A177-3AD203B41FA5}">
                      <a16:colId xmlns:a16="http://schemas.microsoft.com/office/drawing/2014/main" val="20002"/>
                    </a:ext>
                  </a:extLst>
                </a:gridCol>
              </a:tblGrid>
              <a:tr h="197361">
                <a:tc>
                  <a:txBody>
                    <a:bodyPr/>
                    <a:lstStyle/>
                    <a:p>
                      <a:r>
                        <a:rPr lang="en-US" sz="1100" dirty="0">
                          <a:solidFill>
                            <a:schemeClr val="bg1"/>
                          </a:solidFill>
                        </a:rPr>
                        <a:t>Factor</a:t>
                      </a:r>
                    </a:p>
                  </a:txBody>
                  <a:tcPr marL="45720" marR="45720" anchor="b">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Performance</a:t>
                      </a: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Drivers and Inhibitors</a:t>
                      </a: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27528">
                <a:tc>
                  <a:txBody>
                    <a:bodyPr/>
                    <a:lstStyle/>
                    <a:p>
                      <a:pPr>
                        <a:spcBef>
                          <a:spcPts val="200"/>
                        </a:spcBef>
                      </a:pPr>
                      <a:r>
                        <a:rPr lang="en-US" sz="1100" b="1" dirty="0">
                          <a:solidFill>
                            <a:schemeClr val="tx2">
                              <a:lumMod val="50000"/>
                            </a:schemeClr>
                          </a:solidFill>
                        </a:rPr>
                        <a:t>GDP Growth</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spcBef>
                          <a:spcPts val="200"/>
                        </a:spcBef>
                        <a:buClr>
                          <a:schemeClr val="accent1"/>
                        </a:buClr>
                        <a:buFont typeface="Wingdings" pitchFamily="2" charset="2"/>
                        <a:buChar char="§"/>
                      </a:pPr>
                      <a:r>
                        <a:rPr lang="en-US" sz="1100" b="1" dirty="0">
                          <a:solidFill>
                            <a:schemeClr val="tx2">
                              <a:lumMod val="50000"/>
                            </a:schemeClr>
                          </a:solidFill>
                        </a:rPr>
                        <a:t>Real GDP Growth: </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2">
                              <a:lumMod val="50000"/>
                            </a:schemeClr>
                          </a:solidFill>
                          <a:latin typeface="+mn-lt"/>
                          <a:ea typeface="+mn-ea"/>
                          <a:cs typeface="+mn-cs"/>
                        </a:rPr>
                        <a:t>2.3% 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2">
                              <a:lumMod val="50000"/>
                            </a:schemeClr>
                          </a:solidFill>
                          <a:latin typeface="+mn-lt"/>
                          <a:ea typeface="+mn-ea"/>
                          <a:cs typeface="+mn-cs"/>
                        </a:rPr>
                        <a:t>3.1%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spcBef>
                          <a:spcPts val="200"/>
                        </a:spcBef>
                        <a:buClr>
                          <a:schemeClr val="accent1"/>
                        </a:buClr>
                        <a:buFont typeface="Wingdings" pitchFamily="2" charset="2"/>
                        <a:buChar char="§"/>
                      </a:pPr>
                      <a:r>
                        <a:rPr lang="en-US" sz="1100" dirty="0">
                          <a:solidFill>
                            <a:schemeClr val="tx1"/>
                          </a:solidFill>
                        </a:rPr>
                        <a:t>Real GDP grew 2.3% in 2019, lower than the 3.1% growth in 2018.</a:t>
                      </a:r>
                    </a:p>
                    <a:p>
                      <a:pPr marL="174625" indent="-174625">
                        <a:spcBef>
                          <a:spcPts val="200"/>
                        </a:spcBef>
                        <a:buClr>
                          <a:schemeClr val="accent1"/>
                        </a:buClr>
                        <a:buFont typeface="Wingdings" pitchFamily="2" charset="2"/>
                        <a:buChar char="§"/>
                      </a:pPr>
                      <a:r>
                        <a:rPr lang="en-US" sz="1100" dirty="0">
                          <a:solidFill>
                            <a:schemeClr val="tx1"/>
                          </a:solidFill>
                        </a:rPr>
                        <a:t>The economic growth in 2019 was mainly driven by private consumption and investments (which rebounded after a sharp drop in 2017).</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74582">
                <a:tc>
                  <a:txBody>
                    <a:bodyPr/>
                    <a:lstStyle/>
                    <a:p>
                      <a:pPr>
                        <a:spcBef>
                          <a:spcPts val="200"/>
                        </a:spcBef>
                      </a:pPr>
                      <a:r>
                        <a:rPr lang="en-US" sz="1100" b="1" dirty="0">
                          <a:solidFill>
                            <a:schemeClr val="tx2">
                              <a:lumMod val="50000"/>
                            </a:schemeClr>
                          </a:solidFill>
                        </a:rPr>
                        <a:t>Saving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1"/>
                          </a:solidFill>
                          <a:latin typeface="+mn-lt"/>
                          <a:ea typeface="+mn-ea"/>
                          <a:cs typeface="+mn-cs"/>
                        </a:rPr>
                        <a:t>National Savings as a Percentage of GDP:</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1"/>
                          </a:solidFill>
                          <a:latin typeface="+mn-lt"/>
                          <a:ea typeface="+mn-ea"/>
                          <a:cs typeface="+mn-cs"/>
                        </a:rPr>
                        <a:t>20.5% 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1"/>
                          </a:solidFill>
                          <a:latin typeface="+mn-lt"/>
                          <a:ea typeface="+mn-ea"/>
                          <a:cs typeface="+mn-cs"/>
                        </a:rPr>
                        <a:t>21.6%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kern="1200" dirty="0">
                          <a:solidFill>
                            <a:schemeClr val="tx1"/>
                          </a:solidFill>
                          <a:latin typeface="+mn-lt"/>
                          <a:ea typeface="+mn-ea"/>
                          <a:cs typeface="+mn-cs"/>
                        </a:rPr>
                        <a:t>National savings as a percentage of GDP stood at 20.5% in 2019:</a:t>
                      </a:r>
                    </a:p>
                    <a:p>
                      <a:pPr marL="342900" indent="-168275" algn="l" defTabSz="914262" rtl="0" eaLnBrk="1" latinLnBrk="0" hangingPunct="1">
                        <a:spcBef>
                          <a:spcPts val="200"/>
                        </a:spcBef>
                        <a:buClr>
                          <a:schemeClr val="accent1"/>
                        </a:buClr>
                        <a:buFont typeface="Arial" pitchFamily="34" charset="0"/>
                        <a:buChar char="•"/>
                      </a:pPr>
                      <a:r>
                        <a:rPr lang="en-US" sz="1100" b="0" kern="1200" dirty="0">
                          <a:solidFill>
                            <a:schemeClr val="tx1"/>
                          </a:solidFill>
                          <a:latin typeface="+mn-lt"/>
                          <a:ea typeface="+mn-ea"/>
                          <a:cs typeface="+mn-cs"/>
                        </a:rPr>
                        <a:t>Nominal private consumption stood at US$21.3 billion, representing an increase of 0.8% in 2019.</a:t>
                      </a:r>
                    </a:p>
                    <a:p>
                      <a:pPr marL="342900" indent="-168275" algn="l" defTabSz="914262" rtl="0" eaLnBrk="1" latinLnBrk="0" hangingPunct="1">
                        <a:spcBef>
                          <a:spcPts val="200"/>
                        </a:spcBef>
                        <a:buClr>
                          <a:schemeClr val="accent1"/>
                        </a:buClr>
                        <a:buFont typeface="Arial" pitchFamily="34" charset="0"/>
                        <a:buChar char="•"/>
                      </a:pPr>
                      <a:r>
                        <a:rPr lang="en-US" sz="1100" b="0" kern="1200" dirty="0">
                          <a:solidFill>
                            <a:schemeClr val="tx1"/>
                          </a:solidFill>
                          <a:latin typeface="+mn-lt"/>
                          <a:ea typeface="+mn-ea"/>
                          <a:cs typeface="+mn-cs"/>
                        </a:rPr>
                        <a:t>Nominal Government consumption stood at US$12 billion, representing </a:t>
                      </a:r>
                      <a:r>
                        <a:rPr lang="en-US" sz="1100" b="0" kern="1200">
                          <a:solidFill>
                            <a:schemeClr val="tx1"/>
                          </a:solidFill>
                          <a:latin typeface="+mn-lt"/>
                          <a:ea typeface="+mn-ea"/>
                          <a:cs typeface="+mn-cs"/>
                        </a:rPr>
                        <a:t>a rise of </a:t>
                      </a:r>
                      <a:r>
                        <a:rPr lang="en-US" sz="1100" b="0" kern="1200" dirty="0">
                          <a:solidFill>
                            <a:schemeClr val="tx1"/>
                          </a:solidFill>
                          <a:latin typeface="+mn-lt"/>
                          <a:ea typeface="+mn-ea"/>
                          <a:cs typeface="+mn-cs"/>
                        </a:rPr>
                        <a:t>1</a:t>
                      </a:r>
                      <a:r>
                        <a:rPr lang="en-US" sz="1100" b="0" kern="1200">
                          <a:solidFill>
                            <a:schemeClr val="tx1"/>
                          </a:solidFill>
                          <a:latin typeface="+mn-lt"/>
                          <a:ea typeface="+mn-ea"/>
                          <a:cs typeface="+mn-cs"/>
                        </a:rPr>
                        <a:t>.1</a:t>
                      </a:r>
                      <a:r>
                        <a:rPr lang="en-US" sz="1100" b="0" kern="1200" dirty="0">
                          <a:solidFill>
                            <a:schemeClr val="tx1"/>
                          </a:solidFill>
                          <a:latin typeface="+mn-lt"/>
                          <a:ea typeface="+mn-ea"/>
                          <a:cs typeface="+mn-cs"/>
                        </a:rPr>
                        <a:t>% in 2019.</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55233">
                <a:tc>
                  <a:txBody>
                    <a:bodyPr/>
                    <a:lstStyle/>
                    <a:p>
                      <a:pPr>
                        <a:spcBef>
                          <a:spcPts val="200"/>
                        </a:spcBef>
                      </a:pPr>
                      <a:r>
                        <a:rPr lang="en-US" sz="1100" b="1" dirty="0">
                          <a:solidFill>
                            <a:schemeClr val="tx2">
                              <a:lumMod val="50000"/>
                            </a:schemeClr>
                          </a:solidFill>
                        </a:rPr>
                        <a:t>Market Capitalization Chang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2">
                              <a:lumMod val="50000"/>
                            </a:schemeClr>
                          </a:solidFill>
                          <a:latin typeface="+mn-lt"/>
                          <a:ea typeface="+mn-ea"/>
                          <a:cs typeface="+mn-cs"/>
                        </a:rPr>
                        <a:t>Market Capitalization Change:</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rgbClr val="FF0000"/>
                          </a:solidFill>
                          <a:latin typeface="+mn-lt"/>
                          <a:ea typeface="+mn-ea"/>
                          <a:cs typeface="+mn-cs"/>
                        </a:rPr>
                        <a:t>(10.6%) </a:t>
                      </a:r>
                      <a:r>
                        <a:rPr lang="en-US" sz="1100" b="0" kern="1200" dirty="0">
                          <a:solidFill>
                            <a:schemeClr val="tx2">
                              <a:lumMod val="50000"/>
                            </a:schemeClr>
                          </a:solidFill>
                          <a:latin typeface="+mn-lt"/>
                          <a:ea typeface="+mn-ea"/>
                          <a:cs typeface="+mn-cs"/>
                        </a:rPr>
                        <a:t>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rgbClr val="FF0000"/>
                          </a:solidFill>
                          <a:latin typeface="+mn-lt"/>
                          <a:ea typeface="+mn-ea"/>
                          <a:cs typeface="+mn-cs"/>
                        </a:rPr>
                        <a:t>(27.9%)</a:t>
                      </a:r>
                      <a:r>
                        <a:rPr lang="en-US" sz="1100" b="0" kern="1200" dirty="0">
                          <a:solidFill>
                            <a:schemeClr val="tx2">
                              <a:lumMod val="50000"/>
                            </a:schemeClr>
                          </a:solidFill>
                          <a:latin typeface="+mn-lt"/>
                          <a:ea typeface="+mn-ea"/>
                          <a:cs typeface="+mn-cs"/>
                        </a:rPr>
                        <a:t>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kern="1200" dirty="0">
                          <a:solidFill>
                            <a:schemeClr val="tx1"/>
                          </a:solidFill>
                          <a:latin typeface="+mn-lt"/>
                          <a:ea typeface="+mn-ea"/>
                          <a:cs typeface="+mn-cs"/>
                        </a:rPr>
                        <a:t>Market capitalization continued its downward trend with a decline of 10.6% in 2019, after a decline of 27.9% in 2018.</a:t>
                      </a:r>
                    </a:p>
                    <a:p>
                      <a:pPr marL="174625" marR="0" lvl="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Luxembourg Stock Exchange’s emphasis on sustainable investing will prove more relevant in a post-COVID environment. </a:t>
                      </a:r>
                      <a:endParaRPr lang="en-US" sz="1100" kern="1200" dirty="0">
                        <a:solidFill>
                          <a:srgbClr val="FF0000"/>
                        </a:solidFill>
                        <a:latin typeface="+mn-lt"/>
                        <a:ea typeface="+mn-ea"/>
                        <a:cs typeface="+mn-cs"/>
                      </a:endParaRP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9173">
                <a:tc>
                  <a:txBody>
                    <a:bodyPr/>
                    <a:lstStyle/>
                    <a:p>
                      <a:pPr>
                        <a:spcBef>
                          <a:spcPts val="200"/>
                        </a:spcBef>
                      </a:pPr>
                      <a:r>
                        <a:rPr lang="en-US" sz="1100" b="1" dirty="0">
                          <a:solidFill>
                            <a:schemeClr val="tx2">
                              <a:lumMod val="50000"/>
                            </a:schemeClr>
                          </a:solidFill>
                        </a:rPr>
                        <a:t>Real Estat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2">
                              <a:lumMod val="50000"/>
                            </a:schemeClr>
                          </a:solidFill>
                          <a:latin typeface="+mn-lt"/>
                          <a:ea typeface="+mn-ea"/>
                          <a:cs typeface="+mn-cs"/>
                        </a:rPr>
                        <a:t>Real Estate</a:t>
                      </a:r>
                      <a:r>
                        <a:rPr lang="en-US" sz="1100" b="1" kern="1200" baseline="30000" dirty="0">
                          <a:solidFill>
                            <a:schemeClr val="tx2">
                              <a:lumMod val="50000"/>
                            </a:schemeClr>
                          </a:solidFill>
                          <a:latin typeface="+mn-lt"/>
                          <a:ea typeface="+mn-ea"/>
                          <a:cs typeface="+mn-cs"/>
                        </a:rPr>
                        <a:t>a</a:t>
                      </a:r>
                      <a:r>
                        <a:rPr lang="en-US" sz="1100" b="1" kern="1200" dirty="0">
                          <a:solidFill>
                            <a:schemeClr val="tx2">
                              <a:lumMod val="50000"/>
                            </a:schemeClr>
                          </a:solidFill>
                          <a:latin typeface="+mn-lt"/>
                          <a:ea typeface="+mn-ea"/>
                          <a:cs typeface="+mn-cs"/>
                        </a:rPr>
                        <a:t> price change:</a:t>
                      </a:r>
                    </a:p>
                    <a:p>
                      <a:pPr marL="342900" marR="0" lvl="0" indent="-171450"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kern="1200" dirty="0">
                          <a:solidFill>
                            <a:schemeClr val="tx2">
                              <a:lumMod val="50000"/>
                            </a:schemeClr>
                          </a:solidFill>
                          <a:latin typeface="+mn-lt"/>
                          <a:ea typeface="+mn-ea"/>
                          <a:cs typeface="+mn-cs"/>
                        </a:rPr>
                        <a:t>14.6%</a:t>
                      </a:r>
                      <a:r>
                        <a:rPr lang="en-US" sz="1100" b="0" kern="1200" baseline="30000" dirty="0">
                          <a:solidFill>
                            <a:schemeClr val="tx2">
                              <a:lumMod val="50000"/>
                            </a:schemeClr>
                          </a:solidFill>
                          <a:latin typeface="+mn-lt"/>
                          <a:ea typeface="+mn-ea"/>
                          <a:cs typeface="+mn-cs"/>
                        </a:rPr>
                        <a:t>b</a:t>
                      </a:r>
                      <a:r>
                        <a:rPr lang="en-US" sz="1100" kern="1200" dirty="0">
                          <a:solidFill>
                            <a:schemeClr val="tx2">
                              <a:lumMod val="50000"/>
                            </a:schemeClr>
                          </a:solidFill>
                          <a:latin typeface="+mn-lt"/>
                          <a:ea typeface="+mn-ea"/>
                          <a:cs typeface="+mn-cs"/>
                        </a:rPr>
                        <a:t> in 2019</a:t>
                      </a:r>
                    </a:p>
                    <a:p>
                      <a:pPr marL="342900" marR="0" lvl="0" indent="-171450"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kern="1200" dirty="0">
                          <a:solidFill>
                            <a:schemeClr val="tx1"/>
                          </a:solidFill>
                          <a:latin typeface="+mn-lt"/>
                          <a:ea typeface="+mn-ea"/>
                          <a:cs typeface="+mn-cs"/>
                        </a:rPr>
                        <a:t>0.9</a:t>
                      </a:r>
                      <a:r>
                        <a:rPr lang="en-US" sz="1100" kern="1200" dirty="0">
                          <a:solidFill>
                            <a:schemeClr val="tx2">
                              <a:lumMod val="50000"/>
                            </a:schemeClr>
                          </a:solidFill>
                          <a:latin typeface="+mn-lt"/>
                          <a:ea typeface="+mn-ea"/>
                          <a:cs typeface="+mn-cs"/>
                        </a:rPr>
                        <a:t>% </a:t>
                      </a:r>
                      <a:r>
                        <a:rPr lang="en-US" sz="1100" b="0" dirty="0">
                          <a:solidFill>
                            <a:schemeClr val="tx2">
                              <a:lumMod val="50000"/>
                            </a:schemeClr>
                          </a:solidFill>
                        </a:rPr>
                        <a:t>in 2018</a:t>
                      </a:r>
                    </a:p>
                  </a:txBody>
                  <a:tcPr marL="49530" marR="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real estate market grew by a massive 14.6% in 2019, compared to a growth rate of 0.9% in 2018.</a:t>
                      </a:r>
                    </a:p>
                    <a:p>
                      <a:pPr marL="174625" marR="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high growth in the real estate prices are a direct consequence of the imbalance between the demand and supply for housing in the country.</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1" name="Rectangle 10">
            <a:extLst>
              <a:ext uri="{FF2B5EF4-FFF2-40B4-BE49-F238E27FC236}">
                <a16:creationId xmlns:a16="http://schemas.microsoft.com/office/drawing/2014/main" id="{81832BCC-8CEB-493F-B7C7-F8E0D818842F}"/>
              </a:ext>
            </a:extLst>
          </p:cNvPr>
          <p:cNvSpPr>
            <a:spLocks noChangeArrowheads="1"/>
          </p:cNvSpPr>
          <p:nvPr>
            <p:custDataLst>
              <p:tags r:id="rId1"/>
            </p:custDataLst>
          </p:nvPr>
        </p:nvSpPr>
        <p:spPr bwMode="auto">
          <a:xfrm>
            <a:off x="308728" y="5772091"/>
            <a:ext cx="10972800" cy="664797"/>
          </a:xfrm>
          <a:prstGeom prst="rect">
            <a:avLst/>
          </a:prstGeom>
          <a:noFill/>
          <a:ln w="9525">
            <a:noFill/>
            <a:miter lim="800000"/>
            <a:headEnd/>
            <a:tailEnd/>
          </a:ln>
          <a:effectLst/>
        </p:spPr>
        <p:txBody>
          <a:bodyPr wrap="square" lIns="0" tIns="0" rIns="0" bIns="0" anchor="b">
            <a:spAutoFit/>
          </a:bodyPr>
          <a:lstStyle/>
          <a:p>
            <a:pPr marL="457200" indent="-457200" defTabSz="912813">
              <a:spcBef>
                <a:spcPct val="10000"/>
              </a:spcBef>
              <a:tabLst>
                <a:tab pos="177800" algn="l"/>
              </a:tabLst>
            </a:pPr>
            <a:endParaRPr lang="en-US" sz="800" dirty="0">
              <a:solidFill>
                <a:schemeClr val="tx2">
                  <a:lumMod val="50000"/>
                </a:schemeClr>
              </a:solidFill>
            </a:endParaRPr>
          </a:p>
          <a:p>
            <a:pPr marL="457200" indent="-457200" defTabSz="912813">
              <a:spcBef>
                <a:spcPct val="10000"/>
              </a:spcBef>
              <a:tabLst>
                <a:tab pos="177800" algn="l"/>
              </a:tabLst>
            </a:pPr>
            <a:r>
              <a:rPr lang="en-US" sz="800" dirty="0">
                <a:solidFill>
                  <a:schemeClr val="tx2">
                    <a:lumMod val="50000"/>
                  </a:schemeClr>
                </a:solidFill>
              </a:rPr>
              <a:t>a		Average Selling price of Apartments - Luxembourg</a:t>
            </a:r>
          </a:p>
          <a:p>
            <a:pPr marL="457200" indent="-457200" defTabSz="912813">
              <a:spcBef>
                <a:spcPct val="10000"/>
              </a:spcBef>
              <a:tabLst>
                <a:tab pos="177800" algn="l"/>
              </a:tabLst>
            </a:pPr>
            <a:r>
              <a:rPr lang="en-US" sz="800" dirty="0">
                <a:solidFill>
                  <a:schemeClr val="tx2">
                    <a:lumMod val="50000"/>
                  </a:schemeClr>
                </a:solidFill>
              </a:rPr>
              <a:t>b		Y-o-Y change from Q3 2018 to Q3 2019</a:t>
            </a:r>
          </a:p>
          <a:p>
            <a:pPr marL="457200" indent="-457200" defTabSz="912813">
              <a:spcBef>
                <a:spcPct val="10000"/>
              </a:spcBef>
              <a:tabLst>
                <a:tab pos="177800" algn="l"/>
              </a:tabLst>
            </a:pPr>
            <a:r>
              <a:rPr lang="en-US" sz="800" dirty="0">
                <a:solidFill>
                  <a:schemeClr val="tx2">
                    <a:lumMod val="50000"/>
                  </a:schemeClr>
                </a:solidFill>
              </a:rPr>
              <a:t>Note:	</a:t>
            </a:r>
            <a:r>
              <a:rPr lang="en-US" sz="800" dirty="0"/>
              <a:t>National savings as a percentage of GDP = Gross national savings rate (%)  - Aggregate national savings by the public and private sector as a percentage of nominal GDP</a:t>
            </a:r>
          </a:p>
          <a:p>
            <a:pPr marL="457200" indent="-457200" defTabSz="912813">
              <a:spcBef>
                <a:spcPct val="10000"/>
              </a:spcBef>
              <a:tabLst>
                <a:tab pos="177800" algn="l"/>
              </a:tabLst>
            </a:pPr>
            <a:r>
              <a:rPr lang="en-US" sz="800" dirty="0">
                <a:solidFill>
                  <a:schemeClr val="tx2">
                    <a:lumMod val="50000"/>
                  </a:schemeClr>
                </a:solidFill>
              </a:rPr>
              <a:t>Source:	Capgemini Financial Services Analysis, 2020; Economist Intelligence Unit, May 2020; </a:t>
            </a:r>
            <a:r>
              <a:rPr lang="en-US" sz="800" dirty="0"/>
              <a:t>Global Property Guide House Price Index, March 2020; Nordea Trade; Spuerkeess</a:t>
            </a:r>
            <a:endParaRPr lang="en-US" sz="800" dirty="0">
              <a:solidFill>
                <a:schemeClr val="tx2">
                  <a:lumMod val="50000"/>
                </a:schemeClr>
              </a:solidFill>
            </a:endParaRPr>
          </a:p>
        </p:txBody>
      </p:sp>
    </p:spTree>
    <p:extLst>
      <p:ext uri="{BB962C8B-B14F-4D97-AF65-F5344CB8AC3E}">
        <p14:creationId xmlns:p14="http://schemas.microsoft.com/office/powerpoint/2010/main" val="24514289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uxembourg – 2019 Economic Review</a:t>
            </a:r>
          </a:p>
        </p:txBody>
      </p:sp>
      <p:sp>
        <p:nvSpPr>
          <p:cNvPr id="7" name="Text Box 55"/>
          <p:cNvSpPr txBox="1">
            <a:spLocks noChangeArrowheads="1"/>
          </p:cNvSpPr>
          <p:nvPr/>
        </p:nvSpPr>
        <p:spPr bwMode="auto">
          <a:xfrm>
            <a:off x="1471728" y="1101784"/>
            <a:ext cx="9269297" cy="307777"/>
          </a:xfrm>
          <a:prstGeom prst="rect">
            <a:avLst/>
          </a:prstGeom>
          <a:noFill/>
          <a:ln w="9525">
            <a:noFill/>
            <a:miter lim="800000"/>
            <a:headEnd/>
            <a:tailEnd/>
          </a:ln>
        </p:spPr>
        <p:txBody>
          <a:bodyPr wrap="square">
            <a:spAutoFit/>
          </a:bodyPr>
          <a:lstStyle/>
          <a:p>
            <a:pPr algn="ctr">
              <a:spcBef>
                <a:spcPts val="468"/>
              </a:spcBef>
            </a:pPr>
            <a:r>
              <a:rPr lang="en-US" sz="1400" b="1" i="1" dirty="0">
                <a:solidFill>
                  <a:schemeClr val="tx2">
                    <a:lumMod val="50000"/>
                  </a:schemeClr>
                </a:solidFill>
              </a:rPr>
              <a:t>Other Key Drivers and Inhibitors of HNWI Wealth</a:t>
            </a:r>
          </a:p>
        </p:txBody>
      </p:sp>
      <p:graphicFrame>
        <p:nvGraphicFramePr>
          <p:cNvPr id="8" name="Table 7"/>
          <p:cNvGraphicFramePr>
            <a:graphicFrameLocks noGrp="1"/>
          </p:cNvGraphicFramePr>
          <p:nvPr>
            <p:extLst>
              <p:ext uri="{D42A27DB-BD31-4B8C-83A1-F6EECF244321}">
                <p14:modId xmlns:p14="http://schemas.microsoft.com/office/powerpoint/2010/main" val="1702318154"/>
              </p:ext>
            </p:extLst>
          </p:nvPr>
        </p:nvGraphicFramePr>
        <p:xfrm>
          <a:off x="685800" y="1495425"/>
          <a:ext cx="10820400" cy="3185160"/>
        </p:xfrm>
        <a:graphic>
          <a:graphicData uri="http://schemas.openxmlformats.org/drawingml/2006/table">
            <a:tbl>
              <a:tblPr firstRow="1" bandRow="1">
                <a:tableStyleId>{9DCAF9ED-07DC-4A11-8D7F-57B35C25682E}</a:tableStyleId>
              </a:tblPr>
              <a:tblGrid>
                <a:gridCol w="1312963">
                  <a:extLst>
                    <a:ext uri="{9D8B030D-6E8A-4147-A177-3AD203B41FA5}">
                      <a16:colId xmlns:a16="http://schemas.microsoft.com/office/drawing/2014/main" val="20000"/>
                    </a:ext>
                  </a:extLst>
                </a:gridCol>
                <a:gridCol w="9507437">
                  <a:extLst>
                    <a:ext uri="{9D8B030D-6E8A-4147-A177-3AD203B41FA5}">
                      <a16:colId xmlns:a16="http://schemas.microsoft.com/office/drawing/2014/main" val="20001"/>
                    </a:ext>
                  </a:extLst>
                </a:gridCol>
              </a:tblGrid>
              <a:tr h="128747">
                <a:tc>
                  <a:txBody>
                    <a:bodyPr/>
                    <a:lstStyle/>
                    <a:p>
                      <a:r>
                        <a:rPr lang="en-US" sz="1100" dirty="0">
                          <a:solidFill>
                            <a:schemeClr val="bg1"/>
                          </a:solidFill>
                        </a:rPr>
                        <a:t>Factor</a:t>
                      </a:r>
                    </a:p>
                  </a:txBody>
                  <a:tcPr marL="45720" marR="45720" anchor="b">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Drivers and Inhibitors</a:t>
                      </a:r>
                    </a:p>
                  </a:txBody>
                  <a:tcPr marL="45720" marR="45720" anchor="b">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88148">
                <a:tc>
                  <a:txBody>
                    <a:bodyPr/>
                    <a:lstStyle/>
                    <a:p>
                      <a:pPr>
                        <a:spcBef>
                          <a:spcPts val="200"/>
                        </a:spcBef>
                      </a:pPr>
                      <a:r>
                        <a:rPr lang="en-US" sz="1100" b="1" dirty="0">
                          <a:solidFill>
                            <a:schemeClr val="tx2">
                              <a:lumMod val="50000"/>
                            </a:schemeClr>
                          </a:solidFill>
                        </a:rPr>
                        <a:t>Monetary Polic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The ECB is committed to keeping inflation below, but close to, 2% over the medium term.</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As a result of low inflation, the ECB kept the key interest rates unchanged with refinancing rate at 0.0% and lending rate at 0.25% while deposit rates were reduced by 10 basis points to </a:t>
                      </a:r>
                      <a:r>
                        <a:rPr lang="en-US" sz="1100" b="0" kern="1200" baseline="0" dirty="0">
                          <a:solidFill>
                            <a:srgbClr val="FF0000"/>
                          </a:solidFill>
                          <a:latin typeface="+mn-lt"/>
                          <a:ea typeface="+mn-ea"/>
                          <a:cs typeface="+mn-cs"/>
                        </a:rPr>
                        <a:t>(0.5%) </a:t>
                      </a:r>
                      <a:r>
                        <a:rPr lang="en-US" sz="1100" b="0" kern="1200" baseline="0" dirty="0">
                          <a:solidFill>
                            <a:schemeClr val="tx1"/>
                          </a:solidFill>
                          <a:latin typeface="+mn-lt"/>
                          <a:ea typeface="+mn-ea"/>
                          <a:cs typeface="+mn-cs"/>
                        </a:rPr>
                        <a:t>in 2019 over the previous year.</a:t>
                      </a:r>
                      <a:endParaRPr lang="en-US" sz="1100" b="0" kern="1200" baseline="0" dirty="0">
                        <a:solidFill>
                          <a:srgbClr val="FF0000"/>
                        </a:solidFill>
                        <a:latin typeface="+mn-lt"/>
                        <a:ea typeface="+mn-ea"/>
                        <a:cs typeface="+mn-cs"/>
                      </a:endParaRP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As a part of the Governing Council’s asset purchase program (APP), net purchases were restarted on November 1 at a monthly pace of 20 billion euros.</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The Governing Council intends to reinvest the proceeds from maturing securities under APP for an extended period of time past the dates when it starts raising the key ECB interest rates.</a:t>
                      </a:r>
                    </a:p>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2">
                              <a:lumMod val="50000"/>
                            </a:schemeClr>
                          </a:solidFill>
                          <a:latin typeface="+mn-lt"/>
                          <a:ea typeface="+mn-ea"/>
                          <a:cs typeface="+mn-cs"/>
                        </a:rPr>
                        <a:t>Inflation rate was estimated at 1.9% in 2019, slightly lower when compared to 2%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5811">
                <a:tc>
                  <a:txBody>
                    <a:bodyPr/>
                    <a:lstStyle/>
                    <a:p>
                      <a:pPr>
                        <a:spcBef>
                          <a:spcPts val="200"/>
                        </a:spcBef>
                      </a:pPr>
                      <a:r>
                        <a:rPr lang="en-US" sz="1100" b="1" dirty="0">
                          <a:solidFill>
                            <a:schemeClr val="tx2">
                              <a:lumMod val="50000"/>
                            </a:schemeClr>
                          </a:solidFill>
                        </a:rPr>
                        <a:t>Fiscal Polic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2">
                              <a:lumMod val="50000"/>
                            </a:schemeClr>
                          </a:solidFill>
                          <a:latin typeface="+mn-lt"/>
                          <a:ea typeface="+mn-ea"/>
                          <a:cs typeface="+mn-cs"/>
                        </a:rPr>
                        <a:t>The public debt level is one of the lowest in the Eurozone at 21.3% in 2019 and was projected to keep declining in the coming years (projections made before COVID impact). </a:t>
                      </a:r>
                    </a:p>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2">
                              <a:lumMod val="50000"/>
                            </a:schemeClr>
                          </a:solidFill>
                          <a:latin typeface="+mn-lt"/>
                          <a:ea typeface="+mn-ea"/>
                          <a:cs typeface="+mn-cs"/>
                        </a:rPr>
                        <a:t>The country maintained a healthy budgetary position, with an estimated 2019 surplus of 0.9% of GDP. </a:t>
                      </a:r>
                      <a:endParaRPr lang="en-US" sz="1100" b="0" kern="1200" baseline="0" dirty="0">
                        <a:solidFill>
                          <a:schemeClr val="tx1"/>
                        </a:solidFill>
                        <a:latin typeface="+mn-lt"/>
                        <a:ea typeface="+mn-ea"/>
                        <a:cs typeface="+mn-cs"/>
                      </a:endParaRP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5232">
                <a:tc>
                  <a:txBody>
                    <a:bodyPr/>
                    <a:lstStyle/>
                    <a:p>
                      <a:pPr>
                        <a:spcBef>
                          <a:spcPts val="200"/>
                        </a:spcBef>
                      </a:pPr>
                      <a:r>
                        <a:rPr lang="en-US" sz="1100" b="1" dirty="0">
                          <a:solidFill>
                            <a:schemeClr val="tx2">
                              <a:lumMod val="50000"/>
                            </a:schemeClr>
                          </a:solidFill>
                        </a:rPr>
                        <a:t>Other Factor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2">
                              <a:lumMod val="50000"/>
                            </a:schemeClr>
                          </a:solidFill>
                          <a:latin typeface="+mn-lt"/>
                          <a:ea typeface="+mn-ea"/>
                          <a:cs typeface="+mn-cs"/>
                        </a:rPr>
                        <a:t>The unemployment rate stood at 5.4% in 2019.</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2">
                              <a:lumMod val="50000"/>
                            </a:schemeClr>
                          </a:solidFill>
                          <a:latin typeface="+mn-lt"/>
                          <a:ea typeface="+mn-ea"/>
                          <a:cs typeface="+mn-cs"/>
                        </a:rPr>
                        <a:t>The main challenges remain the increasing future costs of population ageing and the financial standardization measures that are of concern in the economic circles.</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9" name="Rectangle 8">
            <a:extLst>
              <a:ext uri="{FF2B5EF4-FFF2-40B4-BE49-F238E27FC236}">
                <a16:creationId xmlns:a16="http://schemas.microsoft.com/office/drawing/2014/main" id="{FFEB3863-26A9-44AC-8F0B-42C183B7370F}"/>
              </a:ext>
            </a:extLst>
          </p:cNvPr>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LUXEMBOURG</a:t>
            </a:r>
          </a:p>
        </p:txBody>
      </p:sp>
      <p:sp>
        <p:nvSpPr>
          <p:cNvPr id="11" name="Rectangle 10">
            <a:extLst>
              <a:ext uri="{FF2B5EF4-FFF2-40B4-BE49-F238E27FC236}">
                <a16:creationId xmlns:a16="http://schemas.microsoft.com/office/drawing/2014/main" id="{DA2F0712-1AD7-40A8-A352-2D3C9CD3523F}"/>
              </a:ext>
            </a:extLst>
          </p:cNvPr>
          <p:cNvSpPr>
            <a:spLocks noChangeArrowheads="1"/>
          </p:cNvSpPr>
          <p:nvPr>
            <p:custDataLst>
              <p:tags r:id="rId1"/>
            </p:custDataLst>
          </p:nvPr>
        </p:nvSpPr>
        <p:spPr bwMode="auto">
          <a:xfrm>
            <a:off x="308728" y="6313777"/>
            <a:ext cx="10972800" cy="123111"/>
          </a:xfrm>
          <a:prstGeom prst="rect">
            <a:avLst/>
          </a:prstGeom>
          <a:noFill/>
          <a:ln w="9525">
            <a:noFill/>
            <a:miter lim="800000"/>
            <a:headEnd/>
            <a:tailEnd/>
          </a:ln>
          <a:effectLst/>
        </p:spPr>
        <p:txBody>
          <a:bodyPr wrap="square" lIns="0" tIns="0" rIns="0" bIns="0" anchor="b">
            <a:spAutoFit/>
          </a:bodyPr>
          <a:lstStyle/>
          <a:p>
            <a:pPr marL="457200" indent="-457200" defTabSz="912813">
              <a:spcBef>
                <a:spcPct val="10000"/>
              </a:spcBef>
              <a:tabLst>
                <a:tab pos="177800" algn="l"/>
              </a:tabLst>
            </a:pPr>
            <a:r>
              <a:rPr lang="en-US" sz="800" dirty="0">
                <a:solidFill>
                  <a:schemeClr val="tx2">
                    <a:lumMod val="50000"/>
                  </a:schemeClr>
                </a:solidFill>
              </a:rPr>
              <a:t>Source:	 Capgemini Financial Services Analysis, 2020; European Central Bank, December 2019; Nordea Trade </a:t>
            </a:r>
          </a:p>
        </p:txBody>
      </p:sp>
    </p:spTree>
    <p:extLst>
      <p:ext uri="{BB962C8B-B14F-4D97-AF65-F5344CB8AC3E}">
        <p14:creationId xmlns:p14="http://schemas.microsoft.com/office/powerpoint/2010/main" val="9682697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17D489-CD04-42B2-BBA7-62F5145B1D8E}"/>
              </a:ext>
            </a:extLst>
          </p:cNvPr>
          <p:cNvGraphicFramePr>
            <a:graphicFrameLocks noChangeAspect="1"/>
          </p:cNvGraphicFramePr>
          <p:nvPr>
            <p:custDataLst>
              <p:tags r:id="rId2"/>
            </p:custDataLst>
            <p:extLst>
              <p:ext uri="{D42A27DB-BD31-4B8C-83A1-F6EECF244321}">
                <p14:modId xmlns:p14="http://schemas.microsoft.com/office/powerpoint/2010/main" val="78466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3577A7-2887-46FD-8C51-0DCD7AC3A9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p:txBody>
          <a:bodyPr/>
          <a:lstStyle/>
          <a:p>
            <a:r>
              <a:rPr lang="en-US" sz="3000" dirty="0"/>
              <a:t>Hyper-personalize to safeguard traditional as well as new wealth amid volatility</a:t>
            </a:r>
            <a:endParaRPr lang="en-US" sz="2400" dirty="0"/>
          </a:p>
        </p:txBody>
      </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sp>
        <p:nvSpPr>
          <p:cNvPr id="109" name="Rectangle: Rounded Corners 108">
            <a:extLst>
              <a:ext uri="{FF2B5EF4-FFF2-40B4-BE49-F238E27FC236}">
                <a16:creationId xmlns:a16="http://schemas.microsoft.com/office/drawing/2014/main" id="{AA806394-C246-4221-AA50-359C9E62EA41}"/>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0" name="Rectangle 109">
            <a:extLst>
              <a:ext uri="{FF2B5EF4-FFF2-40B4-BE49-F238E27FC236}">
                <a16:creationId xmlns:a16="http://schemas.microsoft.com/office/drawing/2014/main" id="{02FA18B9-C7AF-48B6-A603-313FA42DD861}"/>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11" name="Picture 4" descr="Coronavirus | United Nations">
            <a:extLst>
              <a:ext uri="{FF2B5EF4-FFF2-40B4-BE49-F238E27FC236}">
                <a16:creationId xmlns:a16="http://schemas.microsoft.com/office/drawing/2014/main" id="{F59ACD0F-E63D-4A90-80D9-8911B5950BA6}"/>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Abort Stop Cancel Terminate Svg Png Icon Free Download (#517382 ...">
            <a:extLst>
              <a:ext uri="{FF2B5EF4-FFF2-40B4-BE49-F238E27FC236}">
                <a16:creationId xmlns:a16="http://schemas.microsoft.com/office/drawing/2014/main" id="{E165554C-6FA3-4D1B-A1AD-236CDE5DB927}"/>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120">
            <a:extLst>
              <a:ext uri="{FF2B5EF4-FFF2-40B4-BE49-F238E27FC236}">
                <a16:creationId xmlns:a16="http://schemas.microsoft.com/office/drawing/2014/main" id="{B65AED9B-7124-4B11-976F-D9C9C6826355}"/>
              </a:ext>
            </a:extLst>
          </p:cNvPr>
          <p:cNvGrpSpPr>
            <a:grpSpLocks noChangeAspect="1"/>
          </p:cNvGrpSpPr>
          <p:nvPr/>
        </p:nvGrpSpPr>
        <p:grpSpPr>
          <a:xfrm>
            <a:off x="3279240" y="1427616"/>
            <a:ext cx="2592000" cy="2814827"/>
            <a:chOff x="4178301" y="1752600"/>
            <a:chExt cx="3767137" cy="4090987"/>
          </a:xfrm>
        </p:grpSpPr>
        <p:sp>
          <p:nvSpPr>
            <p:cNvPr id="122" name="Freeform 10">
              <a:extLst>
                <a:ext uri="{FF2B5EF4-FFF2-40B4-BE49-F238E27FC236}">
                  <a16:creationId xmlns:a16="http://schemas.microsoft.com/office/drawing/2014/main" id="{FA4E9AEF-E852-414A-A435-71BC238AD339}"/>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 name="Freeform 11">
              <a:extLst>
                <a:ext uri="{FF2B5EF4-FFF2-40B4-BE49-F238E27FC236}">
                  <a16:creationId xmlns:a16="http://schemas.microsoft.com/office/drawing/2014/main" id="{56072A67-D78D-4C66-AF57-ECB057D67F29}"/>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 name="Freeform 12">
              <a:extLst>
                <a:ext uri="{FF2B5EF4-FFF2-40B4-BE49-F238E27FC236}">
                  <a16:creationId xmlns:a16="http://schemas.microsoft.com/office/drawing/2014/main" id="{B5388C75-28F2-4704-A8F5-6D2253C2F569}"/>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 name="Freeform 13">
              <a:extLst>
                <a:ext uri="{FF2B5EF4-FFF2-40B4-BE49-F238E27FC236}">
                  <a16:creationId xmlns:a16="http://schemas.microsoft.com/office/drawing/2014/main" id="{19074AAF-3E03-46AA-A3A8-26FA18B7809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 name="Freeform 14">
              <a:extLst>
                <a:ext uri="{FF2B5EF4-FFF2-40B4-BE49-F238E27FC236}">
                  <a16:creationId xmlns:a16="http://schemas.microsoft.com/office/drawing/2014/main" id="{E11504BD-2375-4A36-8902-FB727261C036}"/>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85A161C7-ECC6-4769-AD3F-949896A5DB7E}"/>
                </a:ext>
              </a:extLst>
            </p:cNvPr>
            <p:cNvSpPr/>
            <p:nvPr/>
          </p:nvSpPr>
          <p:spPr>
            <a:xfrm>
              <a:off x="4851206" y="3867883"/>
              <a:ext cx="2483384" cy="307777"/>
            </a:xfrm>
            <a:prstGeom prst="rect">
              <a:avLst/>
            </a:prstGeom>
          </p:spPr>
          <p:txBody>
            <a:bodyPr wrap="square" anchor="ctr">
              <a:spAutoFit/>
            </a:bodyPr>
            <a:lstStyle/>
            <a:p>
              <a:pPr lvl="0" algn="ctr">
                <a:defRPr/>
              </a:pPr>
              <a:endParaRPr lang="en-IN" sz="1400" dirty="0">
                <a:solidFill>
                  <a:srgbClr val="FFFFFF"/>
                </a:solidFill>
              </a:endParaRPr>
            </a:p>
          </p:txBody>
        </p:sp>
      </p:grpSp>
      <p:sp>
        <p:nvSpPr>
          <p:cNvPr id="128" name="Freeform 332">
            <a:extLst>
              <a:ext uri="{FF2B5EF4-FFF2-40B4-BE49-F238E27FC236}">
                <a16:creationId xmlns:a16="http://schemas.microsoft.com/office/drawing/2014/main" id="{990B382E-BAEC-43E6-9557-146E39B3EF76}"/>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Rectangle 128">
            <a:extLst>
              <a:ext uri="{FF2B5EF4-FFF2-40B4-BE49-F238E27FC236}">
                <a16:creationId xmlns:a16="http://schemas.microsoft.com/office/drawing/2014/main" id="{039022F2-E2A3-41E0-B44A-3C9F26B2D9BD}"/>
              </a:ext>
            </a:extLst>
          </p:cNvPr>
          <p:cNvSpPr/>
          <p:nvPr/>
        </p:nvSpPr>
        <p:spPr>
          <a:xfrm>
            <a:off x="3143672" y="4260669"/>
            <a:ext cx="2736000" cy="2062103"/>
          </a:xfrm>
          <a:prstGeom prst="rect">
            <a:avLst/>
          </a:prstGeom>
        </p:spPr>
        <p:txBody>
          <a:bodyPr wrap="square">
            <a:spAutoFit/>
          </a:bodyPr>
          <a:lstStyle/>
          <a:p>
            <a:pPr algn="ctr"/>
            <a:r>
              <a:rPr lang="en-IN" sz="1600" b="1" dirty="0"/>
              <a:t>Hyper-personalization will empower wealth management firms </a:t>
            </a:r>
            <a:r>
              <a:rPr lang="en-IN" sz="1600" dirty="0"/>
              <a:t>to address HNWI expectations and capture key transition points, at risk from </a:t>
            </a:r>
            <a:r>
              <a:rPr lang="en-IN" sz="1600" dirty="0" err="1"/>
              <a:t>BigTech</a:t>
            </a:r>
            <a:r>
              <a:rPr lang="en-IN" sz="1600" dirty="0"/>
              <a:t> encroachment</a:t>
            </a:r>
          </a:p>
        </p:txBody>
      </p:sp>
    </p:spTree>
    <p:extLst>
      <p:ext uri="{BB962C8B-B14F-4D97-AF65-F5344CB8AC3E}">
        <p14:creationId xmlns:p14="http://schemas.microsoft.com/office/powerpoint/2010/main" val="1009420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2">
            <a:extLst>
              <a:ext uri="{FF2B5EF4-FFF2-40B4-BE49-F238E27FC236}">
                <a16:creationId xmlns:a16="http://schemas.microsoft.com/office/drawing/2014/main" id="{B937CA7D-D964-4BBA-BD21-E7E28D957E12}"/>
              </a:ext>
            </a:extLst>
          </p:cNvPr>
          <p:cNvGraphicFramePr>
            <a:graphicFrameLocks noChangeAspect="1"/>
          </p:cNvGraphicFramePr>
          <p:nvPr/>
        </p:nvGraphicFramePr>
        <p:xfrm>
          <a:off x="722648" y="1228727"/>
          <a:ext cx="8422411" cy="4636529"/>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C1C1EF91-B5C2-4C8D-9241-9663217593B0}"/>
              </a:ext>
            </a:extLst>
          </p:cNvPr>
          <p:cNvSpPr>
            <a:spLocks noGrp="1"/>
          </p:cNvSpPr>
          <p:nvPr>
            <p:ph type="title"/>
          </p:nvPr>
        </p:nvSpPr>
        <p:spPr/>
        <p:txBody>
          <a:bodyPr/>
          <a:lstStyle/>
          <a:p>
            <a:r>
              <a:rPr lang="en-US" sz="2200" dirty="0"/>
              <a:t>Equity regains the top spot in 2019</a:t>
            </a:r>
          </a:p>
        </p:txBody>
      </p:sp>
      <p:sp>
        <p:nvSpPr>
          <p:cNvPr id="32" name="Text Box 1031">
            <a:extLst>
              <a:ext uri="{FF2B5EF4-FFF2-40B4-BE49-F238E27FC236}">
                <a16:creationId xmlns:a16="http://schemas.microsoft.com/office/drawing/2014/main" id="{4CF8DF2B-04DB-4F09-8C74-8607AC9CA7AD}"/>
              </a:ext>
            </a:extLst>
          </p:cNvPr>
          <p:cNvSpPr txBox="1">
            <a:spLocks noChangeArrowheads="1"/>
          </p:cNvSpPr>
          <p:nvPr/>
        </p:nvSpPr>
        <p:spPr bwMode="auto">
          <a:xfrm>
            <a:off x="251788" y="768659"/>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Asset allocation, Q1 2018, Q1 2019,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a:t>
            </a:r>
            <a:r>
              <a:rPr lang="en-US" sz="1600" b="1" i="1" baseline="30000" dirty="0">
                <a:solidFill>
                  <a:prstClr val="black"/>
                </a:solidFill>
              </a:rPr>
              <a:t>a</a:t>
            </a:r>
            <a:r>
              <a:rPr lang="en-US" sz="1600" b="1" i="1" dirty="0">
                <a:solidFill>
                  <a:prstClr val="black"/>
                </a:solidFill>
              </a:rPr>
              <a:t> (global)</a:t>
            </a:r>
          </a:p>
        </p:txBody>
      </p:sp>
      <p:sp>
        <p:nvSpPr>
          <p:cNvPr id="39"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a:t>
            </a:r>
            <a:r>
              <a:rPr lang="en-IN" sz="800" dirty="0"/>
              <a:t>The chart reflects HNWIs’ asset allocation at the time of conducting the survey (between January–February 2020) and does not reflect COVID-19 impact.</a:t>
            </a:r>
            <a:endParaRPr lang="en-US" sz="800" dirty="0"/>
          </a:p>
          <a:p>
            <a:pPr marL="514350" indent="-514350">
              <a:spcBef>
                <a:spcPct val="15000"/>
              </a:spcBef>
            </a:pPr>
            <a:r>
              <a:rPr lang="en-US" sz="800" dirty="0"/>
              <a:t>Source:	Capgemini Financial Services Analysis, 2020; Capgemini Global HNWI Insights Survey 2020.</a:t>
            </a:r>
          </a:p>
        </p:txBody>
      </p:sp>
      <p:graphicFrame>
        <p:nvGraphicFramePr>
          <p:cNvPr id="17" name="Table 17">
            <a:extLst>
              <a:ext uri="{FF2B5EF4-FFF2-40B4-BE49-F238E27FC236}">
                <a16:creationId xmlns:a16="http://schemas.microsoft.com/office/drawing/2014/main" id="{18EA3F63-728A-4CD6-AD16-ED7B53DD779A}"/>
              </a:ext>
            </a:extLst>
          </p:cNvPr>
          <p:cNvGraphicFramePr>
            <a:graphicFrameLocks noGrp="1"/>
          </p:cNvGraphicFramePr>
          <p:nvPr/>
        </p:nvGraphicFramePr>
        <p:xfrm>
          <a:off x="2504789" y="1254942"/>
          <a:ext cx="3825095" cy="1036320"/>
        </p:xfrm>
        <a:graphic>
          <a:graphicData uri="http://schemas.openxmlformats.org/drawingml/2006/table">
            <a:tbl>
              <a:tblPr firstRow="1" bandRow="1">
                <a:tableStyleId>{5C22544A-7EE6-4342-B048-85BDC9FD1C3A}</a:tableStyleId>
              </a:tblPr>
              <a:tblGrid>
                <a:gridCol w="1010901">
                  <a:extLst>
                    <a:ext uri="{9D8B030D-6E8A-4147-A177-3AD203B41FA5}">
                      <a16:colId xmlns:a16="http://schemas.microsoft.com/office/drawing/2014/main" val="882932156"/>
                    </a:ext>
                  </a:extLst>
                </a:gridCol>
                <a:gridCol w="904875">
                  <a:extLst>
                    <a:ext uri="{9D8B030D-6E8A-4147-A177-3AD203B41FA5}">
                      <a16:colId xmlns:a16="http://schemas.microsoft.com/office/drawing/2014/main" val="1474015998"/>
                    </a:ext>
                  </a:extLst>
                </a:gridCol>
                <a:gridCol w="962025">
                  <a:extLst>
                    <a:ext uri="{9D8B030D-6E8A-4147-A177-3AD203B41FA5}">
                      <a16:colId xmlns:a16="http://schemas.microsoft.com/office/drawing/2014/main" val="4099750010"/>
                    </a:ext>
                  </a:extLst>
                </a:gridCol>
                <a:gridCol w="947294">
                  <a:extLst>
                    <a:ext uri="{9D8B030D-6E8A-4147-A177-3AD203B41FA5}">
                      <a16:colId xmlns:a16="http://schemas.microsoft.com/office/drawing/2014/main" val="3298914857"/>
                    </a:ext>
                  </a:extLst>
                </a:gridCol>
              </a:tblGrid>
              <a:tr h="202623">
                <a:tc>
                  <a:txBody>
                    <a:bodyPr/>
                    <a:lstStyle/>
                    <a:p>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7</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8</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9</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8749951"/>
                  </a:ext>
                </a:extLst>
              </a:tr>
              <a:tr h="128753">
                <a:tc>
                  <a:txBody>
                    <a:bodyPr/>
                    <a:lstStyle/>
                    <a:p>
                      <a:pPr algn="ctr"/>
                      <a:r>
                        <a:rPr lang="en-IN" sz="1000" dirty="0"/>
                        <a:t>Total wealth (US$ trillion)</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70.2</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68.1</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74.0</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5461425"/>
                  </a:ext>
                </a:extLst>
              </a:tr>
              <a:tr h="202623">
                <a:tc>
                  <a:txBody>
                    <a:bodyPr/>
                    <a:lstStyle/>
                    <a:p>
                      <a:pPr algn="ctr"/>
                      <a:r>
                        <a:rPr lang="en-IN" sz="1000" dirty="0"/>
                        <a:t>Wealth growth (%)</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10.6%</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solidFill>
                            <a:srgbClr val="FF0000"/>
                          </a:solidFill>
                        </a:rPr>
                        <a:t>(3.0%)</a:t>
                      </a:r>
                      <a:endParaRPr lang="en-US" sz="1000"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8.6%</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2460911"/>
                  </a:ext>
                </a:extLst>
              </a:tr>
            </a:tbl>
          </a:graphicData>
        </a:graphic>
      </p:graphicFrame>
      <p:sp>
        <p:nvSpPr>
          <p:cNvPr id="27" name="Rectangle 26">
            <a:extLst>
              <a:ext uri="{FF2B5EF4-FFF2-40B4-BE49-F238E27FC236}">
                <a16:creationId xmlns:a16="http://schemas.microsoft.com/office/drawing/2014/main" id="{3DC99354-2179-4E38-B6D0-D90F25F48933}"/>
              </a:ext>
            </a:extLst>
          </p:cNvPr>
          <p:cNvSpPr/>
          <p:nvPr/>
        </p:nvSpPr>
        <p:spPr>
          <a:xfrm>
            <a:off x="6381750" y="3868861"/>
            <a:ext cx="1040315" cy="1676155"/>
          </a:xfrm>
          <a:prstGeom prst="rect">
            <a:avLst/>
          </a:prstGeom>
          <a:solidFill>
            <a:srgbClr val="FFEBAB">
              <a:alpha val="58000"/>
            </a:srgb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silhouette, drawing&#10;&#10;Description automatically generated">
            <a:extLst>
              <a:ext uri="{FF2B5EF4-FFF2-40B4-BE49-F238E27FC236}">
                <a16:creationId xmlns:a16="http://schemas.microsoft.com/office/drawing/2014/main" id="{0E42C1EC-DDA4-46C4-B007-DEB5E2450364}"/>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26303" y="3889048"/>
            <a:ext cx="332281" cy="525866"/>
          </a:xfrm>
          <a:prstGeom prst="rect">
            <a:avLst/>
          </a:prstGeom>
        </p:spPr>
      </p:pic>
      <p:sp>
        <p:nvSpPr>
          <p:cNvPr id="3" name="TextBox 2">
            <a:extLst>
              <a:ext uri="{FF2B5EF4-FFF2-40B4-BE49-F238E27FC236}">
                <a16:creationId xmlns:a16="http://schemas.microsoft.com/office/drawing/2014/main" id="{8CEBEF98-D86D-403C-8B65-62D2A434B902}"/>
              </a:ext>
            </a:extLst>
          </p:cNvPr>
          <p:cNvSpPr txBox="1"/>
          <p:nvPr/>
        </p:nvSpPr>
        <p:spPr>
          <a:xfrm>
            <a:off x="6300344" y="4376445"/>
            <a:ext cx="1181860" cy="1015663"/>
          </a:xfrm>
          <a:prstGeom prst="rect">
            <a:avLst/>
          </a:prstGeom>
          <a:noFill/>
        </p:spPr>
        <p:txBody>
          <a:bodyPr wrap="square" rtlCol="0">
            <a:spAutoFit/>
          </a:bodyPr>
          <a:lstStyle/>
          <a:p>
            <a:pPr algn="r"/>
            <a:r>
              <a:rPr lang="en-IN" sz="1000" dirty="0"/>
              <a:t>With 2020 being a volatile year, what will asset allocation look like in </a:t>
            </a:r>
          </a:p>
          <a:p>
            <a:pPr algn="r"/>
            <a:r>
              <a:rPr lang="en-IN" sz="1000" dirty="0"/>
              <a:t>Q1 2021?</a:t>
            </a:r>
            <a:endParaRPr lang="en-US" sz="1000" dirty="0"/>
          </a:p>
        </p:txBody>
      </p:sp>
      <p:grpSp>
        <p:nvGrpSpPr>
          <p:cNvPr id="9" name="Group 8">
            <a:extLst>
              <a:ext uri="{FF2B5EF4-FFF2-40B4-BE49-F238E27FC236}">
                <a16:creationId xmlns:a16="http://schemas.microsoft.com/office/drawing/2014/main" id="{CD3E799B-724D-421E-AB94-CF48E78813CD}"/>
              </a:ext>
            </a:extLst>
          </p:cNvPr>
          <p:cNvGrpSpPr/>
          <p:nvPr/>
        </p:nvGrpSpPr>
        <p:grpSpPr>
          <a:xfrm>
            <a:off x="0" y="2154826"/>
            <a:ext cx="12192000" cy="4138376"/>
            <a:chOff x="0" y="2154826"/>
            <a:chExt cx="12192000" cy="4138376"/>
          </a:xfrm>
        </p:grpSpPr>
        <p:sp>
          <p:nvSpPr>
            <p:cNvPr id="40" name="Rectangle 39">
              <a:extLst>
                <a:ext uri="{FF2B5EF4-FFF2-40B4-BE49-F238E27FC236}">
                  <a16:creationId xmlns:a16="http://schemas.microsoft.com/office/drawing/2014/main" id="{4C41C950-B9A9-4B14-BA50-A8ACB7C4E3B1}"/>
                </a:ext>
              </a:extLst>
            </p:cNvPr>
            <p:cNvSpPr/>
            <p:nvPr/>
          </p:nvSpPr>
          <p:spPr>
            <a:xfrm>
              <a:off x="0" y="585199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ith the current crisis and volatility, are there more asset allocation adjustments on the 2021 horizon?</a:t>
              </a:r>
            </a:p>
          </p:txBody>
        </p:sp>
        <p:grpSp>
          <p:nvGrpSpPr>
            <p:cNvPr id="7" name="Group 6">
              <a:extLst>
                <a:ext uri="{FF2B5EF4-FFF2-40B4-BE49-F238E27FC236}">
                  <a16:creationId xmlns:a16="http://schemas.microsoft.com/office/drawing/2014/main" id="{3D6FA2C5-53A7-4288-AC9C-DE72FDE16588}"/>
                </a:ext>
              </a:extLst>
            </p:cNvPr>
            <p:cNvGrpSpPr/>
            <p:nvPr/>
          </p:nvGrpSpPr>
          <p:grpSpPr>
            <a:xfrm>
              <a:off x="8283703" y="2154826"/>
              <a:ext cx="3170324" cy="2150474"/>
              <a:chOff x="7286624" y="2145301"/>
              <a:chExt cx="3170324" cy="2150474"/>
            </a:xfrm>
          </p:grpSpPr>
          <p:sp>
            <p:nvSpPr>
              <p:cNvPr id="4" name="Thought Bubble: Cloud 3">
                <a:extLst>
                  <a:ext uri="{FF2B5EF4-FFF2-40B4-BE49-F238E27FC236}">
                    <a16:creationId xmlns:a16="http://schemas.microsoft.com/office/drawing/2014/main" id="{361272CD-61ED-4EAA-8888-304518877C59}"/>
                  </a:ext>
                </a:extLst>
              </p:cNvPr>
              <p:cNvSpPr/>
              <p:nvPr/>
            </p:nvSpPr>
            <p:spPr>
              <a:xfrm>
                <a:off x="7286624" y="2145301"/>
                <a:ext cx="3170324" cy="2150474"/>
              </a:xfrm>
              <a:prstGeom prst="cloudCallout">
                <a:avLst>
                  <a:gd name="adj1" fmla="val -45678"/>
                  <a:gd name="adj2" fmla="val 54887"/>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262E317-FD65-4E79-BD79-CFB9EE2D148C}"/>
                  </a:ext>
                </a:extLst>
              </p:cNvPr>
              <p:cNvSpPr txBox="1"/>
              <p:nvPr/>
            </p:nvSpPr>
            <p:spPr>
              <a:xfrm>
                <a:off x="7716752" y="2561333"/>
                <a:ext cx="2389273" cy="1200329"/>
              </a:xfrm>
              <a:prstGeom prst="rect">
                <a:avLst/>
              </a:prstGeom>
              <a:noFill/>
            </p:spPr>
            <p:txBody>
              <a:bodyPr wrap="square" rtlCol="0">
                <a:spAutoFit/>
              </a:bodyPr>
              <a:lstStyle/>
              <a:p>
                <a:r>
                  <a:rPr lang="en-IN" sz="1200" dirty="0" err="1"/>
                  <a:t>WealthTechs</a:t>
                </a:r>
                <a:r>
                  <a:rPr lang="en-IN" sz="1200" dirty="0"/>
                  <a:t> such as </a:t>
                </a:r>
                <a:r>
                  <a:rPr lang="en-IN" sz="1200" dirty="0" err="1"/>
                  <a:t>Wealthfront</a:t>
                </a:r>
                <a:r>
                  <a:rPr lang="en-IN" sz="1200" dirty="0"/>
                  <a:t> and Robinhood are increasingly focusing on cash management solutions, ready for a potentially greater </a:t>
                </a:r>
                <a:r>
                  <a:rPr lang="en-IN" sz="1200" b="1" dirty="0"/>
                  <a:t>allocation to cash </a:t>
                </a:r>
                <a:endParaRPr lang="en-US" sz="1200" b="1" dirty="0"/>
              </a:p>
            </p:txBody>
          </p:sp>
        </p:grpSp>
      </p:grpSp>
      <p:sp>
        <p:nvSpPr>
          <p:cNvPr id="10" name="Rectangle: Rounded Corners 9">
            <a:extLst>
              <a:ext uri="{FF2B5EF4-FFF2-40B4-BE49-F238E27FC236}">
                <a16:creationId xmlns:a16="http://schemas.microsoft.com/office/drawing/2014/main" id="{96976382-478C-4654-9C20-782BBE9ADC83}"/>
              </a:ext>
            </a:extLst>
          </p:cNvPr>
          <p:cNvSpPr/>
          <p:nvPr/>
        </p:nvSpPr>
        <p:spPr>
          <a:xfrm>
            <a:off x="3681813" y="4619625"/>
            <a:ext cx="633012" cy="92392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3E9CF2C4-3862-46EC-A5D1-421D0688ED28}"/>
              </a:ext>
            </a:extLst>
          </p:cNvPr>
          <p:cNvSpPr/>
          <p:nvPr/>
        </p:nvSpPr>
        <p:spPr>
          <a:xfrm>
            <a:off x="4625854" y="3895725"/>
            <a:ext cx="633012" cy="90487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58C335E5-92A0-452F-9146-E9A1DE9E65F2}"/>
              </a:ext>
            </a:extLst>
          </p:cNvPr>
          <p:cNvSpPr/>
          <p:nvPr/>
        </p:nvSpPr>
        <p:spPr>
          <a:xfrm>
            <a:off x="5611888" y="4619625"/>
            <a:ext cx="633012" cy="92392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3A2FE27D-7A22-4948-8A89-A622D45747F5}"/>
              </a:ext>
            </a:extLst>
          </p:cNvPr>
          <p:cNvGrpSpPr/>
          <p:nvPr/>
        </p:nvGrpSpPr>
        <p:grpSpPr>
          <a:xfrm>
            <a:off x="9622537" y="85117"/>
            <a:ext cx="559961" cy="608099"/>
            <a:chOff x="9622537" y="85117"/>
            <a:chExt cx="559961" cy="608099"/>
          </a:xfrm>
        </p:grpSpPr>
        <p:sp>
          <p:nvSpPr>
            <p:cNvPr id="28" name="Freeform 10">
              <a:extLst>
                <a:ext uri="{FF2B5EF4-FFF2-40B4-BE49-F238E27FC236}">
                  <a16:creationId xmlns:a16="http://schemas.microsoft.com/office/drawing/2014/main" id="{6E79E364-3AD4-469B-96D0-AF9DC2116E89}"/>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9" name="Freeform 11">
              <a:extLst>
                <a:ext uri="{FF2B5EF4-FFF2-40B4-BE49-F238E27FC236}">
                  <a16:creationId xmlns:a16="http://schemas.microsoft.com/office/drawing/2014/main" id="{DBE07372-9122-46E0-9C89-6E00FC237303}"/>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 name="Freeform 12">
              <a:extLst>
                <a:ext uri="{FF2B5EF4-FFF2-40B4-BE49-F238E27FC236}">
                  <a16:creationId xmlns:a16="http://schemas.microsoft.com/office/drawing/2014/main" id="{CFB1E54B-9D8F-4E3C-B12C-A3996925AB94}"/>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1" name="Freeform 13">
              <a:extLst>
                <a:ext uri="{FF2B5EF4-FFF2-40B4-BE49-F238E27FC236}">
                  <a16:creationId xmlns:a16="http://schemas.microsoft.com/office/drawing/2014/main" id="{89A147D8-4FFF-4943-83B9-59DDB4FC2BE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3" name="Freeform 14">
              <a:extLst>
                <a:ext uri="{FF2B5EF4-FFF2-40B4-BE49-F238E27FC236}">
                  <a16:creationId xmlns:a16="http://schemas.microsoft.com/office/drawing/2014/main" id="{717169AD-AD4D-461E-8C85-FF0AFBA7A41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34" name="Group 33">
            <a:extLst>
              <a:ext uri="{FF2B5EF4-FFF2-40B4-BE49-F238E27FC236}">
                <a16:creationId xmlns:a16="http://schemas.microsoft.com/office/drawing/2014/main" id="{7E15DCD9-C767-4F23-8B59-1319F87BF6AB}"/>
              </a:ext>
            </a:extLst>
          </p:cNvPr>
          <p:cNvGrpSpPr/>
          <p:nvPr/>
        </p:nvGrpSpPr>
        <p:grpSpPr>
          <a:xfrm>
            <a:off x="10232823" y="122400"/>
            <a:ext cx="537308" cy="533532"/>
            <a:chOff x="8169276" y="2006600"/>
            <a:chExt cx="3614737" cy="3589337"/>
          </a:xfrm>
          <a:solidFill>
            <a:schemeClr val="bg1">
              <a:lumMod val="75000"/>
            </a:schemeClr>
          </a:solidFill>
        </p:grpSpPr>
        <p:sp>
          <p:nvSpPr>
            <p:cNvPr id="36" name="Freeform 18">
              <a:extLst>
                <a:ext uri="{FF2B5EF4-FFF2-40B4-BE49-F238E27FC236}">
                  <a16:creationId xmlns:a16="http://schemas.microsoft.com/office/drawing/2014/main" id="{684774A8-2B09-44F7-A8ED-71684B5DD79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7" name="Freeform 15">
              <a:extLst>
                <a:ext uri="{FF2B5EF4-FFF2-40B4-BE49-F238E27FC236}">
                  <a16:creationId xmlns:a16="http://schemas.microsoft.com/office/drawing/2014/main" id="{444F54F3-9D68-4AD5-A17E-DC779024954A}"/>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8" name="Oval 16">
              <a:extLst>
                <a:ext uri="{FF2B5EF4-FFF2-40B4-BE49-F238E27FC236}">
                  <a16:creationId xmlns:a16="http://schemas.microsoft.com/office/drawing/2014/main" id="{78B5064D-7EAC-4602-BFE8-CCDC8CB2F49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Freeform 17">
              <a:extLst>
                <a:ext uri="{FF2B5EF4-FFF2-40B4-BE49-F238E27FC236}">
                  <a16:creationId xmlns:a16="http://schemas.microsoft.com/office/drawing/2014/main" id="{55D7BC0B-4D2F-421B-91A7-B59BA0E30BE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2" name="Freeform 19">
              <a:extLst>
                <a:ext uri="{FF2B5EF4-FFF2-40B4-BE49-F238E27FC236}">
                  <a16:creationId xmlns:a16="http://schemas.microsoft.com/office/drawing/2014/main" id="{F882DA16-4691-4930-AB81-2CF731318CCC}"/>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43" name="Freeform 332">
            <a:extLst>
              <a:ext uri="{FF2B5EF4-FFF2-40B4-BE49-F238E27FC236}">
                <a16:creationId xmlns:a16="http://schemas.microsoft.com/office/drawing/2014/main" id="{C5B20CA2-C4E9-4D2A-8E1E-1C441A98B36C}"/>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4" name="Group 43">
            <a:extLst>
              <a:ext uri="{FF2B5EF4-FFF2-40B4-BE49-F238E27FC236}">
                <a16:creationId xmlns:a16="http://schemas.microsoft.com/office/drawing/2014/main" id="{E0AFA7D3-D6E4-4DF2-8530-E45770E9ECE7}"/>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45" name="Freeform 46">
              <a:extLst>
                <a:ext uri="{FF2B5EF4-FFF2-40B4-BE49-F238E27FC236}">
                  <a16:creationId xmlns:a16="http://schemas.microsoft.com/office/drawing/2014/main" id="{4CFA4A22-096A-4AC3-BA3E-BA17B47296CB}"/>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7">
              <a:extLst>
                <a:ext uri="{FF2B5EF4-FFF2-40B4-BE49-F238E27FC236}">
                  <a16:creationId xmlns:a16="http://schemas.microsoft.com/office/drawing/2014/main" id="{4DC4C153-A1CA-4779-B965-F0E76A767059}"/>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8">
              <a:extLst>
                <a:ext uri="{FF2B5EF4-FFF2-40B4-BE49-F238E27FC236}">
                  <a16:creationId xmlns:a16="http://schemas.microsoft.com/office/drawing/2014/main" id="{7C66D560-5E79-4CB3-8DB6-2972E1B3A6FB}"/>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9">
              <a:extLst>
                <a:ext uri="{FF2B5EF4-FFF2-40B4-BE49-F238E27FC236}">
                  <a16:creationId xmlns:a16="http://schemas.microsoft.com/office/drawing/2014/main" id="{B44B75E0-4E10-452A-BA15-C755EB3B8F5D}"/>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0">
              <a:extLst>
                <a:ext uri="{FF2B5EF4-FFF2-40B4-BE49-F238E27FC236}">
                  <a16:creationId xmlns:a16="http://schemas.microsoft.com/office/drawing/2014/main" id="{3A1CD7CC-C21E-49AB-BA7A-BF3DFA8D6DB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1">
              <a:extLst>
                <a:ext uri="{FF2B5EF4-FFF2-40B4-BE49-F238E27FC236}">
                  <a16:creationId xmlns:a16="http://schemas.microsoft.com/office/drawing/2014/main" id="{DE1DC94B-90FE-4911-8F9F-014346A04DAB}"/>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 name="Group 101">
            <a:extLst>
              <a:ext uri="{FF2B5EF4-FFF2-40B4-BE49-F238E27FC236}">
                <a16:creationId xmlns:a16="http://schemas.microsoft.com/office/drawing/2014/main" id="{737A8832-1383-47C5-86E7-A9EDD59C68E6}"/>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03" name="Freeform 18">
              <a:extLst>
                <a:ext uri="{FF2B5EF4-FFF2-40B4-BE49-F238E27FC236}">
                  <a16:creationId xmlns:a16="http://schemas.microsoft.com/office/drawing/2014/main" id="{7BD44AF2-741C-4350-835D-38D62AC52DC7}"/>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5">
              <a:extLst>
                <a:ext uri="{FF2B5EF4-FFF2-40B4-BE49-F238E27FC236}">
                  <a16:creationId xmlns:a16="http://schemas.microsoft.com/office/drawing/2014/main" id="{EF515A1A-B88E-4FD0-AB55-9DAFC25BDE64}"/>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6">
              <a:extLst>
                <a:ext uri="{FF2B5EF4-FFF2-40B4-BE49-F238E27FC236}">
                  <a16:creationId xmlns:a16="http://schemas.microsoft.com/office/drawing/2014/main" id="{69B0EAA9-45F5-462D-99BC-3F485611125C}"/>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7">
              <a:extLst>
                <a:ext uri="{FF2B5EF4-FFF2-40B4-BE49-F238E27FC236}">
                  <a16:creationId xmlns:a16="http://schemas.microsoft.com/office/drawing/2014/main" id="{654A2B80-3BC6-450A-B52F-38D1B0C522F7}"/>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9">
              <a:extLst>
                <a:ext uri="{FF2B5EF4-FFF2-40B4-BE49-F238E27FC236}">
                  <a16:creationId xmlns:a16="http://schemas.microsoft.com/office/drawing/2014/main" id="{6D40F3B4-5A86-4613-8881-C2CFC543924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08" name="Picture 4" descr="Coronavirus | United Nations">
            <a:extLst>
              <a:ext uri="{FF2B5EF4-FFF2-40B4-BE49-F238E27FC236}">
                <a16:creationId xmlns:a16="http://schemas.microsoft.com/office/drawing/2014/main" id="{E7376D60-93D9-4BE2-B113-2F13EABB0A44}"/>
              </a:ext>
            </a:extLst>
          </p:cNvPr>
          <p:cNvPicPr>
            <a:picLocks noChangeAspect="1" noChangeArrowheads="1"/>
          </p:cNvPicPr>
          <p:nvPr/>
        </p:nvPicPr>
        <p:blipFill>
          <a:blip r:embed="rId6">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09" name="Group 108">
            <a:extLst>
              <a:ext uri="{FF2B5EF4-FFF2-40B4-BE49-F238E27FC236}">
                <a16:creationId xmlns:a16="http://schemas.microsoft.com/office/drawing/2014/main" id="{DFE1686C-E252-4817-9B6D-394485522756}"/>
              </a:ext>
            </a:extLst>
          </p:cNvPr>
          <p:cNvGrpSpPr/>
          <p:nvPr/>
        </p:nvGrpSpPr>
        <p:grpSpPr>
          <a:xfrm>
            <a:off x="9034432" y="122400"/>
            <a:ext cx="537780" cy="533532"/>
            <a:chOff x="411163" y="2006600"/>
            <a:chExt cx="3617913" cy="3589337"/>
          </a:xfrm>
          <a:solidFill>
            <a:schemeClr val="bg1">
              <a:lumMod val="75000"/>
            </a:schemeClr>
          </a:solidFill>
        </p:grpSpPr>
        <p:sp>
          <p:nvSpPr>
            <p:cNvPr id="110" name="Freeform 5">
              <a:extLst>
                <a:ext uri="{FF2B5EF4-FFF2-40B4-BE49-F238E27FC236}">
                  <a16:creationId xmlns:a16="http://schemas.microsoft.com/office/drawing/2014/main" id="{D5A26FF6-9D2A-4F6C-AFEA-6516EDD89AC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1" name="Oval 6">
              <a:extLst>
                <a:ext uri="{FF2B5EF4-FFF2-40B4-BE49-F238E27FC236}">
                  <a16:creationId xmlns:a16="http://schemas.microsoft.com/office/drawing/2014/main" id="{F344A6AF-952D-4FC8-B79C-9C0D6F63565A}"/>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7">
              <a:extLst>
                <a:ext uri="{FF2B5EF4-FFF2-40B4-BE49-F238E27FC236}">
                  <a16:creationId xmlns:a16="http://schemas.microsoft.com/office/drawing/2014/main" id="{BBAC34DD-EA89-43B4-B42A-C4B132AD20F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8">
              <a:extLst>
                <a:ext uri="{FF2B5EF4-FFF2-40B4-BE49-F238E27FC236}">
                  <a16:creationId xmlns:a16="http://schemas.microsoft.com/office/drawing/2014/main" id="{903C56DD-DC77-47F2-A4D0-05DF8E417B61}"/>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Freeform 9">
              <a:extLst>
                <a:ext uri="{FF2B5EF4-FFF2-40B4-BE49-F238E27FC236}">
                  <a16:creationId xmlns:a16="http://schemas.microsoft.com/office/drawing/2014/main" id="{E42607B4-C11E-48CB-B303-641BCF6B7312}"/>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5" name="Groupe 825">
            <a:extLst>
              <a:ext uri="{FF2B5EF4-FFF2-40B4-BE49-F238E27FC236}">
                <a16:creationId xmlns:a16="http://schemas.microsoft.com/office/drawing/2014/main" id="{C97DB65E-3D75-4B1E-B2F2-46431D64D820}"/>
              </a:ext>
            </a:extLst>
          </p:cNvPr>
          <p:cNvGrpSpPr/>
          <p:nvPr/>
        </p:nvGrpSpPr>
        <p:grpSpPr>
          <a:xfrm>
            <a:off x="9138494" y="248487"/>
            <a:ext cx="337206" cy="317707"/>
            <a:chOff x="6500813" y="736601"/>
            <a:chExt cx="538163" cy="581025"/>
          </a:xfrm>
          <a:solidFill>
            <a:schemeClr val="bg1">
              <a:lumMod val="50000"/>
            </a:schemeClr>
          </a:solidFill>
        </p:grpSpPr>
        <p:sp>
          <p:nvSpPr>
            <p:cNvPr id="116" name="Freeform 37">
              <a:extLst>
                <a:ext uri="{FF2B5EF4-FFF2-40B4-BE49-F238E27FC236}">
                  <a16:creationId xmlns:a16="http://schemas.microsoft.com/office/drawing/2014/main" id="{B0C92822-6467-42E1-93C8-A6B75C20B5B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38">
              <a:extLst>
                <a:ext uri="{FF2B5EF4-FFF2-40B4-BE49-F238E27FC236}">
                  <a16:creationId xmlns:a16="http://schemas.microsoft.com/office/drawing/2014/main" id="{3A3E52FD-C5FA-4383-82FB-935259757A97}"/>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39">
              <a:extLst>
                <a:ext uri="{FF2B5EF4-FFF2-40B4-BE49-F238E27FC236}">
                  <a16:creationId xmlns:a16="http://schemas.microsoft.com/office/drawing/2014/main" id="{B20BED7E-D692-46F4-B5A7-EF26A1D23A1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40">
              <a:extLst>
                <a:ext uri="{FF2B5EF4-FFF2-40B4-BE49-F238E27FC236}">
                  <a16:creationId xmlns:a16="http://schemas.microsoft.com/office/drawing/2014/main" id="{1A7BB956-5E57-4487-A7CC-581B92885E1D}"/>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41">
              <a:extLst>
                <a:ext uri="{FF2B5EF4-FFF2-40B4-BE49-F238E27FC236}">
                  <a16:creationId xmlns:a16="http://schemas.microsoft.com/office/drawing/2014/main" id="{837F0D93-D1C7-4DB3-A098-3C7C69B76A69}"/>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42">
              <a:extLst>
                <a:ext uri="{FF2B5EF4-FFF2-40B4-BE49-F238E27FC236}">
                  <a16:creationId xmlns:a16="http://schemas.microsoft.com/office/drawing/2014/main" id="{AD638591-2C48-457E-8387-BD16E1258190}"/>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3">
              <a:extLst>
                <a:ext uri="{FF2B5EF4-FFF2-40B4-BE49-F238E27FC236}">
                  <a16:creationId xmlns:a16="http://schemas.microsoft.com/office/drawing/2014/main" id="{77EC3707-E462-49F6-838F-B4E1A6932343}"/>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4">
              <a:extLst>
                <a:ext uri="{FF2B5EF4-FFF2-40B4-BE49-F238E27FC236}">
                  <a16:creationId xmlns:a16="http://schemas.microsoft.com/office/drawing/2014/main" id="{9E727A03-8559-40E7-A75B-85E8E414728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5">
              <a:extLst>
                <a:ext uri="{FF2B5EF4-FFF2-40B4-BE49-F238E27FC236}">
                  <a16:creationId xmlns:a16="http://schemas.microsoft.com/office/drawing/2014/main" id="{CA83F052-3887-42E6-98B3-A9D990B04E6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6">
              <a:extLst>
                <a:ext uri="{FF2B5EF4-FFF2-40B4-BE49-F238E27FC236}">
                  <a16:creationId xmlns:a16="http://schemas.microsoft.com/office/drawing/2014/main" id="{0FC39F39-B2F2-48EB-9E38-1AD93EBA95D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7">
              <a:extLst>
                <a:ext uri="{FF2B5EF4-FFF2-40B4-BE49-F238E27FC236}">
                  <a16:creationId xmlns:a16="http://schemas.microsoft.com/office/drawing/2014/main" id="{E77DE1FF-5475-4306-AEBE-377BC2BF5E9F}"/>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8">
              <a:extLst>
                <a:ext uri="{FF2B5EF4-FFF2-40B4-BE49-F238E27FC236}">
                  <a16:creationId xmlns:a16="http://schemas.microsoft.com/office/drawing/2014/main" id="{1570F45F-A984-4DDC-98F5-7F4C7F2F6255}"/>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9">
              <a:extLst>
                <a:ext uri="{FF2B5EF4-FFF2-40B4-BE49-F238E27FC236}">
                  <a16:creationId xmlns:a16="http://schemas.microsoft.com/office/drawing/2014/main" id="{CDFD0189-14D0-4944-9417-CADECBAF952F}"/>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50">
              <a:extLst>
                <a:ext uri="{FF2B5EF4-FFF2-40B4-BE49-F238E27FC236}">
                  <a16:creationId xmlns:a16="http://schemas.microsoft.com/office/drawing/2014/main" id="{D6D7AF48-AFC7-4163-A849-DFF8EFB301DA}"/>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51">
              <a:extLst>
                <a:ext uri="{FF2B5EF4-FFF2-40B4-BE49-F238E27FC236}">
                  <a16:creationId xmlns:a16="http://schemas.microsoft.com/office/drawing/2014/main" id="{1D284D4B-7295-4F42-A8F3-C3EAFC07307D}"/>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52">
              <a:extLst>
                <a:ext uri="{FF2B5EF4-FFF2-40B4-BE49-F238E27FC236}">
                  <a16:creationId xmlns:a16="http://schemas.microsoft.com/office/drawing/2014/main" id="{0C3A5F09-CA31-40DD-826B-83218D2FE207}"/>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3">
              <a:extLst>
                <a:ext uri="{FF2B5EF4-FFF2-40B4-BE49-F238E27FC236}">
                  <a16:creationId xmlns:a16="http://schemas.microsoft.com/office/drawing/2014/main" id="{29B5D07F-DFB6-49E6-8961-3E8DFAEFE0B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4">
              <a:extLst>
                <a:ext uri="{FF2B5EF4-FFF2-40B4-BE49-F238E27FC236}">
                  <a16:creationId xmlns:a16="http://schemas.microsoft.com/office/drawing/2014/main" id="{7090A0DE-3629-4CFB-84D6-E5F47AFC55C2}"/>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5">
              <a:extLst>
                <a:ext uri="{FF2B5EF4-FFF2-40B4-BE49-F238E27FC236}">
                  <a16:creationId xmlns:a16="http://schemas.microsoft.com/office/drawing/2014/main" id="{F84335BE-A2C4-40E1-BB4A-B55DF9214E9E}"/>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6">
              <a:extLst>
                <a:ext uri="{FF2B5EF4-FFF2-40B4-BE49-F238E27FC236}">
                  <a16:creationId xmlns:a16="http://schemas.microsoft.com/office/drawing/2014/main" id="{DBF9FC6F-4F56-4FCF-A92D-82FF4499397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7">
              <a:extLst>
                <a:ext uri="{FF2B5EF4-FFF2-40B4-BE49-F238E27FC236}">
                  <a16:creationId xmlns:a16="http://schemas.microsoft.com/office/drawing/2014/main" id="{4B1C14C8-51DE-40A7-8505-B31547FD8B4B}"/>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8">
              <a:extLst>
                <a:ext uri="{FF2B5EF4-FFF2-40B4-BE49-F238E27FC236}">
                  <a16:creationId xmlns:a16="http://schemas.microsoft.com/office/drawing/2014/main" id="{7B4787D2-2A25-457C-93A5-3CA134EFDA34}"/>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9">
              <a:extLst>
                <a:ext uri="{FF2B5EF4-FFF2-40B4-BE49-F238E27FC236}">
                  <a16:creationId xmlns:a16="http://schemas.microsoft.com/office/drawing/2014/main" id="{D1F929A0-8F14-4068-A6EA-F9DA9ADD845E}"/>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60">
              <a:extLst>
                <a:ext uri="{FF2B5EF4-FFF2-40B4-BE49-F238E27FC236}">
                  <a16:creationId xmlns:a16="http://schemas.microsoft.com/office/drawing/2014/main" id="{AC6DBAF2-E92C-484F-B2F9-69A90C0C7DF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61">
              <a:extLst>
                <a:ext uri="{FF2B5EF4-FFF2-40B4-BE49-F238E27FC236}">
                  <a16:creationId xmlns:a16="http://schemas.microsoft.com/office/drawing/2014/main" id="{0261E9E7-AF14-4A33-B760-66B8423DA00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62">
              <a:extLst>
                <a:ext uri="{FF2B5EF4-FFF2-40B4-BE49-F238E27FC236}">
                  <a16:creationId xmlns:a16="http://schemas.microsoft.com/office/drawing/2014/main" id="{32741D4F-C55A-4F27-8B31-8E0D75F9F1F6}"/>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3">
              <a:extLst>
                <a:ext uri="{FF2B5EF4-FFF2-40B4-BE49-F238E27FC236}">
                  <a16:creationId xmlns:a16="http://schemas.microsoft.com/office/drawing/2014/main" id="{CAE0F4A9-DEC7-49C9-B486-72EA00C5BCA7}"/>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4">
              <a:extLst>
                <a:ext uri="{FF2B5EF4-FFF2-40B4-BE49-F238E27FC236}">
                  <a16:creationId xmlns:a16="http://schemas.microsoft.com/office/drawing/2014/main" id="{8F0676C8-3D11-46DE-8DF5-4E8E0BF8B204}"/>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5">
              <a:extLst>
                <a:ext uri="{FF2B5EF4-FFF2-40B4-BE49-F238E27FC236}">
                  <a16:creationId xmlns:a16="http://schemas.microsoft.com/office/drawing/2014/main" id="{0B96CEA3-2C98-4FBC-97FD-0199023D1F9C}"/>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6">
              <a:extLst>
                <a:ext uri="{FF2B5EF4-FFF2-40B4-BE49-F238E27FC236}">
                  <a16:creationId xmlns:a16="http://schemas.microsoft.com/office/drawing/2014/main" id="{6E2EE2F6-C1A2-429C-9F3D-D70D679A8163}"/>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7">
              <a:extLst>
                <a:ext uri="{FF2B5EF4-FFF2-40B4-BE49-F238E27FC236}">
                  <a16:creationId xmlns:a16="http://schemas.microsoft.com/office/drawing/2014/main" id="{CF60464A-4A53-48EE-8930-5F9C86F3845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8">
              <a:extLst>
                <a:ext uri="{FF2B5EF4-FFF2-40B4-BE49-F238E27FC236}">
                  <a16:creationId xmlns:a16="http://schemas.microsoft.com/office/drawing/2014/main" id="{17D10E9C-778C-43D0-9335-AF0A4C5BF37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9">
              <a:extLst>
                <a:ext uri="{FF2B5EF4-FFF2-40B4-BE49-F238E27FC236}">
                  <a16:creationId xmlns:a16="http://schemas.microsoft.com/office/drawing/2014/main" id="{ACB3C499-712E-4E18-8928-0559E064BF73}"/>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70">
              <a:extLst>
                <a:ext uri="{FF2B5EF4-FFF2-40B4-BE49-F238E27FC236}">
                  <a16:creationId xmlns:a16="http://schemas.microsoft.com/office/drawing/2014/main" id="{1DB50D21-9602-456E-A596-808569D55AE4}"/>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71">
              <a:extLst>
                <a:ext uri="{FF2B5EF4-FFF2-40B4-BE49-F238E27FC236}">
                  <a16:creationId xmlns:a16="http://schemas.microsoft.com/office/drawing/2014/main" id="{F7E9F9E8-3217-43A4-AE39-3EABDB4A2B5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72">
              <a:extLst>
                <a:ext uri="{FF2B5EF4-FFF2-40B4-BE49-F238E27FC236}">
                  <a16:creationId xmlns:a16="http://schemas.microsoft.com/office/drawing/2014/main" id="{EA38785E-93A0-4336-B57C-FF8EC166C926}"/>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3">
              <a:extLst>
                <a:ext uri="{FF2B5EF4-FFF2-40B4-BE49-F238E27FC236}">
                  <a16:creationId xmlns:a16="http://schemas.microsoft.com/office/drawing/2014/main" id="{7A5D89A7-671C-4746-8FF6-4E6711577A21}"/>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4">
              <a:extLst>
                <a:ext uri="{FF2B5EF4-FFF2-40B4-BE49-F238E27FC236}">
                  <a16:creationId xmlns:a16="http://schemas.microsoft.com/office/drawing/2014/main" id="{CF62D9D4-D3EE-4E33-BB7D-F118A9960CDA}"/>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5">
              <a:extLst>
                <a:ext uri="{FF2B5EF4-FFF2-40B4-BE49-F238E27FC236}">
                  <a16:creationId xmlns:a16="http://schemas.microsoft.com/office/drawing/2014/main" id="{80E4F637-CE50-44CD-A1C8-A60C79D8B016}"/>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6">
              <a:extLst>
                <a:ext uri="{FF2B5EF4-FFF2-40B4-BE49-F238E27FC236}">
                  <a16:creationId xmlns:a16="http://schemas.microsoft.com/office/drawing/2014/main" id="{2A2587DE-069F-484D-A328-2C80F6472E2D}"/>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7">
              <a:extLst>
                <a:ext uri="{FF2B5EF4-FFF2-40B4-BE49-F238E27FC236}">
                  <a16:creationId xmlns:a16="http://schemas.microsoft.com/office/drawing/2014/main" id="{6E3161A1-C3E3-4134-B6A8-CB92960EF228}"/>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8">
              <a:extLst>
                <a:ext uri="{FF2B5EF4-FFF2-40B4-BE49-F238E27FC236}">
                  <a16:creationId xmlns:a16="http://schemas.microsoft.com/office/drawing/2014/main" id="{3DFFE33C-716F-480A-BEA0-A334D0768C1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9">
              <a:extLst>
                <a:ext uri="{FF2B5EF4-FFF2-40B4-BE49-F238E27FC236}">
                  <a16:creationId xmlns:a16="http://schemas.microsoft.com/office/drawing/2014/main" id="{2601B33F-28AE-471C-880F-AA861B93E3D3}"/>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80">
              <a:extLst>
                <a:ext uri="{FF2B5EF4-FFF2-40B4-BE49-F238E27FC236}">
                  <a16:creationId xmlns:a16="http://schemas.microsoft.com/office/drawing/2014/main" id="{2708A9B5-9CA6-467A-A0BD-F206408471C8}"/>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81">
              <a:extLst>
                <a:ext uri="{FF2B5EF4-FFF2-40B4-BE49-F238E27FC236}">
                  <a16:creationId xmlns:a16="http://schemas.microsoft.com/office/drawing/2014/main" id="{340D7730-B475-4759-9258-51E433D463F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82">
              <a:extLst>
                <a:ext uri="{FF2B5EF4-FFF2-40B4-BE49-F238E27FC236}">
                  <a16:creationId xmlns:a16="http://schemas.microsoft.com/office/drawing/2014/main" id="{6FFEDF77-45CB-4465-9278-38AB0806BDE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3">
              <a:extLst>
                <a:ext uri="{FF2B5EF4-FFF2-40B4-BE49-F238E27FC236}">
                  <a16:creationId xmlns:a16="http://schemas.microsoft.com/office/drawing/2014/main" id="{6F2429F1-70E4-484D-B2A7-8FE4B4C20A90}"/>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4">
              <a:extLst>
                <a:ext uri="{FF2B5EF4-FFF2-40B4-BE49-F238E27FC236}">
                  <a16:creationId xmlns:a16="http://schemas.microsoft.com/office/drawing/2014/main" id="{C72DD3CD-D093-41D2-BFC9-65D0AC80D08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5">
              <a:extLst>
                <a:ext uri="{FF2B5EF4-FFF2-40B4-BE49-F238E27FC236}">
                  <a16:creationId xmlns:a16="http://schemas.microsoft.com/office/drawing/2014/main" id="{45B190E9-315B-49D8-A96A-5D921244542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450548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25497D-4899-43CB-8CC2-52468A0C5F5B}"/>
              </a:ext>
            </a:extLst>
          </p:cNvPr>
          <p:cNvGraphicFramePr>
            <a:graphicFrameLocks noChangeAspect="1"/>
          </p:cNvGraphicFramePr>
          <p:nvPr>
            <p:custDataLst>
              <p:tags r:id="rId2"/>
            </p:custDataLst>
            <p:extLst>
              <p:ext uri="{D42A27DB-BD31-4B8C-83A1-F6EECF244321}">
                <p14:modId xmlns:p14="http://schemas.microsoft.com/office/powerpoint/2010/main" val="258121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CB5195-E17F-4FA0-89C0-A8DE83A5CE8E}"/>
              </a:ext>
            </a:extLst>
          </p:cNvPr>
          <p:cNvSpPr>
            <a:spLocks noGrp="1"/>
          </p:cNvSpPr>
          <p:nvPr>
            <p:ph type="ctrTitle"/>
          </p:nvPr>
        </p:nvSpPr>
        <p:spPr/>
        <p:txBody>
          <a:bodyPr/>
          <a:lstStyle/>
          <a:p>
            <a:r>
              <a:rPr lang="fr-BE" dirty="0"/>
              <a:t>WELCOME</a:t>
            </a:r>
          </a:p>
        </p:txBody>
      </p:sp>
      <p:sp>
        <p:nvSpPr>
          <p:cNvPr id="4" name="Subtitle 1">
            <a:extLst>
              <a:ext uri="{FF2B5EF4-FFF2-40B4-BE49-F238E27FC236}">
                <a16:creationId xmlns:a16="http://schemas.microsoft.com/office/drawing/2014/main" id="{D5C8B775-2736-4B6A-8D36-08DBFAED6A9C}"/>
              </a:ext>
            </a:extLst>
          </p:cNvPr>
          <p:cNvSpPr txBox="1">
            <a:spLocks/>
          </p:cNvSpPr>
          <p:nvPr/>
        </p:nvSpPr>
        <p:spPr>
          <a:xfrm>
            <a:off x="291030" y="4272807"/>
            <a:ext cx="5930096" cy="25001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nl-BE" dirty="0"/>
              <a:t>Robert van der Eijk</a:t>
            </a:r>
          </a:p>
          <a:p>
            <a:pPr>
              <a:lnSpc>
                <a:spcPct val="100000"/>
              </a:lnSpc>
              <a:spcBef>
                <a:spcPts val="0"/>
              </a:spcBef>
            </a:pPr>
            <a:r>
              <a:rPr lang="nl-BE" sz="1400" i="1" dirty="0"/>
              <a:t>Managing Director Capgemini Invent BeLux</a:t>
            </a:r>
          </a:p>
          <a:p>
            <a:pPr>
              <a:lnSpc>
                <a:spcPct val="100000"/>
              </a:lnSpc>
              <a:spcBef>
                <a:spcPts val="0"/>
              </a:spcBef>
            </a:pPr>
            <a:r>
              <a:rPr lang="nl-BE" sz="1400" i="1" dirty="0"/>
              <a:t>Executive Vice Presedent</a:t>
            </a:r>
          </a:p>
          <a:p>
            <a:pPr>
              <a:lnSpc>
                <a:spcPct val="100000"/>
              </a:lnSpc>
              <a:spcBef>
                <a:spcPts val="0"/>
              </a:spcBef>
            </a:pPr>
            <a:endParaRPr lang="nl-BE" sz="1400" i="1" dirty="0">
              <a:hlinkClick r:id="rId6">
                <a:extLst>
                  <a:ext uri="{A12FA001-AC4F-418D-AE19-62706E023703}">
                    <ahyp:hlinkClr xmlns:ahyp="http://schemas.microsoft.com/office/drawing/2018/hyperlinkcolor" val="tx"/>
                  </a:ext>
                </a:extLst>
              </a:hlinkClick>
            </a:endParaRPr>
          </a:p>
          <a:p>
            <a:pPr>
              <a:lnSpc>
                <a:spcPct val="100000"/>
              </a:lnSpc>
              <a:spcBef>
                <a:spcPts val="0"/>
              </a:spcBef>
            </a:pPr>
            <a:r>
              <a:rPr lang="nl-BE" sz="1400" i="1" dirty="0">
                <a:hlinkClick r:id="rId6">
                  <a:extLst>
                    <a:ext uri="{A12FA001-AC4F-418D-AE19-62706E023703}">
                      <ahyp:hlinkClr xmlns:ahyp="http://schemas.microsoft.com/office/drawing/2018/hyperlinkcolor" val="tx"/>
                    </a:ext>
                  </a:extLst>
                </a:hlinkClick>
              </a:rPr>
              <a:t>robert.van.der.eijk@capgemini.com</a:t>
            </a:r>
            <a:r>
              <a:rPr lang="nl-BE" sz="1400" i="1" dirty="0"/>
              <a:t> </a:t>
            </a:r>
          </a:p>
          <a:p>
            <a:pPr>
              <a:lnSpc>
                <a:spcPct val="100000"/>
              </a:lnSpc>
              <a:spcBef>
                <a:spcPts val="0"/>
              </a:spcBef>
            </a:pPr>
            <a:r>
              <a:rPr lang="nl-BE" sz="1400" dirty="0"/>
              <a:t>+</a:t>
            </a:r>
            <a:r>
              <a:rPr lang="nl-BE" sz="1400" i="1" dirty="0"/>
              <a:t>32 475 54 44 80</a:t>
            </a:r>
          </a:p>
        </p:txBody>
      </p:sp>
      <p:pic>
        <p:nvPicPr>
          <p:cNvPr id="5" name="Picture 4" descr="EA-0046.jpg">
            <a:extLst>
              <a:ext uri="{FF2B5EF4-FFF2-40B4-BE49-F238E27FC236}">
                <a16:creationId xmlns:a16="http://schemas.microsoft.com/office/drawing/2014/main" id="{4CDAB20E-5116-4266-B6B2-0F3827161A2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988" y="1714580"/>
            <a:ext cx="1379228" cy="2072429"/>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40831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4132A5-85B8-4932-8EC0-39DE0E6B4572}"/>
              </a:ext>
            </a:extLst>
          </p:cNvPr>
          <p:cNvGraphicFramePr>
            <a:graphicFrameLocks noChangeAspect="1"/>
          </p:cNvGraphicFramePr>
          <p:nvPr>
            <p:custDataLst>
              <p:tags r:id="rId2"/>
            </p:custDataLst>
            <p:extLst>
              <p:ext uri="{D42A27DB-BD31-4B8C-83A1-F6EECF244321}">
                <p14:modId xmlns:p14="http://schemas.microsoft.com/office/powerpoint/2010/main" val="110067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30C097-4E6D-4176-AF0B-DE9E619EA3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sp>
        <p:nvSpPr>
          <p:cNvPr id="97" name="Rectangle: Rounded Corners 96">
            <a:extLst>
              <a:ext uri="{FF2B5EF4-FFF2-40B4-BE49-F238E27FC236}">
                <a16:creationId xmlns:a16="http://schemas.microsoft.com/office/drawing/2014/main" id="{FA175E28-D630-4CFD-B6F7-E6583FF44A66}"/>
              </a:ext>
            </a:extLst>
          </p:cNvPr>
          <p:cNvSpPr/>
          <p:nvPr/>
        </p:nvSpPr>
        <p:spPr>
          <a:xfrm>
            <a:off x="8612372" y="1216997"/>
            <a:ext cx="1350335" cy="475241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a:xfrm>
            <a:off x="227348" y="160527"/>
            <a:ext cx="7747071" cy="844589"/>
          </a:xfrm>
        </p:spPr>
        <p:txBody>
          <a:bodyPr/>
          <a:lstStyle/>
          <a:p>
            <a:r>
              <a:rPr lang="en-US" sz="2200" dirty="0"/>
              <a:t>Breakdown of HNWI financial assets, Jan-Feb 2020 (global and regions)</a:t>
            </a:r>
          </a:p>
        </p:txBody>
      </p:sp>
      <p:sp>
        <p:nvSpPr>
          <p:cNvPr id="53" name="Rectangle 62">
            <a:extLst>
              <a:ext uri="{FF2B5EF4-FFF2-40B4-BE49-F238E27FC236}">
                <a16:creationId xmlns:a16="http://schemas.microsoft.com/office/drawing/2014/main" id="{430AB480-C275-442A-BB82-408B696F9DCF}"/>
              </a:ext>
            </a:extLst>
          </p:cNvPr>
          <p:cNvSpPr>
            <a:spLocks noChangeArrowheads="1"/>
          </p:cNvSpPr>
          <p:nvPr/>
        </p:nvSpPr>
        <p:spPr bwMode="gray">
          <a:xfrm>
            <a:off x="417512" y="5969408"/>
            <a:ext cx="11088687" cy="583792"/>
          </a:xfrm>
          <a:prstGeom prst="rect">
            <a:avLst/>
          </a:prstGeom>
          <a:noFill/>
          <a:ln w="9525">
            <a:noFill/>
            <a:miter lim="800000"/>
            <a:headEnd/>
            <a:tailEnd/>
          </a:ln>
        </p:spPr>
        <p:txBody>
          <a:bodyPr wrap="square" lIns="0" tIns="26945" rIns="0" bIns="26945" anchor="b">
            <a:spAutoFit/>
          </a:bodyPr>
          <a:lstStyle/>
          <a:p>
            <a:pPr marL="457200" indent="-457200" defTabSz="912813">
              <a:spcBef>
                <a:spcPct val="10000"/>
              </a:spcBef>
              <a:tabLst>
                <a:tab pos="177800" algn="l"/>
              </a:tabLst>
            </a:pPr>
            <a:r>
              <a:rPr lang="en-US" sz="800" dirty="0">
                <a:solidFill>
                  <a:schemeClr val="tx2">
                    <a:lumMod val="50000"/>
                  </a:schemeClr>
                </a:solidFill>
                <a:ea typeface="Arial"/>
                <a:cs typeface="Arial"/>
              </a:rPr>
              <a:t>a.		Includes structured </a:t>
            </a:r>
            <a:r>
              <a:rPr lang="en-US" sz="800" dirty="0">
                <a:ea typeface="Arial"/>
                <a:cs typeface="Arial"/>
              </a:rPr>
              <a:t>products, hedge funds, derivatives, foreign currency, commodities, private equity.</a:t>
            </a:r>
          </a:p>
          <a:p>
            <a:pPr marL="457200" indent="-457200" defTabSz="912813">
              <a:spcBef>
                <a:spcPct val="10000"/>
              </a:spcBef>
              <a:tabLst>
                <a:tab pos="177800" algn="l"/>
              </a:tabLst>
            </a:pPr>
            <a:r>
              <a:rPr lang="en-US" sz="800" dirty="0">
                <a:ea typeface="Arial"/>
                <a:cs typeface="Arial"/>
              </a:rPr>
              <a:t>b.		</a:t>
            </a:r>
            <a:r>
              <a:rPr lang="en-US" sz="800" dirty="0"/>
              <a:t>Excludes primary residence.</a:t>
            </a:r>
            <a:endParaRPr lang="en-US" sz="800" dirty="0">
              <a:ea typeface="Arial"/>
              <a:cs typeface="Arial"/>
            </a:endParaRPr>
          </a:p>
          <a:p>
            <a:pPr marL="457200" indent="-457200" defTabSz="912813">
              <a:spcBef>
                <a:spcPct val="10000"/>
              </a:spcBef>
              <a:tabLst>
                <a:tab pos="177800" algn="l"/>
              </a:tabLst>
            </a:pPr>
            <a:r>
              <a:rPr lang="en-US" sz="800" dirty="0">
                <a:ea typeface="Arial"/>
                <a:cs typeface="Arial"/>
              </a:rPr>
              <a:t>Note:	Question asked: “W</a:t>
            </a:r>
            <a:r>
              <a:rPr lang="en-US" sz="800" dirty="0"/>
              <a:t>hat percentage does each of these asset classes approximately represent in your CURRENT financial portfolio?” Chart numbers may not add up to 100% due to rounding.</a:t>
            </a:r>
            <a:endParaRPr lang="en-US" sz="800" dirty="0">
              <a:ea typeface="Arial"/>
              <a:cs typeface="Arial"/>
            </a:endParaRPr>
          </a:p>
          <a:p>
            <a:pPr marL="457200" indent="-457200" defTabSz="912813">
              <a:spcBef>
                <a:spcPct val="10000"/>
              </a:spcBef>
              <a:tabLst>
                <a:tab pos="177800" algn="l"/>
              </a:tabLst>
            </a:pPr>
            <a:r>
              <a:rPr lang="en-US" sz="800" dirty="0">
                <a:ea typeface="Arial"/>
                <a:cs typeface="Arial"/>
              </a:rPr>
              <a:t>Source:	Capgemini Financial Services Analysis, 2020; Capgemini Global HNW Insights Survey 2020.</a:t>
            </a:r>
          </a:p>
        </p:txBody>
      </p:sp>
      <p:grpSp>
        <p:nvGrpSpPr>
          <p:cNvPr id="8" name="Group 7">
            <a:extLst>
              <a:ext uri="{FF2B5EF4-FFF2-40B4-BE49-F238E27FC236}">
                <a16:creationId xmlns:a16="http://schemas.microsoft.com/office/drawing/2014/main" id="{7CF4ECA8-72CA-4A25-8851-5598E72BA109}"/>
              </a:ext>
            </a:extLst>
          </p:cNvPr>
          <p:cNvGrpSpPr/>
          <p:nvPr/>
        </p:nvGrpSpPr>
        <p:grpSpPr>
          <a:xfrm>
            <a:off x="9622537" y="85117"/>
            <a:ext cx="559961" cy="608099"/>
            <a:chOff x="9622537" y="85117"/>
            <a:chExt cx="559961" cy="608099"/>
          </a:xfrm>
        </p:grpSpPr>
        <p:sp>
          <p:nvSpPr>
            <p:cNvPr id="9" name="Freeform 10">
              <a:extLst>
                <a:ext uri="{FF2B5EF4-FFF2-40B4-BE49-F238E27FC236}">
                  <a16:creationId xmlns:a16="http://schemas.microsoft.com/office/drawing/2014/main" id="{9824626F-4D28-4DC9-9FEF-EF7E336D790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 name="Freeform 11">
              <a:extLst>
                <a:ext uri="{FF2B5EF4-FFF2-40B4-BE49-F238E27FC236}">
                  <a16:creationId xmlns:a16="http://schemas.microsoft.com/office/drawing/2014/main" id="{3DE39ADB-8CFC-4011-A39F-E9262BFCA6B9}"/>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1" name="Freeform 12">
              <a:extLst>
                <a:ext uri="{FF2B5EF4-FFF2-40B4-BE49-F238E27FC236}">
                  <a16:creationId xmlns:a16="http://schemas.microsoft.com/office/drawing/2014/main" id="{F2B32FB3-BC79-4474-9CFE-FF138D8B1C9F}"/>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2" name="Freeform 13">
              <a:extLst>
                <a:ext uri="{FF2B5EF4-FFF2-40B4-BE49-F238E27FC236}">
                  <a16:creationId xmlns:a16="http://schemas.microsoft.com/office/drawing/2014/main" id="{ED5CDA8E-6361-417E-8683-63C5F066B57D}"/>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 name="Freeform 14">
              <a:extLst>
                <a:ext uri="{FF2B5EF4-FFF2-40B4-BE49-F238E27FC236}">
                  <a16:creationId xmlns:a16="http://schemas.microsoft.com/office/drawing/2014/main" id="{CD999F40-4C7B-4133-99D3-5E84A2F6D892}"/>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4" name="Group 13">
            <a:extLst>
              <a:ext uri="{FF2B5EF4-FFF2-40B4-BE49-F238E27FC236}">
                <a16:creationId xmlns:a16="http://schemas.microsoft.com/office/drawing/2014/main" id="{89F399BB-15CD-44FF-92BE-445FBE71AFB1}"/>
              </a:ext>
            </a:extLst>
          </p:cNvPr>
          <p:cNvGrpSpPr/>
          <p:nvPr/>
        </p:nvGrpSpPr>
        <p:grpSpPr>
          <a:xfrm>
            <a:off x="10232823" y="122400"/>
            <a:ext cx="537308" cy="533532"/>
            <a:chOff x="8169276" y="2006600"/>
            <a:chExt cx="3614737" cy="3589337"/>
          </a:xfrm>
          <a:solidFill>
            <a:schemeClr val="bg1">
              <a:lumMod val="75000"/>
            </a:schemeClr>
          </a:solidFill>
        </p:grpSpPr>
        <p:sp>
          <p:nvSpPr>
            <p:cNvPr id="15" name="Freeform 18">
              <a:extLst>
                <a:ext uri="{FF2B5EF4-FFF2-40B4-BE49-F238E27FC236}">
                  <a16:creationId xmlns:a16="http://schemas.microsoft.com/office/drawing/2014/main" id="{0BCB6537-AEF1-47F3-8034-A85C79C08CE8}"/>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15">
              <a:extLst>
                <a:ext uri="{FF2B5EF4-FFF2-40B4-BE49-F238E27FC236}">
                  <a16:creationId xmlns:a16="http://schemas.microsoft.com/office/drawing/2014/main" id="{FC42C810-4CE4-4F56-A177-32E69A3661A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 name="Oval 16">
              <a:extLst>
                <a:ext uri="{FF2B5EF4-FFF2-40B4-BE49-F238E27FC236}">
                  <a16:creationId xmlns:a16="http://schemas.microsoft.com/office/drawing/2014/main" id="{32F57F61-2C14-468C-BE45-06EF107FFB1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Freeform 17">
              <a:extLst>
                <a:ext uri="{FF2B5EF4-FFF2-40B4-BE49-F238E27FC236}">
                  <a16:creationId xmlns:a16="http://schemas.microsoft.com/office/drawing/2014/main" id="{DD71C0BE-A406-4CD4-85B7-5F92BAF7E17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9">
              <a:extLst>
                <a:ext uri="{FF2B5EF4-FFF2-40B4-BE49-F238E27FC236}">
                  <a16:creationId xmlns:a16="http://schemas.microsoft.com/office/drawing/2014/main" id="{4F341145-504D-4B14-82C3-53D8058CF4E6}"/>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20" name="Freeform 332">
            <a:extLst>
              <a:ext uri="{FF2B5EF4-FFF2-40B4-BE49-F238E27FC236}">
                <a16:creationId xmlns:a16="http://schemas.microsoft.com/office/drawing/2014/main" id="{5CF676F0-8060-4977-9330-11B45F2C471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FFE6E2A4-F08B-4B24-AEF5-D9CF8EBBA029}"/>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2" name="Freeform 46">
              <a:extLst>
                <a:ext uri="{FF2B5EF4-FFF2-40B4-BE49-F238E27FC236}">
                  <a16:creationId xmlns:a16="http://schemas.microsoft.com/office/drawing/2014/main" id="{5A368C9E-98A7-4BA1-A7D1-696ECD6E4249}"/>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7">
              <a:extLst>
                <a:ext uri="{FF2B5EF4-FFF2-40B4-BE49-F238E27FC236}">
                  <a16:creationId xmlns:a16="http://schemas.microsoft.com/office/drawing/2014/main" id="{793A8258-8371-4888-9E75-9275294684E2}"/>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8">
              <a:extLst>
                <a:ext uri="{FF2B5EF4-FFF2-40B4-BE49-F238E27FC236}">
                  <a16:creationId xmlns:a16="http://schemas.microsoft.com/office/drawing/2014/main" id="{7278195A-7DD8-416F-9ED9-0A85E94CF1C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9">
              <a:extLst>
                <a:ext uri="{FF2B5EF4-FFF2-40B4-BE49-F238E27FC236}">
                  <a16:creationId xmlns:a16="http://schemas.microsoft.com/office/drawing/2014/main" id="{4B621E3D-635C-4F1C-94D5-0CD07B7773C6}"/>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0">
              <a:extLst>
                <a:ext uri="{FF2B5EF4-FFF2-40B4-BE49-F238E27FC236}">
                  <a16:creationId xmlns:a16="http://schemas.microsoft.com/office/drawing/2014/main" id="{8975F256-60A0-4DC1-AA65-2970D2CD08DF}"/>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1">
              <a:extLst>
                <a:ext uri="{FF2B5EF4-FFF2-40B4-BE49-F238E27FC236}">
                  <a16:creationId xmlns:a16="http://schemas.microsoft.com/office/drawing/2014/main" id="{227A13D7-912F-4A35-B6F0-95783ACA27C6}"/>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D32AA0ED-15DD-4AB0-AB41-5AFE1E756303}"/>
              </a:ext>
            </a:extLst>
          </p:cNvPr>
          <p:cNvGrpSpPr/>
          <p:nvPr/>
        </p:nvGrpSpPr>
        <p:grpSpPr>
          <a:xfrm rot="16938775">
            <a:off x="10818568" y="122400"/>
            <a:ext cx="537307" cy="533532"/>
            <a:chOff x="8169276" y="2006600"/>
            <a:chExt cx="3614737" cy="3589337"/>
          </a:xfrm>
          <a:solidFill>
            <a:schemeClr val="bg1">
              <a:lumMod val="75000"/>
            </a:schemeClr>
          </a:solidFill>
        </p:grpSpPr>
        <p:sp>
          <p:nvSpPr>
            <p:cNvPr id="29" name="Freeform 18">
              <a:extLst>
                <a:ext uri="{FF2B5EF4-FFF2-40B4-BE49-F238E27FC236}">
                  <a16:creationId xmlns:a16="http://schemas.microsoft.com/office/drawing/2014/main" id="{A41EA24F-5628-46C0-8A67-02510898408A}"/>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15">
              <a:extLst>
                <a:ext uri="{FF2B5EF4-FFF2-40B4-BE49-F238E27FC236}">
                  <a16:creationId xmlns:a16="http://schemas.microsoft.com/office/drawing/2014/main" id="{B32F5164-0068-4A99-861B-F2BDD9262BD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 name="Oval 16">
              <a:extLst>
                <a:ext uri="{FF2B5EF4-FFF2-40B4-BE49-F238E27FC236}">
                  <a16:creationId xmlns:a16="http://schemas.microsoft.com/office/drawing/2014/main" id="{D520BD81-2F12-44E0-91BC-F989D0DE6B2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17">
              <a:extLst>
                <a:ext uri="{FF2B5EF4-FFF2-40B4-BE49-F238E27FC236}">
                  <a16:creationId xmlns:a16="http://schemas.microsoft.com/office/drawing/2014/main" id="{8A0CB566-526D-494A-A498-D588846FAA9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19">
              <a:extLst>
                <a:ext uri="{FF2B5EF4-FFF2-40B4-BE49-F238E27FC236}">
                  <a16:creationId xmlns:a16="http://schemas.microsoft.com/office/drawing/2014/main" id="{568C3948-7CDC-46CA-94D5-1455D50C395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4" name="Picture 4" descr="Coronavirus | United Nations">
            <a:extLst>
              <a:ext uri="{FF2B5EF4-FFF2-40B4-BE49-F238E27FC236}">
                <a16:creationId xmlns:a16="http://schemas.microsoft.com/office/drawing/2014/main" id="{A0DBEA6E-BEA6-44AB-8083-3578B920C422}"/>
              </a:ext>
            </a:extLst>
          </p:cNvPr>
          <p:cNvPicPr>
            <a:picLocks noChangeAspect="1" noChangeArrowheads="1"/>
          </p:cNvPicPr>
          <p:nvPr/>
        </p:nvPicPr>
        <p:blipFill>
          <a:blip r:embed="rId8">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2BA772B1-4240-4219-A27D-4F05138900E8}"/>
              </a:ext>
            </a:extLst>
          </p:cNvPr>
          <p:cNvGrpSpPr/>
          <p:nvPr/>
        </p:nvGrpSpPr>
        <p:grpSpPr>
          <a:xfrm>
            <a:off x="9034432" y="122400"/>
            <a:ext cx="537780" cy="533532"/>
            <a:chOff x="411163" y="2006600"/>
            <a:chExt cx="3617913" cy="3589337"/>
          </a:xfrm>
          <a:solidFill>
            <a:schemeClr val="bg1">
              <a:lumMod val="75000"/>
            </a:schemeClr>
          </a:solidFill>
        </p:grpSpPr>
        <p:sp>
          <p:nvSpPr>
            <p:cNvPr id="36" name="Freeform 5">
              <a:extLst>
                <a:ext uri="{FF2B5EF4-FFF2-40B4-BE49-F238E27FC236}">
                  <a16:creationId xmlns:a16="http://schemas.microsoft.com/office/drawing/2014/main" id="{9D8F8823-8268-4B2D-9D37-A633BA63FD3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7" name="Oval 6">
              <a:extLst>
                <a:ext uri="{FF2B5EF4-FFF2-40B4-BE49-F238E27FC236}">
                  <a16:creationId xmlns:a16="http://schemas.microsoft.com/office/drawing/2014/main" id="{8BDEC734-199B-47C9-ACDB-6452E7A9AF65}"/>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8" name="Freeform 7">
              <a:extLst>
                <a:ext uri="{FF2B5EF4-FFF2-40B4-BE49-F238E27FC236}">
                  <a16:creationId xmlns:a16="http://schemas.microsoft.com/office/drawing/2014/main" id="{B3D389A3-C813-4040-916A-9B391B7CE071}"/>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9" name="Freeform 8">
              <a:extLst>
                <a:ext uri="{FF2B5EF4-FFF2-40B4-BE49-F238E27FC236}">
                  <a16:creationId xmlns:a16="http://schemas.microsoft.com/office/drawing/2014/main" id="{AA461135-2B70-4885-BAF5-573085FFFF3C}"/>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0" name="Freeform 9">
              <a:extLst>
                <a:ext uri="{FF2B5EF4-FFF2-40B4-BE49-F238E27FC236}">
                  <a16:creationId xmlns:a16="http://schemas.microsoft.com/office/drawing/2014/main" id="{ECD1F969-8700-47D4-935C-411361146F6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1" name="Groupe 825">
            <a:extLst>
              <a:ext uri="{FF2B5EF4-FFF2-40B4-BE49-F238E27FC236}">
                <a16:creationId xmlns:a16="http://schemas.microsoft.com/office/drawing/2014/main" id="{87963E3C-F2C9-40FD-A9A2-3B57F7549C4A}"/>
              </a:ext>
            </a:extLst>
          </p:cNvPr>
          <p:cNvGrpSpPr/>
          <p:nvPr/>
        </p:nvGrpSpPr>
        <p:grpSpPr>
          <a:xfrm>
            <a:off x="9138494" y="248487"/>
            <a:ext cx="337206" cy="317707"/>
            <a:chOff x="6500813" y="736601"/>
            <a:chExt cx="538163" cy="581025"/>
          </a:xfrm>
          <a:solidFill>
            <a:schemeClr val="bg1">
              <a:lumMod val="50000"/>
            </a:schemeClr>
          </a:solidFill>
        </p:grpSpPr>
        <p:sp>
          <p:nvSpPr>
            <p:cNvPr id="42" name="Freeform 37">
              <a:extLst>
                <a:ext uri="{FF2B5EF4-FFF2-40B4-BE49-F238E27FC236}">
                  <a16:creationId xmlns:a16="http://schemas.microsoft.com/office/drawing/2014/main" id="{568E7CA0-CAB2-4BD1-9462-22D8EC427E23}"/>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38">
              <a:extLst>
                <a:ext uri="{FF2B5EF4-FFF2-40B4-BE49-F238E27FC236}">
                  <a16:creationId xmlns:a16="http://schemas.microsoft.com/office/drawing/2014/main" id="{93E375F9-2C7A-4320-9DCB-EAA4A0A4643B}"/>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39">
              <a:extLst>
                <a:ext uri="{FF2B5EF4-FFF2-40B4-BE49-F238E27FC236}">
                  <a16:creationId xmlns:a16="http://schemas.microsoft.com/office/drawing/2014/main" id="{57B214CA-C113-497E-BFFA-577786EFD308}"/>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40">
              <a:extLst>
                <a:ext uri="{FF2B5EF4-FFF2-40B4-BE49-F238E27FC236}">
                  <a16:creationId xmlns:a16="http://schemas.microsoft.com/office/drawing/2014/main" id="{6BB96D89-FC63-4217-AD18-0B8A09FF7672}"/>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41">
              <a:extLst>
                <a:ext uri="{FF2B5EF4-FFF2-40B4-BE49-F238E27FC236}">
                  <a16:creationId xmlns:a16="http://schemas.microsoft.com/office/drawing/2014/main" id="{D47F22A7-C313-4771-87EF-D8A500543A2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42">
              <a:extLst>
                <a:ext uri="{FF2B5EF4-FFF2-40B4-BE49-F238E27FC236}">
                  <a16:creationId xmlns:a16="http://schemas.microsoft.com/office/drawing/2014/main" id="{AC67D57D-E635-4D68-9F9E-0DB3EBEB1A96}"/>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43">
              <a:extLst>
                <a:ext uri="{FF2B5EF4-FFF2-40B4-BE49-F238E27FC236}">
                  <a16:creationId xmlns:a16="http://schemas.microsoft.com/office/drawing/2014/main" id="{23F4D946-DB48-4BB2-B55F-51202C6F033D}"/>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44">
              <a:extLst>
                <a:ext uri="{FF2B5EF4-FFF2-40B4-BE49-F238E27FC236}">
                  <a16:creationId xmlns:a16="http://schemas.microsoft.com/office/drawing/2014/main" id="{FA4708A9-1DAC-439F-A3DC-01EA7187F9CB}"/>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45">
              <a:extLst>
                <a:ext uri="{FF2B5EF4-FFF2-40B4-BE49-F238E27FC236}">
                  <a16:creationId xmlns:a16="http://schemas.microsoft.com/office/drawing/2014/main" id="{06DCA59B-1B85-4094-8017-09E5ED3A2A3E}"/>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46">
              <a:extLst>
                <a:ext uri="{FF2B5EF4-FFF2-40B4-BE49-F238E27FC236}">
                  <a16:creationId xmlns:a16="http://schemas.microsoft.com/office/drawing/2014/main" id="{2FB24DEB-E2AB-4A1C-9DA2-B984F8F5C8F3}"/>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47">
              <a:extLst>
                <a:ext uri="{FF2B5EF4-FFF2-40B4-BE49-F238E27FC236}">
                  <a16:creationId xmlns:a16="http://schemas.microsoft.com/office/drawing/2014/main" id="{F7F89F22-DBE2-4577-AB10-59F37CA2D190}"/>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48">
              <a:extLst>
                <a:ext uri="{FF2B5EF4-FFF2-40B4-BE49-F238E27FC236}">
                  <a16:creationId xmlns:a16="http://schemas.microsoft.com/office/drawing/2014/main" id="{49BB4871-6E66-48E0-93AC-B796115C6E38}"/>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49">
              <a:extLst>
                <a:ext uri="{FF2B5EF4-FFF2-40B4-BE49-F238E27FC236}">
                  <a16:creationId xmlns:a16="http://schemas.microsoft.com/office/drawing/2014/main" id="{AEADD95A-F65F-4DF0-978D-C68CBF52F56A}"/>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50">
              <a:extLst>
                <a:ext uri="{FF2B5EF4-FFF2-40B4-BE49-F238E27FC236}">
                  <a16:creationId xmlns:a16="http://schemas.microsoft.com/office/drawing/2014/main" id="{4140DCD4-1EAF-4BBE-A10E-3E20DDE4A85D}"/>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51">
              <a:extLst>
                <a:ext uri="{FF2B5EF4-FFF2-40B4-BE49-F238E27FC236}">
                  <a16:creationId xmlns:a16="http://schemas.microsoft.com/office/drawing/2014/main" id="{BD88058B-DA9F-4265-A1EF-DEE87691A89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52">
              <a:extLst>
                <a:ext uri="{FF2B5EF4-FFF2-40B4-BE49-F238E27FC236}">
                  <a16:creationId xmlns:a16="http://schemas.microsoft.com/office/drawing/2014/main" id="{483DF72A-1906-4F2B-B180-01AF13F2B843}"/>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53">
              <a:extLst>
                <a:ext uri="{FF2B5EF4-FFF2-40B4-BE49-F238E27FC236}">
                  <a16:creationId xmlns:a16="http://schemas.microsoft.com/office/drawing/2014/main" id="{C9A892D4-CAE2-4127-8B72-C12B0D56C094}"/>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54">
              <a:extLst>
                <a:ext uri="{FF2B5EF4-FFF2-40B4-BE49-F238E27FC236}">
                  <a16:creationId xmlns:a16="http://schemas.microsoft.com/office/drawing/2014/main" id="{0C7677A4-A859-4B44-A142-24E91D6B4746}"/>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55">
              <a:extLst>
                <a:ext uri="{FF2B5EF4-FFF2-40B4-BE49-F238E27FC236}">
                  <a16:creationId xmlns:a16="http://schemas.microsoft.com/office/drawing/2014/main" id="{085E65FD-FCA5-4989-B9CD-1967E7846217}"/>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56">
              <a:extLst>
                <a:ext uri="{FF2B5EF4-FFF2-40B4-BE49-F238E27FC236}">
                  <a16:creationId xmlns:a16="http://schemas.microsoft.com/office/drawing/2014/main" id="{D2877ACC-3761-4F09-ADDD-63F70E7F041C}"/>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57">
              <a:extLst>
                <a:ext uri="{FF2B5EF4-FFF2-40B4-BE49-F238E27FC236}">
                  <a16:creationId xmlns:a16="http://schemas.microsoft.com/office/drawing/2014/main" id="{43F32996-4870-46D1-AD55-ABCF2A606DBE}"/>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58">
              <a:extLst>
                <a:ext uri="{FF2B5EF4-FFF2-40B4-BE49-F238E27FC236}">
                  <a16:creationId xmlns:a16="http://schemas.microsoft.com/office/drawing/2014/main" id="{CB6D55F4-8329-4C18-831B-0862F3754CF6}"/>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59">
              <a:extLst>
                <a:ext uri="{FF2B5EF4-FFF2-40B4-BE49-F238E27FC236}">
                  <a16:creationId xmlns:a16="http://schemas.microsoft.com/office/drawing/2014/main" id="{A48C1FFD-8B2F-4BED-97CB-AA7B7C73A4A2}"/>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60">
              <a:extLst>
                <a:ext uri="{FF2B5EF4-FFF2-40B4-BE49-F238E27FC236}">
                  <a16:creationId xmlns:a16="http://schemas.microsoft.com/office/drawing/2014/main" id="{22B698A6-8EE3-4BD6-AAD8-2A287DB13FE9}"/>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61">
              <a:extLst>
                <a:ext uri="{FF2B5EF4-FFF2-40B4-BE49-F238E27FC236}">
                  <a16:creationId xmlns:a16="http://schemas.microsoft.com/office/drawing/2014/main" id="{09B9BDF5-6FBC-44DD-AE0F-78FD54EB98E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62">
              <a:extLst>
                <a:ext uri="{FF2B5EF4-FFF2-40B4-BE49-F238E27FC236}">
                  <a16:creationId xmlns:a16="http://schemas.microsoft.com/office/drawing/2014/main" id="{19056C72-90AA-4D92-B2F0-6B0AD881C5E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63">
              <a:extLst>
                <a:ext uri="{FF2B5EF4-FFF2-40B4-BE49-F238E27FC236}">
                  <a16:creationId xmlns:a16="http://schemas.microsoft.com/office/drawing/2014/main" id="{39DC7154-2EC6-44A4-AC0D-DF5BD81140E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64">
              <a:extLst>
                <a:ext uri="{FF2B5EF4-FFF2-40B4-BE49-F238E27FC236}">
                  <a16:creationId xmlns:a16="http://schemas.microsoft.com/office/drawing/2014/main" id="{850DFDEB-D346-44CA-B800-5A5AD8D72D5A}"/>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65">
              <a:extLst>
                <a:ext uri="{FF2B5EF4-FFF2-40B4-BE49-F238E27FC236}">
                  <a16:creationId xmlns:a16="http://schemas.microsoft.com/office/drawing/2014/main" id="{E007C8DB-E1F8-495A-8C74-4B97AD26B5C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66">
              <a:extLst>
                <a:ext uri="{FF2B5EF4-FFF2-40B4-BE49-F238E27FC236}">
                  <a16:creationId xmlns:a16="http://schemas.microsoft.com/office/drawing/2014/main" id="{C675EFBB-CA92-4029-A3CE-D9B49BA5A6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67">
              <a:extLst>
                <a:ext uri="{FF2B5EF4-FFF2-40B4-BE49-F238E27FC236}">
                  <a16:creationId xmlns:a16="http://schemas.microsoft.com/office/drawing/2014/main" id="{137887A8-5907-40CE-9125-AF2C7DB7CACC}"/>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68">
              <a:extLst>
                <a:ext uri="{FF2B5EF4-FFF2-40B4-BE49-F238E27FC236}">
                  <a16:creationId xmlns:a16="http://schemas.microsoft.com/office/drawing/2014/main" id="{AC35FD02-6EE5-4E52-8579-ABAA34A40ED7}"/>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69">
              <a:extLst>
                <a:ext uri="{FF2B5EF4-FFF2-40B4-BE49-F238E27FC236}">
                  <a16:creationId xmlns:a16="http://schemas.microsoft.com/office/drawing/2014/main" id="{79872569-885C-47E5-B89D-B59AFF88B15B}"/>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70">
              <a:extLst>
                <a:ext uri="{FF2B5EF4-FFF2-40B4-BE49-F238E27FC236}">
                  <a16:creationId xmlns:a16="http://schemas.microsoft.com/office/drawing/2014/main" id="{27DEED0B-1C09-4AAD-A76C-C3A622BA550F}"/>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71">
              <a:extLst>
                <a:ext uri="{FF2B5EF4-FFF2-40B4-BE49-F238E27FC236}">
                  <a16:creationId xmlns:a16="http://schemas.microsoft.com/office/drawing/2014/main" id="{A8FBBE66-2AA9-4D61-8CC4-67A70E453D9A}"/>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72">
              <a:extLst>
                <a:ext uri="{FF2B5EF4-FFF2-40B4-BE49-F238E27FC236}">
                  <a16:creationId xmlns:a16="http://schemas.microsoft.com/office/drawing/2014/main" id="{BBC35906-C125-4464-B6FC-0D9AAB9D8643}"/>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73">
              <a:extLst>
                <a:ext uri="{FF2B5EF4-FFF2-40B4-BE49-F238E27FC236}">
                  <a16:creationId xmlns:a16="http://schemas.microsoft.com/office/drawing/2014/main" id="{3DF51260-0EBF-42A7-BB7E-B7CBB04A727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74">
              <a:extLst>
                <a:ext uri="{FF2B5EF4-FFF2-40B4-BE49-F238E27FC236}">
                  <a16:creationId xmlns:a16="http://schemas.microsoft.com/office/drawing/2014/main" id="{E4E9E3D7-BD90-4A02-A77A-588548476F59}"/>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75">
              <a:extLst>
                <a:ext uri="{FF2B5EF4-FFF2-40B4-BE49-F238E27FC236}">
                  <a16:creationId xmlns:a16="http://schemas.microsoft.com/office/drawing/2014/main" id="{3B12CA05-62FE-4A0D-B356-D3A7591B4657}"/>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76">
              <a:extLst>
                <a:ext uri="{FF2B5EF4-FFF2-40B4-BE49-F238E27FC236}">
                  <a16:creationId xmlns:a16="http://schemas.microsoft.com/office/drawing/2014/main" id="{EAC4D7B8-BC06-40B4-9A33-66430B495D9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77">
              <a:extLst>
                <a:ext uri="{FF2B5EF4-FFF2-40B4-BE49-F238E27FC236}">
                  <a16:creationId xmlns:a16="http://schemas.microsoft.com/office/drawing/2014/main" id="{7184A086-2304-4B0F-906D-84D7859B1232}"/>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78">
              <a:extLst>
                <a:ext uri="{FF2B5EF4-FFF2-40B4-BE49-F238E27FC236}">
                  <a16:creationId xmlns:a16="http://schemas.microsoft.com/office/drawing/2014/main" id="{FBBACEDE-5D38-4F68-8084-3B75E6607B9F}"/>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79">
              <a:extLst>
                <a:ext uri="{FF2B5EF4-FFF2-40B4-BE49-F238E27FC236}">
                  <a16:creationId xmlns:a16="http://schemas.microsoft.com/office/drawing/2014/main" id="{49B4B68E-3FDB-40AF-ACE8-424CBDC7368C}"/>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80">
              <a:extLst>
                <a:ext uri="{FF2B5EF4-FFF2-40B4-BE49-F238E27FC236}">
                  <a16:creationId xmlns:a16="http://schemas.microsoft.com/office/drawing/2014/main" id="{5F4EC195-F82A-4D55-80A2-2DFED949CBBE}"/>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81">
              <a:extLst>
                <a:ext uri="{FF2B5EF4-FFF2-40B4-BE49-F238E27FC236}">
                  <a16:creationId xmlns:a16="http://schemas.microsoft.com/office/drawing/2014/main" id="{04E9319F-46C2-458E-B037-1C2A60C8E1E4}"/>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82">
              <a:extLst>
                <a:ext uri="{FF2B5EF4-FFF2-40B4-BE49-F238E27FC236}">
                  <a16:creationId xmlns:a16="http://schemas.microsoft.com/office/drawing/2014/main" id="{0342DA22-C160-4F91-8774-EA5656E203F2}"/>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83">
              <a:extLst>
                <a:ext uri="{FF2B5EF4-FFF2-40B4-BE49-F238E27FC236}">
                  <a16:creationId xmlns:a16="http://schemas.microsoft.com/office/drawing/2014/main" id="{63AD8012-B5A9-4A7A-BE9F-D6D0ECB4CDD8}"/>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84">
              <a:extLst>
                <a:ext uri="{FF2B5EF4-FFF2-40B4-BE49-F238E27FC236}">
                  <a16:creationId xmlns:a16="http://schemas.microsoft.com/office/drawing/2014/main" id="{744991FD-59AC-4D20-813C-1E2115983BD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85">
              <a:extLst>
                <a:ext uri="{FF2B5EF4-FFF2-40B4-BE49-F238E27FC236}">
                  <a16:creationId xmlns:a16="http://schemas.microsoft.com/office/drawing/2014/main" id="{F87103A6-1BDD-4462-A086-66A4687E86B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aphicFrame>
        <p:nvGraphicFramePr>
          <p:cNvPr id="94" name="Object 2">
            <a:extLst>
              <a:ext uri="{FF2B5EF4-FFF2-40B4-BE49-F238E27FC236}">
                <a16:creationId xmlns:a16="http://schemas.microsoft.com/office/drawing/2014/main" id="{DDA9CCE6-9340-4FFB-AA5B-637B335ABB60}"/>
              </a:ext>
            </a:extLst>
          </p:cNvPr>
          <p:cNvGraphicFramePr>
            <a:graphicFrameLocks noChangeAspect="1"/>
          </p:cNvGraphicFramePr>
          <p:nvPr>
            <p:extLst>
              <p:ext uri="{D42A27DB-BD31-4B8C-83A1-F6EECF244321}">
                <p14:modId xmlns:p14="http://schemas.microsoft.com/office/powerpoint/2010/main" val="2517685842"/>
              </p:ext>
            </p:extLst>
          </p:nvPr>
        </p:nvGraphicFramePr>
        <p:xfrm>
          <a:off x="312411" y="1075411"/>
          <a:ext cx="11840605" cy="5045963"/>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4928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Fee structures are coming under greater scrutiny</a:t>
            </a:r>
          </a:p>
        </p:txBody>
      </p:sp>
      <p:sp>
        <p:nvSpPr>
          <p:cNvPr id="13"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PP denotes the percentage point change between the values in 2019 and 2018.</a:t>
            </a:r>
          </a:p>
          <a:p>
            <a:pPr marL="514350" indent="-514350">
              <a:spcBef>
                <a:spcPct val="15000"/>
              </a:spcBef>
            </a:pPr>
            <a:r>
              <a:rPr lang="en-US" sz="800" dirty="0"/>
              <a:t>Source:	Capgemini Financial Services Analysis, 2020; Capgemini Global HNWI Insights Survey 2020.</a:t>
            </a:r>
          </a:p>
        </p:txBody>
      </p:sp>
      <p:sp>
        <p:nvSpPr>
          <p:cNvPr id="14" name="Freeform: Shape 13">
            <a:extLst>
              <a:ext uri="{FF2B5EF4-FFF2-40B4-BE49-F238E27FC236}">
                <a16:creationId xmlns:a16="http://schemas.microsoft.com/office/drawing/2014/main" id="{24390261-4908-44DC-8B26-3943E21A9938}"/>
              </a:ext>
            </a:extLst>
          </p:cNvPr>
          <p:cNvSpPr/>
          <p:nvPr/>
        </p:nvSpPr>
        <p:spPr>
          <a:xfrm>
            <a:off x="2032037" y="910166"/>
            <a:ext cx="3964841" cy="837943"/>
          </a:xfrm>
          <a:custGeom>
            <a:avLst/>
            <a:gdLst>
              <a:gd name="connsiteX0" fmla="*/ 0 w 3964841"/>
              <a:gd name="connsiteY0" fmla="*/ 0 h 837943"/>
              <a:gd name="connsiteX1" fmla="*/ 3964841 w 3964841"/>
              <a:gd name="connsiteY1" fmla="*/ 0 h 837943"/>
              <a:gd name="connsiteX2" fmla="*/ 3964841 w 3964841"/>
              <a:gd name="connsiteY2" fmla="*/ 837943 h 837943"/>
              <a:gd name="connsiteX3" fmla="*/ 0 w 3964841"/>
              <a:gd name="connsiteY3" fmla="*/ 837943 h 837943"/>
              <a:gd name="connsiteX4" fmla="*/ 0 w 3964841"/>
              <a:gd name="connsiteY4" fmla="*/ 0 h 837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4841" h="837943">
                <a:moveTo>
                  <a:pt x="0" y="0"/>
                </a:moveTo>
                <a:lnTo>
                  <a:pt x="3964841" y="0"/>
                </a:lnTo>
                <a:lnTo>
                  <a:pt x="3964841" y="837943"/>
                </a:lnTo>
                <a:lnTo>
                  <a:pt x="0" y="83794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endParaRPr lang="en-US" sz="1400" kern="1200" dirty="0"/>
          </a:p>
        </p:txBody>
      </p:sp>
      <p:sp>
        <p:nvSpPr>
          <p:cNvPr id="15" name="Text Box 1031">
            <a:extLst>
              <a:ext uri="{FF2B5EF4-FFF2-40B4-BE49-F238E27FC236}">
                <a16:creationId xmlns:a16="http://schemas.microsoft.com/office/drawing/2014/main" id="{9BC9A9C5-55B2-4D1F-BDD6-0FCA6FAEAB71}"/>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HNWIs’ concerns with fees and their preferred fee structures,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sp>
        <p:nvSpPr>
          <p:cNvPr id="77" name="Rectangle 76">
            <a:extLst>
              <a:ext uri="{FF2B5EF4-FFF2-40B4-BE49-F238E27FC236}">
                <a16:creationId xmlns:a16="http://schemas.microsoft.com/office/drawing/2014/main" id="{AD7CB4F8-A533-4499-8FA7-51B8BF2CFD65}"/>
              </a:ext>
            </a:extLst>
          </p:cNvPr>
          <p:cNvSpPr/>
          <p:nvPr/>
        </p:nvSpPr>
        <p:spPr>
          <a:xfrm>
            <a:off x="0" y="5895108"/>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Loyalty comes at the price of higher performance and value delivered for the fees charged</a:t>
            </a:r>
            <a:r>
              <a:rPr lang="en-US" sz="1200" b="1" dirty="0">
                <a:solidFill>
                  <a:schemeClr val="bg1"/>
                </a:solidFill>
              </a:rPr>
              <a:t>.</a:t>
            </a:r>
          </a:p>
        </p:txBody>
      </p:sp>
      <p:grpSp>
        <p:nvGrpSpPr>
          <p:cNvPr id="5" name="Group 4">
            <a:extLst>
              <a:ext uri="{FF2B5EF4-FFF2-40B4-BE49-F238E27FC236}">
                <a16:creationId xmlns:a16="http://schemas.microsoft.com/office/drawing/2014/main" id="{7EE108AE-0A0E-4F91-970C-18D3AEE762EC}"/>
              </a:ext>
            </a:extLst>
          </p:cNvPr>
          <p:cNvGrpSpPr/>
          <p:nvPr/>
        </p:nvGrpSpPr>
        <p:grpSpPr>
          <a:xfrm>
            <a:off x="260537" y="1457679"/>
            <a:ext cx="2799331" cy="4230552"/>
            <a:chOff x="260537" y="1457679"/>
            <a:chExt cx="2799331" cy="4230552"/>
          </a:xfrm>
        </p:grpSpPr>
        <p:grpSp>
          <p:nvGrpSpPr>
            <p:cNvPr id="97" name="Group 96">
              <a:extLst>
                <a:ext uri="{FF2B5EF4-FFF2-40B4-BE49-F238E27FC236}">
                  <a16:creationId xmlns:a16="http://schemas.microsoft.com/office/drawing/2014/main" id="{8F41A05C-B8C0-44BD-8D39-716993CDD528}"/>
                </a:ext>
              </a:extLst>
            </p:cNvPr>
            <p:cNvGrpSpPr/>
            <p:nvPr/>
          </p:nvGrpSpPr>
          <p:grpSpPr>
            <a:xfrm>
              <a:off x="272600" y="1457679"/>
              <a:ext cx="2787268" cy="4230552"/>
              <a:chOff x="166724" y="1342915"/>
              <a:chExt cx="2787268" cy="4402330"/>
            </a:xfrm>
          </p:grpSpPr>
          <p:sp>
            <p:nvSpPr>
              <p:cNvPr id="98" name="Rectangle 97">
                <a:extLst>
                  <a:ext uri="{FF2B5EF4-FFF2-40B4-BE49-F238E27FC236}">
                    <a16:creationId xmlns:a16="http://schemas.microsoft.com/office/drawing/2014/main" id="{B7C55824-F79A-44B7-9280-BA96D58588F8}"/>
                  </a:ext>
                </a:extLst>
              </p:cNvPr>
              <p:cNvSpPr/>
              <p:nvPr/>
            </p:nvSpPr>
            <p:spPr>
              <a:xfrm>
                <a:off x="166724" y="1342915"/>
                <a:ext cx="2787268" cy="4402330"/>
              </a:xfrm>
              <a:prstGeom prst="rect">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HNWIs have high expectations on</a:t>
                </a:r>
                <a:r>
                  <a:rPr lang="en-US" sz="1200" b="1" dirty="0">
                    <a:solidFill>
                      <a:schemeClr val="tx1"/>
                    </a:solidFill>
                  </a:rPr>
                  <a:t> transparency </a:t>
                </a:r>
                <a:r>
                  <a:rPr lang="en-US" sz="1200" dirty="0">
                    <a:solidFill>
                      <a:schemeClr val="tx1"/>
                    </a:solidFill>
                  </a:rPr>
                  <a:t>and </a:t>
                </a:r>
              </a:p>
              <a:p>
                <a:pPr algn="ctr"/>
                <a:r>
                  <a:rPr lang="en-US" sz="1200" b="1" dirty="0">
                    <a:solidFill>
                      <a:schemeClr val="tx1"/>
                    </a:solidFill>
                  </a:rPr>
                  <a:t>value delivered for fees.</a:t>
                </a:r>
              </a:p>
              <a:p>
                <a:pPr algn="ctr"/>
                <a:r>
                  <a:rPr lang="en-US" sz="1200" b="1" dirty="0">
                    <a:solidFill>
                      <a:schemeClr val="tx1"/>
                    </a:solidFill>
                    <a:highlight>
                      <a:srgbClr val="00FF00"/>
                    </a:highlight>
                  </a:rPr>
                  <a:t>33% were uncomfortable with fees charged in 2019. </a:t>
                </a:r>
              </a:p>
              <a:p>
                <a:pPr algn="ctr"/>
                <a:endParaRPr lang="en-US" sz="1100" b="1" dirty="0">
                  <a:solidFill>
                    <a:schemeClr val="tx1"/>
                  </a:solidFill>
                </a:endParaRPr>
              </a:p>
            </p:txBody>
          </p:sp>
          <p:sp>
            <p:nvSpPr>
              <p:cNvPr id="100" name="Rectangle 99">
                <a:extLst>
                  <a:ext uri="{FF2B5EF4-FFF2-40B4-BE49-F238E27FC236}">
                    <a16:creationId xmlns:a16="http://schemas.microsoft.com/office/drawing/2014/main" id="{00D9F247-340F-4A76-886E-F8A498152B09}"/>
                  </a:ext>
                </a:extLst>
              </p:cNvPr>
              <p:cNvSpPr/>
              <p:nvPr/>
            </p:nvSpPr>
            <p:spPr>
              <a:xfrm>
                <a:off x="230861" y="4997264"/>
                <a:ext cx="837282" cy="6092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9%</a:t>
                </a:r>
              </a:p>
            </p:txBody>
          </p:sp>
          <p:sp>
            <p:nvSpPr>
              <p:cNvPr id="101" name="TextBox 100">
                <a:extLst>
                  <a:ext uri="{FF2B5EF4-FFF2-40B4-BE49-F238E27FC236}">
                    <a16:creationId xmlns:a16="http://schemas.microsoft.com/office/drawing/2014/main" id="{A7F069D1-9648-4361-9645-A14BE2C2359C}"/>
                  </a:ext>
                </a:extLst>
              </p:cNvPr>
              <p:cNvSpPr txBox="1">
                <a:spLocks/>
              </p:cNvSpPr>
              <p:nvPr/>
            </p:nvSpPr>
            <p:spPr>
              <a:xfrm>
                <a:off x="1041804" y="5097716"/>
                <a:ext cx="1828800" cy="408327"/>
              </a:xfrm>
              <a:prstGeom prst="rect">
                <a:avLst/>
              </a:prstGeom>
              <a:noFill/>
            </p:spPr>
            <p:txBody>
              <a:bodyPr wrap="square" rtlCol="0" anchor="ctr">
                <a:noAutofit/>
              </a:bodyPr>
              <a:lstStyle/>
              <a:p>
                <a:r>
                  <a:rPr lang="en-US" sz="1100" b="1" dirty="0"/>
                  <a:t>Value delivered</a:t>
                </a:r>
              </a:p>
            </p:txBody>
          </p:sp>
          <p:sp>
            <p:nvSpPr>
              <p:cNvPr id="102" name="Rectangle 101">
                <a:extLst>
                  <a:ext uri="{FF2B5EF4-FFF2-40B4-BE49-F238E27FC236}">
                    <a16:creationId xmlns:a16="http://schemas.microsoft.com/office/drawing/2014/main" id="{8EA602BA-AD7B-4721-99F8-9FC2525D6EA5}"/>
                  </a:ext>
                </a:extLst>
              </p:cNvPr>
              <p:cNvSpPr/>
              <p:nvPr/>
            </p:nvSpPr>
            <p:spPr>
              <a:xfrm>
                <a:off x="230861" y="3212563"/>
                <a:ext cx="837282" cy="6092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7%</a:t>
                </a:r>
              </a:p>
            </p:txBody>
          </p:sp>
          <p:sp>
            <p:nvSpPr>
              <p:cNvPr id="103" name="TextBox 102">
                <a:extLst>
                  <a:ext uri="{FF2B5EF4-FFF2-40B4-BE49-F238E27FC236}">
                    <a16:creationId xmlns:a16="http://schemas.microsoft.com/office/drawing/2014/main" id="{94712A77-24B4-4FB7-B123-3E1B6AEC38DD}"/>
                  </a:ext>
                </a:extLst>
              </p:cNvPr>
              <p:cNvSpPr txBox="1">
                <a:spLocks/>
              </p:cNvSpPr>
              <p:nvPr/>
            </p:nvSpPr>
            <p:spPr>
              <a:xfrm>
                <a:off x="1041804" y="3313015"/>
                <a:ext cx="1828800" cy="408327"/>
              </a:xfrm>
              <a:prstGeom prst="rect">
                <a:avLst/>
              </a:prstGeom>
              <a:noFill/>
            </p:spPr>
            <p:txBody>
              <a:bodyPr wrap="square" rtlCol="0" anchor="ctr">
                <a:noAutofit/>
              </a:bodyPr>
              <a:lstStyle/>
              <a:p>
                <a:r>
                  <a:rPr lang="en-US" sz="1100" b="1" dirty="0"/>
                  <a:t>Transparency of fees</a:t>
                </a:r>
              </a:p>
            </p:txBody>
          </p:sp>
          <p:sp>
            <p:nvSpPr>
              <p:cNvPr id="104" name="Rectangle 103">
                <a:extLst>
                  <a:ext uri="{FF2B5EF4-FFF2-40B4-BE49-F238E27FC236}">
                    <a16:creationId xmlns:a16="http://schemas.microsoft.com/office/drawing/2014/main" id="{B3EFA015-5A5D-4E30-BDC6-AD2A5700DEEE}"/>
                  </a:ext>
                </a:extLst>
              </p:cNvPr>
              <p:cNvSpPr/>
              <p:nvPr/>
            </p:nvSpPr>
            <p:spPr>
              <a:xfrm>
                <a:off x="230861" y="4109866"/>
                <a:ext cx="837282" cy="60923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1%</a:t>
                </a:r>
              </a:p>
            </p:txBody>
          </p:sp>
          <p:sp>
            <p:nvSpPr>
              <p:cNvPr id="105" name="TextBox 104">
                <a:extLst>
                  <a:ext uri="{FF2B5EF4-FFF2-40B4-BE49-F238E27FC236}">
                    <a16:creationId xmlns:a16="http://schemas.microsoft.com/office/drawing/2014/main" id="{F1D8B99B-05C8-4FD4-937F-E6558A73BA58}"/>
                  </a:ext>
                </a:extLst>
              </p:cNvPr>
              <p:cNvSpPr txBox="1">
                <a:spLocks/>
              </p:cNvSpPr>
              <p:nvPr/>
            </p:nvSpPr>
            <p:spPr>
              <a:xfrm>
                <a:off x="1041804" y="4210320"/>
                <a:ext cx="1828800" cy="408327"/>
              </a:xfrm>
              <a:prstGeom prst="rect">
                <a:avLst/>
              </a:prstGeom>
              <a:noFill/>
            </p:spPr>
            <p:txBody>
              <a:bodyPr wrap="square" rtlCol="0" anchor="ctr">
                <a:noAutofit/>
              </a:bodyPr>
              <a:lstStyle/>
              <a:p>
                <a:r>
                  <a:rPr lang="en-US" sz="1100" b="1" dirty="0"/>
                  <a:t>Fees relative to performance</a:t>
                </a:r>
              </a:p>
            </p:txBody>
          </p:sp>
          <p:cxnSp>
            <p:nvCxnSpPr>
              <p:cNvPr id="106" name="Straight Connector 105">
                <a:extLst>
                  <a:ext uri="{FF2B5EF4-FFF2-40B4-BE49-F238E27FC236}">
                    <a16:creationId xmlns:a16="http://schemas.microsoft.com/office/drawing/2014/main" id="{AEF3EB45-4946-4111-8250-14E189301B16}"/>
                  </a:ext>
                </a:extLst>
              </p:cNvPr>
              <p:cNvCxnSpPr/>
              <p:nvPr/>
            </p:nvCxnSpPr>
            <p:spPr>
              <a:xfrm>
                <a:off x="166724" y="3073626"/>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D1E6FE-DD97-4B68-9EC0-06D12177F7A2}"/>
                  </a:ext>
                </a:extLst>
              </p:cNvPr>
              <p:cNvCxnSpPr/>
              <p:nvPr/>
            </p:nvCxnSpPr>
            <p:spPr>
              <a:xfrm>
                <a:off x="166724" y="3970643"/>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13C422D-47A2-4E39-ACE4-0F5E83182F3D}"/>
                  </a:ext>
                </a:extLst>
              </p:cNvPr>
              <p:cNvCxnSpPr/>
              <p:nvPr/>
            </p:nvCxnSpPr>
            <p:spPr>
              <a:xfrm>
                <a:off x="166724" y="4858327"/>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BD081E4-2E7E-450E-8A12-2D337A5EE0B5}"/>
                </a:ext>
              </a:extLst>
            </p:cNvPr>
            <p:cNvSpPr txBox="1"/>
            <p:nvPr/>
          </p:nvSpPr>
          <p:spPr>
            <a:xfrm>
              <a:off x="260537" y="2664159"/>
              <a:ext cx="2774787" cy="430887"/>
            </a:xfrm>
            <a:prstGeom prst="rect">
              <a:avLst/>
            </a:prstGeom>
            <a:noFill/>
          </p:spPr>
          <p:txBody>
            <a:bodyPr wrap="square" rtlCol="0">
              <a:spAutoFit/>
            </a:bodyPr>
            <a:lstStyle/>
            <a:p>
              <a:pPr algn="ctr"/>
              <a:r>
                <a:rPr lang="en-IN" sz="1100" b="1" dirty="0"/>
                <a:t>The top 3 concerns with fees:</a:t>
              </a:r>
              <a:endParaRPr lang="en-IN" sz="1100" b="1" strike="sngStrike" dirty="0">
                <a:highlight>
                  <a:srgbClr val="FFFF00"/>
                </a:highlight>
              </a:endParaRPr>
            </a:p>
            <a:p>
              <a:pPr algn="ctr"/>
              <a:endParaRPr lang="en-IN" sz="1100" b="1" strike="sngStrike" dirty="0">
                <a:highlight>
                  <a:srgbClr val="FFFF00"/>
                </a:highlight>
              </a:endParaRPr>
            </a:p>
          </p:txBody>
        </p:sp>
      </p:grpSp>
      <p:grpSp>
        <p:nvGrpSpPr>
          <p:cNvPr id="16" name="Group 15">
            <a:extLst>
              <a:ext uri="{FF2B5EF4-FFF2-40B4-BE49-F238E27FC236}">
                <a16:creationId xmlns:a16="http://schemas.microsoft.com/office/drawing/2014/main" id="{4897F3BC-8741-4C53-858D-C786FF9AC2FC}"/>
              </a:ext>
            </a:extLst>
          </p:cNvPr>
          <p:cNvGrpSpPr/>
          <p:nvPr/>
        </p:nvGrpSpPr>
        <p:grpSpPr>
          <a:xfrm>
            <a:off x="9441220" y="1407968"/>
            <a:ext cx="2547579" cy="4337108"/>
            <a:chOff x="9441220" y="1407968"/>
            <a:chExt cx="2547579" cy="4337108"/>
          </a:xfrm>
        </p:grpSpPr>
        <p:sp>
          <p:nvSpPr>
            <p:cNvPr id="58" name="TextBox 57">
              <a:extLst>
                <a:ext uri="{FF2B5EF4-FFF2-40B4-BE49-F238E27FC236}">
                  <a16:creationId xmlns:a16="http://schemas.microsoft.com/office/drawing/2014/main" id="{7F8EF6F7-ABAF-40F1-81BE-22A46B8FA166}"/>
                </a:ext>
              </a:extLst>
            </p:cNvPr>
            <p:cNvSpPr txBox="1">
              <a:spLocks/>
            </p:cNvSpPr>
            <p:nvPr/>
          </p:nvSpPr>
          <p:spPr>
            <a:xfrm>
              <a:off x="9449728" y="4830070"/>
              <a:ext cx="2533165" cy="903979"/>
            </a:xfrm>
            <a:prstGeom prst="roundRect">
              <a:avLst>
                <a:gd name="adj" fmla="val 0"/>
              </a:avLst>
            </a:prstGeom>
            <a:solidFill>
              <a:schemeClr val="accent4">
                <a:lumMod val="40000"/>
                <a:lumOff val="60000"/>
              </a:schemeClr>
            </a:solidFill>
          </p:spPr>
          <p:txBody>
            <a:bodyPr wrap="square" lIns="0" tIns="0" rIns="0" bIns="0" rtlCol="0" anchor="t">
              <a:noAutofit/>
            </a:bodyPr>
            <a:lstStyle/>
            <a:p>
              <a:pPr algn="ctr"/>
              <a:endParaRPr lang="en-US" sz="1200" b="1" dirty="0"/>
            </a:p>
          </p:txBody>
        </p:sp>
        <p:sp>
          <p:nvSpPr>
            <p:cNvPr id="10" name="TextBox 9">
              <a:extLst>
                <a:ext uri="{FF2B5EF4-FFF2-40B4-BE49-F238E27FC236}">
                  <a16:creationId xmlns:a16="http://schemas.microsoft.com/office/drawing/2014/main" id="{74E0FC5B-4A0C-41C1-80E6-087F4FB5834D}"/>
                </a:ext>
              </a:extLst>
            </p:cNvPr>
            <p:cNvSpPr txBox="1"/>
            <p:nvPr/>
          </p:nvSpPr>
          <p:spPr>
            <a:xfrm>
              <a:off x="9441220" y="4943521"/>
              <a:ext cx="2530549" cy="800219"/>
            </a:xfrm>
            <a:prstGeom prst="rect">
              <a:avLst/>
            </a:prstGeom>
            <a:noFill/>
          </p:spPr>
          <p:txBody>
            <a:bodyPr wrap="square" lIns="0" tIns="0" rIns="0" bIns="0" rtlCol="0">
              <a:spAutoFit/>
            </a:bodyPr>
            <a:lstStyle/>
            <a:p>
              <a:pPr algn="ctr"/>
              <a:r>
                <a:rPr lang="en-IN" sz="1200" b="1" dirty="0"/>
                <a:t>High fees is a </a:t>
              </a:r>
            </a:p>
            <a:p>
              <a:pPr algn="ctr"/>
              <a:r>
                <a:rPr lang="en-IN" sz="1200" b="1" dirty="0"/>
                <a:t>concern for </a:t>
              </a:r>
              <a:r>
                <a:rPr lang="en-IN" sz="1600" b="1" dirty="0"/>
                <a:t>49%</a:t>
              </a:r>
              <a:r>
                <a:rPr lang="en-IN" sz="1200" b="1" dirty="0"/>
                <a:t> of </a:t>
              </a:r>
            </a:p>
            <a:p>
              <a:pPr algn="ctr"/>
              <a:r>
                <a:rPr lang="en-IN" sz="1200" b="1" dirty="0"/>
                <a:t>Millionaires Next Door</a:t>
              </a:r>
            </a:p>
            <a:p>
              <a:pPr algn="ctr"/>
              <a:endParaRPr lang="en-US" sz="1200" dirty="0"/>
            </a:p>
          </p:txBody>
        </p:sp>
        <p:sp>
          <p:nvSpPr>
            <p:cNvPr id="54" name="TextBox 53">
              <a:extLst>
                <a:ext uri="{FF2B5EF4-FFF2-40B4-BE49-F238E27FC236}">
                  <a16:creationId xmlns:a16="http://schemas.microsoft.com/office/drawing/2014/main" id="{2AEAB677-8E9E-493D-9C1C-053724761865}"/>
                </a:ext>
              </a:extLst>
            </p:cNvPr>
            <p:cNvSpPr txBox="1">
              <a:spLocks/>
            </p:cNvSpPr>
            <p:nvPr/>
          </p:nvSpPr>
          <p:spPr>
            <a:xfrm>
              <a:off x="9449728" y="1435390"/>
              <a:ext cx="2539071" cy="706633"/>
            </a:xfrm>
            <a:prstGeom prst="roundRect">
              <a:avLst>
                <a:gd name="adj" fmla="val 0"/>
              </a:avLst>
            </a:prstGeom>
            <a:solidFill>
              <a:schemeClr val="accent2">
                <a:lumMod val="20000"/>
                <a:lumOff val="80000"/>
              </a:schemeClr>
            </a:solidFill>
          </p:spPr>
          <p:txBody>
            <a:bodyPr wrap="square" lIns="0" tIns="0" rIns="0" bIns="0" rtlCol="0" anchor="ctr">
              <a:noAutofit/>
            </a:bodyPr>
            <a:lstStyle/>
            <a:p>
              <a:pPr algn="ctr"/>
              <a:r>
                <a:rPr lang="en-US" sz="1200" b="1" dirty="0"/>
                <a:t>HNWIs likely to switch WM provider in next 12 months</a:t>
              </a:r>
            </a:p>
          </p:txBody>
        </p:sp>
        <p:grpSp>
          <p:nvGrpSpPr>
            <p:cNvPr id="4" name="Group 3"/>
            <p:cNvGrpSpPr/>
            <p:nvPr/>
          </p:nvGrpSpPr>
          <p:grpSpPr>
            <a:xfrm>
              <a:off x="10201276" y="2175882"/>
              <a:ext cx="1060098" cy="2548518"/>
              <a:chOff x="9632864" y="2388542"/>
              <a:chExt cx="1060098" cy="2548518"/>
            </a:xfrm>
          </p:grpSpPr>
          <p:sp>
            <p:nvSpPr>
              <p:cNvPr id="9" name="Isosceles Triangle 8">
                <a:extLst>
                  <a:ext uri="{FF2B5EF4-FFF2-40B4-BE49-F238E27FC236}">
                    <a16:creationId xmlns:a16="http://schemas.microsoft.com/office/drawing/2014/main" id="{31F981D1-BB20-4A49-A633-364FA27C59BC}"/>
                  </a:ext>
                </a:extLst>
              </p:cNvPr>
              <p:cNvSpPr/>
              <p:nvPr/>
            </p:nvSpPr>
            <p:spPr>
              <a:xfrm>
                <a:off x="9736948" y="2672707"/>
                <a:ext cx="819151" cy="1625755"/>
              </a:xfrm>
              <a:prstGeom prst="triangle">
                <a:avLst>
                  <a:gd name="adj" fmla="val 49636"/>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66" name="Oval 65">
                <a:extLst>
                  <a:ext uri="{FF2B5EF4-FFF2-40B4-BE49-F238E27FC236}">
                    <a16:creationId xmlns:a16="http://schemas.microsoft.com/office/drawing/2014/main" id="{F4548997-D663-4143-A4CB-43F20DC7B82F}"/>
                  </a:ext>
                </a:extLst>
              </p:cNvPr>
              <p:cNvSpPr/>
              <p:nvPr/>
            </p:nvSpPr>
            <p:spPr>
              <a:xfrm>
                <a:off x="9632864" y="3898275"/>
                <a:ext cx="1060098" cy="103878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42%</a:t>
                </a:r>
                <a:endParaRPr lang="en-US" sz="1200" b="1" dirty="0">
                  <a:solidFill>
                    <a:schemeClr val="bg1"/>
                  </a:solidFill>
                </a:endParaRPr>
              </a:p>
            </p:txBody>
          </p:sp>
          <p:sp>
            <p:nvSpPr>
              <p:cNvPr id="50" name="Oval 49">
                <a:extLst>
                  <a:ext uri="{FF2B5EF4-FFF2-40B4-BE49-F238E27FC236}">
                    <a16:creationId xmlns:a16="http://schemas.microsoft.com/office/drawing/2014/main" id="{93FDC1B3-82BA-4341-A4DD-647753BBBE31}"/>
                  </a:ext>
                </a:extLst>
              </p:cNvPr>
              <p:cNvSpPr/>
              <p:nvPr/>
            </p:nvSpPr>
            <p:spPr>
              <a:xfrm>
                <a:off x="9806154" y="2388542"/>
                <a:ext cx="676686" cy="67167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8" name="TextBox 7">
                <a:extLst>
                  <a:ext uri="{FF2B5EF4-FFF2-40B4-BE49-F238E27FC236}">
                    <a16:creationId xmlns:a16="http://schemas.microsoft.com/office/drawing/2014/main" id="{3F838F46-1166-4D06-8EC8-B98A6360D8AE}"/>
                  </a:ext>
                </a:extLst>
              </p:cNvPr>
              <p:cNvSpPr txBox="1"/>
              <p:nvPr/>
            </p:nvSpPr>
            <p:spPr>
              <a:xfrm>
                <a:off x="9783457" y="2617772"/>
                <a:ext cx="753592" cy="215444"/>
              </a:xfrm>
              <a:prstGeom prst="rect">
                <a:avLst/>
              </a:prstGeom>
              <a:noFill/>
            </p:spPr>
            <p:txBody>
              <a:bodyPr wrap="square" lIns="0" tIns="0" rIns="0" bIns="0" rtlCol="0">
                <a:spAutoFit/>
              </a:bodyPr>
              <a:lstStyle/>
              <a:p>
                <a:pPr algn="ctr"/>
                <a:r>
                  <a:rPr lang="en-IN" sz="1400" b="1" dirty="0"/>
                  <a:t>22%</a:t>
                </a:r>
                <a:endParaRPr lang="en-US" sz="1400" b="1" dirty="0"/>
              </a:p>
            </p:txBody>
          </p:sp>
        </p:grpSp>
        <p:sp>
          <p:nvSpPr>
            <p:cNvPr id="85" name="Rectangle: Rounded Corners 84">
              <a:extLst>
                <a:ext uri="{FF2B5EF4-FFF2-40B4-BE49-F238E27FC236}">
                  <a16:creationId xmlns:a16="http://schemas.microsoft.com/office/drawing/2014/main" id="{75263C4A-5B2F-466B-8B0D-BE501179845B}"/>
                </a:ext>
              </a:extLst>
            </p:cNvPr>
            <p:cNvSpPr/>
            <p:nvPr/>
          </p:nvSpPr>
          <p:spPr>
            <a:xfrm>
              <a:off x="9450745" y="1407968"/>
              <a:ext cx="2528382" cy="4337108"/>
            </a:xfrm>
            <a:prstGeom prst="roundRect">
              <a:avLst>
                <a:gd name="adj" fmla="val 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200" b="1" dirty="0">
                <a:solidFill>
                  <a:schemeClr val="tx1"/>
                </a:solidFill>
              </a:endParaRPr>
            </a:p>
          </p:txBody>
        </p:sp>
        <p:sp>
          <p:nvSpPr>
            <p:cNvPr id="12" name="TextBox 11">
              <a:extLst>
                <a:ext uri="{FF2B5EF4-FFF2-40B4-BE49-F238E27FC236}">
                  <a16:creationId xmlns:a16="http://schemas.microsoft.com/office/drawing/2014/main" id="{46ABD35F-5326-448B-AF73-B9894293D3A5}"/>
                </a:ext>
              </a:extLst>
            </p:cNvPr>
            <p:cNvSpPr txBox="1"/>
            <p:nvPr/>
          </p:nvSpPr>
          <p:spPr>
            <a:xfrm>
              <a:off x="9455672" y="3095046"/>
              <a:ext cx="2523455" cy="369332"/>
            </a:xfrm>
            <a:prstGeom prst="rect">
              <a:avLst/>
            </a:prstGeom>
            <a:noFill/>
          </p:spPr>
          <p:txBody>
            <a:bodyPr wrap="square" lIns="0" tIns="0" rIns="0" bIns="0" rtlCol="0">
              <a:spAutoFit/>
            </a:bodyPr>
            <a:lstStyle/>
            <a:p>
              <a:pPr algn="ctr"/>
              <a:r>
                <a:rPr lang="en-IN" sz="1200" b="1" dirty="0"/>
                <a:t>Top Reason: </a:t>
              </a:r>
            </a:p>
            <a:p>
              <a:pPr algn="ctr"/>
              <a:r>
                <a:rPr lang="en-IN" sz="1200" b="1" dirty="0"/>
                <a:t>High Fees</a:t>
              </a:r>
              <a:endParaRPr lang="en-US" sz="1200" b="1" dirty="0"/>
            </a:p>
          </p:txBody>
        </p:sp>
      </p:grpSp>
      <p:grpSp>
        <p:nvGrpSpPr>
          <p:cNvPr id="53" name="Group 52">
            <a:extLst>
              <a:ext uri="{FF2B5EF4-FFF2-40B4-BE49-F238E27FC236}">
                <a16:creationId xmlns:a16="http://schemas.microsoft.com/office/drawing/2014/main" id="{42CF0420-EF30-4541-8BB1-76C1477CA701}"/>
              </a:ext>
            </a:extLst>
          </p:cNvPr>
          <p:cNvGrpSpPr/>
          <p:nvPr/>
        </p:nvGrpSpPr>
        <p:grpSpPr>
          <a:xfrm>
            <a:off x="9622537" y="85117"/>
            <a:ext cx="559961" cy="608099"/>
            <a:chOff x="9622537" y="85117"/>
            <a:chExt cx="559961" cy="608099"/>
          </a:xfrm>
        </p:grpSpPr>
        <p:sp>
          <p:nvSpPr>
            <p:cNvPr id="55" name="Freeform 10">
              <a:extLst>
                <a:ext uri="{FF2B5EF4-FFF2-40B4-BE49-F238E27FC236}">
                  <a16:creationId xmlns:a16="http://schemas.microsoft.com/office/drawing/2014/main" id="{8962C3C2-1506-4C6D-A70C-D6341BA477A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6" name="Freeform 11">
              <a:extLst>
                <a:ext uri="{FF2B5EF4-FFF2-40B4-BE49-F238E27FC236}">
                  <a16:creationId xmlns:a16="http://schemas.microsoft.com/office/drawing/2014/main" id="{1F21CF9A-3719-4FE7-85C8-82969F80F05D}"/>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12">
              <a:extLst>
                <a:ext uri="{FF2B5EF4-FFF2-40B4-BE49-F238E27FC236}">
                  <a16:creationId xmlns:a16="http://schemas.microsoft.com/office/drawing/2014/main" id="{8577FF51-9113-45A6-BF48-62A12C314D58}"/>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0" name="Freeform 13">
              <a:extLst>
                <a:ext uri="{FF2B5EF4-FFF2-40B4-BE49-F238E27FC236}">
                  <a16:creationId xmlns:a16="http://schemas.microsoft.com/office/drawing/2014/main" id="{701268BA-6B81-46BB-AB77-3E4B5F877EA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2" name="Freeform 14">
              <a:extLst>
                <a:ext uri="{FF2B5EF4-FFF2-40B4-BE49-F238E27FC236}">
                  <a16:creationId xmlns:a16="http://schemas.microsoft.com/office/drawing/2014/main" id="{475E7143-4D14-4F7B-8341-0D640B129BA4}"/>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3" name="Group 62">
            <a:extLst>
              <a:ext uri="{FF2B5EF4-FFF2-40B4-BE49-F238E27FC236}">
                <a16:creationId xmlns:a16="http://schemas.microsoft.com/office/drawing/2014/main" id="{9E1E7D96-771D-4F40-AB53-4610F26E1841}"/>
              </a:ext>
            </a:extLst>
          </p:cNvPr>
          <p:cNvGrpSpPr/>
          <p:nvPr/>
        </p:nvGrpSpPr>
        <p:grpSpPr>
          <a:xfrm>
            <a:off x="10232823" y="122400"/>
            <a:ext cx="537308" cy="533532"/>
            <a:chOff x="8169276" y="2006600"/>
            <a:chExt cx="3614737" cy="3589337"/>
          </a:xfrm>
          <a:solidFill>
            <a:schemeClr val="bg1">
              <a:lumMod val="75000"/>
            </a:schemeClr>
          </a:solidFill>
        </p:grpSpPr>
        <p:sp>
          <p:nvSpPr>
            <p:cNvPr id="64" name="Freeform 18">
              <a:extLst>
                <a:ext uri="{FF2B5EF4-FFF2-40B4-BE49-F238E27FC236}">
                  <a16:creationId xmlns:a16="http://schemas.microsoft.com/office/drawing/2014/main" id="{EA40DCCE-E0DA-4DCB-9A7C-8D3608D06043}"/>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15">
              <a:extLst>
                <a:ext uri="{FF2B5EF4-FFF2-40B4-BE49-F238E27FC236}">
                  <a16:creationId xmlns:a16="http://schemas.microsoft.com/office/drawing/2014/main" id="{6B744867-AE85-46E2-83BC-B2DF0B0D4B6E}"/>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779C9E56-DB3D-444F-B455-E242A295F36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17">
              <a:extLst>
                <a:ext uri="{FF2B5EF4-FFF2-40B4-BE49-F238E27FC236}">
                  <a16:creationId xmlns:a16="http://schemas.microsoft.com/office/drawing/2014/main" id="{AA23C917-8064-4201-8597-291E5357D64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19">
              <a:extLst>
                <a:ext uri="{FF2B5EF4-FFF2-40B4-BE49-F238E27FC236}">
                  <a16:creationId xmlns:a16="http://schemas.microsoft.com/office/drawing/2014/main" id="{10A1AF65-201C-4AFD-9684-527BE856431A}"/>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1" name="Freeform 332">
            <a:extLst>
              <a:ext uri="{FF2B5EF4-FFF2-40B4-BE49-F238E27FC236}">
                <a16:creationId xmlns:a16="http://schemas.microsoft.com/office/drawing/2014/main" id="{1E5D0FCE-D229-4C78-849A-79BF9FA52A4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 name="Group 71">
            <a:extLst>
              <a:ext uri="{FF2B5EF4-FFF2-40B4-BE49-F238E27FC236}">
                <a16:creationId xmlns:a16="http://schemas.microsoft.com/office/drawing/2014/main" id="{833454C3-37EF-4180-A949-7ED27888D6F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3" name="Freeform 46">
              <a:extLst>
                <a:ext uri="{FF2B5EF4-FFF2-40B4-BE49-F238E27FC236}">
                  <a16:creationId xmlns:a16="http://schemas.microsoft.com/office/drawing/2014/main" id="{BE8A4ADD-006C-4AB0-8DEE-B64CD0515DB2}"/>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7">
              <a:extLst>
                <a:ext uri="{FF2B5EF4-FFF2-40B4-BE49-F238E27FC236}">
                  <a16:creationId xmlns:a16="http://schemas.microsoft.com/office/drawing/2014/main" id="{584A98F4-0C54-4FE2-8163-BDA32982010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8">
              <a:extLst>
                <a:ext uri="{FF2B5EF4-FFF2-40B4-BE49-F238E27FC236}">
                  <a16:creationId xmlns:a16="http://schemas.microsoft.com/office/drawing/2014/main" id="{1F84A626-FD32-4851-A27F-E3730FAEC48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
              <a:extLst>
                <a:ext uri="{FF2B5EF4-FFF2-40B4-BE49-F238E27FC236}">
                  <a16:creationId xmlns:a16="http://schemas.microsoft.com/office/drawing/2014/main" id="{C0641FEC-0AAF-4F2A-BA96-9882B8A8D20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0">
              <a:extLst>
                <a:ext uri="{FF2B5EF4-FFF2-40B4-BE49-F238E27FC236}">
                  <a16:creationId xmlns:a16="http://schemas.microsoft.com/office/drawing/2014/main" id="{BDB367F3-AE89-4E44-9344-7F56523303DE}"/>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1">
              <a:extLst>
                <a:ext uri="{FF2B5EF4-FFF2-40B4-BE49-F238E27FC236}">
                  <a16:creationId xmlns:a16="http://schemas.microsoft.com/office/drawing/2014/main" id="{F373DF1A-F5FB-4335-9FB5-A8F75276EDF5}"/>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a:extLst>
              <a:ext uri="{FF2B5EF4-FFF2-40B4-BE49-F238E27FC236}">
                <a16:creationId xmlns:a16="http://schemas.microsoft.com/office/drawing/2014/main" id="{DE6232CE-58A5-44F6-8A94-F6EC16EABB9B}"/>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1" name="Freeform 18">
              <a:extLst>
                <a:ext uri="{FF2B5EF4-FFF2-40B4-BE49-F238E27FC236}">
                  <a16:creationId xmlns:a16="http://schemas.microsoft.com/office/drawing/2014/main" id="{C80CA734-6E05-461D-8F4B-10DC8631F49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15">
              <a:extLst>
                <a:ext uri="{FF2B5EF4-FFF2-40B4-BE49-F238E27FC236}">
                  <a16:creationId xmlns:a16="http://schemas.microsoft.com/office/drawing/2014/main" id="{83B0997B-A2E0-45F3-8408-4314741CEDE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Oval 16">
              <a:extLst>
                <a:ext uri="{FF2B5EF4-FFF2-40B4-BE49-F238E27FC236}">
                  <a16:creationId xmlns:a16="http://schemas.microsoft.com/office/drawing/2014/main" id="{CE996301-0876-4664-9AB7-0DD32E7E8BB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7">
              <a:extLst>
                <a:ext uri="{FF2B5EF4-FFF2-40B4-BE49-F238E27FC236}">
                  <a16:creationId xmlns:a16="http://schemas.microsoft.com/office/drawing/2014/main" id="{CC8C8CF3-B007-4F7F-9F96-32AAB952102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9">
              <a:extLst>
                <a:ext uri="{FF2B5EF4-FFF2-40B4-BE49-F238E27FC236}">
                  <a16:creationId xmlns:a16="http://schemas.microsoft.com/office/drawing/2014/main" id="{471C63B4-A4D6-4554-A177-833873AF1E7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11" name="Picture 4" descr="Coronavirus | United Nations">
            <a:extLst>
              <a:ext uri="{FF2B5EF4-FFF2-40B4-BE49-F238E27FC236}">
                <a16:creationId xmlns:a16="http://schemas.microsoft.com/office/drawing/2014/main" id="{36BC02F2-2F7A-4DFA-9DA0-8E07CC008AB3}"/>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12" name="Group 111">
            <a:extLst>
              <a:ext uri="{FF2B5EF4-FFF2-40B4-BE49-F238E27FC236}">
                <a16:creationId xmlns:a16="http://schemas.microsoft.com/office/drawing/2014/main" id="{29929E15-6491-4031-A2E1-61AE179CE7A0}"/>
              </a:ext>
            </a:extLst>
          </p:cNvPr>
          <p:cNvGrpSpPr/>
          <p:nvPr/>
        </p:nvGrpSpPr>
        <p:grpSpPr>
          <a:xfrm>
            <a:off x="9034432" y="122400"/>
            <a:ext cx="537780" cy="533532"/>
            <a:chOff x="411163" y="2006600"/>
            <a:chExt cx="3617913" cy="3589337"/>
          </a:xfrm>
          <a:solidFill>
            <a:schemeClr val="bg1">
              <a:lumMod val="75000"/>
            </a:schemeClr>
          </a:solidFill>
        </p:grpSpPr>
        <p:sp>
          <p:nvSpPr>
            <p:cNvPr id="113" name="Freeform 5">
              <a:extLst>
                <a:ext uri="{FF2B5EF4-FFF2-40B4-BE49-F238E27FC236}">
                  <a16:creationId xmlns:a16="http://schemas.microsoft.com/office/drawing/2014/main" id="{52B4F285-CAA6-42D1-BD06-3B44E8873F3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Oval 6">
              <a:extLst>
                <a:ext uri="{FF2B5EF4-FFF2-40B4-BE49-F238E27FC236}">
                  <a16:creationId xmlns:a16="http://schemas.microsoft.com/office/drawing/2014/main" id="{2E4A70AE-50CE-4879-8B5D-C59CEBB0FD8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7">
              <a:extLst>
                <a:ext uri="{FF2B5EF4-FFF2-40B4-BE49-F238E27FC236}">
                  <a16:creationId xmlns:a16="http://schemas.microsoft.com/office/drawing/2014/main" id="{A0A2ED06-E491-431A-8A72-B780A4DB0FAE}"/>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8">
              <a:extLst>
                <a:ext uri="{FF2B5EF4-FFF2-40B4-BE49-F238E27FC236}">
                  <a16:creationId xmlns:a16="http://schemas.microsoft.com/office/drawing/2014/main" id="{453B42A6-4B2E-4017-8645-AE907EA54EA2}"/>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9">
              <a:extLst>
                <a:ext uri="{FF2B5EF4-FFF2-40B4-BE49-F238E27FC236}">
                  <a16:creationId xmlns:a16="http://schemas.microsoft.com/office/drawing/2014/main" id="{B7852EBF-2422-41DE-A24D-780207B88CA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8" name="Groupe 825">
            <a:extLst>
              <a:ext uri="{FF2B5EF4-FFF2-40B4-BE49-F238E27FC236}">
                <a16:creationId xmlns:a16="http://schemas.microsoft.com/office/drawing/2014/main" id="{BBA78B61-8D9C-4CF2-AEC8-412887D58BE0}"/>
              </a:ext>
            </a:extLst>
          </p:cNvPr>
          <p:cNvGrpSpPr/>
          <p:nvPr/>
        </p:nvGrpSpPr>
        <p:grpSpPr>
          <a:xfrm>
            <a:off x="9138494" y="248487"/>
            <a:ext cx="337206" cy="317707"/>
            <a:chOff x="6500813" y="736601"/>
            <a:chExt cx="538163" cy="581025"/>
          </a:xfrm>
          <a:solidFill>
            <a:schemeClr val="bg1">
              <a:lumMod val="50000"/>
            </a:schemeClr>
          </a:solidFill>
        </p:grpSpPr>
        <p:sp>
          <p:nvSpPr>
            <p:cNvPr id="119" name="Freeform 37">
              <a:extLst>
                <a:ext uri="{FF2B5EF4-FFF2-40B4-BE49-F238E27FC236}">
                  <a16:creationId xmlns:a16="http://schemas.microsoft.com/office/drawing/2014/main" id="{4B00B3EE-012E-4942-A699-3746ED4344C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38">
              <a:extLst>
                <a:ext uri="{FF2B5EF4-FFF2-40B4-BE49-F238E27FC236}">
                  <a16:creationId xmlns:a16="http://schemas.microsoft.com/office/drawing/2014/main" id="{FC39D126-DD84-4C80-988C-17D234AB273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39">
              <a:extLst>
                <a:ext uri="{FF2B5EF4-FFF2-40B4-BE49-F238E27FC236}">
                  <a16:creationId xmlns:a16="http://schemas.microsoft.com/office/drawing/2014/main" id="{9C607A75-4BD3-4213-9816-8BC5D3DB69E6}"/>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0">
              <a:extLst>
                <a:ext uri="{FF2B5EF4-FFF2-40B4-BE49-F238E27FC236}">
                  <a16:creationId xmlns:a16="http://schemas.microsoft.com/office/drawing/2014/main" id="{4E5545E5-8D37-4CBC-9C44-45C8BBEFDD63}"/>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1">
              <a:extLst>
                <a:ext uri="{FF2B5EF4-FFF2-40B4-BE49-F238E27FC236}">
                  <a16:creationId xmlns:a16="http://schemas.microsoft.com/office/drawing/2014/main" id="{F882F3C4-F394-4D0D-A034-FAFE9CEE448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2">
              <a:extLst>
                <a:ext uri="{FF2B5EF4-FFF2-40B4-BE49-F238E27FC236}">
                  <a16:creationId xmlns:a16="http://schemas.microsoft.com/office/drawing/2014/main" id="{32CEE3F6-14FA-4839-8133-D880F90E69F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3">
              <a:extLst>
                <a:ext uri="{FF2B5EF4-FFF2-40B4-BE49-F238E27FC236}">
                  <a16:creationId xmlns:a16="http://schemas.microsoft.com/office/drawing/2014/main" id="{3ACFA8F1-753C-4E4F-8666-A3B0AE1DCC21}"/>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4">
              <a:extLst>
                <a:ext uri="{FF2B5EF4-FFF2-40B4-BE49-F238E27FC236}">
                  <a16:creationId xmlns:a16="http://schemas.microsoft.com/office/drawing/2014/main" id="{AA7A0F8D-D994-4AA2-A967-8CF1C7CE0B5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5">
              <a:extLst>
                <a:ext uri="{FF2B5EF4-FFF2-40B4-BE49-F238E27FC236}">
                  <a16:creationId xmlns:a16="http://schemas.microsoft.com/office/drawing/2014/main" id="{15ADB006-AE4D-4969-98DA-CB6285CA332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6">
              <a:extLst>
                <a:ext uri="{FF2B5EF4-FFF2-40B4-BE49-F238E27FC236}">
                  <a16:creationId xmlns:a16="http://schemas.microsoft.com/office/drawing/2014/main" id="{7A8219A9-8331-43FE-9B23-9C55AFC39394}"/>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47">
              <a:extLst>
                <a:ext uri="{FF2B5EF4-FFF2-40B4-BE49-F238E27FC236}">
                  <a16:creationId xmlns:a16="http://schemas.microsoft.com/office/drawing/2014/main" id="{0F611089-0761-411F-A1AB-67556930B30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48">
              <a:extLst>
                <a:ext uri="{FF2B5EF4-FFF2-40B4-BE49-F238E27FC236}">
                  <a16:creationId xmlns:a16="http://schemas.microsoft.com/office/drawing/2014/main" id="{6E53283A-AC77-4A6D-AA4C-A378E9560D6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9">
              <a:extLst>
                <a:ext uri="{FF2B5EF4-FFF2-40B4-BE49-F238E27FC236}">
                  <a16:creationId xmlns:a16="http://schemas.microsoft.com/office/drawing/2014/main" id="{CE94CE30-7AD7-4158-93D5-5A8203F0127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0">
              <a:extLst>
                <a:ext uri="{FF2B5EF4-FFF2-40B4-BE49-F238E27FC236}">
                  <a16:creationId xmlns:a16="http://schemas.microsoft.com/office/drawing/2014/main" id="{E1558E0B-CC40-46B5-A59C-4C4D6955B47E}"/>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1">
              <a:extLst>
                <a:ext uri="{FF2B5EF4-FFF2-40B4-BE49-F238E27FC236}">
                  <a16:creationId xmlns:a16="http://schemas.microsoft.com/office/drawing/2014/main" id="{6FA0471B-81C2-4BF9-AF04-70629CD8057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2">
              <a:extLst>
                <a:ext uri="{FF2B5EF4-FFF2-40B4-BE49-F238E27FC236}">
                  <a16:creationId xmlns:a16="http://schemas.microsoft.com/office/drawing/2014/main" id="{F9755FD5-3929-44E4-8EF5-5B5EE5493D7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3">
              <a:extLst>
                <a:ext uri="{FF2B5EF4-FFF2-40B4-BE49-F238E27FC236}">
                  <a16:creationId xmlns:a16="http://schemas.microsoft.com/office/drawing/2014/main" id="{26C42F2D-671B-4D11-B77C-4560F441958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4">
              <a:extLst>
                <a:ext uri="{FF2B5EF4-FFF2-40B4-BE49-F238E27FC236}">
                  <a16:creationId xmlns:a16="http://schemas.microsoft.com/office/drawing/2014/main" id="{4B3737D2-064D-4D70-8745-251CA4552B0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5">
              <a:extLst>
                <a:ext uri="{FF2B5EF4-FFF2-40B4-BE49-F238E27FC236}">
                  <a16:creationId xmlns:a16="http://schemas.microsoft.com/office/drawing/2014/main" id="{59461631-31AF-4455-AB55-C34DE4EF7CD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6">
              <a:extLst>
                <a:ext uri="{FF2B5EF4-FFF2-40B4-BE49-F238E27FC236}">
                  <a16:creationId xmlns:a16="http://schemas.microsoft.com/office/drawing/2014/main" id="{FD7E38CB-A0CB-46D0-8E8B-5A6BEE84826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7">
              <a:extLst>
                <a:ext uri="{FF2B5EF4-FFF2-40B4-BE49-F238E27FC236}">
                  <a16:creationId xmlns:a16="http://schemas.microsoft.com/office/drawing/2014/main" id="{778573CF-FCEF-4540-BEFC-978EA39D879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8">
              <a:extLst>
                <a:ext uri="{FF2B5EF4-FFF2-40B4-BE49-F238E27FC236}">
                  <a16:creationId xmlns:a16="http://schemas.microsoft.com/office/drawing/2014/main" id="{8560AC09-70A1-489B-8DB0-5640604AD6E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9">
              <a:extLst>
                <a:ext uri="{FF2B5EF4-FFF2-40B4-BE49-F238E27FC236}">
                  <a16:creationId xmlns:a16="http://schemas.microsoft.com/office/drawing/2014/main" id="{86E56593-CA24-4D7B-8D59-A2FC3CBC6B27}"/>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0">
              <a:extLst>
                <a:ext uri="{FF2B5EF4-FFF2-40B4-BE49-F238E27FC236}">
                  <a16:creationId xmlns:a16="http://schemas.microsoft.com/office/drawing/2014/main" id="{79A5A686-E4AA-44F3-91AB-B7892E130F8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1">
              <a:extLst>
                <a:ext uri="{FF2B5EF4-FFF2-40B4-BE49-F238E27FC236}">
                  <a16:creationId xmlns:a16="http://schemas.microsoft.com/office/drawing/2014/main" id="{EA17FE34-B567-45D5-94C1-F2AD65FD45D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2">
              <a:extLst>
                <a:ext uri="{FF2B5EF4-FFF2-40B4-BE49-F238E27FC236}">
                  <a16:creationId xmlns:a16="http://schemas.microsoft.com/office/drawing/2014/main" id="{B07B3DC1-96AB-4A7F-A51D-F9D259D4041F}"/>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3">
              <a:extLst>
                <a:ext uri="{FF2B5EF4-FFF2-40B4-BE49-F238E27FC236}">
                  <a16:creationId xmlns:a16="http://schemas.microsoft.com/office/drawing/2014/main" id="{F34E1113-9F33-41E5-BC08-C8F28328B9B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4">
              <a:extLst>
                <a:ext uri="{FF2B5EF4-FFF2-40B4-BE49-F238E27FC236}">
                  <a16:creationId xmlns:a16="http://schemas.microsoft.com/office/drawing/2014/main" id="{EA1202E5-2923-4C69-B502-37F4A8F7B5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5">
              <a:extLst>
                <a:ext uri="{FF2B5EF4-FFF2-40B4-BE49-F238E27FC236}">
                  <a16:creationId xmlns:a16="http://schemas.microsoft.com/office/drawing/2014/main" id="{D88EC895-8670-454E-8F22-DB11958E30B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6">
              <a:extLst>
                <a:ext uri="{FF2B5EF4-FFF2-40B4-BE49-F238E27FC236}">
                  <a16:creationId xmlns:a16="http://schemas.microsoft.com/office/drawing/2014/main" id="{1B5426DE-444F-4ACF-8055-3AA2B6EB2B1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7">
              <a:extLst>
                <a:ext uri="{FF2B5EF4-FFF2-40B4-BE49-F238E27FC236}">
                  <a16:creationId xmlns:a16="http://schemas.microsoft.com/office/drawing/2014/main" id="{3005DBF5-23BB-4C23-AC0D-51F4452B3C7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8">
              <a:extLst>
                <a:ext uri="{FF2B5EF4-FFF2-40B4-BE49-F238E27FC236}">
                  <a16:creationId xmlns:a16="http://schemas.microsoft.com/office/drawing/2014/main" id="{A2C0B235-F518-437F-B57D-F3F121F737DA}"/>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9">
              <a:extLst>
                <a:ext uri="{FF2B5EF4-FFF2-40B4-BE49-F238E27FC236}">
                  <a16:creationId xmlns:a16="http://schemas.microsoft.com/office/drawing/2014/main" id="{3243673A-8DFA-4294-8376-B684CA97FEE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0">
              <a:extLst>
                <a:ext uri="{FF2B5EF4-FFF2-40B4-BE49-F238E27FC236}">
                  <a16:creationId xmlns:a16="http://schemas.microsoft.com/office/drawing/2014/main" id="{19A3D974-5CD9-4506-BD60-4B45E4FCE3A1}"/>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1">
              <a:extLst>
                <a:ext uri="{FF2B5EF4-FFF2-40B4-BE49-F238E27FC236}">
                  <a16:creationId xmlns:a16="http://schemas.microsoft.com/office/drawing/2014/main" id="{C0CFE3C2-B787-4955-9E99-14383C444C69}"/>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2">
              <a:extLst>
                <a:ext uri="{FF2B5EF4-FFF2-40B4-BE49-F238E27FC236}">
                  <a16:creationId xmlns:a16="http://schemas.microsoft.com/office/drawing/2014/main" id="{FD9A6C35-9142-445D-AAA8-AD7B4AD99E4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3">
              <a:extLst>
                <a:ext uri="{FF2B5EF4-FFF2-40B4-BE49-F238E27FC236}">
                  <a16:creationId xmlns:a16="http://schemas.microsoft.com/office/drawing/2014/main" id="{C8B4DFCA-DD0C-41C4-A258-1F56428A6E59}"/>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4">
              <a:extLst>
                <a:ext uri="{FF2B5EF4-FFF2-40B4-BE49-F238E27FC236}">
                  <a16:creationId xmlns:a16="http://schemas.microsoft.com/office/drawing/2014/main" id="{3365970F-1E66-4757-8FBD-956F9D12A818}"/>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5">
              <a:extLst>
                <a:ext uri="{FF2B5EF4-FFF2-40B4-BE49-F238E27FC236}">
                  <a16:creationId xmlns:a16="http://schemas.microsoft.com/office/drawing/2014/main" id="{85782BDD-36E3-4B38-AE22-6F3767BA7E14}"/>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6">
              <a:extLst>
                <a:ext uri="{FF2B5EF4-FFF2-40B4-BE49-F238E27FC236}">
                  <a16:creationId xmlns:a16="http://schemas.microsoft.com/office/drawing/2014/main" id="{69DCBB6B-BC82-40C5-892C-8E50FF281EC7}"/>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7">
              <a:extLst>
                <a:ext uri="{FF2B5EF4-FFF2-40B4-BE49-F238E27FC236}">
                  <a16:creationId xmlns:a16="http://schemas.microsoft.com/office/drawing/2014/main" id="{5EE83710-3817-434D-B160-0B5577D9C0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8">
              <a:extLst>
                <a:ext uri="{FF2B5EF4-FFF2-40B4-BE49-F238E27FC236}">
                  <a16:creationId xmlns:a16="http://schemas.microsoft.com/office/drawing/2014/main" id="{F6BC2B37-8862-4B90-A2EF-6F82925831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9">
              <a:extLst>
                <a:ext uri="{FF2B5EF4-FFF2-40B4-BE49-F238E27FC236}">
                  <a16:creationId xmlns:a16="http://schemas.microsoft.com/office/drawing/2014/main" id="{9DCC595D-E444-4C3D-A038-8B052F8FA14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0">
              <a:extLst>
                <a:ext uri="{FF2B5EF4-FFF2-40B4-BE49-F238E27FC236}">
                  <a16:creationId xmlns:a16="http://schemas.microsoft.com/office/drawing/2014/main" id="{01B89B07-FBF1-46E6-A46B-FD21F40B1C5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1">
              <a:extLst>
                <a:ext uri="{FF2B5EF4-FFF2-40B4-BE49-F238E27FC236}">
                  <a16:creationId xmlns:a16="http://schemas.microsoft.com/office/drawing/2014/main" id="{A82BCBAA-2A78-4FA1-8ADE-5853DA173E60}"/>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2">
              <a:extLst>
                <a:ext uri="{FF2B5EF4-FFF2-40B4-BE49-F238E27FC236}">
                  <a16:creationId xmlns:a16="http://schemas.microsoft.com/office/drawing/2014/main" id="{21DBC3AE-EB03-4626-BA99-D51C69B2163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83">
              <a:extLst>
                <a:ext uri="{FF2B5EF4-FFF2-40B4-BE49-F238E27FC236}">
                  <a16:creationId xmlns:a16="http://schemas.microsoft.com/office/drawing/2014/main" id="{959814CE-2FC1-4DF8-9AF8-1158E6827543}"/>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84">
              <a:extLst>
                <a:ext uri="{FF2B5EF4-FFF2-40B4-BE49-F238E27FC236}">
                  <a16:creationId xmlns:a16="http://schemas.microsoft.com/office/drawing/2014/main" id="{F2E09E56-FD65-4045-A015-F8405D6258F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85">
              <a:extLst>
                <a:ext uri="{FF2B5EF4-FFF2-40B4-BE49-F238E27FC236}">
                  <a16:creationId xmlns:a16="http://schemas.microsoft.com/office/drawing/2014/main" id="{8C4B36BF-303A-4FB5-95CE-99E37E0372F1}"/>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03" name="Group 202">
            <a:extLst>
              <a:ext uri="{FF2B5EF4-FFF2-40B4-BE49-F238E27FC236}">
                <a16:creationId xmlns:a16="http://schemas.microsoft.com/office/drawing/2014/main" id="{C04E8804-74ED-413D-8183-120CC57A48C4}"/>
              </a:ext>
            </a:extLst>
          </p:cNvPr>
          <p:cNvGrpSpPr/>
          <p:nvPr/>
        </p:nvGrpSpPr>
        <p:grpSpPr>
          <a:xfrm>
            <a:off x="3152579" y="1374368"/>
            <a:ext cx="6204439" cy="4445834"/>
            <a:chOff x="3152579" y="1374368"/>
            <a:chExt cx="6204439" cy="4445834"/>
          </a:xfrm>
        </p:grpSpPr>
        <p:grpSp>
          <p:nvGrpSpPr>
            <p:cNvPr id="204" name="Group 203">
              <a:extLst>
                <a:ext uri="{FF2B5EF4-FFF2-40B4-BE49-F238E27FC236}">
                  <a16:creationId xmlns:a16="http://schemas.microsoft.com/office/drawing/2014/main" id="{00613BCB-6927-48A5-AA20-8A423E123B52}"/>
                </a:ext>
              </a:extLst>
            </p:cNvPr>
            <p:cNvGrpSpPr/>
            <p:nvPr/>
          </p:nvGrpSpPr>
          <p:grpSpPr>
            <a:xfrm>
              <a:off x="3152579" y="1374368"/>
              <a:ext cx="6204439" cy="4445834"/>
              <a:chOff x="3124004" y="1269593"/>
              <a:chExt cx="6204439" cy="4445834"/>
            </a:xfrm>
          </p:grpSpPr>
          <p:sp>
            <p:nvSpPr>
              <p:cNvPr id="209" name="Rectangle 208">
                <a:extLst>
                  <a:ext uri="{FF2B5EF4-FFF2-40B4-BE49-F238E27FC236}">
                    <a16:creationId xmlns:a16="http://schemas.microsoft.com/office/drawing/2014/main" id="{C3AFC487-64FF-4714-8F19-8AC1E1E15469}"/>
                  </a:ext>
                </a:extLst>
              </p:cNvPr>
              <p:cNvSpPr/>
              <p:nvPr/>
            </p:nvSpPr>
            <p:spPr>
              <a:xfrm>
                <a:off x="3170874" y="1269593"/>
                <a:ext cx="6110698" cy="4445834"/>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TextBox 209">
                <a:extLst>
                  <a:ext uri="{FF2B5EF4-FFF2-40B4-BE49-F238E27FC236}">
                    <a16:creationId xmlns:a16="http://schemas.microsoft.com/office/drawing/2014/main" id="{E78A7804-3EED-4E8B-AD09-104E3682EA50}"/>
                  </a:ext>
                </a:extLst>
              </p:cNvPr>
              <p:cNvSpPr txBox="1"/>
              <p:nvPr/>
            </p:nvSpPr>
            <p:spPr>
              <a:xfrm>
                <a:off x="3124004" y="5086350"/>
                <a:ext cx="6204439" cy="548020"/>
              </a:xfrm>
              <a:prstGeom prst="rect">
                <a:avLst/>
              </a:prstGeom>
              <a:solidFill>
                <a:schemeClr val="accent3"/>
              </a:solidFill>
            </p:spPr>
            <p:txBody>
              <a:bodyPr wrap="square" lIns="0" tIns="0" rIns="0" bIns="0" rtlCol="0" anchor="ctr">
                <a:noAutofit/>
              </a:bodyPr>
              <a:lstStyle/>
              <a:p>
                <a:pPr algn="ctr"/>
                <a:r>
                  <a:rPr lang="en-US" sz="1200" dirty="0">
                    <a:solidFill>
                      <a:schemeClr val="bg1"/>
                    </a:solidFill>
                  </a:rPr>
                  <a:t>HNWIs increasingly want to move </a:t>
                </a:r>
                <a:r>
                  <a:rPr lang="en-US" sz="1200" b="1" dirty="0">
                    <a:solidFill>
                      <a:schemeClr val="bg1"/>
                    </a:solidFill>
                  </a:rPr>
                  <a:t>away from asset-based fee </a:t>
                </a:r>
                <a:r>
                  <a:rPr lang="en-US" sz="1200" dirty="0">
                    <a:solidFill>
                      <a:schemeClr val="bg1"/>
                    </a:solidFill>
                  </a:rPr>
                  <a:t>structure</a:t>
                </a:r>
                <a:r>
                  <a:rPr lang="en-US" sz="1200" b="1" dirty="0">
                    <a:solidFill>
                      <a:schemeClr val="bg1"/>
                    </a:solidFill>
                  </a:rPr>
                  <a:t> </a:t>
                </a:r>
              </a:p>
              <a:p>
                <a:pPr algn="ctr"/>
                <a:r>
                  <a:rPr lang="en-US" sz="1200" b="1" dirty="0">
                    <a:solidFill>
                      <a:schemeClr val="bg1"/>
                    </a:solidFill>
                  </a:rPr>
                  <a:t>to a performance-based </a:t>
                </a:r>
                <a:r>
                  <a:rPr lang="en-US" sz="1200" dirty="0">
                    <a:solidFill>
                      <a:schemeClr val="bg1"/>
                    </a:solidFill>
                  </a:rPr>
                  <a:t>and</a:t>
                </a:r>
                <a:r>
                  <a:rPr lang="en-US" sz="1200" b="1" dirty="0">
                    <a:solidFill>
                      <a:schemeClr val="bg1"/>
                    </a:solidFill>
                  </a:rPr>
                  <a:t> service-based fee </a:t>
                </a:r>
                <a:r>
                  <a:rPr lang="en-US" sz="1200" dirty="0">
                    <a:solidFill>
                      <a:schemeClr val="bg1"/>
                    </a:solidFill>
                  </a:rPr>
                  <a:t>structure</a:t>
                </a:r>
              </a:p>
            </p:txBody>
          </p:sp>
          <p:sp>
            <p:nvSpPr>
              <p:cNvPr id="211" name="TextBox 210">
                <a:extLst>
                  <a:ext uri="{FF2B5EF4-FFF2-40B4-BE49-F238E27FC236}">
                    <a16:creationId xmlns:a16="http://schemas.microsoft.com/office/drawing/2014/main" id="{7D7EE0DE-FC26-4DEF-ACC7-B61D475DC0CA}"/>
                  </a:ext>
                </a:extLst>
              </p:cNvPr>
              <p:cNvSpPr txBox="1">
                <a:spLocks/>
              </p:cNvSpPr>
              <p:nvPr/>
            </p:nvSpPr>
            <p:spPr>
              <a:xfrm>
                <a:off x="3396387" y="1940259"/>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investment performance</a:t>
                </a:r>
              </a:p>
            </p:txBody>
          </p:sp>
          <p:sp>
            <p:nvSpPr>
              <p:cNvPr id="212" name="TextBox 211">
                <a:extLst>
                  <a:ext uri="{FF2B5EF4-FFF2-40B4-BE49-F238E27FC236}">
                    <a16:creationId xmlns:a16="http://schemas.microsoft.com/office/drawing/2014/main" id="{87CD4492-2A06-4D7B-9FCF-51F919135DA4}"/>
                  </a:ext>
                </a:extLst>
              </p:cNvPr>
              <p:cNvSpPr txBox="1">
                <a:spLocks/>
              </p:cNvSpPr>
              <p:nvPr/>
            </p:nvSpPr>
            <p:spPr>
              <a:xfrm>
                <a:off x="3367810" y="30396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overall service quality </a:t>
                </a:r>
                <a:r>
                  <a:rPr lang="en-US" sz="1200" dirty="0"/>
                  <a:t>(not just investment performance)</a:t>
                </a:r>
              </a:p>
            </p:txBody>
          </p:sp>
          <p:sp>
            <p:nvSpPr>
              <p:cNvPr id="213" name="TextBox 212">
                <a:extLst>
                  <a:ext uri="{FF2B5EF4-FFF2-40B4-BE49-F238E27FC236}">
                    <a16:creationId xmlns:a16="http://schemas.microsoft.com/office/drawing/2014/main" id="{85B11B44-565B-49F6-9619-7A2B122BA96C}"/>
                  </a:ext>
                </a:extLst>
              </p:cNvPr>
              <p:cNvSpPr txBox="1">
                <a:spLocks/>
              </p:cNvSpPr>
              <p:nvPr/>
            </p:nvSpPr>
            <p:spPr>
              <a:xfrm>
                <a:off x="3367810" y="40858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As a percentage of assets</a:t>
                </a:r>
              </a:p>
            </p:txBody>
          </p:sp>
          <p:sp>
            <p:nvSpPr>
              <p:cNvPr id="214" name="Rectangle 213">
                <a:extLst>
                  <a:ext uri="{FF2B5EF4-FFF2-40B4-BE49-F238E27FC236}">
                    <a16:creationId xmlns:a16="http://schemas.microsoft.com/office/drawing/2014/main" id="{958F9089-13CF-49CA-B2C7-978E151A3849}"/>
                  </a:ext>
                </a:extLst>
              </p:cNvPr>
              <p:cNvSpPr/>
              <p:nvPr/>
            </p:nvSpPr>
            <p:spPr>
              <a:xfrm>
                <a:off x="3396387" y="1347708"/>
                <a:ext cx="271444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ee Structure</a:t>
                </a:r>
              </a:p>
            </p:txBody>
          </p:sp>
          <p:sp>
            <p:nvSpPr>
              <p:cNvPr id="215" name="Rectangle 214">
                <a:extLst>
                  <a:ext uri="{FF2B5EF4-FFF2-40B4-BE49-F238E27FC236}">
                    <a16:creationId xmlns:a16="http://schemas.microsoft.com/office/drawing/2014/main" id="{37F96A0F-E95A-4ABB-A2C6-990A3356E318}"/>
                  </a:ext>
                </a:extLst>
              </p:cNvPr>
              <p:cNvSpPr/>
              <p:nvPr/>
            </p:nvSpPr>
            <p:spPr>
              <a:xfrm>
                <a:off x="6227913"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xisting</a:t>
                </a:r>
              </a:p>
            </p:txBody>
          </p:sp>
          <p:sp>
            <p:nvSpPr>
              <p:cNvPr id="216" name="Rectangle 215">
                <a:extLst>
                  <a:ext uri="{FF2B5EF4-FFF2-40B4-BE49-F238E27FC236}">
                    <a16:creationId xmlns:a16="http://schemas.microsoft.com/office/drawing/2014/main" id="{C345A110-945F-4DBF-9320-3C15868EEB63}"/>
                  </a:ext>
                </a:extLst>
              </p:cNvPr>
              <p:cNvSpPr/>
              <p:nvPr/>
            </p:nvSpPr>
            <p:spPr>
              <a:xfrm>
                <a:off x="7782598"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ired</a:t>
                </a:r>
              </a:p>
            </p:txBody>
          </p:sp>
          <p:graphicFrame>
            <p:nvGraphicFramePr>
              <p:cNvPr id="217" name="Chart 216">
                <a:extLst>
                  <a:ext uri="{FF2B5EF4-FFF2-40B4-BE49-F238E27FC236}">
                    <a16:creationId xmlns:a16="http://schemas.microsoft.com/office/drawing/2014/main" id="{54F8AA3F-AE93-470E-81D1-5AF4B078E5C9}"/>
                  </a:ext>
                </a:extLst>
              </p:cNvPr>
              <p:cNvGraphicFramePr/>
              <p:nvPr/>
            </p:nvGraphicFramePr>
            <p:xfrm>
              <a:off x="6188701" y="1862362"/>
              <a:ext cx="3084404" cy="10985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8" name="Chart 217">
                <a:extLst>
                  <a:ext uri="{FF2B5EF4-FFF2-40B4-BE49-F238E27FC236}">
                    <a16:creationId xmlns:a16="http://schemas.microsoft.com/office/drawing/2014/main" id="{09EE9638-7C93-4DCC-B872-6359EAE3699A}"/>
                  </a:ext>
                </a:extLst>
              </p:cNvPr>
              <p:cNvGraphicFramePr/>
              <p:nvPr/>
            </p:nvGraphicFramePr>
            <p:xfrm>
              <a:off x="6188701" y="2961691"/>
              <a:ext cx="3084404" cy="1098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9" name="Chart 218">
                <a:extLst>
                  <a:ext uri="{FF2B5EF4-FFF2-40B4-BE49-F238E27FC236}">
                    <a16:creationId xmlns:a16="http://schemas.microsoft.com/office/drawing/2014/main" id="{CE66A567-7A1B-46B6-B52E-1229499B8016}"/>
                  </a:ext>
                </a:extLst>
              </p:cNvPr>
              <p:cNvGraphicFramePr/>
              <p:nvPr/>
            </p:nvGraphicFramePr>
            <p:xfrm>
              <a:off x="6188701" y="4027131"/>
              <a:ext cx="3084404" cy="1098517"/>
            </p:xfrm>
            <a:graphic>
              <a:graphicData uri="http://schemas.openxmlformats.org/drawingml/2006/chart">
                <c:chart xmlns:c="http://schemas.openxmlformats.org/drawingml/2006/chart" xmlns:r="http://schemas.openxmlformats.org/officeDocument/2006/relationships" r:id="rId7"/>
              </a:graphicData>
            </a:graphic>
          </p:graphicFrame>
          <p:grpSp>
            <p:nvGrpSpPr>
              <p:cNvPr id="220" name="Group 219">
                <a:extLst>
                  <a:ext uri="{FF2B5EF4-FFF2-40B4-BE49-F238E27FC236}">
                    <a16:creationId xmlns:a16="http://schemas.microsoft.com/office/drawing/2014/main" id="{4CA7A92E-8558-411C-8DEA-A3286A842C73}"/>
                  </a:ext>
                </a:extLst>
              </p:cNvPr>
              <p:cNvGrpSpPr/>
              <p:nvPr/>
            </p:nvGrpSpPr>
            <p:grpSpPr>
              <a:xfrm>
                <a:off x="3162405" y="1754677"/>
                <a:ext cx="6110699" cy="3234139"/>
                <a:chOff x="3170872" y="1754677"/>
                <a:chExt cx="6110699" cy="3234139"/>
              </a:xfrm>
            </p:grpSpPr>
            <p:cxnSp>
              <p:nvCxnSpPr>
                <p:cNvPr id="221" name="Straight Connector 220">
                  <a:extLst>
                    <a:ext uri="{FF2B5EF4-FFF2-40B4-BE49-F238E27FC236}">
                      <a16:creationId xmlns:a16="http://schemas.microsoft.com/office/drawing/2014/main" id="{219E0D76-C469-49C8-8940-23D340642FFF}"/>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AAA9E8F-114B-4A87-9BC8-72F0F66BB77F}"/>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9CF386E2-6593-4F0C-97BA-5BA421805167}"/>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F4EA0AAC-419A-41EE-BAFD-DDCBFAE3D112}"/>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5" name="Group 204">
              <a:extLst>
                <a:ext uri="{FF2B5EF4-FFF2-40B4-BE49-F238E27FC236}">
                  <a16:creationId xmlns:a16="http://schemas.microsoft.com/office/drawing/2014/main" id="{D43D0BF9-A343-4090-9FE4-74B8D2A07F2E}"/>
                </a:ext>
              </a:extLst>
            </p:cNvPr>
            <p:cNvGrpSpPr/>
            <p:nvPr/>
          </p:nvGrpSpPr>
          <p:grpSpPr>
            <a:xfrm>
              <a:off x="8909164" y="1980615"/>
              <a:ext cx="390412" cy="2964155"/>
              <a:chOff x="8909164" y="2418765"/>
              <a:chExt cx="390412" cy="2964155"/>
            </a:xfrm>
          </p:grpSpPr>
          <p:sp>
            <p:nvSpPr>
              <p:cNvPr id="206" name="Star: 5 Points 205">
                <a:extLst>
                  <a:ext uri="{FF2B5EF4-FFF2-40B4-BE49-F238E27FC236}">
                    <a16:creationId xmlns:a16="http://schemas.microsoft.com/office/drawing/2014/main" id="{AD70A9FC-56A8-4A93-A92B-B0BDFE1BBDDE}"/>
                  </a:ext>
                </a:extLst>
              </p:cNvPr>
              <p:cNvSpPr/>
              <p:nvPr/>
            </p:nvSpPr>
            <p:spPr>
              <a:xfrm>
                <a:off x="8909164" y="241876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Star: 5 Points 206">
                <a:extLst>
                  <a:ext uri="{FF2B5EF4-FFF2-40B4-BE49-F238E27FC236}">
                    <a16:creationId xmlns:a16="http://schemas.microsoft.com/office/drawing/2014/main" id="{83B3388A-C56E-44E7-965D-1E8862D6AEF7}"/>
                  </a:ext>
                </a:extLst>
              </p:cNvPr>
              <p:cNvSpPr/>
              <p:nvPr/>
            </p:nvSpPr>
            <p:spPr>
              <a:xfrm>
                <a:off x="8909164" y="3950250"/>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8" name="Graphic 207" descr="No sign">
                <a:extLst>
                  <a:ext uri="{FF2B5EF4-FFF2-40B4-BE49-F238E27FC236}">
                    <a16:creationId xmlns:a16="http://schemas.microsoft.com/office/drawing/2014/main" id="{81562477-7C5C-471B-B269-53B0D880526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41301" y="5024645"/>
                <a:ext cx="358275" cy="358275"/>
              </a:xfrm>
              <a:prstGeom prst="rect">
                <a:avLst/>
              </a:prstGeom>
              <a:ln>
                <a:noFill/>
              </a:ln>
            </p:spPr>
          </p:pic>
        </p:grpSp>
      </p:grpSp>
    </p:spTree>
    <p:extLst>
      <p:ext uri="{BB962C8B-B14F-4D97-AF65-F5344CB8AC3E}">
        <p14:creationId xmlns:p14="http://schemas.microsoft.com/office/powerpoint/2010/main" val="1080550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Fee structures are coming under greater scrutiny</a:t>
            </a:r>
          </a:p>
        </p:txBody>
      </p:sp>
      <p:sp>
        <p:nvSpPr>
          <p:cNvPr id="13"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PP denotes the percentage point change between the values in 2019 and 2018.</a:t>
            </a:r>
          </a:p>
          <a:p>
            <a:pPr marL="514350" indent="-514350">
              <a:spcBef>
                <a:spcPct val="15000"/>
              </a:spcBef>
            </a:pPr>
            <a:r>
              <a:rPr lang="en-US" sz="800" dirty="0"/>
              <a:t>Source:	Capgemini Financial Services Analysis, 2020; Capgemini Global HNWI Insights Survey 2020.</a:t>
            </a:r>
          </a:p>
        </p:txBody>
      </p:sp>
      <p:sp>
        <p:nvSpPr>
          <p:cNvPr id="14" name="Freeform: Shape 13">
            <a:extLst>
              <a:ext uri="{FF2B5EF4-FFF2-40B4-BE49-F238E27FC236}">
                <a16:creationId xmlns:a16="http://schemas.microsoft.com/office/drawing/2014/main" id="{24390261-4908-44DC-8B26-3943E21A9938}"/>
              </a:ext>
            </a:extLst>
          </p:cNvPr>
          <p:cNvSpPr/>
          <p:nvPr/>
        </p:nvSpPr>
        <p:spPr>
          <a:xfrm>
            <a:off x="2032037" y="910166"/>
            <a:ext cx="3964841" cy="837943"/>
          </a:xfrm>
          <a:custGeom>
            <a:avLst/>
            <a:gdLst>
              <a:gd name="connsiteX0" fmla="*/ 0 w 3964841"/>
              <a:gd name="connsiteY0" fmla="*/ 0 h 837943"/>
              <a:gd name="connsiteX1" fmla="*/ 3964841 w 3964841"/>
              <a:gd name="connsiteY1" fmla="*/ 0 h 837943"/>
              <a:gd name="connsiteX2" fmla="*/ 3964841 w 3964841"/>
              <a:gd name="connsiteY2" fmla="*/ 837943 h 837943"/>
              <a:gd name="connsiteX3" fmla="*/ 0 w 3964841"/>
              <a:gd name="connsiteY3" fmla="*/ 837943 h 837943"/>
              <a:gd name="connsiteX4" fmla="*/ 0 w 3964841"/>
              <a:gd name="connsiteY4" fmla="*/ 0 h 837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4841" h="837943">
                <a:moveTo>
                  <a:pt x="0" y="0"/>
                </a:moveTo>
                <a:lnTo>
                  <a:pt x="3964841" y="0"/>
                </a:lnTo>
                <a:lnTo>
                  <a:pt x="3964841" y="837943"/>
                </a:lnTo>
                <a:lnTo>
                  <a:pt x="0" y="83794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endParaRPr lang="en-US" sz="1400" kern="1200" dirty="0"/>
          </a:p>
        </p:txBody>
      </p:sp>
      <p:grpSp>
        <p:nvGrpSpPr>
          <p:cNvPr id="53" name="Group 52">
            <a:extLst>
              <a:ext uri="{FF2B5EF4-FFF2-40B4-BE49-F238E27FC236}">
                <a16:creationId xmlns:a16="http://schemas.microsoft.com/office/drawing/2014/main" id="{42CF0420-EF30-4541-8BB1-76C1477CA701}"/>
              </a:ext>
            </a:extLst>
          </p:cNvPr>
          <p:cNvGrpSpPr/>
          <p:nvPr/>
        </p:nvGrpSpPr>
        <p:grpSpPr>
          <a:xfrm>
            <a:off x="9622537" y="85117"/>
            <a:ext cx="559961" cy="608099"/>
            <a:chOff x="9622537" y="85117"/>
            <a:chExt cx="559961" cy="608099"/>
          </a:xfrm>
        </p:grpSpPr>
        <p:sp>
          <p:nvSpPr>
            <p:cNvPr id="55" name="Freeform 10">
              <a:extLst>
                <a:ext uri="{FF2B5EF4-FFF2-40B4-BE49-F238E27FC236}">
                  <a16:creationId xmlns:a16="http://schemas.microsoft.com/office/drawing/2014/main" id="{8962C3C2-1506-4C6D-A70C-D6341BA477A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6" name="Freeform 11">
              <a:extLst>
                <a:ext uri="{FF2B5EF4-FFF2-40B4-BE49-F238E27FC236}">
                  <a16:creationId xmlns:a16="http://schemas.microsoft.com/office/drawing/2014/main" id="{1F21CF9A-3719-4FE7-85C8-82969F80F05D}"/>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12">
              <a:extLst>
                <a:ext uri="{FF2B5EF4-FFF2-40B4-BE49-F238E27FC236}">
                  <a16:creationId xmlns:a16="http://schemas.microsoft.com/office/drawing/2014/main" id="{8577FF51-9113-45A6-BF48-62A12C314D58}"/>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0" name="Freeform 13">
              <a:extLst>
                <a:ext uri="{FF2B5EF4-FFF2-40B4-BE49-F238E27FC236}">
                  <a16:creationId xmlns:a16="http://schemas.microsoft.com/office/drawing/2014/main" id="{701268BA-6B81-46BB-AB77-3E4B5F877EA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2" name="Freeform 14">
              <a:extLst>
                <a:ext uri="{FF2B5EF4-FFF2-40B4-BE49-F238E27FC236}">
                  <a16:creationId xmlns:a16="http://schemas.microsoft.com/office/drawing/2014/main" id="{475E7143-4D14-4F7B-8341-0D640B129BA4}"/>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3" name="Group 62">
            <a:extLst>
              <a:ext uri="{FF2B5EF4-FFF2-40B4-BE49-F238E27FC236}">
                <a16:creationId xmlns:a16="http://schemas.microsoft.com/office/drawing/2014/main" id="{9E1E7D96-771D-4F40-AB53-4610F26E1841}"/>
              </a:ext>
            </a:extLst>
          </p:cNvPr>
          <p:cNvGrpSpPr/>
          <p:nvPr/>
        </p:nvGrpSpPr>
        <p:grpSpPr>
          <a:xfrm>
            <a:off x="10232823" y="122400"/>
            <a:ext cx="537308" cy="533532"/>
            <a:chOff x="8169276" y="2006600"/>
            <a:chExt cx="3614737" cy="3589337"/>
          </a:xfrm>
          <a:solidFill>
            <a:schemeClr val="bg1">
              <a:lumMod val="75000"/>
            </a:schemeClr>
          </a:solidFill>
        </p:grpSpPr>
        <p:sp>
          <p:nvSpPr>
            <p:cNvPr id="64" name="Freeform 18">
              <a:extLst>
                <a:ext uri="{FF2B5EF4-FFF2-40B4-BE49-F238E27FC236}">
                  <a16:creationId xmlns:a16="http://schemas.microsoft.com/office/drawing/2014/main" id="{EA40DCCE-E0DA-4DCB-9A7C-8D3608D06043}"/>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15">
              <a:extLst>
                <a:ext uri="{FF2B5EF4-FFF2-40B4-BE49-F238E27FC236}">
                  <a16:creationId xmlns:a16="http://schemas.microsoft.com/office/drawing/2014/main" id="{6B744867-AE85-46E2-83BC-B2DF0B0D4B6E}"/>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779C9E56-DB3D-444F-B455-E242A295F36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17">
              <a:extLst>
                <a:ext uri="{FF2B5EF4-FFF2-40B4-BE49-F238E27FC236}">
                  <a16:creationId xmlns:a16="http://schemas.microsoft.com/office/drawing/2014/main" id="{AA23C917-8064-4201-8597-291E5357D64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19">
              <a:extLst>
                <a:ext uri="{FF2B5EF4-FFF2-40B4-BE49-F238E27FC236}">
                  <a16:creationId xmlns:a16="http://schemas.microsoft.com/office/drawing/2014/main" id="{10A1AF65-201C-4AFD-9684-527BE856431A}"/>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1" name="Freeform 332">
            <a:extLst>
              <a:ext uri="{FF2B5EF4-FFF2-40B4-BE49-F238E27FC236}">
                <a16:creationId xmlns:a16="http://schemas.microsoft.com/office/drawing/2014/main" id="{1E5D0FCE-D229-4C78-849A-79BF9FA52A4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 name="Group 71">
            <a:extLst>
              <a:ext uri="{FF2B5EF4-FFF2-40B4-BE49-F238E27FC236}">
                <a16:creationId xmlns:a16="http://schemas.microsoft.com/office/drawing/2014/main" id="{833454C3-37EF-4180-A949-7ED27888D6F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3" name="Freeform 46">
              <a:extLst>
                <a:ext uri="{FF2B5EF4-FFF2-40B4-BE49-F238E27FC236}">
                  <a16:creationId xmlns:a16="http://schemas.microsoft.com/office/drawing/2014/main" id="{BE8A4ADD-006C-4AB0-8DEE-B64CD0515DB2}"/>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7">
              <a:extLst>
                <a:ext uri="{FF2B5EF4-FFF2-40B4-BE49-F238E27FC236}">
                  <a16:creationId xmlns:a16="http://schemas.microsoft.com/office/drawing/2014/main" id="{584A98F4-0C54-4FE2-8163-BDA32982010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8">
              <a:extLst>
                <a:ext uri="{FF2B5EF4-FFF2-40B4-BE49-F238E27FC236}">
                  <a16:creationId xmlns:a16="http://schemas.microsoft.com/office/drawing/2014/main" id="{1F84A626-FD32-4851-A27F-E3730FAEC48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
              <a:extLst>
                <a:ext uri="{FF2B5EF4-FFF2-40B4-BE49-F238E27FC236}">
                  <a16:creationId xmlns:a16="http://schemas.microsoft.com/office/drawing/2014/main" id="{C0641FEC-0AAF-4F2A-BA96-9882B8A8D20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0">
              <a:extLst>
                <a:ext uri="{FF2B5EF4-FFF2-40B4-BE49-F238E27FC236}">
                  <a16:creationId xmlns:a16="http://schemas.microsoft.com/office/drawing/2014/main" id="{BDB367F3-AE89-4E44-9344-7F56523303DE}"/>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1">
              <a:extLst>
                <a:ext uri="{FF2B5EF4-FFF2-40B4-BE49-F238E27FC236}">
                  <a16:creationId xmlns:a16="http://schemas.microsoft.com/office/drawing/2014/main" id="{F373DF1A-F5FB-4335-9FB5-A8F75276EDF5}"/>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a:extLst>
              <a:ext uri="{FF2B5EF4-FFF2-40B4-BE49-F238E27FC236}">
                <a16:creationId xmlns:a16="http://schemas.microsoft.com/office/drawing/2014/main" id="{DE6232CE-58A5-44F6-8A94-F6EC16EABB9B}"/>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1" name="Freeform 18">
              <a:extLst>
                <a:ext uri="{FF2B5EF4-FFF2-40B4-BE49-F238E27FC236}">
                  <a16:creationId xmlns:a16="http://schemas.microsoft.com/office/drawing/2014/main" id="{C80CA734-6E05-461D-8F4B-10DC8631F49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15">
              <a:extLst>
                <a:ext uri="{FF2B5EF4-FFF2-40B4-BE49-F238E27FC236}">
                  <a16:creationId xmlns:a16="http://schemas.microsoft.com/office/drawing/2014/main" id="{83B0997B-A2E0-45F3-8408-4314741CEDE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Oval 16">
              <a:extLst>
                <a:ext uri="{FF2B5EF4-FFF2-40B4-BE49-F238E27FC236}">
                  <a16:creationId xmlns:a16="http://schemas.microsoft.com/office/drawing/2014/main" id="{CE996301-0876-4664-9AB7-0DD32E7E8BB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7">
              <a:extLst>
                <a:ext uri="{FF2B5EF4-FFF2-40B4-BE49-F238E27FC236}">
                  <a16:creationId xmlns:a16="http://schemas.microsoft.com/office/drawing/2014/main" id="{CC8C8CF3-B007-4F7F-9F96-32AAB952102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9">
              <a:extLst>
                <a:ext uri="{FF2B5EF4-FFF2-40B4-BE49-F238E27FC236}">
                  <a16:creationId xmlns:a16="http://schemas.microsoft.com/office/drawing/2014/main" id="{471C63B4-A4D6-4554-A177-833873AF1E7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11" name="Picture 4" descr="Coronavirus | United Nations">
            <a:extLst>
              <a:ext uri="{FF2B5EF4-FFF2-40B4-BE49-F238E27FC236}">
                <a16:creationId xmlns:a16="http://schemas.microsoft.com/office/drawing/2014/main" id="{36BC02F2-2F7A-4DFA-9DA0-8E07CC008AB3}"/>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12" name="Group 111">
            <a:extLst>
              <a:ext uri="{FF2B5EF4-FFF2-40B4-BE49-F238E27FC236}">
                <a16:creationId xmlns:a16="http://schemas.microsoft.com/office/drawing/2014/main" id="{29929E15-6491-4031-A2E1-61AE179CE7A0}"/>
              </a:ext>
            </a:extLst>
          </p:cNvPr>
          <p:cNvGrpSpPr/>
          <p:nvPr/>
        </p:nvGrpSpPr>
        <p:grpSpPr>
          <a:xfrm>
            <a:off x="9034432" y="122400"/>
            <a:ext cx="537780" cy="533532"/>
            <a:chOff x="411163" y="2006600"/>
            <a:chExt cx="3617913" cy="3589337"/>
          </a:xfrm>
          <a:solidFill>
            <a:schemeClr val="bg1">
              <a:lumMod val="75000"/>
            </a:schemeClr>
          </a:solidFill>
        </p:grpSpPr>
        <p:sp>
          <p:nvSpPr>
            <p:cNvPr id="113" name="Freeform 5">
              <a:extLst>
                <a:ext uri="{FF2B5EF4-FFF2-40B4-BE49-F238E27FC236}">
                  <a16:creationId xmlns:a16="http://schemas.microsoft.com/office/drawing/2014/main" id="{52B4F285-CAA6-42D1-BD06-3B44E8873F3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Oval 6">
              <a:extLst>
                <a:ext uri="{FF2B5EF4-FFF2-40B4-BE49-F238E27FC236}">
                  <a16:creationId xmlns:a16="http://schemas.microsoft.com/office/drawing/2014/main" id="{2E4A70AE-50CE-4879-8B5D-C59CEBB0FD8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7">
              <a:extLst>
                <a:ext uri="{FF2B5EF4-FFF2-40B4-BE49-F238E27FC236}">
                  <a16:creationId xmlns:a16="http://schemas.microsoft.com/office/drawing/2014/main" id="{A0A2ED06-E491-431A-8A72-B780A4DB0FAE}"/>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8">
              <a:extLst>
                <a:ext uri="{FF2B5EF4-FFF2-40B4-BE49-F238E27FC236}">
                  <a16:creationId xmlns:a16="http://schemas.microsoft.com/office/drawing/2014/main" id="{453B42A6-4B2E-4017-8645-AE907EA54EA2}"/>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9">
              <a:extLst>
                <a:ext uri="{FF2B5EF4-FFF2-40B4-BE49-F238E27FC236}">
                  <a16:creationId xmlns:a16="http://schemas.microsoft.com/office/drawing/2014/main" id="{B7852EBF-2422-41DE-A24D-780207B88CA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8" name="Groupe 825">
            <a:extLst>
              <a:ext uri="{FF2B5EF4-FFF2-40B4-BE49-F238E27FC236}">
                <a16:creationId xmlns:a16="http://schemas.microsoft.com/office/drawing/2014/main" id="{BBA78B61-8D9C-4CF2-AEC8-412887D58BE0}"/>
              </a:ext>
            </a:extLst>
          </p:cNvPr>
          <p:cNvGrpSpPr/>
          <p:nvPr/>
        </p:nvGrpSpPr>
        <p:grpSpPr>
          <a:xfrm>
            <a:off x="9138494" y="248487"/>
            <a:ext cx="337206" cy="317707"/>
            <a:chOff x="6500813" y="736601"/>
            <a:chExt cx="538163" cy="581025"/>
          </a:xfrm>
          <a:solidFill>
            <a:schemeClr val="bg1">
              <a:lumMod val="50000"/>
            </a:schemeClr>
          </a:solidFill>
        </p:grpSpPr>
        <p:sp>
          <p:nvSpPr>
            <p:cNvPr id="119" name="Freeform 37">
              <a:extLst>
                <a:ext uri="{FF2B5EF4-FFF2-40B4-BE49-F238E27FC236}">
                  <a16:creationId xmlns:a16="http://schemas.microsoft.com/office/drawing/2014/main" id="{4B00B3EE-012E-4942-A699-3746ED4344C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38">
              <a:extLst>
                <a:ext uri="{FF2B5EF4-FFF2-40B4-BE49-F238E27FC236}">
                  <a16:creationId xmlns:a16="http://schemas.microsoft.com/office/drawing/2014/main" id="{FC39D126-DD84-4C80-988C-17D234AB273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39">
              <a:extLst>
                <a:ext uri="{FF2B5EF4-FFF2-40B4-BE49-F238E27FC236}">
                  <a16:creationId xmlns:a16="http://schemas.microsoft.com/office/drawing/2014/main" id="{9C607A75-4BD3-4213-9816-8BC5D3DB69E6}"/>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0">
              <a:extLst>
                <a:ext uri="{FF2B5EF4-FFF2-40B4-BE49-F238E27FC236}">
                  <a16:creationId xmlns:a16="http://schemas.microsoft.com/office/drawing/2014/main" id="{4E5545E5-8D37-4CBC-9C44-45C8BBEFDD63}"/>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1">
              <a:extLst>
                <a:ext uri="{FF2B5EF4-FFF2-40B4-BE49-F238E27FC236}">
                  <a16:creationId xmlns:a16="http://schemas.microsoft.com/office/drawing/2014/main" id="{F882F3C4-F394-4D0D-A034-FAFE9CEE448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2">
              <a:extLst>
                <a:ext uri="{FF2B5EF4-FFF2-40B4-BE49-F238E27FC236}">
                  <a16:creationId xmlns:a16="http://schemas.microsoft.com/office/drawing/2014/main" id="{32CEE3F6-14FA-4839-8133-D880F90E69F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3">
              <a:extLst>
                <a:ext uri="{FF2B5EF4-FFF2-40B4-BE49-F238E27FC236}">
                  <a16:creationId xmlns:a16="http://schemas.microsoft.com/office/drawing/2014/main" id="{3ACFA8F1-753C-4E4F-8666-A3B0AE1DCC21}"/>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4">
              <a:extLst>
                <a:ext uri="{FF2B5EF4-FFF2-40B4-BE49-F238E27FC236}">
                  <a16:creationId xmlns:a16="http://schemas.microsoft.com/office/drawing/2014/main" id="{AA7A0F8D-D994-4AA2-A967-8CF1C7CE0B5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5">
              <a:extLst>
                <a:ext uri="{FF2B5EF4-FFF2-40B4-BE49-F238E27FC236}">
                  <a16:creationId xmlns:a16="http://schemas.microsoft.com/office/drawing/2014/main" id="{15ADB006-AE4D-4969-98DA-CB6285CA332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6">
              <a:extLst>
                <a:ext uri="{FF2B5EF4-FFF2-40B4-BE49-F238E27FC236}">
                  <a16:creationId xmlns:a16="http://schemas.microsoft.com/office/drawing/2014/main" id="{7A8219A9-8331-43FE-9B23-9C55AFC39394}"/>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47">
              <a:extLst>
                <a:ext uri="{FF2B5EF4-FFF2-40B4-BE49-F238E27FC236}">
                  <a16:creationId xmlns:a16="http://schemas.microsoft.com/office/drawing/2014/main" id="{0F611089-0761-411F-A1AB-67556930B30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48">
              <a:extLst>
                <a:ext uri="{FF2B5EF4-FFF2-40B4-BE49-F238E27FC236}">
                  <a16:creationId xmlns:a16="http://schemas.microsoft.com/office/drawing/2014/main" id="{6E53283A-AC77-4A6D-AA4C-A378E9560D6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9">
              <a:extLst>
                <a:ext uri="{FF2B5EF4-FFF2-40B4-BE49-F238E27FC236}">
                  <a16:creationId xmlns:a16="http://schemas.microsoft.com/office/drawing/2014/main" id="{CE94CE30-7AD7-4158-93D5-5A8203F0127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0">
              <a:extLst>
                <a:ext uri="{FF2B5EF4-FFF2-40B4-BE49-F238E27FC236}">
                  <a16:creationId xmlns:a16="http://schemas.microsoft.com/office/drawing/2014/main" id="{E1558E0B-CC40-46B5-A59C-4C4D6955B47E}"/>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1">
              <a:extLst>
                <a:ext uri="{FF2B5EF4-FFF2-40B4-BE49-F238E27FC236}">
                  <a16:creationId xmlns:a16="http://schemas.microsoft.com/office/drawing/2014/main" id="{6FA0471B-81C2-4BF9-AF04-70629CD8057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2">
              <a:extLst>
                <a:ext uri="{FF2B5EF4-FFF2-40B4-BE49-F238E27FC236}">
                  <a16:creationId xmlns:a16="http://schemas.microsoft.com/office/drawing/2014/main" id="{F9755FD5-3929-44E4-8EF5-5B5EE5493D7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3">
              <a:extLst>
                <a:ext uri="{FF2B5EF4-FFF2-40B4-BE49-F238E27FC236}">
                  <a16:creationId xmlns:a16="http://schemas.microsoft.com/office/drawing/2014/main" id="{26C42F2D-671B-4D11-B77C-4560F441958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4">
              <a:extLst>
                <a:ext uri="{FF2B5EF4-FFF2-40B4-BE49-F238E27FC236}">
                  <a16:creationId xmlns:a16="http://schemas.microsoft.com/office/drawing/2014/main" id="{4B3737D2-064D-4D70-8745-251CA4552B0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5">
              <a:extLst>
                <a:ext uri="{FF2B5EF4-FFF2-40B4-BE49-F238E27FC236}">
                  <a16:creationId xmlns:a16="http://schemas.microsoft.com/office/drawing/2014/main" id="{59461631-31AF-4455-AB55-C34DE4EF7CD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6">
              <a:extLst>
                <a:ext uri="{FF2B5EF4-FFF2-40B4-BE49-F238E27FC236}">
                  <a16:creationId xmlns:a16="http://schemas.microsoft.com/office/drawing/2014/main" id="{FD7E38CB-A0CB-46D0-8E8B-5A6BEE84826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7">
              <a:extLst>
                <a:ext uri="{FF2B5EF4-FFF2-40B4-BE49-F238E27FC236}">
                  <a16:creationId xmlns:a16="http://schemas.microsoft.com/office/drawing/2014/main" id="{778573CF-FCEF-4540-BEFC-978EA39D879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8">
              <a:extLst>
                <a:ext uri="{FF2B5EF4-FFF2-40B4-BE49-F238E27FC236}">
                  <a16:creationId xmlns:a16="http://schemas.microsoft.com/office/drawing/2014/main" id="{8560AC09-70A1-489B-8DB0-5640604AD6E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9">
              <a:extLst>
                <a:ext uri="{FF2B5EF4-FFF2-40B4-BE49-F238E27FC236}">
                  <a16:creationId xmlns:a16="http://schemas.microsoft.com/office/drawing/2014/main" id="{86E56593-CA24-4D7B-8D59-A2FC3CBC6B27}"/>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0">
              <a:extLst>
                <a:ext uri="{FF2B5EF4-FFF2-40B4-BE49-F238E27FC236}">
                  <a16:creationId xmlns:a16="http://schemas.microsoft.com/office/drawing/2014/main" id="{79A5A686-E4AA-44F3-91AB-B7892E130F8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1">
              <a:extLst>
                <a:ext uri="{FF2B5EF4-FFF2-40B4-BE49-F238E27FC236}">
                  <a16:creationId xmlns:a16="http://schemas.microsoft.com/office/drawing/2014/main" id="{EA17FE34-B567-45D5-94C1-F2AD65FD45D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2">
              <a:extLst>
                <a:ext uri="{FF2B5EF4-FFF2-40B4-BE49-F238E27FC236}">
                  <a16:creationId xmlns:a16="http://schemas.microsoft.com/office/drawing/2014/main" id="{B07B3DC1-96AB-4A7F-A51D-F9D259D4041F}"/>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3">
              <a:extLst>
                <a:ext uri="{FF2B5EF4-FFF2-40B4-BE49-F238E27FC236}">
                  <a16:creationId xmlns:a16="http://schemas.microsoft.com/office/drawing/2014/main" id="{F34E1113-9F33-41E5-BC08-C8F28328B9B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4">
              <a:extLst>
                <a:ext uri="{FF2B5EF4-FFF2-40B4-BE49-F238E27FC236}">
                  <a16:creationId xmlns:a16="http://schemas.microsoft.com/office/drawing/2014/main" id="{EA1202E5-2923-4C69-B502-37F4A8F7B5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5">
              <a:extLst>
                <a:ext uri="{FF2B5EF4-FFF2-40B4-BE49-F238E27FC236}">
                  <a16:creationId xmlns:a16="http://schemas.microsoft.com/office/drawing/2014/main" id="{D88EC895-8670-454E-8F22-DB11958E30B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6">
              <a:extLst>
                <a:ext uri="{FF2B5EF4-FFF2-40B4-BE49-F238E27FC236}">
                  <a16:creationId xmlns:a16="http://schemas.microsoft.com/office/drawing/2014/main" id="{1B5426DE-444F-4ACF-8055-3AA2B6EB2B1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7">
              <a:extLst>
                <a:ext uri="{FF2B5EF4-FFF2-40B4-BE49-F238E27FC236}">
                  <a16:creationId xmlns:a16="http://schemas.microsoft.com/office/drawing/2014/main" id="{3005DBF5-23BB-4C23-AC0D-51F4452B3C7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8">
              <a:extLst>
                <a:ext uri="{FF2B5EF4-FFF2-40B4-BE49-F238E27FC236}">
                  <a16:creationId xmlns:a16="http://schemas.microsoft.com/office/drawing/2014/main" id="{A2C0B235-F518-437F-B57D-F3F121F737DA}"/>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9">
              <a:extLst>
                <a:ext uri="{FF2B5EF4-FFF2-40B4-BE49-F238E27FC236}">
                  <a16:creationId xmlns:a16="http://schemas.microsoft.com/office/drawing/2014/main" id="{3243673A-8DFA-4294-8376-B684CA97FEE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0">
              <a:extLst>
                <a:ext uri="{FF2B5EF4-FFF2-40B4-BE49-F238E27FC236}">
                  <a16:creationId xmlns:a16="http://schemas.microsoft.com/office/drawing/2014/main" id="{19A3D974-5CD9-4506-BD60-4B45E4FCE3A1}"/>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1">
              <a:extLst>
                <a:ext uri="{FF2B5EF4-FFF2-40B4-BE49-F238E27FC236}">
                  <a16:creationId xmlns:a16="http://schemas.microsoft.com/office/drawing/2014/main" id="{C0CFE3C2-B787-4955-9E99-14383C444C69}"/>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2">
              <a:extLst>
                <a:ext uri="{FF2B5EF4-FFF2-40B4-BE49-F238E27FC236}">
                  <a16:creationId xmlns:a16="http://schemas.microsoft.com/office/drawing/2014/main" id="{FD9A6C35-9142-445D-AAA8-AD7B4AD99E4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3">
              <a:extLst>
                <a:ext uri="{FF2B5EF4-FFF2-40B4-BE49-F238E27FC236}">
                  <a16:creationId xmlns:a16="http://schemas.microsoft.com/office/drawing/2014/main" id="{C8B4DFCA-DD0C-41C4-A258-1F56428A6E59}"/>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4">
              <a:extLst>
                <a:ext uri="{FF2B5EF4-FFF2-40B4-BE49-F238E27FC236}">
                  <a16:creationId xmlns:a16="http://schemas.microsoft.com/office/drawing/2014/main" id="{3365970F-1E66-4757-8FBD-956F9D12A818}"/>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5">
              <a:extLst>
                <a:ext uri="{FF2B5EF4-FFF2-40B4-BE49-F238E27FC236}">
                  <a16:creationId xmlns:a16="http://schemas.microsoft.com/office/drawing/2014/main" id="{85782BDD-36E3-4B38-AE22-6F3767BA7E14}"/>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6">
              <a:extLst>
                <a:ext uri="{FF2B5EF4-FFF2-40B4-BE49-F238E27FC236}">
                  <a16:creationId xmlns:a16="http://schemas.microsoft.com/office/drawing/2014/main" id="{69DCBB6B-BC82-40C5-892C-8E50FF281EC7}"/>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7">
              <a:extLst>
                <a:ext uri="{FF2B5EF4-FFF2-40B4-BE49-F238E27FC236}">
                  <a16:creationId xmlns:a16="http://schemas.microsoft.com/office/drawing/2014/main" id="{5EE83710-3817-434D-B160-0B5577D9C0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8">
              <a:extLst>
                <a:ext uri="{FF2B5EF4-FFF2-40B4-BE49-F238E27FC236}">
                  <a16:creationId xmlns:a16="http://schemas.microsoft.com/office/drawing/2014/main" id="{F6BC2B37-8862-4B90-A2EF-6F82925831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9">
              <a:extLst>
                <a:ext uri="{FF2B5EF4-FFF2-40B4-BE49-F238E27FC236}">
                  <a16:creationId xmlns:a16="http://schemas.microsoft.com/office/drawing/2014/main" id="{9DCC595D-E444-4C3D-A038-8B052F8FA14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0">
              <a:extLst>
                <a:ext uri="{FF2B5EF4-FFF2-40B4-BE49-F238E27FC236}">
                  <a16:creationId xmlns:a16="http://schemas.microsoft.com/office/drawing/2014/main" id="{01B89B07-FBF1-46E6-A46B-FD21F40B1C5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1">
              <a:extLst>
                <a:ext uri="{FF2B5EF4-FFF2-40B4-BE49-F238E27FC236}">
                  <a16:creationId xmlns:a16="http://schemas.microsoft.com/office/drawing/2014/main" id="{A82BCBAA-2A78-4FA1-8ADE-5853DA173E60}"/>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2">
              <a:extLst>
                <a:ext uri="{FF2B5EF4-FFF2-40B4-BE49-F238E27FC236}">
                  <a16:creationId xmlns:a16="http://schemas.microsoft.com/office/drawing/2014/main" id="{21DBC3AE-EB03-4626-BA99-D51C69B2163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83">
              <a:extLst>
                <a:ext uri="{FF2B5EF4-FFF2-40B4-BE49-F238E27FC236}">
                  <a16:creationId xmlns:a16="http://schemas.microsoft.com/office/drawing/2014/main" id="{959814CE-2FC1-4DF8-9AF8-1158E6827543}"/>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84">
              <a:extLst>
                <a:ext uri="{FF2B5EF4-FFF2-40B4-BE49-F238E27FC236}">
                  <a16:creationId xmlns:a16="http://schemas.microsoft.com/office/drawing/2014/main" id="{F2E09E56-FD65-4045-A015-F8405D6258F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85">
              <a:extLst>
                <a:ext uri="{FF2B5EF4-FFF2-40B4-BE49-F238E27FC236}">
                  <a16:creationId xmlns:a16="http://schemas.microsoft.com/office/drawing/2014/main" id="{8C4B36BF-303A-4FB5-95CE-99E37E0372F1}"/>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70" name="Rectangle 169">
            <a:extLst>
              <a:ext uri="{FF2B5EF4-FFF2-40B4-BE49-F238E27FC236}">
                <a16:creationId xmlns:a16="http://schemas.microsoft.com/office/drawing/2014/main" id="{DA6B9641-EBD1-4A27-AF26-E0114DD99342}"/>
              </a:ext>
            </a:extLst>
          </p:cNvPr>
          <p:cNvSpPr/>
          <p:nvPr/>
        </p:nvSpPr>
        <p:spPr>
          <a:xfrm>
            <a:off x="8337760" y="1776992"/>
            <a:ext cx="3139742" cy="44458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C8D7724C-62D3-4FE9-9C2B-8FAACF4BD237}"/>
              </a:ext>
            </a:extLst>
          </p:cNvPr>
          <p:cNvSpPr/>
          <p:nvPr/>
        </p:nvSpPr>
        <p:spPr>
          <a:xfrm>
            <a:off x="8423843" y="1855107"/>
            <a:ext cx="1437603" cy="270195"/>
          </a:xfrm>
          <a:prstGeom prst="rect">
            <a:avLst/>
          </a:pr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Existing</a:t>
            </a:r>
          </a:p>
        </p:txBody>
      </p:sp>
      <p:sp>
        <p:nvSpPr>
          <p:cNvPr id="177" name="Rectangle 176">
            <a:extLst>
              <a:ext uri="{FF2B5EF4-FFF2-40B4-BE49-F238E27FC236}">
                <a16:creationId xmlns:a16="http://schemas.microsoft.com/office/drawing/2014/main" id="{C056DF14-EB38-4D5C-8592-D9E29A7B4EEF}"/>
              </a:ext>
            </a:extLst>
          </p:cNvPr>
          <p:cNvSpPr/>
          <p:nvPr/>
        </p:nvSpPr>
        <p:spPr>
          <a:xfrm>
            <a:off x="9978528" y="1855107"/>
            <a:ext cx="1437603" cy="270195"/>
          </a:xfrm>
          <a:prstGeom prst="rect">
            <a:avLst/>
          </a:pr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esired</a:t>
            </a:r>
          </a:p>
        </p:txBody>
      </p:sp>
      <p:graphicFrame>
        <p:nvGraphicFramePr>
          <p:cNvPr id="178" name="Chart 177">
            <a:extLst>
              <a:ext uri="{FF2B5EF4-FFF2-40B4-BE49-F238E27FC236}">
                <a16:creationId xmlns:a16="http://schemas.microsoft.com/office/drawing/2014/main" id="{72E10959-F30D-49CF-AE7A-FDA7051BAA30}"/>
              </a:ext>
            </a:extLst>
          </p:cNvPr>
          <p:cNvGraphicFramePr/>
          <p:nvPr>
            <p:extLst>
              <p:ext uri="{D42A27DB-BD31-4B8C-83A1-F6EECF244321}">
                <p14:modId xmlns:p14="http://schemas.microsoft.com/office/powerpoint/2010/main" val="186363324"/>
              </p:ext>
            </p:extLst>
          </p:nvPr>
        </p:nvGraphicFramePr>
        <p:xfrm>
          <a:off x="8384631" y="2369761"/>
          <a:ext cx="3084404" cy="10985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9" name="Chart 178">
            <a:extLst>
              <a:ext uri="{FF2B5EF4-FFF2-40B4-BE49-F238E27FC236}">
                <a16:creationId xmlns:a16="http://schemas.microsoft.com/office/drawing/2014/main" id="{1DA69EB0-1999-4C9D-8428-1F4E55D2B696}"/>
              </a:ext>
            </a:extLst>
          </p:cNvPr>
          <p:cNvGraphicFramePr/>
          <p:nvPr>
            <p:extLst>
              <p:ext uri="{D42A27DB-BD31-4B8C-83A1-F6EECF244321}">
                <p14:modId xmlns:p14="http://schemas.microsoft.com/office/powerpoint/2010/main" val="3791922997"/>
              </p:ext>
            </p:extLst>
          </p:nvPr>
        </p:nvGraphicFramePr>
        <p:xfrm>
          <a:off x="8384631" y="3469090"/>
          <a:ext cx="3084404" cy="1098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0" name="Chart 179">
            <a:extLst>
              <a:ext uri="{FF2B5EF4-FFF2-40B4-BE49-F238E27FC236}">
                <a16:creationId xmlns:a16="http://schemas.microsoft.com/office/drawing/2014/main" id="{866321E4-006B-4AA2-A56E-9B0582E2B48B}"/>
              </a:ext>
            </a:extLst>
          </p:cNvPr>
          <p:cNvGraphicFramePr/>
          <p:nvPr>
            <p:extLst>
              <p:ext uri="{D42A27DB-BD31-4B8C-83A1-F6EECF244321}">
                <p14:modId xmlns:p14="http://schemas.microsoft.com/office/powerpoint/2010/main" val="2620478964"/>
              </p:ext>
            </p:extLst>
          </p:nvPr>
        </p:nvGraphicFramePr>
        <p:xfrm>
          <a:off x="8384631" y="4534530"/>
          <a:ext cx="3084404" cy="1098517"/>
        </p:xfrm>
        <a:graphic>
          <a:graphicData uri="http://schemas.openxmlformats.org/drawingml/2006/chart">
            <c:chart xmlns:c="http://schemas.openxmlformats.org/drawingml/2006/chart" xmlns:r="http://schemas.openxmlformats.org/officeDocument/2006/relationships" r:id="rId7"/>
          </a:graphicData>
        </a:graphic>
      </p:graphicFrame>
      <p:grpSp>
        <p:nvGrpSpPr>
          <p:cNvPr id="181" name="Group 180">
            <a:extLst>
              <a:ext uri="{FF2B5EF4-FFF2-40B4-BE49-F238E27FC236}">
                <a16:creationId xmlns:a16="http://schemas.microsoft.com/office/drawing/2014/main" id="{9D661FEC-9E48-48D3-9162-085B412DC49C}"/>
              </a:ext>
            </a:extLst>
          </p:cNvPr>
          <p:cNvGrpSpPr/>
          <p:nvPr/>
        </p:nvGrpSpPr>
        <p:grpSpPr>
          <a:xfrm>
            <a:off x="8337760" y="2262076"/>
            <a:ext cx="3131274" cy="3234139"/>
            <a:chOff x="3170872" y="1754677"/>
            <a:chExt cx="6110699" cy="3234139"/>
          </a:xfrm>
        </p:grpSpPr>
        <p:cxnSp>
          <p:nvCxnSpPr>
            <p:cNvPr id="182" name="Straight Connector 181">
              <a:extLst>
                <a:ext uri="{FF2B5EF4-FFF2-40B4-BE49-F238E27FC236}">
                  <a16:creationId xmlns:a16="http://schemas.microsoft.com/office/drawing/2014/main" id="{EC2A361C-6919-4164-B9B2-308899561028}"/>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0084BB97-7D1A-496B-AA16-A39998581399}"/>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696DCD4-C35E-4123-898E-A94E49D973F4}"/>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E8185586-C527-4F55-BD67-A3243D6C5381}"/>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333F8C0B-978F-4D8B-86DE-5FF773D6B4F1}"/>
              </a:ext>
            </a:extLst>
          </p:cNvPr>
          <p:cNvGrpSpPr/>
          <p:nvPr/>
        </p:nvGrpSpPr>
        <p:grpSpPr>
          <a:xfrm>
            <a:off x="1061600" y="1776992"/>
            <a:ext cx="10407434" cy="4445834"/>
            <a:chOff x="3152579" y="1374368"/>
            <a:chExt cx="10407434" cy="4445834"/>
          </a:xfrm>
        </p:grpSpPr>
        <p:grpSp>
          <p:nvGrpSpPr>
            <p:cNvPr id="204" name="Group 203">
              <a:extLst>
                <a:ext uri="{FF2B5EF4-FFF2-40B4-BE49-F238E27FC236}">
                  <a16:creationId xmlns:a16="http://schemas.microsoft.com/office/drawing/2014/main" id="{F87F1D05-9A8B-4EE5-8607-3D79720445AB}"/>
                </a:ext>
              </a:extLst>
            </p:cNvPr>
            <p:cNvGrpSpPr/>
            <p:nvPr/>
          </p:nvGrpSpPr>
          <p:grpSpPr>
            <a:xfrm>
              <a:off x="3152579" y="1374368"/>
              <a:ext cx="10407434" cy="4445834"/>
              <a:chOff x="3124004" y="1269593"/>
              <a:chExt cx="10407434" cy="4445834"/>
            </a:xfrm>
          </p:grpSpPr>
          <p:sp>
            <p:nvSpPr>
              <p:cNvPr id="209" name="Rectangle 208">
                <a:extLst>
                  <a:ext uri="{FF2B5EF4-FFF2-40B4-BE49-F238E27FC236}">
                    <a16:creationId xmlns:a16="http://schemas.microsoft.com/office/drawing/2014/main" id="{0A84007A-D639-408E-B42B-60D88D3D591F}"/>
                  </a:ext>
                </a:extLst>
              </p:cNvPr>
              <p:cNvSpPr/>
              <p:nvPr/>
            </p:nvSpPr>
            <p:spPr>
              <a:xfrm>
                <a:off x="3170874" y="1269593"/>
                <a:ext cx="6110698" cy="4445834"/>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TextBox 209">
                <a:extLst>
                  <a:ext uri="{FF2B5EF4-FFF2-40B4-BE49-F238E27FC236}">
                    <a16:creationId xmlns:a16="http://schemas.microsoft.com/office/drawing/2014/main" id="{18B3DAB5-EDCE-4FF2-89FF-0ED8741A61B4}"/>
                  </a:ext>
                </a:extLst>
              </p:cNvPr>
              <p:cNvSpPr txBox="1"/>
              <p:nvPr/>
            </p:nvSpPr>
            <p:spPr>
              <a:xfrm>
                <a:off x="3124004" y="5086350"/>
                <a:ext cx="10407434" cy="548020"/>
              </a:xfrm>
              <a:prstGeom prst="rect">
                <a:avLst/>
              </a:prstGeom>
              <a:solidFill>
                <a:schemeClr val="accent3"/>
              </a:solidFill>
            </p:spPr>
            <p:txBody>
              <a:bodyPr wrap="square" lIns="0" tIns="0" rIns="0" bIns="0" rtlCol="0" anchor="ctr">
                <a:noAutofit/>
              </a:bodyPr>
              <a:lstStyle/>
              <a:p>
                <a:pPr algn="ctr"/>
                <a:r>
                  <a:rPr lang="en-US" sz="1200" dirty="0">
                    <a:solidFill>
                      <a:schemeClr val="bg1"/>
                    </a:solidFill>
                  </a:rPr>
                  <a:t>HNWIs increasingly want to move </a:t>
                </a:r>
                <a:r>
                  <a:rPr lang="en-US" sz="1200" b="1" dirty="0">
                    <a:solidFill>
                      <a:schemeClr val="bg1"/>
                    </a:solidFill>
                  </a:rPr>
                  <a:t>away from asset-based fee </a:t>
                </a:r>
                <a:r>
                  <a:rPr lang="en-US" sz="1200" dirty="0">
                    <a:solidFill>
                      <a:schemeClr val="bg1"/>
                    </a:solidFill>
                  </a:rPr>
                  <a:t>structure</a:t>
                </a:r>
                <a:r>
                  <a:rPr lang="en-US" sz="1200" b="1" dirty="0">
                    <a:solidFill>
                      <a:schemeClr val="bg1"/>
                    </a:solidFill>
                  </a:rPr>
                  <a:t> </a:t>
                </a:r>
              </a:p>
              <a:p>
                <a:pPr algn="ctr"/>
                <a:r>
                  <a:rPr lang="en-US" sz="1200" b="1" dirty="0">
                    <a:solidFill>
                      <a:schemeClr val="bg1"/>
                    </a:solidFill>
                  </a:rPr>
                  <a:t>to a performance-based </a:t>
                </a:r>
                <a:r>
                  <a:rPr lang="en-US" sz="1200" dirty="0">
                    <a:solidFill>
                      <a:schemeClr val="bg1"/>
                    </a:solidFill>
                  </a:rPr>
                  <a:t>and</a:t>
                </a:r>
                <a:r>
                  <a:rPr lang="en-US" sz="1200" b="1" dirty="0">
                    <a:solidFill>
                      <a:schemeClr val="bg1"/>
                    </a:solidFill>
                  </a:rPr>
                  <a:t> service-based fee </a:t>
                </a:r>
                <a:r>
                  <a:rPr lang="en-US" sz="1200" dirty="0">
                    <a:solidFill>
                      <a:schemeClr val="bg1"/>
                    </a:solidFill>
                  </a:rPr>
                  <a:t>structure</a:t>
                </a:r>
              </a:p>
            </p:txBody>
          </p:sp>
          <p:sp>
            <p:nvSpPr>
              <p:cNvPr id="211" name="TextBox 210">
                <a:extLst>
                  <a:ext uri="{FF2B5EF4-FFF2-40B4-BE49-F238E27FC236}">
                    <a16:creationId xmlns:a16="http://schemas.microsoft.com/office/drawing/2014/main" id="{4ACEB7DE-03E3-4535-A7D6-616C8E3F3A1C}"/>
                  </a:ext>
                </a:extLst>
              </p:cNvPr>
              <p:cNvSpPr txBox="1">
                <a:spLocks/>
              </p:cNvSpPr>
              <p:nvPr/>
            </p:nvSpPr>
            <p:spPr>
              <a:xfrm>
                <a:off x="3396387" y="1940259"/>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investment performance</a:t>
                </a:r>
              </a:p>
            </p:txBody>
          </p:sp>
          <p:sp>
            <p:nvSpPr>
              <p:cNvPr id="212" name="TextBox 211">
                <a:extLst>
                  <a:ext uri="{FF2B5EF4-FFF2-40B4-BE49-F238E27FC236}">
                    <a16:creationId xmlns:a16="http://schemas.microsoft.com/office/drawing/2014/main" id="{BEE7BF97-11C9-4EBA-A84A-930C4E34DF71}"/>
                  </a:ext>
                </a:extLst>
              </p:cNvPr>
              <p:cNvSpPr txBox="1">
                <a:spLocks/>
              </p:cNvSpPr>
              <p:nvPr/>
            </p:nvSpPr>
            <p:spPr>
              <a:xfrm>
                <a:off x="3367810" y="30396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overall service quality </a:t>
                </a:r>
                <a:r>
                  <a:rPr lang="en-US" sz="1200" dirty="0"/>
                  <a:t>(not just investment performance)</a:t>
                </a:r>
              </a:p>
            </p:txBody>
          </p:sp>
          <p:sp>
            <p:nvSpPr>
              <p:cNvPr id="213" name="TextBox 212">
                <a:extLst>
                  <a:ext uri="{FF2B5EF4-FFF2-40B4-BE49-F238E27FC236}">
                    <a16:creationId xmlns:a16="http://schemas.microsoft.com/office/drawing/2014/main" id="{337C28C8-B0D6-4984-B1EC-0A4474777766}"/>
                  </a:ext>
                </a:extLst>
              </p:cNvPr>
              <p:cNvSpPr txBox="1">
                <a:spLocks/>
              </p:cNvSpPr>
              <p:nvPr/>
            </p:nvSpPr>
            <p:spPr>
              <a:xfrm>
                <a:off x="3367810" y="40858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As a percentage of assets</a:t>
                </a:r>
              </a:p>
            </p:txBody>
          </p:sp>
          <p:sp>
            <p:nvSpPr>
              <p:cNvPr id="214" name="Rectangle 213">
                <a:extLst>
                  <a:ext uri="{FF2B5EF4-FFF2-40B4-BE49-F238E27FC236}">
                    <a16:creationId xmlns:a16="http://schemas.microsoft.com/office/drawing/2014/main" id="{C4174222-5867-4E89-90C2-9D1F1D80ECE8}"/>
                  </a:ext>
                </a:extLst>
              </p:cNvPr>
              <p:cNvSpPr/>
              <p:nvPr/>
            </p:nvSpPr>
            <p:spPr>
              <a:xfrm>
                <a:off x="3396387" y="1347708"/>
                <a:ext cx="271444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ee Structure</a:t>
                </a:r>
              </a:p>
            </p:txBody>
          </p:sp>
          <p:sp>
            <p:nvSpPr>
              <p:cNvPr id="215" name="Rectangle 214">
                <a:extLst>
                  <a:ext uri="{FF2B5EF4-FFF2-40B4-BE49-F238E27FC236}">
                    <a16:creationId xmlns:a16="http://schemas.microsoft.com/office/drawing/2014/main" id="{76E6AE14-5861-466B-A7A8-601B74AC3AC0}"/>
                  </a:ext>
                </a:extLst>
              </p:cNvPr>
              <p:cNvSpPr/>
              <p:nvPr/>
            </p:nvSpPr>
            <p:spPr>
              <a:xfrm>
                <a:off x="6227913"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xisting</a:t>
                </a:r>
              </a:p>
            </p:txBody>
          </p:sp>
          <p:sp>
            <p:nvSpPr>
              <p:cNvPr id="216" name="Rectangle 215">
                <a:extLst>
                  <a:ext uri="{FF2B5EF4-FFF2-40B4-BE49-F238E27FC236}">
                    <a16:creationId xmlns:a16="http://schemas.microsoft.com/office/drawing/2014/main" id="{A417A62A-1D50-4AD2-9608-ACA947C9BD9F}"/>
                  </a:ext>
                </a:extLst>
              </p:cNvPr>
              <p:cNvSpPr/>
              <p:nvPr/>
            </p:nvSpPr>
            <p:spPr>
              <a:xfrm>
                <a:off x="7782598"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ired</a:t>
                </a:r>
              </a:p>
            </p:txBody>
          </p:sp>
          <p:graphicFrame>
            <p:nvGraphicFramePr>
              <p:cNvPr id="217" name="Chart 216">
                <a:extLst>
                  <a:ext uri="{FF2B5EF4-FFF2-40B4-BE49-F238E27FC236}">
                    <a16:creationId xmlns:a16="http://schemas.microsoft.com/office/drawing/2014/main" id="{BCE34D7B-2342-4261-84ED-747B7BB7DCB5}"/>
                  </a:ext>
                </a:extLst>
              </p:cNvPr>
              <p:cNvGraphicFramePr/>
              <p:nvPr/>
            </p:nvGraphicFramePr>
            <p:xfrm>
              <a:off x="6188701" y="1862362"/>
              <a:ext cx="3084404" cy="109851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8" name="Chart 217">
                <a:extLst>
                  <a:ext uri="{FF2B5EF4-FFF2-40B4-BE49-F238E27FC236}">
                    <a16:creationId xmlns:a16="http://schemas.microsoft.com/office/drawing/2014/main" id="{F9501DCF-162C-44A3-A0D4-B29F4D972E2F}"/>
                  </a:ext>
                </a:extLst>
              </p:cNvPr>
              <p:cNvGraphicFramePr/>
              <p:nvPr/>
            </p:nvGraphicFramePr>
            <p:xfrm>
              <a:off x="6188701" y="2961691"/>
              <a:ext cx="3084404" cy="109851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9" name="Chart 218">
                <a:extLst>
                  <a:ext uri="{FF2B5EF4-FFF2-40B4-BE49-F238E27FC236}">
                    <a16:creationId xmlns:a16="http://schemas.microsoft.com/office/drawing/2014/main" id="{496BBC3C-20B6-41BE-B1CA-E52197E3E111}"/>
                  </a:ext>
                </a:extLst>
              </p:cNvPr>
              <p:cNvGraphicFramePr/>
              <p:nvPr/>
            </p:nvGraphicFramePr>
            <p:xfrm>
              <a:off x="6188701" y="4027131"/>
              <a:ext cx="3084404" cy="1098517"/>
            </p:xfrm>
            <a:graphic>
              <a:graphicData uri="http://schemas.openxmlformats.org/drawingml/2006/chart">
                <c:chart xmlns:c="http://schemas.openxmlformats.org/drawingml/2006/chart" xmlns:r="http://schemas.openxmlformats.org/officeDocument/2006/relationships" r:id="rId10"/>
              </a:graphicData>
            </a:graphic>
          </p:graphicFrame>
          <p:grpSp>
            <p:nvGrpSpPr>
              <p:cNvPr id="220" name="Group 219">
                <a:extLst>
                  <a:ext uri="{FF2B5EF4-FFF2-40B4-BE49-F238E27FC236}">
                    <a16:creationId xmlns:a16="http://schemas.microsoft.com/office/drawing/2014/main" id="{B0A0E68C-09D4-4E90-B7EA-9AF268AA1E9B}"/>
                  </a:ext>
                </a:extLst>
              </p:cNvPr>
              <p:cNvGrpSpPr/>
              <p:nvPr/>
            </p:nvGrpSpPr>
            <p:grpSpPr>
              <a:xfrm>
                <a:off x="3162405" y="1754677"/>
                <a:ext cx="6110699" cy="3234139"/>
                <a:chOff x="3170872" y="1754677"/>
                <a:chExt cx="6110699" cy="3234139"/>
              </a:xfrm>
            </p:grpSpPr>
            <p:cxnSp>
              <p:nvCxnSpPr>
                <p:cNvPr id="221" name="Straight Connector 220">
                  <a:extLst>
                    <a:ext uri="{FF2B5EF4-FFF2-40B4-BE49-F238E27FC236}">
                      <a16:creationId xmlns:a16="http://schemas.microsoft.com/office/drawing/2014/main" id="{1C3AACAE-E0AD-4692-9B7E-391E1DBDD76F}"/>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06C65D7D-9E97-402A-ABD7-8AACE5D226AA}"/>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4545E70B-7E32-43C5-9588-060E12422198}"/>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8199755-0B04-410D-9017-23EFAACC4D7D}"/>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5" name="Group 204">
              <a:extLst>
                <a:ext uri="{FF2B5EF4-FFF2-40B4-BE49-F238E27FC236}">
                  <a16:creationId xmlns:a16="http://schemas.microsoft.com/office/drawing/2014/main" id="{ECBEBBBF-9C6C-485A-9AF4-E97F762E00DB}"/>
                </a:ext>
              </a:extLst>
            </p:cNvPr>
            <p:cNvGrpSpPr/>
            <p:nvPr/>
          </p:nvGrpSpPr>
          <p:grpSpPr>
            <a:xfrm>
              <a:off x="8909164" y="1980615"/>
              <a:ext cx="390412" cy="2964155"/>
              <a:chOff x="8909164" y="2418765"/>
              <a:chExt cx="390412" cy="2964155"/>
            </a:xfrm>
          </p:grpSpPr>
          <p:sp>
            <p:nvSpPr>
              <p:cNvPr id="206" name="Star: 5 Points 205">
                <a:extLst>
                  <a:ext uri="{FF2B5EF4-FFF2-40B4-BE49-F238E27FC236}">
                    <a16:creationId xmlns:a16="http://schemas.microsoft.com/office/drawing/2014/main" id="{FD91F053-1BF8-41F8-9B9D-062452C4F37C}"/>
                  </a:ext>
                </a:extLst>
              </p:cNvPr>
              <p:cNvSpPr/>
              <p:nvPr/>
            </p:nvSpPr>
            <p:spPr>
              <a:xfrm>
                <a:off x="8909164" y="241876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Star: 5 Points 206">
                <a:extLst>
                  <a:ext uri="{FF2B5EF4-FFF2-40B4-BE49-F238E27FC236}">
                    <a16:creationId xmlns:a16="http://schemas.microsoft.com/office/drawing/2014/main" id="{3EA06302-3D61-4838-997C-64DEA9B3B1B5}"/>
                  </a:ext>
                </a:extLst>
              </p:cNvPr>
              <p:cNvSpPr/>
              <p:nvPr/>
            </p:nvSpPr>
            <p:spPr>
              <a:xfrm>
                <a:off x="8909164" y="3950250"/>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8" name="Graphic 207" descr="No sign">
                <a:extLst>
                  <a:ext uri="{FF2B5EF4-FFF2-40B4-BE49-F238E27FC236}">
                    <a16:creationId xmlns:a16="http://schemas.microsoft.com/office/drawing/2014/main" id="{715432E0-CE7D-44B2-ABD6-ED0C31DB282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41301" y="5024645"/>
                <a:ext cx="358275" cy="358275"/>
              </a:xfrm>
              <a:prstGeom prst="rect">
                <a:avLst/>
              </a:prstGeom>
              <a:ln>
                <a:noFill/>
              </a:ln>
            </p:spPr>
          </p:pic>
        </p:grpSp>
      </p:grpSp>
      <p:sp>
        <p:nvSpPr>
          <p:cNvPr id="226" name="Text Box 1031">
            <a:extLst>
              <a:ext uri="{FF2B5EF4-FFF2-40B4-BE49-F238E27FC236}">
                <a16:creationId xmlns:a16="http://schemas.microsoft.com/office/drawing/2014/main" id="{DAE04C1F-67D2-44EC-909A-0AD12343A61A}"/>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HNWIs’ concerns with fees and their preferred fee structures</a:t>
            </a:r>
          </a:p>
        </p:txBody>
      </p:sp>
      <p:sp>
        <p:nvSpPr>
          <p:cNvPr id="6" name="Rectangle 5">
            <a:extLst>
              <a:ext uri="{FF2B5EF4-FFF2-40B4-BE49-F238E27FC236}">
                <a16:creationId xmlns:a16="http://schemas.microsoft.com/office/drawing/2014/main" id="{717D4EC9-A5BC-4665-AF1E-E5AB3B5566DC}"/>
              </a:ext>
            </a:extLst>
          </p:cNvPr>
          <p:cNvSpPr/>
          <p:nvPr/>
        </p:nvSpPr>
        <p:spPr>
          <a:xfrm>
            <a:off x="4153186" y="1362418"/>
            <a:ext cx="3116559" cy="369332"/>
          </a:xfrm>
          <a:prstGeom prst="rect">
            <a:avLst/>
          </a:prstGeom>
        </p:spPr>
        <p:txBody>
          <a:bodyPr wrap="none">
            <a:spAutoFit/>
          </a:bodyPr>
          <a:lstStyle/>
          <a:p>
            <a:r>
              <a:rPr lang="en-US" b="1" i="1" dirty="0">
                <a:solidFill>
                  <a:prstClr val="black"/>
                </a:solidFill>
              </a:rPr>
              <a:t>Jan</a:t>
            </a:r>
            <a:r>
              <a:rPr lang="en-US" b="1" i="1" dirty="0">
                <a:solidFill>
                  <a:prstClr val="black"/>
                </a:solidFill>
                <a:latin typeface="Verdana" panose="020B0604030504040204" pitchFamily="34" charset="0"/>
                <a:ea typeface="Verdana" panose="020B0604030504040204" pitchFamily="34" charset="0"/>
              </a:rPr>
              <a:t>–</a:t>
            </a:r>
            <a:r>
              <a:rPr lang="en-US" b="1" i="1" dirty="0">
                <a:solidFill>
                  <a:prstClr val="black"/>
                </a:solidFill>
              </a:rPr>
              <a:t>Feb 2020 (global)</a:t>
            </a:r>
            <a:endParaRPr lang="fr-BE" dirty="0"/>
          </a:p>
        </p:txBody>
      </p:sp>
      <p:sp>
        <p:nvSpPr>
          <p:cNvPr id="7" name="Rectangle 6">
            <a:extLst>
              <a:ext uri="{FF2B5EF4-FFF2-40B4-BE49-F238E27FC236}">
                <a16:creationId xmlns:a16="http://schemas.microsoft.com/office/drawing/2014/main" id="{332D9400-3828-4364-8B5D-8B1B787B4479}"/>
              </a:ext>
            </a:extLst>
          </p:cNvPr>
          <p:cNvSpPr/>
          <p:nvPr/>
        </p:nvSpPr>
        <p:spPr>
          <a:xfrm>
            <a:off x="8303375" y="1362418"/>
            <a:ext cx="3235181" cy="369332"/>
          </a:xfrm>
          <a:prstGeom prst="rect">
            <a:avLst/>
          </a:prstGeom>
        </p:spPr>
        <p:txBody>
          <a:bodyPr wrap="none">
            <a:spAutoFit/>
          </a:bodyPr>
          <a:lstStyle/>
          <a:p>
            <a:r>
              <a:rPr lang="en-US" b="1" i="1" dirty="0">
                <a:solidFill>
                  <a:prstClr val="black"/>
                </a:solidFill>
              </a:rPr>
              <a:t>Jan</a:t>
            </a:r>
            <a:r>
              <a:rPr lang="en-US" b="1" i="1" dirty="0">
                <a:solidFill>
                  <a:prstClr val="black"/>
                </a:solidFill>
                <a:latin typeface="Verdana" panose="020B0604030504040204" pitchFamily="34" charset="0"/>
                <a:ea typeface="Verdana" panose="020B0604030504040204" pitchFamily="34" charset="0"/>
              </a:rPr>
              <a:t>–</a:t>
            </a:r>
            <a:r>
              <a:rPr lang="en-US" b="1" i="1" dirty="0">
                <a:solidFill>
                  <a:prstClr val="black"/>
                </a:solidFill>
              </a:rPr>
              <a:t>Feb 2020 (Europe)</a:t>
            </a:r>
            <a:endParaRPr lang="fr-BE" dirty="0"/>
          </a:p>
        </p:txBody>
      </p:sp>
      <p:sp>
        <p:nvSpPr>
          <p:cNvPr id="227" name="Isosceles Triangle 226">
            <a:extLst>
              <a:ext uri="{FF2B5EF4-FFF2-40B4-BE49-F238E27FC236}">
                <a16:creationId xmlns:a16="http://schemas.microsoft.com/office/drawing/2014/main" id="{C259C28C-4703-4B2D-95D9-505ABEBB631B}"/>
              </a:ext>
            </a:extLst>
          </p:cNvPr>
          <p:cNvSpPr/>
          <p:nvPr/>
        </p:nvSpPr>
        <p:spPr>
          <a:xfrm rot="5400000">
            <a:off x="7557859" y="2923390"/>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8" name="Isosceles Triangle 227">
            <a:extLst>
              <a:ext uri="{FF2B5EF4-FFF2-40B4-BE49-F238E27FC236}">
                <a16:creationId xmlns:a16="http://schemas.microsoft.com/office/drawing/2014/main" id="{8FFBC61D-9AFD-43BD-8CAC-A5EDAA3BCFC9}"/>
              </a:ext>
            </a:extLst>
          </p:cNvPr>
          <p:cNvSpPr/>
          <p:nvPr/>
        </p:nvSpPr>
        <p:spPr>
          <a:xfrm rot="5400000">
            <a:off x="7556522" y="1488807"/>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9" name="Isosceles Triangle 228">
            <a:extLst>
              <a:ext uri="{FF2B5EF4-FFF2-40B4-BE49-F238E27FC236}">
                <a16:creationId xmlns:a16="http://schemas.microsoft.com/office/drawing/2014/main" id="{8A2359F5-0B9C-4F5A-88CF-664DA2B2434A}"/>
              </a:ext>
            </a:extLst>
          </p:cNvPr>
          <p:cNvSpPr/>
          <p:nvPr/>
        </p:nvSpPr>
        <p:spPr>
          <a:xfrm rot="5400000">
            <a:off x="7560031" y="4036268"/>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0" name="Isosceles Triangle 229">
            <a:extLst>
              <a:ext uri="{FF2B5EF4-FFF2-40B4-BE49-F238E27FC236}">
                <a16:creationId xmlns:a16="http://schemas.microsoft.com/office/drawing/2014/main" id="{245B57B1-ACF4-4A35-84D5-33E3CF3486AE}"/>
              </a:ext>
            </a:extLst>
          </p:cNvPr>
          <p:cNvSpPr/>
          <p:nvPr/>
        </p:nvSpPr>
        <p:spPr>
          <a:xfrm rot="5400000">
            <a:off x="7563662" y="5066771"/>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2151510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71283D1-CDDF-48F2-93BA-8FA4167FCC6C}"/>
              </a:ext>
            </a:extLst>
          </p:cNvPr>
          <p:cNvGraphicFramePr>
            <a:graphicFrameLocks noChangeAspect="1"/>
          </p:cNvGraphicFramePr>
          <p:nvPr>
            <p:custDataLst>
              <p:tags r:id="rId2"/>
            </p:custDataLst>
            <p:extLst>
              <p:ext uri="{D42A27DB-BD31-4B8C-83A1-F6EECF244321}">
                <p14:modId xmlns:p14="http://schemas.microsoft.com/office/powerpoint/2010/main" val="69543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0"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8B0596-D22A-478B-BCB1-C0624A7BBFD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grpSp>
        <p:nvGrpSpPr>
          <p:cNvPr id="3" name="Group 2">
            <a:extLst>
              <a:ext uri="{FF2B5EF4-FFF2-40B4-BE49-F238E27FC236}">
                <a16:creationId xmlns:a16="http://schemas.microsoft.com/office/drawing/2014/main" id="{262F1729-1086-469A-B551-2829C50E6D89}"/>
              </a:ext>
            </a:extLst>
          </p:cNvPr>
          <p:cNvGrpSpPr/>
          <p:nvPr/>
        </p:nvGrpSpPr>
        <p:grpSpPr>
          <a:xfrm>
            <a:off x="0" y="1294233"/>
            <a:ext cx="12192000" cy="4910669"/>
            <a:chOff x="0" y="1294233"/>
            <a:chExt cx="12192000" cy="4910669"/>
          </a:xfrm>
        </p:grpSpPr>
        <p:sp>
          <p:nvSpPr>
            <p:cNvPr id="27" name="Rectangle 26">
              <a:extLst>
                <a:ext uri="{FF2B5EF4-FFF2-40B4-BE49-F238E27FC236}">
                  <a16:creationId xmlns:a16="http://schemas.microsoft.com/office/drawing/2014/main" id="{35CAAC74-1D0A-4C1B-B74A-4F1080E57538}"/>
                </a:ext>
              </a:extLst>
            </p:cNvPr>
            <p:cNvSpPr/>
            <p:nvPr/>
          </p:nvSpPr>
          <p:spPr>
            <a:xfrm>
              <a:off x="0" y="576369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Focus for value-added services are the young HNWIs across wealth bands.</a:t>
              </a:r>
            </a:p>
          </p:txBody>
        </p:sp>
        <p:sp>
          <p:nvSpPr>
            <p:cNvPr id="37" name="Rectangle 36">
              <a:extLst>
                <a:ext uri="{FF2B5EF4-FFF2-40B4-BE49-F238E27FC236}">
                  <a16:creationId xmlns:a16="http://schemas.microsoft.com/office/drawing/2014/main" id="{888C54A5-227C-4490-BDD6-25C06F542351}"/>
                </a:ext>
              </a:extLst>
            </p:cNvPr>
            <p:cNvSpPr>
              <a:spLocks/>
            </p:cNvSpPr>
            <p:nvPr/>
          </p:nvSpPr>
          <p:spPr>
            <a:xfrm>
              <a:off x="4028893" y="2030882"/>
              <a:ext cx="3131447" cy="1640600"/>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 name="Group 40">
              <a:extLst>
                <a:ext uri="{FF2B5EF4-FFF2-40B4-BE49-F238E27FC236}">
                  <a16:creationId xmlns:a16="http://schemas.microsoft.com/office/drawing/2014/main" id="{83E4D546-005C-466F-B772-1B1FCB052842}"/>
                </a:ext>
              </a:extLst>
            </p:cNvPr>
            <p:cNvGrpSpPr/>
            <p:nvPr/>
          </p:nvGrpSpPr>
          <p:grpSpPr>
            <a:xfrm>
              <a:off x="7267575" y="1294233"/>
              <a:ext cx="4220808" cy="4309125"/>
              <a:chOff x="7267575" y="1400563"/>
              <a:chExt cx="4220808" cy="4309125"/>
            </a:xfrm>
          </p:grpSpPr>
          <p:sp>
            <p:nvSpPr>
              <p:cNvPr id="46" name="Rectangle: Rounded Corners 45">
                <a:extLst>
                  <a:ext uri="{FF2B5EF4-FFF2-40B4-BE49-F238E27FC236}">
                    <a16:creationId xmlns:a16="http://schemas.microsoft.com/office/drawing/2014/main" id="{D20D5486-6206-409B-9F7E-ED4D0D86918C}"/>
                  </a:ext>
                </a:extLst>
              </p:cNvPr>
              <p:cNvSpPr/>
              <p:nvPr/>
            </p:nvSpPr>
            <p:spPr>
              <a:xfrm rot="5400000">
                <a:off x="7528832" y="1750137"/>
                <a:ext cx="4309125" cy="3609977"/>
              </a:xfrm>
              <a:prstGeom prst="roundRect">
                <a:avLst>
                  <a:gd name="adj" fmla="val 0"/>
                </a:avLst>
              </a:prstGeom>
              <a:solidFill>
                <a:schemeClr val="accent2">
                  <a:lumMod val="20000"/>
                  <a:lumOff val="8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5D877ABB-9C1D-4B30-BF61-61A97F12A122}"/>
                  </a:ext>
                </a:extLst>
              </p:cNvPr>
              <p:cNvSpPr/>
              <p:nvPr/>
            </p:nvSpPr>
            <p:spPr>
              <a:xfrm>
                <a:off x="8017113" y="1598879"/>
                <a:ext cx="3328808" cy="369332"/>
              </a:xfrm>
              <a:prstGeom prst="rect">
                <a:avLst/>
              </a:prstGeom>
            </p:spPr>
            <p:txBody>
              <a:bodyPr wrap="square" lIns="0" tIns="0" rIns="0" bIns="0">
                <a:spAutoFit/>
              </a:bodyPr>
              <a:lstStyle/>
              <a:p>
                <a:pPr algn="ctr"/>
                <a:r>
                  <a:rPr lang="en-US" sz="1200" b="1" dirty="0"/>
                  <a:t>Most preferred value-added services for Ultra HNWIs under 40</a:t>
                </a:r>
              </a:p>
            </p:txBody>
          </p:sp>
          <p:sp>
            <p:nvSpPr>
              <p:cNvPr id="45" name="Rectangle 44"/>
              <p:cNvSpPr/>
              <p:nvPr/>
            </p:nvSpPr>
            <p:spPr>
              <a:xfrm>
                <a:off x="8106954" y="2225786"/>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al estate investment advice</a:t>
                </a:r>
              </a:p>
            </p:txBody>
          </p:sp>
          <p:sp>
            <p:nvSpPr>
              <p:cNvPr id="94" name="Rectangle 93"/>
              <p:cNvSpPr/>
              <p:nvPr/>
            </p:nvSpPr>
            <p:spPr>
              <a:xfrm>
                <a:off x="8106954" y="2928365"/>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Tax planning</a:t>
                </a:r>
              </a:p>
            </p:txBody>
          </p:sp>
          <p:sp>
            <p:nvSpPr>
              <p:cNvPr id="95" name="Rectangle 94"/>
              <p:cNvSpPr/>
              <p:nvPr/>
            </p:nvSpPr>
            <p:spPr>
              <a:xfrm>
                <a:off x="8106954" y="3630944"/>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Legal consultation</a:t>
                </a:r>
              </a:p>
            </p:txBody>
          </p:sp>
          <p:sp>
            <p:nvSpPr>
              <p:cNvPr id="100" name="Rectangle 99"/>
              <p:cNvSpPr/>
              <p:nvPr/>
            </p:nvSpPr>
            <p:spPr>
              <a:xfrm>
                <a:off x="8106954" y="4333523"/>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heritance advice</a:t>
                </a:r>
              </a:p>
            </p:txBody>
          </p:sp>
          <p:sp>
            <p:nvSpPr>
              <p:cNvPr id="32" name="Arrow: Right 31">
                <a:extLst>
                  <a:ext uri="{FF2B5EF4-FFF2-40B4-BE49-F238E27FC236}">
                    <a16:creationId xmlns:a16="http://schemas.microsoft.com/office/drawing/2014/main" id="{9E70B779-1610-4688-876D-8408BC772019}"/>
                  </a:ext>
                </a:extLst>
              </p:cNvPr>
              <p:cNvSpPr/>
              <p:nvPr/>
            </p:nvSpPr>
            <p:spPr>
              <a:xfrm>
                <a:off x="7267575" y="2676355"/>
                <a:ext cx="542109" cy="590719"/>
              </a:xfrm>
              <a:prstGeom prst="rightArrow">
                <a:avLst>
                  <a:gd name="adj1" fmla="val 56449"/>
                  <a:gd name="adj2" fmla="val 3704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F0B531FC-EA3A-4545-A7FA-C22486155A23}"/>
                  </a:ext>
                </a:extLst>
              </p:cNvPr>
              <p:cNvSpPr/>
              <p:nvPr/>
            </p:nvSpPr>
            <p:spPr>
              <a:xfrm>
                <a:off x="8106954" y="5036104"/>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Services catering to </a:t>
                </a:r>
              </a:p>
              <a:p>
                <a:pPr algn="ctr"/>
                <a:r>
                  <a:rPr lang="en-IN" sz="1200" b="1" dirty="0">
                    <a:solidFill>
                      <a:schemeClr val="tx1"/>
                    </a:solidFill>
                  </a:rPr>
                  <a:t>investments of </a:t>
                </a:r>
                <a:r>
                  <a:rPr lang="en-IN" sz="1200" b="1" dirty="0" err="1">
                    <a:solidFill>
                      <a:schemeClr val="tx1"/>
                    </a:solidFill>
                  </a:rPr>
                  <a:t>passion</a:t>
                </a:r>
                <a:r>
                  <a:rPr lang="en-IN" sz="1200" b="1" baseline="30000" dirty="0" err="1">
                    <a:solidFill>
                      <a:schemeClr val="tx1"/>
                    </a:solidFill>
                  </a:rPr>
                  <a:t>a</a:t>
                </a:r>
                <a:endParaRPr lang="en-US" sz="1200" b="1" baseline="30000" dirty="0">
                  <a:solidFill>
                    <a:schemeClr val="tx1"/>
                  </a:solidFill>
                </a:endParaRPr>
              </a:p>
            </p:txBody>
          </p:sp>
        </p:grpSp>
      </p:grpSp>
      <p:sp>
        <p:nvSpPr>
          <p:cNvPr id="2" name="Title 1"/>
          <p:cNvSpPr>
            <a:spLocks noGrp="1"/>
          </p:cNvSpPr>
          <p:nvPr>
            <p:ph type="title"/>
          </p:nvPr>
        </p:nvSpPr>
        <p:spPr>
          <a:xfrm>
            <a:off x="227349" y="160527"/>
            <a:ext cx="8739444" cy="844589"/>
          </a:xfrm>
        </p:spPr>
        <p:txBody>
          <a:bodyPr/>
          <a:lstStyle/>
          <a:p>
            <a:r>
              <a:rPr lang="en-US" sz="2200" dirty="0"/>
              <a:t>Value-added services can positively influence client experience</a:t>
            </a:r>
          </a:p>
        </p:txBody>
      </p:sp>
      <p:sp>
        <p:nvSpPr>
          <p:cNvPr id="34" name="Rectangle 5">
            <a:extLst>
              <a:ext uri="{FF2B5EF4-FFF2-40B4-BE49-F238E27FC236}">
                <a16:creationId xmlns:a16="http://schemas.microsoft.com/office/drawing/2014/main" id="{100CA45B-DB82-4049-AE4E-E2696F75D398}"/>
              </a:ext>
            </a:extLst>
          </p:cNvPr>
          <p:cNvSpPr>
            <a:spLocks noChangeArrowheads="1"/>
          </p:cNvSpPr>
          <p:nvPr>
            <p:custDataLst>
              <p:tags r:id="rId4"/>
            </p:custDataLst>
          </p:nvPr>
        </p:nvSpPr>
        <p:spPr bwMode="auto">
          <a:xfrm>
            <a:off x="227349" y="6245858"/>
            <a:ext cx="11376024" cy="369332"/>
          </a:xfrm>
          <a:prstGeom prst="rect">
            <a:avLst/>
          </a:prstGeom>
          <a:noFill/>
          <a:ln w="9525">
            <a:noFill/>
            <a:miter lim="800000"/>
            <a:headEnd/>
            <a:tailEnd/>
          </a:ln>
          <a:effectLst/>
        </p:spPr>
        <p:txBody>
          <a:bodyPr wrap="square" lIns="0" tIns="0" rIns="0" bIns="0" anchor="b">
            <a:spAutoFit/>
          </a:bodyPr>
          <a:lstStyle/>
          <a:p>
            <a:pPr marL="514350" indent="-514350"/>
            <a:r>
              <a:rPr lang="en-US" sz="800" dirty="0"/>
              <a:t>a.       Investments of passion include investments in a</a:t>
            </a:r>
            <a:r>
              <a:rPr lang="en-IN" sz="800" dirty="0"/>
              <a:t>rt, wine, collectibles, luxury cars, yachts, etc.</a:t>
            </a:r>
            <a:endParaRPr lang="en-US" sz="800" dirty="0"/>
          </a:p>
          <a:p>
            <a:pPr marL="514350" indent="-514350"/>
            <a:r>
              <a:rPr lang="en-US" sz="800" dirty="0"/>
              <a:t>Note: The percentage of HNWIs willing to pay for the value-added services are calculated from among the HNWIs who said they will be positively influenced if their wealth management firm provides value-added services. </a:t>
            </a:r>
          </a:p>
          <a:p>
            <a:pPr marL="514350" indent="-514350"/>
            <a:r>
              <a:rPr lang="en-US" sz="800" dirty="0"/>
              <a:t>Source:	Capgemini Financial Services Analysis, 2020; Capgemini Global HNWI Insights Survey 2020.</a:t>
            </a:r>
          </a:p>
        </p:txBody>
      </p:sp>
      <p:grpSp>
        <p:nvGrpSpPr>
          <p:cNvPr id="7" name="Group 6">
            <a:extLst>
              <a:ext uri="{FF2B5EF4-FFF2-40B4-BE49-F238E27FC236}">
                <a16:creationId xmlns:a16="http://schemas.microsoft.com/office/drawing/2014/main" id="{1D91F7D6-18F8-4FB9-9148-CFAEADCA5BB3}"/>
              </a:ext>
            </a:extLst>
          </p:cNvPr>
          <p:cNvGrpSpPr/>
          <p:nvPr/>
        </p:nvGrpSpPr>
        <p:grpSpPr>
          <a:xfrm>
            <a:off x="251788" y="1294233"/>
            <a:ext cx="6908552" cy="4439858"/>
            <a:chOff x="251788" y="1294233"/>
            <a:chExt cx="6908552" cy="4439858"/>
          </a:xfrm>
        </p:grpSpPr>
        <p:sp>
          <p:nvSpPr>
            <p:cNvPr id="13" name="Rectangle: Rounded Corners 12">
              <a:extLst>
                <a:ext uri="{FF2B5EF4-FFF2-40B4-BE49-F238E27FC236}">
                  <a16:creationId xmlns:a16="http://schemas.microsoft.com/office/drawing/2014/main" id="{ED234CA9-F12C-48E2-AFDC-2A88BD707182}"/>
                </a:ext>
              </a:extLst>
            </p:cNvPr>
            <p:cNvSpPr/>
            <p:nvPr/>
          </p:nvSpPr>
          <p:spPr>
            <a:xfrm>
              <a:off x="251788" y="1994440"/>
              <a:ext cx="470107" cy="1640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t>HNWIs </a:t>
              </a:r>
            </a:p>
            <a:p>
              <a:pPr algn="ctr"/>
              <a:r>
                <a:rPr lang="en-US" sz="1200" b="1" dirty="0"/>
                <a:t>(&lt;40 </a:t>
              </a:r>
              <a:r>
                <a:rPr lang="en-US" sz="1200" b="1" dirty="0" err="1"/>
                <a:t>yrs</a:t>
              </a:r>
              <a:r>
                <a:rPr lang="en-US" sz="1200" b="1" dirty="0"/>
                <a:t>)</a:t>
              </a:r>
            </a:p>
          </p:txBody>
        </p:sp>
        <p:sp>
          <p:nvSpPr>
            <p:cNvPr id="38" name="Rectangle: Rounded Corners 37">
              <a:extLst>
                <a:ext uri="{FF2B5EF4-FFF2-40B4-BE49-F238E27FC236}">
                  <a16:creationId xmlns:a16="http://schemas.microsoft.com/office/drawing/2014/main" id="{B08C298C-DAA4-417C-99A7-2088C45174F2}"/>
                </a:ext>
              </a:extLst>
            </p:cNvPr>
            <p:cNvSpPr/>
            <p:nvPr/>
          </p:nvSpPr>
          <p:spPr>
            <a:xfrm>
              <a:off x="251788" y="3745381"/>
              <a:ext cx="470107" cy="1640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t>HNWIs </a:t>
              </a:r>
            </a:p>
            <a:p>
              <a:pPr algn="ctr"/>
              <a:r>
                <a:rPr lang="en-US" sz="1200" b="1" dirty="0"/>
                <a:t>(60+ </a:t>
              </a:r>
              <a:r>
                <a:rPr lang="en-US" sz="1200" b="1" dirty="0" err="1"/>
                <a:t>yrs</a:t>
              </a:r>
              <a:r>
                <a:rPr lang="en-US" sz="1200" b="1" dirty="0"/>
                <a:t>)</a:t>
              </a:r>
            </a:p>
          </p:txBody>
        </p:sp>
        <p:sp>
          <p:nvSpPr>
            <p:cNvPr id="14" name="Rectangle: Rounded Corners 13">
              <a:extLst>
                <a:ext uri="{FF2B5EF4-FFF2-40B4-BE49-F238E27FC236}">
                  <a16:creationId xmlns:a16="http://schemas.microsoft.com/office/drawing/2014/main" id="{A30B4371-7FA2-4003-8C94-1EDDB66131BE}"/>
                </a:ext>
              </a:extLst>
            </p:cNvPr>
            <p:cNvSpPr>
              <a:spLocks/>
            </p:cNvSpPr>
            <p:nvPr/>
          </p:nvSpPr>
          <p:spPr>
            <a:xfrm>
              <a:off x="821329" y="1294233"/>
              <a:ext cx="3131447" cy="612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a:solidFill>
                    <a:schemeClr val="tx1"/>
                  </a:solidFill>
                </a:rPr>
                <a:t>Millionaires Next Door</a:t>
              </a:r>
            </a:p>
          </p:txBody>
        </p:sp>
        <p:sp>
          <p:nvSpPr>
            <p:cNvPr id="40" name="Rectangle: Rounded Corners 39">
              <a:extLst>
                <a:ext uri="{FF2B5EF4-FFF2-40B4-BE49-F238E27FC236}">
                  <a16:creationId xmlns:a16="http://schemas.microsoft.com/office/drawing/2014/main" id="{2707505F-82BA-435B-AD85-4570891B30F1}"/>
                </a:ext>
              </a:extLst>
            </p:cNvPr>
            <p:cNvSpPr>
              <a:spLocks/>
            </p:cNvSpPr>
            <p:nvPr/>
          </p:nvSpPr>
          <p:spPr>
            <a:xfrm>
              <a:off x="4048849" y="1294233"/>
              <a:ext cx="3111491" cy="612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a:solidFill>
                    <a:schemeClr val="tx1"/>
                  </a:solidFill>
                </a:rPr>
                <a:t>Ultra-HNWIs</a:t>
              </a:r>
            </a:p>
          </p:txBody>
        </p:sp>
        <p:grpSp>
          <p:nvGrpSpPr>
            <p:cNvPr id="29" name="Group 28"/>
            <p:cNvGrpSpPr/>
            <p:nvPr/>
          </p:nvGrpSpPr>
          <p:grpSpPr>
            <a:xfrm>
              <a:off x="781772" y="5426314"/>
              <a:ext cx="5690386" cy="307777"/>
              <a:chOff x="-413528" y="5541341"/>
              <a:chExt cx="5690386" cy="307777"/>
            </a:xfrm>
          </p:grpSpPr>
          <p:sp>
            <p:nvSpPr>
              <p:cNvPr id="26" name="Rectangle 25"/>
              <p:cNvSpPr/>
              <p:nvPr/>
            </p:nvSpPr>
            <p:spPr>
              <a:xfrm>
                <a:off x="-413528" y="5588039"/>
                <a:ext cx="306848" cy="1715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2531536" y="5588039"/>
                <a:ext cx="306848" cy="1715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28949" y="5541341"/>
                <a:ext cx="2328689" cy="307777"/>
              </a:xfrm>
              <a:prstGeom prst="rect">
                <a:avLst/>
              </a:prstGeom>
              <a:noFill/>
            </p:spPr>
            <p:txBody>
              <a:bodyPr wrap="square" lIns="0" tIns="0" rIns="0" bIns="0" rtlCol="0">
                <a:spAutoFit/>
              </a:bodyPr>
              <a:lstStyle/>
              <a:p>
                <a:r>
                  <a:rPr lang="en-IN" sz="1000" dirty="0"/>
                  <a:t>% customers interested by </a:t>
                </a:r>
              </a:p>
              <a:p>
                <a:r>
                  <a:rPr lang="en-IN" sz="1000" dirty="0"/>
                  <a:t>value-added services</a:t>
                </a:r>
                <a:endParaRPr lang="en-US" sz="1000" dirty="0"/>
              </a:p>
            </p:txBody>
          </p:sp>
          <p:sp>
            <p:nvSpPr>
              <p:cNvPr id="81" name="TextBox 80">
                <a:extLst>
                  <a:ext uri="{FF2B5EF4-FFF2-40B4-BE49-F238E27FC236}">
                    <a16:creationId xmlns:a16="http://schemas.microsoft.com/office/drawing/2014/main" id="{DF996B94-901B-4938-AC85-6D14CDBF8A99}"/>
                  </a:ext>
                </a:extLst>
              </p:cNvPr>
              <p:cNvSpPr txBox="1"/>
              <p:nvPr/>
            </p:nvSpPr>
            <p:spPr>
              <a:xfrm>
                <a:off x="2948169" y="5541341"/>
                <a:ext cx="2328689" cy="307777"/>
              </a:xfrm>
              <a:prstGeom prst="rect">
                <a:avLst/>
              </a:prstGeom>
              <a:noFill/>
            </p:spPr>
            <p:txBody>
              <a:bodyPr wrap="square" lIns="0" tIns="0" rIns="0" bIns="0" rtlCol="0">
                <a:spAutoFit/>
              </a:bodyPr>
              <a:lstStyle/>
              <a:p>
                <a:r>
                  <a:rPr lang="en-IN" sz="1000" dirty="0"/>
                  <a:t>% customers willing to pay for value-added services</a:t>
                </a:r>
                <a:endParaRPr lang="en-US" sz="1000" dirty="0"/>
              </a:p>
            </p:txBody>
          </p:sp>
        </p:grpSp>
      </p:grpSp>
      <p:grpSp>
        <p:nvGrpSpPr>
          <p:cNvPr id="4" name="Group 3">
            <a:extLst>
              <a:ext uri="{FF2B5EF4-FFF2-40B4-BE49-F238E27FC236}">
                <a16:creationId xmlns:a16="http://schemas.microsoft.com/office/drawing/2014/main" id="{CA96F067-EFFB-4BFC-A6A0-AE589BE2F040}"/>
              </a:ext>
            </a:extLst>
          </p:cNvPr>
          <p:cNvGrpSpPr/>
          <p:nvPr/>
        </p:nvGrpSpPr>
        <p:grpSpPr>
          <a:xfrm>
            <a:off x="899135" y="2028720"/>
            <a:ext cx="2986566" cy="3417879"/>
            <a:chOff x="899135" y="2135050"/>
            <a:chExt cx="2986566" cy="3417879"/>
          </a:xfrm>
        </p:grpSpPr>
        <p:grpSp>
          <p:nvGrpSpPr>
            <p:cNvPr id="21" name="Group 20"/>
            <p:cNvGrpSpPr/>
            <p:nvPr/>
          </p:nvGrpSpPr>
          <p:grpSpPr>
            <a:xfrm>
              <a:off x="899135" y="2135050"/>
              <a:ext cx="2986566" cy="1640600"/>
              <a:chOff x="879257" y="2163625"/>
              <a:chExt cx="2986566" cy="1640600"/>
            </a:xfrm>
          </p:grpSpPr>
          <p:graphicFrame>
            <p:nvGraphicFramePr>
              <p:cNvPr id="11" name="Chart 10"/>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9" name="Chart 38"/>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0"/>
              </a:graphicData>
            </a:graphic>
          </p:graphicFrame>
          <p:sp>
            <p:nvSpPr>
              <p:cNvPr id="16" name="Rectangle 15"/>
              <p:cNvSpPr/>
              <p:nvPr/>
            </p:nvSpPr>
            <p:spPr>
              <a:xfrm>
                <a:off x="1254428" y="3228975"/>
                <a:ext cx="598241" cy="276999"/>
              </a:xfrm>
              <a:prstGeom prst="rect">
                <a:avLst/>
              </a:prstGeom>
            </p:spPr>
            <p:txBody>
              <a:bodyPr wrap="none">
                <a:spAutoFit/>
              </a:bodyPr>
              <a:lstStyle/>
              <a:p>
                <a:pPr algn="ctr"/>
                <a:r>
                  <a:rPr lang="en-US" sz="1200" b="1" dirty="0">
                    <a:solidFill>
                      <a:schemeClr val="bg1"/>
                    </a:solidFill>
                  </a:rPr>
                  <a:t>38%</a:t>
                </a:r>
              </a:p>
            </p:txBody>
          </p:sp>
          <p:sp>
            <p:nvSpPr>
              <p:cNvPr id="43" name="Rectangle 42"/>
              <p:cNvSpPr/>
              <p:nvPr/>
            </p:nvSpPr>
            <p:spPr>
              <a:xfrm>
                <a:off x="2888662" y="3228975"/>
                <a:ext cx="598242" cy="276999"/>
              </a:xfrm>
              <a:prstGeom prst="rect">
                <a:avLst/>
              </a:prstGeom>
            </p:spPr>
            <p:txBody>
              <a:bodyPr wrap="none">
                <a:spAutoFit/>
              </a:bodyPr>
              <a:lstStyle/>
              <a:p>
                <a:pPr algn="ctr"/>
                <a:r>
                  <a:rPr lang="en-US" sz="1200" b="1" dirty="0">
                    <a:solidFill>
                      <a:schemeClr val="bg1"/>
                    </a:solidFill>
                  </a:rPr>
                  <a:t>55%</a:t>
                </a:r>
              </a:p>
            </p:txBody>
          </p:sp>
          <p:cxnSp>
            <p:nvCxnSpPr>
              <p:cNvPr id="18" name="Straight Connector 17"/>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a:cxnSpLocks/>
              </p:cNvCxnSpPr>
              <p:nvPr/>
            </p:nvCxnSpPr>
            <p:spPr>
              <a:xfrm flipV="1">
                <a:off x="1904172" y="2295526"/>
                <a:ext cx="914400" cy="866774"/>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25" name="Straight Connector 24">
              <a:extLst>
                <a:ext uri="{FF2B5EF4-FFF2-40B4-BE49-F238E27FC236}">
                  <a16:creationId xmlns:a16="http://schemas.microsoft.com/office/drawing/2014/main" id="{765A24B6-56DE-45EE-BF58-7E0C93D0EDE6}"/>
                </a:ext>
              </a:extLst>
            </p:cNvPr>
            <p:cNvCxnSpPr/>
            <p:nvPr/>
          </p:nvCxnSpPr>
          <p:spPr>
            <a:xfrm flipV="1">
              <a:off x="899135" y="364807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899135" y="3912329"/>
              <a:ext cx="2986566" cy="1640600"/>
              <a:chOff x="879257" y="2163625"/>
              <a:chExt cx="2986566" cy="1640600"/>
            </a:xfrm>
          </p:grpSpPr>
          <p:graphicFrame>
            <p:nvGraphicFramePr>
              <p:cNvPr id="129" name="Chart 128"/>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0" name="Chart 129"/>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2"/>
              </a:graphicData>
            </a:graphic>
          </p:graphicFrame>
          <p:sp>
            <p:nvSpPr>
              <p:cNvPr id="133" name="Rectangle 132"/>
              <p:cNvSpPr/>
              <p:nvPr/>
            </p:nvSpPr>
            <p:spPr>
              <a:xfrm>
                <a:off x="1229027" y="3270250"/>
                <a:ext cx="598242" cy="276999"/>
              </a:xfrm>
              <a:prstGeom prst="rect">
                <a:avLst/>
              </a:prstGeom>
            </p:spPr>
            <p:txBody>
              <a:bodyPr wrap="none">
                <a:spAutoFit/>
              </a:bodyPr>
              <a:lstStyle/>
              <a:p>
                <a:pPr algn="ctr"/>
                <a:r>
                  <a:rPr lang="en-US" sz="1200" b="1" dirty="0">
                    <a:solidFill>
                      <a:schemeClr val="bg1"/>
                    </a:solidFill>
                  </a:rPr>
                  <a:t>35%</a:t>
                </a:r>
              </a:p>
            </p:txBody>
          </p:sp>
          <p:sp>
            <p:nvSpPr>
              <p:cNvPr id="134" name="Rectangle 133"/>
              <p:cNvSpPr/>
              <p:nvPr/>
            </p:nvSpPr>
            <p:spPr>
              <a:xfrm>
                <a:off x="2985926" y="3361196"/>
                <a:ext cx="489236" cy="276999"/>
              </a:xfrm>
              <a:prstGeom prst="rect">
                <a:avLst/>
              </a:prstGeom>
            </p:spPr>
            <p:txBody>
              <a:bodyPr wrap="none">
                <a:spAutoFit/>
              </a:bodyPr>
              <a:lstStyle/>
              <a:p>
                <a:pPr algn="ctr"/>
                <a:r>
                  <a:rPr lang="en-US" sz="1200" b="1" dirty="0"/>
                  <a:t>3%</a:t>
                </a:r>
              </a:p>
            </p:txBody>
          </p:sp>
          <p:cxnSp>
            <p:nvCxnSpPr>
              <p:cNvPr id="135" name="Straight Connector 134"/>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 name="Straight Connector 135"/>
              <p:cNvCxnSpPr>
                <a:cxnSpLocks/>
              </p:cNvCxnSpPr>
              <p:nvPr/>
            </p:nvCxnSpPr>
            <p:spPr>
              <a:xfrm flipV="1">
                <a:off x="1913697" y="2308946"/>
                <a:ext cx="895350" cy="106680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97" name="Straight Connector 96">
              <a:extLst>
                <a:ext uri="{FF2B5EF4-FFF2-40B4-BE49-F238E27FC236}">
                  <a16:creationId xmlns:a16="http://schemas.microsoft.com/office/drawing/2014/main" id="{6BF3659D-3718-4CDC-9F76-E1C37089F76D}"/>
                </a:ext>
              </a:extLst>
            </p:cNvPr>
            <p:cNvCxnSpPr/>
            <p:nvPr/>
          </p:nvCxnSpPr>
          <p:spPr>
            <a:xfrm flipV="1">
              <a:off x="899135" y="542783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FCEF49C3-626C-47DC-B52E-8BB7212E5051}"/>
              </a:ext>
            </a:extLst>
          </p:cNvPr>
          <p:cNvGrpSpPr/>
          <p:nvPr/>
        </p:nvGrpSpPr>
        <p:grpSpPr>
          <a:xfrm>
            <a:off x="4101333" y="2028720"/>
            <a:ext cx="2986566" cy="3417879"/>
            <a:chOff x="4101333" y="2135050"/>
            <a:chExt cx="2986566" cy="3417879"/>
          </a:xfrm>
        </p:grpSpPr>
        <p:grpSp>
          <p:nvGrpSpPr>
            <p:cNvPr id="109" name="Group 108"/>
            <p:cNvGrpSpPr/>
            <p:nvPr/>
          </p:nvGrpSpPr>
          <p:grpSpPr>
            <a:xfrm>
              <a:off x="4101333" y="2135050"/>
              <a:ext cx="2986566" cy="1640600"/>
              <a:chOff x="879257" y="2163625"/>
              <a:chExt cx="2986566" cy="1640600"/>
            </a:xfrm>
          </p:grpSpPr>
          <p:graphicFrame>
            <p:nvGraphicFramePr>
              <p:cNvPr id="110" name="Chart 109"/>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11" name="Chart 110"/>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4"/>
              </a:graphicData>
            </a:graphic>
          </p:graphicFrame>
          <p:sp>
            <p:nvSpPr>
              <p:cNvPr id="114" name="Rectangle 113"/>
              <p:cNvSpPr/>
              <p:nvPr/>
            </p:nvSpPr>
            <p:spPr>
              <a:xfrm>
                <a:off x="1254428" y="3228975"/>
                <a:ext cx="598241" cy="276999"/>
              </a:xfrm>
              <a:prstGeom prst="rect">
                <a:avLst/>
              </a:prstGeom>
            </p:spPr>
            <p:txBody>
              <a:bodyPr wrap="none">
                <a:spAutoFit/>
              </a:bodyPr>
              <a:lstStyle/>
              <a:p>
                <a:pPr algn="ctr"/>
                <a:r>
                  <a:rPr lang="en-US" sz="1200" b="1" dirty="0">
                    <a:solidFill>
                      <a:schemeClr val="bg1"/>
                    </a:solidFill>
                  </a:rPr>
                  <a:t>48%</a:t>
                </a:r>
              </a:p>
            </p:txBody>
          </p:sp>
          <p:sp>
            <p:nvSpPr>
              <p:cNvPr id="115" name="Rectangle 114"/>
              <p:cNvSpPr/>
              <p:nvPr/>
            </p:nvSpPr>
            <p:spPr>
              <a:xfrm>
                <a:off x="2888663" y="3228975"/>
                <a:ext cx="598241" cy="276999"/>
              </a:xfrm>
              <a:prstGeom prst="rect">
                <a:avLst/>
              </a:prstGeom>
            </p:spPr>
            <p:txBody>
              <a:bodyPr wrap="none">
                <a:spAutoFit/>
              </a:bodyPr>
              <a:lstStyle/>
              <a:p>
                <a:pPr algn="ctr"/>
                <a:r>
                  <a:rPr lang="en-US" sz="1200" b="1" dirty="0">
                    <a:solidFill>
                      <a:schemeClr val="bg1"/>
                    </a:solidFill>
                  </a:rPr>
                  <a:t>80%</a:t>
                </a:r>
              </a:p>
            </p:txBody>
          </p:sp>
          <p:cxnSp>
            <p:nvCxnSpPr>
              <p:cNvPr id="116" name="Straight Connector 115"/>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Straight Connector 116"/>
              <p:cNvCxnSpPr>
                <a:cxnSpLocks/>
              </p:cNvCxnSpPr>
              <p:nvPr/>
            </p:nvCxnSpPr>
            <p:spPr>
              <a:xfrm flipV="1">
                <a:off x="1921424" y="2314575"/>
                <a:ext cx="914400" cy="704851"/>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96" name="Straight Connector 95">
              <a:extLst>
                <a:ext uri="{FF2B5EF4-FFF2-40B4-BE49-F238E27FC236}">
                  <a16:creationId xmlns:a16="http://schemas.microsoft.com/office/drawing/2014/main" id="{ED338075-330E-498D-BE4E-90D4B5C776C7}"/>
                </a:ext>
              </a:extLst>
            </p:cNvPr>
            <p:cNvCxnSpPr/>
            <p:nvPr/>
          </p:nvCxnSpPr>
          <p:spPr>
            <a:xfrm flipV="1">
              <a:off x="4187261" y="364807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4101333" y="3912329"/>
              <a:ext cx="2986566" cy="1640600"/>
              <a:chOff x="879257" y="2163625"/>
              <a:chExt cx="2986566" cy="1640600"/>
            </a:xfrm>
          </p:grpSpPr>
          <p:graphicFrame>
            <p:nvGraphicFramePr>
              <p:cNvPr id="121" name="Chart 120"/>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22" name="Chart 121"/>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6"/>
              </a:graphicData>
            </a:graphic>
          </p:graphicFrame>
          <p:sp>
            <p:nvSpPr>
              <p:cNvPr id="125" name="Rectangle 124"/>
              <p:cNvSpPr/>
              <p:nvPr/>
            </p:nvSpPr>
            <p:spPr>
              <a:xfrm>
                <a:off x="1254425" y="3228975"/>
                <a:ext cx="598242" cy="276999"/>
              </a:xfrm>
              <a:prstGeom prst="rect">
                <a:avLst/>
              </a:prstGeom>
            </p:spPr>
            <p:txBody>
              <a:bodyPr wrap="none">
                <a:spAutoFit/>
              </a:bodyPr>
              <a:lstStyle/>
              <a:p>
                <a:pPr algn="ctr"/>
                <a:r>
                  <a:rPr lang="en-US" sz="1200" b="1" dirty="0">
                    <a:solidFill>
                      <a:schemeClr val="bg1"/>
                    </a:solidFill>
                  </a:rPr>
                  <a:t>59%</a:t>
                </a:r>
              </a:p>
            </p:txBody>
          </p:sp>
          <p:sp>
            <p:nvSpPr>
              <p:cNvPr id="126" name="Rectangle 125"/>
              <p:cNvSpPr/>
              <p:nvPr/>
            </p:nvSpPr>
            <p:spPr>
              <a:xfrm>
                <a:off x="2888663" y="3318426"/>
                <a:ext cx="598241" cy="276999"/>
              </a:xfrm>
              <a:prstGeom prst="rect">
                <a:avLst/>
              </a:prstGeom>
            </p:spPr>
            <p:txBody>
              <a:bodyPr wrap="none">
                <a:spAutoFit/>
              </a:bodyPr>
              <a:lstStyle/>
              <a:p>
                <a:pPr algn="ctr"/>
                <a:r>
                  <a:rPr lang="en-US" sz="1200" b="1" dirty="0">
                    <a:solidFill>
                      <a:schemeClr val="bg1"/>
                    </a:solidFill>
                  </a:rPr>
                  <a:t>27%</a:t>
                </a:r>
              </a:p>
            </p:txBody>
          </p:sp>
          <p:cxnSp>
            <p:nvCxnSpPr>
              <p:cNvPr id="127" name="Straight Connector 126"/>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p:cNvCxnSpPr>
                <a:cxnSpLocks/>
              </p:cNvCxnSpPr>
              <p:nvPr/>
            </p:nvCxnSpPr>
            <p:spPr>
              <a:xfrm flipV="1">
                <a:off x="1911899" y="2299422"/>
                <a:ext cx="923925" cy="581024"/>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137" name="Straight Connector 136">
              <a:extLst>
                <a:ext uri="{FF2B5EF4-FFF2-40B4-BE49-F238E27FC236}">
                  <a16:creationId xmlns:a16="http://schemas.microsoft.com/office/drawing/2014/main" id="{21FCD6E0-128C-4AB9-8C5A-D0FBCD78729A}"/>
                </a:ext>
              </a:extLst>
            </p:cNvPr>
            <p:cNvCxnSpPr/>
            <p:nvPr/>
          </p:nvCxnSpPr>
          <p:spPr>
            <a:xfrm flipV="1">
              <a:off x="4187261" y="542783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Text Box 1031">
            <a:extLst>
              <a:ext uri="{FF2B5EF4-FFF2-40B4-BE49-F238E27FC236}">
                <a16:creationId xmlns:a16="http://schemas.microsoft.com/office/drawing/2014/main" id="{DA3F9D8B-0D9E-447B-8B9B-2AA74C241313}"/>
              </a:ext>
            </a:extLst>
          </p:cNvPr>
          <p:cNvSpPr txBox="1">
            <a:spLocks noChangeArrowheads="1"/>
          </p:cNvSpPr>
          <p:nvPr/>
        </p:nvSpPr>
        <p:spPr bwMode="auto">
          <a:xfrm>
            <a:off x="251788" y="866221"/>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Value-added services, importance and willingness to pay, Jan–Feb 2020 (Europe)</a:t>
            </a:r>
          </a:p>
        </p:txBody>
      </p:sp>
      <p:grpSp>
        <p:nvGrpSpPr>
          <p:cNvPr id="62" name="Group 61">
            <a:extLst>
              <a:ext uri="{FF2B5EF4-FFF2-40B4-BE49-F238E27FC236}">
                <a16:creationId xmlns:a16="http://schemas.microsoft.com/office/drawing/2014/main" id="{EA1F8246-A3F2-45C7-9BDA-DF6317C04629}"/>
              </a:ext>
            </a:extLst>
          </p:cNvPr>
          <p:cNvGrpSpPr/>
          <p:nvPr/>
        </p:nvGrpSpPr>
        <p:grpSpPr>
          <a:xfrm>
            <a:off x="9622537" y="85117"/>
            <a:ext cx="559961" cy="608099"/>
            <a:chOff x="9622537" y="85117"/>
            <a:chExt cx="559961" cy="608099"/>
          </a:xfrm>
        </p:grpSpPr>
        <p:sp>
          <p:nvSpPr>
            <p:cNvPr id="63" name="Freeform 10">
              <a:extLst>
                <a:ext uri="{FF2B5EF4-FFF2-40B4-BE49-F238E27FC236}">
                  <a16:creationId xmlns:a16="http://schemas.microsoft.com/office/drawing/2014/main" id="{98B72F8A-B029-41E6-A02C-114FC804F618}"/>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4" name="Freeform 11">
              <a:extLst>
                <a:ext uri="{FF2B5EF4-FFF2-40B4-BE49-F238E27FC236}">
                  <a16:creationId xmlns:a16="http://schemas.microsoft.com/office/drawing/2014/main" id="{02A3698E-840E-40B4-A8F6-A83AD3C35768}"/>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5" name="Freeform 12">
              <a:extLst>
                <a:ext uri="{FF2B5EF4-FFF2-40B4-BE49-F238E27FC236}">
                  <a16:creationId xmlns:a16="http://schemas.microsoft.com/office/drawing/2014/main" id="{ECEC79E2-5B3C-4CB8-B11C-4E3B55201FA0}"/>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7" name="Freeform 13">
              <a:extLst>
                <a:ext uri="{FF2B5EF4-FFF2-40B4-BE49-F238E27FC236}">
                  <a16:creationId xmlns:a16="http://schemas.microsoft.com/office/drawing/2014/main" id="{B7FC03B0-DE8D-408B-814E-8A1149507B92}"/>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8" name="Freeform 14">
              <a:extLst>
                <a:ext uri="{FF2B5EF4-FFF2-40B4-BE49-F238E27FC236}">
                  <a16:creationId xmlns:a16="http://schemas.microsoft.com/office/drawing/2014/main" id="{5A9F70D0-9CD6-4A7A-B2FF-6B842DE4B84D}"/>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9" name="Group 68">
            <a:extLst>
              <a:ext uri="{FF2B5EF4-FFF2-40B4-BE49-F238E27FC236}">
                <a16:creationId xmlns:a16="http://schemas.microsoft.com/office/drawing/2014/main" id="{0D1C23E4-A381-447E-854D-53E1E304D167}"/>
              </a:ext>
            </a:extLst>
          </p:cNvPr>
          <p:cNvGrpSpPr/>
          <p:nvPr/>
        </p:nvGrpSpPr>
        <p:grpSpPr>
          <a:xfrm>
            <a:off x="10232823" y="122400"/>
            <a:ext cx="537308" cy="533532"/>
            <a:chOff x="8169276" y="2006600"/>
            <a:chExt cx="3614737" cy="3589337"/>
          </a:xfrm>
          <a:solidFill>
            <a:schemeClr val="bg1">
              <a:lumMod val="75000"/>
            </a:schemeClr>
          </a:solidFill>
        </p:grpSpPr>
        <p:sp>
          <p:nvSpPr>
            <p:cNvPr id="70" name="Freeform 18">
              <a:extLst>
                <a:ext uri="{FF2B5EF4-FFF2-40B4-BE49-F238E27FC236}">
                  <a16:creationId xmlns:a16="http://schemas.microsoft.com/office/drawing/2014/main" id="{5CDB29DD-427C-4E8C-8913-3A6442409C98}"/>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1" name="Freeform 15">
              <a:extLst>
                <a:ext uri="{FF2B5EF4-FFF2-40B4-BE49-F238E27FC236}">
                  <a16:creationId xmlns:a16="http://schemas.microsoft.com/office/drawing/2014/main" id="{BA82DCF1-DA64-4F27-B461-1772633A75C5}"/>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2" name="Oval 16">
              <a:extLst>
                <a:ext uri="{FF2B5EF4-FFF2-40B4-BE49-F238E27FC236}">
                  <a16:creationId xmlns:a16="http://schemas.microsoft.com/office/drawing/2014/main" id="{710B5E56-968E-4944-9677-8A023254DC4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73" name="Freeform 17">
              <a:extLst>
                <a:ext uri="{FF2B5EF4-FFF2-40B4-BE49-F238E27FC236}">
                  <a16:creationId xmlns:a16="http://schemas.microsoft.com/office/drawing/2014/main" id="{16EE2523-EBBA-4FC2-A571-91C626A1C54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19">
              <a:extLst>
                <a:ext uri="{FF2B5EF4-FFF2-40B4-BE49-F238E27FC236}">
                  <a16:creationId xmlns:a16="http://schemas.microsoft.com/office/drawing/2014/main" id="{A85E2241-5856-4A7E-B715-DBB05E462BEF}"/>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5" name="Freeform 332">
            <a:extLst>
              <a:ext uri="{FF2B5EF4-FFF2-40B4-BE49-F238E27FC236}">
                <a16:creationId xmlns:a16="http://schemas.microsoft.com/office/drawing/2014/main" id="{0BF616F5-A826-4278-B46A-00C725724C4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6" name="Group 75">
            <a:extLst>
              <a:ext uri="{FF2B5EF4-FFF2-40B4-BE49-F238E27FC236}">
                <a16:creationId xmlns:a16="http://schemas.microsoft.com/office/drawing/2014/main" id="{99A6CA66-0DF9-42FA-ACB5-D7AA8716B4E0}"/>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7" name="Freeform 46">
              <a:extLst>
                <a:ext uri="{FF2B5EF4-FFF2-40B4-BE49-F238E27FC236}">
                  <a16:creationId xmlns:a16="http://schemas.microsoft.com/office/drawing/2014/main" id="{C56B4FA4-3EAF-48EB-ACDE-39CC551BDD5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7">
              <a:extLst>
                <a:ext uri="{FF2B5EF4-FFF2-40B4-BE49-F238E27FC236}">
                  <a16:creationId xmlns:a16="http://schemas.microsoft.com/office/drawing/2014/main" id="{43B3C251-F979-4A1E-A4A9-5B20B0703884}"/>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8">
              <a:extLst>
                <a:ext uri="{FF2B5EF4-FFF2-40B4-BE49-F238E27FC236}">
                  <a16:creationId xmlns:a16="http://schemas.microsoft.com/office/drawing/2014/main" id="{AB8F5672-71DC-4E5B-9098-F946CEA1455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9">
              <a:extLst>
                <a:ext uri="{FF2B5EF4-FFF2-40B4-BE49-F238E27FC236}">
                  <a16:creationId xmlns:a16="http://schemas.microsoft.com/office/drawing/2014/main" id="{C54ACDA6-910B-43A0-870A-C086D62C1DE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50">
              <a:extLst>
                <a:ext uri="{FF2B5EF4-FFF2-40B4-BE49-F238E27FC236}">
                  <a16:creationId xmlns:a16="http://schemas.microsoft.com/office/drawing/2014/main" id="{F88EF410-89C7-4D3E-88B6-F3B556C7F50C}"/>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51">
              <a:extLst>
                <a:ext uri="{FF2B5EF4-FFF2-40B4-BE49-F238E27FC236}">
                  <a16:creationId xmlns:a16="http://schemas.microsoft.com/office/drawing/2014/main" id="{3D9555AF-20E4-4085-A3F3-DE1A52755687}"/>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EDC3373A-67BD-4664-9A69-982ED2DFA2CA}"/>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5" name="Freeform 18">
              <a:extLst>
                <a:ext uri="{FF2B5EF4-FFF2-40B4-BE49-F238E27FC236}">
                  <a16:creationId xmlns:a16="http://schemas.microsoft.com/office/drawing/2014/main" id="{195DA980-C00B-42EE-8379-F4F946082BF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6" name="Freeform 15">
              <a:extLst>
                <a:ext uri="{FF2B5EF4-FFF2-40B4-BE49-F238E27FC236}">
                  <a16:creationId xmlns:a16="http://schemas.microsoft.com/office/drawing/2014/main" id="{90B1AE00-069A-412F-8E79-5F9AD9D49DB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16">
              <a:extLst>
                <a:ext uri="{FF2B5EF4-FFF2-40B4-BE49-F238E27FC236}">
                  <a16:creationId xmlns:a16="http://schemas.microsoft.com/office/drawing/2014/main" id="{8E46EE03-53EC-48AD-A680-991DF8E5B368}"/>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17">
              <a:extLst>
                <a:ext uri="{FF2B5EF4-FFF2-40B4-BE49-F238E27FC236}">
                  <a16:creationId xmlns:a16="http://schemas.microsoft.com/office/drawing/2014/main" id="{004E449D-25B8-4BAB-9850-C65F723EC0B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19">
              <a:extLst>
                <a:ext uri="{FF2B5EF4-FFF2-40B4-BE49-F238E27FC236}">
                  <a16:creationId xmlns:a16="http://schemas.microsoft.com/office/drawing/2014/main" id="{35784349-BEDD-4960-81EF-8C77D11224A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91" name="Picture 4" descr="Coronavirus | United Nations">
            <a:extLst>
              <a:ext uri="{FF2B5EF4-FFF2-40B4-BE49-F238E27FC236}">
                <a16:creationId xmlns:a16="http://schemas.microsoft.com/office/drawing/2014/main" id="{EE991449-3C66-4F54-BE59-52EB04286782}"/>
              </a:ext>
            </a:extLst>
          </p:cNvPr>
          <p:cNvPicPr>
            <a:picLocks noChangeAspect="1" noChangeArrowheads="1"/>
          </p:cNvPicPr>
          <p:nvPr/>
        </p:nvPicPr>
        <p:blipFill>
          <a:blip r:embed="rId17">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03FBCD5-9BF1-462F-89FA-CCB3A428080D}"/>
              </a:ext>
            </a:extLst>
          </p:cNvPr>
          <p:cNvGrpSpPr/>
          <p:nvPr/>
        </p:nvGrpSpPr>
        <p:grpSpPr>
          <a:xfrm>
            <a:off x="9034432" y="122400"/>
            <a:ext cx="537780" cy="533532"/>
            <a:chOff x="411163" y="2006600"/>
            <a:chExt cx="3617913" cy="3589337"/>
          </a:xfrm>
          <a:solidFill>
            <a:schemeClr val="bg1">
              <a:lumMod val="75000"/>
            </a:schemeClr>
          </a:solidFill>
        </p:grpSpPr>
        <p:sp>
          <p:nvSpPr>
            <p:cNvPr id="93" name="Freeform 5">
              <a:extLst>
                <a:ext uri="{FF2B5EF4-FFF2-40B4-BE49-F238E27FC236}">
                  <a16:creationId xmlns:a16="http://schemas.microsoft.com/office/drawing/2014/main" id="{E0AC5E54-D523-45CD-93BF-39D519C74EFD}"/>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8" name="Oval 6">
              <a:extLst>
                <a:ext uri="{FF2B5EF4-FFF2-40B4-BE49-F238E27FC236}">
                  <a16:creationId xmlns:a16="http://schemas.microsoft.com/office/drawing/2014/main" id="{7CA67EC7-6ECE-4429-B56B-9FA382ABF31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7">
              <a:extLst>
                <a:ext uri="{FF2B5EF4-FFF2-40B4-BE49-F238E27FC236}">
                  <a16:creationId xmlns:a16="http://schemas.microsoft.com/office/drawing/2014/main" id="{1F5BB3F8-E718-4003-B18C-AF4835D604D2}"/>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8">
              <a:extLst>
                <a:ext uri="{FF2B5EF4-FFF2-40B4-BE49-F238E27FC236}">
                  <a16:creationId xmlns:a16="http://schemas.microsoft.com/office/drawing/2014/main" id="{8E3CE64E-4AB6-47BE-B3F8-8655020301ED}"/>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9">
              <a:extLst>
                <a:ext uri="{FF2B5EF4-FFF2-40B4-BE49-F238E27FC236}">
                  <a16:creationId xmlns:a16="http://schemas.microsoft.com/office/drawing/2014/main" id="{A56CE538-3DC9-47DF-AC5D-8E473619B1A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03" name="Groupe 825">
            <a:extLst>
              <a:ext uri="{FF2B5EF4-FFF2-40B4-BE49-F238E27FC236}">
                <a16:creationId xmlns:a16="http://schemas.microsoft.com/office/drawing/2014/main" id="{83075B93-FCEA-4890-BB4E-A862CAF37B7C}"/>
              </a:ext>
            </a:extLst>
          </p:cNvPr>
          <p:cNvGrpSpPr/>
          <p:nvPr/>
        </p:nvGrpSpPr>
        <p:grpSpPr>
          <a:xfrm>
            <a:off x="9138494" y="248487"/>
            <a:ext cx="337206" cy="317707"/>
            <a:chOff x="6500813" y="736601"/>
            <a:chExt cx="538163" cy="581025"/>
          </a:xfrm>
          <a:solidFill>
            <a:schemeClr val="bg1">
              <a:lumMod val="50000"/>
            </a:schemeClr>
          </a:solidFill>
        </p:grpSpPr>
        <p:sp>
          <p:nvSpPr>
            <p:cNvPr id="104" name="Freeform 37">
              <a:extLst>
                <a:ext uri="{FF2B5EF4-FFF2-40B4-BE49-F238E27FC236}">
                  <a16:creationId xmlns:a16="http://schemas.microsoft.com/office/drawing/2014/main" id="{E73C5B39-814D-47B0-8BFF-50462CD40012}"/>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38">
              <a:extLst>
                <a:ext uri="{FF2B5EF4-FFF2-40B4-BE49-F238E27FC236}">
                  <a16:creationId xmlns:a16="http://schemas.microsoft.com/office/drawing/2014/main" id="{930E1435-6060-430D-803E-2746AA48B14F}"/>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39">
              <a:extLst>
                <a:ext uri="{FF2B5EF4-FFF2-40B4-BE49-F238E27FC236}">
                  <a16:creationId xmlns:a16="http://schemas.microsoft.com/office/drawing/2014/main" id="{58319686-6C21-45F5-8023-4DF111D04838}"/>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0">
              <a:extLst>
                <a:ext uri="{FF2B5EF4-FFF2-40B4-BE49-F238E27FC236}">
                  <a16:creationId xmlns:a16="http://schemas.microsoft.com/office/drawing/2014/main" id="{D9030C17-A4E1-4846-BD61-ADDFD3E8B2C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41">
              <a:extLst>
                <a:ext uri="{FF2B5EF4-FFF2-40B4-BE49-F238E27FC236}">
                  <a16:creationId xmlns:a16="http://schemas.microsoft.com/office/drawing/2014/main" id="{EE04B7EF-9CE9-4161-B332-1FB3CC66D9F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42">
              <a:extLst>
                <a:ext uri="{FF2B5EF4-FFF2-40B4-BE49-F238E27FC236}">
                  <a16:creationId xmlns:a16="http://schemas.microsoft.com/office/drawing/2014/main" id="{B9BA96AE-7544-45FF-ABBD-1138F9C05253}"/>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43">
              <a:extLst>
                <a:ext uri="{FF2B5EF4-FFF2-40B4-BE49-F238E27FC236}">
                  <a16:creationId xmlns:a16="http://schemas.microsoft.com/office/drawing/2014/main" id="{E4A875F3-FD15-4281-B4D2-7404854BB4A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44">
              <a:extLst>
                <a:ext uri="{FF2B5EF4-FFF2-40B4-BE49-F238E27FC236}">
                  <a16:creationId xmlns:a16="http://schemas.microsoft.com/office/drawing/2014/main" id="{0C7EB75A-9915-4E72-B1C2-B2A3FE0CECAE}"/>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5">
              <a:extLst>
                <a:ext uri="{FF2B5EF4-FFF2-40B4-BE49-F238E27FC236}">
                  <a16:creationId xmlns:a16="http://schemas.microsoft.com/office/drawing/2014/main" id="{85A448BB-4D6F-4D80-B576-D16C40CDF15E}"/>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6">
              <a:extLst>
                <a:ext uri="{FF2B5EF4-FFF2-40B4-BE49-F238E27FC236}">
                  <a16:creationId xmlns:a16="http://schemas.microsoft.com/office/drawing/2014/main" id="{D5569A1F-49AA-44F7-BFF8-4AAD6140CAC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7">
              <a:extLst>
                <a:ext uri="{FF2B5EF4-FFF2-40B4-BE49-F238E27FC236}">
                  <a16:creationId xmlns:a16="http://schemas.microsoft.com/office/drawing/2014/main" id="{790F8E6C-3092-4804-885F-C1CCD36C4FC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48">
              <a:extLst>
                <a:ext uri="{FF2B5EF4-FFF2-40B4-BE49-F238E27FC236}">
                  <a16:creationId xmlns:a16="http://schemas.microsoft.com/office/drawing/2014/main" id="{377124DA-C09A-4CCC-81DC-E13C208D452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9">
              <a:extLst>
                <a:ext uri="{FF2B5EF4-FFF2-40B4-BE49-F238E27FC236}">
                  <a16:creationId xmlns:a16="http://schemas.microsoft.com/office/drawing/2014/main" id="{A0273CAF-DFBD-4815-A1A5-780581B27998}"/>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0">
              <a:extLst>
                <a:ext uri="{FF2B5EF4-FFF2-40B4-BE49-F238E27FC236}">
                  <a16:creationId xmlns:a16="http://schemas.microsoft.com/office/drawing/2014/main" id="{5E856093-7186-4D41-A916-BD46F0A823D7}"/>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1">
              <a:extLst>
                <a:ext uri="{FF2B5EF4-FFF2-40B4-BE49-F238E27FC236}">
                  <a16:creationId xmlns:a16="http://schemas.microsoft.com/office/drawing/2014/main" id="{FFE8240A-1C16-4353-B399-6018C418E56B}"/>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2">
              <a:extLst>
                <a:ext uri="{FF2B5EF4-FFF2-40B4-BE49-F238E27FC236}">
                  <a16:creationId xmlns:a16="http://schemas.microsoft.com/office/drawing/2014/main" id="{99E97080-564E-42B2-97E4-67F493753889}"/>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53">
              <a:extLst>
                <a:ext uri="{FF2B5EF4-FFF2-40B4-BE49-F238E27FC236}">
                  <a16:creationId xmlns:a16="http://schemas.microsoft.com/office/drawing/2014/main" id="{31A79261-E2EC-4FE1-B601-0946D2C8549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54">
              <a:extLst>
                <a:ext uri="{FF2B5EF4-FFF2-40B4-BE49-F238E27FC236}">
                  <a16:creationId xmlns:a16="http://schemas.microsoft.com/office/drawing/2014/main" id="{87387D4C-F9BD-4D5A-8951-506F08E0A927}"/>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55">
              <a:extLst>
                <a:ext uri="{FF2B5EF4-FFF2-40B4-BE49-F238E27FC236}">
                  <a16:creationId xmlns:a16="http://schemas.microsoft.com/office/drawing/2014/main" id="{91992005-B1A8-48A5-A5E8-0B948972CE47}"/>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56">
              <a:extLst>
                <a:ext uri="{FF2B5EF4-FFF2-40B4-BE49-F238E27FC236}">
                  <a16:creationId xmlns:a16="http://schemas.microsoft.com/office/drawing/2014/main" id="{A34716D3-147F-4D2D-A7B4-1CF466720950}"/>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7">
              <a:extLst>
                <a:ext uri="{FF2B5EF4-FFF2-40B4-BE49-F238E27FC236}">
                  <a16:creationId xmlns:a16="http://schemas.microsoft.com/office/drawing/2014/main" id="{0F82B014-5AA4-47EC-8A26-08EBEA871C5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8">
              <a:extLst>
                <a:ext uri="{FF2B5EF4-FFF2-40B4-BE49-F238E27FC236}">
                  <a16:creationId xmlns:a16="http://schemas.microsoft.com/office/drawing/2014/main" id="{97E1F830-9B11-4089-89D3-E3C4C907C1F9}"/>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9">
              <a:extLst>
                <a:ext uri="{FF2B5EF4-FFF2-40B4-BE49-F238E27FC236}">
                  <a16:creationId xmlns:a16="http://schemas.microsoft.com/office/drawing/2014/main" id="{3F4254D2-8299-47DF-A6E2-B327F04D4B81}"/>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0">
              <a:extLst>
                <a:ext uri="{FF2B5EF4-FFF2-40B4-BE49-F238E27FC236}">
                  <a16:creationId xmlns:a16="http://schemas.microsoft.com/office/drawing/2014/main" id="{B2844D07-AC9E-4550-AFB1-56C37C0099F9}"/>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1">
              <a:extLst>
                <a:ext uri="{FF2B5EF4-FFF2-40B4-BE49-F238E27FC236}">
                  <a16:creationId xmlns:a16="http://schemas.microsoft.com/office/drawing/2014/main" id="{E95E2133-0AC8-4FA6-9B13-8E3D5A4CE9F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2">
              <a:extLst>
                <a:ext uri="{FF2B5EF4-FFF2-40B4-BE49-F238E27FC236}">
                  <a16:creationId xmlns:a16="http://schemas.microsoft.com/office/drawing/2014/main" id="{28715861-3A14-4929-B3A9-77BB127FBE0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63">
              <a:extLst>
                <a:ext uri="{FF2B5EF4-FFF2-40B4-BE49-F238E27FC236}">
                  <a16:creationId xmlns:a16="http://schemas.microsoft.com/office/drawing/2014/main" id="{7035F7A1-D3E7-487E-8915-6441C8EB70AB}"/>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64">
              <a:extLst>
                <a:ext uri="{FF2B5EF4-FFF2-40B4-BE49-F238E27FC236}">
                  <a16:creationId xmlns:a16="http://schemas.microsoft.com/office/drawing/2014/main" id="{1FFF8633-DB80-411E-BF77-0FC04F001473}"/>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65">
              <a:extLst>
                <a:ext uri="{FF2B5EF4-FFF2-40B4-BE49-F238E27FC236}">
                  <a16:creationId xmlns:a16="http://schemas.microsoft.com/office/drawing/2014/main" id="{CD7E570E-72D8-4289-A99E-09D395E9E255}"/>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66">
              <a:extLst>
                <a:ext uri="{FF2B5EF4-FFF2-40B4-BE49-F238E27FC236}">
                  <a16:creationId xmlns:a16="http://schemas.microsoft.com/office/drawing/2014/main" id="{D82FD563-7FFC-413A-A74F-A31D0F27542E}"/>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7">
              <a:extLst>
                <a:ext uri="{FF2B5EF4-FFF2-40B4-BE49-F238E27FC236}">
                  <a16:creationId xmlns:a16="http://schemas.microsoft.com/office/drawing/2014/main" id="{032E4B41-0C2F-480C-960F-E3B2A63ADCCF}"/>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8">
              <a:extLst>
                <a:ext uri="{FF2B5EF4-FFF2-40B4-BE49-F238E27FC236}">
                  <a16:creationId xmlns:a16="http://schemas.microsoft.com/office/drawing/2014/main" id="{5E73D886-EDF0-4560-ACE4-0F341C27B7C1}"/>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9">
              <a:extLst>
                <a:ext uri="{FF2B5EF4-FFF2-40B4-BE49-F238E27FC236}">
                  <a16:creationId xmlns:a16="http://schemas.microsoft.com/office/drawing/2014/main" id="{5DB57519-8DF6-4907-B1AF-A892B8DDFB3D}"/>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0">
              <a:extLst>
                <a:ext uri="{FF2B5EF4-FFF2-40B4-BE49-F238E27FC236}">
                  <a16:creationId xmlns:a16="http://schemas.microsoft.com/office/drawing/2014/main" id="{8B438C24-8090-49CB-A8C1-19188AF95665}"/>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1">
              <a:extLst>
                <a:ext uri="{FF2B5EF4-FFF2-40B4-BE49-F238E27FC236}">
                  <a16:creationId xmlns:a16="http://schemas.microsoft.com/office/drawing/2014/main" id="{FFCB3EAF-38EA-4C49-88BE-BA0191169F04}"/>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2">
              <a:extLst>
                <a:ext uri="{FF2B5EF4-FFF2-40B4-BE49-F238E27FC236}">
                  <a16:creationId xmlns:a16="http://schemas.microsoft.com/office/drawing/2014/main" id="{EC9D84C9-6860-4417-9034-1CF5372D66DD}"/>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73">
              <a:extLst>
                <a:ext uri="{FF2B5EF4-FFF2-40B4-BE49-F238E27FC236}">
                  <a16:creationId xmlns:a16="http://schemas.microsoft.com/office/drawing/2014/main" id="{535756FB-E165-4C83-9CF8-E8F79435D3E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74">
              <a:extLst>
                <a:ext uri="{FF2B5EF4-FFF2-40B4-BE49-F238E27FC236}">
                  <a16:creationId xmlns:a16="http://schemas.microsoft.com/office/drawing/2014/main" id="{0160D367-4060-4315-B01F-D6FE55B78507}"/>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75">
              <a:extLst>
                <a:ext uri="{FF2B5EF4-FFF2-40B4-BE49-F238E27FC236}">
                  <a16:creationId xmlns:a16="http://schemas.microsoft.com/office/drawing/2014/main" id="{F874E3E0-199B-4637-AF1F-B423A04559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76">
              <a:extLst>
                <a:ext uri="{FF2B5EF4-FFF2-40B4-BE49-F238E27FC236}">
                  <a16:creationId xmlns:a16="http://schemas.microsoft.com/office/drawing/2014/main" id="{596372DC-B76F-465F-AB6D-48D400D465C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7">
              <a:extLst>
                <a:ext uri="{FF2B5EF4-FFF2-40B4-BE49-F238E27FC236}">
                  <a16:creationId xmlns:a16="http://schemas.microsoft.com/office/drawing/2014/main" id="{56407580-F5A0-4140-A70C-ED2FE2FBE997}"/>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8">
              <a:extLst>
                <a:ext uri="{FF2B5EF4-FFF2-40B4-BE49-F238E27FC236}">
                  <a16:creationId xmlns:a16="http://schemas.microsoft.com/office/drawing/2014/main" id="{1FCB3AA9-4C09-408D-9449-710F3BCFA0AB}"/>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9">
              <a:extLst>
                <a:ext uri="{FF2B5EF4-FFF2-40B4-BE49-F238E27FC236}">
                  <a16:creationId xmlns:a16="http://schemas.microsoft.com/office/drawing/2014/main" id="{45FE5E7A-CAE8-4372-9459-5541BEEE2AC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80">
              <a:extLst>
                <a:ext uri="{FF2B5EF4-FFF2-40B4-BE49-F238E27FC236}">
                  <a16:creationId xmlns:a16="http://schemas.microsoft.com/office/drawing/2014/main" id="{C19A7A1C-A6AA-4ECA-BAFC-1E5C74D795F7}"/>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81">
              <a:extLst>
                <a:ext uri="{FF2B5EF4-FFF2-40B4-BE49-F238E27FC236}">
                  <a16:creationId xmlns:a16="http://schemas.microsoft.com/office/drawing/2014/main" id="{DED24B15-6240-4E56-ADEB-879B9664CBA6}"/>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82">
              <a:extLst>
                <a:ext uri="{FF2B5EF4-FFF2-40B4-BE49-F238E27FC236}">
                  <a16:creationId xmlns:a16="http://schemas.microsoft.com/office/drawing/2014/main" id="{6B95BEEF-224C-417C-BD50-F286340D7D72}"/>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83">
              <a:extLst>
                <a:ext uri="{FF2B5EF4-FFF2-40B4-BE49-F238E27FC236}">
                  <a16:creationId xmlns:a16="http://schemas.microsoft.com/office/drawing/2014/main" id="{42071C97-7238-4057-AA3A-02DD2C34D54E}"/>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84">
              <a:extLst>
                <a:ext uri="{FF2B5EF4-FFF2-40B4-BE49-F238E27FC236}">
                  <a16:creationId xmlns:a16="http://schemas.microsoft.com/office/drawing/2014/main" id="{F12730D4-3CC1-475B-9FDC-22EF64A38ED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85">
              <a:extLst>
                <a:ext uri="{FF2B5EF4-FFF2-40B4-BE49-F238E27FC236}">
                  <a16:creationId xmlns:a16="http://schemas.microsoft.com/office/drawing/2014/main" id="{6F562C9F-2B34-4C5A-9BA7-47B8238014C4}"/>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554726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EAE42C-A319-4BAA-9AF6-BA9DB0AE51DE}"/>
              </a:ext>
            </a:extLst>
          </p:cNvPr>
          <p:cNvGraphicFramePr>
            <a:graphicFrameLocks noChangeAspect="1"/>
          </p:cNvGraphicFramePr>
          <p:nvPr>
            <p:custDataLst>
              <p:tags r:id="rId2"/>
            </p:custDataLst>
            <p:extLst>
              <p:ext uri="{D42A27DB-BD31-4B8C-83A1-F6EECF244321}">
                <p14:modId xmlns:p14="http://schemas.microsoft.com/office/powerpoint/2010/main" val="296232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6"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1BD6E3-0F6E-44D9-985E-47A8239733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grpSp>
        <p:nvGrpSpPr>
          <p:cNvPr id="17" name="Group 16">
            <a:extLst>
              <a:ext uri="{FF2B5EF4-FFF2-40B4-BE49-F238E27FC236}">
                <a16:creationId xmlns:a16="http://schemas.microsoft.com/office/drawing/2014/main" id="{74315198-F95E-4829-B944-A5207C399469}"/>
              </a:ext>
            </a:extLst>
          </p:cNvPr>
          <p:cNvGrpSpPr/>
          <p:nvPr/>
        </p:nvGrpSpPr>
        <p:grpSpPr>
          <a:xfrm>
            <a:off x="2209273" y="3318898"/>
            <a:ext cx="1525814" cy="2378484"/>
            <a:chOff x="2209273" y="3318898"/>
            <a:chExt cx="1525814" cy="2378484"/>
          </a:xfrm>
        </p:grpSpPr>
        <p:sp>
          <p:nvSpPr>
            <p:cNvPr id="91" name="Freeform 15">
              <a:extLst>
                <a:ext uri="{FF2B5EF4-FFF2-40B4-BE49-F238E27FC236}">
                  <a16:creationId xmlns:a16="http://schemas.microsoft.com/office/drawing/2014/main" id="{444195DF-5948-42B8-B80F-43304A512E65}"/>
                </a:ext>
              </a:extLst>
            </p:cNvPr>
            <p:cNvSpPr>
              <a:spLocks/>
            </p:cNvSpPr>
            <p:nvPr/>
          </p:nvSpPr>
          <p:spPr bwMode="auto">
            <a:xfrm rot="10800000">
              <a:off x="2832531" y="4088764"/>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8">
              <a:extLst>
                <a:ext uri="{FF2B5EF4-FFF2-40B4-BE49-F238E27FC236}">
                  <a16:creationId xmlns:a16="http://schemas.microsoft.com/office/drawing/2014/main" id="{7F919759-4B90-414E-A1B9-7ADA20FE48BC}"/>
                </a:ext>
              </a:extLst>
            </p:cNvPr>
            <p:cNvSpPr>
              <a:spLocks/>
            </p:cNvSpPr>
            <p:nvPr/>
          </p:nvSpPr>
          <p:spPr bwMode="auto">
            <a:xfrm rot="10800000">
              <a:off x="2209273" y="3318898"/>
              <a:ext cx="1525814" cy="887049"/>
            </a:xfrm>
            <a:custGeom>
              <a:avLst/>
              <a:gdLst>
                <a:gd name="T0" fmla="*/ 358 w 715"/>
                <a:gd name="T1" fmla="*/ 419 h 419"/>
                <a:gd name="T2" fmla="*/ 715 w 715"/>
                <a:gd name="T3" fmla="*/ 213 h 419"/>
                <a:gd name="T4" fmla="*/ 688 w 715"/>
                <a:gd name="T5" fmla="*/ 171 h 419"/>
                <a:gd name="T6" fmla="*/ 650 w 715"/>
                <a:gd name="T7" fmla="*/ 127 h 419"/>
                <a:gd name="T8" fmla="*/ 521 w 715"/>
                <a:gd name="T9" fmla="*/ 40 h 419"/>
                <a:gd name="T10" fmla="*/ 310 w 715"/>
                <a:gd name="T11" fmla="*/ 9 h 419"/>
                <a:gd name="T12" fmla="*/ 308 w 715"/>
                <a:gd name="T13" fmla="*/ 9 h 419"/>
                <a:gd name="T14" fmla="*/ 206 w 715"/>
                <a:gd name="T15" fmla="*/ 35 h 419"/>
                <a:gd name="T16" fmla="*/ 68 w 715"/>
                <a:gd name="T17" fmla="*/ 125 h 419"/>
                <a:gd name="T18" fmla="*/ 0 w 715"/>
                <a:gd name="T19" fmla="*/ 213 h 419"/>
                <a:gd name="T20" fmla="*/ 358 w 715"/>
                <a:gd name="T21"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419">
                  <a:moveTo>
                    <a:pt x="358" y="419"/>
                  </a:moveTo>
                  <a:cubicBezTo>
                    <a:pt x="715" y="213"/>
                    <a:pt x="715" y="213"/>
                    <a:pt x="715" y="213"/>
                  </a:cubicBezTo>
                  <a:cubicBezTo>
                    <a:pt x="707" y="198"/>
                    <a:pt x="698" y="185"/>
                    <a:pt x="688" y="171"/>
                  </a:cubicBezTo>
                  <a:cubicBezTo>
                    <a:pt x="676" y="156"/>
                    <a:pt x="663" y="141"/>
                    <a:pt x="650" y="127"/>
                  </a:cubicBezTo>
                  <a:cubicBezTo>
                    <a:pt x="613" y="90"/>
                    <a:pt x="569" y="61"/>
                    <a:pt x="521" y="40"/>
                  </a:cubicBezTo>
                  <a:cubicBezTo>
                    <a:pt x="457" y="12"/>
                    <a:pt x="384" y="0"/>
                    <a:pt x="310" y="9"/>
                  </a:cubicBezTo>
                  <a:cubicBezTo>
                    <a:pt x="309" y="9"/>
                    <a:pt x="309" y="9"/>
                    <a:pt x="308" y="9"/>
                  </a:cubicBezTo>
                  <a:cubicBezTo>
                    <a:pt x="272" y="13"/>
                    <a:pt x="238" y="22"/>
                    <a:pt x="206" y="35"/>
                  </a:cubicBezTo>
                  <a:cubicBezTo>
                    <a:pt x="153" y="56"/>
                    <a:pt x="107" y="87"/>
                    <a:pt x="68" y="125"/>
                  </a:cubicBezTo>
                  <a:cubicBezTo>
                    <a:pt x="42" y="151"/>
                    <a:pt x="19" y="181"/>
                    <a:pt x="0" y="213"/>
                  </a:cubicBezTo>
                  <a:lnTo>
                    <a:pt x="358" y="41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Oval 21">
              <a:extLst>
                <a:ext uri="{FF2B5EF4-FFF2-40B4-BE49-F238E27FC236}">
                  <a16:creationId xmlns:a16="http://schemas.microsoft.com/office/drawing/2014/main" id="{6885F1F6-D02A-40AB-B43C-CFF0AEEC121D}"/>
                </a:ext>
              </a:extLst>
            </p:cNvPr>
            <p:cNvSpPr>
              <a:spLocks noChangeArrowheads="1"/>
            </p:cNvSpPr>
            <p:nvPr/>
          </p:nvSpPr>
          <p:spPr bwMode="auto">
            <a:xfrm rot="10800000">
              <a:off x="2241117" y="4342784"/>
              <a:ext cx="1433001" cy="1354598"/>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Oval 23">
              <a:extLst>
                <a:ext uri="{FF2B5EF4-FFF2-40B4-BE49-F238E27FC236}">
                  <a16:creationId xmlns:a16="http://schemas.microsoft.com/office/drawing/2014/main" id="{F96237F4-0556-45A3-8295-6B018C3E5625}"/>
                </a:ext>
              </a:extLst>
            </p:cNvPr>
            <p:cNvSpPr>
              <a:spLocks noChangeArrowheads="1"/>
            </p:cNvSpPr>
            <p:nvPr/>
          </p:nvSpPr>
          <p:spPr bwMode="auto">
            <a:xfrm rot="10800000">
              <a:off x="2350302" y="4449642"/>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95">
              <a:extLst>
                <a:ext uri="{FF2B5EF4-FFF2-40B4-BE49-F238E27FC236}">
                  <a16:creationId xmlns:a16="http://schemas.microsoft.com/office/drawing/2014/main" id="{497117AF-6E4B-4691-85D2-997DEB43DF98}"/>
                </a:ext>
              </a:extLst>
            </p:cNvPr>
            <p:cNvSpPr/>
            <p:nvPr/>
          </p:nvSpPr>
          <p:spPr>
            <a:xfrm>
              <a:off x="3266352" y="4449535"/>
              <a:ext cx="434073" cy="429891"/>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5217AE1-0143-4182-A0A0-AA471EED13ED}"/>
                </a:ext>
              </a:extLst>
            </p:cNvPr>
            <p:cNvSpPr/>
            <p:nvPr/>
          </p:nvSpPr>
          <p:spPr>
            <a:xfrm>
              <a:off x="2490106" y="4735815"/>
              <a:ext cx="895273" cy="469359"/>
            </a:xfrm>
            <a:prstGeom prst="rect">
              <a:avLst/>
            </a:prstGeom>
          </p:spPr>
          <p:txBody>
            <a:bodyPr wrap="square" lIns="0" tIns="0" rIns="0" bIns="0">
              <a:spAutoFit/>
            </a:bodyPr>
            <a:lstStyle/>
            <a:p>
              <a:pPr algn="ctr"/>
              <a:r>
                <a:rPr lang="en-US" sz="1050" b="1" dirty="0"/>
                <a:t>49%</a:t>
              </a:r>
              <a:r>
                <a:rPr lang="en-US" sz="1050" dirty="0"/>
                <a:t> </a:t>
              </a:r>
            </a:p>
            <a:p>
              <a:pPr algn="ctr"/>
              <a:r>
                <a:rPr lang="en-US" sz="1000" dirty="0"/>
                <a:t>Ultra HNWIs</a:t>
              </a:r>
              <a:br>
                <a:rPr lang="en-US" sz="1000" dirty="0"/>
              </a:br>
              <a:r>
                <a:rPr lang="en-US" sz="1000" dirty="0"/>
                <a:t>&lt; 40 </a:t>
              </a:r>
              <a:r>
                <a:rPr lang="en-US" sz="1000" dirty="0" err="1"/>
                <a:t>yrs</a:t>
              </a:r>
              <a:r>
                <a:rPr lang="en-US" sz="1000" dirty="0"/>
                <a:t> </a:t>
              </a:r>
            </a:p>
          </p:txBody>
        </p:sp>
        <p:pic>
          <p:nvPicPr>
            <p:cNvPr id="13" name="Graphic 12" descr="Coins">
              <a:extLst>
                <a:ext uri="{FF2B5EF4-FFF2-40B4-BE49-F238E27FC236}">
                  <a16:creationId xmlns:a16="http://schemas.microsoft.com/office/drawing/2014/main" id="{C56B1622-AC6B-4F70-A7D5-514CEEDD3B5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34291" y="4504491"/>
              <a:ext cx="309171" cy="309171"/>
            </a:xfrm>
            <a:prstGeom prst="rect">
              <a:avLst/>
            </a:prstGeom>
          </p:spPr>
        </p:pic>
        <p:sp>
          <p:nvSpPr>
            <p:cNvPr id="70" name="Star: 5 Points 69">
              <a:extLst>
                <a:ext uri="{FF2B5EF4-FFF2-40B4-BE49-F238E27FC236}">
                  <a16:creationId xmlns:a16="http://schemas.microsoft.com/office/drawing/2014/main" id="{003AD838-B5A1-4FF4-B0BF-EDB969077A45}"/>
                </a:ext>
              </a:extLst>
            </p:cNvPr>
            <p:cNvSpPr/>
            <p:nvPr/>
          </p:nvSpPr>
          <p:spPr>
            <a:xfrm>
              <a:off x="2809183" y="5247777"/>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43B7D055-BEC4-44C1-BF83-C8AFE571F2D0}"/>
              </a:ext>
            </a:extLst>
          </p:cNvPr>
          <p:cNvGrpSpPr/>
          <p:nvPr/>
        </p:nvGrpSpPr>
        <p:grpSpPr>
          <a:xfrm>
            <a:off x="2970052" y="2489307"/>
            <a:ext cx="2610962" cy="1704991"/>
            <a:chOff x="2970052" y="2489307"/>
            <a:chExt cx="2610962" cy="1704991"/>
          </a:xfrm>
        </p:grpSpPr>
        <p:sp>
          <p:nvSpPr>
            <p:cNvPr id="100" name="Freeform 15">
              <a:extLst>
                <a:ext uri="{FF2B5EF4-FFF2-40B4-BE49-F238E27FC236}">
                  <a16:creationId xmlns:a16="http://schemas.microsoft.com/office/drawing/2014/main" id="{444195DF-5948-42B8-B80F-43304A512E65}"/>
                </a:ext>
              </a:extLst>
            </p:cNvPr>
            <p:cNvSpPr>
              <a:spLocks/>
            </p:cNvSpPr>
            <p:nvPr/>
          </p:nvSpPr>
          <p:spPr bwMode="auto">
            <a:xfrm rot="5400000" flipH="1">
              <a:off x="3905665" y="3033979"/>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6">
              <a:extLst>
                <a:ext uri="{FF2B5EF4-FFF2-40B4-BE49-F238E27FC236}">
                  <a16:creationId xmlns:a16="http://schemas.microsoft.com/office/drawing/2014/main" id="{8309A21E-50A2-4BD8-A35F-C14BD3AC059C}"/>
                </a:ext>
              </a:extLst>
            </p:cNvPr>
            <p:cNvSpPr>
              <a:spLocks/>
            </p:cNvSpPr>
            <p:nvPr/>
          </p:nvSpPr>
          <p:spPr bwMode="auto">
            <a:xfrm>
              <a:off x="3941141" y="2552373"/>
              <a:ext cx="1639873" cy="1544042"/>
            </a:xfrm>
            <a:custGeom>
              <a:avLst/>
              <a:gdLst>
                <a:gd name="T0" fmla="*/ 503 w 700"/>
                <a:gd name="T1" fmla="*/ 84 h 699"/>
                <a:gd name="T2" fmla="*/ 84 w 700"/>
                <a:gd name="T3" fmla="*/ 196 h 699"/>
                <a:gd name="T4" fmla="*/ 197 w 700"/>
                <a:gd name="T5" fmla="*/ 615 h 699"/>
                <a:gd name="T6" fmla="*/ 615 w 700"/>
                <a:gd name="T7" fmla="*/ 503 h 699"/>
                <a:gd name="T8" fmla="*/ 503 w 700"/>
                <a:gd name="T9" fmla="*/ 84 h 699"/>
              </a:gdLst>
              <a:ahLst/>
              <a:cxnLst>
                <a:cxn ang="0">
                  <a:pos x="T0" y="T1"/>
                </a:cxn>
                <a:cxn ang="0">
                  <a:pos x="T2" y="T3"/>
                </a:cxn>
                <a:cxn ang="0">
                  <a:pos x="T4" y="T5"/>
                </a:cxn>
                <a:cxn ang="0">
                  <a:pos x="T6" y="T7"/>
                </a:cxn>
                <a:cxn ang="0">
                  <a:pos x="T8" y="T9"/>
                </a:cxn>
              </a:cxnLst>
              <a:rect l="0" t="0" r="r" b="b"/>
              <a:pathLst>
                <a:path w="700" h="699">
                  <a:moveTo>
                    <a:pt x="503" y="84"/>
                  </a:moveTo>
                  <a:cubicBezTo>
                    <a:pt x="356" y="0"/>
                    <a:pt x="169" y="50"/>
                    <a:pt x="84" y="196"/>
                  </a:cubicBezTo>
                  <a:cubicBezTo>
                    <a:pt x="0" y="343"/>
                    <a:pt x="50" y="530"/>
                    <a:pt x="197" y="615"/>
                  </a:cubicBezTo>
                  <a:cubicBezTo>
                    <a:pt x="343" y="699"/>
                    <a:pt x="531" y="649"/>
                    <a:pt x="615" y="503"/>
                  </a:cubicBezTo>
                  <a:cubicBezTo>
                    <a:pt x="700" y="356"/>
                    <a:pt x="650" y="169"/>
                    <a:pt x="503" y="8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8">
              <a:extLst>
                <a:ext uri="{FF2B5EF4-FFF2-40B4-BE49-F238E27FC236}">
                  <a16:creationId xmlns:a16="http://schemas.microsoft.com/office/drawing/2014/main" id="{5F7C805B-9CDB-4F42-8970-7F189CAA1617}"/>
                </a:ext>
              </a:extLst>
            </p:cNvPr>
            <p:cNvSpPr>
              <a:spLocks/>
            </p:cNvSpPr>
            <p:nvPr/>
          </p:nvSpPr>
          <p:spPr bwMode="auto">
            <a:xfrm>
              <a:off x="4059826" y="2659853"/>
              <a:ext cx="1395251" cy="1313290"/>
            </a:xfrm>
            <a:custGeom>
              <a:avLst/>
              <a:gdLst>
                <a:gd name="T0" fmla="*/ 427 w 595"/>
                <a:gd name="T1" fmla="*/ 72 h 594"/>
                <a:gd name="T2" fmla="*/ 72 w 595"/>
                <a:gd name="T3" fmla="*/ 167 h 594"/>
                <a:gd name="T4" fmla="*/ 167 w 595"/>
                <a:gd name="T5" fmla="*/ 522 h 594"/>
                <a:gd name="T6" fmla="*/ 523 w 595"/>
                <a:gd name="T7" fmla="*/ 427 h 594"/>
                <a:gd name="T8" fmla="*/ 427 w 595"/>
                <a:gd name="T9" fmla="*/ 72 h 594"/>
              </a:gdLst>
              <a:ahLst/>
              <a:cxnLst>
                <a:cxn ang="0">
                  <a:pos x="T0" y="T1"/>
                </a:cxn>
                <a:cxn ang="0">
                  <a:pos x="T2" y="T3"/>
                </a:cxn>
                <a:cxn ang="0">
                  <a:pos x="T4" y="T5"/>
                </a:cxn>
                <a:cxn ang="0">
                  <a:pos x="T6" y="T7"/>
                </a:cxn>
                <a:cxn ang="0">
                  <a:pos x="T8" y="T9"/>
                </a:cxn>
              </a:cxnLst>
              <a:rect l="0" t="0" r="r" b="b"/>
              <a:pathLst>
                <a:path w="595" h="594">
                  <a:moveTo>
                    <a:pt x="427" y="72"/>
                  </a:moveTo>
                  <a:cubicBezTo>
                    <a:pt x="303" y="0"/>
                    <a:pt x="144" y="43"/>
                    <a:pt x="72" y="167"/>
                  </a:cubicBezTo>
                  <a:cubicBezTo>
                    <a:pt x="0" y="291"/>
                    <a:pt x="43" y="450"/>
                    <a:pt x="167" y="522"/>
                  </a:cubicBezTo>
                  <a:cubicBezTo>
                    <a:pt x="292" y="594"/>
                    <a:pt x="451" y="552"/>
                    <a:pt x="523" y="427"/>
                  </a:cubicBezTo>
                  <a:cubicBezTo>
                    <a:pt x="595" y="303"/>
                    <a:pt x="552" y="144"/>
                    <a:pt x="427" y="72"/>
                  </a:cubicBez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7">
              <a:extLst>
                <a:ext uri="{FF2B5EF4-FFF2-40B4-BE49-F238E27FC236}">
                  <a16:creationId xmlns:a16="http://schemas.microsoft.com/office/drawing/2014/main" id="{E9D9DE10-4085-4EE8-9D3A-2348BE8C9C57}"/>
                </a:ext>
              </a:extLst>
            </p:cNvPr>
            <p:cNvSpPr>
              <a:spLocks/>
            </p:cNvSpPr>
            <p:nvPr/>
          </p:nvSpPr>
          <p:spPr bwMode="auto">
            <a:xfrm>
              <a:off x="2970052" y="2886208"/>
              <a:ext cx="892925" cy="1308090"/>
            </a:xfrm>
            <a:custGeom>
              <a:avLst/>
              <a:gdLst>
                <a:gd name="T0" fmla="*/ 0 w 418"/>
                <a:gd name="T1" fmla="*/ 619 h 619"/>
                <a:gd name="T2" fmla="*/ 46 w 418"/>
                <a:gd name="T3" fmla="*/ 616 h 619"/>
                <a:gd name="T4" fmla="*/ 48 w 418"/>
                <a:gd name="T5" fmla="*/ 616 h 619"/>
                <a:gd name="T6" fmla="*/ 153 w 418"/>
                <a:gd name="T7" fmla="*/ 590 h 619"/>
                <a:gd name="T8" fmla="*/ 294 w 418"/>
                <a:gd name="T9" fmla="*/ 496 h 619"/>
                <a:gd name="T10" fmla="*/ 379 w 418"/>
                <a:gd name="T11" fmla="*/ 370 h 619"/>
                <a:gd name="T12" fmla="*/ 379 w 418"/>
                <a:gd name="T13" fmla="*/ 369 h 619"/>
                <a:gd name="T14" fmla="*/ 410 w 418"/>
                <a:gd name="T15" fmla="*/ 158 h 619"/>
                <a:gd name="T16" fmla="*/ 383 w 418"/>
                <a:gd name="T17" fmla="*/ 53 h 619"/>
                <a:gd name="T18" fmla="*/ 357 w 418"/>
                <a:gd name="T19" fmla="*/ 0 h 619"/>
                <a:gd name="T20" fmla="*/ 0 w 418"/>
                <a:gd name="T21" fmla="*/ 206 h 619"/>
                <a:gd name="T22" fmla="*/ 0 w 418"/>
                <a:gd name="T23"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8" h="619">
                  <a:moveTo>
                    <a:pt x="0" y="619"/>
                  </a:moveTo>
                  <a:cubicBezTo>
                    <a:pt x="15" y="619"/>
                    <a:pt x="31" y="618"/>
                    <a:pt x="46" y="616"/>
                  </a:cubicBezTo>
                  <a:cubicBezTo>
                    <a:pt x="47" y="616"/>
                    <a:pt x="47" y="616"/>
                    <a:pt x="48" y="616"/>
                  </a:cubicBezTo>
                  <a:cubicBezTo>
                    <a:pt x="85" y="612"/>
                    <a:pt x="120" y="603"/>
                    <a:pt x="153" y="590"/>
                  </a:cubicBezTo>
                  <a:cubicBezTo>
                    <a:pt x="207" y="568"/>
                    <a:pt x="254" y="536"/>
                    <a:pt x="294" y="496"/>
                  </a:cubicBezTo>
                  <a:cubicBezTo>
                    <a:pt x="330" y="459"/>
                    <a:pt x="358" y="417"/>
                    <a:pt x="379" y="370"/>
                  </a:cubicBezTo>
                  <a:cubicBezTo>
                    <a:pt x="379" y="369"/>
                    <a:pt x="379" y="369"/>
                    <a:pt x="379" y="369"/>
                  </a:cubicBezTo>
                  <a:cubicBezTo>
                    <a:pt x="407" y="304"/>
                    <a:pt x="418" y="232"/>
                    <a:pt x="410" y="158"/>
                  </a:cubicBezTo>
                  <a:cubicBezTo>
                    <a:pt x="405" y="121"/>
                    <a:pt x="396" y="86"/>
                    <a:pt x="383" y="53"/>
                  </a:cubicBezTo>
                  <a:cubicBezTo>
                    <a:pt x="376" y="34"/>
                    <a:pt x="367" y="17"/>
                    <a:pt x="357" y="0"/>
                  </a:cubicBezTo>
                  <a:cubicBezTo>
                    <a:pt x="0" y="206"/>
                    <a:pt x="0" y="206"/>
                    <a:pt x="0" y="206"/>
                  </a:cubicBezTo>
                  <a:lnTo>
                    <a:pt x="0" y="6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96E67B7D-5193-4A41-BAD3-1838AC8EE0C2}"/>
                </a:ext>
              </a:extLst>
            </p:cNvPr>
            <p:cNvSpPr/>
            <p:nvPr/>
          </p:nvSpPr>
          <p:spPr>
            <a:xfrm>
              <a:off x="4124449" y="2996259"/>
              <a:ext cx="1311693" cy="630942"/>
            </a:xfrm>
            <a:prstGeom prst="rect">
              <a:avLst/>
            </a:prstGeom>
          </p:spPr>
          <p:txBody>
            <a:bodyPr wrap="square" lIns="0" tIns="0" rIns="0" bIns="0">
              <a:spAutoFit/>
            </a:bodyPr>
            <a:lstStyle/>
            <a:p>
              <a:pPr lvl="0" algn="ctr" defTabSz="1377950">
                <a:spcBef>
                  <a:spcPct val="0"/>
                </a:spcBef>
              </a:pPr>
              <a:r>
                <a:rPr lang="en-US" sz="1050" b="1" dirty="0"/>
                <a:t>41%</a:t>
              </a:r>
              <a:r>
                <a:rPr lang="en-US" sz="1000" dirty="0"/>
                <a:t> </a:t>
              </a:r>
            </a:p>
            <a:p>
              <a:pPr lvl="0" algn="ctr" defTabSz="1377950">
                <a:spcBef>
                  <a:spcPct val="0"/>
                </a:spcBef>
              </a:pPr>
              <a:r>
                <a:rPr lang="en-US" sz="1000" dirty="0"/>
                <a:t>HNWIs &lt;40 </a:t>
              </a:r>
              <a:r>
                <a:rPr lang="en-US" sz="1000" dirty="0" err="1"/>
                <a:t>yrs</a:t>
              </a:r>
              <a:r>
                <a:rPr lang="en-US" sz="1000" dirty="0"/>
                <a:t>, </a:t>
              </a:r>
            </a:p>
            <a:p>
              <a:pPr lvl="0" algn="ctr" defTabSz="1377950">
                <a:spcBef>
                  <a:spcPct val="0"/>
                </a:spcBef>
              </a:pPr>
              <a:r>
                <a:rPr lang="en-US" sz="1000" dirty="0"/>
                <a:t>v/s </a:t>
              </a:r>
              <a:r>
                <a:rPr lang="en-US" sz="1050" b="1" dirty="0"/>
                <a:t>16%</a:t>
              </a:r>
              <a:r>
                <a:rPr lang="en-US" sz="1000" dirty="0"/>
                <a:t> </a:t>
              </a:r>
            </a:p>
            <a:p>
              <a:pPr lvl="0" algn="ctr" defTabSz="1377950">
                <a:spcBef>
                  <a:spcPct val="0"/>
                </a:spcBef>
              </a:pPr>
              <a:r>
                <a:rPr lang="en-US" sz="1000" dirty="0"/>
                <a:t>HNWIs &gt;60 </a:t>
              </a:r>
              <a:r>
                <a:rPr lang="en-US" sz="1000" dirty="0" err="1"/>
                <a:t>yrs</a:t>
              </a:r>
              <a:endParaRPr lang="en-US" sz="1000" dirty="0"/>
            </a:p>
          </p:txBody>
        </p:sp>
        <p:sp>
          <p:nvSpPr>
            <p:cNvPr id="75" name="Oval 74">
              <a:extLst>
                <a:ext uri="{FF2B5EF4-FFF2-40B4-BE49-F238E27FC236}">
                  <a16:creationId xmlns:a16="http://schemas.microsoft.com/office/drawing/2014/main" id="{1B4D1A16-A875-493E-92A7-E52DDC7AB14F}"/>
                </a:ext>
              </a:extLst>
            </p:cNvPr>
            <p:cNvSpPr/>
            <p:nvPr/>
          </p:nvSpPr>
          <p:spPr>
            <a:xfrm>
              <a:off x="4524842" y="2489307"/>
              <a:ext cx="434073" cy="42989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75">
              <a:extLst>
                <a:ext uri="{FF2B5EF4-FFF2-40B4-BE49-F238E27FC236}">
                  <a16:creationId xmlns:a16="http://schemas.microsoft.com/office/drawing/2014/main" id="{C5F0F8EA-34FA-499E-B87B-ADC306073A4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3330" r="21663"/>
            <a:stretch/>
          </p:blipFill>
          <p:spPr>
            <a:xfrm>
              <a:off x="4615995" y="2517964"/>
              <a:ext cx="230653" cy="372577"/>
            </a:xfrm>
            <a:prstGeom prst="rect">
              <a:avLst/>
            </a:prstGeom>
          </p:spPr>
        </p:pic>
      </p:grpSp>
      <p:grpSp>
        <p:nvGrpSpPr>
          <p:cNvPr id="15" name="Group 14">
            <a:extLst>
              <a:ext uri="{FF2B5EF4-FFF2-40B4-BE49-F238E27FC236}">
                <a16:creationId xmlns:a16="http://schemas.microsoft.com/office/drawing/2014/main" id="{F2401432-214A-47D8-A59D-5CB5EC3F763F}"/>
              </a:ext>
            </a:extLst>
          </p:cNvPr>
          <p:cNvGrpSpPr/>
          <p:nvPr/>
        </p:nvGrpSpPr>
        <p:grpSpPr>
          <a:xfrm>
            <a:off x="403280" y="2486274"/>
            <a:ext cx="2568504" cy="1708374"/>
            <a:chOff x="403280" y="2486274"/>
            <a:chExt cx="2568504" cy="1708374"/>
          </a:xfrm>
        </p:grpSpPr>
        <p:sp>
          <p:nvSpPr>
            <p:cNvPr id="99" name="Freeform 15">
              <a:extLst>
                <a:ext uri="{FF2B5EF4-FFF2-40B4-BE49-F238E27FC236}">
                  <a16:creationId xmlns:a16="http://schemas.microsoft.com/office/drawing/2014/main" id="{444195DF-5948-42B8-B80F-43304A512E65}"/>
                </a:ext>
              </a:extLst>
            </p:cNvPr>
            <p:cNvSpPr>
              <a:spLocks/>
            </p:cNvSpPr>
            <p:nvPr/>
          </p:nvSpPr>
          <p:spPr bwMode="auto">
            <a:xfrm rot="16200000">
              <a:off x="1798850" y="3033979"/>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6">
              <a:extLst>
                <a:ext uri="{FF2B5EF4-FFF2-40B4-BE49-F238E27FC236}">
                  <a16:creationId xmlns:a16="http://schemas.microsoft.com/office/drawing/2014/main" id="{25F924C7-8A54-4787-9AD6-92D8FF2D7FBC}"/>
                </a:ext>
              </a:extLst>
            </p:cNvPr>
            <p:cNvSpPr>
              <a:spLocks/>
            </p:cNvSpPr>
            <p:nvPr/>
          </p:nvSpPr>
          <p:spPr bwMode="auto">
            <a:xfrm>
              <a:off x="2077484" y="2886558"/>
              <a:ext cx="894300" cy="1308090"/>
            </a:xfrm>
            <a:custGeom>
              <a:avLst/>
              <a:gdLst>
                <a:gd name="T0" fmla="*/ 61 w 419"/>
                <a:gd name="T1" fmla="*/ 0 h 619"/>
                <a:gd name="T2" fmla="*/ 40 w 419"/>
                <a:gd name="T3" fmla="*/ 42 h 619"/>
                <a:gd name="T4" fmla="*/ 40 w 419"/>
                <a:gd name="T5" fmla="*/ 43 h 619"/>
                <a:gd name="T6" fmla="*/ 9 w 419"/>
                <a:gd name="T7" fmla="*/ 254 h 619"/>
                <a:gd name="T8" fmla="*/ 35 w 419"/>
                <a:gd name="T9" fmla="*/ 358 h 619"/>
                <a:gd name="T10" fmla="*/ 87 w 419"/>
                <a:gd name="T11" fmla="*/ 452 h 619"/>
                <a:gd name="T12" fmla="*/ 127 w 419"/>
                <a:gd name="T13" fmla="*/ 498 h 619"/>
                <a:gd name="T14" fmla="*/ 255 w 419"/>
                <a:gd name="T15" fmla="*/ 585 h 619"/>
                <a:gd name="T16" fmla="*/ 419 w 419"/>
                <a:gd name="T17" fmla="*/ 619 h 619"/>
                <a:gd name="T18" fmla="*/ 419 w 419"/>
                <a:gd name="T19" fmla="*/ 206 h 619"/>
                <a:gd name="T20" fmla="*/ 61 w 419"/>
                <a:gd name="T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9" h="619">
                  <a:moveTo>
                    <a:pt x="61" y="0"/>
                  </a:moveTo>
                  <a:cubicBezTo>
                    <a:pt x="54" y="13"/>
                    <a:pt x="46" y="27"/>
                    <a:pt x="40" y="42"/>
                  </a:cubicBezTo>
                  <a:cubicBezTo>
                    <a:pt x="40" y="42"/>
                    <a:pt x="40" y="43"/>
                    <a:pt x="40" y="43"/>
                  </a:cubicBezTo>
                  <a:cubicBezTo>
                    <a:pt x="12" y="107"/>
                    <a:pt x="0" y="179"/>
                    <a:pt x="9" y="254"/>
                  </a:cubicBezTo>
                  <a:cubicBezTo>
                    <a:pt x="13" y="291"/>
                    <a:pt x="22" y="325"/>
                    <a:pt x="35" y="358"/>
                  </a:cubicBezTo>
                  <a:cubicBezTo>
                    <a:pt x="48" y="392"/>
                    <a:pt x="66" y="423"/>
                    <a:pt x="87" y="452"/>
                  </a:cubicBezTo>
                  <a:cubicBezTo>
                    <a:pt x="99" y="468"/>
                    <a:pt x="113" y="483"/>
                    <a:pt x="127" y="498"/>
                  </a:cubicBezTo>
                  <a:cubicBezTo>
                    <a:pt x="164" y="535"/>
                    <a:pt x="207" y="564"/>
                    <a:pt x="255" y="585"/>
                  </a:cubicBezTo>
                  <a:cubicBezTo>
                    <a:pt x="306" y="607"/>
                    <a:pt x="361" y="619"/>
                    <a:pt x="419" y="619"/>
                  </a:cubicBezTo>
                  <a:cubicBezTo>
                    <a:pt x="419" y="206"/>
                    <a:pt x="419" y="206"/>
                    <a:pt x="419" y="206"/>
                  </a:cubicBezTo>
                  <a:lnTo>
                    <a:pt x="6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403280" y="2486274"/>
              <a:ext cx="1639873" cy="1603162"/>
              <a:chOff x="403280" y="2719189"/>
              <a:chExt cx="1639873" cy="1603162"/>
            </a:xfrm>
          </p:grpSpPr>
          <p:sp>
            <p:nvSpPr>
              <p:cNvPr id="57" name="Freeform 10">
                <a:extLst>
                  <a:ext uri="{FF2B5EF4-FFF2-40B4-BE49-F238E27FC236}">
                    <a16:creationId xmlns:a16="http://schemas.microsoft.com/office/drawing/2014/main" id="{0F959092-D166-4E22-A893-F4FE1E06D77F}"/>
                  </a:ext>
                </a:extLst>
              </p:cNvPr>
              <p:cNvSpPr>
                <a:spLocks/>
              </p:cNvSpPr>
              <p:nvPr/>
            </p:nvSpPr>
            <p:spPr bwMode="auto">
              <a:xfrm>
                <a:off x="403280" y="2775461"/>
                <a:ext cx="1639873" cy="1546890"/>
              </a:xfrm>
              <a:custGeom>
                <a:avLst/>
                <a:gdLst>
                  <a:gd name="T0" fmla="*/ 503 w 700"/>
                  <a:gd name="T1" fmla="*/ 615 h 700"/>
                  <a:gd name="T2" fmla="*/ 615 w 700"/>
                  <a:gd name="T3" fmla="*/ 197 h 700"/>
                  <a:gd name="T4" fmla="*/ 197 w 700"/>
                  <a:gd name="T5" fmla="*/ 85 h 700"/>
                  <a:gd name="T6" fmla="*/ 84 w 700"/>
                  <a:gd name="T7" fmla="*/ 504 h 700"/>
                  <a:gd name="T8" fmla="*/ 503 w 700"/>
                  <a:gd name="T9" fmla="*/ 615 h 700"/>
                </a:gdLst>
                <a:ahLst/>
                <a:cxnLst>
                  <a:cxn ang="0">
                    <a:pos x="T0" y="T1"/>
                  </a:cxn>
                  <a:cxn ang="0">
                    <a:pos x="T2" y="T3"/>
                  </a:cxn>
                  <a:cxn ang="0">
                    <a:pos x="T4" y="T5"/>
                  </a:cxn>
                  <a:cxn ang="0">
                    <a:pos x="T6" y="T7"/>
                  </a:cxn>
                  <a:cxn ang="0">
                    <a:pos x="T8" y="T9"/>
                  </a:cxn>
                </a:cxnLst>
                <a:rect l="0" t="0" r="r" b="b"/>
                <a:pathLst>
                  <a:path w="700" h="700">
                    <a:moveTo>
                      <a:pt x="503" y="615"/>
                    </a:moveTo>
                    <a:cubicBezTo>
                      <a:pt x="650" y="531"/>
                      <a:pt x="700" y="343"/>
                      <a:pt x="615" y="197"/>
                    </a:cubicBezTo>
                    <a:cubicBezTo>
                      <a:pt x="531" y="51"/>
                      <a:pt x="343" y="0"/>
                      <a:pt x="197" y="85"/>
                    </a:cubicBezTo>
                    <a:cubicBezTo>
                      <a:pt x="50" y="170"/>
                      <a:pt x="0" y="357"/>
                      <a:pt x="84" y="504"/>
                    </a:cubicBezTo>
                    <a:cubicBezTo>
                      <a:pt x="169" y="650"/>
                      <a:pt x="356" y="700"/>
                      <a:pt x="503" y="6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Oval 23">
                <a:extLst>
                  <a:ext uri="{FF2B5EF4-FFF2-40B4-BE49-F238E27FC236}">
                    <a16:creationId xmlns:a16="http://schemas.microsoft.com/office/drawing/2014/main" id="{2F52DB70-C631-45A1-9994-3C7988726F58}"/>
                  </a:ext>
                </a:extLst>
              </p:cNvPr>
              <p:cNvSpPr>
                <a:spLocks noChangeArrowheads="1"/>
              </p:cNvSpPr>
              <p:nvPr/>
            </p:nvSpPr>
            <p:spPr bwMode="auto">
              <a:xfrm>
                <a:off x="608646" y="2969898"/>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0">
                <a:extLst>
                  <a:ext uri="{FF2B5EF4-FFF2-40B4-BE49-F238E27FC236}">
                    <a16:creationId xmlns:a16="http://schemas.microsoft.com/office/drawing/2014/main" id="{E439D28E-04BC-4EF3-B3DD-74E791334B23}"/>
                  </a:ext>
                </a:extLst>
              </p:cNvPr>
              <p:cNvSpPr/>
              <p:nvPr/>
            </p:nvSpPr>
            <p:spPr>
              <a:xfrm>
                <a:off x="758013" y="3182035"/>
                <a:ext cx="931863" cy="784830"/>
              </a:xfrm>
              <a:prstGeom prst="rect">
                <a:avLst/>
              </a:prstGeom>
            </p:spPr>
            <p:txBody>
              <a:bodyPr wrap="square" lIns="0" tIns="0" rIns="0" bIns="0">
                <a:spAutoFit/>
              </a:bodyPr>
              <a:lstStyle/>
              <a:p>
                <a:pPr lvl="0" algn="ctr" defTabSz="1377950">
                  <a:spcBef>
                    <a:spcPct val="0"/>
                  </a:spcBef>
                </a:pPr>
                <a:r>
                  <a:rPr lang="en-US" sz="1050" b="1" dirty="0"/>
                  <a:t>40% </a:t>
                </a:r>
                <a:br>
                  <a:rPr lang="en-US" sz="1000" b="1" dirty="0"/>
                </a:br>
                <a:r>
                  <a:rPr lang="en-US" sz="1000" dirty="0"/>
                  <a:t>Ultra-HNWIs, </a:t>
                </a:r>
              </a:p>
              <a:p>
                <a:pPr lvl="0" algn="ctr" defTabSz="1377950">
                  <a:spcBef>
                    <a:spcPct val="0"/>
                  </a:spcBef>
                </a:pPr>
                <a:r>
                  <a:rPr lang="en-US" sz="1000" dirty="0"/>
                  <a:t>v/s </a:t>
                </a:r>
                <a:r>
                  <a:rPr lang="en-US" sz="1050" b="1" dirty="0"/>
                  <a:t>17% </a:t>
                </a:r>
                <a:br>
                  <a:rPr lang="en-US" sz="1000" b="1" dirty="0"/>
                </a:br>
                <a:r>
                  <a:rPr lang="en-US" sz="1000" dirty="0"/>
                  <a:t>millionaires next door</a:t>
                </a:r>
              </a:p>
            </p:txBody>
          </p:sp>
          <p:sp>
            <p:nvSpPr>
              <p:cNvPr id="74" name="Oval 73">
                <a:extLst>
                  <a:ext uri="{FF2B5EF4-FFF2-40B4-BE49-F238E27FC236}">
                    <a16:creationId xmlns:a16="http://schemas.microsoft.com/office/drawing/2014/main" id="{497117AF-6E4B-4691-85D2-997DEB43DF98}"/>
                  </a:ext>
                </a:extLst>
              </p:cNvPr>
              <p:cNvSpPr/>
              <p:nvPr/>
            </p:nvSpPr>
            <p:spPr>
              <a:xfrm>
                <a:off x="961567" y="2719189"/>
                <a:ext cx="434073" cy="42989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4" name="Graphic 83" descr="Coins">
              <a:extLst>
                <a:ext uri="{FF2B5EF4-FFF2-40B4-BE49-F238E27FC236}">
                  <a16:creationId xmlns:a16="http://schemas.microsoft.com/office/drawing/2014/main" id="{2E232CE4-3056-4F06-A495-E2090B47AD6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544" y="2542730"/>
              <a:ext cx="309171" cy="309171"/>
            </a:xfrm>
            <a:prstGeom prst="rect">
              <a:avLst/>
            </a:prstGeom>
          </p:spPr>
        </p:pic>
      </p:grpSp>
      <p:grpSp>
        <p:nvGrpSpPr>
          <p:cNvPr id="11" name="Group 10">
            <a:extLst>
              <a:ext uri="{FF2B5EF4-FFF2-40B4-BE49-F238E27FC236}">
                <a16:creationId xmlns:a16="http://schemas.microsoft.com/office/drawing/2014/main" id="{1561FB83-7803-46A5-8707-6E9CD7A7524B}"/>
              </a:ext>
            </a:extLst>
          </p:cNvPr>
          <p:cNvGrpSpPr/>
          <p:nvPr/>
        </p:nvGrpSpPr>
        <p:grpSpPr>
          <a:xfrm>
            <a:off x="2206455" y="943755"/>
            <a:ext cx="1525814" cy="2378483"/>
            <a:chOff x="2206455" y="943755"/>
            <a:chExt cx="1525814" cy="2378483"/>
          </a:xfrm>
        </p:grpSpPr>
        <p:sp>
          <p:nvSpPr>
            <p:cNvPr id="58" name="Rectangle 13">
              <a:extLst>
                <a:ext uri="{FF2B5EF4-FFF2-40B4-BE49-F238E27FC236}">
                  <a16:creationId xmlns:a16="http://schemas.microsoft.com/office/drawing/2014/main" id="{F1349C0A-D379-40C6-8914-8D5E4642CECC}"/>
                </a:ext>
              </a:extLst>
            </p:cNvPr>
            <p:cNvSpPr>
              <a:spLocks noChangeArrowheads="1"/>
            </p:cNvSpPr>
            <p:nvPr/>
          </p:nvSpPr>
          <p:spPr bwMode="auto">
            <a:xfrm>
              <a:off x="2718443" y="2491746"/>
              <a:ext cx="1376" cy="1363"/>
            </a:xfrm>
            <a:prstGeom prst="rect">
              <a:avLst/>
            </a:prstGeom>
            <a:solidFill>
              <a:srgbClr val="023D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
              <a:extLst>
                <a:ext uri="{FF2B5EF4-FFF2-40B4-BE49-F238E27FC236}">
                  <a16:creationId xmlns:a16="http://schemas.microsoft.com/office/drawing/2014/main" id="{66571B8F-41FC-43AC-9E41-60FA8F1481FD}"/>
                </a:ext>
              </a:extLst>
            </p:cNvPr>
            <p:cNvSpPr>
              <a:spLocks noChangeArrowheads="1"/>
            </p:cNvSpPr>
            <p:nvPr/>
          </p:nvSpPr>
          <p:spPr bwMode="auto">
            <a:xfrm>
              <a:off x="2718443" y="2491746"/>
              <a:ext cx="1376" cy="1363"/>
            </a:xfrm>
            <a:prstGeom prst="rect">
              <a:avLst/>
            </a:prstGeom>
            <a:solidFill>
              <a:srgbClr val="023D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a:extLst>
                <a:ext uri="{FF2B5EF4-FFF2-40B4-BE49-F238E27FC236}">
                  <a16:creationId xmlns:a16="http://schemas.microsoft.com/office/drawing/2014/main" id="{444195DF-5948-42B8-B80F-43304A512E65}"/>
                </a:ext>
              </a:extLst>
            </p:cNvPr>
            <p:cNvSpPr>
              <a:spLocks/>
            </p:cNvSpPr>
            <p:nvPr/>
          </p:nvSpPr>
          <p:spPr bwMode="auto">
            <a:xfrm>
              <a:off x="2829714" y="1997796"/>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8">
              <a:extLst>
                <a:ext uri="{FF2B5EF4-FFF2-40B4-BE49-F238E27FC236}">
                  <a16:creationId xmlns:a16="http://schemas.microsoft.com/office/drawing/2014/main" id="{7F919759-4B90-414E-A1B9-7ADA20FE48BC}"/>
                </a:ext>
              </a:extLst>
            </p:cNvPr>
            <p:cNvSpPr>
              <a:spLocks/>
            </p:cNvSpPr>
            <p:nvPr/>
          </p:nvSpPr>
          <p:spPr bwMode="auto">
            <a:xfrm>
              <a:off x="2206455" y="2435189"/>
              <a:ext cx="1525814" cy="887049"/>
            </a:xfrm>
            <a:custGeom>
              <a:avLst/>
              <a:gdLst>
                <a:gd name="T0" fmla="*/ 358 w 715"/>
                <a:gd name="T1" fmla="*/ 419 h 419"/>
                <a:gd name="T2" fmla="*/ 715 w 715"/>
                <a:gd name="T3" fmla="*/ 213 h 419"/>
                <a:gd name="T4" fmla="*/ 688 w 715"/>
                <a:gd name="T5" fmla="*/ 171 h 419"/>
                <a:gd name="T6" fmla="*/ 650 w 715"/>
                <a:gd name="T7" fmla="*/ 127 h 419"/>
                <a:gd name="T8" fmla="*/ 521 w 715"/>
                <a:gd name="T9" fmla="*/ 40 h 419"/>
                <a:gd name="T10" fmla="*/ 310 w 715"/>
                <a:gd name="T11" fmla="*/ 9 h 419"/>
                <a:gd name="T12" fmla="*/ 308 w 715"/>
                <a:gd name="T13" fmla="*/ 9 h 419"/>
                <a:gd name="T14" fmla="*/ 206 w 715"/>
                <a:gd name="T15" fmla="*/ 35 h 419"/>
                <a:gd name="T16" fmla="*/ 68 w 715"/>
                <a:gd name="T17" fmla="*/ 125 h 419"/>
                <a:gd name="T18" fmla="*/ 0 w 715"/>
                <a:gd name="T19" fmla="*/ 213 h 419"/>
                <a:gd name="T20" fmla="*/ 358 w 715"/>
                <a:gd name="T21"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419">
                  <a:moveTo>
                    <a:pt x="358" y="419"/>
                  </a:moveTo>
                  <a:cubicBezTo>
                    <a:pt x="715" y="213"/>
                    <a:pt x="715" y="213"/>
                    <a:pt x="715" y="213"/>
                  </a:cubicBezTo>
                  <a:cubicBezTo>
                    <a:pt x="707" y="198"/>
                    <a:pt x="698" y="185"/>
                    <a:pt x="688" y="171"/>
                  </a:cubicBezTo>
                  <a:cubicBezTo>
                    <a:pt x="676" y="156"/>
                    <a:pt x="663" y="141"/>
                    <a:pt x="650" y="127"/>
                  </a:cubicBezTo>
                  <a:cubicBezTo>
                    <a:pt x="613" y="90"/>
                    <a:pt x="569" y="61"/>
                    <a:pt x="521" y="40"/>
                  </a:cubicBezTo>
                  <a:cubicBezTo>
                    <a:pt x="457" y="12"/>
                    <a:pt x="384" y="0"/>
                    <a:pt x="310" y="9"/>
                  </a:cubicBezTo>
                  <a:cubicBezTo>
                    <a:pt x="309" y="9"/>
                    <a:pt x="309" y="9"/>
                    <a:pt x="308" y="9"/>
                  </a:cubicBezTo>
                  <a:cubicBezTo>
                    <a:pt x="272" y="13"/>
                    <a:pt x="238" y="22"/>
                    <a:pt x="206" y="35"/>
                  </a:cubicBezTo>
                  <a:cubicBezTo>
                    <a:pt x="153" y="56"/>
                    <a:pt x="107" y="87"/>
                    <a:pt x="68" y="125"/>
                  </a:cubicBezTo>
                  <a:cubicBezTo>
                    <a:pt x="42" y="151"/>
                    <a:pt x="19" y="181"/>
                    <a:pt x="0" y="213"/>
                  </a:cubicBezTo>
                  <a:lnTo>
                    <a:pt x="358" y="4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Oval 21">
              <a:extLst>
                <a:ext uri="{FF2B5EF4-FFF2-40B4-BE49-F238E27FC236}">
                  <a16:creationId xmlns:a16="http://schemas.microsoft.com/office/drawing/2014/main" id="{6885F1F6-D02A-40AB-B43C-CFF0AEEC121D}"/>
                </a:ext>
              </a:extLst>
            </p:cNvPr>
            <p:cNvSpPr>
              <a:spLocks noChangeArrowheads="1"/>
            </p:cNvSpPr>
            <p:nvPr/>
          </p:nvSpPr>
          <p:spPr bwMode="auto">
            <a:xfrm>
              <a:off x="2267424" y="943755"/>
              <a:ext cx="1433001" cy="135459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Oval 23">
              <a:extLst>
                <a:ext uri="{FF2B5EF4-FFF2-40B4-BE49-F238E27FC236}">
                  <a16:creationId xmlns:a16="http://schemas.microsoft.com/office/drawing/2014/main" id="{F96237F4-0556-45A3-8295-6B018C3E5625}"/>
                </a:ext>
              </a:extLst>
            </p:cNvPr>
            <p:cNvSpPr>
              <a:spLocks noChangeArrowheads="1"/>
            </p:cNvSpPr>
            <p:nvPr/>
          </p:nvSpPr>
          <p:spPr bwMode="auto">
            <a:xfrm>
              <a:off x="2372661" y="1039162"/>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a:extLst>
                <a:ext uri="{FF2B5EF4-FFF2-40B4-BE49-F238E27FC236}">
                  <a16:creationId xmlns:a16="http://schemas.microsoft.com/office/drawing/2014/main" id="{7B4F4703-B426-4420-9CF4-B9F0158E4A90}"/>
                </a:ext>
              </a:extLst>
            </p:cNvPr>
            <p:cNvGrpSpPr/>
            <p:nvPr/>
          </p:nvGrpSpPr>
          <p:grpSpPr>
            <a:xfrm>
              <a:off x="2255349" y="973096"/>
              <a:ext cx="434073" cy="429891"/>
              <a:chOff x="2995885" y="823089"/>
              <a:chExt cx="500848" cy="500848"/>
            </a:xfrm>
          </p:grpSpPr>
          <p:sp>
            <p:nvSpPr>
              <p:cNvPr id="78" name="Oval 77">
                <a:extLst>
                  <a:ext uri="{FF2B5EF4-FFF2-40B4-BE49-F238E27FC236}">
                    <a16:creationId xmlns:a16="http://schemas.microsoft.com/office/drawing/2014/main" id="{E8774F81-99DF-4257-B65A-85CF4F5D2C5A}"/>
                  </a:ext>
                </a:extLst>
              </p:cNvPr>
              <p:cNvSpPr/>
              <p:nvPr/>
            </p:nvSpPr>
            <p:spPr>
              <a:xfrm>
                <a:off x="2995885" y="823089"/>
                <a:ext cx="500848" cy="500848"/>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e 364">
                <a:extLst>
                  <a:ext uri="{FF2B5EF4-FFF2-40B4-BE49-F238E27FC236}">
                    <a16:creationId xmlns:a16="http://schemas.microsoft.com/office/drawing/2014/main" id="{B5D421C6-710D-4A71-AF35-300DFC1865BB}"/>
                  </a:ext>
                </a:extLst>
              </p:cNvPr>
              <p:cNvGrpSpPr/>
              <p:nvPr/>
            </p:nvGrpSpPr>
            <p:grpSpPr>
              <a:xfrm>
                <a:off x="3056661" y="876323"/>
                <a:ext cx="394836" cy="376567"/>
                <a:chOff x="6453188" y="3889375"/>
                <a:chExt cx="585788" cy="569913"/>
              </a:xfrm>
            </p:grpSpPr>
            <p:sp>
              <p:nvSpPr>
                <p:cNvPr id="80" name="Freeform 226">
                  <a:extLst>
                    <a:ext uri="{FF2B5EF4-FFF2-40B4-BE49-F238E27FC236}">
                      <a16:creationId xmlns:a16="http://schemas.microsoft.com/office/drawing/2014/main" id="{B16089E6-A964-471E-964A-F0A5AA1B3225}"/>
                    </a:ext>
                  </a:extLst>
                </p:cNvPr>
                <p:cNvSpPr>
                  <a:spLocks/>
                </p:cNvSpPr>
                <p:nvPr/>
              </p:nvSpPr>
              <p:spPr bwMode="auto">
                <a:xfrm>
                  <a:off x="6453188" y="3922713"/>
                  <a:ext cx="541338" cy="536575"/>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27">
                  <a:extLst>
                    <a:ext uri="{FF2B5EF4-FFF2-40B4-BE49-F238E27FC236}">
                      <a16:creationId xmlns:a16="http://schemas.microsoft.com/office/drawing/2014/main" id="{3119955C-CCD2-4767-AB97-CDF6D6F11E23}"/>
                    </a:ext>
                  </a:extLst>
                </p:cNvPr>
                <p:cNvSpPr>
                  <a:spLocks/>
                </p:cNvSpPr>
                <p:nvPr/>
              </p:nvSpPr>
              <p:spPr bwMode="auto">
                <a:xfrm>
                  <a:off x="6719888" y="3889375"/>
                  <a:ext cx="319088" cy="311150"/>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28">
                  <a:extLst>
                    <a:ext uri="{FF2B5EF4-FFF2-40B4-BE49-F238E27FC236}">
                      <a16:creationId xmlns:a16="http://schemas.microsoft.com/office/drawing/2014/main" id="{89CE6A2B-BACA-4009-8943-2DA171C2D406}"/>
                    </a:ext>
                  </a:extLst>
                </p:cNvPr>
                <p:cNvSpPr>
                  <a:spLocks/>
                </p:cNvSpPr>
                <p:nvPr/>
              </p:nvSpPr>
              <p:spPr bwMode="auto">
                <a:xfrm>
                  <a:off x="6529388" y="4038602"/>
                  <a:ext cx="165100" cy="304800"/>
                </a:xfrm>
                <a:custGeom>
                  <a:avLst/>
                  <a:gdLst>
                    <a:gd name="T0" fmla="*/ 17 w 44"/>
                    <a:gd name="T1" fmla="*/ 70 h 81"/>
                    <a:gd name="T2" fmla="*/ 6 w 44"/>
                    <a:gd name="T3" fmla="*/ 68 h 81"/>
                    <a:gd name="T4" fmla="*/ 0 w 44"/>
                    <a:gd name="T5" fmla="*/ 66 h 81"/>
                    <a:gd name="T6" fmla="*/ 3 w 44"/>
                    <a:gd name="T7" fmla="*/ 55 h 81"/>
                    <a:gd name="T8" fmla="*/ 11 w 44"/>
                    <a:gd name="T9" fmla="*/ 58 h 81"/>
                    <a:gd name="T10" fmla="*/ 20 w 44"/>
                    <a:gd name="T11" fmla="*/ 59 h 81"/>
                    <a:gd name="T12" fmla="*/ 28 w 44"/>
                    <a:gd name="T13" fmla="*/ 58 h 81"/>
                    <a:gd name="T14" fmla="*/ 30 w 44"/>
                    <a:gd name="T15" fmla="*/ 53 h 81"/>
                    <a:gd name="T16" fmla="*/ 29 w 44"/>
                    <a:gd name="T17" fmla="*/ 50 h 81"/>
                    <a:gd name="T18" fmla="*/ 27 w 44"/>
                    <a:gd name="T19" fmla="*/ 48 h 81"/>
                    <a:gd name="T20" fmla="*/ 23 w 44"/>
                    <a:gd name="T21" fmla="*/ 46 h 81"/>
                    <a:gd name="T22" fmla="*/ 17 w 44"/>
                    <a:gd name="T23" fmla="*/ 44 h 81"/>
                    <a:gd name="T24" fmla="*/ 11 w 44"/>
                    <a:gd name="T25" fmla="*/ 41 h 81"/>
                    <a:gd name="T26" fmla="*/ 6 w 44"/>
                    <a:gd name="T27" fmla="*/ 38 h 81"/>
                    <a:gd name="T28" fmla="*/ 3 w 44"/>
                    <a:gd name="T29" fmla="*/ 33 h 81"/>
                    <a:gd name="T30" fmla="*/ 1 w 44"/>
                    <a:gd name="T31" fmla="*/ 27 h 81"/>
                    <a:gd name="T32" fmla="*/ 2 w 44"/>
                    <a:gd name="T33" fmla="*/ 21 h 81"/>
                    <a:gd name="T34" fmla="*/ 5 w 44"/>
                    <a:gd name="T35" fmla="*/ 16 h 81"/>
                    <a:gd name="T36" fmla="*/ 10 w 44"/>
                    <a:gd name="T37" fmla="*/ 12 h 81"/>
                    <a:gd name="T38" fmla="*/ 17 w 44"/>
                    <a:gd name="T39" fmla="*/ 10 h 81"/>
                    <a:gd name="T40" fmla="*/ 17 w 44"/>
                    <a:gd name="T41" fmla="*/ 0 h 81"/>
                    <a:gd name="T42" fmla="*/ 28 w 44"/>
                    <a:gd name="T43" fmla="*/ 0 h 81"/>
                    <a:gd name="T44" fmla="*/ 28 w 44"/>
                    <a:gd name="T45" fmla="*/ 9 h 81"/>
                    <a:gd name="T46" fmla="*/ 36 w 44"/>
                    <a:gd name="T47" fmla="*/ 11 h 81"/>
                    <a:gd name="T48" fmla="*/ 42 w 44"/>
                    <a:gd name="T49" fmla="*/ 13 h 81"/>
                    <a:gd name="T50" fmla="*/ 39 w 44"/>
                    <a:gd name="T51" fmla="*/ 24 h 81"/>
                    <a:gd name="T52" fmla="*/ 32 w 44"/>
                    <a:gd name="T53" fmla="*/ 21 h 81"/>
                    <a:gd name="T54" fmla="*/ 23 w 44"/>
                    <a:gd name="T55" fmla="*/ 21 h 81"/>
                    <a:gd name="T56" fmla="*/ 17 w 44"/>
                    <a:gd name="T57" fmla="*/ 22 h 81"/>
                    <a:gd name="T58" fmla="*/ 15 w 44"/>
                    <a:gd name="T59" fmla="*/ 26 h 81"/>
                    <a:gd name="T60" fmla="*/ 16 w 44"/>
                    <a:gd name="T61" fmla="*/ 28 h 81"/>
                    <a:gd name="T62" fmla="*/ 18 w 44"/>
                    <a:gd name="T63" fmla="*/ 30 h 81"/>
                    <a:gd name="T64" fmla="*/ 21 w 44"/>
                    <a:gd name="T65" fmla="*/ 32 h 81"/>
                    <a:gd name="T66" fmla="*/ 25 w 44"/>
                    <a:gd name="T67" fmla="*/ 33 h 81"/>
                    <a:gd name="T68" fmla="*/ 33 w 44"/>
                    <a:gd name="T69" fmla="*/ 37 h 81"/>
                    <a:gd name="T70" fmla="*/ 39 w 44"/>
                    <a:gd name="T71" fmla="*/ 40 h 81"/>
                    <a:gd name="T72" fmla="*/ 43 w 44"/>
                    <a:gd name="T73" fmla="*/ 46 h 81"/>
                    <a:gd name="T74" fmla="*/ 44 w 44"/>
                    <a:gd name="T75" fmla="*/ 53 h 81"/>
                    <a:gd name="T76" fmla="*/ 43 w 44"/>
                    <a:gd name="T77" fmla="*/ 58 h 81"/>
                    <a:gd name="T78" fmla="*/ 41 w 44"/>
                    <a:gd name="T79" fmla="*/ 63 h 81"/>
                    <a:gd name="T80" fmla="*/ 36 w 44"/>
                    <a:gd name="T81" fmla="*/ 67 h 81"/>
                    <a:gd name="T82" fmla="*/ 28 w 44"/>
                    <a:gd name="T83" fmla="*/ 70 h 81"/>
                    <a:gd name="T84" fmla="*/ 28 w 44"/>
                    <a:gd name="T85" fmla="*/ 81 h 81"/>
                    <a:gd name="T86" fmla="*/ 17 w 44"/>
                    <a:gd name="T87" fmla="*/ 81 h 81"/>
                    <a:gd name="T88" fmla="*/ 17 w 44"/>
                    <a:gd name="T89"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81">
                      <a:moveTo>
                        <a:pt x="17" y="70"/>
                      </a:moveTo>
                      <a:cubicBezTo>
                        <a:pt x="12" y="70"/>
                        <a:pt x="8" y="69"/>
                        <a:pt x="6" y="68"/>
                      </a:cubicBezTo>
                      <a:cubicBezTo>
                        <a:pt x="3" y="67"/>
                        <a:pt x="1" y="66"/>
                        <a:pt x="0" y="66"/>
                      </a:cubicBezTo>
                      <a:cubicBezTo>
                        <a:pt x="3" y="55"/>
                        <a:pt x="3" y="55"/>
                        <a:pt x="3" y="55"/>
                      </a:cubicBezTo>
                      <a:cubicBezTo>
                        <a:pt x="6" y="56"/>
                        <a:pt x="8" y="57"/>
                        <a:pt x="11" y="58"/>
                      </a:cubicBezTo>
                      <a:cubicBezTo>
                        <a:pt x="14" y="59"/>
                        <a:pt x="17" y="59"/>
                        <a:pt x="20" y="59"/>
                      </a:cubicBezTo>
                      <a:cubicBezTo>
                        <a:pt x="24" y="59"/>
                        <a:pt x="27" y="59"/>
                        <a:pt x="28" y="58"/>
                      </a:cubicBezTo>
                      <a:cubicBezTo>
                        <a:pt x="29" y="57"/>
                        <a:pt x="30" y="55"/>
                        <a:pt x="30" y="53"/>
                      </a:cubicBezTo>
                      <a:cubicBezTo>
                        <a:pt x="30" y="52"/>
                        <a:pt x="30" y="51"/>
                        <a:pt x="29" y="50"/>
                      </a:cubicBezTo>
                      <a:cubicBezTo>
                        <a:pt x="29" y="49"/>
                        <a:pt x="28" y="49"/>
                        <a:pt x="27" y="48"/>
                      </a:cubicBezTo>
                      <a:cubicBezTo>
                        <a:pt x="26" y="47"/>
                        <a:pt x="25" y="47"/>
                        <a:pt x="23" y="46"/>
                      </a:cubicBezTo>
                      <a:cubicBezTo>
                        <a:pt x="21" y="45"/>
                        <a:pt x="20" y="45"/>
                        <a:pt x="17" y="44"/>
                      </a:cubicBezTo>
                      <a:cubicBezTo>
                        <a:pt x="15" y="43"/>
                        <a:pt x="14" y="42"/>
                        <a:pt x="11" y="41"/>
                      </a:cubicBezTo>
                      <a:cubicBezTo>
                        <a:pt x="10" y="40"/>
                        <a:pt x="8" y="39"/>
                        <a:pt x="6" y="38"/>
                      </a:cubicBezTo>
                      <a:cubicBezTo>
                        <a:pt x="5" y="37"/>
                        <a:pt x="3" y="35"/>
                        <a:pt x="3" y="33"/>
                      </a:cubicBezTo>
                      <a:cubicBezTo>
                        <a:pt x="2" y="32"/>
                        <a:pt x="1" y="29"/>
                        <a:pt x="1" y="27"/>
                      </a:cubicBezTo>
                      <a:cubicBezTo>
                        <a:pt x="1" y="25"/>
                        <a:pt x="1" y="23"/>
                        <a:pt x="2" y="21"/>
                      </a:cubicBezTo>
                      <a:cubicBezTo>
                        <a:pt x="3" y="19"/>
                        <a:pt x="3" y="17"/>
                        <a:pt x="5" y="16"/>
                      </a:cubicBezTo>
                      <a:cubicBezTo>
                        <a:pt x="6" y="14"/>
                        <a:pt x="8" y="13"/>
                        <a:pt x="10" y="12"/>
                      </a:cubicBezTo>
                      <a:cubicBezTo>
                        <a:pt x="12" y="11"/>
                        <a:pt x="14" y="10"/>
                        <a:pt x="17" y="10"/>
                      </a:cubicBezTo>
                      <a:cubicBezTo>
                        <a:pt x="17" y="0"/>
                        <a:pt x="17" y="0"/>
                        <a:pt x="17" y="0"/>
                      </a:cubicBezTo>
                      <a:cubicBezTo>
                        <a:pt x="28" y="0"/>
                        <a:pt x="28" y="0"/>
                        <a:pt x="28" y="0"/>
                      </a:cubicBezTo>
                      <a:cubicBezTo>
                        <a:pt x="28" y="9"/>
                        <a:pt x="28" y="9"/>
                        <a:pt x="28" y="9"/>
                      </a:cubicBezTo>
                      <a:cubicBezTo>
                        <a:pt x="31" y="10"/>
                        <a:pt x="34" y="10"/>
                        <a:pt x="36" y="11"/>
                      </a:cubicBezTo>
                      <a:cubicBezTo>
                        <a:pt x="39" y="12"/>
                        <a:pt x="40" y="12"/>
                        <a:pt x="42" y="13"/>
                      </a:cubicBezTo>
                      <a:cubicBezTo>
                        <a:pt x="39" y="24"/>
                        <a:pt x="39" y="24"/>
                        <a:pt x="39" y="24"/>
                      </a:cubicBezTo>
                      <a:cubicBezTo>
                        <a:pt x="37" y="23"/>
                        <a:pt x="35" y="22"/>
                        <a:pt x="32" y="21"/>
                      </a:cubicBezTo>
                      <a:cubicBezTo>
                        <a:pt x="29" y="21"/>
                        <a:pt x="26" y="21"/>
                        <a:pt x="23" y="21"/>
                      </a:cubicBezTo>
                      <a:cubicBezTo>
                        <a:pt x="20" y="21"/>
                        <a:pt x="18" y="21"/>
                        <a:pt x="17" y="22"/>
                      </a:cubicBezTo>
                      <a:cubicBezTo>
                        <a:pt x="16" y="23"/>
                        <a:pt x="15" y="24"/>
                        <a:pt x="15" y="26"/>
                      </a:cubicBezTo>
                      <a:cubicBezTo>
                        <a:pt x="15" y="27"/>
                        <a:pt x="15" y="28"/>
                        <a:pt x="16" y="28"/>
                      </a:cubicBezTo>
                      <a:cubicBezTo>
                        <a:pt x="16" y="29"/>
                        <a:pt x="17" y="30"/>
                        <a:pt x="18" y="30"/>
                      </a:cubicBezTo>
                      <a:cubicBezTo>
                        <a:pt x="19" y="31"/>
                        <a:pt x="20" y="31"/>
                        <a:pt x="21" y="32"/>
                      </a:cubicBezTo>
                      <a:cubicBezTo>
                        <a:pt x="22" y="32"/>
                        <a:pt x="24" y="33"/>
                        <a:pt x="25" y="33"/>
                      </a:cubicBezTo>
                      <a:cubicBezTo>
                        <a:pt x="28" y="34"/>
                        <a:pt x="31" y="35"/>
                        <a:pt x="33" y="37"/>
                      </a:cubicBezTo>
                      <a:cubicBezTo>
                        <a:pt x="35" y="38"/>
                        <a:pt x="37" y="39"/>
                        <a:pt x="39" y="40"/>
                      </a:cubicBezTo>
                      <a:cubicBezTo>
                        <a:pt x="41" y="42"/>
                        <a:pt x="42" y="44"/>
                        <a:pt x="43" y="46"/>
                      </a:cubicBezTo>
                      <a:cubicBezTo>
                        <a:pt x="44" y="48"/>
                        <a:pt x="44" y="50"/>
                        <a:pt x="44" y="53"/>
                      </a:cubicBezTo>
                      <a:cubicBezTo>
                        <a:pt x="44" y="55"/>
                        <a:pt x="44" y="57"/>
                        <a:pt x="43" y="58"/>
                      </a:cubicBezTo>
                      <a:cubicBezTo>
                        <a:pt x="43" y="60"/>
                        <a:pt x="42" y="62"/>
                        <a:pt x="41" y="63"/>
                      </a:cubicBezTo>
                      <a:cubicBezTo>
                        <a:pt x="39" y="65"/>
                        <a:pt x="38" y="66"/>
                        <a:pt x="36" y="67"/>
                      </a:cubicBezTo>
                      <a:cubicBezTo>
                        <a:pt x="34" y="68"/>
                        <a:pt x="31" y="69"/>
                        <a:pt x="28" y="70"/>
                      </a:cubicBezTo>
                      <a:cubicBezTo>
                        <a:pt x="28" y="81"/>
                        <a:pt x="28" y="81"/>
                        <a:pt x="28" y="81"/>
                      </a:cubicBezTo>
                      <a:cubicBezTo>
                        <a:pt x="17" y="81"/>
                        <a:pt x="17" y="81"/>
                        <a:pt x="17" y="81"/>
                      </a:cubicBezTo>
                      <a:cubicBezTo>
                        <a:pt x="17" y="70"/>
                        <a:pt x="17" y="70"/>
                        <a:pt x="17"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8" name="Rectangle 87">
              <a:extLst>
                <a:ext uri="{FF2B5EF4-FFF2-40B4-BE49-F238E27FC236}">
                  <a16:creationId xmlns:a16="http://schemas.microsoft.com/office/drawing/2014/main" id="{F5217AE1-0143-4182-A0A0-AA471EED13ED}"/>
                </a:ext>
              </a:extLst>
            </p:cNvPr>
            <p:cNvSpPr/>
            <p:nvPr/>
          </p:nvSpPr>
          <p:spPr>
            <a:xfrm>
              <a:off x="2469974" y="1275148"/>
              <a:ext cx="1018903" cy="837922"/>
            </a:xfrm>
            <a:prstGeom prst="rect">
              <a:avLst/>
            </a:prstGeom>
          </p:spPr>
          <p:txBody>
            <a:bodyPr wrap="square" lIns="0" tIns="0" rIns="0" bIns="0">
              <a:spAutoFit/>
            </a:bodyPr>
            <a:lstStyle/>
            <a:p>
              <a:pPr lvl="0" algn="ctr" defTabSz="1377950">
                <a:lnSpc>
                  <a:spcPct val="90000"/>
                </a:lnSpc>
                <a:spcBef>
                  <a:spcPct val="0"/>
                </a:spcBef>
                <a:spcAft>
                  <a:spcPct val="35000"/>
                </a:spcAft>
              </a:pPr>
              <a:r>
                <a:rPr lang="en-US" sz="1000" dirty="0"/>
                <a:t>Highest interest from Asia-Pacific (excl. Japan) and </a:t>
              </a:r>
              <a:r>
                <a:rPr lang="en-US" sz="1000" dirty="0" err="1"/>
                <a:t>Latam</a:t>
              </a:r>
              <a:r>
                <a:rPr lang="en-US" sz="1000" dirty="0"/>
                <a:t> at </a:t>
              </a:r>
              <a:r>
                <a:rPr lang="en-US" sz="1050" b="1" dirty="0"/>
                <a:t>54%</a:t>
              </a:r>
              <a:endParaRPr lang="en-US" sz="1000" dirty="0"/>
            </a:p>
          </p:txBody>
        </p:sp>
      </p:grpSp>
      <p:sp>
        <p:nvSpPr>
          <p:cNvPr id="66" name="Oval 23">
            <a:extLst>
              <a:ext uri="{FF2B5EF4-FFF2-40B4-BE49-F238E27FC236}">
                <a16:creationId xmlns:a16="http://schemas.microsoft.com/office/drawing/2014/main" id="{B81D7A03-8BBE-481D-B04C-E84842771DE1}"/>
              </a:ext>
            </a:extLst>
          </p:cNvPr>
          <p:cNvSpPr>
            <a:spLocks noChangeArrowheads="1"/>
          </p:cNvSpPr>
          <p:nvPr/>
        </p:nvSpPr>
        <p:spPr bwMode="auto">
          <a:xfrm>
            <a:off x="2228450" y="2567873"/>
            <a:ext cx="1484577" cy="1488661"/>
          </a:xfrm>
          <a:prstGeom prst="ellipse">
            <a:avLst/>
          </a:prstGeom>
          <a:solidFill>
            <a:srgbClr val="F1F2F2"/>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68" name="Picture 67" descr="A close up of a logo&#10;&#10;Description automatically generated">
            <a:extLst>
              <a:ext uri="{FF2B5EF4-FFF2-40B4-BE49-F238E27FC236}">
                <a16:creationId xmlns:a16="http://schemas.microsoft.com/office/drawing/2014/main" id="{5F73119D-40E5-43D2-954F-A272C37698E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90215" y="2600792"/>
            <a:ext cx="757483" cy="490269"/>
          </a:xfrm>
          <a:prstGeom prst="rect">
            <a:avLst/>
          </a:prstGeom>
        </p:spPr>
      </p:pic>
      <p:sp>
        <p:nvSpPr>
          <p:cNvPr id="69" name="Rectangle 68">
            <a:extLst>
              <a:ext uri="{FF2B5EF4-FFF2-40B4-BE49-F238E27FC236}">
                <a16:creationId xmlns:a16="http://schemas.microsoft.com/office/drawing/2014/main" id="{DF63AD70-9E97-4686-B94A-0C4A389367CC}"/>
              </a:ext>
            </a:extLst>
          </p:cNvPr>
          <p:cNvSpPr/>
          <p:nvPr/>
        </p:nvSpPr>
        <p:spPr>
          <a:xfrm>
            <a:off x="2329356" y="3063662"/>
            <a:ext cx="1306680" cy="923330"/>
          </a:xfrm>
          <a:prstGeom prst="rect">
            <a:avLst/>
          </a:prstGeom>
        </p:spPr>
        <p:txBody>
          <a:bodyPr wrap="square">
            <a:spAutoFit/>
          </a:bodyPr>
          <a:lstStyle/>
          <a:p>
            <a:pPr lvl="0" algn="ctr" defTabSz="1377950">
              <a:lnSpc>
                <a:spcPct val="90000"/>
              </a:lnSpc>
              <a:spcBef>
                <a:spcPct val="0"/>
              </a:spcBef>
              <a:spcAft>
                <a:spcPct val="35000"/>
              </a:spcAft>
            </a:pPr>
            <a:r>
              <a:rPr lang="en-US" sz="1050" b="1" dirty="0"/>
              <a:t>27%</a:t>
            </a:r>
            <a:r>
              <a:rPr lang="en-US" sz="1000" dirty="0"/>
              <a:t> of overall HNWIs are interested in sustainable investing products </a:t>
            </a:r>
          </a:p>
        </p:txBody>
      </p:sp>
      <p:sp>
        <p:nvSpPr>
          <p:cNvPr id="4" name="Title 3"/>
          <p:cNvSpPr>
            <a:spLocks noGrp="1"/>
          </p:cNvSpPr>
          <p:nvPr>
            <p:ph type="title"/>
          </p:nvPr>
        </p:nvSpPr>
        <p:spPr>
          <a:xfrm>
            <a:off x="227349" y="160527"/>
            <a:ext cx="8778236" cy="844589"/>
          </a:xfrm>
        </p:spPr>
        <p:txBody>
          <a:bodyPr/>
          <a:lstStyle/>
          <a:p>
            <a:r>
              <a:rPr lang="en-IN" sz="2200" dirty="0"/>
              <a:t>Sustainable investing gains prominence….and more relevance than ever</a:t>
            </a:r>
            <a:endParaRPr lang="en-US" sz="2200" dirty="0"/>
          </a:p>
        </p:txBody>
      </p:sp>
      <p:sp>
        <p:nvSpPr>
          <p:cNvPr id="38" name="Rectangle 37">
            <a:extLst>
              <a:ext uri="{FF2B5EF4-FFF2-40B4-BE49-F238E27FC236}">
                <a16:creationId xmlns:a16="http://schemas.microsoft.com/office/drawing/2014/main" id="{7B2A6AB6-A494-4162-B373-50C0FB5ED66A}"/>
              </a:ext>
            </a:extLst>
          </p:cNvPr>
          <p:cNvSpPr/>
          <p:nvPr/>
        </p:nvSpPr>
        <p:spPr>
          <a:xfrm>
            <a:off x="0" y="5722671"/>
            <a:ext cx="12192000" cy="4801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N Q1 2020, ESG-based portfolios outperformed broader indexes, with a surge in demand for </a:t>
            </a:r>
          </a:p>
          <a:p>
            <a:pPr algn="ctr"/>
            <a:r>
              <a:rPr lang="en-US" sz="1200" b="1" dirty="0">
                <a:solidFill>
                  <a:schemeClr val="bg1"/>
                </a:solidFill>
              </a:rPr>
              <a:t>sustainable investing post the pandemic outbreak.</a:t>
            </a:r>
          </a:p>
        </p:txBody>
      </p:sp>
      <p:sp>
        <p:nvSpPr>
          <p:cNvPr id="41" name="Rectangle 5">
            <a:extLst>
              <a:ext uri="{FF2B5EF4-FFF2-40B4-BE49-F238E27FC236}">
                <a16:creationId xmlns:a16="http://schemas.microsoft.com/office/drawing/2014/main" id="{100CA45B-DB82-4049-AE4E-E2696F75D398}"/>
              </a:ext>
            </a:extLst>
          </p:cNvPr>
          <p:cNvSpPr>
            <a:spLocks noChangeArrowheads="1"/>
          </p:cNvSpPr>
          <p:nvPr>
            <p:custDataLst>
              <p:tags r:id="rId4"/>
            </p:custDataLst>
          </p:nvPr>
        </p:nvSpPr>
        <p:spPr bwMode="auto">
          <a:xfrm>
            <a:off x="227349" y="6216759"/>
            <a:ext cx="11376024" cy="38779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Note:	ESG stands for environmental, social, and governance factors</a:t>
            </a:r>
          </a:p>
          <a:p>
            <a:pPr marL="514350" indent="-514350">
              <a:spcBef>
                <a:spcPct val="15000"/>
              </a:spcBef>
            </a:pPr>
            <a:r>
              <a:rPr lang="en-US" sz="800" dirty="0"/>
              <a:t>Source:	Capgemini Financial Services Analysis, 2020; Capgemini Global HNWI Insights Survey 2020; </a:t>
            </a:r>
            <a:r>
              <a:rPr lang="en-US" sz="800" dirty="0">
                <a:hlinkClick r:id="rId13"/>
              </a:rPr>
              <a:t>https://www.bloomberg.com/news/articles/2020-03-31/esg-stock-resilance-is-paving-the-way-for-a-surge-in-popularity</a:t>
            </a:r>
            <a:r>
              <a:rPr lang="en-US" sz="800" dirty="0"/>
              <a:t>; </a:t>
            </a:r>
            <a:r>
              <a:rPr lang="en-US" sz="800" dirty="0">
                <a:hlinkClick r:id="rId14"/>
              </a:rPr>
              <a:t>https://www.bloomberg.com/news/articles/2020-04-02/virus-boosts-rich-asian-interest-in-sustainable-investing-trend</a:t>
            </a:r>
            <a:r>
              <a:rPr lang="en-US" sz="800" dirty="0"/>
              <a:t>.</a:t>
            </a:r>
          </a:p>
        </p:txBody>
      </p:sp>
      <p:sp>
        <p:nvSpPr>
          <p:cNvPr id="83" name="Text Box 1031">
            <a:extLst>
              <a:ext uri="{FF2B5EF4-FFF2-40B4-BE49-F238E27FC236}">
                <a16:creationId xmlns:a16="http://schemas.microsoft.com/office/drawing/2014/main" id="{879D289F-7E40-4CCD-A8F8-C1EF8D0AAD69}"/>
              </a:ext>
            </a:extLst>
          </p:cNvPr>
          <p:cNvSpPr txBox="1">
            <a:spLocks noChangeArrowheads="1"/>
          </p:cNvSpPr>
          <p:nvPr/>
        </p:nvSpPr>
        <p:spPr bwMode="auto">
          <a:xfrm>
            <a:off x="308355" y="660766"/>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Rising interest in sustainable investing products,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grpSp>
        <p:nvGrpSpPr>
          <p:cNvPr id="12" name="Group 11">
            <a:extLst>
              <a:ext uri="{FF2B5EF4-FFF2-40B4-BE49-F238E27FC236}">
                <a16:creationId xmlns:a16="http://schemas.microsoft.com/office/drawing/2014/main" id="{D90452D7-5FBC-43F0-B058-DCCEECA65129}"/>
              </a:ext>
            </a:extLst>
          </p:cNvPr>
          <p:cNvGrpSpPr/>
          <p:nvPr/>
        </p:nvGrpSpPr>
        <p:grpSpPr>
          <a:xfrm>
            <a:off x="6465025" y="2248877"/>
            <a:ext cx="5333275" cy="3380928"/>
            <a:chOff x="6465025" y="2532592"/>
            <a:chExt cx="5333275" cy="3380928"/>
          </a:xfrm>
        </p:grpSpPr>
        <p:grpSp>
          <p:nvGrpSpPr>
            <p:cNvPr id="32" name="Group 31">
              <a:extLst>
                <a:ext uri="{FF2B5EF4-FFF2-40B4-BE49-F238E27FC236}">
                  <a16:creationId xmlns:a16="http://schemas.microsoft.com/office/drawing/2014/main" id="{29903BE3-60D2-4F14-81C9-F6F294F20EBD}"/>
                </a:ext>
              </a:extLst>
            </p:cNvPr>
            <p:cNvGrpSpPr/>
            <p:nvPr/>
          </p:nvGrpSpPr>
          <p:grpSpPr>
            <a:xfrm>
              <a:off x="6465025" y="2884039"/>
              <a:ext cx="5333275" cy="3029481"/>
              <a:chOff x="9173568" y="2270338"/>
              <a:chExt cx="2672006" cy="3474904"/>
            </a:xfrm>
          </p:grpSpPr>
          <p:sp>
            <p:nvSpPr>
              <p:cNvPr id="39" name="Rectangle 38">
                <a:extLst>
                  <a:ext uri="{FF2B5EF4-FFF2-40B4-BE49-F238E27FC236}">
                    <a16:creationId xmlns:a16="http://schemas.microsoft.com/office/drawing/2014/main" id="{6B98484F-99C1-4D59-87BC-160D36DFD1CA}"/>
                  </a:ext>
                </a:extLst>
              </p:cNvPr>
              <p:cNvSpPr/>
              <p:nvPr/>
            </p:nvSpPr>
            <p:spPr>
              <a:xfrm>
                <a:off x="9173568" y="3299685"/>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a:t>
                </a:r>
              </a:p>
            </p:txBody>
          </p:sp>
          <p:sp>
            <p:nvSpPr>
              <p:cNvPr id="44" name="TextBox 43">
                <a:extLst>
                  <a:ext uri="{FF2B5EF4-FFF2-40B4-BE49-F238E27FC236}">
                    <a16:creationId xmlns:a16="http://schemas.microsoft.com/office/drawing/2014/main" id="{AA7EAB95-41D0-4D77-93BA-C0800C477732}"/>
                  </a:ext>
                </a:extLst>
              </p:cNvPr>
              <p:cNvSpPr txBox="1"/>
              <p:nvPr/>
            </p:nvSpPr>
            <p:spPr>
              <a:xfrm>
                <a:off x="9225280" y="2273242"/>
                <a:ext cx="2620294" cy="529543"/>
              </a:xfrm>
              <a:prstGeom prst="rect">
                <a:avLst/>
              </a:prstGeom>
              <a:solidFill>
                <a:schemeClr val="accent3">
                  <a:lumMod val="10000"/>
                  <a:lumOff val="90000"/>
                </a:schemeClr>
              </a:solidFill>
            </p:spPr>
            <p:txBody>
              <a:bodyPr wrap="square" rtlCol="0" anchor="ctr">
                <a:spAutoFit/>
              </a:bodyPr>
              <a:lstStyle/>
              <a:p>
                <a:pPr algn="ctr"/>
                <a:r>
                  <a:rPr lang="en-US" sz="1200" b="1" dirty="0"/>
                  <a:t>Wealth management firms are ready to capture this growing demand</a:t>
                </a:r>
              </a:p>
            </p:txBody>
          </p:sp>
          <p:sp>
            <p:nvSpPr>
              <p:cNvPr id="45" name="TextBox 44">
                <a:extLst>
                  <a:ext uri="{FF2B5EF4-FFF2-40B4-BE49-F238E27FC236}">
                    <a16:creationId xmlns:a16="http://schemas.microsoft.com/office/drawing/2014/main" id="{79AFE36B-F19F-4E6E-B714-5E76FF2F4EFC}"/>
                  </a:ext>
                </a:extLst>
              </p:cNvPr>
              <p:cNvSpPr txBox="1"/>
              <p:nvPr/>
            </p:nvSpPr>
            <p:spPr>
              <a:xfrm>
                <a:off x="9224830" y="2832479"/>
                <a:ext cx="2619499" cy="442044"/>
              </a:xfrm>
              <a:prstGeom prst="rect">
                <a:avLst/>
              </a:prstGeom>
              <a:noFill/>
            </p:spPr>
            <p:txBody>
              <a:bodyPr wrap="square" lIns="36005" tIns="36005" rIns="36005" bIns="36005" rtlCol="0">
                <a:spAutoFit/>
              </a:bodyPr>
              <a:lstStyle/>
              <a:p>
                <a:pPr algn="ctr"/>
                <a:r>
                  <a:rPr lang="en-US" sz="1200" dirty="0"/>
                  <a:t>Among the wealth management firm executives interviewed:</a:t>
                </a:r>
              </a:p>
            </p:txBody>
          </p:sp>
          <p:sp>
            <p:nvSpPr>
              <p:cNvPr id="46" name="Rectangle 45">
                <a:extLst>
                  <a:ext uri="{FF2B5EF4-FFF2-40B4-BE49-F238E27FC236}">
                    <a16:creationId xmlns:a16="http://schemas.microsoft.com/office/drawing/2014/main" id="{47001E7B-C607-416D-8E48-2ABBFA76C438}"/>
                  </a:ext>
                </a:extLst>
              </p:cNvPr>
              <p:cNvSpPr/>
              <p:nvPr/>
            </p:nvSpPr>
            <p:spPr>
              <a:xfrm>
                <a:off x="9173568" y="4061681"/>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2%</a:t>
                </a:r>
              </a:p>
            </p:txBody>
          </p:sp>
          <p:sp>
            <p:nvSpPr>
              <p:cNvPr id="47" name="Rectangle 46">
                <a:extLst>
                  <a:ext uri="{FF2B5EF4-FFF2-40B4-BE49-F238E27FC236}">
                    <a16:creationId xmlns:a16="http://schemas.microsoft.com/office/drawing/2014/main" id="{0B817D16-DEF9-461E-AE91-73807C18D4E5}"/>
                  </a:ext>
                </a:extLst>
              </p:cNvPr>
              <p:cNvSpPr/>
              <p:nvPr/>
            </p:nvSpPr>
            <p:spPr>
              <a:xfrm>
                <a:off x="9173568" y="4823678"/>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a:t>
                </a:r>
              </a:p>
            </p:txBody>
          </p:sp>
          <p:sp>
            <p:nvSpPr>
              <p:cNvPr id="48" name="TextBox 47">
                <a:extLst>
                  <a:ext uri="{FF2B5EF4-FFF2-40B4-BE49-F238E27FC236}">
                    <a16:creationId xmlns:a16="http://schemas.microsoft.com/office/drawing/2014/main" id="{84E198BF-361E-4E48-8E52-51B28CECE904}"/>
                  </a:ext>
                </a:extLst>
              </p:cNvPr>
              <p:cNvSpPr txBox="1">
                <a:spLocks/>
              </p:cNvSpPr>
              <p:nvPr/>
            </p:nvSpPr>
            <p:spPr>
              <a:xfrm>
                <a:off x="10075334" y="3366638"/>
                <a:ext cx="1750324" cy="374855"/>
              </a:xfrm>
              <a:prstGeom prst="rect">
                <a:avLst/>
              </a:prstGeom>
              <a:solidFill>
                <a:schemeClr val="accent3">
                  <a:lumMod val="10000"/>
                  <a:lumOff val="90000"/>
                </a:schemeClr>
              </a:solidFill>
            </p:spPr>
            <p:txBody>
              <a:bodyPr wrap="square" rtlCol="0" anchor="ctr">
                <a:noAutofit/>
              </a:bodyPr>
              <a:lstStyle/>
              <a:p>
                <a:r>
                  <a:rPr lang="en-US" sz="1000" b="1" dirty="0"/>
                  <a:t>Offer sustainable investing (SI) options</a:t>
                </a:r>
              </a:p>
            </p:txBody>
          </p:sp>
          <p:sp>
            <p:nvSpPr>
              <p:cNvPr id="49" name="TextBox 48">
                <a:extLst>
                  <a:ext uri="{FF2B5EF4-FFF2-40B4-BE49-F238E27FC236}">
                    <a16:creationId xmlns:a16="http://schemas.microsoft.com/office/drawing/2014/main" id="{8B6C4EB9-7FBD-44DA-83BA-00DD10CD8321}"/>
                  </a:ext>
                </a:extLst>
              </p:cNvPr>
              <p:cNvSpPr txBox="1">
                <a:spLocks/>
              </p:cNvSpPr>
              <p:nvPr/>
            </p:nvSpPr>
            <p:spPr>
              <a:xfrm>
                <a:off x="10075334" y="4128634"/>
                <a:ext cx="1750324" cy="374855"/>
              </a:xfrm>
              <a:prstGeom prst="rect">
                <a:avLst/>
              </a:prstGeom>
              <a:solidFill>
                <a:schemeClr val="accent3">
                  <a:lumMod val="10000"/>
                  <a:lumOff val="90000"/>
                </a:schemeClr>
              </a:solidFill>
            </p:spPr>
            <p:txBody>
              <a:bodyPr wrap="square" rtlCol="0" anchor="ctr">
                <a:noAutofit/>
              </a:bodyPr>
              <a:lstStyle/>
              <a:p>
                <a:r>
                  <a:rPr lang="en-US" sz="1000" b="1" dirty="0"/>
                  <a:t>Plan to provide SI options shortly</a:t>
                </a:r>
              </a:p>
            </p:txBody>
          </p:sp>
          <p:sp>
            <p:nvSpPr>
              <p:cNvPr id="50" name="TextBox 49">
                <a:extLst>
                  <a:ext uri="{FF2B5EF4-FFF2-40B4-BE49-F238E27FC236}">
                    <a16:creationId xmlns:a16="http://schemas.microsoft.com/office/drawing/2014/main" id="{60792CB4-DF0A-455F-95C7-09F98DFDD455}"/>
                  </a:ext>
                </a:extLst>
              </p:cNvPr>
              <p:cNvSpPr txBox="1">
                <a:spLocks/>
              </p:cNvSpPr>
              <p:nvPr/>
            </p:nvSpPr>
            <p:spPr>
              <a:xfrm>
                <a:off x="10075334" y="4890631"/>
                <a:ext cx="1750324" cy="374855"/>
              </a:xfrm>
              <a:prstGeom prst="rect">
                <a:avLst/>
              </a:prstGeom>
              <a:solidFill>
                <a:schemeClr val="accent3">
                  <a:lumMod val="10000"/>
                  <a:lumOff val="90000"/>
                </a:schemeClr>
              </a:solidFill>
            </p:spPr>
            <p:txBody>
              <a:bodyPr wrap="square" rtlCol="0" anchor="ctr">
                <a:noAutofit/>
              </a:bodyPr>
              <a:lstStyle/>
              <a:p>
                <a:r>
                  <a:rPr lang="en-US" sz="1000" b="1" dirty="0"/>
                  <a:t>Have no plans to provide SI options</a:t>
                </a:r>
              </a:p>
            </p:txBody>
          </p:sp>
          <p:sp>
            <p:nvSpPr>
              <p:cNvPr id="51" name="Rectangle: Rounded Corners 50">
                <a:extLst>
                  <a:ext uri="{FF2B5EF4-FFF2-40B4-BE49-F238E27FC236}">
                    <a16:creationId xmlns:a16="http://schemas.microsoft.com/office/drawing/2014/main" id="{8E1C4E60-BC86-4D5A-87DB-112092A0179D}"/>
                  </a:ext>
                </a:extLst>
              </p:cNvPr>
              <p:cNvSpPr/>
              <p:nvPr/>
            </p:nvSpPr>
            <p:spPr>
              <a:xfrm>
                <a:off x="9220200" y="2270338"/>
                <a:ext cx="2620294" cy="3474904"/>
              </a:xfrm>
              <a:prstGeom prst="roundRect">
                <a:avLst>
                  <a:gd name="adj" fmla="val 4124"/>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Isosceles Triangle 4">
              <a:extLst>
                <a:ext uri="{FF2B5EF4-FFF2-40B4-BE49-F238E27FC236}">
                  <a16:creationId xmlns:a16="http://schemas.microsoft.com/office/drawing/2014/main" id="{FFD1C10C-9309-45A8-AEEB-D6EFE48622F8}"/>
                </a:ext>
              </a:extLst>
            </p:cNvPr>
            <p:cNvSpPr/>
            <p:nvPr/>
          </p:nvSpPr>
          <p:spPr>
            <a:xfrm flipV="1">
              <a:off x="7958122" y="2532592"/>
              <a:ext cx="2461553" cy="31379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3A534DF4-C4E8-42A7-A5CC-AD3AEB52262F}"/>
              </a:ext>
            </a:extLst>
          </p:cNvPr>
          <p:cNvGrpSpPr/>
          <p:nvPr/>
        </p:nvGrpSpPr>
        <p:grpSpPr>
          <a:xfrm>
            <a:off x="6511976" y="1009651"/>
            <a:ext cx="5309738" cy="1220250"/>
            <a:chOff x="6511976" y="1009651"/>
            <a:chExt cx="5309738" cy="1220250"/>
          </a:xfrm>
        </p:grpSpPr>
        <p:grpSp>
          <p:nvGrpSpPr>
            <p:cNvPr id="9" name="Group 8">
              <a:extLst>
                <a:ext uri="{FF2B5EF4-FFF2-40B4-BE49-F238E27FC236}">
                  <a16:creationId xmlns:a16="http://schemas.microsoft.com/office/drawing/2014/main" id="{497FA65D-F731-44C1-BDFF-4E43E0188449}"/>
                </a:ext>
              </a:extLst>
            </p:cNvPr>
            <p:cNvGrpSpPr/>
            <p:nvPr/>
          </p:nvGrpSpPr>
          <p:grpSpPr>
            <a:xfrm>
              <a:off x="6511976" y="1009651"/>
              <a:ext cx="5309738" cy="1220250"/>
              <a:chOff x="6511976" y="1207641"/>
              <a:chExt cx="5309738" cy="1220250"/>
            </a:xfrm>
          </p:grpSpPr>
          <p:sp>
            <p:nvSpPr>
              <p:cNvPr id="6" name="Rounded Rectangle 5">
                <a:extLst>
                  <a:ext uri="{FF2B5EF4-FFF2-40B4-BE49-F238E27FC236}">
                    <a16:creationId xmlns:a16="http://schemas.microsoft.com/office/drawing/2014/main" id="{EF52CAF5-3CAB-43A7-B528-9AB23E16A76E}"/>
                  </a:ext>
                </a:extLst>
              </p:cNvPr>
              <p:cNvSpPr/>
              <p:nvPr/>
            </p:nvSpPr>
            <p:spPr>
              <a:xfrm>
                <a:off x="6573870" y="2064944"/>
                <a:ext cx="5230059" cy="35438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11E2195-B880-4186-915B-BC50BCAD991B}"/>
                  </a:ext>
                </a:extLst>
              </p:cNvPr>
              <p:cNvSpPr txBox="1"/>
              <p:nvPr/>
            </p:nvSpPr>
            <p:spPr>
              <a:xfrm>
                <a:off x="6524548" y="1225723"/>
                <a:ext cx="5297166" cy="307777"/>
              </a:xfrm>
              <a:prstGeom prst="rect">
                <a:avLst/>
              </a:prstGeom>
              <a:noFill/>
            </p:spPr>
            <p:txBody>
              <a:bodyPr wrap="square" rtlCol="0">
                <a:spAutoFit/>
              </a:bodyPr>
              <a:lstStyle/>
              <a:p>
                <a:pPr algn="ctr"/>
                <a:r>
                  <a:rPr lang="en-IN" sz="1400" b="1" dirty="0"/>
                  <a:t>Sustainable investing is gaining momentum…</a:t>
                </a:r>
                <a:endParaRPr lang="en-US" sz="1400" b="1" dirty="0"/>
              </a:p>
            </p:txBody>
          </p:sp>
          <p:sp>
            <p:nvSpPr>
              <p:cNvPr id="85" name="TextBox 84">
                <a:extLst>
                  <a:ext uri="{FF2B5EF4-FFF2-40B4-BE49-F238E27FC236}">
                    <a16:creationId xmlns:a16="http://schemas.microsoft.com/office/drawing/2014/main" id="{107C0B87-3131-48B2-B279-7151CEA179F0}"/>
                  </a:ext>
                </a:extLst>
              </p:cNvPr>
              <p:cNvSpPr txBox="1"/>
              <p:nvPr/>
            </p:nvSpPr>
            <p:spPr>
              <a:xfrm>
                <a:off x="6511976" y="1769299"/>
                <a:ext cx="5091397" cy="307777"/>
              </a:xfrm>
              <a:prstGeom prst="rect">
                <a:avLst/>
              </a:prstGeom>
              <a:noFill/>
            </p:spPr>
            <p:txBody>
              <a:bodyPr wrap="square" rtlCol="0">
                <a:spAutoFit/>
              </a:bodyPr>
              <a:lstStyle/>
              <a:p>
                <a:pPr marL="285750" indent="-285750">
                  <a:buFont typeface="Wingdings" panose="05000000000000000000" pitchFamily="2" charset="2"/>
                  <a:buChar char="Ø"/>
                </a:pPr>
                <a:r>
                  <a:rPr lang="en-IN" sz="1400" b="1" dirty="0"/>
                  <a:t>41%</a:t>
                </a:r>
                <a:r>
                  <a:rPr lang="en-IN" sz="1200" b="1" dirty="0"/>
                  <a:t> </a:t>
                </a:r>
                <a:r>
                  <a:rPr lang="en-IN" sz="1200" dirty="0"/>
                  <a:t>of their portfolio to sustainable investing by 2020</a:t>
                </a:r>
                <a:endParaRPr lang="en-US" sz="1200" dirty="0"/>
              </a:p>
            </p:txBody>
          </p:sp>
          <p:sp>
            <p:nvSpPr>
              <p:cNvPr id="86" name="TextBox 85">
                <a:extLst>
                  <a:ext uri="{FF2B5EF4-FFF2-40B4-BE49-F238E27FC236}">
                    <a16:creationId xmlns:a16="http://schemas.microsoft.com/office/drawing/2014/main" id="{E91E766C-9600-48E2-A75B-109A90B61BFA}"/>
                  </a:ext>
                </a:extLst>
              </p:cNvPr>
              <p:cNvSpPr txBox="1"/>
              <p:nvPr/>
            </p:nvSpPr>
            <p:spPr>
              <a:xfrm>
                <a:off x="6511976" y="2052245"/>
                <a:ext cx="5140274" cy="307777"/>
              </a:xfrm>
              <a:prstGeom prst="rect">
                <a:avLst/>
              </a:prstGeom>
              <a:noFill/>
            </p:spPr>
            <p:txBody>
              <a:bodyPr wrap="square" rtlCol="0">
                <a:spAutoFit/>
              </a:bodyPr>
              <a:lstStyle/>
              <a:p>
                <a:pPr marL="285750" indent="-285750">
                  <a:buFont typeface="Wingdings" panose="05000000000000000000" pitchFamily="2" charset="2"/>
                  <a:buChar char="Ø"/>
                </a:pPr>
                <a:r>
                  <a:rPr lang="en-IN" sz="1400" b="1" dirty="0"/>
                  <a:t>46%</a:t>
                </a:r>
                <a:r>
                  <a:rPr lang="en-IN" sz="1200" dirty="0"/>
                  <a:t> of their portfolio to sustainable investing by 2021</a:t>
                </a:r>
                <a:endParaRPr lang="en-US" sz="1200" dirty="0"/>
              </a:p>
            </p:txBody>
          </p:sp>
          <p:sp>
            <p:nvSpPr>
              <p:cNvPr id="87" name="Rectangle: Rounded Corners 86">
                <a:extLst>
                  <a:ext uri="{FF2B5EF4-FFF2-40B4-BE49-F238E27FC236}">
                    <a16:creationId xmlns:a16="http://schemas.microsoft.com/office/drawing/2014/main" id="{540E5D79-1AE1-4F62-B2CE-2C4AFCD7652E}"/>
                  </a:ext>
                </a:extLst>
              </p:cNvPr>
              <p:cNvSpPr/>
              <p:nvPr/>
            </p:nvSpPr>
            <p:spPr>
              <a:xfrm>
                <a:off x="6573870" y="1207641"/>
                <a:ext cx="5230059" cy="1220250"/>
              </a:xfrm>
              <a:prstGeom prst="roundRect">
                <a:avLst>
                  <a:gd name="adj" fmla="val 4124"/>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DF4E43B-5538-45EC-BF7D-CD1BEB30FF11}"/>
                </a:ext>
              </a:extLst>
            </p:cNvPr>
            <p:cNvSpPr txBox="1"/>
            <p:nvPr/>
          </p:nvSpPr>
          <p:spPr>
            <a:xfrm>
              <a:off x="6573870" y="1345837"/>
              <a:ext cx="3065430" cy="276999"/>
            </a:xfrm>
            <a:prstGeom prst="rect">
              <a:avLst/>
            </a:prstGeom>
            <a:noFill/>
          </p:spPr>
          <p:txBody>
            <a:bodyPr wrap="square" rtlCol="0">
              <a:spAutoFit/>
            </a:bodyPr>
            <a:lstStyle/>
            <a:p>
              <a:r>
                <a:rPr lang="en-US" sz="1200" b="1" u="sng" dirty="0"/>
                <a:t>HNWIs plan to allocate</a:t>
              </a:r>
            </a:p>
          </p:txBody>
        </p:sp>
      </p:grpSp>
      <p:grpSp>
        <p:nvGrpSpPr>
          <p:cNvPr id="77" name="Group 76">
            <a:extLst>
              <a:ext uri="{FF2B5EF4-FFF2-40B4-BE49-F238E27FC236}">
                <a16:creationId xmlns:a16="http://schemas.microsoft.com/office/drawing/2014/main" id="{ED6892D4-C83E-4BA6-A4D1-72CF5D8DD72B}"/>
              </a:ext>
            </a:extLst>
          </p:cNvPr>
          <p:cNvGrpSpPr/>
          <p:nvPr/>
        </p:nvGrpSpPr>
        <p:grpSpPr>
          <a:xfrm>
            <a:off x="9622537" y="85117"/>
            <a:ext cx="559961" cy="608099"/>
            <a:chOff x="9622537" y="85117"/>
            <a:chExt cx="559961" cy="608099"/>
          </a:xfrm>
        </p:grpSpPr>
        <p:sp>
          <p:nvSpPr>
            <p:cNvPr id="89" name="Freeform 10">
              <a:extLst>
                <a:ext uri="{FF2B5EF4-FFF2-40B4-BE49-F238E27FC236}">
                  <a16:creationId xmlns:a16="http://schemas.microsoft.com/office/drawing/2014/main" id="{EE5B50A8-7EBB-4E3B-97BC-E93C219A79C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0" name="Freeform 11">
              <a:extLst>
                <a:ext uri="{FF2B5EF4-FFF2-40B4-BE49-F238E27FC236}">
                  <a16:creationId xmlns:a16="http://schemas.microsoft.com/office/drawing/2014/main" id="{04D96A5F-960A-4D3A-931C-5D80061150A9}"/>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5" name="Freeform 12">
              <a:extLst>
                <a:ext uri="{FF2B5EF4-FFF2-40B4-BE49-F238E27FC236}">
                  <a16:creationId xmlns:a16="http://schemas.microsoft.com/office/drawing/2014/main" id="{B9E60497-115B-48A1-91B2-D16DF14D8A5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7" name="Freeform 13">
              <a:extLst>
                <a:ext uri="{FF2B5EF4-FFF2-40B4-BE49-F238E27FC236}">
                  <a16:creationId xmlns:a16="http://schemas.microsoft.com/office/drawing/2014/main" id="{EC414076-07FA-4F29-B5FF-C5EAB0838811}"/>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1" name="Freeform 14">
              <a:extLst>
                <a:ext uri="{FF2B5EF4-FFF2-40B4-BE49-F238E27FC236}">
                  <a16:creationId xmlns:a16="http://schemas.microsoft.com/office/drawing/2014/main" id="{32A63087-C496-4837-8D24-EF6E7C2EE44C}"/>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02" name="Group 101">
            <a:extLst>
              <a:ext uri="{FF2B5EF4-FFF2-40B4-BE49-F238E27FC236}">
                <a16:creationId xmlns:a16="http://schemas.microsoft.com/office/drawing/2014/main" id="{B3A66815-0925-4319-8E54-F703DE92BD00}"/>
              </a:ext>
            </a:extLst>
          </p:cNvPr>
          <p:cNvGrpSpPr/>
          <p:nvPr/>
        </p:nvGrpSpPr>
        <p:grpSpPr>
          <a:xfrm>
            <a:off x="10232823" y="122400"/>
            <a:ext cx="537308" cy="533532"/>
            <a:chOff x="8169276" y="2006600"/>
            <a:chExt cx="3614737" cy="3589337"/>
          </a:xfrm>
          <a:solidFill>
            <a:schemeClr val="bg1">
              <a:lumMod val="75000"/>
            </a:schemeClr>
          </a:solidFill>
        </p:grpSpPr>
        <p:sp>
          <p:nvSpPr>
            <p:cNvPr id="103" name="Freeform 18">
              <a:extLst>
                <a:ext uri="{FF2B5EF4-FFF2-40B4-BE49-F238E27FC236}">
                  <a16:creationId xmlns:a16="http://schemas.microsoft.com/office/drawing/2014/main" id="{1DE66E95-7B38-401D-9944-C1CCA400516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5">
              <a:extLst>
                <a:ext uri="{FF2B5EF4-FFF2-40B4-BE49-F238E27FC236}">
                  <a16:creationId xmlns:a16="http://schemas.microsoft.com/office/drawing/2014/main" id="{59E22ABE-1674-4148-834D-C2C7F979E5CA}"/>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6">
              <a:extLst>
                <a:ext uri="{FF2B5EF4-FFF2-40B4-BE49-F238E27FC236}">
                  <a16:creationId xmlns:a16="http://schemas.microsoft.com/office/drawing/2014/main" id="{29B2D5F9-6B51-4D71-A1DE-C9133B5D1B6B}"/>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 name="Freeform 17">
              <a:extLst>
                <a:ext uri="{FF2B5EF4-FFF2-40B4-BE49-F238E27FC236}">
                  <a16:creationId xmlns:a16="http://schemas.microsoft.com/office/drawing/2014/main" id="{85F6F373-5D49-4500-8C8E-A9EB8774C6D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9">
              <a:extLst>
                <a:ext uri="{FF2B5EF4-FFF2-40B4-BE49-F238E27FC236}">
                  <a16:creationId xmlns:a16="http://schemas.microsoft.com/office/drawing/2014/main" id="{CF69139E-5473-4617-B4F5-DE3117C9DA6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08" name="Freeform 332">
            <a:extLst>
              <a:ext uri="{FF2B5EF4-FFF2-40B4-BE49-F238E27FC236}">
                <a16:creationId xmlns:a16="http://schemas.microsoft.com/office/drawing/2014/main" id="{B5700142-A4F5-4165-BDFA-C2E6E8DC771F}"/>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9" name="Group 108">
            <a:extLst>
              <a:ext uri="{FF2B5EF4-FFF2-40B4-BE49-F238E27FC236}">
                <a16:creationId xmlns:a16="http://schemas.microsoft.com/office/drawing/2014/main" id="{A65A1CA9-AE88-4D19-9FAA-9D5958B212EC}"/>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10" name="Freeform 46">
              <a:extLst>
                <a:ext uri="{FF2B5EF4-FFF2-40B4-BE49-F238E27FC236}">
                  <a16:creationId xmlns:a16="http://schemas.microsoft.com/office/drawing/2014/main" id="{30D48A13-EBB5-4C17-ACC3-1FFE6B1430A4}"/>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7">
              <a:extLst>
                <a:ext uri="{FF2B5EF4-FFF2-40B4-BE49-F238E27FC236}">
                  <a16:creationId xmlns:a16="http://schemas.microsoft.com/office/drawing/2014/main" id="{8681F354-F51C-441A-960E-A110EC07FC3D}"/>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8">
              <a:extLst>
                <a:ext uri="{FF2B5EF4-FFF2-40B4-BE49-F238E27FC236}">
                  <a16:creationId xmlns:a16="http://schemas.microsoft.com/office/drawing/2014/main" id="{3FB61A5D-DA21-4E7F-BEA6-D59ECC6DFD3E}"/>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9">
              <a:extLst>
                <a:ext uri="{FF2B5EF4-FFF2-40B4-BE49-F238E27FC236}">
                  <a16:creationId xmlns:a16="http://schemas.microsoft.com/office/drawing/2014/main" id="{9D676944-B0E5-4CF7-89D5-83677FDEE498}"/>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0">
              <a:extLst>
                <a:ext uri="{FF2B5EF4-FFF2-40B4-BE49-F238E27FC236}">
                  <a16:creationId xmlns:a16="http://schemas.microsoft.com/office/drawing/2014/main" id="{2AD3BC21-EDCD-4E28-9648-BA7EA0CC430B}"/>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1">
              <a:extLst>
                <a:ext uri="{FF2B5EF4-FFF2-40B4-BE49-F238E27FC236}">
                  <a16:creationId xmlns:a16="http://schemas.microsoft.com/office/drawing/2014/main" id="{CB771B8D-F128-4AC6-8224-41CC566623E4}"/>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 name="Group 115">
            <a:extLst>
              <a:ext uri="{FF2B5EF4-FFF2-40B4-BE49-F238E27FC236}">
                <a16:creationId xmlns:a16="http://schemas.microsoft.com/office/drawing/2014/main" id="{30F7123D-A899-4079-8A7E-05FF1134C1B9}"/>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7" name="Freeform 18">
              <a:extLst>
                <a:ext uri="{FF2B5EF4-FFF2-40B4-BE49-F238E27FC236}">
                  <a16:creationId xmlns:a16="http://schemas.microsoft.com/office/drawing/2014/main" id="{7BBBCCD6-9764-49BD-9769-DC53597ED4C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5">
              <a:extLst>
                <a:ext uri="{FF2B5EF4-FFF2-40B4-BE49-F238E27FC236}">
                  <a16:creationId xmlns:a16="http://schemas.microsoft.com/office/drawing/2014/main" id="{8A0F1812-8742-4ECF-8892-C20DFD2749E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9" name="Oval 16">
              <a:extLst>
                <a:ext uri="{FF2B5EF4-FFF2-40B4-BE49-F238E27FC236}">
                  <a16:creationId xmlns:a16="http://schemas.microsoft.com/office/drawing/2014/main" id="{6156EA7A-EC2A-49C7-81FC-B51D2A58CED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17">
              <a:extLst>
                <a:ext uri="{FF2B5EF4-FFF2-40B4-BE49-F238E27FC236}">
                  <a16:creationId xmlns:a16="http://schemas.microsoft.com/office/drawing/2014/main" id="{2F2D4222-4812-4D2D-97AD-70AB1C4EEF3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19">
              <a:extLst>
                <a:ext uri="{FF2B5EF4-FFF2-40B4-BE49-F238E27FC236}">
                  <a16:creationId xmlns:a16="http://schemas.microsoft.com/office/drawing/2014/main" id="{17A307C5-66F8-49CA-A64B-7B9070300C6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2" name="Picture 4" descr="Coronavirus | United Nations">
            <a:extLst>
              <a:ext uri="{FF2B5EF4-FFF2-40B4-BE49-F238E27FC236}">
                <a16:creationId xmlns:a16="http://schemas.microsoft.com/office/drawing/2014/main" id="{DD16F61B-CFD6-4E28-8435-316386B8BDFA}"/>
              </a:ext>
            </a:extLst>
          </p:cNvPr>
          <p:cNvPicPr>
            <a:picLocks noChangeAspect="1" noChangeArrowheads="1"/>
          </p:cNvPicPr>
          <p:nvPr/>
        </p:nvPicPr>
        <p:blipFill>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122">
            <a:extLst>
              <a:ext uri="{FF2B5EF4-FFF2-40B4-BE49-F238E27FC236}">
                <a16:creationId xmlns:a16="http://schemas.microsoft.com/office/drawing/2014/main" id="{A98842C6-440E-4B59-9165-D16D872004FD}"/>
              </a:ext>
            </a:extLst>
          </p:cNvPr>
          <p:cNvGrpSpPr/>
          <p:nvPr/>
        </p:nvGrpSpPr>
        <p:grpSpPr>
          <a:xfrm>
            <a:off x="9034432" y="122400"/>
            <a:ext cx="537780" cy="533532"/>
            <a:chOff x="411163" y="2006600"/>
            <a:chExt cx="3617913" cy="3589337"/>
          </a:xfrm>
          <a:solidFill>
            <a:schemeClr val="bg1">
              <a:lumMod val="75000"/>
            </a:schemeClr>
          </a:solidFill>
        </p:grpSpPr>
        <p:sp>
          <p:nvSpPr>
            <p:cNvPr id="124" name="Freeform 5">
              <a:extLst>
                <a:ext uri="{FF2B5EF4-FFF2-40B4-BE49-F238E27FC236}">
                  <a16:creationId xmlns:a16="http://schemas.microsoft.com/office/drawing/2014/main" id="{8DDB27CE-6F83-4DCF-9AE6-4F7EC443BE3B}"/>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5" name="Oval 6">
              <a:extLst>
                <a:ext uri="{FF2B5EF4-FFF2-40B4-BE49-F238E27FC236}">
                  <a16:creationId xmlns:a16="http://schemas.microsoft.com/office/drawing/2014/main" id="{29A01648-B2E0-4B6F-9A06-3147FDDCA6F5}"/>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7">
              <a:extLst>
                <a:ext uri="{FF2B5EF4-FFF2-40B4-BE49-F238E27FC236}">
                  <a16:creationId xmlns:a16="http://schemas.microsoft.com/office/drawing/2014/main" id="{E2FA3827-A79D-4BEB-B682-756C5DE99A0A}"/>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8">
              <a:extLst>
                <a:ext uri="{FF2B5EF4-FFF2-40B4-BE49-F238E27FC236}">
                  <a16:creationId xmlns:a16="http://schemas.microsoft.com/office/drawing/2014/main" id="{A5377E23-761F-4369-866B-FAF34BB3326B}"/>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9">
              <a:extLst>
                <a:ext uri="{FF2B5EF4-FFF2-40B4-BE49-F238E27FC236}">
                  <a16:creationId xmlns:a16="http://schemas.microsoft.com/office/drawing/2014/main" id="{3E373847-5A47-48F0-9277-C84FBADF7D4F}"/>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29" name="Groupe 825">
            <a:extLst>
              <a:ext uri="{FF2B5EF4-FFF2-40B4-BE49-F238E27FC236}">
                <a16:creationId xmlns:a16="http://schemas.microsoft.com/office/drawing/2014/main" id="{7E806633-42B3-4ECC-8D30-2DCA48BBD922}"/>
              </a:ext>
            </a:extLst>
          </p:cNvPr>
          <p:cNvGrpSpPr/>
          <p:nvPr/>
        </p:nvGrpSpPr>
        <p:grpSpPr>
          <a:xfrm>
            <a:off x="9138494" y="248487"/>
            <a:ext cx="337206" cy="317707"/>
            <a:chOff x="6500813" y="736601"/>
            <a:chExt cx="538163" cy="581025"/>
          </a:xfrm>
          <a:solidFill>
            <a:schemeClr val="bg1">
              <a:lumMod val="50000"/>
            </a:schemeClr>
          </a:solidFill>
        </p:grpSpPr>
        <p:sp>
          <p:nvSpPr>
            <p:cNvPr id="130" name="Freeform 37">
              <a:extLst>
                <a:ext uri="{FF2B5EF4-FFF2-40B4-BE49-F238E27FC236}">
                  <a16:creationId xmlns:a16="http://schemas.microsoft.com/office/drawing/2014/main" id="{3E7F8CC2-FAE5-4C18-97C6-1DD1920A523C}"/>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38">
              <a:extLst>
                <a:ext uri="{FF2B5EF4-FFF2-40B4-BE49-F238E27FC236}">
                  <a16:creationId xmlns:a16="http://schemas.microsoft.com/office/drawing/2014/main" id="{FF75D74F-080C-4AB8-97AF-5F0FAA09D003}"/>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39">
              <a:extLst>
                <a:ext uri="{FF2B5EF4-FFF2-40B4-BE49-F238E27FC236}">
                  <a16:creationId xmlns:a16="http://schemas.microsoft.com/office/drawing/2014/main" id="{7F4D54BE-D0B2-48A1-99E2-7DDF91D1C8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40">
              <a:extLst>
                <a:ext uri="{FF2B5EF4-FFF2-40B4-BE49-F238E27FC236}">
                  <a16:creationId xmlns:a16="http://schemas.microsoft.com/office/drawing/2014/main" id="{9D323A9D-F50B-46B6-BFAE-50EB4384AAF1}"/>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41">
              <a:extLst>
                <a:ext uri="{FF2B5EF4-FFF2-40B4-BE49-F238E27FC236}">
                  <a16:creationId xmlns:a16="http://schemas.microsoft.com/office/drawing/2014/main" id="{1408BD07-BC0A-4B88-B44B-F734FA6C2E18}"/>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42">
              <a:extLst>
                <a:ext uri="{FF2B5EF4-FFF2-40B4-BE49-F238E27FC236}">
                  <a16:creationId xmlns:a16="http://schemas.microsoft.com/office/drawing/2014/main" id="{156F931F-0097-433C-B7A6-B9AF33613C9F}"/>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43">
              <a:extLst>
                <a:ext uri="{FF2B5EF4-FFF2-40B4-BE49-F238E27FC236}">
                  <a16:creationId xmlns:a16="http://schemas.microsoft.com/office/drawing/2014/main" id="{518E4C89-182A-4EDF-A5C5-C14542FEA2B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44">
              <a:extLst>
                <a:ext uri="{FF2B5EF4-FFF2-40B4-BE49-F238E27FC236}">
                  <a16:creationId xmlns:a16="http://schemas.microsoft.com/office/drawing/2014/main" id="{EAA2AA87-7351-405B-A164-CCF92715AF7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5">
              <a:extLst>
                <a:ext uri="{FF2B5EF4-FFF2-40B4-BE49-F238E27FC236}">
                  <a16:creationId xmlns:a16="http://schemas.microsoft.com/office/drawing/2014/main" id="{7AF46B10-C0F2-4F66-94F0-34D16A66960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46">
              <a:extLst>
                <a:ext uri="{FF2B5EF4-FFF2-40B4-BE49-F238E27FC236}">
                  <a16:creationId xmlns:a16="http://schemas.microsoft.com/office/drawing/2014/main" id="{F419D855-6F90-4D37-94DB-28627468EDAE}"/>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47">
              <a:extLst>
                <a:ext uri="{FF2B5EF4-FFF2-40B4-BE49-F238E27FC236}">
                  <a16:creationId xmlns:a16="http://schemas.microsoft.com/office/drawing/2014/main" id="{502737A5-2835-41EE-A48A-1FEEC1D4DE2F}"/>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48">
              <a:extLst>
                <a:ext uri="{FF2B5EF4-FFF2-40B4-BE49-F238E27FC236}">
                  <a16:creationId xmlns:a16="http://schemas.microsoft.com/office/drawing/2014/main" id="{8B40A142-7F5D-41BB-9C36-B72A487BB10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49">
              <a:extLst>
                <a:ext uri="{FF2B5EF4-FFF2-40B4-BE49-F238E27FC236}">
                  <a16:creationId xmlns:a16="http://schemas.microsoft.com/office/drawing/2014/main" id="{F5C9484E-877B-4008-BF9B-EDC4C56B6A8C}"/>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50">
              <a:extLst>
                <a:ext uri="{FF2B5EF4-FFF2-40B4-BE49-F238E27FC236}">
                  <a16:creationId xmlns:a16="http://schemas.microsoft.com/office/drawing/2014/main" id="{D35B40DB-C137-4AB0-B244-9C72C829DE40}"/>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51">
              <a:extLst>
                <a:ext uri="{FF2B5EF4-FFF2-40B4-BE49-F238E27FC236}">
                  <a16:creationId xmlns:a16="http://schemas.microsoft.com/office/drawing/2014/main" id="{5990A4FF-B650-4249-83CC-3B20D6B30BA2}"/>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52">
              <a:extLst>
                <a:ext uri="{FF2B5EF4-FFF2-40B4-BE49-F238E27FC236}">
                  <a16:creationId xmlns:a16="http://schemas.microsoft.com/office/drawing/2014/main" id="{9FEAA8FF-F168-4EAD-86B0-D11D282D3FF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3">
              <a:extLst>
                <a:ext uri="{FF2B5EF4-FFF2-40B4-BE49-F238E27FC236}">
                  <a16:creationId xmlns:a16="http://schemas.microsoft.com/office/drawing/2014/main" id="{AD723D99-E7F5-4201-9B40-6493937CDD56}"/>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4">
              <a:extLst>
                <a:ext uri="{FF2B5EF4-FFF2-40B4-BE49-F238E27FC236}">
                  <a16:creationId xmlns:a16="http://schemas.microsoft.com/office/drawing/2014/main" id="{6ABCF2E1-E6E3-41FB-9207-BFA17871D5AA}"/>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5">
              <a:extLst>
                <a:ext uri="{FF2B5EF4-FFF2-40B4-BE49-F238E27FC236}">
                  <a16:creationId xmlns:a16="http://schemas.microsoft.com/office/drawing/2014/main" id="{89E67541-34AF-42F8-B0E7-1286E64B148F}"/>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56">
              <a:extLst>
                <a:ext uri="{FF2B5EF4-FFF2-40B4-BE49-F238E27FC236}">
                  <a16:creationId xmlns:a16="http://schemas.microsoft.com/office/drawing/2014/main" id="{898E4E71-3932-4C2C-9AD6-B8DAAE46D6D1}"/>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57">
              <a:extLst>
                <a:ext uri="{FF2B5EF4-FFF2-40B4-BE49-F238E27FC236}">
                  <a16:creationId xmlns:a16="http://schemas.microsoft.com/office/drawing/2014/main" id="{6DB83D3A-3671-45D4-A657-E8400D9ACA7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58">
              <a:extLst>
                <a:ext uri="{FF2B5EF4-FFF2-40B4-BE49-F238E27FC236}">
                  <a16:creationId xmlns:a16="http://schemas.microsoft.com/office/drawing/2014/main" id="{BA50DD0C-F3AD-4439-88CB-C51D7F5B405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59">
              <a:extLst>
                <a:ext uri="{FF2B5EF4-FFF2-40B4-BE49-F238E27FC236}">
                  <a16:creationId xmlns:a16="http://schemas.microsoft.com/office/drawing/2014/main" id="{956E705B-1336-4B4F-A49E-9B4C1E91EBDB}"/>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60">
              <a:extLst>
                <a:ext uri="{FF2B5EF4-FFF2-40B4-BE49-F238E27FC236}">
                  <a16:creationId xmlns:a16="http://schemas.microsoft.com/office/drawing/2014/main" id="{C7305C8D-1EC9-4AEC-966D-5EE7764096D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61">
              <a:extLst>
                <a:ext uri="{FF2B5EF4-FFF2-40B4-BE49-F238E27FC236}">
                  <a16:creationId xmlns:a16="http://schemas.microsoft.com/office/drawing/2014/main" id="{EC2512A1-6D76-4650-BD08-4241B2E1638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62">
              <a:extLst>
                <a:ext uri="{FF2B5EF4-FFF2-40B4-BE49-F238E27FC236}">
                  <a16:creationId xmlns:a16="http://schemas.microsoft.com/office/drawing/2014/main" id="{80EE1CB6-FD54-4FC5-AF8F-64A080B28F2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3">
              <a:extLst>
                <a:ext uri="{FF2B5EF4-FFF2-40B4-BE49-F238E27FC236}">
                  <a16:creationId xmlns:a16="http://schemas.microsoft.com/office/drawing/2014/main" id="{9D5CE191-C2D6-4C50-B277-039EF4555397}"/>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4">
              <a:extLst>
                <a:ext uri="{FF2B5EF4-FFF2-40B4-BE49-F238E27FC236}">
                  <a16:creationId xmlns:a16="http://schemas.microsoft.com/office/drawing/2014/main" id="{DD53669F-39AB-4C56-A906-5FDC769A4786}"/>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5">
              <a:extLst>
                <a:ext uri="{FF2B5EF4-FFF2-40B4-BE49-F238E27FC236}">
                  <a16:creationId xmlns:a16="http://schemas.microsoft.com/office/drawing/2014/main" id="{FACEFD22-3EF9-4881-BB4F-16F4960CE5C6}"/>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66">
              <a:extLst>
                <a:ext uri="{FF2B5EF4-FFF2-40B4-BE49-F238E27FC236}">
                  <a16:creationId xmlns:a16="http://schemas.microsoft.com/office/drawing/2014/main" id="{8E1EF92C-ACC5-4D4A-983E-1BF17B20927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67">
              <a:extLst>
                <a:ext uri="{FF2B5EF4-FFF2-40B4-BE49-F238E27FC236}">
                  <a16:creationId xmlns:a16="http://schemas.microsoft.com/office/drawing/2014/main" id="{F7253925-08FB-41F0-B29B-998E365ED747}"/>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68">
              <a:extLst>
                <a:ext uri="{FF2B5EF4-FFF2-40B4-BE49-F238E27FC236}">
                  <a16:creationId xmlns:a16="http://schemas.microsoft.com/office/drawing/2014/main" id="{1D9B7330-4128-4815-AC62-10EE505F749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69">
              <a:extLst>
                <a:ext uri="{FF2B5EF4-FFF2-40B4-BE49-F238E27FC236}">
                  <a16:creationId xmlns:a16="http://schemas.microsoft.com/office/drawing/2014/main" id="{D47592A7-C790-40B5-9108-41FA35D9CB5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70">
              <a:extLst>
                <a:ext uri="{FF2B5EF4-FFF2-40B4-BE49-F238E27FC236}">
                  <a16:creationId xmlns:a16="http://schemas.microsoft.com/office/drawing/2014/main" id="{0B0F4B2F-BA92-45B8-A427-2DA9679E63C0}"/>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71">
              <a:extLst>
                <a:ext uri="{FF2B5EF4-FFF2-40B4-BE49-F238E27FC236}">
                  <a16:creationId xmlns:a16="http://schemas.microsoft.com/office/drawing/2014/main" id="{A9E81C0F-D3BB-41E6-B5CD-87A6F595BABB}"/>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72">
              <a:extLst>
                <a:ext uri="{FF2B5EF4-FFF2-40B4-BE49-F238E27FC236}">
                  <a16:creationId xmlns:a16="http://schemas.microsoft.com/office/drawing/2014/main" id="{1E738177-6055-4431-9C89-8EEA9617C18C}"/>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3">
              <a:extLst>
                <a:ext uri="{FF2B5EF4-FFF2-40B4-BE49-F238E27FC236}">
                  <a16:creationId xmlns:a16="http://schemas.microsoft.com/office/drawing/2014/main" id="{93A15ACE-AAEE-4B90-8657-82CF9FFD4E95}"/>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4">
              <a:extLst>
                <a:ext uri="{FF2B5EF4-FFF2-40B4-BE49-F238E27FC236}">
                  <a16:creationId xmlns:a16="http://schemas.microsoft.com/office/drawing/2014/main" id="{F62615A5-9DBB-4B02-8A8D-93FC804E3AA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5">
              <a:extLst>
                <a:ext uri="{FF2B5EF4-FFF2-40B4-BE49-F238E27FC236}">
                  <a16:creationId xmlns:a16="http://schemas.microsoft.com/office/drawing/2014/main" id="{2D74FBED-1C0A-407D-B33A-F7ED4B4C0BB5}"/>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76">
              <a:extLst>
                <a:ext uri="{FF2B5EF4-FFF2-40B4-BE49-F238E27FC236}">
                  <a16:creationId xmlns:a16="http://schemas.microsoft.com/office/drawing/2014/main" id="{AF81BCAB-A179-4F6F-BC72-AD6AB3AC120F}"/>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77">
              <a:extLst>
                <a:ext uri="{FF2B5EF4-FFF2-40B4-BE49-F238E27FC236}">
                  <a16:creationId xmlns:a16="http://schemas.microsoft.com/office/drawing/2014/main" id="{EEDE0441-2DBA-44E1-8967-916066975559}"/>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78">
              <a:extLst>
                <a:ext uri="{FF2B5EF4-FFF2-40B4-BE49-F238E27FC236}">
                  <a16:creationId xmlns:a16="http://schemas.microsoft.com/office/drawing/2014/main" id="{A62983DD-4E35-473A-ACAE-2C896BF6CA1F}"/>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79">
              <a:extLst>
                <a:ext uri="{FF2B5EF4-FFF2-40B4-BE49-F238E27FC236}">
                  <a16:creationId xmlns:a16="http://schemas.microsoft.com/office/drawing/2014/main" id="{8AB6CC72-EB7E-485D-B111-8E8A8C1F922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80">
              <a:extLst>
                <a:ext uri="{FF2B5EF4-FFF2-40B4-BE49-F238E27FC236}">
                  <a16:creationId xmlns:a16="http://schemas.microsoft.com/office/drawing/2014/main" id="{8F6F0261-8232-414B-A2A2-BB46D8E59DD0}"/>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81">
              <a:extLst>
                <a:ext uri="{FF2B5EF4-FFF2-40B4-BE49-F238E27FC236}">
                  <a16:creationId xmlns:a16="http://schemas.microsoft.com/office/drawing/2014/main" id="{4291DC6D-3589-420E-9DDC-20A39FC8CF63}"/>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82">
              <a:extLst>
                <a:ext uri="{FF2B5EF4-FFF2-40B4-BE49-F238E27FC236}">
                  <a16:creationId xmlns:a16="http://schemas.microsoft.com/office/drawing/2014/main" id="{3B355109-D1F4-4C46-841A-83FD4FFDABC3}"/>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83">
              <a:extLst>
                <a:ext uri="{FF2B5EF4-FFF2-40B4-BE49-F238E27FC236}">
                  <a16:creationId xmlns:a16="http://schemas.microsoft.com/office/drawing/2014/main" id="{8B30D088-3A45-4FD7-9DEF-79DF4767B265}"/>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84">
              <a:extLst>
                <a:ext uri="{FF2B5EF4-FFF2-40B4-BE49-F238E27FC236}">
                  <a16:creationId xmlns:a16="http://schemas.microsoft.com/office/drawing/2014/main" id="{3C507B4D-0A4A-48DC-BC81-89358514DBDD}"/>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85">
              <a:extLst>
                <a:ext uri="{FF2B5EF4-FFF2-40B4-BE49-F238E27FC236}">
                  <a16:creationId xmlns:a16="http://schemas.microsoft.com/office/drawing/2014/main" id="{31E9C744-3C3F-4643-A6C0-B2D6DCBCD1E6}"/>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9481050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747870" y="3233534"/>
            <a:ext cx="10696261" cy="2639331"/>
            <a:chOff x="747870" y="3233534"/>
            <a:chExt cx="10696261" cy="2639331"/>
          </a:xfrm>
        </p:grpSpPr>
        <p:grpSp>
          <p:nvGrpSpPr>
            <p:cNvPr id="14" name="Group 13">
              <a:extLst>
                <a:ext uri="{FF2B5EF4-FFF2-40B4-BE49-F238E27FC236}">
                  <a16:creationId xmlns:a16="http://schemas.microsoft.com/office/drawing/2014/main" id="{07B9B74E-D206-43BA-A12E-58AA91421373}"/>
                </a:ext>
              </a:extLst>
            </p:cNvPr>
            <p:cNvGrpSpPr/>
            <p:nvPr/>
          </p:nvGrpSpPr>
          <p:grpSpPr>
            <a:xfrm>
              <a:off x="747870" y="3233534"/>
              <a:ext cx="10696261" cy="2639331"/>
              <a:chOff x="747870" y="3233534"/>
              <a:chExt cx="10696261" cy="2639331"/>
            </a:xfrm>
          </p:grpSpPr>
          <p:sp>
            <p:nvSpPr>
              <p:cNvPr id="4" name="Rounded Rectangle 3">
                <a:extLst>
                  <a:ext uri="{FF2B5EF4-FFF2-40B4-BE49-F238E27FC236}">
                    <a16:creationId xmlns:a16="http://schemas.microsoft.com/office/drawing/2014/main" id="{98C1A49B-8729-4E5D-B4FD-0FF90B2EECEA}"/>
                  </a:ext>
                </a:extLst>
              </p:cNvPr>
              <p:cNvSpPr/>
              <p:nvPr/>
            </p:nvSpPr>
            <p:spPr>
              <a:xfrm>
                <a:off x="747870" y="3233534"/>
                <a:ext cx="10696261" cy="290386"/>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Focus areas when choosing to invest in sustainable corporations</a:t>
                </a:r>
              </a:p>
            </p:txBody>
          </p:sp>
          <p:grpSp>
            <p:nvGrpSpPr>
              <p:cNvPr id="11" name="Group 10"/>
              <p:cNvGrpSpPr/>
              <p:nvPr/>
            </p:nvGrpSpPr>
            <p:grpSpPr>
              <a:xfrm>
                <a:off x="967461" y="4157558"/>
                <a:ext cx="10246147" cy="1650253"/>
                <a:chOff x="198174" y="4157558"/>
                <a:chExt cx="5247895" cy="1650253"/>
              </a:xfrm>
            </p:grpSpPr>
            <p:sp>
              <p:nvSpPr>
                <p:cNvPr id="60" name="Arrow: Chevron 76">
                  <a:extLst>
                    <a:ext uri="{FF2B5EF4-FFF2-40B4-BE49-F238E27FC236}">
                      <a16:creationId xmlns:a16="http://schemas.microsoft.com/office/drawing/2014/main" id="{00D903D6-1609-4551-B08F-10F000211E29}"/>
                    </a:ext>
                  </a:extLst>
                </p:cNvPr>
                <p:cNvSpPr>
                  <a:spLocks/>
                </p:cNvSpPr>
                <p:nvPr/>
              </p:nvSpPr>
              <p:spPr>
                <a:xfrm>
                  <a:off x="198174" y="415755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Effectively managing environmental risks</a:t>
                  </a:r>
                </a:p>
              </p:txBody>
            </p:sp>
            <p:sp>
              <p:nvSpPr>
                <p:cNvPr id="79" name="Arrow: Chevron 76">
                  <a:extLst>
                    <a:ext uri="{FF2B5EF4-FFF2-40B4-BE49-F238E27FC236}">
                      <a16:creationId xmlns:a16="http://schemas.microsoft.com/office/drawing/2014/main" id="{00D903D6-1609-4551-B08F-10F000211E29}"/>
                    </a:ext>
                  </a:extLst>
                </p:cNvPr>
                <p:cNvSpPr>
                  <a:spLocks/>
                </p:cNvSpPr>
                <p:nvPr/>
              </p:nvSpPr>
              <p:spPr>
                <a:xfrm>
                  <a:off x="198174" y="461499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Addressing climate change (reducing carbon footprint)</a:t>
                  </a:r>
                </a:p>
              </p:txBody>
            </p:sp>
            <p:sp>
              <p:nvSpPr>
                <p:cNvPr id="80" name="Arrow: Chevron 76">
                  <a:extLst>
                    <a:ext uri="{FF2B5EF4-FFF2-40B4-BE49-F238E27FC236}">
                      <a16:creationId xmlns:a16="http://schemas.microsoft.com/office/drawing/2014/main" id="{00D903D6-1609-4551-B08F-10F000211E29}"/>
                    </a:ext>
                  </a:extLst>
                </p:cNvPr>
                <p:cNvSpPr>
                  <a:spLocks/>
                </p:cNvSpPr>
                <p:nvPr/>
              </p:nvSpPr>
              <p:spPr>
                <a:xfrm>
                  <a:off x="198174" y="507243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Effective and ethical corporate governance systems</a:t>
                  </a:r>
                </a:p>
              </p:txBody>
            </p:sp>
            <p:sp>
              <p:nvSpPr>
                <p:cNvPr id="81" name="Arrow: Chevron 76">
                  <a:extLst>
                    <a:ext uri="{FF2B5EF4-FFF2-40B4-BE49-F238E27FC236}">
                      <a16:creationId xmlns:a16="http://schemas.microsoft.com/office/drawing/2014/main" id="{00D903D6-1609-4551-B08F-10F000211E29}"/>
                    </a:ext>
                  </a:extLst>
                </p:cNvPr>
                <p:cNvSpPr>
                  <a:spLocks/>
                </p:cNvSpPr>
                <p:nvPr/>
              </p:nvSpPr>
              <p:spPr>
                <a:xfrm>
                  <a:off x="198174" y="552987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Socially conscious business policies and practices</a:t>
                  </a:r>
                </a:p>
              </p:txBody>
            </p:sp>
          </p:grpSp>
          <p:sp>
            <p:nvSpPr>
              <p:cNvPr id="10" name="Rounded Rectangle 9"/>
              <p:cNvSpPr/>
              <p:nvPr/>
            </p:nvSpPr>
            <p:spPr>
              <a:xfrm>
                <a:off x="1176416" y="407912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p:cNvSpPr/>
              <p:nvPr/>
            </p:nvSpPr>
            <p:spPr>
              <a:xfrm>
                <a:off x="1176416" y="4546868"/>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p:cNvSpPr/>
              <p:nvPr/>
            </p:nvSpPr>
            <p:spPr>
              <a:xfrm>
                <a:off x="1176416" y="500622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p:cNvSpPr/>
              <p:nvPr/>
            </p:nvSpPr>
            <p:spPr>
              <a:xfrm>
                <a:off x="1176416" y="546977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75" descr="A close up of a logo&#10;&#10;Description automatically generated">
                <a:extLst>
                  <a:ext uri="{FF2B5EF4-FFF2-40B4-BE49-F238E27FC236}">
                    <a16:creationId xmlns:a16="http://schemas.microsoft.com/office/drawing/2014/main" id="{0301ACDD-E798-44B8-9647-FEEA4008A6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3367" y="4564690"/>
                <a:ext cx="367449" cy="367449"/>
              </a:xfrm>
              <a:prstGeom prst="rect">
                <a:avLst/>
              </a:prstGeom>
            </p:spPr>
          </p:pic>
        </p:grpSp>
        <p:grpSp>
          <p:nvGrpSpPr>
            <p:cNvPr id="116" name="Groupe 1075">
              <a:extLst>
                <a:ext uri="{FF2B5EF4-FFF2-40B4-BE49-F238E27FC236}">
                  <a16:creationId xmlns:a16="http://schemas.microsoft.com/office/drawing/2014/main" id="{577DB884-9DE0-4333-8CF2-D3BCD89FB61E}"/>
                </a:ext>
              </a:extLst>
            </p:cNvPr>
            <p:cNvGrpSpPr/>
            <p:nvPr/>
          </p:nvGrpSpPr>
          <p:grpSpPr>
            <a:xfrm>
              <a:off x="1360014" y="4103600"/>
              <a:ext cx="193619" cy="346107"/>
              <a:chOff x="9101138" y="411162"/>
              <a:chExt cx="306387" cy="547688"/>
            </a:xfrm>
          </p:grpSpPr>
          <p:sp>
            <p:nvSpPr>
              <p:cNvPr id="117" name="Freeform 163">
                <a:extLst>
                  <a:ext uri="{FF2B5EF4-FFF2-40B4-BE49-F238E27FC236}">
                    <a16:creationId xmlns:a16="http://schemas.microsoft.com/office/drawing/2014/main" id="{F469E5EF-5717-4504-ADB9-A50CADD96115}"/>
                  </a:ext>
                </a:extLst>
              </p:cNvPr>
              <p:cNvSpPr>
                <a:spLocks/>
              </p:cNvSpPr>
              <p:nvPr/>
            </p:nvSpPr>
            <p:spPr bwMode="auto">
              <a:xfrm>
                <a:off x="9201151" y="658812"/>
                <a:ext cx="98425" cy="90488"/>
              </a:xfrm>
              <a:custGeom>
                <a:avLst/>
                <a:gdLst>
                  <a:gd name="T0" fmla="*/ 3 w 26"/>
                  <a:gd name="T1" fmla="*/ 19 h 24"/>
                  <a:gd name="T2" fmla="*/ 6 w 26"/>
                  <a:gd name="T3" fmla="*/ 3 h 24"/>
                  <a:gd name="T4" fmla="*/ 22 w 26"/>
                  <a:gd name="T5" fmla="*/ 6 h 24"/>
                  <a:gd name="T6" fmla="*/ 19 w 26"/>
                  <a:gd name="T7" fmla="*/ 20 h 24"/>
                  <a:gd name="T8" fmla="*/ 3 w 26"/>
                  <a:gd name="T9" fmla="*/ 19 h 24"/>
                </a:gdLst>
                <a:ahLst/>
                <a:cxnLst>
                  <a:cxn ang="0">
                    <a:pos x="T0" y="T1"/>
                  </a:cxn>
                  <a:cxn ang="0">
                    <a:pos x="T2" y="T3"/>
                  </a:cxn>
                  <a:cxn ang="0">
                    <a:pos x="T4" y="T5"/>
                  </a:cxn>
                  <a:cxn ang="0">
                    <a:pos x="T6" y="T7"/>
                  </a:cxn>
                  <a:cxn ang="0">
                    <a:pos x="T8" y="T9"/>
                  </a:cxn>
                </a:cxnLst>
                <a:rect l="0" t="0" r="r" b="b"/>
                <a:pathLst>
                  <a:path w="26" h="24">
                    <a:moveTo>
                      <a:pt x="3" y="19"/>
                    </a:moveTo>
                    <a:cubicBezTo>
                      <a:pt x="0" y="14"/>
                      <a:pt x="1" y="7"/>
                      <a:pt x="6" y="3"/>
                    </a:cubicBezTo>
                    <a:cubicBezTo>
                      <a:pt x="11" y="0"/>
                      <a:pt x="18" y="1"/>
                      <a:pt x="22" y="6"/>
                    </a:cubicBezTo>
                    <a:cubicBezTo>
                      <a:pt x="26" y="10"/>
                      <a:pt x="24" y="17"/>
                      <a:pt x="19" y="20"/>
                    </a:cubicBezTo>
                    <a:cubicBezTo>
                      <a:pt x="14" y="24"/>
                      <a:pt x="7" y="23"/>
                      <a:pt x="3" y="19"/>
                    </a:cubicBezTo>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4">
                <a:extLst>
                  <a:ext uri="{FF2B5EF4-FFF2-40B4-BE49-F238E27FC236}">
                    <a16:creationId xmlns:a16="http://schemas.microsoft.com/office/drawing/2014/main" id="{065B800A-0B8D-4E4E-BAA7-0E3ACA93E574}"/>
                  </a:ext>
                </a:extLst>
              </p:cNvPr>
              <p:cNvSpPr>
                <a:spLocks/>
              </p:cNvSpPr>
              <p:nvPr/>
            </p:nvSpPr>
            <p:spPr bwMode="auto">
              <a:xfrm>
                <a:off x="9101138" y="411162"/>
                <a:ext cx="295275" cy="311150"/>
              </a:xfrm>
              <a:custGeom>
                <a:avLst/>
                <a:gdLst>
                  <a:gd name="T0" fmla="*/ 62 w 79"/>
                  <a:gd name="T1" fmla="*/ 80 h 83"/>
                  <a:gd name="T2" fmla="*/ 59 w 79"/>
                  <a:gd name="T3" fmla="*/ 78 h 83"/>
                  <a:gd name="T4" fmla="*/ 59 w 79"/>
                  <a:gd name="T5" fmla="*/ 78 h 83"/>
                  <a:gd name="T6" fmla="*/ 45 w 79"/>
                  <a:gd name="T7" fmla="*/ 60 h 83"/>
                  <a:gd name="T8" fmla="*/ 59 w 79"/>
                  <a:gd name="T9" fmla="*/ 38 h 83"/>
                  <a:gd name="T10" fmla="*/ 42 w 79"/>
                  <a:gd name="T11" fmla="*/ 59 h 83"/>
                  <a:gd name="T12" fmla="*/ 42 w 79"/>
                  <a:gd name="T13" fmla="*/ 59 h 83"/>
                  <a:gd name="T14" fmla="*/ 41 w 79"/>
                  <a:gd name="T15" fmla="*/ 59 h 83"/>
                  <a:gd name="T16" fmla="*/ 40 w 79"/>
                  <a:gd name="T17" fmla="*/ 39 h 83"/>
                  <a:gd name="T18" fmla="*/ 40 w 79"/>
                  <a:gd name="T19" fmla="*/ 39 h 83"/>
                  <a:gd name="T20" fmla="*/ 52 w 79"/>
                  <a:gd name="T21" fmla="*/ 23 h 83"/>
                  <a:gd name="T22" fmla="*/ 40 w 79"/>
                  <a:gd name="T23" fmla="*/ 37 h 83"/>
                  <a:gd name="T24" fmla="*/ 40 w 79"/>
                  <a:gd name="T25" fmla="*/ 11 h 83"/>
                  <a:gd name="T26" fmla="*/ 39 w 79"/>
                  <a:gd name="T27" fmla="*/ 37 h 83"/>
                  <a:gd name="T28" fmla="*/ 27 w 79"/>
                  <a:gd name="T29" fmla="*/ 23 h 83"/>
                  <a:gd name="T30" fmla="*/ 39 w 79"/>
                  <a:gd name="T31" fmla="*/ 39 h 83"/>
                  <a:gd name="T32" fmla="*/ 39 w 79"/>
                  <a:gd name="T33" fmla="*/ 39 h 83"/>
                  <a:gd name="T34" fmla="*/ 38 w 79"/>
                  <a:gd name="T35" fmla="*/ 59 h 83"/>
                  <a:gd name="T36" fmla="*/ 37 w 79"/>
                  <a:gd name="T37" fmla="*/ 59 h 83"/>
                  <a:gd name="T38" fmla="*/ 37 w 79"/>
                  <a:gd name="T39" fmla="*/ 59 h 83"/>
                  <a:gd name="T40" fmla="*/ 20 w 79"/>
                  <a:gd name="T41" fmla="*/ 38 h 83"/>
                  <a:gd name="T42" fmla="*/ 34 w 79"/>
                  <a:gd name="T43" fmla="*/ 60 h 83"/>
                  <a:gd name="T44" fmla="*/ 20 w 79"/>
                  <a:gd name="T45" fmla="*/ 78 h 83"/>
                  <a:gd name="T46" fmla="*/ 21 w 79"/>
                  <a:gd name="T47" fmla="*/ 83 h 83"/>
                  <a:gd name="T48" fmla="*/ 4 w 79"/>
                  <a:gd name="T49" fmla="*/ 41 h 83"/>
                  <a:gd name="T50" fmla="*/ 40 w 79"/>
                  <a:gd name="T51" fmla="*/ 0 h 83"/>
                  <a:gd name="T52" fmla="*/ 75 w 79"/>
                  <a:gd name="T53" fmla="*/ 41 h 83"/>
                  <a:gd name="T54" fmla="*/ 62 w 79"/>
                  <a:gd name="T55"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83">
                    <a:moveTo>
                      <a:pt x="62" y="80"/>
                    </a:moveTo>
                    <a:cubicBezTo>
                      <a:pt x="61" y="81"/>
                      <a:pt x="59" y="80"/>
                      <a:pt x="59" y="78"/>
                    </a:cubicBezTo>
                    <a:cubicBezTo>
                      <a:pt x="59" y="78"/>
                      <a:pt x="59" y="78"/>
                      <a:pt x="59" y="78"/>
                    </a:cubicBezTo>
                    <a:cubicBezTo>
                      <a:pt x="59" y="69"/>
                      <a:pt x="53" y="62"/>
                      <a:pt x="45" y="60"/>
                    </a:cubicBezTo>
                    <a:cubicBezTo>
                      <a:pt x="60" y="51"/>
                      <a:pt x="59" y="38"/>
                      <a:pt x="59" y="38"/>
                    </a:cubicBezTo>
                    <a:cubicBezTo>
                      <a:pt x="57" y="51"/>
                      <a:pt x="42" y="59"/>
                      <a:pt x="42" y="59"/>
                    </a:cubicBezTo>
                    <a:cubicBezTo>
                      <a:pt x="42" y="59"/>
                      <a:pt x="42" y="59"/>
                      <a:pt x="42" y="59"/>
                    </a:cubicBezTo>
                    <a:cubicBezTo>
                      <a:pt x="41" y="59"/>
                      <a:pt x="41" y="59"/>
                      <a:pt x="41" y="59"/>
                    </a:cubicBezTo>
                    <a:cubicBezTo>
                      <a:pt x="41" y="52"/>
                      <a:pt x="41" y="45"/>
                      <a:pt x="40" y="39"/>
                    </a:cubicBezTo>
                    <a:cubicBezTo>
                      <a:pt x="40" y="39"/>
                      <a:pt x="40" y="39"/>
                      <a:pt x="40" y="39"/>
                    </a:cubicBezTo>
                    <a:cubicBezTo>
                      <a:pt x="54" y="30"/>
                      <a:pt x="52" y="23"/>
                      <a:pt x="52" y="23"/>
                    </a:cubicBezTo>
                    <a:cubicBezTo>
                      <a:pt x="50" y="30"/>
                      <a:pt x="43" y="35"/>
                      <a:pt x="40" y="37"/>
                    </a:cubicBezTo>
                    <a:cubicBezTo>
                      <a:pt x="40" y="21"/>
                      <a:pt x="40" y="11"/>
                      <a:pt x="40" y="11"/>
                    </a:cubicBezTo>
                    <a:cubicBezTo>
                      <a:pt x="40" y="11"/>
                      <a:pt x="39" y="21"/>
                      <a:pt x="39" y="37"/>
                    </a:cubicBezTo>
                    <a:cubicBezTo>
                      <a:pt x="36" y="35"/>
                      <a:pt x="29" y="30"/>
                      <a:pt x="27" y="23"/>
                    </a:cubicBezTo>
                    <a:cubicBezTo>
                      <a:pt x="27" y="23"/>
                      <a:pt x="25" y="30"/>
                      <a:pt x="39" y="39"/>
                    </a:cubicBezTo>
                    <a:cubicBezTo>
                      <a:pt x="39" y="39"/>
                      <a:pt x="39" y="39"/>
                      <a:pt x="39" y="39"/>
                    </a:cubicBezTo>
                    <a:cubicBezTo>
                      <a:pt x="38" y="45"/>
                      <a:pt x="38" y="52"/>
                      <a:pt x="38" y="59"/>
                    </a:cubicBezTo>
                    <a:cubicBezTo>
                      <a:pt x="38" y="59"/>
                      <a:pt x="38" y="59"/>
                      <a:pt x="37" y="59"/>
                    </a:cubicBezTo>
                    <a:cubicBezTo>
                      <a:pt x="37" y="59"/>
                      <a:pt x="37" y="59"/>
                      <a:pt x="37" y="59"/>
                    </a:cubicBezTo>
                    <a:cubicBezTo>
                      <a:pt x="37" y="59"/>
                      <a:pt x="22" y="51"/>
                      <a:pt x="20" y="38"/>
                    </a:cubicBezTo>
                    <a:cubicBezTo>
                      <a:pt x="20" y="38"/>
                      <a:pt x="19" y="51"/>
                      <a:pt x="34" y="60"/>
                    </a:cubicBezTo>
                    <a:cubicBezTo>
                      <a:pt x="26" y="62"/>
                      <a:pt x="20" y="69"/>
                      <a:pt x="20" y="78"/>
                    </a:cubicBezTo>
                    <a:cubicBezTo>
                      <a:pt x="20" y="80"/>
                      <a:pt x="21" y="81"/>
                      <a:pt x="21" y="83"/>
                    </a:cubicBezTo>
                    <a:cubicBezTo>
                      <a:pt x="3" y="71"/>
                      <a:pt x="0" y="53"/>
                      <a:pt x="4" y="41"/>
                    </a:cubicBezTo>
                    <a:cubicBezTo>
                      <a:pt x="12" y="14"/>
                      <a:pt x="40" y="0"/>
                      <a:pt x="40" y="0"/>
                    </a:cubicBezTo>
                    <a:cubicBezTo>
                      <a:pt x="40" y="0"/>
                      <a:pt x="67" y="14"/>
                      <a:pt x="75" y="41"/>
                    </a:cubicBezTo>
                    <a:cubicBezTo>
                      <a:pt x="79" y="52"/>
                      <a:pt x="76" y="68"/>
                      <a:pt x="62" y="8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5">
                <a:extLst>
                  <a:ext uri="{FF2B5EF4-FFF2-40B4-BE49-F238E27FC236}">
                    <a16:creationId xmlns:a16="http://schemas.microsoft.com/office/drawing/2014/main" id="{9DDF2516-C7FF-4216-954F-837F1EEFFAF4}"/>
                  </a:ext>
                </a:extLst>
              </p:cNvPr>
              <p:cNvSpPr>
                <a:spLocks/>
              </p:cNvSpPr>
              <p:nvPr/>
            </p:nvSpPr>
            <p:spPr bwMode="auto">
              <a:xfrm>
                <a:off x="9101138" y="617537"/>
                <a:ext cx="306387" cy="341313"/>
              </a:xfrm>
              <a:custGeom>
                <a:avLst/>
                <a:gdLst>
                  <a:gd name="T0" fmla="*/ 56 w 82"/>
                  <a:gd name="T1" fmla="*/ 59 h 91"/>
                  <a:gd name="T2" fmla="*/ 40 w 82"/>
                  <a:gd name="T3" fmla="*/ 91 h 91"/>
                  <a:gd name="T4" fmla="*/ 23 w 82"/>
                  <a:gd name="T5" fmla="*/ 59 h 91"/>
                  <a:gd name="T6" fmla="*/ 1 w 82"/>
                  <a:gd name="T7" fmla="*/ 18 h 91"/>
                  <a:gd name="T8" fmla="*/ 4 w 82"/>
                  <a:gd name="T9" fmla="*/ 17 h 91"/>
                  <a:gd name="T10" fmla="*/ 34 w 82"/>
                  <a:gd name="T11" fmla="*/ 41 h 91"/>
                  <a:gd name="T12" fmla="*/ 38 w 82"/>
                  <a:gd name="T13" fmla="*/ 42 h 91"/>
                  <a:gd name="T14" fmla="*/ 40 w 82"/>
                  <a:gd name="T15" fmla="*/ 42 h 91"/>
                  <a:gd name="T16" fmla="*/ 41 w 82"/>
                  <a:gd name="T17" fmla="*/ 42 h 91"/>
                  <a:gd name="T18" fmla="*/ 45 w 82"/>
                  <a:gd name="T19" fmla="*/ 41 h 91"/>
                  <a:gd name="T20" fmla="*/ 79 w 82"/>
                  <a:gd name="T21" fmla="*/ 0 h 91"/>
                  <a:gd name="T22" fmla="*/ 56 w 82"/>
                  <a:gd name="T23" fmla="*/ 5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1">
                    <a:moveTo>
                      <a:pt x="56" y="59"/>
                    </a:moveTo>
                    <a:cubicBezTo>
                      <a:pt x="41" y="74"/>
                      <a:pt x="40" y="91"/>
                      <a:pt x="40" y="91"/>
                    </a:cubicBezTo>
                    <a:cubicBezTo>
                      <a:pt x="40" y="91"/>
                      <a:pt x="38" y="74"/>
                      <a:pt x="23" y="59"/>
                    </a:cubicBezTo>
                    <a:cubicBezTo>
                      <a:pt x="13" y="48"/>
                      <a:pt x="4" y="34"/>
                      <a:pt x="1" y="18"/>
                    </a:cubicBezTo>
                    <a:cubicBezTo>
                      <a:pt x="0" y="16"/>
                      <a:pt x="3" y="15"/>
                      <a:pt x="4" y="17"/>
                    </a:cubicBezTo>
                    <a:cubicBezTo>
                      <a:pt x="12" y="33"/>
                      <a:pt x="26" y="39"/>
                      <a:pt x="34" y="41"/>
                    </a:cubicBezTo>
                    <a:cubicBezTo>
                      <a:pt x="35" y="42"/>
                      <a:pt x="37" y="42"/>
                      <a:pt x="38" y="42"/>
                    </a:cubicBezTo>
                    <a:cubicBezTo>
                      <a:pt x="38" y="42"/>
                      <a:pt x="39" y="42"/>
                      <a:pt x="40" y="42"/>
                    </a:cubicBezTo>
                    <a:cubicBezTo>
                      <a:pt x="40" y="42"/>
                      <a:pt x="41" y="42"/>
                      <a:pt x="41" y="42"/>
                    </a:cubicBezTo>
                    <a:cubicBezTo>
                      <a:pt x="42" y="42"/>
                      <a:pt x="44" y="42"/>
                      <a:pt x="45" y="41"/>
                    </a:cubicBezTo>
                    <a:cubicBezTo>
                      <a:pt x="56" y="39"/>
                      <a:pt x="76" y="28"/>
                      <a:pt x="79" y="0"/>
                    </a:cubicBezTo>
                    <a:cubicBezTo>
                      <a:pt x="82" y="23"/>
                      <a:pt x="69" y="44"/>
                      <a:pt x="56" y="59"/>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Groupe 552">
              <a:extLst>
                <a:ext uri="{FF2B5EF4-FFF2-40B4-BE49-F238E27FC236}">
                  <a16:creationId xmlns:a16="http://schemas.microsoft.com/office/drawing/2014/main" id="{34B7BADF-4FD9-46E0-ACE2-9FF454836CE8}"/>
                </a:ext>
              </a:extLst>
            </p:cNvPr>
            <p:cNvGrpSpPr/>
            <p:nvPr/>
          </p:nvGrpSpPr>
          <p:grpSpPr>
            <a:xfrm>
              <a:off x="1298625" y="5054998"/>
              <a:ext cx="309373" cy="318246"/>
              <a:chOff x="9363075" y="5164138"/>
              <a:chExt cx="442912" cy="455613"/>
            </a:xfrm>
          </p:grpSpPr>
          <p:sp>
            <p:nvSpPr>
              <p:cNvPr id="121" name="Freeform 496">
                <a:extLst>
                  <a:ext uri="{FF2B5EF4-FFF2-40B4-BE49-F238E27FC236}">
                    <a16:creationId xmlns:a16="http://schemas.microsoft.com/office/drawing/2014/main" id="{6B46E0BB-07DF-408C-9FB3-A9615915F13A}"/>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497">
                <a:extLst>
                  <a:ext uri="{FF2B5EF4-FFF2-40B4-BE49-F238E27FC236}">
                    <a16:creationId xmlns:a16="http://schemas.microsoft.com/office/drawing/2014/main" id="{578A9F0B-E2DA-4072-B5E9-87D1D8D0CA10}"/>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498">
                <a:extLst>
                  <a:ext uri="{FF2B5EF4-FFF2-40B4-BE49-F238E27FC236}">
                    <a16:creationId xmlns:a16="http://schemas.microsoft.com/office/drawing/2014/main" id="{7C78CAEB-8B8F-4718-85D1-888131F16763}"/>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499">
                <a:extLst>
                  <a:ext uri="{FF2B5EF4-FFF2-40B4-BE49-F238E27FC236}">
                    <a16:creationId xmlns:a16="http://schemas.microsoft.com/office/drawing/2014/main" id="{276211D6-F7B1-421F-8A01-D649BE65832F}"/>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00">
                <a:extLst>
                  <a:ext uri="{FF2B5EF4-FFF2-40B4-BE49-F238E27FC236}">
                    <a16:creationId xmlns:a16="http://schemas.microsoft.com/office/drawing/2014/main" id="{ABA6113F-C9D3-4C39-91EA-9515238FFE4B}"/>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01">
                <a:extLst>
                  <a:ext uri="{FF2B5EF4-FFF2-40B4-BE49-F238E27FC236}">
                    <a16:creationId xmlns:a16="http://schemas.microsoft.com/office/drawing/2014/main" id="{875C4F91-F93E-4C4E-AF03-12185AE0045C}"/>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02">
                <a:extLst>
                  <a:ext uri="{FF2B5EF4-FFF2-40B4-BE49-F238E27FC236}">
                    <a16:creationId xmlns:a16="http://schemas.microsoft.com/office/drawing/2014/main" id="{755AE437-9B2E-4900-9F33-B40EC79B971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03">
                <a:extLst>
                  <a:ext uri="{FF2B5EF4-FFF2-40B4-BE49-F238E27FC236}">
                    <a16:creationId xmlns:a16="http://schemas.microsoft.com/office/drawing/2014/main" id="{C91D14AB-15FD-4978-A7AA-ACD91ED6BB66}"/>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04">
                <a:extLst>
                  <a:ext uri="{FF2B5EF4-FFF2-40B4-BE49-F238E27FC236}">
                    <a16:creationId xmlns:a16="http://schemas.microsoft.com/office/drawing/2014/main" id="{8D69E4D7-F7B2-4B49-B95E-2EBB8982AF63}"/>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1332914" y="5500232"/>
              <a:ext cx="230730" cy="337222"/>
              <a:chOff x="1332914" y="5500232"/>
              <a:chExt cx="230730" cy="337222"/>
            </a:xfrm>
          </p:grpSpPr>
          <p:sp>
            <p:nvSpPr>
              <p:cNvPr id="145" name="Rectangle 94">
                <a:extLst>
                  <a:ext uri="{FF2B5EF4-FFF2-40B4-BE49-F238E27FC236}">
                    <a16:creationId xmlns:a16="http://schemas.microsoft.com/office/drawing/2014/main" id="{0C909E82-19BF-47A3-93AB-31B610FF774C}"/>
                  </a:ext>
                </a:extLst>
              </p:cNvPr>
              <p:cNvSpPr>
                <a:spLocks noChangeArrowheads="1"/>
              </p:cNvSpPr>
              <p:nvPr/>
            </p:nvSpPr>
            <p:spPr bwMode="auto">
              <a:xfrm>
                <a:off x="1332914" y="5520643"/>
                <a:ext cx="230730" cy="31681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95">
                <a:extLst>
                  <a:ext uri="{FF2B5EF4-FFF2-40B4-BE49-F238E27FC236}">
                    <a16:creationId xmlns:a16="http://schemas.microsoft.com/office/drawing/2014/main" id="{17552B0B-F370-4F7E-9B21-21A949FF6570}"/>
                  </a:ext>
                </a:extLst>
              </p:cNvPr>
              <p:cNvSpPr>
                <a:spLocks/>
              </p:cNvSpPr>
              <p:nvPr/>
            </p:nvSpPr>
            <p:spPr bwMode="auto">
              <a:xfrm>
                <a:off x="1348000" y="5532179"/>
                <a:ext cx="198783" cy="293738"/>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96">
                <a:extLst>
                  <a:ext uri="{FF2B5EF4-FFF2-40B4-BE49-F238E27FC236}">
                    <a16:creationId xmlns:a16="http://schemas.microsoft.com/office/drawing/2014/main" id="{C86ABE27-26DA-4F8C-BF5E-51A661FDFE74}"/>
                  </a:ext>
                </a:extLst>
              </p:cNvPr>
              <p:cNvSpPr>
                <a:spLocks noChangeArrowheads="1"/>
              </p:cNvSpPr>
              <p:nvPr/>
            </p:nvSpPr>
            <p:spPr bwMode="auto">
              <a:xfrm>
                <a:off x="1396808" y="5513544"/>
                <a:ext cx="100279" cy="3816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Rectangle 97">
                <a:extLst>
                  <a:ext uri="{FF2B5EF4-FFF2-40B4-BE49-F238E27FC236}">
                    <a16:creationId xmlns:a16="http://schemas.microsoft.com/office/drawing/2014/main" id="{395EBFA0-8A29-4656-B234-1C08C4725DBE}"/>
                  </a:ext>
                </a:extLst>
              </p:cNvPr>
              <p:cNvSpPr>
                <a:spLocks noChangeArrowheads="1"/>
              </p:cNvSpPr>
              <p:nvPr/>
            </p:nvSpPr>
            <p:spPr bwMode="auto">
              <a:xfrm>
                <a:off x="1425206" y="5500232"/>
                <a:ext cx="43484" cy="2041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p:nvGrpSpPr>
            <p:grpSpPr>
              <a:xfrm>
                <a:off x="1382749" y="5557083"/>
                <a:ext cx="122465" cy="138438"/>
                <a:chOff x="1382749" y="5557083"/>
                <a:chExt cx="122465" cy="138438"/>
              </a:xfrm>
            </p:grpSpPr>
            <p:sp>
              <p:nvSpPr>
                <p:cNvPr id="150" name="Freeform 99">
                  <a:extLst>
                    <a:ext uri="{FF2B5EF4-FFF2-40B4-BE49-F238E27FC236}">
                      <a16:creationId xmlns:a16="http://schemas.microsoft.com/office/drawing/2014/main" id="{2EFBEB2D-C3ED-4077-8411-BD396187BCD4}"/>
                    </a:ext>
                  </a:extLst>
                </p:cNvPr>
                <p:cNvSpPr>
                  <a:spLocks/>
                </p:cNvSpPr>
                <p:nvPr/>
              </p:nvSpPr>
              <p:spPr bwMode="auto">
                <a:xfrm>
                  <a:off x="1382749" y="5557083"/>
                  <a:ext cx="30172" cy="24848"/>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0">
                  <a:extLst>
                    <a:ext uri="{FF2B5EF4-FFF2-40B4-BE49-F238E27FC236}">
                      <a16:creationId xmlns:a16="http://schemas.microsoft.com/office/drawing/2014/main" id="{FC297070-9D34-417F-9E49-A818A627A450}"/>
                    </a:ext>
                  </a:extLst>
                </p:cNvPr>
                <p:cNvSpPr>
                  <a:spLocks/>
                </p:cNvSpPr>
                <p:nvPr/>
              </p:nvSpPr>
              <p:spPr bwMode="auto">
                <a:xfrm>
                  <a:off x="1414697" y="5570394"/>
                  <a:ext cx="90517" cy="35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1">
                  <a:extLst>
                    <a:ext uri="{FF2B5EF4-FFF2-40B4-BE49-F238E27FC236}">
                      <a16:creationId xmlns:a16="http://schemas.microsoft.com/office/drawing/2014/main" id="{D89200A7-6BCE-48AE-B06F-EB8F96554162}"/>
                    </a:ext>
                  </a:extLst>
                </p:cNvPr>
                <p:cNvSpPr>
                  <a:spLocks/>
                </p:cNvSpPr>
                <p:nvPr/>
              </p:nvSpPr>
              <p:spPr bwMode="auto">
                <a:xfrm>
                  <a:off x="1382749" y="5595242"/>
                  <a:ext cx="30172" cy="23961"/>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02">
                  <a:extLst>
                    <a:ext uri="{FF2B5EF4-FFF2-40B4-BE49-F238E27FC236}">
                      <a16:creationId xmlns:a16="http://schemas.microsoft.com/office/drawing/2014/main" id="{A3050EF7-7492-4D83-8617-B5027B20E611}"/>
                    </a:ext>
                  </a:extLst>
                </p:cNvPr>
                <p:cNvSpPr>
                  <a:spLocks/>
                </p:cNvSpPr>
                <p:nvPr/>
              </p:nvSpPr>
              <p:spPr bwMode="auto">
                <a:xfrm>
                  <a:off x="1414697" y="5607666"/>
                  <a:ext cx="90517" cy="4437"/>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3">
                  <a:extLst>
                    <a:ext uri="{FF2B5EF4-FFF2-40B4-BE49-F238E27FC236}">
                      <a16:creationId xmlns:a16="http://schemas.microsoft.com/office/drawing/2014/main" id="{3730C093-6057-4560-AC4D-65DD663F51C5}"/>
                    </a:ext>
                  </a:extLst>
                </p:cNvPr>
                <p:cNvSpPr>
                  <a:spLocks/>
                </p:cNvSpPr>
                <p:nvPr/>
              </p:nvSpPr>
              <p:spPr bwMode="auto">
                <a:xfrm>
                  <a:off x="1382749" y="5632514"/>
                  <a:ext cx="30172" cy="24848"/>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04">
                  <a:extLst>
                    <a:ext uri="{FF2B5EF4-FFF2-40B4-BE49-F238E27FC236}">
                      <a16:creationId xmlns:a16="http://schemas.microsoft.com/office/drawing/2014/main" id="{2AED8099-143D-4FB6-A357-7E353B11F8CB}"/>
                    </a:ext>
                  </a:extLst>
                </p:cNvPr>
                <p:cNvSpPr>
                  <a:spLocks/>
                </p:cNvSpPr>
                <p:nvPr/>
              </p:nvSpPr>
              <p:spPr bwMode="auto">
                <a:xfrm>
                  <a:off x="1414697" y="5647600"/>
                  <a:ext cx="90517" cy="4437"/>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5">
                  <a:extLst>
                    <a:ext uri="{FF2B5EF4-FFF2-40B4-BE49-F238E27FC236}">
                      <a16:creationId xmlns:a16="http://schemas.microsoft.com/office/drawing/2014/main" id="{A1BD7468-2987-47FC-ABD1-FA28186FA504}"/>
                    </a:ext>
                  </a:extLst>
                </p:cNvPr>
                <p:cNvSpPr>
                  <a:spLocks/>
                </p:cNvSpPr>
                <p:nvPr/>
              </p:nvSpPr>
              <p:spPr bwMode="auto">
                <a:xfrm>
                  <a:off x="1382749" y="5672448"/>
                  <a:ext cx="30172" cy="23073"/>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06">
                  <a:extLst>
                    <a:ext uri="{FF2B5EF4-FFF2-40B4-BE49-F238E27FC236}">
                      <a16:creationId xmlns:a16="http://schemas.microsoft.com/office/drawing/2014/main" id="{EEE1B31F-F40F-4405-9BED-87E6F98CEE7B}"/>
                    </a:ext>
                  </a:extLst>
                </p:cNvPr>
                <p:cNvSpPr>
                  <a:spLocks/>
                </p:cNvSpPr>
                <p:nvPr/>
              </p:nvSpPr>
              <p:spPr bwMode="auto">
                <a:xfrm>
                  <a:off x="1414697" y="5685759"/>
                  <a:ext cx="90517" cy="35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8" name="Groupe 547">
                <a:extLst>
                  <a:ext uri="{FF2B5EF4-FFF2-40B4-BE49-F238E27FC236}">
                    <a16:creationId xmlns:a16="http://schemas.microsoft.com/office/drawing/2014/main" id="{77FC2A04-C98F-46BC-8652-A555987C3A4B}"/>
                  </a:ext>
                </a:extLst>
              </p:cNvPr>
              <p:cNvGrpSpPr/>
              <p:nvPr/>
            </p:nvGrpSpPr>
            <p:grpSpPr>
              <a:xfrm>
                <a:off x="1367991" y="5703334"/>
                <a:ext cx="163614" cy="108937"/>
                <a:chOff x="7621588" y="1962150"/>
                <a:chExt cx="622300" cy="414337"/>
              </a:xfrm>
            </p:grpSpPr>
            <p:sp>
              <p:nvSpPr>
                <p:cNvPr id="159"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 name="Title 1"/>
          <p:cNvSpPr>
            <a:spLocks noGrp="1"/>
          </p:cNvSpPr>
          <p:nvPr>
            <p:ph type="title"/>
          </p:nvPr>
        </p:nvSpPr>
        <p:spPr/>
        <p:txBody>
          <a:bodyPr/>
          <a:lstStyle/>
          <a:p>
            <a:r>
              <a:rPr lang="en-US" sz="2200" dirty="0"/>
              <a:t>HNWIs see financial value in sustainable investing</a:t>
            </a:r>
          </a:p>
        </p:txBody>
      </p:sp>
      <p:sp>
        <p:nvSpPr>
          <p:cNvPr id="6"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490971"/>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Capgemini Financial Services Analysis, 2020; Capgemini Global HNWI Insights Survey 2020; </a:t>
            </a:r>
            <a:r>
              <a:rPr lang="en-IN" sz="800" dirty="0"/>
              <a:t>Capgemini COVID-19 Consumer Survey of more than 11,000 customers across 11 countries</a:t>
            </a:r>
            <a:r>
              <a:rPr lang="en-US" sz="800" dirty="0"/>
              <a:t>.</a:t>
            </a:r>
          </a:p>
        </p:txBody>
      </p:sp>
      <p:grpSp>
        <p:nvGrpSpPr>
          <p:cNvPr id="15" name="Group 14">
            <a:extLst>
              <a:ext uri="{FF2B5EF4-FFF2-40B4-BE49-F238E27FC236}">
                <a16:creationId xmlns:a16="http://schemas.microsoft.com/office/drawing/2014/main" id="{5217BE53-70E7-4931-A700-0CDCEA2EFD20}"/>
              </a:ext>
            </a:extLst>
          </p:cNvPr>
          <p:cNvGrpSpPr/>
          <p:nvPr/>
        </p:nvGrpSpPr>
        <p:grpSpPr>
          <a:xfrm>
            <a:off x="6307214" y="3619415"/>
            <a:ext cx="2480400" cy="2233043"/>
            <a:chOff x="6307214" y="3619415"/>
            <a:chExt cx="2480400" cy="2233043"/>
          </a:xfrm>
        </p:grpSpPr>
        <p:sp>
          <p:nvSpPr>
            <p:cNvPr id="61"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4097053"/>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solidFill>
                    <a:schemeClr val="lt1"/>
                  </a:solidFill>
                </a:rPr>
                <a:t>55%</a:t>
              </a:r>
            </a:p>
          </p:txBody>
        </p:sp>
        <p:sp>
          <p:nvSpPr>
            <p:cNvPr id="72" name="Rectangle 71">
              <a:extLst>
                <a:ext uri="{FF2B5EF4-FFF2-40B4-BE49-F238E27FC236}">
                  <a16:creationId xmlns:a16="http://schemas.microsoft.com/office/drawing/2014/main" id="{FDB4B7F3-2418-4765-9D28-6DAE6BD549FE}"/>
                </a:ext>
              </a:extLst>
            </p:cNvPr>
            <p:cNvSpPr>
              <a:spLocks/>
            </p:cNvSpPr>
            <p:nvPr/>
          </p:nvSpPr>
          <p:spPr>
            <a:xfrm>
              <a:off x="6307214" y="3619415"/>
              <a:ext cx="2480400" cy="410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bg1"/>
                  </a:solidFill>
                </a:rPr>
                <a:t>HNWIs’ importance for</a:t>
              </a:r>
              <a:br>
                <a:rPr lang="en-IN" sz="1000" b="1" dirty="0">
                  <a:solidFill>
                    <a:schemeClr val="bg1"/>
                  </a:solidFill>
                </a:rPr>
              </a:br>
              <a:r>
                <a:rPr lang="en-IN" sz="1000" b="1" dirty="0">
                  <a:solidFill>
                    <a:schemeClr val="bg1"/>
                  </a:solidFill>
                </a:rPr>
                <a:t>focus area</a:t>
              </a:r>
              <a:endParaRPr lang="en-US" sz="1000" b="1" dirty="0">
                <a:solidFill>
                  <a:schemeClr val="bg1"/>
                </a:solidFill>
              </a:endParaRPr>
            </a:p>
          </p:txBody>
        </p:sp>
        <p:sp>
          <p:nvSpPr>
            <p:cNvPr id="82"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4559778"/>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5</a:t>
              </a:r>
              <a:r>
                <a:rPr lang="en-US" altLang="en-US" sz="1000" b="1" dirty="0">
                  <a:solidFill>
                    <a:schemeClr val="lt1"/>
                  </a:solidFill>
                </a:rPr>
                <a:t>%</a:t>
              </a:r>
            </a:p>
          </p:txBody>
        </p:sp>
        <p:sp>
          <p:nvSpPr>
            <p:cNvPr id="83"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5022503"/>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4</a:t>
              </a:r>
              <a:r>
                <a:rPr lang="en-US" altLang="en-US" sz="1000" b="1" dirty="0">
                  <a:solidFill>
                    <a:schemeClr val="lt1"/>
                  </a:solidFill>
                </a:rPr>
                <a:t>%</a:t>
              </a:r>
            </a:p>
          </p:txBody>
        </p:sp>
        <p:sp>
          <p:nvSpPr>
            <p:cNvPr id="84"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5485228"/>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2</a:t>
              </a:r>
              <a:r>
                <a:rPr lang="en-US" altLang="en-US" sz="1000" b="1" dirty="0">
                  <a:solidFill>
                    <a:schemeClr val="lt1"/>
                  </a:solidFill>
                </a:rPr>
                <a:t>%</a:t>
              </a:r>
            </a:p>
          </p:txBody>
        </p:sp>
      </p:grpSp>
      <p:grpSp>
        <p:nvGrpSpPr>
          <p:cNvPr id="13" name="Group 12">
            <a:extLst>
              <a:ext uri="{FF2B5EF4-FFF2-40B4-BE49-F238E27FC236}">
                <a16:creationId xmlns:a16="http://schemas.microsoft.com/office/drawing/2014/main" id="{8A1328EA-12AC-4DD1-A466-35D30193598C}"/>
              </a:ext>
            </a:extLst>
          </p:cNvPr>
          <p:cNvGrpSpPr/>
          <p:nvPr/>
        </p:nvGrpSpPr>
        <p:grpSpPr>
          <a:xfrm>
            <a:off x="0" y="3619415"/>
            <a:ext cx="12192000" cy="2761507"/>
            <a:chOff x="0" y="3619415"/>
            <a:chExt cx="12192000" cy="2761507"/>
          </a:xfrm>
        </p:grpSpPr>
        <p:sp>
          <p:nvSpPr>
            <p:cNvPr id="5" name="Rectangle 4">
              <a:extLst>
                <a:ext uri="{FF2B5EF4-FFF2-40B4-BE49-F238E27FC236}">
                  <a16:creationId xmlns:a16="http://schemas.microsoft.com/office/drawing/2014/main" id="{7B2A6AB6-A494-4162-B373-50C0FB5ED66A}"/>
                </a:ext>
              </a:extLst>
            </p:cNvPr>
            <p:cNvSpPr/>
            <p:nvPr/>
          </p:nvSpPr>
          <p:spPr>
            <a:xfrm>
              <a:off x="0" y="593971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M firms need to align with their customers’ investment preferences to provide the right offerings. </a:t>
              </a:r>
            </a:p>
          </p:txBody>
        </p:sp>
        <p:grpSp>
          <p:nvGrpSpPr>
            <p:cNvPr id="16" name="Group 15">
              <a:extLst>
                <a:ext uri="{FF2B5EF4-FFF2-40B4-BE49-F238E27FC236}">
                  <a16:creationId xmlns:a16="http://schemas.microsoft.com/office/drawing/2014/main" id="{A69F790B-C727-446D-A3D0-ACC0421362E9}"/>
                </a:ext>
              </a:extLst>
            </p:cNvPr>
            <p:cNvGrpSpPr/>
            <p:nvPr/>
          </p:nvGrpSpPr>
          <p:grpSpPr>
            <a:xfrm>
              <a:off x="8866543" y="3619415"/>
              <a:ext cx="2479378" cy="2233043"/>
              <a:chOff x="8866543" y="3619415"/>
              <a:chExt cx="2479378" cy="2233043"/>
            </a:xfrm>
          </p:grpSpPr>
          <p:sp>
            <p:nvSpPr>
              <p:cNvPr id="73" name="Rectangle 72">
                <a:extLst>
                  <a:ext uri="{FF2B5EF4-FFF2-40B4-BE49-F238E27FC236}">
                    <a16:creationId xmlns:a16="http://schemas.microsoft.com/office/drawing/2014/main" id="{FDB4B7F3-2418-4765-9D28-6DAE6BD549FE}"/>
                  </a:ext>
                </a:extLst>
              </p:cNvPr>
              <p:cNvSpPr>
                <a:spLocks/>
              </p:cNvSpPr>
              <p:nvPr/>
            </p:nvSpPr>
            <p:spPr>
              <a:xfrm>
                <a:off x="8866543" y="3619415"/>
                <a:ext cx="2479378" cy="410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bg1"/>
                    </a:solidFill>
                  </a:rPr>
                  <a:t>WM firms’ perception of HNWIs’ importance for focus area</a:t>
                </a:r>
                <a:endParaRPr lang="en-US" sz="1000" b="1" dirty="0">
                  <a:solidFill>
                    <a:schemeClr val="bg1"/>
                  </a:solidFill>
                </a:endParaRPr>
              </a:p>
            </p:txBody>
          </p:sp>
          <p:sp>
            <p:nvSpPr>
              <p:cNvPr id="74"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4097053"/>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43%</a:t>
                </a:r>
              </a:p>
            </p:txBody>
          </p:sp>
          <p:sp>
            <p:nvSpPr>
              <p:cNvPr id="85"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4559778"/>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45%</a:t>
                </a:r>
              </a:p>
            </p:txBody>
          </p:sp>
          <p:sp>
            <p:nvSpPr>
              <p:cNvPr id="86"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5022503"/>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63%</a:t>
                </a:r>
              </a:p>
            </p:txBody>
          </p:sp>
          <p:sp>
            <p:nvSpPr>
              <p:cNvPr id="87"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5485228"/>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55%</a:t>
                </a:r>
              </a:p>
            </p:txBody>
          </p:sp>
        </p:grpSp>
        <p:grpSp>
          <p:nvGrpSpPr>
            <p:cNvPr id="17" name="Group 16">
              <a:extLst>
                <a:ext uri="{FF2B5EF4-FFF2-40B4-BE49-F238E27FC236}">
                  <a16:creationId xmlns:a16="http://schemas.microsoft.com/office/drawing/2014/main" id="{673742BD-8754-41F3-A895-A2090B5E7A99}"/>
                </a:ext>
              </a:extLst>
            </p:cNvPr>
            <p:cNvGrpSpPr/>
            <p:nvPr/>
          </p:nvGrpSpPr>
          <p:grpSpPr>
            <a:xfrm>
              <a:off x="5029201" y="4163790"/>
              <a:ext cx="1239591" cy="693366"/>
              <a:chOff x="5029201" y="4138778"/>
              <a:chExt cx="1239591" cy="743386"/>
            </a:xfrm>
          </p:grpSpPr>
          <p:sp>
            <p:nvSpPr>
              <p:cNvPr id="57" name="Star: 5 Points 56">
                <a:extLst>
                  <a:ext uri="{FF2B5EF4-FFF2-40B4-BE49-F238E27FC236}">
                    <a16:creationId xmlns:a16="http://schemas.microsoft.com/office/drawing/2014/main" id="{75453349-EA8B-4976-8BE0-A4A13EDB568B}"/>
                  </a:ext>
                </a:extLst>
              </p:cNvPr>
              <p:cNvSpPr/>
              <p:nvPr/>
            </p:nvSpPr>
            <p:spPr>
              <a:xfrm>
                <a:off x="5029201" y="4138778"/>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Star: 5 Points 57">
                <a:extLst>
                  <a:ext uri="{FF2B5EF4-FFF2-40B4-BE49-F238E27FC236}">
                    <a16:creationId xmlns:a16="http://schemas.microsoft.com/office/drawing/2014/main" id="{ED127D33-9A0A-4EF4-BED4-961099FA6F46}"/>
                  </a:ext>
                </a:extLst>
              </p:cNvPr>
              <p:cNvSpPr/>
              <p:nvPr/>
            </p:nvSpPr>
            <p:spPr>
              <a:xfrm>
                <a:off x="6011674" y="461492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9" name="TextBox 58">
            <a:extLst>
              <a:ext uri="{FF2B5EF4-FFF2-40B4-BE49-F238E27FC236}">
                <a16:creationId xmlns:a16="http://schemas.microsoft.com/office/drawing/2014/main" id="{14847A07-1532-4059-8A2E-446D68C37024}"/>
              </a:ext>
            </a:extLst>
          </p:cNvPr>
          <p:cNvSpPr txBox="1"/>
          <p:nvPr/>
        </p:nvSpPr>
        <p:spPr>
          <a:xfrm>
            <a:off x="227013" y="2741101"/>
            <a:ext cx="11688762" cy="464743"/>
          </a:xfrm>
          <a:prstGeom prst="rect">
            <a:avLst/>
          </a:prstGeom>
          <a:solidFill>
            <a:schemeClr val="bg1"/>
          </a:solidFill>
          <a:ln>
            <a:noFill/>
          </a:ln>
        </p:spPr>
        <p:txBody>
          <a:bodyPr wrap="square" lIns="45720" tIns="45720" rIns="45720" bIns="45720" rtlCol="0" anchor="ctr">
            <a:spAutoFit/>
          </a:bodyPr>
          <a:lstStyle/>
          <a:p>
            <a:pPr algn="just">
              <a:lnSpc>
                <a:spcPct val="110000"/>
              </a:lnSpc>
            </a:pPr>
            <a:r>
              <a:rPr lang="en-US" sz="1100" dirty="0"/>
              <a:t>Interestingly, a Capgemini survey conducted during the peak of the COVID-19 crisis in April 2020, revealed that there was an </a:t>
            </a:r>
            <a:r>
              <a:rPr lang="en-US" sz="1100" b="1" dirty="0"/>
              <a:t>eight PP increase </a:t>
            </a:r>
            <a:r>
              <a:rPr lang="en-US" sz="1100" dirty="0"/>
              <a:t>in the number of consumers who </a:t>
            </a:r>
            <a:r>
              <a:rPr lang="en-IN" sz="1100" dirty="0"/>
              <a:t>prefer to invest in assets with a societal impact, even if they get lesser returns (31% before COVID-19 outbreak vs 39% in the next 6-9 months).</a:t>
            </a:r>
            <a:endParaRPr lang="en-US" sz="1100" dirty="0"/>
          </a:p>
        </p:txBody>
      </p:sp>
      <p:grpSp>
        <p:nvGrpSpPr>
          <p:cNvPr id="23" name="Group 22"/>
          <p:cNvGrpSpPr/>
          <p:nvPr/>
        </p:nvGrpSpPr>
        <p:grpSpPr>
          <a:xfrm>
            <a:off x="251788" y="816284"/>
            <a:ext cx="11688425" cy="1862048"/>
            <a:chOff x="251788" y="816284"/>
            <a:chExt cx="11688425" cy="1862048"/>
          </a:xfrm>
        </p:grpSpPr>
        <p:grpSp>
          <p:nvGrpSpPr>
            <p:cNvPr id="22" name="Group 21"/>
            <p:cNvGrpSpPr/>
            <p:nvPr/>
          </p:nvGrpSpPr>
          <p:grpSpPr>
            <a:xfrm>
              <a:off x="251788" y="816284"/>
              <a:ext cx="11688425" cy="1862048"/>
              <a:chOff x="251788" y="816284"/>
              <a:chExt cx="11688425" cy="1862048"/>
            </a:xfrm>
          </p:grpSpPr>
          <p:grpSp>
            <p:nvGrpSpPr>
              <p:cNvPr id="12" name="Group 11">
                <a:extLst>
                  <a:ext uri="{FF2B5EF4-FFF2-40B4-BE49-F238E27FC236}">
                    <a16:creationId xmlns:a16="http://schemas.microsoft.com/office/drawing/2014/main" id="{ACE06E45-E970-4256-9E5E-2B8C46FD5158}"/>
                  </a:ext>
                </a:extLst>
              </p:cNvPr>
              <p:cNvGrpSpPr/>
              <p:nvPr/>
            </p:nvGrpSpPr>
            <p:grpSpPr>
              <a:xfrm>
                <a:off x="251788" y="816284"/>
                <a:ext cx="11688425" cy="1862048"/>
                <a:chOff x="251788" y="816284"/>
                <a:chExt cx="11688425" cy="1693053"/>
              </a:xfrm>
            </p:grpSpPr>
            <p:sp>
              <p:nvSpPr>
                <p:cNvPr id="3" name="Text Box 1031">
                  <a:extLst>
                    <a:ext uri="{FF2B5EF4-FFF2-40B4-BE49-F238E27FC236}">
                      <a16:creationId xmlns:a16="http://schemas.microsoft.com/office/drawing/2014/main" id="{4CF8DF2B-04DB-4F09-8C74-8607AC9CA7AD}"/>
                    </a:ext>
                  </a:extLst>
                </p:cNvPr>
                <p:cNvSpPr txBox="1">
                  <a:spLocks noChangeArrowheads="1"/>
                </p:cNvSpPr>
                <p:nvPr/>
              </p:nvSpPr>
              <p:spPr bwMode="auto">
                <a:xfrm>
                  <a:off x="251788" y="816284"/>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Primary reasons for interest in sustainable investing,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grpSp>
              <p:nvGrpSpPr>
                <p:cNvPr id="9" name="Group 8"/>
                <p:cNvGrpSpPr/>
                <p:nvPr/>
              </p:nvGrpSpPr>
              <p:grpSpPr>
                <a:xfrm>
                  <a:off x="533400" y="1111302"/>
                  <a:ext cx="11069974" cy="1398035"/>
                  <a:chOff x="0" y="1395251"/>
                  <a:chExt cx="12192000" cy="2095493"/>
                </a:xfrm>
              </p:grpSpPr>
              <p:sp>
                <p:nvSpPr>
                  <p:cNvPr id="7" name="Rectangle 6"/>
                  <p:cNvSpPr/>
                  <p:nvPr/>
                </p:nvSpPr>
                <p:spPr>
                  <a:xfrm>
                    <a:off x="0" y="1395251"/>
                    <a:ext cx="12192000" cy="20954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86616"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2570097"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4953578"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7337059"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9720539"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C0CB159C-8690-40B7-8F72-02791BD8AB18}"/>
                      </a:ext>
                    </a:extLst>
                  </p:cNvPr>
                  <p:cNvSpPr txBox="1">
                    <a:spLocks/>
                  </p:cNvSpPr>
                  <p:nvPr/>
                </p:nvSpPr>
                <p:spPr>
                  <a:xfrm>
                    <a:off x="414639" y="2285915"/>
                    <a:ext cx="1828800" cy="605900"/>
                  </a:xfrm>
                  <a:prstGeom prst="rect">
                    <a:avLst/>
                  </a:prstGeom>
                  <a:noFill/>
                </p:spPr>
                <p:txBody>
                  <a:bodyPr wrap="square" lIns="0" tIns="0" rIns="0" bIns="0" rtlCol="0" anchor="ctr">
                    <a:noAutofit/>
                  </a:bodyPr>
                  <a:lstStyle/>
                  <a:p>
                    <a:pPr algn="ctr"/>
                    <a:r>
                      <a:rPr lang="en-US" sz="1100" dirty="0"/>
                      <a:t>Higher returns from sustainable investment products</a:t>
                    </a:r>
                  </a:p>
                </p:txBody>
              </p:sp>
              <p:sp>
                <p:nvSpPr>
                  <p:cNvPr id="31" name="TextBox 30">
                    <a:extLst>
                      <a:ext uri="{FF2B5EF4-FFF2-40B4-BE49-F238E27FC236}">
                        <a16:creationId xmlns:a16="http://schemas.microsoft.com/office/drawing/2014/main" id="{DB1DB730-F5B6-405F-B5D2-09100BE053C6}"/>
                      </a:ext>
                    </a:extLst>
                  </p:cNvPr>
                  <p:cNvSpPr txBox="1">
                    <a:spLocks/>
                  </p:cNvSpPr>
                  <p:nvPr/>
                </p:nvSpPr>
                <p:spPr>
                  <a:xfrm>
                    <a:off x="2798120" y="2285915"/>
                    <a:ext cx="1828800" cy="605900"/>
                  </a:xfrm>
                  <a:prstGeom prst="rect">
                    <a:avLst/>
                  </a:prstGeom>
                  <a:noFill/>
                </p:spPr>
                <p:txBody>
                  <a:bodyPr wrap="square" lIns="0" tIns="0" rIns="0" bIns="0" rtlCol="0" anchor="ctr">
                    <a:noAutofit/>
                  </a:bodyPr>
                  <a:lstStyle/>
                  <a:p>
                    <a:pPr algn="ctr"/>
                    <a:r>
                      <a:rPr lang="en-US" sz="1100" dirty="0"/>
                      <a:t>Sustainable investments seem sound, less speculative</a:t>
                    </a:r>
                  </a:p>
                </p:txBody>
              </p:sp>
              <p:sp>
                <p:nvSpPr>
                  <p:cNvPr id="32" name="TextBox 31">
                    <a:extLst>
                      <a:ext uri="{FF2B5EF4-FFF2-40B4-BE49-F238E27FC236}">
                        <a16:creationId xmlns:a16="http://schemas.microsoft.com/office/drawing/2014/main" id="{A2BB6BB2-4398-4CF0-B94B-F71D563FDDC6}"/>
                      </a:ext>
                    </a:extLst>
                  </p:cNvPr>
                  <p:cNvSpPr txBox="1">
                    <a:spLocks/>
                  </p:cNvSpPr>
                  <p:nvPr/>
                </p:nvSpPr>
                <p:spPr>
                  <a:xfrm>
                    <a:off x="5181601" y="2285915"/>
                    <a:ext cx="1828800" cy="605900"/>
                  </a:xfrm>
                  <a:prstGeom prst="rect">
                    <a:avLst/>
                  </a:prstGeom>
                  <a:noFill/>
                </p:spPr>
                <p:txBody>
                  <a:bodyPr wrap="square" lIns="0" tIns="0" rIns="0" bIns="0" rtlCol="0" anchor="ctr">
                    <a:noAutofit/>
                  </a:bodyPr>
                  <a:lstStyle/>
                  <a:p>
                    <a:pPr algn="ctr"/>
                    <a:r>
                      <a:rPr lang="en-US" sz="1100" dirty="0"/>
                      <a:t>I now understand ESG funds better than previously</a:t>
                    </a:r>
                  </a:p>
                </p:txBody>
              </p:sp>
              <p:sp>
                <p:nvSpPr>
                  <p:cNvPr id="33" name="TextBox 32">
                    <a:extLst>
                      <a:ext uri="{FF2B5EF4-FFF2-40B4-BE49-F238E27FC236}">
                        <a16:creationId xmlns:a16="http://schemas.microsoft.com/office/drawing/2014/main" id="{81D4A6B0-E1FE-464F-820A-7169A6935327}"/>
                      </a:ext>
                    </a:extLst>
                  </p:cNvPr>
                  <p:cNvSpPr txBox="1">
                    <a:spLocks/>
                  </p:cNvSpPr>
                  <p:nvPr/>
                </p:nvSpPr>
                <p:spPr>
                  <a:xfrm>
                    <a:off x="7565082" y="2285915"/>
                    <a:ext cx="1828800" cy="605900"/>
                  </a:xfrm>
                  <a:prstGeom prst="rect">
                    <a:avLst/>
                  </a:prstGeom>
                  <a:noFill/>
                </p:spPr>
                <p:txBody>
                  <a:bodyPr wrap="square" lIns="0" tIns="0" rIns="0" bIns="0" rtlCol="0" anchor="ctr">
                    <a:noAutofit/>
                  </a:bodyPr>
                  <a:lstStyle/>
                  <a:p>
                    <a:pPr algn="ctr"/>
                    <a:r>
                      <a:rPr lang="en-US" sz="1100" dirty="0"/>
                      <a:t>Better sustainable investment offerings from firms</a:t>
                    </a:r>
                  </a:p>
                </p:txBody>
              </p:sp>
              <p:sp>
                <p:nvSpPr>
                  <p:cNvPr id="34" name="TextBox 33">
                    <a:extLst>
                      <a:ext uri="{FF2B5EF4-FFF2-40B4-BE49-F238E27FC236}">
                        <a16:creationId xmlns:a16="http://schemas.microsoft.com/office/drawing/2014/main" id="{53E25BA3-24C7-4A57-9FFC-C0E7B276ED8E}"/>
                      </a:ext>
                    </a:extLst>
                  </p:cNvPr>
                  <p:cNvSpPr txBox="1">
                    <a:spLocks/>
                  </p:cNvSpPr>
                  <p:nvPr/>
                </p:nvSpPr>
                <p:spPr>
                  <a:xfrm>
                    <a:off x="9992942" y="2285915"/>
                    <a:ext cx="1740041" cy="605900"/>
                  </a:xfrm>
                  <a:prstGeom prst="rect">
                    <a:avLst/>
                  </a:prstGeom>
                  <a:noFill/>
                </p:spPr>
                <p:txBody>
                  <a:bodyPr wrap="square" lIns="0" tIns="0" rIns="0" bIns="0" rtlCol="0" anchor="ctr">
                    <a:noAutofit/>
                  </a:bodyPr>
                  <a:lstStyle/>
                  <a:p>
                    <a:pPr algn="ctr"/>
                    <a:r>
                      <a:rPr lang="en-US" sz="1100" dirty="0"/>
                      <a:t>I want to give back to society</a:t>
                    </a:r>
                  </a:p>
                </p:txBody>
              </p:sp>
              <p:sp>
                <p:nvSpPr>
                  <p:cNvPr id="35" name="Rectangle 34">
                    <a:extLst>
                      <a:ext uri="{FF2B5EF4-FFF2-40B4-BE49-F238E27FC236}">
                        <a16:creationId xmlns:a16="http://schemas.microsoft.com/office/drawing/2014/main" id="{D079B7E8-7E04-449C-9757-EF821E74AC66}"/>
                      </a:ext>
                    </a:extLst>
                  </p:cNvPr>
                  <p:cNvSpPr/>
                  <p:nvPr/>
                </p:nvSpPr>
                <p:spPr>
                  <a:xfrm>
                    <a:off x="910398"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9%</a:t>
                    </a:r>
                  </a:p>
                </p:txBody>
              </p:sp>
              <p:sp>
                <p:nvSpPr>
                  <p:cNvPr id="36" name="Rectangle 35">
                    <a:extLst>
                      <a:ext uri="{FF2B5EF4-FFF2-40B4-BE49-F238E27FC236}">
                        <a16:creationId xmlns:a16="http://schemas.microsoft.com/office/drawing/2014/main" id="{B35A1F42-1E47-4C4A-8A9D-F7CE87046B3F}"/>
                      </a:ext>
                    </a:extLst>
                  </p:cNvPr>
                  <p:cNvSpPr/>
                  <p:nvPr/>
                </p:nvSpPr>
                <p:spPr>
                  <a:xfrm>
                    <a:off x="3293879"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3%</a:t>
                    </a:r>
                  </a:p>
                </p:txBody>
              </p:sp>
              <p:sp>
                <p:nvSpPr>
                  <p:cNvPr id="37" name="Rectangle 36">
                    <a:extLst>
                      <a:ext uri="{FF2B5EF4-FFF2-40B4-BE49-F238E27FC236}">
                        <a16:creationId xmlns:a16="http://schemas.microsoft.com/office/drawing/2014/main" id="{1D78E5F1-BF31-47A9-A925-64FD8F5A6A8D}"/>
                      </a:ext>
                    </a:extLst>
                  </p:cNvPr>
                  <p:cNvSpPr/>
                  <p:nvPr/>
                </p:nvSpPr>
                <p:spPr>
                  <a:xfrm>
                    <a:off x="567736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9%</a:t>
                    </a:r>
                  </a:p>
                </p:txBody>
              </p:sp>
              <p:sp>
                <p:nvSpPr>
                  <p:cNvPr id="38" name="Rectangle 37">
                    <a:extLst>
                      <a:ext uri="{FF2B5EF4-FFF2-40B4-BE49-F238E27FC236}">
                        <a16:creationId xmlns:a16="http://schemas.microsoft.com/office/drawing/2014/main" id="{554DD24C-DD18-49A2-88E2-E6185E5ADBAB}"/>
                      </a:ext>
                    </a:extLst>
                  </p:cNvPr>
                  <p:cNvSpPr/>
                  <p:nvPr/>
                </p:nvSpPr>
                <p:spPr>
                  <a:xfrm>
                    <a:off x="806084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7%</a:t>
                    </a:r>
                  </a:p>
                </p:txBody>
              </p:sp>
              <p:sp>
                <p:nvSpPr>
                  <p:cNvPr id="39" name="Rectangle 38">
                    <a:extLst>
                      <a:ext uri="{FF2B5EF4-FFF2-40B4-BE49-F238E27FC236}">
                        <a16:creationId xmlns:a16="http://schemas.microsoft.com/office/drawing/2014/main" id="{A348D1F4-FCF7-4116-B93F-F5DD18DB686E}"/>
                      </a:ext>
                    </a:extLst>
                  </p:cNvPr>
                  <p:cNvSpPr/>
                  <p:nvPr/>
                </p:nvSpPr>
                <p:spPr>
                  <a:xfrm>
                    <a:off x="1044432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6%</a:t>
                    </a:r>
                  </a:p>
                </p:txBody>
              </p:sp>
            </p:grpSp>
          </p:grpSp>
          <p:grpSp>
            <p:nvGrpSpPr>
              <p:cNvPr id="62" name="Group 61"/>
              <p:cNvGrpSpPr/>
              <p:nvPr/>
            </p:nvGrpSpPr>
            <p:grpSpPr>
              <a:xfrm>
                <a:off x="1604302" y="1307959"/>
                <a:ext cx="324069" cy="362035"/>
                <a:chOff x="697524" y="3882736"/>
                <a:chExt cx="324069" cy="362035"/>
              </a:xfrm>
              <a:solidFill>
                <a:schemeClr val="accent2"/>
              </a:solidFill>
            </p:grpSpPr>
            <p:sp>
              <p:nvSpPr>
                <p:cNvPr id="63" name="Freeform 126">
                  <a:extLst>
                    <a:ext uri="{FF2B5EF4-FFF2-40B4-BE49-F238E27FC236}">
                      <a16:creationId xmlns:a16="http://schemas.microsoft.com/office/drawing/2014/main" id="{399C5E85-C639-433A-88FD-2B19B50B658A}"/>
                    </a:ext>
                  </a:extLst>
                </p:cNvPr>
                <p:cNvSpPr>
                  <a:spLocks/>
                </p:cNvSpPr>
                <p:nvPr/>
              </p:nvSpPr>
              <p:spPr bwMode="auto">
                <a:xfrm>
                  <a:off x="965999" y="3955957"/>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27">
                  <a:extLst>
                    <a:ext uri="{FF2B5EF4-FFF2-40B4-BE49-F238E27FC236}">
                      <a16:creationId xmlns:a16="http://schemas.microsoft.com/office/drawing/2014/main" id="{5F06C026-9B8C-4011-BDC8-D13A3600392A}"/>
                    </a:ext>
                  </a:extLst>
                </p:cNvPr>
                <p:cNvSpPr>
                  <a:spLocks/>
                </p:cNvSpPr>
                <p:nvPr/>
              </p:nvSpPr>
              <p:spPr bwMode="auto">
                <a:xfrm>
                  <a:off x="885999" y="4037313"/>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8">
                  <a:extLst>
                    <a:ext uri="{FF2B5EF4-FFF2-40B4-BE49-F238E27FC236}">
                      <a16:creationId xmlns:a16="http://schemas.microsoft.com/office/drawing/2014/main" id="{C0690CBA-D273-48D8-90FF-0837583FBC90}"/>
                    </a:ext>
                  </a:extLst>
                </p:cNvPr>
                <p:cNvSpPr>
                  <a:spLocks/>
                </p:cNvSpPr>
                <p:nvPr/>
              </p:nvSpPr>
              <p:spPr bwMode="auto">
                <a:xfrm>
                  <a:off x="805999" y="4082059"/>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29">
                  <a:extLst>
                    <a:ext uri="{FF2B5EF4-FFF2-40B4-BE49-F238E27FC236}">
                      <a16:creationId xmlns:a16="http://schemas.microsoft.com/office/drawing/2014/main" id="{E7CC3331-A558-433E-9E9B-058BCAC76654}"/>
                    </a:ext>
                  </a:extLst>
                </p:cNvPr>
                <p:cNvSpPr>
                  <a:spLocks/>
                </p:cNvSpPr>
                <p:nvPr/>
              </p:nvSpPr>
              <p:spPr bwMode="auto">
                <a:xfrm>
                  <a:off x="725999" y="4129516"/>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30">
                  <a:extLst>
                    <a:ext uri="{FF2B5EF4-FFF2-40B4-BE49-F238E27FC236}">
                      <a16:creationId xmlns:a16="http://schemas.microsoft.com/office/drawing/2014/main" id="{CA52188E-6A46-406B-A0D5-9728C6369C26}"/>
                    </a:ext>
                  </a:extLst>
                </p:cNvPr>
                <p:cNvSpPr>
                  <a:spLocks/>
                </p:cNvSpPr>
                <p:nvPr/>
              </p:nvSpPr>
              <p:spPr bwMode="auto">
                <a:xfrm>
                  <a:off x="697524" y="3882736"/>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p:cNvGrpSpPr/>
              <p:nvPr/>
            </p:nvGrpSpPr>
            <p:grpSpPr>
              <a:xfrm>
                <a:off x="3649874" y="1397741"/>
                <a:ext cx="508765" cy="329731"/>
                <a:chOff x="5218640" y="4340111"/>
                <a:chExt cx="508765" cy="329731"/>
              </a:xfrm>
            </p:grpSpPr>
            <p:sp>
              <p:nvSpPr>
                <p:cNvPr id="69" name="Freeform 203">
                  <a:extLst>
                    <a:ext uri="{FF2B5EF4-FFF2-40B4-BE49-F238E27FC236}">
                      <a16:creationId xmlns:a16="http://schemas.microsoft.com/office/drawing/2014/main" id="{1833B74F-9F37-4EE2-87D3-DF4A17A21576}"/>
                    </a:ext>
                  </a:extLst>
                </p:cNvPr>
                <p:cNvSpPr>
                  <a:spLocks/>
                </p:cNvSpPr>
                <p:nvPr/>
              </p:nvSpPr>
              <p:spPr bwMode="auto">
                <a:xfrm>
                  <a:off x="5298498" y="4413528"/>
                  <a:ext cx="115921" cy="36064"/>
                </a:xfrm>
                <a:custGeom>
                  <a:avLst/>
                  <a:gdLst>
                    <a:gd name="T0" fmla="*/ 2 w 38"/>
                    <a:gd name="T1" fmla="*/ 12 h 12"/>
                    <a:gd name="T2" fmla="*/ 31 w 38"/>
                    <a:gd name="T3" fmla="*/ 12 h 12"/>
                    <a:gd name="T4" fmla="*/ 38 w 38"/>
                    <a:gd name="T5" fmla="*/ 0 h 12"/>
                    <a:gd name="T6" fmla="*/ 2 w 38"/>
                    <a:gd name="T7" fmla="*/ 0 h 12"/>
                    <a:gd name="T8" fmla="*/ 0 w 38"/>
                    <a:gd name="T9" fmla="*/ 2 h 12"/>
                    <a:gd name="T10" fmla="*/ 0 w 38"/>
                    <a:gd name="T11" fmla="*/ 10 h 12"/>
                    <a:gd name="T12" fmla="*/ 2 w 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8" h="12">
                      <a:moveTo>
                        <a:pt x="2" y="12"/>
                      </a:moveTo>
                      <a:cubicBezTo>
                        <a:pt x="31" y="12"/>
                        <a:pt x="31" y="12"/>
                        <a:pt x="31" y="12"/>
                      </a:cubicBezTo>
                      <a:cubicBezTo>
                        <a:pt x="32" y="8"/>
                        <a:pt x="35" y="4"/>
                        <a:pt x="38" y="0"/>
                      </a:cubicBezTo>
                      <a:cubicBezTo>
                        <a:pt x="2" y="0"/>
                        <a:pt x="2" y="0"/>
                        <a:pt x="2" y="0"/>
                      </a:cubicBezTo>
                      <a:cubicBezTo>
                        <a:pt x="1" y="0"/>
                        <a:pt x="0" y="1"/>
                        <a:pt x="0" y="2"/>
                      </a:cubicBezTo>
                      <a:cubicBezTo>
                        <a:pt x="0" y="10"/>
                        <a:pt x="0" y="10"/>
                        <a:pt x="0" y="10"/>
                      </a:cubicBezTo>
                      <a:cubicBezTo>
                        <a:pt x="0" y="11"/>
                        <a:pt x="1" y="12"/>
                        <a:pt x="2"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04">
                  <a:extLst>
                    <a:ext uri="{FF2B5EF4-FFF2-40B4-BE49-F238E27FC236}">
                      <a16:creationId xmlns:a16="http://schemas.microsoft.com/office/drawing/2014/main" id="{161A4035-AC1A-4413-8DEE-987B935AA88C}"/>
                    </a:ext>
                  </a:extLst>
                </p:cNvPr>
                <p:cNvSpPr>
                  <a:spLocks/>
                </p:cNvSpPr>
                <p:nvPr/>
              </p:nvSpPr>
              <p:spPr bwMode="auto">
                <a:xfrm>
                  <a:off x="5252129" y="4551345"/>
                  <a:ext cx="153273" cy="38640"/>
                </a:xfrm>
                <a:custGeom>
                  <a:avLst/>
                  <a:gdLst>
                    <a:gd name="T0" fmla="*/ 0 w 50"/>
                    <a:gd name="T1" fmla="*/ 3 h 13"/>
                    <a:gd name="T2" fmla="*/ 0 w 50"/>
                    <a:gd name="T3" fmla="*/ 10 h 13"/>
                    <a:gd name="T4" fmla="*/ 2 w 50"/>
                    <a:gd name="T5" fmla="*/ 13 h 13"/>
                    <a:gd name="T6" fmla="*/ 50 w 50"/>
                    <a:gd name="T7" fmla="*/ 13 h 13"/>
                    <a:gd name="T8" fmla="*/ 46 w 50"/>
                    <a:gd name="T9" fmla="*/ 5 h 13"/>
                    <a:gd name="T10" fmla="*/ 45 w 50"/>
                    <a:gd name="T11" fmla="*/ 0 h 13"/>
                    <a:gd name="T12" fmla="*/ 2 w 50"/>
                    <a:gd name="T13" fmla="*/ 0 h 13"/>
                    <a:gd name="T14" fmla="*/ 0 w 50"/>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3">
                      <a:moveTo>
                        <a:pt x="0" y="3"/>
                      </a:moveTo>
                      <a:cubicBezTo>
                        <a:pt x="0" y="10"/>
                        <a:pt x="0" y="10"/>
                        <a:pt x="0" y="10"/>
                      </a:cubicBezTo>
                      <a:cubicBezTo>
                        <a:pt x="0" y="12"/>
                        <a:pt x="1" y="13"/>
                        <a:pt x="2" y="13"/>
                      </a:cubicBezTo>
                      <a:cubicBezTo>
                        <a:pt x="50" y="13"/>
                        <a:pt x="50" y="13"/>
                        <a:pt x="50" y="13"/>
                      </a:cubicBezTo>
                      <a:cubicBezTo>
                        <a:pt x="49" y="10"/>
                        <a:pt x="47" y="8"/>
                        <a:pt x="46" y="5"/>
                      </a:cubicBezTo>
                      <a:cubicBezTo>
                        <a:pt x="46" y="3"/>
                        <a:pt x="45" y="2"/>
                        <a:pt x="45" y="0"/>
                      </a:cubicBezTo>
                      <a:cubicBezTo>
                        <a:pt x="2" y="0"/>
                        <a:pt x="2" y="0"/>
                        <a:pt x="2" y="0"/>
                      </a:cubicBezTo>
                      <a:cubicBezTo>
                        <a:pt x="1" y="0"/>
                        <a:pt x="0" y="1"/>
                        <a:pt x="0"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06">
                  <a:extLst>
                    <a:ext uri="{FF2B5EF4-FFF2-40B4-BE49-F238E27FC236}">
                      <a16:creationId xmlns:a16="http://schemas.microsoft.com/office/drawing/2014/main" id="{2E8D58CF-4115-4485-93EF-068CACFAB8D8}"/>
                    </a:ext>
                  </a:extLst>
                </p:cNvPr>
                <p:cNvSpPr>
                  <a:spLocks/>
                </p:cNvSpPr>
                <p:nvPr/>
              </p:nvSpPr>
              <p:spPr bwMode="auto">
                <a:xfrm>
                  <a:off x="5234096" y="4504977"/>
                  <a:ext cx="151986" cy="39929"/>
                </a:xfrm>
                <a:custGeom>
                  <a:avLst/>
                  <a:gdLst>
                    <a:gd name="T0" fmla="*/ 3 w 50"/>
                    <a:gd name="T1" fmla="*/ 13 h 13"/>
                    <a:gd name="T2" fmla="*/ 50 w 50"/>
                    <a:gd name="T3" fmla="*/ 13 h 13"/>
                    <a:gd name="T4" fmla="*/ 49 w 50"/>
                    <a:gd name="T5" fmla="*/ 0 h 13"/>
                    <a:gd name="T6" fmla="*/ 3 w 50"/>
                    <a:gd name="T7" fmla="*/ 0 h 13"/>
                    <a:gd name="T8" fmla="*/ 0 w 50"/>
                    <a:gd name="T9" fmla="*/ 3 h 13"/>
                    <a:gd name="T10" fmla="*/ 0 w 50"/>
                    <a:gd name="T11" fmla="*/ 10 h 13"/>
                    <a:gd name="T12" fmla="*/ 3 w 5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50" h="13">
                      <a:moveTo>
                        <a:pt x="3" y="13"/>
                      </a:moveTo>
                      <a:cubicBezTo>
                        <a:pt x="50" y="13"/>
                        <a:pt x="50" y="13"/>
                        <a:pt x="50" y="13"/>
                      </a:cubicBezTo>
                      <a:cubicBezTo>
                        <a:pt x="49" y="8"/>
                        <a:pt x="49" y="4"/>
                        <a:pt x="49" y="0"/>
                      </a:cubicBezTo>
                      <a:cubicBezTo>
                        <a:pt x="3" y="0"/>
                        <a:pt x="3" y="0"/>
                        <a:pt x="3" y="0"/>
                      </a:cubicBezTo>
                      <a:cubicBezTo>
                        <a:pt x="2" y="0"/>
                        <a:pt x="0" y="1"/>
                        <a:pt x="0" y="3"/>
                      </a:cubicBezTo>
                      <a:cubicBezTo>
                        <a:pt x="0" y="10"/>
                        <a:pt x="0" y="10"/>
                        <a:pt x="0" y="10"/>
                      </a:cubicBezTo>
                      <a:cubicBezTo>
                        <a:pt x="0" y="12"/>
                        <a:pt x="2" y="13"/>
                        <a:pt x="3" y="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07">
                  <a:extLst>
                    <a:ext uri="{FF2B5EF4-FFF2-40B4-BE49-F238E27FC236}">
                      <a16:creationId xmlns:a16="http://schemas.microsoft.com/office/drawing/2014/main" id="{99A3E3C9-8E72-4024-A6CF-968BE71E5C60}"/>
                    </a:ext>
                  </a:extLst>
                </p:cNvPr>
                <p:cNvSpPr>
                  <a:spLocks/>
                </p:cNvSpPr>
                <p:nvPr/>
              </p:nvSpPr>
              <p:spPr bwMode="auto">
                <a:xfrm>
                  <a:off x="5218640" y="4596426"/>
                  <a:ext cx="222826" cy="39929"/>
                </a:xfrm>
                <a:custGeom>
                  <a:avLst/>
                  <a:gdLst>
                    <a:gd name="T0" fmla="*/ 63 w 73"/>
                    <a:gd name="T1" fmla="*/ 0 h 13"/>
                    <a:gd name="T2" fmla="*/ 3 w 73"/>
                    <a:gd name="T3" fmla="*/ 0 h 13"/>
                    <a:gd name="T4" fmla="*/ 0 w 73"/>
                    <a:gd name="T5" fmla="*/ 3 h 13"/>
                    <a:gd name="T6" fmla="*/ 0 w 73"/>
                    <a:gd name="T7" fmla="*/ 11 h 13"/>
                    <a:gd name="T8" fmla="*/ 3 w 73"/>
                    <a:gd name="T9" fmla="*/ 13 h 13"/>
                    <a:gd name="T10" fmla="*/ 70 w 73"/>
                    <a:gd name="T11" fmla="*/ 13 h 13"/>
                    <a:gd name="T12" fmla="*/ 71 w 73"/>
                    <a:gd name="T13" fmla="*/ 9 h 13"/>
                    <a:gd name="T14" fmla="*/ 63 w 7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3">
                      <a:moveTo>
                        <a:pt x="63" y="0"/>
                      </a:moveTo>
                      <a:cubicBezTo>
                        <a:pt x="3" y="0"/>
                        <a:pt x="3" y="0"/>
                        <a:pt x="3" y="0"/>
                      </a:cubicBezTo>
                      <a:cubicBezTo>
                        <a:pt x="2" y="0"/>
                        <a:pt x="0" y="2"/>
                        <a:pt x="0" y="3"/>
                      </a:cubicBezTo>
                      <a:cubicBezTo>
                        <a:pt x="0" y="11"/>
                        <a:pt x="0" y="11"/>
                        <a:pt x="0" y="11"/>
                      </a:cubicBezTo>
                      <a:cubicBezTo>
                        <a:pt x="0" y="12"/>
                        <a:pt x="2" y="13"/>
                        <a:pt x="3" y="13"/>
                      </a:cubicBezTo>
                      <a:cubicBezTo>
                        <a:pt x="70" y="13"/>
                        <a:pt x="70" y="13"/>
                        <a:pt x="70" y="13"/>
                      </a:cubicBezTo>
                      <a:cubicBezTo>
                        <a:pt x="72" y="13"/>
                        <a:pt x="73" y="11"/>
                        <a:pt x="71" y="9"/>
                      </a:cubicBezTo>
                      <a:cubicBezTo>
                        <a:pt x="68" y="7"/>
                        <a:pt x="65" y="4"/>
                        <a:pt x="6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08">
                  <a:extLst>
                    <a:ext uri="{FF2B5EF4-FFF2-40B4-BE49-F238E27FC236}">
                      <a16:creationId xmlns:a16="http://schemas.microsoft.com/office/drawing/2014/main" id="{C876A976-AED8-4079-82E3-D1385ADEFF7D}"/>
                    </a:ext>
                  </a:extLst>
                </p:cNvPr>
                <p:cNvSpPr>
                  <a:spLocks/>
                </p:cNvSpPr>
                <p:nvPr/>
              </p:nvSpPr>
              <p:spPr bwMode="auto">
                <a:xfrm>
                  <a:off x="5267585" y="4459896"/>
                  <a:ext cx="122361" cy="38640"/>
                </a:xfrm>
                <a:custGeom>
                  <a:avLst/>
                  <a:gdLst>
                    <a:gd name="T0" fmla="*/ 2 w 40"/>
                    <a:gd name="T1" fmla="*/ 13 h 13"/>
                    <a:gd name="T2" fmla="*/ 38 w 40"/>
                    <a:gd name="T3" fmla="*/ 13 h 13"/>
                    <a:gd name="T4" fmla="*/ 40 w 40"/>
                    <a:gd name="T5" fmla="*/ 0 h 13"/>
                    <a:gd name="T6" fmla="*/ 2 w 40"/>
                    <a:gd name="T7" fmla="*/ 0 h 13"/>
                    <a:gd name="T8" fmla="*/ 0 w 40"/>
                    <a:gd name="T9" fmla="*/ 2 h 13"/>
                    <a:gd name="T10" fmla="*/ 0 w 40"/>
                    <a:gd name="T11" fmla="*/ 10 h 13"/>
                    <a:gd name="T12" fmla="*/ 2 w 4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2" y="13"/>
                      </a:moveTo>
                      <a:cubicBezTo>
                        <a:pt x="38" y="13"/>
                        <a:pt x="38" y="13"/>
                        <a:pt x="38" y="13"/>
                      </a:cubicBezTo>
                      <a:cubicBezTo>
                        <a:pt x="38" y="8"/>
                        <a:pt x="39" y="4"/>
                        <a:pt x="40" y="0"/>
                      </a:cubicBezTo>
                      <a:cubicBezTo>
                        <a:pt x="2" y="0"/>
                        <a:pt x="2" y="0"/>
                        <a:pt x="2" y="0"/>
                      </a:cubicBezTo>
                      <a:cubicBezTo>
                        <a:pt x="1" y="0"/>
                        <a:pt x="0" y="1"/>
                        <a:pt x="0" y="2"/>
                      </a:cubicBezTo>
                      <a:cubicBezTo>
                        <a:pt x="0" y="10"/>
                        <a:pt x="0" y="10"/>
                        <a:pt x="0" y="10"/>
                      </a:cubicBezTo>
                      <a:cubicBezTo>
                        <a:pt x="0" y="11"/>
                        <a:pt x="1" y="13"/>
                        <a:pt x="2" y="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p:cNvGrpSpPr/>
                <p:nvPr/>
              </p:nvGrpSpPr>
              <p:grpSpPr>
                <a:xfrm>
                  <a:off x="5377065" y="4340111"/>
                  <a:ext cx="350340" cy="329731"/>
                  <a:chOff x="5377065" y="4340111"/>
                  <a:chExt cx="350340" cy="329731"/>
                </a:xfrm>
              </p:grpSpPr>
              <p:sp>
                <p:nvSpPr>
                  <p:cNvPr id="91" name="Freeform 209">
                    <a:extLst>
                      <a:ext uri="{FF2B5EF4-FFF2-40B4-BE49-F238E27FC236}">
                        <a16:creationId xmlns:a16="http://schemas.microsoft.com/office/drawing/2014/main" id="{7706876C-8C3F-4049-8B73-7CC7F26110F0}"/>
                      </a:ext>
                    </a:extLst>
                  </p:cNvPr>
                  <p:cNvSpPr>
                    <a:spLocks/>
                  </p:cNvSpPr>
                  <p:nvPr/>
                </p:nvSpPr>
                <p:spPr bwMode="auto">
                  <a:xfrm>
                    <a:off x="5377065" y="4340111"/>
                    <a:ext cx="350340" cy="329731"/>
                  </a:xfrm>
                  <a:custGeom>
                    <a:avLst/>
                    <a:gdLst>
                      <a:gd name="T0" fmla="*/ 16 w 115"/>
                      <a:gd name="T1" fmla="*/ 84 h 108"/>
                      <a:gd name="T2" fmla="*/ 28 w 115"/>
                      <a:gd name="T3" fmla="*/ 16 h 108"/>
                      <a:gd name="T4" fmla="*/ 99 w 115"/>
                      <a:gd name="T5" fmla="*/ 26 h 108"/>
                      <a:gd name="T6" fmla="*/ 86 w 115"/>
                      <a:gd name="T7" fmla="*/ 92 h 108"/>
                      <a:gd name="T8" fmla="*/ 16 w 115"/>
                      <a:gd name="T9" fmla="*/ 84 h 108"/>
                    </a:gdLst>
                    <a:ahLst/>
                    <a:cxnLst>
                      <a:cxn ang="0">
                        <a:pos x="T0" y="T1"/>
                      </a:cxn>
                      <a:cxn ang="0">
                        <a:pos x="T2" y="T3"/>
                      </a:cxn>
                      <a:cxn ang="0">
                        <a:pos x="T4" y="T5"/>
                      </a:cxn>
                      <a:cxn ang="0">
                        <a:pos x="T6" y="T7"/>
                      </a:cxn>
                      <a:cxn ang="0">
                        <a:pos x="T8" y="T9"/>
                      </a:cxn>
                    </a:cxnLst>
                    <a:rect l="0" t="0" r="r" b="b"/>
                    <a:pathLst>
                      <a:path w="115" h="108">
                        <a:moveTo>
                          <a:pt x="16" y="84"/>
                        </a:moveTo>
                        <a:cubicBezTo>
                          <a:pt x="0" y="62"/>
                          <a:pt x="5" y="32"/>
                          <a:pt x="28" y="16"/>
                        </a:cubicBezTo>
                        <a:cubicBezTo>
                          <a:pt x="50" y="0"/>
                          <a:pt x="82" y="4"/>
                          <a:pt x="99" y="26"/>
                        </a:cubicBezTo>
                        <a:cubicBezTo>
                          <a:pt x="115" y="47"/>
                          <a:pt x="109" y="75"/>
                          <a:pt x="86" y="92"/>
                        </a:cubicBezTo>
                        <a:cubicBezTo>
                          <a:pt x="63" y="108"/>
                          <a:pt x="33" y="106"/>
                          <a:pt x="16" y="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10">
                    <a:extLst>
                      <a:ext uri="{FF2B5EF4-FFF2-40B4-BE49-F238E27FC236}">
                        <a16:creationId xmlns:a16="http://schemas.microsoft.com/office/drawing/2014/main" id="{0089CE71-4D32-4916-8700-799E00ED4BF8}"/>
                      </a:ext>
                    </a:extLst>
                  </p:cNvPr>
                  <p:cNvSpPr>
                    <a:spLocks/>
                  </p:cNvSpPr>
                  <p:nvPr/>
                </p:nvSpPr>
                <p:spPr bwMode="auto">
                  <a:xfrm>
                    <a:off x="5438890" y="4398072"/>
                    <a:ext cx="227978" cy="213810"/>
                  </a:xfrm>
                  <a:custGeom>
                    <a:avLst/>
                    <a:gdLst>
                      <a:gd name="T0" fmla="*/ 11 w 75"/>
                      <a:gd name="T1" fmla="*/ 54 h 70"/>
                      <a:gd name="T2" fmla="*/ 18 w 75"/>
                      <a:gd name="T3" fmla="*/ 10 h 70"/>
                      <a:gd name="T4" fmla="*/ 64 w 75"/>
                      <a:gd name="T5" fmla="*/ 17 h 70"/>
                      <a:gd name="T6" fmla="*/ 56 w 75"/>
                      <a:gd name="T7" fmla="*/ 59 h 70"/>
                      <a:gd name="T8" fmla="*/ 11 w 75"/>
                      <a:gd name="T9" fmla="*/ 54 h 70"/>
                    </a:gdLst>
                    <a:ahLst/>
                    <a:cxnLst>
                      <a:cxn ang="0">
                        <a:pos x="T0" y="T1"/>
                      </a:cxn>
                      <a:cxn ang="0">
                        <a:pos x="T2" y="T3"/>
                      </a:cxn>
                      <a:cxn ang="0">
                        <a:pos x="T4" y="T5"/>
                      </a:cxn>
                      <a:cxn ang="0">
                        <a:pos x="T6" y="T7"/>
                      </a:cxn>
                      <a:cxn ang="0">
                        <a:pos x="T8" y="T9"/>
                      </a:cxn>
                    </a:cxnLst>
                    <a:rect l="0" t="0" r="r" b="b"/>
                    <a:pathLst>
                      <a:path w="75" h="70">
                        <a:moveTo>
                          <a:pt x="11" y="54"/>
                        </a:moveTo>
                        <a:cubicBezTo>
                          <a:pt x="0" y="40"/>
                          <a:pt x="3" y="21"/>
                          <a:pt x="18" y="10"/>
                        </a:cubicBezTo>
                        <a:cubicBezTo>
                          <a:pt x="33" y="0"/>
                          <a:pt x="53" y="3"/>
                          <a:pt x="64" y="17"/>
                        </a:cubicBezTo>
                        <a:cubicBezTo>
                          <a:pt x="75" y="31"/>
                          <a:pt x="70" y="49"/>
                          <a:pt x="56" y="59"/>
                        </a:cubicBezTo>
                        <a:cubicBezTo>
                          <a:pt x="41" y="70"/>
                          <a:pt x="22" y="68"/>
                          <a:pt x="11"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11">
                    <a:extLst>
                      <a:ext uri="{FF2B5EF4-FFF2-40B4-BE49-F238E27FC236}">
                        <a16:creationId xmlns:a16="http://schemas.microsoft.com/office/drawing/2014/main" id="{4B7B3F4A-D440-4058-A51B-B9B3864A5277}"/>
                      </a:ext>
                    </a:extLst>
                  </p:cNvPr>
                  <p:cNvSpPr>
                    <a:spLocks/>
                  </p:cNvSpPr>
                  <p:nvPr/>
                </p:nvSpPr>
                <p:spPr bwMode="auto">
                  <a:xfrm>
                    <a:off x="5517459" y="4449592"/>
                    <a:ext cx="64401" cy="115921"/>
                  </a:xfrm>
                  <a:custGeom>
                    <a:avLst/>
                    <a:gdLst>
                      <a:gd name="T0" fmla="*/ 8 w 21"/>
                      <a:gd name="T1" fmla="*/ 33 h 38"/>
                      <a:gd name="T2" fmla="*/ 3 w 21"/>
                      <a:gd name="T3" fmla="*/ 32 h 38"/>
                      <a:gd name="T4" fmla="*/ 0 w 21"/>
                      <a:gd name="T5" fmla="*/ 31 h 38"/>
                      <a:gd name="T6" fmla="*/ 2 w 21"/>
                      <a:gd name="T7" fmla="*/ 26 h 38"/>
                      <a:gd name="T8" fmla="*/ 6 w 21"/>
                      <a:gd name="T9" fmla="*/ 27 h 38"/>
                      <a:gd name="T10" fmla="*/ 10 w 21"/>
                      <a:gd name="T11" fmla="*/ 28 h 38"/>
                      <a:gd name="T12" fmla="*/ 14 w 21"/>
                      <a:gd name="T13" fmla="*/ 27 h 38"/>
                      <a:gd name="T14" fmla="*/ 15 w 21"/>
                      <a:gd name="T15" fmla="*/ 25 h 38"/>
                      <a:gd name="T16" fmla="*/ 14 w 21"/>
                      <a:gd name="T17" fmla="*/ 24 h 38"/>
                      <a:gd name="T18" fmla="*/ 13 w 21"/>
                      <a:gd name="T19" fmla="*/ 23 h 38"/>
                      <a:gd name="T20" fmla="*/ 11 w 21"/>
                      <a:gd name="T21" fmla="*/ 22 h 38"/>
                      <a:gd name="T22" fmla="*/ 9 w 21"/>
                      <a:gd name="T23" fmla="*/ 21 h 38"/>
                      <a:gd name="T24" fmla="*/ 6 w 21"/>
                      <a:gd name="T25" fmla="*/ 19 h 38"/>
                      <a:gd name="T26" fmla="*/ 4 w 21"/>
                      <a:gd name="T27" fmla="*/ 18 h 38"/>
                      <a:gd name="T28" fmla="*/ 2 w 21"/>
                      <a:gd name="T29" fmla="*/ 16 h 38"/>
                      <a:gd name="T30" fmla="*/ 1 w 21"/>
                      <a:gd name="T31" fmla="*/ 13 h 38"/>
                      <a:gd name="T32" fmla="*/ 2 w 21"/>
                      <a:gd name="T33" fmla="*/ 10 h 38"/>
                      <a:gd name="T34" fmla="*/ 3 w 21"/>
                      <a:gd name="T35" fmla="*/ 7 h 38"/>
                      <a:gd name="T36" fmla="*/ 5 w 21"/>
                      <a:gd name="T37" fmla="*/ 6 h 38"/>
                      <a:gd name="T38" fmla="*/ 8 w 21"/>
                      <a:gd name="T39" fmla="*/ 5 h 38"/>
                      <a:gd name="T40" fmla="*/ 8 w 21"/>
                      <a:gd name="T41" fmla="*/ 0 h 38"/>
                      <a:gd name="T42" fmla="*/ 14 w 21"/>
                      <a:gd name="T43" fmla="*/ 0 h 38"/>
                      <a:gd name="T44" fmla="*/ 14 w 21"/>
                      <a:gd name="T45" fmla="*/ 4 h 38"/>
                      <a:gd name="T46" fmla="*/ 18 w 21"/>
                      <a:gd name="T47" fmla="*/ 5 h 38"/>
                      <a:gd name="T48" fmla="*/ 20 w 21"/>
                      <a:gd name="T49" fmla="*/ 6 h 38"/>
                      <a:gd name="T50" fmla="*/ 19 w 21"/>
                      <a:gd name="T51" fmla="*/ 11 h 38"/>
                      <a:gd name="T52" fmla="*/ 16 w 21"/>
                      <a:gd name="T53" fmla="*/ 10 h 38"/>
                      <a:gd name="T54" fmla="*/ 12 w 21"/>
                      <a:gd name="T55" fmla="*/ 10 h 38"/>
                      <a:gd name="T56" fmla="*/ 9 w 21"/>
                      <a:gd name="T57" fmla="*/ 10 h 38"/>
                      <a:gd name="T58" fmla="*/ 8 w 21"/>
                      <a:gd name="T59" fmla="*/ 12 h 38"/>
                      <a:gd name="T60" fmla="*/ 8 w 21"/>
                      <a:gd name="T61" fmla="*/ 13 h 38"/>
                      <a:gd name="T62" fmla="*/ 9 w 21"/>
                      <a:gd name="T63" fmla="*/ 14 h 38"/>
                      <a:gd name="T64" fmla="*/ 10 w 21"/>
                      <a:gd name="T65" fmla="*/ 15 h 38"/>
                      <a:gd name="T66" fmla="*/ 12 w 21"/>
                      <a:gd name="T67" fmla="*/ 16 h 38"/>
                      <a:gd name="T68" fmla="*/ 16 w 21"/>
                      <a:gd name="T69" fmla="*/ 17 h 38"/>
                      <a:gd name="T70" fmla="*/ 19 w 21"/>
                      <a:gd name="T71" fmla="*/ 19 h 38"/>
                      <a:gd name="T72" fmla="*/ 21 w 21"/>
                      <a:gd name="T73" fmla="*/ 22 h 38"/>
                      <a:gd name="T74" fmla="*/ 21 w 21"/>
                      <a:gd name="T75" fmla="*/ 25 h 38"/>
                      <a:gd name="T76" fmla="*/ 21 w 21"/>
                      <a:gd name="T77" fmla="*/ 27 h 38"/>
                      <a:gd name="T78" fmla="*/ 20 w 21"/>
                      <a:gd name="T79" fmla="*/ 30 h 38"/>
                      <a:gd name="T80" fmla="*/ 17 w 21"/>
                      <a:gd name="T81" fmla="*/ 32 h 38"/>
                      <a:gd name="T82" fmla="*/ 14 w 21"/>
                      <a:gd name="T83" fmla="*/ 33 h 38"/>
                      <a:gd name="T84" fmla="*/ 14 w 21"/>
                      <a:gd name="T85" fmla="*/ 38 h 38"/>
                      <a:gd name="T86" fmla="*/ 8 w 21"/>
                      <a:gd name="T87" fmla="*/ 38 h 38"/>
                      <a:gd name="T88" fmla="*/ 8 w 21"/>
                      <a:gd name="T8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8">
                        <a:moveTo>
                          <a:pt x="8" y="33"/>
                        </a:moveTo>
                        <a:cubicBezTo>
                          <a:pt x="6" y="33"/>
                          <a:pt x="5" y="32"/>
                          <a:pt x="3" y="32"/>
                        </a:cubicBezTo>
                        <a:cubicBezTo>
                          <a:pt x="2" y="31"/>
                          <a:pt x="1" y="31"/>
                          <a:pt x="0" y="31"/>
                        </a:cubicBezTo>
                        <a:cubicBezTo>
                          <a:pt x="2" y="26"/>
                          <a:pt x="2" y="26"/>
                          <a:pt x="2" y="26"/>
                        </a:cubicBezTo>
                        <a:cubicBezTo>
                          <a:pt x="3" y="26"/>
                          <a:pt x="4" y="27"/>
                          <a:pt x="6" y="27"/>
                        </a:cubicBezTo>
                        <a:cubicBezTo>
                          <a:pt x="7" y="27"/>
                          <a:pt x="9" y="28"/>
                          <a:pt x="10" y="28"/>
                        </a:cubicBezTo>
                        <a:cubicBezTo>
                          <a:pt x="12" y="28"/>
                          <a:pt x="13" y="27"/>
                          <a:pt x="14" y="27"/>
                        </a:cubicBezTo>
                        <a:cubicBezTo>
                          <a:pt x="14" y="27"/>
                          <a:pt x="15" y="26"/>
                          <a:pt x="15" y="25"/>
                        </a:cubicBezTo>
                        <a:cubicBezTo>
                          <a:pt x="15" y="24"/>
                          <a:pt x="15" y="24"/>
                          <a:pt x="14" y="24"/>
                        </a:cubicBezTo>
                        <a:cubicBezTo>
                          <a:pt x="14" y="23"/>
                          <a:pt x="14" y="23"/>
                          <a:pt x="13" y="23"/>
                        </a:cubicBezTo>
                        <a:cubicBezTo>
                          <a:pt x="13" y="22"/>
                          <a:pt x="12" y="22"/>
                          <a:pt x="11" y="22"/>
                        </a:cubicBezTo>
                        <a:cubicBezTo>
                          <a:pt x="11" y="21"/>
                          <a:pt x="10" y="21"/>
                          <a:pt x="9" y="21"/>
                        </a:cubicBezTo>
                        <a:cubicBezTo>
                          <a:pt x="8" y="20"/>
                          <a:pt x="7" y="20"/>
                          <a:pt x="6" y="19"/>
                        </a:cubicBezTo>
                        <a:cubicBezTo>
                          <a:pt x="5" y="19"/>
                          <a:pt x="4" y="19"/>
                          <a:pt x="4" y="18"/>
                        </a:cubicBezTo>
                        <a:cubicBezTo>
                          <a:pt x="3" y="17"/>
                          <a:pt x="2" y="17"/>
                          <a:pt x="2" y="16"/>
                        </a:cubicBezTo>
                        <a:cubicBezTo>
                          <a:pt x="1" y="15"/>
                          <a:pt x="1" y="14"/>
                          <a:pt x="1" y="13"/>
                        </a:cubicBezTo>
                        <a:cubicBezTo>
                          <a:pt x="1" y="12"/>
                          <a:pt x="1" y="11"/>
                          <a:pt x="2" y="10"/>
                        </a:cubicBezTo>
                        <a:cubicBezTo>
                          <a:pt x="2" y="9"/>
                          <a:pt x="2" y="8"/>
                          <a:pt x="3" y="7"/>
                        </a:cubicBezTo>
                        <a:cubicBezTo>
                          <a:pt x="3" y="7"/>
                          <a:pt x="4" y="6"/>
                          <a:pt x="5" y="6"/>
                        </a:cubicBezTo>
                        <a:cubicBezTo>
                          <a:pt x="6" y="5"/>
                          <a:pt x="7" y="5"/>
                          <a:pt x="8" y="5"/>
                        </a:cubicBezTo>
                        <a:cubicBezTo>
                          <a:pt x="8" y="0"/>
                          <a:pt x="8" y="0"/>
                          <a:pt x="8" y="0"/>
                        </a:cubicBezTo>
                        <a:cubicBezTo>
                          <a:pt x="14" y="0"/>
                          <a:pt x="14" y="0"/>
                          <a:pt x="14" y="0"/>
                        </a:cubicBezTo>
                        <a:cubicBezTo>
                          <a:pt x="14" y="4"/>
                          <a:pt x="14" y="4"/>
                          <a:pt x="14" y="4"/>
                        </a:cubicBezTo>
                        <a:cubicBezTo>
                          <a:pt x="15" y="5"/>
                          <a:pt x="17" y="5"/>
                          <a:pt x="18" y="5"/>
                        </a:cubicBezTo>
                        <a:cubicBezTo>
                          <a:pt x="19" y="5"/>
                          <a:pt x="20" y="6"/>
                          <a:pt x="20" y="6"/>
                        </a:cubicBezTo>
                        <a:cubicBezTo>
                          <a:pt x="19" y="11"/>
                          <a:pt x="19" y="11"/>
                          <a:pt x="19" y="11"/>
                        </a:cubicBezTo>
                        <a:cubicBezTo>
                          <a:pt x="18" y="11"/>
                          <a:pt x="17" y="10"/>
                          <a:pt x="16" y="10"/>
                        </a:cubicBezTo>
                        <a:cubicBezTo>
                          <a:pt x="14" y="10"/>
                          <a:pt x="13" y="10"/>
                          <a:pt x="12" y="10"/>
                        </a:cubicBezTo>
                        <a:cubicBezTo>
                          <a:pt x="10" y="10"/>
                          <a:pt x="9" y="10"/>
                          <a:pt x="9" y="10"/>
                        </a:cubicBezTo>
                        <a:cubicBezTo>
                          <a:pt x="8" y="11"/>
                          <a:pt x="8" y="11"/>
                          <a:pt x="8" y="12"/>
                        </a:cubicBezTo>
                        <a:cubicBezTo>
                          <a:pt x="8" y="13"/>
                          <a:pt x="8" y="13"/>
                          <a:pt x="8" y="13"/>
                        </a:cubicBezTo>
                        <a:cubicBezTo>
                          <a:pt x="8" y="14"/>
                          <a:pt x="8" y="14"/>
                          <a:pt x="9" y="14"/>
                        </a:cubicBezTo>
                        <a:cubicBezTo>
                          <a:pt x="9" y="14"/>
                          <a:pt x="10" y="15"/>
                          <a:pt x="10" y="15"/>
                        </a:cubicBezTo>
                        <a:cubicBezTo>
                          <a:pt x="11" y="15"/>
                          <a:pt x="12" y="15"/>
                          <a:pt x="12" y="16"/>
                        </a:cubicBezTo>
                        <a:cubicBezTo>
                          <a:pt x="14" y="16"/>
                          <a:pt x="15" y="17"/>
                          <a:pt x="16" y="17"/>
                        </a:cubicBezTo>
                        <a:cubicBezTo>
                          <a:pt x="17" y="18"/>
                          <a:pt x="18" y="18"/>
                          <a:pt x="19" y="19"/>
                        </a:cubicBezTo>
                        <a:cubicBezTo>
                          <a:pt x="20" y="20"/>
                          <a:pt x="20" y="21"/>
                          <a:pt x="21" y="22"/>
                        </a:cubicBezTo>
                        <a:cubicBezTo>
                          <a:pt x="21" y="22"/>
                          <a:pt x="21" y="24"/>
                          <a:pt x="21" y="25"/>
                        </a:cubicBezTo>
                        <a:cubicBezTo>
                          <a:pt x="21" y="26"/>
                          <a:pt x="21" y="27"/>
                          <a:pt x="21" y="27"/>
                        </a:cubicBezTo>
                        <a:cubicBezTo>
                          <a:pt x="21" y="28"/>
                          <a:pt x="20" y="29"/>
                          <a:pt x="20" y="30"/>
                        </a:cubicBezTo>
                        <a:cubicBezTo>
                          <a:pt x="19" y="30"/>
                          <a:pt x="18" y="31"/>
                          <a:pt x="17" y="32"/>
                        </a:cubicBezTo>
                        <a:cubicBezTo>
                          <a:pt x="16" y="32"/>
                          <a:pt x="15" y="32"/>
                          <a:pt x="14" y="33"/>
                        </a:cubicBezTo>
                        <a:cubicBezTo>
                          <a:pt x="14" y="38"/>
                          <a:pt x="14" y="38"/>
                          <a:pt x="14" y="38"/>
                        </a:cubicBezTo>
                        <a:cubicBezTo>
                          <a:pt x="8" y="38"/>
                          <a:pt x="8" y="38"/>
                          <a:pt x="8" y="38"/>
                        </a:cubicBezTo>
                        <a:lnTo>
                          <a:pt x="8" y="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e 754">
                <a:extLst>
                  <a:ext uri="{FF2B5EF4-FFF2-40B4-BE49-F238E27FC236}">
                    <a16:creationId xmlns:a16="http://schemas.microsoft.com/office/drawing/2014/main" id="{3E0DCDBA-3755-447F-BF9F-362170F0A3C1}"/>
                  </a:ext>
                </a:extLst>
              </p:cNvPr>
              <p:cNvGrpSpPr/>
              <p:nvPr/>
            </p:nvGrpSpPr>
            <p:grpSpPr>
              <a:xfrm>
                <a:off x="5813083" y="1159212"/>
                <a:ext cx="550732" cy="494310"/>
                <a:chOff x="5534025" y="3363912"/>
                <a:chExt cx="712787" cy="639763"/>
              </a:xfrm>
            </p:grpSpPr>
            <p:sp>
              <p:nvSpPr>
                <p:cNvPr id="95" name="Freeform 283">
                  <a:extLst>
                    <a:ext uri="{FF2B5EF4-FFF2-40B4-BE49-F238E27FC236}">
                      <a16:creationId xmlns:a16="http://schemas.microsoft.com/office/drawing/2014/main" id="{3D998B6B-F986-4F14-B403-55F1ED117905}"/>
                    </a:ext>
                  </a:extLst>
                </p:cNvPr>
                <p:cNvSpPr>
                  <a:spLocks noEditPoints="1"/>
                </p:cNvSpPr>
                <p:nvPr/>
              </p:nvSpPr>
              <p:spPr bwMode="auto">
                <a:xfrm>
                  <a:off x="5534025" y="3363912"/>
                  <a:ext cx="712787" cy="639763"/>
                </a:xfrm>
                <a:custGeom>
                  <a:avLst/>
                  <a:gdLst>
                    <a:gd name="T0" fmla="*/ 0 w 190"/>
                    <a:gd name="T1" fmla="*/ 104 h 170"/>
                    <a:gd name="T2" fmla="*/ 180 w 190"/>
                    <a:gd name="T3" fmla="*/ 117 h 170"/>
                    <a:gd name="T4" fmla="*/ 123 w 190"/>
                    <a:gd name="T5" fmla="*/ 152 h 170"/>
                    <a:gd name="T6" fmla="*/ 169 w 190"/>
                    <a:gd name="T7" fmla="*/ 120 h 170"/>
                    <a:gd name="T8" fmla="*/ 92 w 190"/>
                    <a:gd name="T9" fmla="*/ 68 h 170"/>
                    <a:gd name="T10" fmla="*/ 0 w 190"/>
                    <a:gd name="T11" fmla="*/ 117 h 170"/>
                    <a:gd name="T12" fmla="*/ 77 w 190"/>
                    <a:gd name="T13" fmla="*/ 167 h 170"/>
                    <a:gd name="T14" fmla="*/ 10 w 190"/>
                    <a:gd name="T15" fmla="*/ 117 h 170"/>
                    <a:gd name="T16" fmla="*/ 67 w 190"/>
                    <a:gd name="T17" fmla="*/ 81 h 170"/>
                    <a:gd name="T18" fmla="*/ 21 w 190"/>
                    <a:gd name="T19" fmla="*/ 114 h 170"/>
                    <a:gd name="T20" fmla="*/ 98 w 190"/>
                    <a:gd name="T21" fmla="*/ 166 h 170"/>
                    <a:gd name="T22" fmla="*/ 190 w 190"/>
                    <a:gd name="T23" fmla="*/ 117 h 170"/>
                    <a:gd name="T24" fmla="*/ 0 w 190"/>
                    <a:gd name="T25" fmla="*/ 104 h 170"/>
                    <a:gd name="T26" fmla="*/ 64 w 190"/>
                    <a:gd name="T27" fmla="*/ 138 h 170"/>
                    <a:gd name="T28" fmla="*/ 73 w 190"/>
                    <a:gd name="T29" fmla="*/ 85 h 170"/>
                    <a:gd name="T30" fmla="*/ 128 w 190"/>
                    <a:gd name="T31" fmla="*/ 93 h 170"/>
                    <a:gd name="T32" fmla="*/ 118 w 190"/>
                    <a:gd name="T33" fmla="*/ 144 h 170"/>
                    <a:gd name="T34" fmla="*/ 64 w 190"/>
                    <a:gd name="T35"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70">
                      <a:moveTo>
                        <a:pt x="0" y="104"/>
                      </a:moveTo>
                      <a:cubicBezTo>
                        <a:pt x="89" y="14"/>
                        <a:pt x="167" y="92"/>
                        <a:pt x="180" y="117"/>
                      </a:cubicBezTo>
                      <a:cubicBezTo>
                        <a:pt x="166" y="135"/>
                        <a:pt x="146" y="148"/>
                        <a:pt x="123" y="152"/>
                      </a:cubicBezTo>
                      <a:cubicBezTo>
                        <a:pt x="141" y="146"/>
                        <a:pt x="157" y="135"/>
                        <a:pt x="169" y="120"/>
                      </a:cubicBezTo>
                      <a:cubicBezTo>
                        <a:pt x="155" y="91"/>
                        <a:pt x="126" y="71"/>
                        <a:pt x="92" y="68"/>
                      </a:cubicBezTo>
                      <a:cubicBezTo>
                        <a:pt x="55" y="64"/>
                        <a:pt x="20" y="86"/>
                        <a:pt x="0" y="117"/>
                      </a:cubicBezTo>
                      <a:cubicBezTo>
                        <a:pt x="17" y="143"/>
                        <a:pt x="44" y="162"/>
                        <a:pt x="77" y="167"/>
                      </a:cubicBezTo>
                      <a:cubicBezTo>
                        <a:pt x="47" y="161"/>
                        <a:pt x="23" y="142"/>
                        <a:pt x="10" y="117"/>
                      </a:cubicBezTo>
                      <a:cubicBezTo>
                        <a:pt x="24" y="99"/>
                        <a:pt x="45" y="86"/>
                        <a:pt x="67" y="81"/>
                      </a:cubicBezTo>
                      <a:cubicBezTo>
                        <a:pt x="49" y="87"/>
                        <a:pt x="33" y="99"/>
                        <a:pt x="21" y="114"/>
                      </a:cubicBezTo>
                      <a:cubicBezTo>
                        <a:pt x="36" y="142"/>
                        <a:pt x="64" y="163"/>
                        <a:pt x="98" y="166"/>
                      </a:cubicBezTo>
                      <a:cubicBezTo>
                        <a:pt x="136" y="170"/>
                        <a:pt x="171" y="147"/>
                        <a:pt x="190" y="117"/>
                      </a:cubicBezTo>
                      <a:cubicBezTo>
                        <a:pt x="173" y="91"/>
                        <a:pt x="91" y="0"/>
                        <a:pt x="0" y="104"/>
                      </a:cubicBezTo>
                      <a:close/>
                      <a:moveTo>
                        <a:pt x="64" y="138"/>
                      </a:moveTo>
                      <a:cubicBezTo>
                        <a:pt x="51" y="121"/>
                        <a:pt x="55" y="98"/>
                        <a:pt x="73" y="85"/>
                      </a:cubicBezTo>
                      <a:cubicBezTo>
                        <a:pt x="90" y="73"/>
                        <a:pt x="115" y="76"/>
                        <a:pt x="128" y="93"/>
                      </a:cubicBezTo>
                      <a:cubicBezTo>
                        <a:pt x="140" y="110"/>
                        <a:pt x="135" y="131"/>
                        <a:pt x="118" y="144"/>
                      </a:cubicBezTo>
                      <a:cubicBezTo>
                        <a:pt x="100" y="156"/>
                        <a:pt x="77" y="155"/>
                        <a:pt x="64" y="138"/>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84">
                  <a:extLst>
                    <a:ext uri="{FF2B5EF4-FFF2-40B4-BE49-F238E27FC236}">
                      <a16:creationId xmlns:a16="http://schemas.microsoft.com/office/drawing/2014/main" id="{BBCAA1BB-8921-47F0-BC69-4BCAF5EB2FC2}"/>
                    </a:ext>
                  </a:extLst>
                </p:cNvPr>
                <p:cNvSpPr>
                  <a:spLocks/>
                </p:cNvSpPr>
                <p:nvPr/>
              </p:nvSpPr>
              <p:spPr bwMode="auto">
                <a:xfrm>
                  <a:off x="5756275" y="3668712"/>
                  <a:ext cx="277812" cy="255588"/>
                </a:xfrm>
                <a:custGeom>
                  <a:avLst/>
                  <a:gdLst>
                    <a:gd name="T0" fmla="*/ 63 w 74"/>
                    <a:gd name="T1" fmla="*/ 16 h 68"/>
                    <a:gd name="T2" fmla="*/ 24 w 74"/>
                    <a:gd name="T3" fmla="*/ 5 h 68"/>
                    <a:gd name="T4" fmla="*/ 26 w 74"/>
                    <a:gd name="T5" fmla="*/ 18 h 68"/>
                    <a:gd name="T6" fmla="*/ 16 w 74"/>
                    <a:gd name="T7" fmla="*/ 10 h 68"/>
                    <a:gd name="T8" fmla="*/ 10 w 74"/>
                    <a:gd name="T9" fmla="*/ 53 h 68"/>
                    <a:gd name="T10" fmla="*/ 55 w 74"/>
                    <a:gd name="T11" fmla="*/ 58 h 68"/>
                    <a:gd name="T12" fmla="*/ 63 w 74"/>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74" h="68">
                      <a:moveTo>
                        <a:pt x="63" y="16"/>
                      </a:moveTo>
                      <a:cubicBezTo>
                        <a:pt x="54" y="4"/>
                        <a:pt x="38" y="0"/>
                        <a:pt x="24" y="5"/>
                      </a:cubicBezTo>
                      <a:cubicBezTo>
                        <a:pt x="26" y="18"/>
                        <a:pt x="26" y="18"/>
                        <a:pt x="26" y="18"/>
                      </a:cubicBezTo>
                      <a:cubicBezTo>
                        <a:pt x="16" y="10"/>
                        <a:pt x="16" y="10"/>
                        <a:pt x="16" y="10"/>
                      </a:cubicBezTo>
                      <a:cubicBezTo>
                        <a:pt x="3" y="21"/>
                        <a:pt x="0" y="39"/>
                        <a:pt x="10" y="53"/>
                      </a:cubicBezTo>
                      <a:cubicBezTo>
                        <a:pt x="21" y="67"/>
                        <a:pt x="40" y="68"/>
                        <a:pt x="55" y="58"/>
                      </a:cubicBezTo>
                      <a:cubicBezTo>
                        <a:pt x="70" y="47"/>
                        <a:pt x="74" y="29"/>
                        <a:pt x="63"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85">
                  <a:extLst>
                    <a:ext uri="{FF2B5EF4-FFF2-40B4-BE49-F238E27FC236}">
                      <a16:creationId xmlns:a16="http://schemas.microsoft.com/office/drawing/2014/main" id="{FCD7C912-B3AC-4EC7-913D-3429A59A6BBF}"/>
                    </a:ext>
                  </a:extLst>
                </p:cNvPr>
                <p:cNvSpPr>
                  <a:spLocks/>
                </p:cNvSpPr>
                <p:nvPr/>
              </p:nvSpPr>
              <p:spPr bwMode="auto">
                <a:xfrm>
                  <a:off x="5853113" y="3679825"/>
                  <a:ext cx="60325" cy="57150"/>
                </a:xfrm>
                <a:custGeom>
                  <a:avLst/>
                  <a:gdLst>
                    <a:gd name="T0" fmla="*/ 3 w 16"/>
                    <a:gd name="T1" fmla="*/ 12 h 15"/>
                    <a:gd name="T2" fmla="*/ 4 w 16"/>
                    <a:gd name="T3" fmla="*/ 2 h 15"/>
                    <a:gd name="T4" fmla="*/ 14 w 16"/>
                    <a:gd name="T5" fmla="*/ 4 h 15"/>
                    <a:gd name="T6" fmla="*/ 12 w 16"/>
                    <a:gd name="T7" fmla="*/ 13 h 15"/>
                    <a:gd name="T8" fmla="*/ 3 w 16"/>
                    <a:gd name="T9" fmla="*/ 12 h 15"/>
                  </a:gdLst>
                  <a:ahLst/>
                  <a:cxnLst>
                    <a:cxn ang="0">
                      <a:pos x="T0" y="T1"/>
                    </a:cxn>
                    <a:cxn ang="0">
                      <a:pos x="T2" y="T3"/>
                    </a:cxn>
                    <a:cxn ang="0">
                      <a:pos x="T4" y="T5"/>
                    </a:cxn>
                    <a:cxn ang="0">
                      <a:pos x="T6" y="T7"/>
                    </a:cxn>
                    <a:cxn ang="0">
                      <a:pos x="T8" y="T9"/>
                    </a:cxn>
                  </a:cxnLst>
                  <a:rect l="0" t="0" r="r" b="b"/>
                  <a:pathLst>
                    <a:path w="16" h="15">
                      <a:moveTo>
                        <a:pt x="3" y="12"/>
                      </a:moveTo>
                      <a:cubicBezTo>
                        <a:pt x="0" y="9"/>
                        <a:pt x="1" y="4"/>
                        <a:pt x="4" y="2"/>
                      </a:cubicBezTo>
                      <a:cubicBezTo>
                        <a:pt x="7" y="0"/>
                        <a:pt x="12" y="1"/>
                        <a:pt x="14" y="4"/>
                      </a:cubicBezTo>
                      <a:cubicBezTo>
                        <a:pt x="16" y="7"/>
                        <a:pt x="15" y="10"/>
                        <a:pt x="12" y="13"/>
                      </a:cubicBezTo>
                      <a:cubicBezTo>
                        <a:pt x="9" y="15"/>
                        <a:pt x="5" y="15"/>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e 364">
                <a:extLst>
                  <a:ext uri="{FF2B5EF4-FFF2-40B4-BE49-F238E27FC236}">
                    <a16:creationId xmlns:a16="http://schemas.microsoft.com/office/drawing/2014/main" id="{92C55639-C451-432F-ACBD-B0728A4047C7}"/>
                  </a:ext>
                </a:extLst>
              </p:cNvPr>
              <p:cNvGrpSpPr/>
              <p:nvPr/>
            </p:nvGrpSpPr>
            <p:grpSpPr>
              <a:xfrm>
                <a:off x="8061736" y="1228942"/>
                <a:ext cx="341562" cy="518616"/>
                <a:chOff x="5291138" y="730251"/>
                <a:chExt cx="388938" cy="590550"/>
              </a:xfrm>
            </p:grpSpPr>
            <p:sp>
              <p:nvSpPr>
                <p:cNvPr id="99" name="Rectangle 87">
                  <a:extLst>
                    <a:ext uri="{FF2B5EF4-FFF2-40B4-BE49-F238E27FC236}">
                      <a16:creationId xmlns:a16="http://schemas.microsoft.com/office/drawing/2014/main" id="{7FB1329B-85EC-4018-84EC-4F5AE13C71F1}"/>
                    </a:ext>
                  </a:extLst>
                </p:cNvPr>
                <p:cNvSpPr>
                  <a:spLocks noChangeArrowheads="1"/>
                </p:cNvSpPr>
                <p:nvPr/>
              </p:nvSpPr>
              <p:spPr bwMode="auto">
                <a:xfrm>
                  <a:off x="5411788" y="1208088"/>
                  <a:ext cx="149225" cy="777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8">
                  <a:extLst>
                    <a:ext uri="{FF2B5EF4-FFF2-40B4-BE49-F238E27FC236}">
                      <a16:creationId xmlns:a16="http://schemas.microsoft.com/office/drawing/2014/main" id="{56C194D9-3948-4ED4-824C-645D924683C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89">
                  <a:extLst>
                    <a:ext uri="{FF2B5EF4-FFF2-40B4-BE49-F238E27FC236}">
                      <a16:creationId xmlns:a16="http://schemas.microsoft.com/office/drawing/2014/main" id="{E54D771B-DC0E-4467-BC2B-A05C602386C5}"/>
                    </a:ext>
                  </a:extLst>
                </p:cNvPr>
                <p:cNvSpPr>
                  <a:spLocks noChangeArrowheads="1"/>
                </p:cNvSpPr>
                <p:nvPr/>
              </p:nvSpPr>
              <p:spPr bwMode="auto">
                <a:xfrm>
                  <a:off x="5399088" y="1220788"/>
                  <a:ext cx="176213" cy="142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90">
                  <a:extLst>
                    <a:ext uri="{FF2B5EF4-FFF2-40B4-BE49-F238E27FC236}">
                      <a16:creationId xmlns:a16="http://schemas.microsoft.com/office/drawing/2014/main" id="{609F0360-506C-422C-B844-D7BB1D37E6A5}"/>
                    </a:ext>
                  </a:extLst>
                </p:cNvPr>
                <p:cNvSpPr>
                  <a:spLocks noChangeArrowheads="1"/>
                </p:cNvSpPr>
                <p:nvPr/>
              </p:nvSpPr>
              <p:spPr bwMode="auto">
                <a:xfrm>
                  <a:off x="5399088" y="1244601"/>
                  <a:ext cx="176213" cy="142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1">
                  <a:extLst>
                    <a:ext uri="{FF2B5EF4-FFF2-40B4-BE49-F238E27FC236}">
                      <a16:creationId xmlns:a16="http://schemas.microsoft.com/office/drawing/2014/main" id="{BE32B5F6-A19C-42C9-85DE-5E7868FA0D94}"/>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92">
                  <a:extLst>
                    <a:ext uri="{FF2B5EF4-FFF2-40B4-BE49-F238E27FC236}">
                      <a16:creationId xmlns:a16="http://schemas.microsoft.com/office/drawing/2014/main" id="{35F4DD12-8459-4C4E-B661-BB21E031808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3">
                  <a:extLst>
                    <a:ext uri="{FF2B5EF4-FFF2-40B4-BE49-F238E27FC236}">
                      <a16:creationId xmlns:a16="http://schemas.microsoft.com/office/drawing/2014/main" id="{D6A1F10D-19E8-49C2-82BD-D5121F8661CE}"/>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4">
                  <a:extLst>
                    <a:ext uri="{FF2B5EF4-FFF2-40B4-BE49-F238E27FC236}">
                      <a16:creationId xmlns:a16="http://schemas.microsoft.com/office/drawing/2014/main" id="{572351E6-2F9B-467B-BAD9-6484C577188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5">
                  <a:extLst>
                    <a:ext uri="{FF2B5EF4-FFF2-40B4-BE49-F238E27FC236}">
                      <a16:creationId xmlns:a16="http://schemas.microsoft.com/office/drawing/2014/main" id="{01082D91-3180-4184-93B8-A691414CD6F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6">
                  <a:extLst>
                    <a:ext uri="{FF2B5EF4-FFF2-40B4-BE49-F238E27FC236}">
                      <a16:creationId xmlns:a16="http://schemas.microsoft.com/office/drawing/2014/main" id="{B625FAE7-5B36-49C3-9767-6A447AF3C69E}"/>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 name="Groupe 1043">
                <a:extLst>
                  <a:ext uri="{FF2B5EF4-FFF2-40B4-BE49-F238E27FC236}">
                    <a16:creationId xmlns:a16="http://schemas.microsoft.com/office/drawing/2014/main" id="{7DC52049-54A9-4F60-8A7E-CD7880D462A4}"/>
                  </a:ext>
                </a:extLst>
              </p:cNvPr>
              <p:cNvGrpSpPr/>
              <p:nvPr/>
            </p:nvGrpSpPr>
            <p:grpSpPr>
              <a:xfrm>
                <a:off x="10319231" y="1306373"/>
                <a:ext cx="339082" cy="337374"/>
                <a:chOff x="8767763" y="2197100"/>
                <a:chExt cx="630238" cy="627062"/>
              </a:xfrm>
            </p:grpSpPr>
            <p:sp>
              <p:nvSpPr>
                <p:cNvPr id="112" name="Freeform 160">
                  <a:extLst>
                    <a:ext uri="{FF2B5EF4-FFF2-40B4-BE49-F238E27FC236}">
                      <a16:creationId xmlns:a16="http://schemas.microsoft.com/office/drawing/2014/main" id="{052B3157-563B-4ECC-B8EE-2FE2D11CD073}"/>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3" name="Freeform 161">
                  <a:extLst>
                    <a:ext uri="{FF2B5EF4-FFF2-40B4-BE49-F238E27FC236}">
                      <a16:creationId xmlns:a16="http://schemas.microsoft.com/office/drawing/2014/main" id="{BE44EF92-6D10-4EFC-B352-2EE94B5B239C}"/>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4" name="Freeform 162">
                  <a:extLst>
                    <a:ext uri="{FF2B5EF4-FFF2-40B4-BE49-F238E27FC236}">
                      <a16:creationId xmlns:a16="http://schemas.microsoft.com/office/drawing/2014/main" id="{E086AFC3-8605-4B73-B1BE-7E732337CC83}"/>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5" name="Freeform 163">
                  <a:extLst>
                    <a:ext uri="{FF2B5EF4-FFF2-40B4-BE49-F238E27FC236}">
                      <a16:creationId xmlns:a16="http://schemas.microsoft.com/office/drawing/2014/main" id="{D5929214-B700-4F0F-A153-722684641E51}"/>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8" name="Group 17"/>
            <p:cNvGrpSpPr/>
            <p:nvPr/>
          </p:nvGrpSpPr>
          <p:grpSpPr>
            <a:xfrm>
              <a:off x="10275721" y="1579975"/>
              <a:ext cx="360518" cy="158505"/>
              <a:chOff x="10275721" y="1579975"/>
              <a:chExt cx="360518" cy="158505"/>
            </a:xfrm>
          </p:grpSpPr>
          <p:sp>
            <p:nvSpPr>
              <p:cNvPr id="109" name="Freeform 33">
                <a:extLst>
                  <a:ext uri="{FF2B5EF4-FFF2-40B4-BE49-F238E27FC236}">
                    <a16:creationId xmlns:a16="http://schemas.microsoft.com/office/drawing/2014/main" id="{2CE35302-6EC2-4A0A-A8D0-D5EE950950AE}"/>
                  </a:ext>
                </a:extLst>
              </p:cNvPr>
              <p:cNvSpPr>
                <a:spLocks noEditPoints="1"/>
              </p:cNvSpPr>
              <p:nvPr/>
            </p:nvSpPr>
            <p:spPr bwMode="auto">
              <a:xfrm>
                <a:off x="10351865" y="1579975"/>
                <a:ext cx="284374" cy="121209"/>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4">
                <a:extLst>
                  <a:ext uri="{FF2B5EF4-FFF2-40B4-BE49-F238E27FC236}">
                    <a16:creationId xmlns:a16="http://schemas.microsoft.com/office/drawing/2014/main" id="{53A61237-C790-4EE7-ACAC-3268A9D25A09}"/>
                  </a:ext>
                </a:extLst>
              </p:cNvPr>
              <p:cNvSpPr>
                <a:spLocks noEditPoints="1"/>
              </p:cNvSpPr>
              <p:nvPr/>
            </p:nvSpPr>
            <p:spPr bwMode="auto">
              <a:xfrm>
                <a:off x="10275721" y="1600177"/>
                <a:ext cx="87021" cy="138303"/>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30" name="Group 129">
            <a:extLst>
              <a:ext uri="{FF2B5EF4-FFF2-40B4-BE49-F238E27FC236}">
                <a16:creationId xmlns:a16="http://schemas.microsoft.com/office/drawing/2014/main" id="{A0F4852F-2D5D-4CEB-930C-9AB7B67D6EBF}"/>
              </a:ext>
            </a:extLst>
          </p:cNvPr>
          <p:cNvGrpSpPr/>
          <p:nvPr/>
        </p:nvGrpSpPr>
        <p:grpSpPr>
          <a:xfrm>
            <a:off x="9622537" y="85117"/>
            <a:ext cx="559961" cy="608099"/>
            <a:chOff x="9622537" y="85117"/>
            <a:chExt cx="559961" cy="608099"/>
          </a:xfrm>
        </p:grpSpPr>
        <p:sp>
          <p:nvSpPr>
            <p:cNvPr id="131" name="Freeform 10">
              <a:extLst>
                <a:ext uri="{FF2B5EF4-FFF2-40B4-BE49-F238E27FC236}">
                  <a16:creationId xmlns:a16="http://schemas.microsoft.com/office/drawing/2014/main" id="{7249BC96-7898-4244-9891-BEE4F90A7767}"/>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2" name="Freeform 11">
              <a:extLst>
                <a:ext uri="{FF2B5EF4-FFF2-40B4-BE49-F238E27FC236}">
                  <a16:creationId xmlns:a16="http://schemas.microsoft.com/office/drawing/2014/main" id="{E9700909-5F81-413D-BDF5-7DC844F6136A}"/>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3" name="Freeform 12">
              <a:extLst>
                <a:ext uri="{FF2B5EF4-FFF2-40B4-BE49-F238E27FC236}">
                  <a16:creationId xmlns:a16="http://schemas.microsoft.com/office/drawing/2014/main" id="{1C5EB03C-DD1A-441F-BFBF-717E856AA514}"/>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4" name="Freeform 13">
              <a:extLst>
                <a:ext uri="{FF2B5EF4-FFF2-40B4-BE49-F238E27FC236}">
                  <a16:creationId xmlns:a16="http://schemas.microsoft.com/office/drawing/2014/main" id="{0A8D575D-F8C3-48BF-BBB6-A9CEBBB707EA}"/>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5" name="Freeform 14">
              <a:extLst>
                <a:ext uri="{FF2B5EF4-FFF2-40B4-BE49-F238E27FC236}">
                  <a16:creationId xmlns:a16="http://schemas.microsoft.com/office/drawing/2014/main" id="{FB9E661B-02DD-4702-98DA-0328A5567C80}"/>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36" name="Group 135">
            <a:extLst>
              <a:ext uri="{FF2B5EF4-FFF2-40B4-BE49-F238E27FC236}">
                <a16:creationId xmlns:a16="http://schemas.microsoft.com/office/drawing/2014/main" id="{59360595-4C29-49E3-8D38-16E6F0A9FB1B}"/>
              </a:ext>
            </a:extLst>
          </p:cNvPr>
          <p:cNvGrpSpPr/>
          <p:nvPr/>
        </p:nvGrpSpPr>
        <p:grpSpPr>
          <a:xfrm>
            <a:off x="10232823" y="122400"/>
            <a:ext cx="537308" cy="533532"/>
            <a:chOff x="8169276" y="2006600"/>
            <a:chExt cx="3614737" cy="3589337"/>
          </a:xfrm>
          <a:solidFill>
            <a:schemeClr val="bg1">
              <a:lumMod val="75000"/>
            </a:schemeClr>
          </a:solidFill>
        </p:grpSpPr>
        <p:sp>
          <p:nvSpPr>
            <p:cNvPr id="137" name="Freeform 18">
              <a:extLst>
                <a:ext uri="{FF2B5EF4-FFF2-40B4-BE49-F238E27FC236}">
                  <a16:creationId xmlns:a16="http://schemas.microsoft.com/office/drawing/2014/main" id="{BA156972-3161-45A2-82B2-182B58938B4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8" name="Freeform 15">
              <a:extLst>
                <a:ext uri="{FF2B5EF4-FFF2-40B4-BE49-F238E27FC236}">
                  <a16:creationId xmlns:a16="http://schemas.microsoft.com/office/drawing/2014/main" id="{5A2E5CD3-0599-4B37-9D47-A336F0239FB5}"/>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9" name="Oval 16">
              <a:extLst>
                <a:ext uri="{FF2B5EF4-FFF2-40B4-BE49-F238E27FC236}">
                  <a16:creationId xmlns:a16="http://schemas.microsoft.com/office/drawing/2014/main" id="{7675C11D-A7DB-4D7C-9DC7-282A3617F460}"/>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 name="Freeform 17">
              <a:extLst>
                <a:ext uri="{FF2B5EF4-FFF2-40B4-BE49-F238E27FC236}">
                  <a16:creationId xmlns:a16="http://schemas.microsoft.com/office/drawing/2014/main" id="{0E9F2025-7E95-42BB-9D7C-65844C7DA1AA}"/>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1" name="Freeform 19">
              <a:extLst>
                <a:ext uri="{FF2B5EF4-FFF2-40B4-BE49-F238E27FC236}">
                  <a16:creationId xmlns:a16="http://schemas.microsoft.com/office/drawing/2014/main" id="{AF371546-81E5-42B3-A403-91B4AB4D4857}"/>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42" name="Freeform 332">
            <a:extLst>
              <a:ext uri="{FF2B5EF4-FFF2-40B4-BE49-F238E27FC236}">
                <a16:creationId xmlns:a16="http://schemas.microsoft.com/office/drawing/2014/main" id="{DCA17EC4-B405-4E64-9D4C-0CBDC1DCE501}"/>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3" name="Group 142">
            <a:extLst>
              <a:ext uri="{FF2B5EF4-FFF2-40B4-BE49-F238E27FC236}">
                <a16:creationId xmlns:a16="http://schemas.microsoft.com/office/drawing/2014/main" id="{7DD6F876-FBE9-4AD7-8291-35066D6DC0D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44" name="Freeform 46">
              <a:extLst>
                <a:ext uri="{FF2B5EF4-FFF2-40B4-BE49-F238E27FC236}">
                  <a16:creationId xmlns:a16="http://schemas.microsoft.com/office/drawing/2014/main" id="{B027BFB1-44A2-48C1-BAEE-7EEF98DA4B3F}"/>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7">
              <a:extLst>
                <a:ext uri="{FF2B5EF4-FFF2-40B4-BE49-F238E27FC236}">
                  <a16:creationId xmlns:a16="http://schemas.microsoft.com/office/drawing/2014/main" id="{8C4200B4-9E21-4963-88BC-B903C72D99C4}"/>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a:extLst>
                <a:ext uri="{FF2B5EF4-FFF2-40B4-BE49-F238E27FC236}">
                  <a16:creationId xmlns:a16="http://schemas.microsoft.com/office/drawing/2014/main" id="{0DAF9242-CA9F-490A-93A1-AD1F72F6FC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9">
              <a:extLst>
                <a:ext uri="{FF2B5EF4-FFF2-40B4-BE49-F238E27FC236}">
                  <a16:creationId xmlns:a16="http://schemas.microsoft.com/office/drawing/2014/main" id="{0747A585-5ACE-4D2E-9410-A7A0B63B511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50">
              <a:extLst>
                <a:ext uri="{FF2B5EF4-FFF2-40B4-BE49-F238E27FC236}">
                  <a16:creationId xmlns:a16="http://schemas.microsoft.com/office/drawing/2014/main" id="{8DAAAF78-821D-4271-90CE-3F3812F0A675}"/>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1">
              <a:extLst>
                <a:ext uri="{FF2B5EF4-FFF2-40B4-BE49-F238E27FC236}">
                  <a16:creationId xmlns:a16="http://schemas.microsoft.com/office/drawing/2014/main" id="{D4D63F46-3713-4878-8FDD-799F0BDAD0F0}"/>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 name="Group 164">
            <a:extLst>
              <a:ext uri="{FF2B5EF4-FFF2-40B4-BE49-F238E27FC236}">
                <a16:creationId xmlns:a16="http://schemas.microsoft.com/office/drawing/2014/main" id="{0C877416-24BB-42F7-AD44-17ADE06F9D98}"/>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66" name="Freeform 18">
              <a:extLst>
                <a:ext uri="{FF2B5EF4-FFF2-40B4-BE49-F238E27FC236}">
                  <a16:creationId xmlns:a16="http://schemas.microsoft.com/office/drawing/2014/main" id="{064397D5-7818-4800-8BC0-2ABDA1722DA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7" name="Freeform 15">
              <a:extLst>
                <a:ext uri="{FF2B5EF4-FFF2-40B4-BE49-F238E27FC236}">
                  <a16:creationId xmlns:a16="http://schemas.microsoft.com/office/drawing/2014/main" id="{65E5B497-ADEA-4ECC-8B0F-0D38BA02170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8" name="Oval 16">
              <a:extLst>
                <a:ext uri="{FF2B5EF4-FFF2-40B4-BE49-F238E27FC236}">
                  <a16:creationId xmlns:a16="http://schemas.microsoft.com/office/drawing/2014/main" id="{70070317-80BB-46E3-B2DB-488A5F63EB92}"/>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9" name="Freeform 17">
              <a:extLst>
                <a:ext uri="{FF2B5EF4-FFF2-40B4-BE49-F238E27FC236}">
                  <a16:creationId xmlns:a16="http://schemas.microsoft.com/office/drawing/2014/main" id="{3E08D7F5-AE28-430E-9B6E-3BBEE2513D5C}"/>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0" name="Freeform 19">
              <a:extLst>
                <a:ext uri="{FF2B5EF4-FFF2-40B4-BE49-F238E27FC236}">
                  <a16:creationId xmlns:a16="http://schemas.microsoft.com/office/drawing/2014/main" id="{1CA97C00-2E5A-4B3F-AA7E-B3DF34BE4D8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71" name="Picture 4" descr="Coronavirus | United Nations">
            <a:extLst>
              <a:ext uri="{FF2B5EF4-FFF2-40B4-BE49-F238E27FC236}">
                <a16:creationId xmlns:a16="http://schemas.microsoft.com/office/drawing/2014/main" id="{03EFB50F-37E8-49CA-89D9-EB685AC97415}"/>
              </a:ext>
            </a:extLst>
          </p:cNvPr>
          <p:cNvPicPr>
            <a:picLocks noChangeAspect="1" noChangeArrowheads="1"/>
          </p:cNvPicPr>
          <p:nvPr/>
        </p:nvPicPr>
        <p:blipFill>
          <a:blip r:embed="rId5">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72" name="Group 171">
            <a:extLst>
              <a:ext uri="{FF2B5EF4-FFF2-40B4-BE49-F238E27FC236}">
                <a16:creationId xmlns:a16="http://schemas.microsoft.com/office/drawing/2014/main" id="{E57B6090-BE08-4A8C-B39F-EEA3419390B0}"/>
              </a:ext>
            </a:extLst>
          </p:cNvPr>
          <p:cNvGrpSpPr/>
          <p:nvPr/>
        </p:nvGrpSpPr>
        <p:grpSpPr>
          <a:xfrm>
            <a:off x="9034432" y="122400"/>
            <a:ext cx="537780" cy="533532"/>
            <a:chOff x="411163" y="2006600"/>
            <a:chExt cx="3617913" cy="3589337"/>
          </a:xfrm>
          <a:solidFill>
            <a:schemeClr val="bg1">
              <a:lumMod val="75000"/>
            </a:schemeClr>
          </a:solidFill>
        </p:grpSpPr>
        <p:sp>
          <p:nvSpPr>
            <p:cNvPr id="173" name="Freeform 5">
              <a:extLst>
                <a:ext uri="{FF2B5EF4-FFF2-40B4-BE49-F238E27FC236}">
                  <a16:creationId xmlns:a16="http://schemas.microsoft.com/office/drawing/2014/main" id="{F97A3024-2C03-45D8-B6B0-70837BA3C6A4}"/>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4" name="Oval 6">
              <a:extLst>
                <a:ext uri="{FF2B5EF4-FFF2-40B4-BE49-F238E27FC236}">
                  <a16:creationId xmlns:a16="http://schemas.microsoft.com/office/drawing/2014/main" id="{10076D28-E37A-424B-AD46-4C2C9EA89E1B}"/>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7">
              <a:extLst>
                <a:ext uri="{FF2B5EF4-FFF2-40B4-BE49-F238E27FC236}">
                  <a16:creationId xmlns:a16="http://schemas.microsoft.com/office/drawing/2014/main" id="{B57422DC-3481-4873-90DD-2002D5ECD7D5}"/>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8">
              <a:extLst>
                <a:ext uri="{FF2B5EF4-FFF2-40B4-BE49-F238E27FC236}">
                  <a16:creationId xmlns:a16="http://schemas.microsoft.com/office/drawing/2014/main" id="{FD36F8FA-B660-44E0-A8B0-C6154690A71A}"/>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9">
              <a:extLst>
                <a:ext uri="{FF2B5EF4-FFF2-40B4-BE49-F238E27FC236}">
                  <a16:creationId xmlns:a16="http://schemas.microsoft.com/office/drawing/2014/main" id="{099D653E-B11F-4C61-9B3B-1114C9BA65C8}"/>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78" name="Groupe 825">
            <a:extLst>
              <a:ext uri="{FF2B5EF4-FFF2-40B4-BE49-F238E27FC236}">
                <a16:creationId xmlns:a16="http://schemas.microsoft.com/office/drawing/2014/main" id="{1A594164-73ED-40BB-98C2-8E920392DC71}"/>
              </a:ext>
            </a:extLst>
          </p:cNvPr>
          <p:cNvGrpSpPr/>
          <p:nvPr/>
        </p:nvGrpSpPr>
        <p:grpSpPr>
          <a:xfrm>
            <a:off x="9138494" y="248487"/>
            <a:ext cx="337206" cy="317707"/>
            <a:chOff x="6500813" y="736601"/>
            <a:chExt cx="538163" cy="581025"/>
          </a:xfrm>
          <a:solidFill>
            <a:schemeClr val="bg1">
              <a:lumMod val="50000"/>
            </a:schemeClr>
          </a:solidFill>
        </p:grpSpPr>
        <p:sp>
          <p:nvSpPr>
            <p:cNvPr id="179" name="Freeform 37">
              <a:extLst>
                <a:ext uri="{FF2B5EF4-FFF2-40B4-BE49-F238E27FC236}">
                  <a16:creationId xmlns:a16="http://schemas.microsoft.com/office/drawing/2014/main" id="{331D83CB-7BB5-40F2-8484-0262B8C046A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38">
              <a:extLst>
                <a:ext uri="{FF2B5EF4-FFF2-40B4-BE49-F238E27FC236}">
                  <a16:creationId xmlns:a16="http://schemas.microsoft.com/office/drawing/2014/main" id="{51ACDDC5-75C7-4582-8E43-419A0977E6A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39">
              <a:extLst>
                <a:ext uri="{FF2B5EF4-FFF2-40B4-BE49-F238E27FC236}">
                  <a16:creationId xmlns:a16="http://schemas.microsoft.com/office/drawing/2014/main" id="{279EBE4A-1987-4647-9919-F6E4C10091DF}"/>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2" name="Freeform 40">
              <a:extLst>
                <a:ext uri="{FF2B5EF4-FFF2-40B4-BE49-F238E27FC236}">
                  <a16:creationId xmlns:a16="http://schemas.microsoft.com/office/drawing/2014/main" id="{49DA41C3-C779-4682-9108-D88FC95555E6}"/>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3" name="Freeform 41">
              <a:extLst>
                <a:ext uri="{FF2B5EF4-FFF2-40B4-BE49-F238E27FC236}">
                  <a16:creationId xmlns:a16="http://schemas.microsoft.com/office/drawing/2014/main" id="{AE2B096C-5CF9-4EB7-A1B8-67153ED2AA85}"/>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4" name="Freeform 42">
              <a:extLst>
                <a:ext uri="{FF2B5EF4-FFF2-40B4-BE49-F238E27FC236}">
                  <a16:creationId xmlns:a16="http://schemas.microsoft.com/office/drawing/2014/main" id="{CE3A9AF8-5062-4578-9264-59DC21AE0A47}"/>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5" name="Freeform 43">
              <a:extLst>
                <a:ext uri="{FF2B5EF4-FFF2-40B4-BE49-F238E27FC236}">
                  <a16:creationId xmlns:a16="http://schemas.microsoft.com/office/drawing/2014/main" id="{A887BEEF-9F66-4917-AA38-534C350D085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6" name="Freeform 44">
              <a:extLst>
                <a:ext uri="{FF2B5EF4-FFF2-40B4-BE49-F238E27FC236}">
                  <a16:creationId xmlns:a16="http://schemas.microsoft.com/office/drawing/2014/main" id="{E2824D45-0DFC-47E2-950C-989F77B6A44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7" name="Freeform 45">
              <a:extLst>
                <a:ext uri="{FF2B5EF4-FFF2-40B4-BE49-F238E27FC236}">
                  <a16:creationId xmlns:a16="http://schemas.microsoft.com/office/drawing/2014/main" id="{F1BD2405-44A0-4014-B61A-92DD8D46580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8" name="Freeform 46">
              <a:extLst>
                <a:ext uri="{FF2B5EF4-FFF2-40B4-BE49-F238E27FC236}">
                  <a16:creationId xmlns:a16="http://schemas.microsoft.com/office/drawing/2014/main" id="{73197FD8-6B74-4AB0-BAAA-05F972ADE5C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9" name="Freeform 47">
              <a:extLst>
                <a:ext uri="{FF2B5EF4-FFF2-40B4-BE49-F238E27FC236}">
                  <a16:creationId xmlns:a16="http://schemas.microsoft.com/office/drawing/2014/main" id="{E7FEDB3F-6477-4A4E-A9E0-73EF0533D292}"/>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0" name="Freeform 48">
              <a:extLst>
                <a:ext uri="{FF2B5EF4-FFF2-40B4-BE49-F238E27FC236}">
                  <a16:creationId xmlns:a16="http://schemas.microsoft.com/office/drawing/2014/main" id="{69D4AC93-2BA3-4740-9641-1C3FE5567D6A}"/>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1" name="Freeform 49">
              <a:extLst>
                <a:ext uri="{FF2B5EF4-FFF2-40B4-BE49-F238E27FC236}">
                  <a16:creationId xmlns:a16="http://schemas.microsoft.com/office/drawing/2014/main" id="{D4AD64ED-D4A3-4C69-ACBE-BDB2B41DEDA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2" name="Freeform 50">
              <a:extLst>
                <a:ext uri="{FF2B5EF4-FFF2-40B4-BE49-F238E27FC236}">
                  <a16:creationId xmlns:a16="http://schemas.microsoft.com/office/drawing/2014/main" id="{AD08A22A-86B9-4441-8D9A-928CA49D7D4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3" name="Freeform 51">
              <a:extLst>
                <a:ext uri="{FF2B5EF4-FFF2-40B4-BE49-F238E27FC236}">
                  <a16:creationId xmlns:a16="http://schemas.microsoft.com/office/drawing/2014/main" id="{2E1FCCF3-1D94-414B-A61C-42249A4A60CF}"/>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4" name="Freeform 52">
              <a:extLst>
                <a:ext uri="{FF2B5EF4-FFF2-40B4-BE49-F238E27FC236}">
                  <a16:creationId xmlns:a16="http://schemas.microsoft.com/office/drawing/2014/main" id="{C2CF8926-5A29-475C-B7AB-D1098EA39933}"/>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5" name="Freeform 53">
              <a:extLst>
                <a:ext uri="{FF2B5EF4-FFF2-40B4-BE49-F238E27FC236}">
                  <a16:creationId xmlns:a16="http://schemas.microsoft.com/office/drawing/2014/main" id="{0BB18D09-7347-4B9F-A890-ECEF6FB1F55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6" name="Freeform 54">
              <a:extLst>
                <a:ext uri="{FF2B5EF4-FFF2-40B4-BE49-F238E27FC236}">
                  <a16:creationId xmlns:a16="http://schemas.microsoft.com/office/drawing/2014/main" id="{045840A0-7BF5-4F97-B039-C1665B085F51}"/>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7" name="Freeform 55">
              <a:extLst>
                <a:ext uri="{FF2B5EF4-FFF2-40B4-BE49-F238E27FC236}">
                  <a16:creationId xmlns:a16="http://schemas.microsoft.com/office/drawing/2014/main" id="{D8BA9CE2-6BFA-40D3-A210-6C4D4379BAB9}"/>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8" name="Freeform 56">
              <a:extLst>
                <a:ext uri="{FF2B5EF4-FFF2-40B4-BE49-F238E27FC236}">
                  <a16:creationId xmlns:a16="http://schemas.microsoft.com/office/drawing/2014/main" id="{82A48AF4-175C-402E-A746-91EE7B26CF2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9" name="Freeform 57">
              <a:extLst>
                <a:ext uri="{FF2B5EF4-FFF2-40B4-BE49-F238E27FC236}">
                  <a16:creationId xmlns:a16="http://schemas.microsoft.com/office/drawing/2014/main" id="{70E1F2B2-21B0-43E8-9C29-948C668339AD}"/>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0" name="Freeform 58">
              <a:extLst>
                <a:ext uri="{FF2B5EF4-FFF2-40B4-BE49-F238E27FC236}">
                  <a16:creationId xmlns:a16="http://schemas.microsoft.com/office/drawing/2014/main" id="{F62B883E-34D7-4920-8958-64130ADB16DD}"/>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1" name="Freeform 59">
              <a:extLst>
                <a:ext uri="{FF2B5EF4-FFF2-40B4-BE49-F238E27FC236}">
                  <a16:creationId xmlns:a16="http://schemas.microsoft.com/office/drawing/2014/main" id="{BB0F9863-D3FC-47A4-BAC4-515E30CF091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2" name="Freeform 60">
              <a:extLst>
                <a:ext uri="{FF2B5EF4-FFF2-40B4-BE49-F238E27FC236}">
                  <a16:creationId xmlns:a16="http://schemas.microsoft.com/office/drawing/2014/main" id="{722928A1-B292-49EE-9AAF-2E6A5701B616}"/>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3" name="Freeform 61">
              <a:extLst>
                <a:ext uri="{FF2B5EF4-FFF2-40B4-BE49-F238E27FC236}">
                  <a16:creationId xmlns:a16="http://schemas.microsoft.com/office/drawing/2014/main" id="{02861C03-FF91-4EC5-9FE4-EDBC0A40038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4" name="Freeform 62">
              <a:extLst>
                <a:ext uri="{FF2B5EF4-FFF2-40B4-BE49-F238E27FC236}">
                  <a16:creationId xmlns:a16="http://schemas.microsoft.com/office/drawing/2014/main" id="{B703F200-036C-4F85-96E8-D6E6F1BB035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5" name="Freeform 63">
              <a:extLst>
                <a:ext uri="{FF2B5EF4-FFF2-40B4-BE49-F238E27FC236}">
                  <a16:creationId xmlns:a16="http://schemas.microsoft.com/office/drawing/2014/main" id="{D4A338D9-AE22-42D9-B4FB-B0E747C6F0BA}"/>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6" name="Freeform 64">
              <a:extLst>
                <a:ext uri="{FF2B5EF4-FFF2-40B4-BE49-F238E27FC236}">
                  <a16:creationId xmlns:a16="http://schemas.microsoft.com/office/drawing/2014/main" id="{FF6A662C-C439-4D90-8B03-3059FEE16AD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7" name="Freeform 65">
              <a:extLst>
                <a:ext uri="{FF2B5EF4-FFF2-40B4-BE49-F238E27FC236}">
                  <a16:creationId xmlns:a16="http://schemas.microsoft.com/office/drawing/2014/main" id="{E8A90CE4-19D3-442E-94D0-A0190C1B9B4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8" name="Freeform 66">
              <a:extLst>
                <a:ext uri="{FF2B5EF4-FFF2-40B4-BE49-F238E27FC236}">
                  <a16:creationId xmlns:a16="http://schemas.microsoft.com/office/drawing/2014/main" id="{E267D421-85C6-474D-A6A6-2FA4AE5913A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9" name="Freeform 67">
              <a:extLst>
                <a:ext uri="{FF2B5EF4-FFF2-40B4-BE49-F238E27FC236}">
                  <a16:creationId xmlns:a16="http://schemas.microsoft.com/office/drawing/2014/main" id="{EA7DE6BC-44C0-4FBB-B420-7CC03124818F}"/>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0" name="Freeform 68">
              <a:extLst>
                <a:ext uri="{FF2B5EF4-FFF2-40B4-BE49-F238E27FC236}">
                  <a16:creationId xmlns:a16="http://schemas.microsoft.com/office/drawing/2014/main" id="{A69F2E38-1DDC-4D34-BE62-96E42672A7D4}"/>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1" name="Freeform 69">
              <a:extLst>
                <a:ext uri="{FF2B5EF4-FFF2-40B4-BE49-F238E27FC236}">
                  <a16:creationId xmlns:a16="http://schemas.microsoft.com/office/drawing/2014/main" id="{83DE94AD-DF82-401F-B48C-7C9698EF934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2" name="Freeform 70">
              <a:extLst>
                <a:ext uri="{FF2B5EF4-FFF2-40B4-BE49-F238E27FC236}">
                  <a16:creationId xmlns:a16="http://schemas.microsoft.com/office/drawing/2014/main" id="{CEFB4C81-523D-40E1-A60B-B92262918EF7}"/>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3" name="Freeform 71">
              <a:extLst>
                <a:ext uri="{FF2B5EF4-FFF2-40B4-BE49-F238E27FC236}">
                  <a16:creationId xmlns:a16="http://schemas.microsoft.com/office/drawing/2014/main" id="{FFF53279-0DB0-437D-96FC-9CF5D9504611}"/>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4" name="Freeform 72">
              <a:extLst>
                <a:ext uri="{FF2B5EF4-FFF2-40B4-BE49-F238E27FC236}">
                  <a16:creationId xmlns:a16="http://schemas.microsoft.com/office/drawing/2014/main" id="{37A5EEC0-5CF7-42E4-BFBC-775C1D6F33B7}"/>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5" name="Freeform 73">
              <a:extLst>
                <a:ext uri="{FF2B5EF4-FFF2-40B4-BE49-F238E27FC236}">
                  <a16:creationId xmlns:a16="http://schemas.microsoft.com/office/drawing/2014/main" id="{0245A9F8-2F3B-40FD-8926-326DBDCB5540}"/>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6" name="Freeform 74">
              <a:extLst>
                <a:ext uri="{FF2B5EF4-FFF2-40B4-BE49-F238E27FC236}">
                  <a16:creationId xmlns:a16="http://schemas.microsoft.com/office/drawing/2014/main" id="{176342BF-AD04-4821-98CC-233DBF705169}"/>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7" name="Freeform 75">
              <a:extLst>
                <a:ext uri="{FF2B5EF4-FFF2-40B4-BE49-F238E27FC236}">
                  <a16:creationId xmlns:a16="http://schemas.microsoft.com/office/drawing/2014/main" id="{5CADAE82-E0ED-4701-A2E4-F0A97F25EF5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8" name="Freeform 76">
              <a:extLst>
                <a:ext uri="{FF2B5EF4-FFF2-40B4-BE49-F238E27FC236}">
                  <a16:creationId xmlns:a16="http://schemas.microsoft.com/office/drawing/2014/main" id="{A1A6897D-55AF-4705-A355-DCE40D11C85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9" name="Freeform 77">
              <a:extLst>
                <a:ext uri="{FF2B5EF4-FFF2-40B4-BE49-F238E27FC236}">
                  <a16:creationId xmlns:a16="http://schemas.microsoft.com/office/drawing/2014/main" id="{0DAB5C6A-AA52-4112-A111-C3FAC037EC17}"/>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0" name="Freeform 78">
              <a:extLst>
                <a:ext uri="{FF2B5EF4-FFF2-40B4-BE49-F238E27FC236}">
                  <a16:creationId xmlns:a16="http://schemas.microsoft.com/office/drawing/2014/main" id="{91EB9014-DD27-4E06-B051-DA9342C3AB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1" name="Freeform 79">
              <a:extLst>
                <a:ext uri="{FF2B5EF4-FFF2-40B4-BE49-F238E27FC236}">
                  <a16:creationId xmlns:a16="http://schemas.microsoft.com/office/drawing/2014/main" id="{5BE176AE-F36C-475B-BE4B-983B49E75F8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2" name="Freeform 80">
              <a:extLst>
                <a:ext uri="{FF2B5EF4-FFF2-40B4-BE49-F238E27FC236}">
                  <a16:creationId xmlns:a16="http://schemas.microsoft.com/office/drawing/2014/main" id="{BAA02C9F-EEDA-442B-AF30-6E6013D02D49}"/>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3" name="Freeform 81">
              <a:extLst>
                <a:ext uri="{FF2B5EF4-FFF2-40B4-BE49-F238E27FC236}">
                  <a16:creationId xmlns:a16="http://schemas.microsoft.com/office/drawing/2014/main" id="{D29C67B1-A153-4D2B-8C66-BE1432175D1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82">
              <a:extLst>
                <a:ext uri="{FF2B5EF4-FFF2-40B4-BE49-F238E27FC236}">
                  <a16:creationId xmlns:a16="http://schemas.microsoft.com/office/drawing/2014/main" id="{C981AED4-7245-4157-BE1E-908DDB8FDD8C}"/>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83">
              <a:extLst>
                <a:ext uri="{FF2B5EF4-FFF2-40B4-BE49-F238E27FC236}">
                  <a16:creationId xmlns:a16="http://schemas.microsoft.com/office/drawing/2014/main" id="{8125EA3F-3A4B-4EC1-B041-F3333FAEDC47}"/>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84">
              <a:extLst>
                <a:ext uri="{FF2B5EF4-FFF2-40B4-BE49-F238E27FC236}">
                  <a16:creationId xmlns:a16="http://schemas.microsoft.com/office/drawing/2014/main" id="{9CE8F8FB-DC03-490D-AEC9-18F9984D8D03}"/>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85">
              <a:extLst>
                <a:ext uri="{FF2B5EF4-FFF2-40B4-BE49-F238E27FC236}">
                  <a16:creationId xmlns:a16="http://schemas.microsoft.com/office/drawing/2014/main" id="{806161DE-DC43-464C-BF70-6692A7F662A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2776280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Hyper-personalize through digital</a:t>
            </a:r>
          </a:p>
        </p:txBody>
      </p:sp>
      <p:sp>
        <p:nvSpPr>
          <p:cNvPr id="72" name="Rectangle 71">
            <a:extLst>
              <a:ext uri="{FF2B5EF4-FFF2-40B4-BE49-F238E27FC236}">
                <a16:creationId xmlns:a16="http://schemas.microsoft.com/office/drawing/2014/main" id="{7B2A6AB6-A494-4162-B373-50C0FB5ED66A}"/>
              </a:ext>
            </a:extLst>
          </p:cNvPr>
          <p:cNvSpPr/>
          <p:nvPr/>
        </p:nvSpPr>
        <p:spPr>
          <a:xfrm>
            <a:off x="0" y="6005185"/>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M firms should act quickly to safeguard existing client base and capture future growth.</a:t>
            </a:r>
          </a:p>
        </p:txBody>
      </p:sp>
      <p:grpSp>
        <p:nvGrpSpPr>
          <p:cNvPr id="36" name="Group 45"/>
          <p:cNvGrpSpPr/>
          <p:nvPr/>
        </p:nvGrpSpPr>
        <p:grpSpPr>
          <a:xfrm>
            <a:off x="4671676" y="2346482"/>
            <a:ext cx="2892460" cy="2768559"/>
            <a:chOff x="2803526" y="1403351"/>
            <a:chExt cx="4298950" cy="4114800"/>
          </a:xfrm>
          <a:solidFill>
            <a:schemeClr val="accent2"/>
          </a:solidFill>
        </p:grpSpPr>
        <p:sp>
          <p:nvSpPr>
            <p:cNvPr id="38" name="Freeform 6"/>
            <p:cNvSpPr>
              <a:spLocks/>
            </p:cNvSpPr>
            <p:nvPr/>
          </p:nvSpPr>
          <p:spPr bwMode="auto">
            <a:xfrm>
              <a:off x="4953001" y="1403351"/>
              <a:ext cx="1781175" cy="1203325"/>
            </a:xfrm>
            <a:custGeom>
              <a:avLst/>
              <a:gdLst/>
              <a:ahLst/>
              <a:cxnLst>
                <a:cxn ang="0">
                  <a:pos x="2993" y="1728"/>
                </a:cxn>
                <a:cxn ang="0">
                  <a:pos x="0" y="0"/>
                </a:cxn>
                <a:cxn ang="0">
                  <a:pos x="0" y="588"/>
                </a:cxn>
                <a:cxn ang="0">
                  <a:pos x="2485" y="2022"/>
                </a:cxn>
                <a:cxn ang="0">
                  <a:pos x="2993" y="1728"/>
                </a:cxn>
              </a:cxnLst>
              <a:rect l="0" t="0" r="r" b="b"/>
              <a:pathLst>
                <a:path w="2993" h="2022">
                  <a:moveTo>
                    <a:pt x="2993" y="1728"/>
                  </a:moveTo>
                  <a:cubicBezTo>
                    <a:pt x="2376" y="659"/>
                    <a:pt x="1235" y="0"/>
                    <a:pt x="0" y="0"/>
                  </a:cubicBezTo>
                  <a:lnTo>
                    <a:pt x="0" y="588"/>
                  </a:lnTo>
                  <a:cubicBezTo>
                    <a:pt x="1025" y="588"/>
                    <a:pt x="1972" y="1135"/>
                    <a:pt x="2485" y="2022"/>
                  </a:cubicBezTo>
                  <a:lnTo>
                    <a:pt x="2993" y="172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 name="Freeform 7"/>
            <p:cNvSpPr>
              <a:spLocks/>
            </p:cNvSpPr>
            <p:nvPr/>
          </p:nvSpPr>
          <p:spPr bwMode="auto">
            <a:xfrm>
              <a:off x="6432551" y="2432051"/>
              <a:ext cx="669925" cy="2057400"/>
            </a:xfrm>
            <a:custGeom>
              <a:avLst/>
              <a:gdLst/>
              <a:ahLst/>
              <a:cxnLst>
                <a:cxn ang="0">
                  <a:pos x="508" y="3456"/>
                </a:cxn>
                <a:cxn ang="0">
                  <a:pos x="508" y="0"/>
                </a:cxn>
                <a:cxn ang="0">
                  <a:pos x="0" y="294"/>
                </a:cxn>
                <a:cxn ang="0">
                  <a:pos x="0" y="3163"/>
                </a:cxn>
                <a:cxn ang="0">
                  <a:pos x="508" y="3456"/>
                </a:cxn>
              </a:cxnLst>
              <a:rect l="0" t="0" r="r" b="b"/>
              <a:pathLst>
                <a:path w="1126" h="3456">
                  <a:moveTo>
                    <a:pt x="508" y="3456"/>
                  </a:moveTo>
                  <a:cubicBezTo>
                    <a:pt x="1126" y="2387"/>
                    <a:pt x="1126" y="1070"/>
                    <a:pt x="508" y="0"/>
                  </a:cubicBezTo>
                  <a:lnTo>
                    <a:pt x="0" y="294"/>
                  </a:lnTo>
                  <a:cubicBezTo>
                    <a:pt x="512" y="1182"/>
                    <a:pt x="512" y="2275"/>
                    <a:pt x="0" y="3163"/>
                  </a:cubicBezTo>
                  <a:lnTo>
                    <a:pt x="508" y="345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 name="Freeform 8"/>
            <p:cNvSpPr>
              <a:spLocks/>
            </p:cNvSpPr>
            <p:nvPr/>
          </p:nvSpPr>
          <p:spPr bwMode="auto">
            <a:xfrm>
              <a:off x="4953001" y="4314826"/>
              <a:ext cx="1781175" cy="1203325"/>
            </a:xfrm>
            <a:custGeom>
              <a:avLst/>
              <a:gdLst/>
              <a:ahLst/>
              <a:cxnLst>
                <a:cxn ang="0">
                  <a:pos x="0" y="2021"/>
                </a:cxn>
                <a:cxn ang="0">
                  <a:pos x="2993" y="293"/>
                </a:cxn>
                <a:cxn ang="0">
                  <a:pos x="2485" y="0"/>
                </a:cxn>
                <a:cxn ang="0">
                  <a:pos x="0" y="1434"/>
                </a:cxn>
                <a:cxn ang="0">
                  <a:pos x="0" y="2021"/>
                </a:cxn>
              </a:cxnLst>
              <a:rect l="0" t="0" r="r" b="b"/>
              <a:pathLst>
                <a:path w="2993" h="2021">
                  <a:moveTo>
                    <a:pt x="0" y="2021"/>
                  </a:moveTo>
                  <a:cubicBezTo>
                    <a:pt x="1235" y="2021"/>
                    <a:pt x="2376" y="1363"/>
                    <a:pt x="2993" y="293"/>
                  </a:cubicBezTo>
                  <a:lnTo>
                    <a:pt x="2485" y="0"/>
                  </a:lnTo>
                  <a:cubicBezTo>
                    <a:pt x="1972" y="887"/>
                    <a:pt x="1025" y="1434"/>
                    <a:pt x="0" y="1434"/>
                  </a:cubicBezTo>
                  <a:lnTo>
                    <a:pt x="0" y="202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 name="Freeform 9"/>
            <p:cNvSpPr>
              <a:spLocks/>
            </p:cNvSpPr>
            <p:nvPr/>
          </p:nvSpPr>
          <p:spPr bwMode="auto">
            <a:xfrm>
              <a:off x="3171826" y="4314826"/>
              <a:ext cx="1781175" cy="1203325"/>
            </a:xfrm>
            <a:custGeom>
              <a:avLst/>
              <a:gdLst/>
              <a:ahLst/>
              <a:cxnLst>
                <a:cxn ang="0">
                  <a:pos x="0" y="293"/>
                </a:cxn>
                <a:cxn ang="0">
                  <a:pos x="2993" y="2021"/>
                </a:cxn>
                <a:cxn ang="0">
                  <a:pos x="2993" y="1434"/>
                </a:cxn>
                <a:cxn ang="0">
                  <a:pos x="509" y="0"/>
                </a:cxn>
                <a:cxn ang="0">
                  <a:pos x="0" y="293"/>
                </a:cxn>
              </a:cxnLst>
              <a:rect l="0" t="0" r="r" b="b"/>
              <a:pathLst>
                <a:path w="2993" h="2021">
                  <a:moveTo>
                    <a:pt x="0" y="293"/>
                  </a:moveTo>
                  <a:cubicBezTo>
                    <a:pt x="618" y="1363"/>
                    <a:pt x="1759" y="2021"/>
                    <a:pt x="2993" y="2021"/>
                  </a:cubicBezTo>
                  <a:lnTo>
                    <a:pt x="2993" y="1434"/>
                  </a:lnTo>
                  <a:cubicBezTo>
                    <a:pt x="1969" y="1434"/>
                    <a:pt x="1022" y="887"/>
                    <a:pt x="509" y="0"/>
                  </a:cubicBezTo>
                  <a:lnTo>
                    <a:pt x="0" y="29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 name="Freeform 10"/>
            <p:cNvSpPr>
              <a:spLocks/>
            </p:cNvSpPr>
            <p:nvPr/>
          </p:nvSpPr>
          <p:spPr bwMode="auto">
            <a:xfrm>
              <a:off x="2803526" y="2432051"/>
              <a:ext cx="671513" cy="2057400"/>
            </a:xfrm>
            <a:custGeom>
              <a:avLst/>
              <a:gdLst/>
              <a:ahLst/>
              <a:cxnLst>
                <a:cxn ang="0">
                  <a:pos x="617" y="0"/>
                </a:cxn>
                <a:cxn ang="0">
                  <a:pos x="617" y="3456"/>
                </a:cxn>
                <a:cxn ang="0">
                  <a:pos x="1126" y="3163"/>
                </a:cxn>
                <a:cxn ang="0">
                  <a:pos x="1126" y="294"/>
                </a:cxn>
                <a:cxn ang="0">
                  <a:pos x="617" y="0"/>
                </a:cxn>
              </a:cxnLst>
              <a:rect l="0" t="0" r="r" b="b"/>
              <a:pathLst>
                <a:path w="1126" h="3456">
                  <a:moveTo>
                    <a:pt x="617" y="0"/>
                  </a:moveTo>
                  <a:cubicBezTo>
                    <a:pt x="0" y="1070"/>
                    <a:pt x="0" y="2387"/>
                    <a:pt x="617" y="3456"/>
                  </a:cubicBezTo>
                  <a:lnTo>
                    <a:pt x="1126" y="3163"/>
                  </a:lnTo>
                  <a:cubicBezTo>
                    <a:pt x="614" y="2275"/>
                    <a:pt x="614" y="1182"/>
                    <a:pt x="1126" y="294"/>
                  </a:cubicBezTo>
                  <a:lnTo>
                    <a:pt x="61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 name="Freeform 11"/>
            <p:cNvSpPr>
              <a:spLocks/>
            </p:cNvSpPr>
            <p:nvPr/>
          </p:nvSpPr>
          <p:spPr bwMode="auto">
            <a:xfrm>
              <a:off x="3171826" y="1403351"/>
              <a:ext cx="1781175" cy="1203325"/>
            </a:xfrm>
            <a:custGeom>
              <a:avLst/>
              <a:gdLst/>
              <a:ahLst/>
              <a:cxnLst>
                <a:cxn ang="0">
                  <a:pos x="2993" y="0"/>
                </a:cxn>
                <a:cxn ang="0">
                  <a:pos x="0" y="1728"/>
                </a:cxn>
                <a:cxn ang="0">
                  <a:pos x="509" y="2022"/>
                </a:cxn>
                <a:cxn ang="0">
                  <a:pos x="2993" y="588"/>
                </a:cxn>
                <a:cxn ang="0">
                  <a:pos x="2993" y="0"/>
                </a:cxn>
              </a:cxnLst>
              <a:rect l="0" t="0" r="r" b="b"/>
              <a:pathLst>
                <a:path w="2993" h="2022">
                  <a:moveTo>
                    <a:pt x="2993" y="0"/>
                  </a:moveTo>
                  <a:cubicBezTo>
                    <a:pt x="1759" y="0"/>
                    <a:pt x="618" y="659"/>
                    <a:pt x="0" y="1728"/>
                  </a:cubicBezTo>
                  <a:lnTo>
                    <a:pt x="509" y="2022"/>
                  </a:lnTo>
                  <a:cubicBezTo>
                    <a:pt x="1022" y="1135"/>
                    <a:pt x="1969" y="588"/>
                    <a:pt x="2993" y="588"/>
                  </a:cubicBezTo>
                  <a:lnTo>
                    <a:pt x="299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grpSp>
      <p:sp>
        <p:nvSpPr>
          <p:cNvPr id="53" name="Rectangle 52"/>
          <p:cNvSpPr/>
          <p:nvPr/>
        </p:nvSpPr>
        <p:spPr>
          <a:xfrm>
            <a:off x="5204983" y="3510181"/>
            <a:ext cx="1875835" cy="461665"/>
          </a:xfrm>
          <a:prstGeom prst="rect">
            <a:avLst/>
          </a:prstGeom>
        </p:spPr>
        <p:txBody>
          <a:bodyPr wrap="none">
            <a:spAutoFit/>
          </a:bodyPr>
          <a:lstStyle/>
          <a:p>
            <a:pPr algn="ctr"/>
            <a:r>
              <a:rPr lang="en-US" sz="1200" b="1" dirty="0"/>
              <a:t>Hyper-personalized</a:t>
            </a:r>
            <a:br>
              <a:rPr lang="en-US" sz="1200" b="1" dirty="0"/>
            </a:br>
            <a:r>
              <a:rPr lang="en-US" sz="1200" b="1" dirty="0"/>
              <a:t>offerings</a:t>
            </a:r>
          </a:p>
        </p:txBody>
      </p:sp>
      <p:sp>
        <p:nvSpPr>
          <p:cNvPr id="67" name="Rectangle 66">
            <a:extLst>
              <a:ext uri="{FF2B5EF4-FFF2-40B4-BE49-F238E27FC236}">
                <a16:creationId xmlns:a16="http://schemas.microsoft.com/office/drawing/2014/main" id="{B3FDCE2A-E075-411A-880E-3E0F0CE53261}"/>
              </a:ext>
            </a:extLst>
          </p:cNvPr>
          <p:cNvSpPr>
            <a:spLocks noChangeArrowheads="1"/>
          </p:cNvSpPr>
          <p:nvPr>
            <p:custDataLst>
              <p:tags r:id="rId1"/>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Capgemini Financial Services Analysis, 2020.</a:t>
            </a:r>
          </a:p>
        </p:txBody>
      </p:sp>
      <p:grpSp>
        <p:nvGrpSpPr>
          <p:cNvPr id="13" name="Group 12">
            <a:extLst>
              <a:ext uri="{FF2B5EF4-FFF2-40B4-BE49-F238E27FC236}">
                <a16:creationId xmlns:a16="http://schemas.microsoft.com/office/drawing/2014/main" id="{E00FE4B3-79ED-4678-8065-248691A77F32}"/>
              </a:ext>
            </a:extLst>
          </p:cNvPr>
          <p:cNvGrpSpPr/>
          <p:nvPr/>
        </p:nvGrpSpPr>
        <p:grpSpPr>
          <a:xfrm>
            <a:off x="1145406" y="1456752"/>
            <a:ext cx="4629375" cy="1539255"/>
            <a:chOff x="1145406" y="1533752"/>
            <a:chExt cx="4629375" cy="1539255"/>
          </a:xfrm>
        </p:grpSpPr>
        <p:sp>
          <p:nvSpPr>
            <p:cNvPr id="62" name="Rectangle 61"/>
            <p:cNvSpPr/>
            <p:nvPr/>
          </p:nvSpPr>
          <p:spPr>
            <a:xfrm>
              <a:off x="1145407" y="1880497"/>
              <a:ext cx="4069406" cy="600164"/>
            </a:xfrm>
            <a:prstGeom prst="rect">
              <a:avLst/>
            </a:prstGeom>
            <a:ln>
              <a:noFill/>
            </a:ln>
          </p:spPr>
          <p:txBody>
            <a:bodyPr wrap="square">
              <a:spAutoFit/>
            </a:bodyPr>
            <a:lstStyle/>
            <a:p>
              <a:pPr algn="r"/>
              <a:r>
                <a:rPr lang="en-IN" sz="1100" dirty="0"/>
                <a:t>Utilize </a:t>
              </a:r>
              <a:r>
                <a:rPr lang="en-IN" sz="1100" b="1" dirty="0" err="1"/>
                <a:t>behavioral</a:t>
              </a:r>
              <a:r>
                <a:rPr lang="en-IN" sz="1100" b="1" dirty="0"/>
                <a:t> sciences </a:t>
              </a:r>
              <a:r>
                <a:rPr lang="en-IN" sz="1100" dirty="0"/>
                <a:t>and </a:t>
              </a:r>
              <a:r>
                <a:rPr lang="en-IN" sz="1100" b="1" dirty="0"/>
                <a:t>sentiment analysis </a:t>
              </a:r>
              <a:r>
                <a:rPr lang="en-IN" sz="1100" dirty="0"/>
                <a:t>to identify individual clients’ risk profiles rather than just assigning one of pre-defined 5 or 6 risk profiles </a:t>
              </a:r>
            </a:p>
          </p:txBody>
        </p:sp>
        <p:sp>
          <p:nvSpPr>
            <p:cNvPr id="50" name="Freeform 49"/>
            <p:cNvSpPr>
              <a:spLocks/>
            </p:cNvSpPr>
            <p:nvPr/>
          </p:nvSpPr>
          <p:spPr>
            <a:xfrm>
              <a:off x="1537952" y="1703186"/>
              <a:ext cx="3721360"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9" name="TextBox 58">
              <a:extLst>
                <a:ext uri="{FF2B5EF4-FFF2-40B4-BE49-F238E27FC236}">
                  <a16:creationId xmlns:a16="http://schemas.microsoft.com/office/drawing/2014/main" id="{9D5FC6E0-9AE0-4ED2-8AC4-87F0B0E279FF}"/>
                </a:ext>
              </a:extLst>
            </p:cNvPr>
            <p:cNvSpPr txBox="1"/>
            <p:nvPr/>
          </p:nvSpPr>
          <p:spPr>
            <a:xfrm>
              <a:off x="1145406" y="1533752"/>
              <a:ext cx="4118743" cy="276999"/>
            </a:xfrm>
            <a:prstGeom prst="rect">
              <a:avLst/>
            </a:prstGeom>
            <a:solidFill>
              <a:srgbClr val="00B050"/>
            </a:solidFill>
          </p:spPr>
          <p:txBody>
            <a:bodyPr wrap="square" rIns="274320" rtlCol="0">
              <a:spAutoFit/>
            </a:bodyPr>
            <a:lstStyle/>
            <a:p>
              <a:pPr algn="r"/>
              <a:r>
                <a:rPr lang="en-IN" sz="1200" b="1" dirty="0">
                  <a:solidFill>
                    <a:schemeClr val="bg1"/>
                  </a:solidFill>
                </a:rPr>
                <a:t>Bespoke risk profiles</a:t>
              </a:r>
            </a:p>
          </p:txBody>
        </p:sp>
        <p:sp>
          <p:nvSpPr>
            <p:cNvPr id="26" name="Oval 25"/>
            <p:cNvSpPr/>
            <p:nvPr/>
          </p:nvSpPr>
          <p:spPr>
            <a:xfrm>
              <a:off x="5099486" y="239771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54" name="Group 53"/>
            <p:cNvGrpSpPr/>
            <p:nvPr/>
          </p:nvGrpSpPr>
          <p:grpSpPr>
            <a:xfrm>
              <a:off x="5248556" y="2509803"/>
              <a:ext cx="359356" cy="409589"/>
              <a:chOff x="6818632" y="2795425"/>
              <a:chExt cx="359356" cy="409589"/>
            </a:xfrm>
          </p:grpSpPr>
          <p:sp>
            <p:nvSpPr>
              <p:cNvPr id="55" name="Freeform 212">
                <a:extLst>
                  <a:ext uri="{FF2B5EF4-FFF2-40B4-BE49-F238E27FC236}">
                    <a16:creationId xmlns:a16="http://schemas.microsoft.com/office/drawing/2014/main" id="{A28473E2-8F68-4AE2-B6B1-EAC6C432AAFB}"/>
                  </a:ext>
                </a:extLst>
              </p:cNvPr>
              <p:cNvSpPr>
                <a:spLocks noChangeAspect="1"/>
              </p:cNvSpPr>
              <p:nvPr/>
            </p:nvSpPr>
            <p:spPr bwMode="auto">
              <a:xfrm>
                <a:off x="6921673" y="2795425"/>
                <a:ext cx="158426" cy="409589"/>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6" name="Freeform 213">
                <a:extLst>
                  <a:ext uri="{FF2B5EF4-FFF2-40B4-BE49-F238E27FC236}">
                    <a16:creationId xmlns:a16="http://schemas.microsoft.com/office/drawing/2014/main" id="{23EC0715-9EE8-48D8-B30E-854D902AF3FF}"/>
                  </a:ext>
                </a:extLst>
              </p:cNvPr>
              <p:cNvSpPr>
                <a:spLocks noChangeAspect="1"/>
              </p:cNvSpPr>
              <p:nvPr/>
            </p:nvSpPr>
            <p:spPr bwMode="auto">
              <a:xfrm>
                <a:off x="6988650" y="2823762"/>
                <a:ext cx="109482" cy="45080"/>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214">
                <a:extLst>
                  <a:ext uri="{FF2B5EF4-FFF2-40B4-BE49-F238E27FC236}">
                    <a16:creationId xmlns:a16="http://schemas.microsoft.com/office/drawing/2014/main" id="{5B25E2E4-9672-4D3C-B842-D2C6AE84FD74}"/>
                  </a:ext>
                </a:extLst>
              </p:cNvPr>
              <p:cNvSpPr>
                <a:spLocks noChangeAspect="1"/>
              </p:cNvSpPr>
              <p:nvPr/>
            </p:nvSpPr>
            <p:spPr bwMode="auto">
              <a:xfrm>
                <a:off x="6973194" y="2862402"/>
                <a:ext cx="131377" cy="57960"/>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15">
                <a:extLst>
                  <a:ext uri="{FF2B5EF4-FFF2-40B4-BE49-F238E27FC236}">
                    <a16:creationId xmlns:a16="http://schemas.microsoft.com/office/drawing/2014/main" id="{3AA18787-BBDA-4F33-8AF8-1F069A56731B}"/>
                  </a:ext>
                </a:extLst>
              </p:cNvPr>
              <p:cNvSpPr>
                <a:spLocks noChangeAspect="1"/>
              </p:cNvSpPr>
              <p:nvPr/>
            </p:nvSpPr>
            <p:spPr bwMode="auto">
              <a:xfrm>
                <a:off x="6988650" y="2902331"/>
                <a:ext cx="79857" cy="55384"/>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5" name="Freeform 216">
                <a:extLst>
                  <a:ext uri="{FF2B5EF4-FFF2-40B4-BE49-F238E27FC236}">
                    <a16:creationId xmlns:a16="http://schemas.microsoft.com/office/drawing/2014/main" id="{0698D23E-963E-4891-A2FE-22BB085C4B99}"/>
                  </a:ext>
                </a:extLst>
              </p:cNvPr>
              <p:cNvSpPr>
                <a:spLocks noChangeAspect="1"/>
              </p:cNvSpPr>
              <p:nvPr/>
            </p:nvSpPr>
            <p:spPr bwMode="auto">
              <a:xfrm>
                <a:off x="6912657" y="3049165"/>
                <a:ext cx="85009" cy="4894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6" name="Freeform 217">
                <a:extLst>
                  <a:ext uri="{FF2B5EF4-FFF2-40B4-BE49-F238E27FC236}">
                    <a16:creationId xmlns:a16="http://schemas.microsoft.com/office/drawing/2014/main" id="{8C3438A2-B3B6-423E-97E3-84705A8A0C35}"/>
                  </a:ext>
                </a:extLst>
              </p:cNvPr>
              <p:cNvSpPr>
                <a:spLocks noChangeAspect="1"/>
              </p:cNvSpPr>
              <p:nvPr/>
            </p:nvSpPr>
            <p:spPr bwMode="auto">
              <a:xfrm>
                <a:off x="6872728" y="3085229"/>
                <a:ext cx="140394" cy="55384"/>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9" name="Freeform 218">
                <a:extLst>
                  <a:ext uri="{FF2B5EF4-FFF2-40B4-BE49-F238E27FC236}">
                    <a16:creationId xmlns:a16="http://schemas.microsoft.com/office/drawing/2014/main" id="{10CF633C-D9DA-4482-941D-33D9AF1F123F}"/>
                  </a:ext>
                </a:extLst>
              </p:cNvPr>
              <p:cNvSpPr>
                <a:spLocks noChangeAspect="1"/>
              </p:cNvSpPr>
              <p:nvPr/>
            </p:nvSpPr>
            <p:spPr bwMode="auto">
              <a:xfrm>
                <a:off x="6881745" y="3131598"/>
                <a:ext cx="113345" cy="4894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1" name="Freeform 219">
                <a:extLst>
                  <a:ext uri="{FF2B5EF4-FFF2-40B4-BE49-F238E27FC236}">
                    <a16:creationId xmlns:a16="http://schemas.microsoft.com/office/drawing/2014/main" id="{9929FD5E-C047-49C1-A008-34E26BF2DA5F}"/>
                  </a:ext>
                </a:extLst>
              </p:cNvPr>
              <p:cNvSpPr>
                <a:spLocks noChangeAspect="1"/>
              </p:cNvSpPr>
              <p:nvPr/>
            </p:nvSpPr>
            <p:spPr bwMode="auto">
              <a:xfrm>
                <a:off x="6818632" y="2997644"/>
                <a:ext cx="151986" cy="189338"/>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5" name="Freeform 220">
                <a:extLst>
                  <a:ext uri="{FF2B5EF4-FFF2-40B4-BE49-F238E27FC236}">
                    <a16:creationId xmlns:a16="http://schemas.microsoft.com/office/drawing/2014/main" id="{18A5AC7B-974B-49AC-9073-2C9285A1701D}"/>
                  </a:ext>
                </a:extLst>
              </p:cNvPr>
              <p:cNvSpPr>
                <a:spLocks noChangeAspect="1"/>
              </p:cNvSpPr>
              <p:nvPr/>
            </p:nvSpPr>
            <p:spPr bwMode="auto">
              <a:xfrm>
                <a:off x="7019562" y="2817322"/>
                <a:ext cx="158426" cy="189338"/>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2" name="Group 11">
            <a:extLst>
              <a:ext uri="{FF2B5EF4-FFF2-40B4-BE49-F238E27FC236}">
                <a16:creationId xmlns:a16="http://schemas.microsoft.com/office/drawing/2014/main" id="{8948E4E7-626F-4BAE-BB64-37BC99DFEA40}"/>
              </a:ext>
            </a:extLst>
          </p:cNvPr>
          <p:cNvGrpSpPr/>
          <p:nvPr/>
        </p:nvGrpSpPr>
        <p:grpSpPr>
          <a:xfrm>
            <a:off x="6411118" y="1456751"/>
            <a:ext cx="4348201" cy="1539256"/>
            <a:chOff x="6411118" y="1533751"/>
            <a:chExt cx="4348201" cy="1539256"/>
          </a:xfrm>
        </p:grpSpPr>
        <p:sp>
          <p:nvSpPr>
            <p:cNvPr id="51" name="Freeform 50"/>
            <p:cNvSpPr>
              <a:spLocks/>
            </p:cNvSpPr>
            <p:nvPr/>
          </p:nvSpPr>
          <p:spPr>
            <a:xfrm flipH="1">
              <a:off x="6767587" y="1703186"/>
              <a:ext cx="3753101"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3" name="Rectangle 62"/>
            <p:cNvSpPr/>
            <p:nvPr/>
          </p:nvSpPr>
          <p:spPr>
            <a:xfrm>
              <a:off x="6821917" y="1819052"/>
              <a:ext cx="3698771" cy="600164"/>
            </a:xfrm>
            <a:prstGeom prst="rect">
              <a:avLst/>
            </a:prstGeom>
            <a:ln>
              <a:noFill/>
            </a:ln>
          </p:spPr>
          <p:txBody>
            <a:bodyPr wrap="square">
              <a:spAutoFit/>
            </a:bodyPr>
            <a:lstStyle/>
            <a:p>
              <a:r>
                <a:rPr lang="en-IN" sz="1100" b="1" dirty="0"/>
                <a:t>Data analytics </a:t>
              </a:r>
              <a:r>
                <a:rPr lang="en-IN" sz="1100" dirty="0"/>
                <a:t>and </a:t>
              </a:r>
              <a:r>
                <a:rPr lang="en-IN" sz="1100" b="1" dirty="0"/>
                <a:t>machine learning </a:t>
              </a:r>
              <a:r>
                <a:rPr lang="en-IN" sz="1100" dirty="0"/>
                <a:t>to be utilized</a:t>
              </a:r>
              <a:r>
                <a:rPr lang="en-IN" sz="1100" b="1" dirty="0"/>
                <a:t> </a:t>
              </a:r>
              <a:r>
                <a:rPr lang="en-IN" sz="1100" dirty="0"/>
                <a:t>on the trading history to create personalized portfolios</a:t>
              </a:r>
            </a:p>
          </p:txBody>
        </p:sp>
        <p:sp>
          <p:nvSpPr>
            <p:cNvPr id="68" name="TextBox 67">
              <a:extLst>
                <a:ext uri="{FF2B5EF4-FFF2-40B4-BE49-F238E27FC236}">
                  <a16:creationId xmlns:a16="http://schemas.microsoft.com/office/drawing/2014/main" id="{9D5FC6E0-9AE0-4ED2-8AC4-87F0B0E279FF}"/>
                </a:ext>
              </a:extLst>
            </p:cNvPr>
            <p:cNvSpPr txBox="1"/>
            <p:nvPr/>
          </p:nvSpPr>
          <p:spPr>
            <a:xfrm>
              <a:off x="6767589" y="1533751"/>
              <a:ext cx="3991730" cy="276999"/>
            </a:xfrm>
            <a:prstGeom prst="rect">
              <a:avLst/>
            </a:prstGeom>
            <a:solidFill>
              <a:srgbClr val="00B050"/>
            </a:solidFill>
          </p:spPr>
          <p:txBody>
            <a:bodyPr wrap="square" lIns="182880" rtlCol="0">
              <a:spAutoFit/>
            </a:bodyPr>
            <a:lstStyle/>
            <a:p>
              <a:r>
                <a:rPr lang="en-IN" sz="1200" b="1" dirty="0">
                  <a:solidFill>
                    <a:schemeClr val="bg1"/>
                  </a:solidFill>
                </a:rPr>
                <a:t>Personalized portfolio construction</a:t>
              </a:r>
            </a:p>
          </p:txBody>
        </p:sp>
        <p:grpSp>
          <p:nvGrpSpPr>
            <p:cNvPr id="11" name="Group 10">
              <a:extLst>
                <a:ext uri="{FF2B5EF4-FFF2-40B4-BE49-F238E27FC236}">
                  <a16:creationId xmlns:a16="http://schemas.microsoft.com/office/drawing/2014/main" id="{BBB07420-1618-4B6F-AEE3-88ACC87E3A9D}"/>
                </a:ext>
              </a:extLst>
            </p:cNvPr>
            <p:cNvGrpSpPr/>
            <p:nvPr/>
          </p:nvGrpSpPr>
          <p:grpSpPr>
            <a:xfrm>
              <a:off x="6411118" y="2397711"/>
              <a:ext cx="675295" cy="675296"/>
              <a:chOff x="6411118" y="2397711"/>
              <a:chExt cx="675295" cy="675296"/>
            </a:xfrm>
          </p:grpSpPr>
          <p:sp>
            <p:nvSpPr>
              <p:cNvPr id="24" name="Oval 23"/>
              <p:cNvSpPr/>
              <p:nvPr/>
            </p:nvSpPr>
            <p:spPr>
              <a:xfrm>
                <a:off x="6411118" y="239771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7" name="Freeform 205">
                <a:extLst>
                  <a:ext uri="{FF2B5EF4-FFF2-40B4-BE49-F238E27FC236}">
                    <a16:creationId xmlns:a16="http://schemas.microsoft.com/office/drawing/2014/main" id="{63C50949-C084-496B-8EBD-8676929AFB52}"/>
                  </a:ext>
                </a:extLst>
              </p:cNvPr>
              <p:cNvSpPr>
                <a:spLocks noEditPoints="1"/>
              </p:cNvSpPr>
              <p:nvPr/>
            </p:nvSpPr>
            <p:spPr bwMode="auto">
              <a:xfrm>
                <a:off x="6565986" y="2594570"/>
                <a:ext cx="365557" cy="281578"/>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 13">
            <a:extLst>
              <a:ext uri="{FF2B5EF4-FFF2-40B4-BE49-F238E27FC236}">
                <a16:creationId xmlns:a16="http://schemas.microsoft.com/office/drawing/2014/main" id="{3F85D753-EFEE-4FAE-A72B-94702F4BB0BF}"/>
              </a:ext>
            </a:extLst>
          </p:cNvPr>
          <p:cNvGrpSpPr/>
          <p:nvPr/>
        </p:nvGrpSpPr>
        <p:grpSpPr>
          <a:xfrm>
            <a:off x="7060442" y="3117403"/>
            <a:ext cx="4480776" cy="1046943"/>
            <a:chOff x="7060442" y="3194403"/>
            <a:chExt cx="4480776" cy="1046943"/>
          </a:xfrm>
        </p:grpSpPr>
        <p:sp>
          <p:nvSpPr>
            <p:cNvPr id="240" name="Freeform 239"/>
            <p:cNvSpPr>
              <a:spLocks/>
            </p:cNvSpPr>
            <p:nvPr/>
          </p:nvSpPr>
          <p:spPr>
            <a:xfrm flipH="1">
              <a:off x="7400274" y="3333404"/>
              <a:ext cx="3753101"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4" name="Rectangle 63"/>
            <p:cNvSpPr/>
            <p:nvPr/>
          </p:nvSpPr>
          <p:spPr>
            <a:xfrm>
              <a:off x="7698404" y="3471905"/>
              <a:ext cx="3788798" cy="769441"/>
            </a:xfrm>
            <a:prstGeom prst="rect">
              <a:avLst/>
            </a:prstGeom>
            <a:ln>
              <a:noFill/>
            </a:ln>
          </p:spPr>
          <p:txBody>
            <a:bodyPr wrap="square">
              <a:spAutoFit/>
            </a:bodyPr>
            <a:lstStyle/>
            <a:p>
              <a:r>
                <a:rPr lang="en-IN" sz="1100" b="1" dirty="0"/>
                <a:t>Charles Schwab’s “Project Bear” </a:t>
              </a:r>
              <a:r>
                <a:rPr lang="en-IN" sz="1100" dirty="0"/>
                <a:t>program uses </a:t>
              </a:r>
              <a:r>
                <a:rPr lang="en-IN" sz="1100" b="1" dirty="0"/>
                <a:t>artificial intelligence</a:t>
              </a:r>
              <a:r>
                <a:rPr lang="en-IN" sz="1100" dirty="0"/>
                <a:t> to study clients’ reaction to market performance and advise against poor investment decisions</a:t>
              </a:r>
            </a:p>
          </p:txBody>
        </p:sp>
        <p:sp>
          <p:nvSpPr>
            <p:cNvPr id="74" name="TextBox 73">
              <a:extLst>
                <a:ext uri="{FF2B5EF4-FFF2-40B4-BE49-F238E27FC236}">
                  <a16:creationId xmlns:a16="http://schemas.microsoft.com/office/drawing/2014/main" id="{9D5FC6E0-9AE0-4ED2-8AC4-87F0B0E279FF}"/>
                </a:ext>
              </a:extLst>
            </p:cNvPr>
            <p:cNvSpPr txBox="1"/>
            <p:nvPr/>
          </p:nvSpPr>
          <p:spPr>
            <a:xfrm>
              <a:off x="7316333" y="3194403"/>
              <a:ext cx="4224885" cy="276999"/>
            </a:xfrm>
            <a:prstGeom prst="rect">
              <a:avLst/>
            </a:prstGeom>
            <a:solidFill>
              <a:schemeClr val="accent2"/>
            </a:solidFill>
          </p:spPr>
          <p:txBody>
            <a:bodyPr wrap="square" rtlCol="0">
              <a:spAutoFit/>
            </a:bodyPr>
            <a:lstStyle/>
            <a:p>
              <a:r>
                <a:rPr lang="en-IN" sz="1200" b="1" dirty="0">
                  <a:solidFill>
                    <a:schemeClr val="bg1"/>
                  </a:solidFill>
                </a:rPr>
                <a:t>Personalized advisory</a:t>
              </a:r>
            </a:p>
          </p:txBody>
        </p:sp>
        <p:grpSp>
          <p:nvGrpSpPr>
            <p:cNvPr id="8" name="Group 7"/>
            <p:cNvGrpSpPr/>
            <p:nvPr/>
          </p:nvGrpSpPr>
          <p:grpSpPr>
            <a:xfrm>
              <a:off x="7060442" y="3470114"/>
              <a:ext cx="675295" cy="675296"/>
              <a:chOff x="7060442" y="3190981"/>
              <a:chExt cx="675295" cy="675296"/>
            </a:xfrm>
          </p:grpSpPr>
          <p:sp>
            <p:nvSpPr>
              <p:cNvPr id="22" name="Oval 21"/>
              <p:cNvSpPr/>
              <p:nvPr/>
            </p:nvSpPr>
            <p:spPr>
              <a:xfrm>
                <a:off x="7060442" y="319098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6" name="TextBox 75"/>
              <p:cNvSpPr txBox="1"/>
              <p:nvPr/>
            </p:nvSpPr>
            <p:spPr>
              <a:xfrm>
                <a:off x="7398056" y="3313186"/>
                <a:ext cx="65" cy="430887"/>
              </a:xfrm>
              <a:prstGeom prst="rect">
                <a:avLst/>
              </a:prstGeom>
              <a:noFill/>
            </p:spPr>
            <p:txBody>
              <a:bodyPr wrap="none" lIns="0" tIns="0" rIns="0" bIns="0" rtlCol="0">
                <a:spAutoFit/>
              </a:bodyPr>
              <a:lstStyle/>
              <a:p>
                <a:pPr algn="ctr"/>
                <a:endParaRPr lang="en-US" sz="2800" b="1" dirty="0"/>
              </a:p>
            </p:txBody>
          </p:sp>
        </p:grpSp>
        <p:pic>
          <p:nvPicPr>
            <p:cNvPr id="78" name="Picture 78">
              <a:extLst>
                <a:ext uri="{FF2B5EF4-FFF2-40B4-BE49-F238E27FC236}">
                  <a16:creationId xmlns:a16="http://schemas.microsoft.com/office/drawing/2014/main" id="{031060F7-3763-458C-AC4B-CD6DCB01AF4B}"/>
                </a:ext>
              </a:extLst>
            </p:cNvPr>
            <p:cNvPicPr>
              <a:picLocks noChangeAspect="1"/>
            </p:cNvPicPr>
            <p:nvPr/>
          </p:nvPicPr>
          <p:blipFill>
            <a:blip r:embed="rId3"/>
            <a:stretch>
              <a:fillRect/>
            </a:stretch>
          </p:blipFill>
          <p:spPr>
            <a:xfrm>
              <a:off x="7178537" y="3563576"/>
              <a:ext cx="418276" cy="455400"/>
            </a:xfrm>
            <a:prstGeom prst="rect">
              <a:avLst/>
            </a:prstGeom>
          </p:spPr>
        </p:pic>
      </p:grpSp>
      <p:grpSp>
        <p:nvGrpSpPr>
          <p:cNvPr id="25" name="Group 24">
            <a:extLst>
              <a:ext uri="{FF2B5EF4-FFF2-40B4-BE49-F238E27FC236}">
                <a16:creationId xmlns:a16="http://schemas.microsoft.com/office/drawing/2014/main" id="{B2200F88-AF03-4645-8315-55AD1EFFF6A0}"/>
              </a:ext>
            </a:extLst>
          </p:cNvPr>
          <p:cNvGrpSpPr/>
          <p:nvPr/>
        </p:nvGrpSpPr>
        <p:grpSpPr>
          <a:xfrm>
            <a:off x="6235631" y="4489449"/>
            <a:ext cx="4537144" cy="1161282"/>
            <a:chOff x="6235631" y="4566449"/>
            <a:chExt cx="4537144" cy="1161282"/>
          </a:xfrm>
        </p:grpSpPr>
        <p:sp>
          <p:nvSpPr>
            <p:cNvPr id="5" name="Freeform 4"/>
            <p:cNvSpPr/>
            <p:nvPr/>
          </p:nvSpPr>
          <p:spPr>
            <a:xfrm flipH="1">
              <a:off x="6742186" y="5066810"/>
              <a:ext cx="3630249" cy="6609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0" name="Rectangle 69"/>
            <p:cNvSpPr/>
            <p:nvPr/>
          </p:nvSpPr>
          <p:spPr>
            <a:xfrm>
              <a:off x="6780635" y="5090859"/>
              <a:ext cx="3992140" cy="600164"/>
            </a:xfrm>
            <a:prstGeom prst="rect">
              <a:avLst/>
            </a:prstGeom>
            <a:ln>
              <a:noFill/>
            </a:ln>
          </p:spPr>
          <p:txBody>
            <a:bodyPr wrap="square">
              <a:spAutoFit/>
            </a:bodyPr>
            <a:lstStyle/>
            <a:p>
              <a:r>
                <a:rPr lang="en-IN" sz="1100" dirty="0"/>
                <a:t>Using</a:t>
              </a:r>
              <a:r>
                <a:rPr lang="en-IN" sz="1100" b="1" dirty="0"/>
                <a:t> data analytics</a:t>
              </a:r>
              <a:r>
                <a:rPr lang="en-IN" sz="1100" dirty="0"/>
                <a:t> and </a:t>
              </a:r>
              <a:r>
                <a:rPr lang="en-IN" sz="1100" b="1" dirty="0"/>
                <a:t>multi-channel engagement </a:t>
              </a:r>
              <a:r>
                <a:rPr lang="en-IN" sz="1100" dirty="0"/>
                <a:t>to provide interactive and personalized reporting</a:t>
              </a:r>
            </a:p>
          </p:txBody>
        </p:sp>
        <p:sp>
          <p:nvSpPr>
            <p:cNvPr id="83" name="TextBox 82">
              <a:extLst>
                <a:ext uri="{FF2B5EF4-FFF2-40B4-BE49-F238E27FC236}">
                  <a16:creationId xmlns:a16="http://schemas.microsoft.com/office/drawing/2014/main" id="{9D5FC6E0-9AE0-4ED2-8AC4-87F0B0E279FF}"/>
                </a:ext>
              </a:extLst>
            </p:cNvPr>
            <p:cNvSpPr txBox="1"/>
            <p:nvPr/>
          </p:nvSpPr>
          <p:spPr>
            <a:xfrm>
              <a:off x="6848515" y="4794868"/>
              <a:ext cx="3852066" cy="276999"/>
            </a:xfrm>
            <a:prstGeom prst="rect">
              <a:avLst/>
            </a:prstGeom>
            <a:solidFill>
              <a:srgbClr val="00B050"/>
            </a:solidFill>
          </p:spPr>
          <p:txBody>
            <a:bodyPr wrap="square" rtlCol="0">
              <a:spAutoFit/>
            </a:bodyPr>
            <a:lstStyle/>
            <a:p>
              <a:r>
                <a:rPr lang="en-IN" sz="1200" b="1" dirty="0">
                  <a:solidFill>
                    <a:schemeClr val="bg1"/>
                  </a:solidFill>
                </a:rPr>
                <a:t>Personalized communications</a:t>
              </a:r>
            </a:p>
          </p:txBody>
        </p:sp>
        <p:sp>
          <p:nvSpPr>
            <p:cNvPr id="20" name="Oval 19"/>
            <p:cNvSpPr/>
            <p:nvPr/>
          </p:nvSpPr>
          <p:spPr>
            <a:xfrm>
              <a:off x="6235631" y="4566449"/>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101" name="Groupe 411">
              <a:extLst>
                <a:ext uri="{FF2B5EF4-FFF2-40B4-BE49-F238E27FC236}">
                  <a16:creationId xmlns:a16="http://schemas.microsoft.com/office/drawing/2014/main" id="{FDDC78AE-5709-4951-8480-B968F3278789}"/>
                </a:ext>
              </a:extLst>
            </p:cNvPr>
            <p:cNvGrpSpPr/>
            <p:nvPr/>
          </p:nvGrpSpPr>
          <p:grpSpPr>
            <a:xfrm>
              <a:off x="6343505" y="4744534"/>
              <a:ext cx="469778" cy="301738"/>
              <a:chOff x="800101" y="1985962"/>
              <a:chExt cx="608012" cy="390526"/>
            </a:xfrm>
          </p:grpSpPr>
          <p:sp>
            <p:nvSpPr>
              <p:cNvPr id="102" name="Freeform 10">
                <a:extLst>
                  <a:ext uri="{FF2B5EF4-FFF2-40B4-BE49-F238E27FC236}">
                    <a16:creationId xmlns:a16="http://schemas.microsoft.com/office/drawing/2014/main" id="{99E5CFD3-FD88-4A5E-B3B7-C2CC41B8C2C3}"/>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1">
                <a:extLst>
                  <a:ext uri="{FF2B5EF4-FFF2-40B4-BE49-F238E27FC236}">
                    <a16:creationId xmlns:a16="http://schemas.microsoft.com/office/drawing/2014/main" id="{2A2D0E9E-19E7-4D98-B46C-22516DE5AB3B}"/>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2">
                <a:extLst>
                  <a:ext uri="{FF2B5EF4-FFF2-40B4-BE49-F238E27FC236}">
                    <a16:creationId xmlns:a16="http://schemas.microsoft.com/office/drawing/2014/main" id="{518B7E2B-CEE6-4593-ADFC-00CC797C94FD}"/>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3">
                <a:extLst>
                  <a:ext uri="{FF2B5EF4-FFF2-40B4-BE49-F238E27FC236}">
                    <a16:creationId xmlns:a16="http://schemas.microsoft.com/office/drawing/2014/main" id="{D6B0CF2A-E6FA-4D6D-A930-0B7428785052}"/>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4">
                <a:extLst>
                  <a:ext uri="{FF2B5EF4-FFF2-40B4-BE49-F238E27FC236}">
                    <a16:creationId xmlns:a16="http://schemas.microsoft.com/office/drawing/2014/main" id="{AB164A87-0EA0-409A-BEDB-E875394410C6}"/>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98814F35-5201-41C7-8602-3913016D9F75}"/>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6">
                <a:extLst>
                  <a:ext uri="{FF2B5EF4-FFF2-40B4-BE49-F238E27FC236}">
                    <a16:creationId xmlns:a16="http://schemas.microsoft.com/office/drawing/2014/main" id="{D152A437-B0C9-4F27-9105-B0CE864C82ED}"/>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7">
                <a:extLst>
                  <a:ext uri="{FF2B5EF4-FFF2-40B4-BE49-F238E27FC236}">
                    <a16:creationId xmlns:a16="http://schemas.microsoft.com/office/drawing/2014/main" id="{4CF04B2F-99E8-4444-A17B-2CF3CBC3A6F0}"/>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8">
                <a:extLst>
                  <a:ext uri="{FF2B5EF4-FFF2-40B4-BE49-F238E27FC236}">
                    <a16:creationId xmlns:a16="http://schemas.microsoft.com/office/drawing/2014/main" id="{F9F7B200-AFF7-4858-AF5D-B6B825353004}"/>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9">
                <a:extLst>
                  <a:ext uri="{FF2B5EF4-FFF2-40B4-BE49-F238E27FC236}">
                    <a16:creationId xmlns:a16="http://schemas.microsoft.com/office/drawing/2014/main" id="{B98CBF99-6945-42CE-BE74-EBF84F6731C9}"/>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0">
                <a:extLst>
                  <a:ext uri="{FF2B5EF4-FFF2-40B4-BE49-F238E27FC236}">
                    <a16:creationId xmlns:a16="http://schemas.microsoft.com/office/drawing/2014/main" id="{A1DCA0E8-881B-40AA-9200-6F4C34201D73}"/>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1">
                <a:extLst>
                  <a:ext uri="{FF2B5EF4-FFF2-40B4-BE49-F238E27FC236}">
                    <a16:creationId xmlns:a16="http://schemas.microsoft.com/office/drawing/2014/main" id="{9CA3B391-400A-41D5-9F16-2EE784D20CF6}"/>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2">
                <a:extLst>
                  <a:ext uri="{FF2B5EF4-FFF2-40B4-BE49-F238E27FC236}">
                    <a16:creationId xmlns:a16="http://schemas.microsoft.com/office/drawing/2014/main" id="{9948C7EC-BCF4-437E-A460-CA9271866760}"/>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23">
                <a:extLst>
                  <a:ext uri="{FF2B5EF4-FFF2-40B4-BE49-F238E27FC236}">
                    <a16:creationId xmlns:a16="http://schemas.microsoft.com/office/drawing/2014/main" id="{4F2BDF11-AA6E-410F-9A87-FE1C27E33021}"/>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4">
                <a:extLst>
                  <a:ext uri="{FF2B5EF4-FFF2-40B4-BE49-F238E27FC236}">
                    <a16:creationId xmlns:a16="http://schemas.microsoft.com/office/drawing/2014/main" id="{64D6C9F1-BD8F-4FA5-BCCB-390CB9CDB649}"/>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5">
                <a:extLst>
                  <a:ext uri="{FF2B5EF4-FFF2-40B4-BE49-F238E27FC236}">
                    <a16:creationId xmlns:a16="http://schemas.microsoft.com/office/drawing/2014/main" id="{A857AA65-0859-4BAD-ACEF-3B85B2918D1F}"/>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6">
                <a:extLst>
                  <a:ext uri="{FF2B5EF4-FFF2-40B4-BE49-F238E27FC236}">
                    <a16:creationId xmlns:a16="http://schemas.microsoft.com/office/drawing/2014/main" id="{FEED60AC-FB4C-4C74-9418-85BEA7D5E3E2}"/>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7">
                <a:extLst>
                  <a:ext uri="{FF2B5EF4-FFF2-40B4-BE49-F238E27FC236}">
                    <a16:creationId xmlns:a16="http://schemas.microsoft.com/office/drawing/2014/main" id="{A3667FDC-DBE8-4E10-BE23-4EF5A31C1BB7}"/>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8">
                <a:extLst>
                  <a:ext uri="{FF2B5EF4-FFF2-40B4-BE49-F238E27FC236}">
                    <a16:creationId xmlns:a16="http://schemas.microsoft.com/office/drawing/2014/main" id="{A9508298-A1F9-4B1F-9451-DFA458F12167}"/>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9">
                <a:extLst>
                  <a:ext uri="{FF2B5EF4-FFF2-40B4-BE49-F238E27FC236}">
                    <a16:creationId xmlns:a16="http://schemas.microsoft.com/office/drawing/2014/main" id="{06A3E76B-3F0B-44AA-BDD4-9C8A2F436041}"/>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0">
                <a:extLst>
                  <a:ext uri="{FF2B5EF4-FFF2-40B4-BE49-F238E27FC236}">
                    <a16:creationId xmlns:a16="http://schemas.microsoft.com/office/drawing/2014/main" id="{FA2CE716-6F42-499E-A142-01D599F19D21}"/>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1">
                <a:extLst>
                  <a:ext uri="{FF2B5EF4-FFF2-40B4-BE49-F238E27FC236}">
                    <a16:creationId xmlns:a16="http://schemas.microsoft.com/office/drawing/2014/main" id="{3EE529FB-13DC-48EB-B36A-236B4A898954}"/>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2">
                <a:extLst>
                  <a:ext uri="{FF2B5EF4-FFF2-40B4-BE49-F238E27FC236}">
                    <a16:creationId xmlns:a16="http://schemas.microsoft.com/office/drawing/2014/main" id="{4741E6B6-4431-4093-9067-73A5D0429E01}"/>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3">
                <a:extLst>
                  <a:ext uri="{FF2B5EF4-FFF2-40B4-BE49-F238E27FC236}">
                    <a16:creationId xmlns:a16="http://schemas.microsoft.com/office/drawing/2014/main" id="{43A9D226-CDD8-42DB-9FA7-43183C3F03AC}"/>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4">
                <a:extLst>
                  <a:ext uri="{FF2B5EF4-FFF2-40B4-BE49-F238E27FC236}">
                    <a16:creationId xmlns:a16="http://schemas.microsoft.com/office/drawing/2014/main" id="{C9B01B5C-5E7C-423B-8856-FFC90419A6DB}"/>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5">
                <a:extLst>
                  <a:ext uri="{FF2B5EF4-FFF2-40B4-BE49-F238E27FC236}">
                    <a16:creationId xmlns:a16="http://schemas.microsoft.com/office/drawing/2014/main" id="{4A314C94-253E-4313-B4FA-5C94E00F2DD2}"/>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6">
                <a:extLst>
                  <a:ext uri="{FF2B5EF4-FFF2-40B4-BE49-F238E27FC236}">
                    <a16:creationId xmlns:a16="http://schemas.microsoft.com/office/drawing/2014/main" id="{BE9D30F4-49D8-48A1-A9D0-C41183164E82}"/>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7">
                <a:extLst>
                  <a:ext uri="{FF2B5EF4-FFF2-40B4-BE49-F238E27FC236}">
                    <a16:creationId xmlns:a16="http://schemas.microsoft.com/office/drawing/2014/main" id="{A6259F42-A1F7-4FE9-895B-248E933EC183}"/>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8">
                <a:extLst>
                  <a:ext uri="{FF2B5EF4-FFF2-40B4-BE49-F238E27FC236}">
                    <a16:creationId xmlns:a16="http://schemas.microsoft.com/office/drawing/2014/main" id="{CC660FCB-AD24-424C-9BDC-9C9FE6B0AAA6}"/>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9">
                <a:extLst>
                  <a:ext uri="{FF2B5EF4-FFF2-40B4-BE49-F238E27FC236}">
                    <a16:creationId xmlns:a16="http://schemas.microsoft.com/office/drawing/2014/main" id="{03A74037-9F2F-4974-89CA-78EDCF389EBB}"/>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0">
                <a:extLst>
                  <a:ext uri="{FF2B5EF4-FFF2-40B4-BE49-F238E27FC236}">
                    <a16:creationId xmlns:a16="http://schemas.microsoft.com/office/drawing/2014/main" id="{0C563F6F-232F-41A0-BDF6-354FD879AF0A}"/>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1">
                <a:extLst>
                  <a:ext uri="{FF2B5EF4-FFF2-40B4-BE49-F238E27FC236}">
                    <a16:creationId xmlns:a16="http://schemas.microsoft.com/office/drawing/2014/main" id="{5CE15417-1625-4CAA-B14B-BB4AE989D608}"/>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2">
                <a:extLst>
                  <a:ext uri="{FF2B5EF4-FFF2-40B4-BE49-F238E27FC236}">
                    <a16:creationId xmlns:a16="http://schemas.microsoft.com/office/drawing/2014/main" id="{56738F98-BBAD-4B49-A416-3F6D606998D2}"/>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3">
                <a:extLst>
                  <a:ext uri="{FF2B5EF4-FFF2-40B4-BE49-F238E27FC236}">
                    <a16:creationId xmlns:a16="http://schemas.microsoft.com/office/drawing/2014/main" id="{FB12E96D-98AF-4A40-9FC9-9A5AAB621DAD}"/>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4">
                <a:extLst>
                  <a:ext uri="{FF2B5EF4-FFF2-40B4-BE49-F238E27FC236}">
                    <a16:creationId xmlns:a16="http://schemas.microsoft.com/office/drawing/2014/main" id="{91F3C500-6A48-407E-8CF6-711F2C63A58E}"/>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5">
                <a:extLst>
                  <a:ext uri="{FF2B5EF4-FFF2-40B4-BE49-F238E27FC236}">
                    <a16:creationId xmlns:a16="http://schemas.microsoft.com/office/drawing/2014/main" id="{29B8FAAF-B61C-411C-A423-4BCFE0351DE0}"/>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6">
                <a:extLst>
                  <a:ext uri="{FF2B5EF4-FFF2-40B4-BE49-F238E27FC236}">
                    <a16:creationId xmlns:a16="http://schemas.microsoft.com/office/drawing/2014/main" id="{61BD2368-FFCA-4E0A-8EC6-F5182B485933}"/>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7">
                <a:extLst>
                  <a:ext uri="{FF2B5EF4-FFF2-40B4-BE49-F238E27FC236}">
                    <a16:creationId xmlns:a16="http://schemas.microsoft.com/office/drawing/2014/main" id="{DE4CB41D-B178-41C0-BFBE-AED195DE47E8}"/>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8">
                <a:extLst>
                  <a:ext uri="{FF2B5EF4-FFF2-40B4-BE49-F238E27FC236}">
                    <a16:creationId xmlns:a16="http://schemas.microsoft.com/office/drawing/2014/main" id="{A850F8DB-AAA0-48EB-AC0A-A5364DA8231C}"/>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9">
                <a:extLst>
                  <a:ext uri="{FF2B5EF4-FFF2-40B4-BE49-F238E27FC236}">
                    <a16:creationId xmlns:a16="http://schemas.microsoft.com/office/drawing/2014/main" id="{CD5BE5E8-8F4B-453E-B0B2-93B5773B8730}"/>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0">
                <a:extLst>
                  <a:ext uri="{FF2B5EF4-FFF2-40B4-BE49-F238E27FC236}">
                    <a16:creationId xmlns:a16="http://schemas.microsoft.com/office/drawing/2014/main" id="{E50BEE87-DFA7-4EB4-BD4B-7E92FEFBE64B}"/>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1">
                <a:extLst>
                  <a:ext uri="{FF2B5EF4-FFF2-40B4-BE49-F238E27FC236}">
                    <a16:creationId xmlns:a16="http://schemas.microsoft.com/office/drawing/2014/main" id="{F58CEF4B-7157-49DB-A162-73B67A4C5207}"/>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2">
                <a:extLst>
                  <a:ext uri="{FF2B5EF4-FFF2-40B4-BE49-F238E27FC236}">
                    <a16:creationId xmlns:a16="http://schemas.microsoft.com/office/drawing/2014/main" id="{6BAB8D7D-AFB0-4DFB-9E28-F28501B1D23A}"/>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53">
                <a:extLst>
                  <a:ext uri="{FF2B5EF4-FFF2-40B4-BE49-F238E27FC236}">
                    <a16:creationId xmlns:a16="http://schemas.microsoft.com/office/drawing/2014/main" id="{359B427E-D032-4695-960E-06857C4298A8}"/>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54">
                <a:extLst>
                  <a:ext uri="{FF2B5EF4-FFF2-40B4-BE49-F238E27FC236}">
                    <a16:creationId xmlns:a16="http://schemas.microsoft.com/office/drawing/2014/main" id="{69A4F5F5-AD4D-4E95-99C9-EDE2277B03B6}"/>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55">
                <a:extLst>
                  <a:ext uri="{FF2B5EF4-FFF2-40B4-BE49-F238E27FC236}">
                    <a16:creationId xmlns:a16="http://schemas.microsoft.com/office/drawing/2014/main" id="{D5BC3131-BBB8-4D98-8C29-C77A82B89CF0}"/>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56">
                <a:extLst>
                  <a:ext uri="{FF2B5EF4-FFF2-40B4-BE49-F238E27FC236}">
                    <a16:creationId xmlns:a16="http://schemas.microsoft.com/office/drawing/2014/main" id="{701BE168-A0DA-4E08-916B-C2F40E442F77}"/>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57">
                <a:extLst>
                  <a:ext uri="{FF2B5EF4-FFF2-40B4-BE49-F238E27FC236}">
                    <a16:creationId xmlns:a16="http://schemas.microsoft.com/office/drawing/2014/main" id="{08A99F90-4360-46C5-A972-B8897C2923CB}"/>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58">
                <a:extLst>
                  <a:ext uri="{FF2B5EF4-FFF2-40B4-BE49-F238E27FC236}">
                    <a16:creationId xmlns:a16="http://schemas.microsoft.com/office/drawing/2014/main" id="{19815FEC-0B50-4425-BD27-DE6910553359}"/>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59">
                <a:extLst>
                  <a:ext uri="{FF2B5EF4-FFF2-40B4-BE49-F238E27FC236}">
                    <a16:creationId xmlns:a16="http://schemas.microsoft.com/office/drawing/2014/main" id="{CDCDA91E-3C99-4F64-909D-1F6CB7B96E21}"/>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0">
                <a:extLst>
                  <a:ext uri="{FF2B5EF4-FFF2-40B4-BE49-F238E27FC236}">
                    <a16:creationId xmlns:a16="http://schemas.microsoft.com/office/drawing/2014/main" id="{D7AAE184-429B-4745-AAA5-0A704FCA3C8D}"/>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1">
                <a:extLst>
                  <a:ext uri="{FF2B5EF4-FFF2-40B4-BE49-F238E27FC236}">
                    <a16:creationId xmlns:a16="http://schemas.microsoft.com/office/drawing/2014/main" id="{72457BCA-6D85-4CC9-9F5C-75539F7CD681}"/>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2">
                <a:extLst>
                  <a:ext uri="{FF2B5EF4-FFF2-40B4-BE49-F238E27FC236}">
                    <a16:creationId xmlns:a16="http://schemas.microsoft.com/office/drawing/2014/main" id="{283A665E-D026-4AEA-B77E-A349D5EA5767}"/>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3">
                <a:extLst>
                  <a:ext uri="{FF2B5EF4-FFF2-40B4-BE49-F238E27FC236}">
                    <a16:creationId xmlns:a16="http://schemas.microsoft.com/office/drawing/2014/main" id="{86BDAB76-7628-4862-915C-18A60E0B88D4}"/>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4">
                <a:extLst>
                  <a:ext uri="{FF2B5EF4-FFF2-40B4-BE49-F238E27FC236}">
                    <a16:creationId xmlns:a16="http://schemas.microsoft.com/office/drawing/2014/main" id="{B1B621BC-3B3E-4562-8FAC-D3E972E24F2F}"/>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5">
                <a:extLst>
                  <a:ext uri="{FF2B5EF4-FFF2-40B4-BE49-F238E27FC236}">
                    <a16:creationId xmlns:a16="http://schemas.microsoft.com/office/drawing/2014/main" id="{188991EB-7BB8-4517-8224-D80C68498BBE}"/>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6">
                <a:extLst>
                  <a:ext uri="{FF2B5EF4-FFF2-40B4-BE49-F238E27FC236}">
                    <a16:creationId xmlns:a16="http://schemas.microsoft.com/office/drawing/2014/main" id="{4C119C8B-577C-4D80-A50E-E2D6BA466AE0}"/>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7">
                <a:extLst>
                  <a:ext uri="{FF2B5EF4-FFF2-40B4-BE49-F238E27FC236}">
                    <a16:creationId xmlns:a16="http://schemas.microsoft.com/office/drawing/2014/main" id="{1BC6270E-2D00-45D4-873E-5438D1D89A31}"/>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8">
                <a:extLst>
                  <a:ext uri="{FF2B5EF4-FFF2-40B4-BE49-F238E27FC236}">
                    <a16:creationId xmlns:a16="http://schemas.microsoft.com/office/drawing/2014/main" id="{99307FA4-D894-4468-BB63-AC67BAD9E085}"/>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9">
                <a:extLst>
                  <a:ext uri="{FF2B5EF4-FFF2-40B4-BE49-F238E27FC236}">
                    <a16:creationId xmlns:a16="http://schemas.microsoft.com/office/drawing/2014/main" id="{BA07F9E3-78DB-4E3A-8D4F-DFBD4514BB54}"/>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0">
                <a:extLst>
                  <a:ext uri="{FF2B5EF4-FFF2-40B4-BE49-F238E27FC236}">
                    <a16:creationId xmlns:a16="http://schemas.microsoft.com/office/drawing/2014/main" id="{E47AD55C-D179-4315-AAB9-645DE1BCDC44}"/>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1">
                <a:extLst>
                  <a:ext uri="{FF2B5EF4-FFF2-40B4-BE49-F238E27FC236}">
                    <a16:creationId xmlns:a16="http://schemas.microsoft.com/office/drawing/2014/main" id="{1BF7A859-D967-420C-B09A-E21AB03BAD45}"/>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2">
                <a:extLst>
                  <a:ext uri="{FF2B5EF4-FFF2-40B4-BE49-F238E27FC236}">
                    <a16:creationId xmlns:a16="http://schemas.microsoft.com/office/drawing/2014/main" id="{52331850-494D-4B41-BBC6-25AE5EDEEAE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3">
                <a:extLst>
                  <a:ext uri="{FF2B5EF4-FFF2-40B4-BE49-F238E27FC236}">
                    <a16:creationId xmlns:a16="http://schemas.microsoft.com/office/drawing/2014/main" id="{0A8A2638-768B-4CB1-BFF0-D6CB4768B187}"/>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4">
                <a:extLst>
                  <a:ext uri="{FF2B5EF4-FFF2-40B4-BE49-F238E27FC236}">
                    <a16:creationId xmlns:a16="http://schemas.microsoft.com/office/drawing/2014/main" id="{09E3B395-0551-470A-A487-004F1711E116}"/>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5">
                <a:extLst>
                  <a:ext uri="{FF2B5EF4-FFF2-40B4-BE49-F238E27FC236}">
                    <a16:creationId xmlns:a16="http://schemas.microsoft.com/office/drawing/2014/main" id="{82BEAE54-17B6-46F8-9D2F-B9D0F076DEAE}"/>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6">
                <a:extLst>
                  <a:ext uri="{FF2B5EF4-FFF2-40B4-BE49-F238E27FC236}">
                    <a16:creationId xmlns:a16="http://schemas.microsoft.com/office/drawing/2014/main" id="{24F8EDA5-C64B-42F8-A9F9-6DFE36356569}"/>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77">
                <a:extLst>
                  <a:ext uri="{FF2B5EF4-FFF2-40B4-BE49-F238E27FC236}">
                    <a16:creationId xmlns:a16="http://schemas.microsoft.com/office/drawing/2014/main" id="{1B8398AE-E3D0-44E6-BF85-E22C8AFB2122}"/>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78">
                <a:extLst>
                  <a:ext uri="{FF2B5EF4-FFF2-40B4-BE49-F238E27FC236}">
                    <a16:creationId xmlns:a16="http://schemas.microsoft.com/office/drawing/2014/main" id="{8FE2F9D3-7FA6-4CBE-9342-5B1C83C1B258}"/>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79">
                <a:extLst>
                  <a:ext uri="{FF2B5EF4-FFF2-40B4-BE49-F238E27FC236}">
                    <a16:creationId xmlns:a16="http://schemas.microsoft.com/office/drawing/2014/main" id="{C4B00920-11EA-478D-953F-E6C3385C6834}"/>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0">
                <a:extLst>
                  <a:ext uri="{FF2B5EF4-FFF2-40B4-BE49-F238E27FC236}">
                    <a16:creationId xmlns:a16="http://schemas.microsoft.com/office/drawing/2014/main" id="{A7A8E170-7466-4D47-A89F-D9AE211A9E6F}"/>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1">
                <a:extLst>
                  <a:ext uri="{FF2B5EF4-FFF2-40B4-BE49-F238E27FC236}">
                    <a16:creationId xmlns:a16="http://schemas.microsoft.com/office/drawing/2014/main" id="{621F2B87-2C1E-48F0-B601-95DD3A0A91E2}"/>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82">
                <a:extLst>
                  <a:ext uri="{FF2B5EF4-FFF2-40B4-BE49-F238E27FC236}">
                    <a16:creationId xmlns:a16="http://schemas.microsoft.com/office/drawing/2014/main" id="{9E30B960-47B1-4BA2-907C-0B0AA5750FF5}"/>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3">
                <a:extLst>
                  <a:ext uri="{FF2B5EF4-FFF2-40B4-BE49-F238E27FC236}">
                    <a16:creationId xmlns:a16="http://schemas.microsoft.com/office/drawing/2014/main" id="{E698763D-6A8C-4BA1-AEDC-A57E1284D5C4}"/>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4">
                <a:extLst>
                  <a:ext uri="{FF2B5EF4-FFF2-40B4-BE49-F238E27FC236}">
                    <a16:creationId xmlns:a16="http://schemas.microsoft.com/office/drawing/2014/main" id="{950B5E56-0960-4B13-A33D-F8B9D8420C2B}"/>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85">
                <a:extLst>
                  <a:ext uri="{FF2B5EF4-FFF2-40B4-BE49-F238E27FC236}">
                    <a16:creationId xmlns:a16="http://schemas.microsoft.com/office/drawing/2014/main" id="{278B3A70-7587-4648-9057-2C26D6288CDD}"/>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86">
                <a:extLst>
                  <a:ext uri="{FF2B5EF4-FFF2-40B4-BE49-F238E27FC236}">
                    <a16:creationId xmlns:a16="http://schemas.microsoft.com/office/drawing/2014/main" id="{8325EC1A-A2EF-440A-B1B9-2FE2BEAB804D}"/>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87">
                <a:extLst>
                  <a:ext uri="{FF2B5EF4-FFF2-40B4-BE49-F238E27FC236}">
                    <a16:creationId xmlns:a16="http://schemas.microsoft.com/office/drawing/2014/main" id="{8CE1E41D-E351-44F6-A8C7-B27CCF7ABB71}"/>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88">
                <a:extLst>
                  <a:ext uri="{FF2B5EF4-FFF2-40B4-BE49-F238E27FC236}">
                    <a16:creationId xmlns:a16="http://schemas.microsoft.com/office/drawing/2014/main" id="{577515A1-344F-438D-B928-390CF0EB9CAB}"/>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89">
                <a:extLst>
                  <a:ext uri="{FF2B5EF4-FFF2-40B4-BE49-F238E27FC236}">
                    <a16:creationId xmlns:a16="http://schemas.microsoft.com/office/drawing/2014/main" id="{726C3319-311B-4274-A62E-8A79D0D4359C}"/>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0">
                <a:extLst>
                  <a:ext uri="{FF2B5EF4-FFF2-40B4-BE49-F238E27FC236}">
                    <a16:creationId xmlns:a16="http://schemas.microsoft.com/office/drawing/2014/main" id="{1A1044D7-8C48-4B20-9965-C67557450AE1}"/>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91">
                <a:extLst>
                  <a:ext uri="{FF2B5EF4-FFF2-40B4-BE49-F238E27FC236}">
                    <a16:creationId xmlns:a16="http://schemas.microsoft.com/office/drawing/2014/main" id="{E8F1CB15-2E9A-42E0-963A-27FAF570A245}"/>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92">
                <a:extLst>
                  <a:ext uri="{FF2B5EF4-FFF2-40B4-BE49-F238E27FC236}">
                    <a16:creationId xmlns:a16="http://schemas.microsoft.com/office/drawing/2014/main" id="{E0B4CDB8-1276-4462-8B3C-E52F7F39DD9B}"/>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3">
                <a:extLst>
                  <a:ext uri="{FF2B5EF4-FFF2-40B4-BE49-F238E27FC236}">
                    <a16:creationId xmlns:a16="http://schemas.microsoft.com/office/drawing/2014/main" id="{228AC251-2D37-4F55-A7B8-C31365487B4E}"/>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94">
                <a:extLst>
                  <a:ext uri="{FF2B5EF4-FFF2-40B4-BE49-F238E27FC236}">
                    <a16:creationId xmlns:a16="http://schemas.microsoft.com/office/drawing/2014/main" id="{5F5C7BC1-44D9-4D30-B7E7-5B217EEAD26C}"/>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5">
                <a:extLst>
                  <a:ext uri="{FF2B5EF4-FFF2-40B4-BE49-F238E27FC236}">
                    <a16:creationId xmlns:a16="http://schemas.microsoft.com/office/drawing/2014/main" id="{EC32F408-AD0E-4922-9C16-FCD179DD8F38}"/>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96">
                <a:extLst>
                  <a:ext uri="{FF2B5EF4-FFF2-40B4-BE49-F238E27FC236}">
                    <a16:creationId xmlns:a16="http://schemas.microsoft.com/office/drawing/2014/main" id="{C1A5D348-4C93-4F27-BBE0-C6A2810163DD}"/>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97">
                <a:extLst>
                  <a:ext uri="{FF2B5EF4-FFF2-40B4-BE49-F238E27FC236}">
                    <a16:creationId xmlns:a16="http://schemas.microsoft.com/office/drawing/2014/main" id="{F3921BB1-ABC2-42C3-A77B-5D24775C88C8}"/>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98">
                <a:extLst>
                  <a:ext uri="{FF2B5EF4-FFF2-40B4-BE49-F238E27FC236}">
                    <a16:creationId xmlns:a16="http://schemas.microsoft.com/office/drawing/2014/main" id="{0FDBE6FE-5AE3-41F8-9C81-C92A2BA25097}"/>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99">
                <a:extLst>
                  <a:ext uri="{FF2B5EF4-FFF2-40B4-BE49-F238E27FC236}">
                    <a16:creationId xmlns:a16="http://schemas.microsoft.com/office/drawing/2014/main" id="{FA9B8774-FEA9-4D19-B0AE-322C7C5A0391}"/>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0">
                <a:extLst>
                  <a:ext uri="{FF2B5EF4-FFF2-40B4-BE49-F238E27FC236}">
                    <a16:creationId xmlns:a16="http://schemas.microsoft.com/office/drawing/2014/main" id="{54637B7E-D102-4C7A-9062-009562AAAE23}"/>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1">
                <a:extLst>
                  <a:ext uri="{FF2B5EF4-FFF2-40B4-BE49-F238E27FC236}">
                    <a16:creationId xmlns:a16="http://schemas.microsoft.com/office/drawing/2014/main" id="{5733833B-3BCA-481F-97EE-05F3442EF85E}"/>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02">
                <a:extLst>
                  <a:ext uri="{FF2B5EF4-FFF2-40B4-BE49-F238E27FC236}">
                    <a16:creationId xmlns:a16="http://schemas.microsoft.com/office/drawing/2014/main" id="{A7A1D5F6-D609-4E1D-9E38-8AD5B2FCF772}"/>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3">
                <a:extLst>
                  <a:ext uri="{FF2B5EF4-FFF2-40B4-BE49-F238E27FC236}">
                    <a16:creationId xmlns:a16="http://schemas.microsoft.com/office/drawing/2014/main" id="{CEE7486D-2493-48EC-B40C-3AB848AA2109}"/>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04">
                <a:extLst>
                  <a:ext uri="{FF2B5EF4-FFF2-40B4-BE49-F238E27FC236}">
                    <a16:creationId xmlns:a16="http://schemas.microsoft.com/office/drawing/2014/main" id="{3F49D3CB-DEF7-4C2F-A5B4-2EA175DB8C5C}"/>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5">
                <a:extLst>
                  <a:ext uri="{FF2B5EF4-FFF2-40B4-BE49-F238E27FC236}">
                    <a16:creationId xmlns:a16="http://schemas.microsoft.com/office/drawing/2014/main" id="{8C73A257-C6FD-457A-9DAB-740E96B0C8E3}"/>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06">
                <a:extLst>
                  <a:ext uri="{FF2B5EF4-FFF2-40B4-BE49-F238E27FC236}">
                    <a16:creationId xmlns:a16="http://schemas.microsoft.com/office/drawing/2014/main" id="{3D030BED-65B9-4E1F-A447-8CECB60005AA}"/>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07">
                <a:extLst>
                  <a:ext uri="{FF2B5EF4-FFF2-40B4-BE49-F238E27FC236}">
                    <a16:creationId xmlns:a16="http://schemas.microsoft.com/office/drawing/2014/main" id="{CEE4A4E7-FC3A-4A0C-8C42-C9BAAA2793C7}"/>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08">
                <a:extLst>
                  <a:ext uri="{FF2B5EF4-FFF2-40B4-BE49-F238E27FC236}">
                    <a16:creationId xmlns:a16="http://schemas.microsoft.com/office/drawing/2014/main" id="{1DF49E35-F5EB-4A94-861E-AF2F41ED3221}"/>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09">
                <a:extLst>
                  <a:ext uri="{FF2B5EF4-FFF2-40B4-BE49-F238E27FC236}">
                    <a16:creationId xmlns:a16="http://schemas.microsoft.com/office/drawing/2014/main" id="{9DFCE8C8-444C-427A-834A-D3031A503B8E}"/>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0">
                <a:extLst>
                  <a:ext uri="{FF2B5EF4-FFF2-40B4-BE49-F238E27FC236}">
                    <a16:creationId xmlns:a16="http://schemas.microsoft.com/office/drawing/2014/main" id="{05D63D3F-43E3-4103-83B8-E2172F8719A3}"/>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11">
                <a:extLst>
                  <a:ext uri="{FF2B5EF4-FFF2-40B4-BE49-F238E27FC236}">
                    <a16:creationId xmlns:a16="http://schemas.microsoft.com/office/drawing/2014/main" id="{860449AB-4855-44B4-86F9-D2EDA51D6518}"/>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12">
                <a:extLst>
                  <a:ext uri="{FF2B5EF4-FFF2-40B4-BE49-F238E27FC236}">
                    <a16:creationId xmlns:a16="http://schemas.microsoft.com/office/drawing/2014/main" id="{3AECE09F-F7F4-4994-9928-BBC45668F5AC}"/>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3">
                <a:extLst>
                  <a:ext uri="{FF2B5EF4-FFF2-40B4-BE49-F238E27FC236}">
                    <a16:creationId xmlns:a16="http://schemas.microsoft.com/office/drawing/2014/main" id="{E80E5224-18CD-4240-9FD3-63F705F38A38}"/>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4">
                <a:extLst>
                  <a:ext uri="{FF2B5EF4-FFF2-40B4-BE49-F238E27FC236}">
                    <a16:creationId xmlns:a16="http://schemas.microsoft.com/office/drawing/2014/main" id="{3665C883-1BC1-4289-ADEA-2FB08FB546D7}"/>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15">
                <a:extLst>
                  <a:ext uri="{FF2B5EF4-FFF2-40B4-BE49-F238E27FC236}">
                    <a16:creationId xmlns:a16="http://schemas.microsoft.com/office/drawing/2014/main" id="{42AC5C24-D6E8-42B0-A626-F9DFAD28DF3A}"/>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16">
                <a:extLst>
                  <a:ext uri="{FF2B5EF4-FFF2-40B4-BE49-F238E27FC236}">
                    <a16:creationId xmlns:a16="http://schemas.microsoft.com/office/drawing/2014/main" id="{306E9235-7237-4A09-8B19-2FABBE6E599D}"/>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17">
                <a:extLst>
                  <a:ext uri="{FF2B5EF4-FFF2-40B4-BE49-F238E27FC236}">
                    <a16:creationId xmlns:a16="http://schemas.microsoft.com/office/drawing/2014/main" id="{D4B6019D-94EA-4541-96E4-1FC975956DB2}"/>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18">
                <a:extLst>
                  <a:ext uri="{FF2B5EF4-FFF2-40B4-BE49-F238E27FC236}">
                    <a16:creationId xmlns:a16="http://schemas.microsoft.com/office/drawing/2014/main" id="{1870E1D7-0F92-452E-9451-DBACB569B795}"/>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19">
                <a:extLst>
                  <a:ext uri="{FF2B5EF4-FFF2-40B4-BE49-F238E27FC236}">
                    <a16:creationId xmlns:a16="http://schemas.microsoft.com/office/drawing/2014/main" id="{57815608-F4CD-4FAC-9E81-21416B23794A}"/>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20">
                <a:extLst>
                  <a:ext uri="{FF2B5EF4-FFF2-40B4-BE49-F238E27FC236}">
                    <a16:creationId xmlns:a16="http://schemas.microsoft.com/office/drawing/2014/main" id="{3FBE2683-EBD6-47E5-B4E6-F9A2F4665FBE}"/>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21">
                <a:extLst>
                  <a:ext uri="{FF2B5EF4-FFF2-40B4-BE49-F238E27FC236}">
                    <a16:creationId xmlns:a16="http://schemas.microsoft.com/office/drawing/2014/main" id="{E915F1FC-9C53-433B-86A7-0FA8A3CFCFEB}"/>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2">
                <a:extLst>
                  <a:ext uri="{FF2B5EF4-FFF2-40B4-BE49-F238E27FC236}">
                    <a16:creationId xmlns:a16="http://schemas.microsoft.com/office/drawing/2014/main" id="{870570C5-48E2-450B-9298-69C7D8AEA061}"/>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3">
                <a:extLst>
                  <a:ext uri="{FF2B5EF4-FFF2-40B4-BE49-F238E27FC236}">
                    <a16:creationId xmlns:a16="http://schemas.microsoft.com/office/drawing/2014/main" id="{94044C6A-EB14-4C6F-B455-0789BD0CE249}"/>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24">
                <a:extLst>
                  <a:ext uri="{FF2B5EF4-FFF2-40B4-BE49-F238E27FC236}">
                    <a16:creationId xmlns:a16="http://schemas.microsoft.com/office/drawing/2014/main" id="{E9612900-5E52-4FA3-9AF1-6B14F72BE9D3}"/>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25">
                <a:extLst>
                  <a:ext uri="{FF2B5EF4-FFF2-40B4-BE49-F238E27FC236}">
                    <a16:creationId xmlns:a16="http://schemas.microsoft.com/office/drawing/2014/main" id="{B8B61574-4FD5-4348-846C-0B286FB2CDCC}"/>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26">
                <a:extLst>
                  <a:ext uri="{FF2B5EF4-FFF2-40B4-BE49-F238E27FC236}">
                    <a16:creationId xmlns:a16="http://schemas.microsoft.com/office/drawing/2014/main" id="{CB2A9F5D-C186-4DD9-A8DB-3F46C9A5C012}"/>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27">
                <a:extLst>
                  <a:ext uri="{FF2B5EF4-FFF2-40B4-BE49-F238E27FC236}">
                    <a16:creationId xmlns:a16="http://schemas.microsoft.com/office/drawing/2014/main" id="{467EA179-81A3-47B3-AD50-B86876B42DB7}"/>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28">
                <a:extLst>
                  <a:ext uri="{FF2B5EF4-FFF2-40B4-BE49-F238E27FC236}">
                    <a16:creationId xmlns:a16="http://schemas.microsoft.com/office/drawing/2014/main" id="{87E2E84B-1A1C-4AE0-8F67-22BB1CEC5514}"/>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29">
                <a:extLst>
                  <a:ext uri="{FF2B5EF4-FFF2-40B4-BE49-F238E27FC236}">
                    <a16:creationId xmlns:a16="http://schemas.microsoft.com/office/drawing/2014/main" id="{D8338067-BC30-41EA-A20C-209E81311DB5}"/>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30">
                <a:extLst>
                  <a:ext uri="{FF2B5EF4-FFF2-40B4-BE49-F238E27FC236}">
                    <a16:creationId xmlns:a16="http://schemas.microsoft.com/office/drawing/2014/main" id="{7E4F8411-611C-4A95-B29C-E94DD786EBC6}"/>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31">
                <a:extLst>
                  <a:ext uri="{FF2B5EF4-FFF2-40B4-BE49-F238E27FC236}">
                    <a16:creationId xmlns:a16="http://schemas.microsoft.com/office/drawing/2014/main" id="{CC99A1A6-DEC2-4833-B808-D0FB6A955335}"/>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32">
                <a:extLst>
                  <a:ext uri="{FF2B5EF4-FFF2-40B4-BE49-F238E27FC236}">
                    <a16:creationId xmlns:a16="http://schemas.microsoft.com/office/drawing/2014/main" id="{60CADE1E-3554-4714-9BA9-99DDA7C483F2}"/>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33">
                <a:extLst>
                  <a:ext uri="{FF2B5EF4-FFF2-40B4-BE49-F238E27FC236}">
                    <a16:creationId xmlns:a16="http://schemas.microsoft.com/office/drawing/2014/main" id="{6A19EAC4-0060-41F4-9D4E-5E0F6A1F6A65}"/>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4">
                <a:extLst>
                  <a:ext uri="{FF2B5EF4-FFF2-40B4-BE49-F238E27FC236}">
                    <a16:creationId xmlns:a16="http://schemas.microsoft.com/office/drawing/2014/main" id="{69B60B51-E546-4452-B93B-EDBC66A14571}"/>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5">
                <a:extLst>
                  <a:ext uri="{FF2B5EF4-FFF2-40B4-BE49-F238E27FC236}">
                    <a16:creationId xmlns:a16="http://schemas.microsoft.com/office/drawing/2014/main" id="{FF76C740-E9FD-4EE3-B752-0C461DD9C484}"/>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36">
                <a:extLst>
                  <a:ext uri="{FF2B5EF4-FFF2-40B4-BE49-F238E27FC236}">
                    <a16:creationId xmlns:a16="http://schemas.microsoft.com/office/drawing/2014/main" id="{058DB2E6-2E37-406C-AD21-B97F2407EBC6}"/>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37">
                <a:extLst>
                  <a:ext uri="{FF2B5EF4-FFF2-40B4-BE49-F238E27FC236}">
                    <a16:creationId xmlns:a16="http://schemas.microsoft.com/office/drawing/2014/main" id="{05C91A58-8B1A-43E4-85A1-930D84EF6A8C}"/>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38">
                <a:extLst>
                  <a:ext uri="{FF2B5EF4-FFF2-40B4-BE49-F238E27FC236}">
                    <a16:creationId xmlns:a16="http://schemas.microsoft.com/office/drawing/2014/main" id="{E131602B-D795-4BBC-956A-8062F1CB1528}"/>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39">
                <a:extLst>
                  <a:ext uri="{FF2B5EF4-FFF2-40B4-BE49-F238E27FC236}">
                    <a16:creationId xmlns:a16="http://schemas.microsoft.com/office/drawing/2014/main" id="{2B418DC6-4029-437B-A222-34F1FA2C3F90}"/>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40">
                <a:extLst>
                  <a:ext uri="{FF2B5EF4-FFF2-40B4-BE49-F238E27FC236}">
                    <a16:creationId xmlns:a16="http://schemas.microsoft.com/office/drawing/2014/main" id="{7FD49B33-31CE-4938-9EEB-0E9055B411CC}"/>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1">
                <a:extLst>
                  <a:ext uri="{FF2B5EF4-FFF2-40B4-BE49-F238E27FC236}">
                    <a16:creationId xmlns:a16="http://schemas.microsoft.com/office/drawing/2014/main" id="{95B6B517-FB74-4CFC-8FB4-9A157DE18E2A}"/>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2">
                <a:extLst>
                  <a:ext uri="{FF2B5EF4-FFF2-40B4-BE49-F238E27FC236}">
                    <a16:creationId xmlns:a16="http://schemas.microsoft.com/office/drawing/2014/main" id="{3A5D15AD-7C5B-41EF-B08A-E2120C0B9225}"/>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3">
                <a:extLst>
                  <a:ext uri="{FF2B5EF4-FFF2-40B4-BE49-F238E27FC236}">
                    <a16:creationId xmlns:a16="http://schemas.microsoft.com/office/drawing/2014/main" id="{CB3360A9-8E2F-4DB4-B5E3-F2BAB6AEB85C}"/>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4">
                <a:extLst>
                  <a:ext uri="{FF2B5EF4-FFF2-40B4-BE49-F238E27FC236}">
                    <a16:creationId xmlns:a16="http://schemas.microsoft.com/office/drawing/2014/main" id="{D1750396-813B-494F-BFF7-500C470295F8}"/>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5">
                <a:extLst>
                  <a:ext uri="{FF2B5EF4-FFF2-40B4-BE49-F238E27FC236}">
                    <a16:creationId xmlns:a16="http://schemas.microsoft.com/office/drawing/2014/main" id="{02830870-4CCE-4EC7-BEF1-7938D25D5C6F}"/>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46">
                <a:extLst>
                  <a:ext uri="{FF2B5EF4-FFF2-40B4-BE49-F238E27FC236}">
                    <a16:creationId xmlns:a16="http://schemas.microsoft.com/office/drawing/2014/main" id="{75D1972D-9479-489F-889F-40A44C3C2D7A}"/>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47">
                <a:extLst>
                  <a:ext uri="{FF2B5EF4-FFF2-40B4-BE49-F238E27FC236}">
                    <a16:creationId xmlns:a16="http://schemas.microsoft.com/office/drawing/2014/main" id="{99190EE6-A877-4E51-B408-91F768A3B6DC}"/>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1B1EF9B5-56D8-4DF6-9B0D-6A9165584D36}"/>
              </a:ext>
            </a:extLst>
          </p:cNvPr>
          <p:cNvGrpSpPr/>
          <p:nvPr/>
        </p:nvGrpSpPr>
        <p:grpSpPr>
          <a:xfrm>
            <a:off x="1537951" y="4489449"/>
            <a:ext cx="4440039" cy="1189091"/>
            <a:chOff x="1537951" y="4566449"/>
            <a:chExt cx="4440039" cy="1189091"/>
          </a:xfrm>
        </p:grpSpPr>
        <p:sp>
          <p:nvSpPr>
            <p:cNvPr id="241" name="Freeform 240"/>
            <p:cNvSpPr>
              <a:spLocks/>
            </p:cNvSpPr>
            <p:nvPr/>
          </p:nvSpPr>
          <p:spPr>
            <a:xfrm>
              <a:off x="2510195" y="4874419"/>
              <a:ext cx="2845853"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0" name="Rectangle 59"/>
            <p:cNvSpPr/>
            <p:nvPr/>
          </p:nvSpPr>
          <p:spPr>
            <a:xfrm>
              <a:off x="1905830" y="5175253"/>
              <a:ext cx="3453797" cy="430887"/>
            </a:xfrm>
            <a:prstGeom prst="rect">
              <a:avLst/>
            </a:prstGeom>
            <a:ln>
              <a:noFill/>
            </a:ln>
          </p:spPr>
          <p:txBody>
            <a:bodyPr wrap="square" anchor="ctr">
              <a:spAutoFit/>
            </a:bodyPr>
            <a:lstStyle/>
            <a:p>
              <a:pPr algn="r"/>
              <a:r>
                <a:rPr lang="en-IN" sz="1100" dirty="0"/>
                <a:t>Leveraging </a:t>
              </a:r>
              <a:r>
                <a:rPr lang="en-IN" sz="1100" b="1" dirty="0"/>
                <a:t>APIs</a:t>
              </a:r>
              <a:r>
                <a:rPr lang="en-IN" sz="1100" dirty="0"/>
                <a:t> to create a comprehensive view of the client </a:t>
              </a:r>
            </a:p>
          </p:txBody>
        </p:sp>
        <p:sp>
          <p:nvSpPr>
            <p:cNvPr id="82" name="TextBox 81">
              <a:extLst>
                <a:ext uri="{FF2B5EF4-FFF2-40B4-BE49-F238E27FC236}">
                  <a16:creationId xmlns:a16="http://schemas.microsoft.com/office/drawing/2014/main" id="{9D5FC6E0-9AE0-4ED2-8AC4-87F0B0E279FF}"/>
                </a:ext>
              </a:extLst>
            </p:cNvPr>
            <p:cNvSpPr txBox="1"/>
            <p:nvPr/>
          </p:nvSpPr>
          <p:spPr>
            <a:xfrm>
              <a:off x="1537951" y="4789497"/>
              <a:ext cx="3828296" cy="276999"/>
            </a:xfrm>
            <a:prstGeom prst="rect">
              <a:avLst/>
            </a:prstGeom>
            <a:solidFill>
              <a:schemeClr val="accent2"/>
            </a:solidFill>
          </p:spPr>
          <p:txBody>
            <a:bodyPr wrap="square" rtlCol="0">
              <a:spAutoFit/>
            </a:bodyPr>
            <a:lstStyle/>
            <a:p>
              <a:pPr algn="r"/>
              <a:r>
                <a:rPr lang="en-IN" sz="1200" b="1" dirty="0">
                  <a:solidFill>
                    <a:schemeClr val="bg1"/>
                  </a:solidFill>
                </a:rPr>
                <a:t>Portfolio aggregation</a:t>
              </a:r>
            </a:p>
          </p:txBody>
        </p:sp>
        <p:sp>
          <p:nvSpPr>
            <p:cNvPr id="18" name="Oval 17"/>
            <p:cNvSpPr/>
            <p:nvPr/>
          </p:nvSpPr>
          <p:spPr>
            <a:xfrm>
              <a:off x="5302695" y="4566449"/>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10" name="Group 9"/>
            <p:cNvGrpSpPr/>
            <p:nvPr/>
          </p:nvGrpSpPr>
          <p:grpSpPr>
            <a:xfrm>
              <a:off x="5486899" y="4710382"/>
              <a:ext cx="399579" cy="436370"/>
              <a:chOff x="4666848" y="3315207"/>
              <a:chExt cx="399579" cy="436370"/>
            </a:xfrm>
          </p:grpSpPr>
          <p:grpSp>
            <p:nvGrpSpPr>
              <p:cNvPr id="90" name="Group 89"/>
              <p:cNvGrpSpPr/>
              <p:nvPr/>
            </p:nvGrpSpPr>
            <p:grpSpPr>
              <a:xfrm>
                <a:off x="4666848" y="3315207"/>
                <a:ext cx="252631" cy="377544"/>
                <a:chOff x="7729992" y="5299817"/>
                <a:chExt cx="252631" cy="377544"/>
              </a:xfrm>
            </p:grpSpPr>
            <p:sp>
              <p:nvSpPr>
                <p:cNvPr id="91" name="Freeform 86">
                  <a:extLst>
                    <a:ext uri="{FF2B5EF4-FFF2-40B4-BE49-F238E27FC236}">
                      <a16:creationId xmlns:a16="http://schemas.microsoft.com/office/drawing/2014/main" id="{873F0F48-5284-4351-A4A1-95720F1DD962}"/>
                    </a:ext>
                  </a:extLst>
                </p:cNvPr>
                <p:cNvSpPr>
                  <a:spLocks/>
                </p:cNvSpPr>
                <p:nvPr/>
              </p:nvSpPr>
              <p:spPr bwMode="auto">
                <a:xfrm>
                  <a:off x="7729992" y="5299817"/>
                  <a:ext cx="252631" cy="377544"/>
                </a:xfrm>
                <a:custGeom>
                  <a:avLst/>
                  <a:gdLst>
                    <a:gd name="T0" fmla="*/ 75 w 76"/>
                    <a:gd name="T1" fmla="*/ 114 h 114"/>
                    <a:gd name="T2" fmla="*/ 3 w 76"/>
                    <a:gd name="T3" fmla="*/ 112 h 114"/>
                    <a:gd name="T4" fmla="*/ 2 w 76"/>
                    <a:gd name="T5" fmla="*/ 3 h 114"/>
                    <a:gd name="T6" fmla="*/ 75 w 76"/>
                    <a:gd name="T7" fmla="*/ 2 h 114"/>
                    <a:gd name="T8" fmla="*/ 75 w 76"/>
                    <a:gd name="T9" fmla="*/ 114 h 114"/>
                  </a:gdLst>
                  <a:ahLst/>
                  <a:cxnLst>
                    <a:cxn ang="0">
                      <a:pos x="T0" y="T1"/>
                    </a:cxn>
                    <a:cxn ang="0">
                      <a:pos x="T2" y="T3"/>
                    </a:cxn>
                    <a:cxn ang="0">
                      <a:pos x="T4" y="T5"/>
                    </a:cxn>
                    <a:cxn ang="0">
                      <a:pos x="T6" y="T7"/>
                    </a:cxn>
                    <a:cxn ang="0">
                      <a:pos x="T8" y="T9"/>
                    </a:cxn>
                  </a:cxnLst>
                  <a:rect l="0" t="0" r="r" b="b"/>
                  <a:pathLst>
                    <a:path w="76" h="114">
                      <a:moveTo>
                        <a:pt x="75" y="114"/>
                      </a:moveTo>
                      <a:cubicBezTo>
                        <a:pt x="3" y="112"/>
                        <a:pt x="3" y="112"/>
                        <a:pt x="3" y="112"/>
                      </a:cubicBezTo>
                      <a:cubicBezTo>
                        <a:pt x="3" y="112"/>
                        <a:pt x="0" y="41"/>
                        <a:pt x="2" y="3"/>
                      </a:cubicBezTo>
                      <a:cubicBezTo>
                        <a:pt x="24" y="0"/>
                        <a:pt x="54" y="0"/>
                        <a:pt x="75" y="2"/>
                      </a:cubicBezTo>
                      <a:cubicBezTo>
                        <a:pt x="76" y="53"/>
                        <a:pt x="75" y="114"/>
                        <a:pt x="75" y="114"/>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7">
                  <a:extLst>
                    <a:ext uri="{FF2B5EF4-FFF2-40B4-BE49-F238E27FC236}">
                      <a16:creationId xmlns:a16="http://schemas.microsoft.com/office/drawing/2014/main" id="{700356CA-EDE9-43F3-A39D-E837EB5EFE23}"/>
                    </a:ext>
                  </a:extLst>
                </p:cNvPr>
                <p:cNvSpPr>
                  <a:spLocks noChangeArrowheads="1"/>
                </p:cNvSpPr>
                <p:nvPr/>
              </p:nvSpPr>
              <p:spPr bwMode="auto">
                <a:xfrm>
                  <a:off x="7773502" y="5355957"/>
                  <a:ext cx="165614" cy="126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88">
                  <a:extLst>
                    <a:ext uri="{FF2B5EF4-FFF2-40B4-BE49-F238E27FC236}">
                      <a16:creationId xmlns:a16="http://schemas.microsoft.com/office/drawing/2014/main" id="{32DBF1C9-449C-4801-A837-551025A27A75}"/>
                    </a:ext>
                  </a:extLst>
                </p:cNvPr>
                <p:cNvSpPr>
                  <a:spLocks noChangeArrowheads="1"/>
                </p:cNvSpPr>
                <p:nvPr/>
              </p:nvSpPr>
              <p:spPr bwMode="auto">
                <a:xfrm>
                  <a:off x="7773502" y="5399467"/>
                  <a:ext cx="165614" cy="126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89">
                  <a:extLst>
                    <a:ext uri="{FF2B5EF4-FFF2-40B4-BE49-F238E27FC236}">
                      <a16:creationId xmlns:a16="http://schemas.microsoft.com/office/drawing/2014/main" id="{EA90E050-7C5B-4E9E-8F48-F35FDB0773EA}"/>
                    </a:ext>
                  </a:extLst>
                </p:cNvPr>
                <p:cNvSpPr>
                  <a:spLocks noChangeArrowheads="1"/>
                </p:cNvSpPr>
                <p:nvPr/>
              </p:nvSpPr>
              <p:spPr bwMode="auto">
                <a:xfrm>
                  <a:off x="7773502" y="5441572"/>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0">
                  <a:extLst>
                    <a:ext uri="{FF2B5EF4-FFF2-40B4-BE49-F238E27FC236}">
                      <a16:creationId xmlns:a16="http://schemas.microsoft.com/office/drawing/2014/main" id="{1E19C11F-286F-4BA0-BB4A-5B188EBF5B84}"/>
                    </a:ext>
                  </a:extLst>
                </p:cNvPr>
                <p:cNvSpPr>
                  <a:spLocks noChangeArrowheads="1"/>
                </p:cNvSpPr>
                <p:nvPr/>
              </p:nvSpPr>
              <p:spPr bwMode="auto">
                <a:xfrm>
                  <a:off x="7773502" y="5489291"/>
                  <a:ext cx="165614" cy="9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1">
                  <a:extLst>
                    <a:ext uri="{FF2B5EF4-FFF2-40B4-BE49-F238E27FC236}">
                      <a16:creationId xmlns:a16="http://schemas.microsoft.com/office/drawing/2014/main" id="{8DACE2DE-2857-4AC3-9D4C-D08631307C64}"/>
                    </a:ext>
                  </a:extLst>
                </p:cNvPr>
                <p:cNvSpPr>
                  <a:spLocks noChangeArrowheads="1"/>
                </p:cNvSpPr>
                <p:nvPr/>
              </p:nvSpPr>
              <p:spPr bwMode="auto">
                <a:xfrm>
                  <a:off x="7773502" y="5531396"/>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92">
                  <a:extLst>
                    <a:ext uri="{FF2B5EF4-FFF2-40B4-BE49-F238E27FC236}">
                      <a16:creationId xmlns:a16="http://schemas.microsoft.com/office/drawing/2014/main" id="{918B06AF-70E7-4893-B759-F9A968EF1F1B}"/>
                    </a:ext>
                  </a:extLst>
                </p:cNvPr>
                <p:cNvSpPr>
                  <a:spLocks noChangeArrowheads="1"/>
                </p:cNvSpPr>
                <p:nvPr/>
              </p:nvSpPr>
              <p:spPr bwMode="auto">
                <a:xfrm>
                  <a:off x="7773502" y="5574905"/>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3">
                  <a:extLst>
                    <a:ext uri="{FF2B5EF4-FFF2-40B4-BE49-F238E27FC236}">
                      <a16:creationId xmlns:a16="http://schemas.microsoft.com/office/drawing/2014/main" id="{EC49C8C3-341A-4D94-B000-42017B2A5D6C}"/>
                    </a:ext>
                  </a:extLst>
                </p:cNvPr>
                <p:cNvSpPr>
                  <a:spLocks noChangeArrowheads="1"/>
                </p:cNvSpPr>
                <p:nvPr/>
              </p:nvSpPr>
              <p:spPr bwMode="auto">
                <a:xfrm>
                  <a:off x="7773502" y="5611396"/>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771391" y="3454955"/>
                <a:ext cx="295036" cy="296622"/>
                <a:chOff x="7267165" y="2246545"/>
                <a:chExt cx="295036" cy="296622"/>
              </a:xfrm>
            </p:grpSpPr>
            <p:sp>
              <p:nvSpPr>
                <p:cNvPr id="99" name="Freeform 13">
                  <a:extLst>
                    <a:ext uri="{FF2B5EF4-FFF2-40B4-BE49-F238E27FC236}">
                      <a16:creationId xmlns:a16="http://schemas.microsoft.com/office/drawing/2014/main" id="{148056D2-BE8C-40E9-A196-FE5CF00AB5CA}"/>
                    </a:ext>
                  </a:extLst>
                </p:cNvPr>
                <p:cNvSpPr>
                  <a:spLocks/>
                </p:cNvSpPr>
                <p:nvPr/>
              </p:nvSpPr>
              <p:spPr bwMode="auto">
                <a:xfrm>
                  <a:off x="7425977" y="2406944"/>
                  <a:ext cx="136224" cy="136223"/>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E"/>
                </a:p>
              </p:txBody>
            </p:sp>
            <p:sp>
              <p:nvSpPr>
                <p:cNvPr id="100" name="Freeform 14">
                  <a:extLst>
                    <a:ext uri="{FF2B5EF4-FFF2-40B4-BE49-F238E27FC236}">
                      <a16:creationId xmlns:a16="http://schemas.microsoft.com/office/drawing/2014/main" id="{4FCD9DE5-3FCF-478D-9DDC-76B62942DBE9}"/>
                    </a:ext>
                  </a:extLst>
                </p:cNvPr>
                <p:cNvSpPr>
                  <a:spLocks noEditPoints="1"/>
                </p:cNvSpPr>
                <p:nvPr/>
              </p:nvSpPr>
              <p:spPr bwMode="auto">
                <a:xfrm>
                  <a:off x="7267165" y="2246545"/>
                  <a:ext cx="218803" cy="219509"/>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E"/>
                </a:p>
              </p:txBody>
            </p:sp>
          </p:grpSp>
        </p:grpSp>
      </p:grpSp>
      <p:grpSp>
        <p:nvGrpSpPr>
          <p:cNvPr id="21" name="Group 20">
            <a:extLst>
              <a:ext uri="{FF2B5EF4-FFF2-40B4-BE49-F238E27FC236}">
                <a16:creationId xmlns:a16="http://schemas.microsoft.com/office/drawing/2014/main" id="{80A8B309-7A09-431A-B176-DB71D18A386D}"/>
              </a:ext>
            </a:extLst>
          </p:cNvPr>
          <p:cNvGrpSpPr/>
          <p:nvPr/>
        </p:nvGrpSpPr>
        <p:grpSpPr>
          <a:xfrm>
            <a:off x="809620" y="3151043"/>
            <a:ext cx="4393756" cy="996773"/>
            <a:chOff x="809620" y="3228043"/>
            <a:chExt cx="4393756" cy="996773"/>
          </a:xfrm>
        </p:grpSpPr>
        <p:sp>
          <p:nvSpPr>
            <p:cNvPr id="242" name="Freeform 241"/>
            <p:cNvSpPr>
              <a:spLocks/>
            </p:cNvSpPr>
            <p:nvPr/>
          </p:nvSpPr>
          <p:spPr>
            <a:xfrm>
              <a:off x="1249210" y="3373407"/>
              <a:ext cx="3566627" cy="851409"/>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1" name="Rectangle 60"/>
            <p:cNvSpPr/>
            <p:nvPr/>
          </p:nvSpPr>
          <p:spPr>
            <a:xfrm>
              <a:off x="1077609" y="3542103"/>
              <a:ext cx="3480834" cy="600164"/>
            </a:xfrm>
            <a:prstGeom prst="rect">
              <a:avLst/>
            </a:prstGeom>
            <a:ln>
              <a:noFill/>
            </a:ln>
          </p:spPr>
          <p:txBody>
            <a:bodyPr wrap="square">
              <a:spAutoFit/>
            </a:bodyPr>
            <a:lstStyle/>
            <a:p>
              <a:pPr algn="r"/>
              <a:r>
                <a:rPr lang="en-IN" sz="1100" dirty="0"/>
                <a:t>Using </a:t>
              </a:r>
              <a:r>
                <a:rPr lang="en-IN" sz="1100" b="1" dirty="0"/>
                <a:t>AI-based analytics tools</a:t>
              </a:r>
              <a:r>
                <a:rPr lang="en-IN" sz="1100" dirty="0"/>
                <a:t> on client’s past data to make the most appropriate financial recommendations</a:t>
              </a:r>
            </a:p>
          </p:txBody>
        </p:sp>
        <p:sp>
          <p:nvSpPr>
            <p:cNvPr id="73" name="TextBox 72">
              <a:extLst>
                <a:ext uri="{FF2B5EF4-FFF2-40B4-BE49-F238E27FC236}">
                  <a16:creationId xmlns:a16="http://schemas.microsoft.com/office/drawing/2014/main" id="{9D5FC6E0-9AE0-4ED2-8AC4-87F0B0E279FF}"/>
                </a:ext>
              </a:extLst>
            </p:cNvPr>
            <p:cNvSpPr txBox="1"/>
            <p:nvPr/>
          </p:nvSpPr>
          <p:spPr>
            <a:xfrm>
              <a:off x="809620" y="3228043"/>
              <a:ext cx="4109859" cy="276999"/>
            </a:xfrm>
            <a:prstGeom prst="rect">
              <a:avLst/>
            </a:prstGeom>
            <a:solidFill>
              <a:schemeClr val="accent2"/>
            </a:solidFill>
          </p:spPr>
          <p:txBody>
            <a:bodyPr wrap="square" rtlCol="0">
              <a:spAutoFit/>
            </a:bodyPr>
            <a:lstStyle/>
            <a:p>
              <a:pPr algn="r"/>
              <a:r>
                <a:rPr lang="en-IN" sz="1200" b="1" dirty="0">
                  <a:solidFill>
                    <a:schemeClr val="bg1"/>
                  </a:solidFill>
                </a:rPr>
                <a:t>Personalized product recommendations</a:t>
              </a:r>
            </a:p>
          </p:txBody>
        </p:sp>
        <p:grpSp>
          <p:nvGrpSpPr>
            <p:cNvPr id="7" name="Group 6"/>
            <p:cNvGrpSpPr/>
            <p:nvPr/>
          </p:nvGrpSpPr>
          <p:grpSpPr>
            <a:xfrm>
              <a:off x="4528081" y="3470114"/>
              <a:ext cx="675295" cy="675296"/>
              <a:chOff x="4528081" y="3190981"/>
              <a:chExt cx="675295" cy="675296"/>
            </a:xfrm>
          </p:grpSpPr>
          <p:sp>
            <p:nvSpPr>
              <p:cNvPr id="16" name="Oval 15"/>
              <p:cNvSpPr/>
              <p:nvPr/>
            </p:nvSpPr>
            <p:spPr>
              <a:xfrm>
                <a:off x="4528081" y="319098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9" name="TextBox 78"/>
              <p:cNvSpPr txBox="1"/>
              <p:nvPr/>
            </p:nvSpPr>
            <p:spPr>
              <a:xfrm>
                <a:off x="4865695" y="3308947"/>
                <a:ext cx="65" cy="430887"/>
              </a:xfrm>
              <a:prstGeom prst="rect">
                <a:avLst/>
              </a:prstGeom>
              <a:noFill/>
            </p:spPr>
            <p:txBody>
              <a:bodyPr wrap="none" lIns="0" tIns="0" rIns="0" bIns="0" rtlCol="0">
                <a:spAutoFit/>
              </a:bodyPr>
              <a:lstStyle/>
              <a:p>
                <a:pPr algn="ctr"/>
                <a:endParaRPr lang="en-US" sz="2800" b="1" dirty="0"/>
              </a:p>
            </p:txBody>
          </p:sp>
        </p:grpSp>
        <p:grpSp>
          <p:nvGrpSpPr>
            <p:cNvPr id="80" name="Groupe 297">
              <a:extLst>
                <a:ext uri="{FF2B5EF4-FFF2-40B4-BE49-F238E27FC236}">
                  <a16:creationId xmlns:a16="http://schemas.microsoft.com/office/drawing/2014/main" id="{68210534-0A67-4DE0-89DE-1AF1E0B7E6A0}"/>
                </a:ext>
              </a:extLst>
            </p:cNvPr>
            <p:cNvGrpSpPr/>
            <p:nvPr/>
          </p:nvGrpSpPr>
          <p:grpSpPr>
            <a:xfrm>
              <a:off x="4694327" y="3587181"/>
              <a:ext cx="401238" cy="430217"/>
              <a:chOff x="6843712" y="3457575"/>
              <a:chExt cx="571500" cy="612775"/>
            </a:xfrm>
          </p:grpSpPr>
          <p:sp>
            <p:nvSpPr>
              <p:cNvPr id="81" name="Freeform 288">
                <a:extLst>
                  <a:ext uri="{FF2B5EF4-FFF2-40B4-BE49-F238E27FC236}">
                    <a16:creationId xmlns:a16="http://schemas.microsoft.com/office/drawing/2014/main" id="{5F091788-A4B2-43BA-8762-2E21B29D7872}"/>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9">
                <a:extLst>
                  <a:ext uri="{FF2B5EF4-FFF2-40B4-BE49-F238E27FC236}">
                    <a16:creationId xmlns:a16="http://schemas.microsoft.com/office/drawing/2014/main" id="{199E4A29-04AD-436F-856B-07053C52E162}"/>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90">
                <a:extLst>
                  <a:ext uri="{FF2B5EF4-FFF2-40B4-BE49-F238E27FC236}">
                    <a16:creationId xmlns:a16="http://schemas.microsoft.com/office/drawing/2014/main" id="{D8269836-1865-4A16-B22B-BA7AEC1D2BE2}"/>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91">
                <a:extLst>
                  <a:ext uri="{FF2B5EF4-FFF2-40B4-BE49-F238E27FC236}">
                    <a16:creationId xmlns:a16="http://schemas.microsoft.com/office/drawing/2014/main" id="{9CB5DDB9-84A6-49BA-AAC2-8F328F0D0D0C}"/>
                  </a:ext>
                </a:extLst>
              </p:cNvPr>
              <p:cNvSpPr>
                <a:spLocks noChangeArrowheads="1"/>
              </p:cNvSpPr>
              <p:nvPr/>
            </p:nvSpPr>
            <p:spPr bwMode="auto">
              <a:xfrm>
                <a:off x="6843712" y="3481387"/>
                <a:ext cx="211137" cy="20637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2">
                <a:extLst>
                  <a:ext uri="{FF2B5EF4-FFF2-40B4-BE49-F238E27FC236}">
                    <a16:creationId xmlns:a16="http://schemas.microsoft.com/office/drawing/2014/main" id="{411B160F-313C-419E-B927-C4800D3A7D71}"/>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93">
                <a:extLst>
                  <a:ext uri="{FF2B5EF4-FFF2-40B4-BE49-F238E27FC236}">
                    <a16:creationId xmlns:a16="http://schemas.microsoft.com/office/drawing/2014/main" id="{3D14D4FE-4B78-4C5D-AD58-F7D094F76E04}"/>
                  </a:ext>
                </a:extLst>
              </p:cNvPr>
              <p:cNvSpPr>
                <a:spLocks noChangeArrowheads="1"/>
              </p:cNvSpPr>
              <p:nvPr/>
            </p:nvSpPr>
            <p:spPr bwMode="auto">
              <a:xfrm>
                <a:off x="6896100" y="3533775"/>
                <a:ext cx="106362"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94">
                <a:extLst>
                  <a:ext uri="{FF2B5EF4-FFF2-40B4-BE49-F238E27FC236}">
                    <a16:creationId xmlns:a16="http://schemas.microsoft.com/office/drawing/2014/main" id="{8D423B3F-492C-460A-98A3-A11F698817F7}"/>
                  </a:ext>
                </a:extLst>
              </p:cNvPr>
              <p:cNvSpPr>
                <a:spLocks noChangeArrowheads="1"/>
              </p:cNvSpPr>
              <p:nvPr/>
            </p:nvSpPr>
            <p:spPr bwMode="auto">
              <a:xfrm>
                <a:off x="6923087" y="3559175"/>
                <a:ext cx="5238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43" name="Text Box 1031">
            <a:extLst>
              <a:ext uri="{FF2B5EF4-FFF2-40B4-BE49-F238E27FC236}">
                <a16:creationId xmlns:a16="http://schemas.microsoft.com/office/drawing/2014/main" id="{DA3F9D8B-0D9E-447B-8B9B-2AA74C241313}"/>
              </a:ext>
            </a:extLst>
          </p:cNvPr>
          <p:cNvSpPr txBox="1">
            <a:spLocks noChangeArrowheads="1"/>
          </p:cNvSpPr>
          <p:nvPr/>
        </p:nvSpPr>
        <p:spPr bwMode="auto">
          <a:xfrm>
            <a:off x="251788" y="866221"/>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Technology-driven hyper-personalization</a:t>
            </a:r>
          </a:p>
        </p:txBody>
      </p:sp>
      <p:grpSp>
        <p:nvGrpSpPr>
          <p:cNvPr id="244" name="Group 243">
            <a:extLst>
              <a:ext uri="{FF2B5EF4-FFF2-40B4-BE49-F238E27FC236}">
                <a16:creationId xmlns:a16="http://schemas.microsoft.com/office/drawing/2014/main" id="{A51CD156-6BA8-42EE-A83F-66EB914B11B2}"/>
              </a:ext>
            </a:extLst>
          </p:cNvPr>
          <p:cNvGrpSpPr/>
          <p:nvPr/>
        </p:nvGrpSpPr>
        <p:grpSpPr>
          <a:xfrm>
            <a:off x="9622537" y="85117"/>
            <a:ext cx="559961" cy="608099"/>
            <a:chOff x="9622537" y="85117"/>
            <a:chExt cx="559961" cy="608099"/>
          </a:xfrm>
        </p:grpSpPr>
        <p:sp>
          <p:nvSpPr>
            <p:cNvPr id="245" name="Freeform 10">
              <a:extLst>
                <a:ext uri="{FF2B5EF4-FFF2-40B4-BE49-F238E27FC236}">
                  <a16:creationId xmlns:a16="http://schemas.microsoft.com/office/drawing/2014/main" id="{C6101D9E-DCBE-4411-857D-0299E03BB434}"/>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6" name="Freeform 11">
              <a:extLst>
                <a:ext uri="{FF2B5EF4-FFF2-40B4-BE49-F238E27FC236}">
                  <a16:creationId xmlns:a16="http://schemas.microsoft.com/office/drawing/2014/main" id="{482616E4-2CC4-49CE-98D2-F47121689F10}"/>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7" name="Freeform 12">
              <a:extLst>
                <a:ext uri="{FF2B5EF4-FFF2-40B4-BE49-F238E27FC236}">
                  <a16:creationId xmlns:a16="http://schemas.microsoft.com/office/drawing/2014/main" id="{06855BDF-DA64-4781-869A-D1290C22D9CD}"/>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8" name="Freeform 13">
              <a:extLst>
                <a:ext uri="{FF2B5EF4-FFF2-40B4-BE49-F238E27FC236}">
                  <a16:creationId xmlns:a16="http://schemas.microsoft.com/office/drawing/2014/main" id="{E410FD3B-289C-4B3E-8555-37B0DECA6DF7}"/>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9" name="Freeform 14">
              <a:extLst>
                <a:ext uri="{FF2B5EF4-FFF2-40B4-BE49-F238E27FC236}">
                  <a16:creationId xmlns:a16="http://schemas.microsoft.com/office/drawing/2014/main" id="{812D8385-3928-4985-BE0B-DB08CE5A731D}"/>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250" name="Group 249">
            <a:extLst>
              <a:ext uri="{FF2B5EF4-FFF2-40B4-BE49-F238E27FC236}">
                <a16:creationId xmlns:a16="http://schemas.microsoft.com/office/drawing/2014/main" id="{B75B6579-86C1-46D1-BD13-818ED2275922}"/>
              </a:ext>
            </a:extLst>
          </p:cNvPr>
          <p:cNvGrpSpPr/>
          <p:nvPr/>
        </p:nvGrpSpPr>
        <p:grpSpPr>
          <a:xfrm>
            <a:off x="10232823" y="122400"/>
            <a:ext cx="537308" cy="533532"/>
            <a:chOff x="8169276" y="2006600"/>
            <a:chExt cx="3614737" cy="3589337"/>
          </a:xfrm>
          <a:solidFill>
            <a:schemeClr val="bg1">
              <a:lumMod val="75000"/>
            </a:schemeClr>
          </a:solidFill>
        </p:grpSpPr>
        <p:sp>
          <p:nvSpPr>
            <p:cNvPr id="251" name="Freeform 18">
              <a:extLst>
                <a:ext uri="{FF2B5EF4-FFF2-40B4-BE49-F238E27FC236}">
                  <a16:creationId xmlns:a16="http://schemas.microsoft.com/office/drawing/2014/main" id="{33C39F6C-72AE-4E44-BF1A-7AA2B73B2F3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2" name="Freeform 15">
              <a:extLst>
                <a:ext uri="{FF2B5EF4-FFF2-40B4-BE49-F238E27FC236}">
                  <a16:creationId xmlns:a16="http://schemas.microsoft.com/office/drawing/2014/main" id="{508C6DA4-BDBE-4217-80F2-663002E00BF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3" name="Oval 16">
              <a:extLst>
                <a:ext uri="{FF2B5EF4-FFF2-40B4-BE49-F238E27FC236}">
                  <a16:creationId xmlns:a16="http://schemas.microsoft.com/office/drawing/2014/main" id="{E5F4B7E2-3848-418B-A01C-028B1344F03D}"/>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4" name="Freeform 17">
              <a:extLst>
                <a:ext uri="{FF2B5EF4-FFF2-40B4-BE49-F238E27FC236}">
                  <a16:creationId xmlns:a16="http://schemas.microsoft.com/office/drawing/2014/main" id="{852D1E7C-6382-46D8-A8D7-1E2CE93747D6}"/>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5" name="Freeform 19">
              <a:extLst>
                <a:ext uri="{FF2B5EF4-FFF2-40B4-BE49-F238E27FC236}">
                  <a16:creationId xmlns:a16="http://schemas.microsoft.com/office/drawing/2014/main" id="{C92795A0-D09E-45C7-95FF-3FC346982F3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256" name="Freeform 332">
            <a:extLst>
              <a:ext uri="{FF2B5EF4-FFF2-40B4-BE49-F238E27FC236}">
                <a16:creationId xmlns:a16="http://schemas.microsoft.com/office/drawing/2014/main" id="{152B2D2B-DE21-4CA7-B6EA-246E2B7FC62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7" name="Group 256">
            <a:extLst>
              <a:ext uri="{FF2B5EF4-FFF2-40B4-BE49-F238E27FC236}">
                <a16:creationId xmlns:a16="http://schemas.microsoft.com/office/drawing/2014/main" id="{CEF9BDC7-B5A7-4139-948A-97131F8A3DC6}"/>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58" name="Freeform 46">
              <a:extLst>
                <a:ext uri="{FF2B5EF4-FFF2-40B4-BE49-F238E27FC236}">
                  <a16:creationId xmlns:a16="http://schemas.microsoft.com/office/drawing/2014/main" id="{EE6AE856-0517-42BA-A449-6EC111BAF24B}"/>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7">
              <a:extLst>
                <a:ext uri="{FF2B5EF4-FFF2-40B4-BE49-F238E27FC236}">
                  <a16:creationId xmlns:a16="http://schemas.microsoft.com/office/drawing/2014/main" id="{B86C73A6-B49D-46E4-8B04-42C1AFA4CDF1}"/>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48">
              <a:extLst>
                <a:ext uri="{FF2B5EF4-FFF2-40B4-BE49-F238E27FC236}">
                  <a16:creationId xmlns:a16="http://schemas.microsoft.com/office/drawing/2014/main" id="{243B7CAB-DAD3-4897-AB76-F1020D31308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9">
              <a:extLst>
                <a:ext uri="{FF2B5EF4-FFF2-40B4-BE49-F238E27FC236}">
                  <a16:creationId xmlns:a16="http://schemas.microsoft.com/office/drawing/2014/main" id="{CB10279F-96AD-40E3-A052-CB694234CBCE}"/>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50">
              <a:extLst>
                <a:ext uri="{FF2B5EF4-FFF2-40B4-BE49-F238E27FC236}">
                  <a16:creationId xmlns:a16="http://schemas.microsoft.com/office/drawing/2014/main" id="{77C674D3-A3D3-42E9-A113-EDFD8CFA37FC}"/>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51">
              <a:extLst>
                <a:ext uri="{FF2B5EF4-FFF2-40B4-BE49-F238E27FC236}">
                  <a16:creationId xmlns:a16="http://schemas.microsoft.com/office/drawing/2014/main" id="{F2937784-4BB2-4508-9ACA-F35D60D102F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4" name="Group 263">
            <a:extLst>
              <a:ext uri="{FF2B5EF4-FFF2-40B4-BE49-F238E27FC236}">
                <a16:creationId xmlns:a16="http://schemas.microsoft.com/office/drawing/2014/main" id="{8B0D1866-9F72-47EC-810E-0A9C864EC5ED}"/>
              </a:ext>
            </a:extLst>
          </p:cNvPr>
          <p:cNvGrpSpPr/>
          <p:nvPr/>
        </p:nvGrpSpPr>
        <p:grpSpPr>
          <a:xfrm rot="16938775">
            <a:off x="10818568" y="122400"/>
            <a:ext cx="537307" cy="533532"/>
            <a:chOff x="8169276" y="2006600"/>
            <a:chExt cx="3614737" cy="3589337"/>
          </a:xfrm>
          <a:solidFill>
            <a:schemeClr val="bg1">
              <a:lumMod val="75000"/>
            </a:schemeClr>
          </a:solidFill>
        </p:grpSpPr>
        <p:sp>
          <p:nvSpPr>
            <p:cNvPr id="265" name="Freeform 18">
              <a:extLst>
                <a:ext uri="{FF2B5EF4-FFF2-40B4-BE49-F238E27FC236}">
                  <a16:creationId xmlns:a16="http://schemas.microsoft.com/office/drawing/2014/main" id="{E6074026-9327-4292-9F6F-731A18F696E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6" name="Freeform 15">
              <a:extLst>
                <a:ext uri="{FF2B5EF4-FFF2-40B4-BE49-F238E27FC236}">
                  <a16:creationId xmlns:a16="http://schemas.microsoft.com/office/drawing/2014/main" id="{035EBB1D-DDCD-4EC3-ACE2-D508F2EF15A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7" name="Oval 16">
              <a:extLst>
                <a:ext uri="{FF2B5EF4-FFF2-40B4-BE49-F238E27FC236}">
                  <a16:creationId xmlns:a16="http://schemas.microsoft.com/office/drawing/2014/main" id="{FF2DD2DF-0D6D-4DED-9C9E-29F1D8FA566B}"/>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8" name="Freeform 17">
              <a:extLst>
                <a:ext uri="{FF2B5EF4-FFF2-40B4-BE49-F238E27FC236}">
                  <a16:creationId xmlns:a16="http://schemas.microsoft.com/office/drawing/2014/main" id="{474D5B91-93E8-4AE3-A67D-6D24AE2D43E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9" name="Freeform 19">
              <a:extLst>
                <a:ext uri="{FF2B5EF4-FFF2-40B4-BE49-F238E27FC236}">
                  <a16:creationId xmlns:a16="http://schemas.microsoft.com/office/drawing/2014/main" id="{9985900C-308C-46E0-8FFA-98AFF4A5DCF0}"/>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270" name="Picture 4" descr="Coronavirus | United Nations">
            <a:extLst>
              <a:ext uri="{FF2B5EF4-FFF2-40B4-BE49-F238E27FC236}">
                <a16:creationId xmlns:a16="http://schemas.microsoft.com/office/drawing/2014/main" id="{97AD9789-B7D8-4C58-BCA1-ED8177179F4C}"/>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271" name="Group 270">
            <a:extLst>
              <a:ext uri="{FF2B5EF4-FFF2-40B4-BE49-F238E27FC236}">
                <a16:creationId xmlns:a16="http://schemas.microsoft.com/office/drawing/2014/main" id="{077AA92F-56C7-4827-B14D-7CD30EDC7B3E}"/>
              </a:ext>
            </a:extLst>
          </p:cNvPr>
          <p:cNvGrpSpPr/>
          <p:nvPr/>
        </p:nvGrpSpPr>
        <p:grpSpPr>
          <a:xfrm>
            <a:off x="9034432" y="122400"/>
            <a:ext cx="537780" cy="533532"/>
            <a:chOff x="411163" y="2006600"/>
            <a:chExt cx="3617913" cy="3589337"/>
          </a:xfrm>
          <a:solidFill>
            <a:schemeClr val="bg1">
              <a:lumMod val="75000"/>
            </a:schemeClr>
          </a:solidFill>
        </p:grpSpPr>
        <p:sp>
          <p:nvSpPr>
            <p:cNvPr id="272" name="Freeform 5">
              <a:extLst>
                <a:ext uri="{FF2B5EF4-FFF2-40B4-BE49-F238E27FC236}">
                  <a16:creationId xmlns:a16="http://schemas.microsoft.com/office/drawing/2014/main" id="{48A01CA5-B6B7-432B-A657-9507A8B3EB7C}"/>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3" name="Oval 6">
              <a:extLst>
                <a:ext uri="{FF2B5EF4-FFF2-40B4-BE49-F238E27FC236}">
                  <a16:creationId xmlns:a16="http://schemas.microsoft.com/office/drawing/2014/main" id="{EAFA6626-F72C-4279-AB24-23E53CABB531}"/>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4" name="Freeform 7">
              <a:extLst>
                <a:ext uri="{FF2B5EF4-FFF2-40B4-BE49-F238E27FC236}">
                  <a16:creationId xmlns:a16="http://schemas.microsoft.com/office/drawing/2014/main" id="{79B9CF43-9ED6-4788-84D8-3A35A092021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5" name="Freeform 8">
              <a:extLst>
                <a:ext uri="{FF2B5EF4-FFF2-40B4-BE49-F238E27FC236}">
                  <a16:creationId xmlns:a16="http://schemas.microsoft.com/office/drawing/2014/main" id="{10405A43-8853-4D6E-9C17-5F7FE93249C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6" name="Freeform 9">
              <a:extLst>
                <a:ext uri="{FF2B5EF4-FFF2-40B4-BE49-F238E27FC236}">
                  <a16:creationId xmlns:a16="http://schemas.microsoft.com/office/drawing/2014/main" id="{76F63427-51B3-43B4-98F3-1214D8C2E7E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77" name="Groupe 825">
            <a:extLst>
              <a:ext uri="{FF2B5EF4-FFF2-40B4-BE49-F238E27FC236}">
                <a16:creationId xmlns:a16="http://schemas.microsoft.com/office/drawing/2014/main" id="{66850C3B-74A9-4A39-A4F2-F5871C98CC35}"/>
              </a:ext>
            </a:extLst>
          </p:cNvPr>
          <p:cNvGrpSpPr/>
          <p:nvPr/>
        </p:nvGrpSpPr>
        <p:grpSpPr>
          <a:xfrm>
            <a:off x="9138494" y="248487"/>
            <a:ext cx="337206" cy="317707"/>
            <a:chOff x="6500813" y="736601"/>
            <a:chExt cx="538163" cy="581025"/>
          </a:xfrm>
          <a:solidFill>
            <a:schemeClr val="bg1">
              <a:lumMod val="50000"/>
            </a:schemeClr>
          </a:solidFill>
        </p:grpSpPr>
        <p:sp>
          <p:nvSpPr>
            <p:cNvPr id="278" name="Freeform 37">
              <a:extLst>
                <a:ext uri="{FF2B5EF4-FFF2-40B4-BE49-F238E27FC236}">
                  <a16:creationId xmlns:a16="http://schemas.microsoft.com/office/drawing/2014/main" id="{0534B5A3-B822-40B9-981E-9C9AA46965D6}"/>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9" name="Freeform 38">
              <a:extLst>
                <a:ext uri="{FF2B5EF4-FFF2-40B4-BE49-F238E27FC236}">
                  <a16:creationId xmlns:a16="http://schemas.microsoft.com/office/drawing/2014/main" id="{F73A341C-5659-408B-8A81-C0F98E563103}"/>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0" name="Freeform 39">
              <a:extLst>
                <a:ext uri="{FF2B5EF4-FFF2-40B4-BE49-F238E27FC236}">
                  <a16:creationId xmlns:a16="http://schemas.microsoft.com/office/drawing/2014/main" id="{DA524AAC-EE9E-4884-ABCA-59516448F34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1" name="Freeform 40">
              <a:extLst>
                <a:ext uri="{FF2B5EF4-FFF2-40B4-BE49-F238E27FC236}">
                  <a16:creationId xmlns:a16="http://schemas.microsoft.com/office/drawing/2014/main" id="{ADA294D0-2BF8-4AC5-BD3A-FE404A043E94}"/>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2" name="Freeform 41">
              <a:extLst>
                <a:ext uri="{FF2B5EF4-FFF2-40B4-BE49-F238E27FC236}">
                  <a16:creationId xmlns:a16="http://schemas.microsoft.com/office/drawing/2014/main" id="{EFEACFF0-76C7-4AD4-92BD-BD70000AC18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3" name="Freeform 42">
              <a:extLst>
                <a:ext uri="{FF2B5EF4-FFF2-40B4-BE49-F238E27FC236}">
                  <a16:creationId xmlns:a16="http://schemas.microsoft.com/office/drawing/2014/main" id="{2168893B-AEBF-481C-B747-9081A0FCDAD5}"/>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4" name="Freeform 43">
              <a:extLst>
                <a:ext uri="{FF2B5EF4-FFF2-40B4-BE49-F238E27FC236}">
                  <a16:creationId xmlns:a16="http://schemas.microsoft.com/office/drawing/2014/main" id="{4BCDAAF6-5483-4428-B1D5-D1266646BC8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5" name="Freeform 44">
              <a:extLst>
                <a:ext uri="{FF2B5EF4-FFF2-40B4-BE49-F238E27FC236}">
                  <a16:creationId xmlns:a16="http://schemas.microsoft.com/office/drawing/2014/main" id="{1D16FDFF-394B-431A-97DD-452AC10EB12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6" name="Freeform 45">
              <a:extLst>
                <a:ext uri="{FF2B5EF4-FFF2-40B4-BE49-F238E27FC236}">
                  <a16:creationId xmlns:a16="http://schemas.microsoft.com/office/drawing/2014/main" id="{98523F32-D695-4A95-8380-EB8892CADF16}"/>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7" name="Freeform 46">
              <a:extLst>
                <a:ext uri="{FF2B5EF4-FFF2-40B4-BE49-F238E27FC236}">
                  <a16:creationId xmlns:a16="http://schemas.microsoft.com/office/drawing/2014/main" id="{A888A4BD-F453-4655-AC83-8268995809D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8" name="Freeform 47">
              <a:extLst>
                <a:ext uri="{FF2B5EF4-FFF2-40B4-BE49-F238E27FC236}">
                  <a16:creationId xmlns:a16="http://schemas.microsoft.com/office/drawing/2014/main" id="{55C62005-DD26-41BC-8E72-C9F4937F3BDD}"/>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9" name="Freeform 48">
              <a:extLst>
                <a:ext uri="{FF2B5EF4-FFF2-40B4-BE49-F238E27FC236}">
                  <a16:creationId xmlns:a16="http://schemas.microsoft.com/office/drawing/2014/main" id="{253B2235-DC6F-4A70-9401-F38388BFFEC6}"/>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0" name="Freeform 49">
              <a:extLst>
                <a:ext uri="{FF2B5EF4-FFF2-40B4-BE49-F238E27FC236}">
                  <a16:creationId xmlns:a16="http://schemas.microsoft.com/office/drawing/2014/main" id="{3526009C-ADCC-44E1-BD34-CC73CBEC1239}"/>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1" name="Freeform 50">
              <a:extLst>
                <a:ext uri="{FF2B5EF4-FFF2-40B4-BE49-F238E27FC236}">
                  <a16:creationId xmlns:a16="http://schemas.microsoft.com/office/drawing/2014/main" id="{FB196D21-21E2-4B84-9EB0-A16B593F18A3}"/>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2" name="Freeform 51">
              <a:extLst>
                <a:ext uri="{FF2B5EF4-FFF2-40B4-BE49-F238E27FC236}">
                  <a16:creationId xmlns:a16="http://schemas.microsoft.com/office/drawing/2014/main" id="{EAC8C9FD-07DB-46B0-BB27-F79BC1D12177}"/>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3" name="Freeform 52">
              <a:extLst>
                <a:ext uri="{FF2B5EF4-FFF2-40B4-BE49-F238E27FC236}">
                  <a16:creationId xmlns:a16="http://schemas.microsoft.com/office/drawing/2014/main" id="{C84C3917-61A4-48F3-9C02-E904AE1B901F}"/>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4" name="Freeform 53">
              <a:extLst>
                <a:ext uri="{FF2B5EF4-FFF2-40B4-BE49-F238E27FC236}">
                  <a16:creationId xmlns:a16="http://schemas.microsoft.com/office/drawing/2014/main" id="{4A1024E2-C85B-49A4-B950-8BBBFF99987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5" name="Freeform 54">
              <a:extLst>
                <a:ext uri="{FF2B5EF4-FFF2-40B4-BE49-F238E27FC236}">
                  <a16:creationId xmlns:a16="http://schemas.microsoft.com/office/drawing/2014/main" id="{B552D1FB-C4DB-44CC-A669-5A87D24C25EF}"/>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6" name="Freeform 55">
              <a:extLst>
                <a:ext uri="{FF2B5EF4-FFF2-40B4-BE49-F238E27FC236}">
                  <a16:creationId xmlns:a16="http://schemas.microsoft.com/office/drawing/2014/main" id="{B1016F8F-789F-492E-9DC8-78E5199A01A9}"/>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7" name="Freeform 56">
              <a:extLst>
                <a:ext uri="{FF2B5EF4-FFF2-40B4-BE49-F238E27FC236}">
                  <a16:creationId xmlns:a16="http://schemas.microsoft.com/office/drawing/2014/main" id="{18EF7D98-13E4-420F-BCF8-47D16CEA635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8" name="Freeform 57">
              <a:extLst>
                <a:ext uri="{FF2B5EF4-FFF2-40B4-BE49-F238E27FC236}">
                  <a16:creationId xmlns:a16="http://schemas.microsoft.com/office/drawing/2014/main" id="{7D02546D-152E-4C96-969F-C7512F55F243}"/>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9" name="Freeform 58">
              <a:extLst>
                <a:ext uri="{FF2B5EF4-FFF2-40B4-BE49-F238E27FC236}">
                  <a16:creationId xmlns:a16="http://schemas.microsoft.com/office/drawing/2014/main" id="{50728823-1684-4398-B4CC-7AB145400E8F}"/>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0" name="Freeform 59">
              <a:extLst>
                <a:ext uri="{FF2B5EF4-FFF2-40B4-BE49-F238E27FC236}">
                  <a16:creationId xmlns:a16="http://schemas.microsoft.com/office/drawing/2014/main" id="{C158C39A-6D7D-44D6-AC1A-E52DF84CAD84}"/>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1" name="Freeform 60">
              <a:extLst>
                <a:ext uri="{FF2B5EF4-FFF2-40B4-BE49-F238E27FC236}">
                  <a16:creationId xmlns:a16="http://schemas.microsoft.com/office/drawing/2014/main" id="{4DA2C2A6-5DFC-4E42-B20A-43FC2D215B95}"/>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2" name="Freeform 61">
              <a:extLst>
                <a:ext uri="{FF2B5EF4-FFF2-40B4-BE49-F238E27FC236}">
                  <a16:creationId xmlns:a16="http://schemas.microsoft.com/office/drawing/2014/main" id="{887FC290-A444-4445-8AD2-8C8999C5F6CE}"/>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3" name="Freeform 62">
              <a:extLst>
                <a:ext uri="{FF2B5EF4-FFF2-40B4-BE49-F238E27FC236}">
                  <a16:creationId xmlns:a16="http://schemas.microsoft.com/office/drawing/2014/main" id="{7DE3AD11-706B-4338-AF8C-441CA5BAFA0C}"/>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4" name="Freeform 63">
              <a:extLst>
                <a:ext uri="{FF2B5EF4-FFF2-40B4-BE49-F238E27FC236}">
                  <a16:creationId xmlns:a16="http://schemas.microsoft.com/office/drawing/2014/main" id="{EA3400CF-B851-4BCE-B536-0EDECD9C3D68}"/>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5" name="Freeform 64">
              <a:extLst>
                <a:ext uri="{FF2B5EF4-FFF2-40B4-BE49-F238E27FC236}">
                  <a16:creationId xmlns:a16="http://schemas.microsoft.com/office/drawing/2014/main" id="{1F66DBB0-ECE1-48BD-902A-7C857C3B46AE}"/>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6" name="Freeform 65">
              <a:extLst>
                <a:ext uri="{FF2B5EF4-FFF2-40B4-BE49-F238E27FC236}">
                  <a16:creationId xmlns:a16="http://schemas.microsoft.com/office/drawing/2014/main" id="{39A12A5B-D287-4A1F-9297-CF417E9F6359}"/>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7" name="Freeform 66">
              <a:extLst>
                <a:ext uri="{FF2B5EF4-FFF2-40B4-BE49-F238E27FC236}">
                  <a16:creationId xmlns:a16="http://schemas.microsoft.com/office/drawing/2014/main" id="{ADD07A5F-8F37-4345-9B1B-5AC69DEB6AC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8" name="Freeform 67">
              <a:extLst>
                <a:ext uri="{FF2B5EF4-FFF2-40B4-BE49-F238E27FC236}">
                  <a16:creationId xmlns:a16="http://schemas.microsoft.com/office/drawing/2014/main" id="{701CA4A2-51E3-4D1A-8950-ED6E2DFE840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9" name="Freeform 68">
              <a:extLst>
                <a:ext uri="{FF2B5EF4-FFF2-40B4-BE49-F238E27FC236}">
                  <a16:creationId xmlns:a16="http://schemas.microsoft.com/office/drawing/2014/main" id="{EA66034F-E0E3-4710-88E3-423148B55CF1}"/>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0" name="Freeform 69">
              <a:extLst>
                <a:ext uri="{FF2B5EF4-FFF2-40B4-BE49-F238E27FC236}">
                  <a16:creationId xmlns:a16="http://schemas.microsoft.com/office/drawing/2014/main" id="{0CB41C3B-CFFA-4D4C-8D0B-FAF7FED03472}"/>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1" name="Freeform 70">
              <a:extLst>
                <a:ext uri="{FF2B5EF4-FFF2-40B4-BE49-F238E27FC236}">
                  <a16:creationId xmlns:a16="http://schemas.microsoft.com/office/drawing/2014/main" id="{BFEB029D-54D7-4098-BE66-0CD68B1C9203}"/>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2" name="Freeform 71">
              <a:extLst>
                <a:ext uri="{FF2B5EF4-FFF2-40B4-BE49-F238E27FC236}">
                  <a16:creationId xmlns:a16="http://schemas.microsoft.com/office/drawing/2014/main" id="{625E9145-557B-43AF-9E63-A5DB07F8331B}"/>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3" name="Freeform 72">
              <a:extLst>
                <a:ext uri="{FF2B5EF4-FFF2-40B4-BE49-F238E27FC236}">
                  <a16:creationId xmlns:a16="http://schemas.microsoft.com/office/drawing/2014/main" id="{F4F34DEE-76AC-4DFE-BEDC-E3E9DED7BE46}"/>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4" name="Freeform 73">
              <a:extLst>
                <a:ext uri="{FF2B5EF4-FFF2-40B4-BE49-F238E27FC236}">
                  <a16:creationId xmlns:a16="http://schemas.microsoft.com/office/drawing/2014/main" id="{EF7BFDF1-B779-42D3-83F8-3980E5AE767C}"/>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5" name="Freeform 74">
              <a:extLst>
                <a:ext uri="{FF2B5EF4-FFF2-40B4-BE49-F238E27FC236}">
                  <a16:creationId xmlns:a16="http://schemas.microsoft.com/office/drawing/2014/main" id="{9010B0E9-6C6B-4E76-959F-7F04C9F57854}"/>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6" name="Freeform 75">
              <a:extLst>
                <a:ext uri="{FF2B5EF4-FFF2-40B4-BE49-F238E27FC236}">
                  <a16:creationId xmlns:a16="http://schemas.microsoft.com/office/drawing/2014/main" id="{B839FFEA-B7C1-4600-94DE-183F2EEB012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7" name="Freeform 76">
              <a:extLst>
                <a:ext uri="{FF2B5EF4-FFF2-40B4-BE49-F238E27FC236}">
                  <a16:creationId xmlns:a16="http://schemas.microsoft.com/office/drawing/2014/main" id="{0CC728EF-871D-4398-AC0F-45B5C53C758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8" name="Freeform 77">
              <a:extLst>
                <a:ext uri="{FF2B5EF4-FFF2-40B4-BE49-F238E27FC236}">
                  <a16:creationId xmlns:a16="http://schemas.microsoft.com/office/drawing/2014/main" id="{194E5179-0F94-4D42-8EE6-3A37202C77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9" name="Freeform 78">
              <a:extLst>
                <a:ext uri="{FF2B5EF4-FFF2-40B4-BE49-F238E27FC236}">
                  <a16:creationId xmlns:a16="http://schemas.microsoft.com/office/drawing/2014/main" id="{D2D51301-D91E-42B8-8E8E-61131E94C273}"/>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0" name="Freeform 79">
              <a:extLst>
                <a:ext uri="{FF2B5EF4-FFF2-40B4-BE49-F238E27FC236}">
                  <a16:creationId xmlns:a16="http://schemas.microsoft.com/office/drawing/2014/main" id="{EAE8719C-FBDD-4A5E-8028-6C1AFCB04B7A}"/>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1" name="Freeform 80">
              <a:extLst>
                <a:ext uri="{FF2B5EF4-FFF2-40B4-BE49-F238E27FC236}">
                  <a16:creationId xmlns:a16="http://schemas.microsoft.com/office/drawing/2014/main" id="{085A865E-DE47-4383-A83E-11EFFB62133D}"/>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2" name="Freeform 81">
              <a:extLst>
                <a:ext uri="{FF2B5EF4-FFF2-40B4-BE49-F238E27FC236}">
                  <a16:creationId xmlns:a16="http://schemas.microsoft.com/office/drawing/2014/main" id="{F19ECFF4-EDF0-44A9-9030-1A7511ADEE55}"/>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3" name="Freeform 82">
              <a:extLst>
                <a:ext uri="{FF2B5EF4-FFF2-40B4-BE49-F238E27FC236}">
                  <a16:creationId xmlns:a16="http://schemas.microsoft.com/office/drawing/2014/main" id="{BEE854EA-DA01-40AF-8FCD-33988A0ADE54}"/>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4" name="Freeform 83">
              <a:extLst>
                <a:ext uri="{FF2B5EF4-FFF2-40B4-BE49-F238E27FC236}">
                  <a16:creationId xmlns:a16="http://schemas.microsoft.com/office/drawing/2014/main" id="{F4DBF4B0-1E5D-4E36-B299-4085EB08D38E}"/>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5" name="Freeform 84">
              <a:extLst>
                <a:ext uri="{FF2B5EF4-FFF2-40B4-BE49-F238E27FC236}">
                  <a16:creationId xmlns:a16="http://schemas.microsoft.com/office/drawing/2014/main" id="{35160ABA-933D-4C57-8D69-8DDE810A8711}"/>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6" name="Freeform 85">
              <a:extLst>
                <a:ext uri="{FF2B5EF4-FFF2-40B4-BE49-F238E27FC236}">
                  <a16:creationId xmlns:a16="http://schemas.microsoft.com/office/drawing/2014/main" id="{AB004F5E-1C67-4778-9947-DC6215D0432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822747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BD9DC4-A753-42AA-93B8-4EA6FC7A3FF4}"/>
              </a:ext>
            </a:extLst>
          </p:cNvPr>
          <p:cNvGraphicFramePr>
            <a:graphicFrameLocks noChangeAspect="1"/>
          </p:cNvGraphicFramePr>
          <p:nvPr>
            <p:custDataLst>
              <p:tags r:id="rId2"/>
            </p:custDataLst>
            <p:extLst>
              <p:ext uri="{D42A27DB-BD31-4B8C-83A1-F6EECF244321}">
                <p14:modId xmlns:p14="http://schemas.microsoft.com/office/powerpoint/2010/main" val="98079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7A7B07A-6F9D-49E5-810C-7291EE26C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p:txBody>
          <a:bodyPr/>
          <a:lstStyle/>
          <a:p>
            <a:r>
              <a:rPr lang="en-IN" sz="3200" dirty="0"/>
              <a:t>Manage uncertainty through sharp focus on the critical 20% of the value chain</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109" name="Rectangle: Rounded Corners 108">
            <a:extLst>
              <a:ext uri="{FF2B5EF4-FFF2-40B4-BE49-F238E27FC236}">
                <a16:creationId xmlns:a16="http://schemas.microsoft.com/office/drawing/2014/main" id="{2386BC54-C5F7-48A7-A775-6015747FD6F6}"/>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0" name="Rectangle 109">
            <a:extLst>
              <a:ext uri="{FF2B5EF4-FFF2-40B4-BE49-F238E27FC236}">
                <a16:creationId xmlns:a16="http://schemas.microsoft.com/office/drawing/2014/main" id="{D46E21B1-55C5-4CF7-A756-C433990BCF30}"/>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11" name="Picture 4" descr="Coronavirus | United Nations">
            <a:extLst>
              <a:ext uri="{FF2B5EF4-FFF2-40B4-BE49-F238E27FC236}">
                <a16:creationId xmlns:a16="http://schemas.microsoft.com/office/drawing/2014/main" id="{3AED0B45-02C7-4C90-B789-789B41B0EA5C}"/>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Abort Stop Cancel Terminate Svg Png Icon Free Download (#517382 ...">
            <a:extLst>
              <a:ext uri="{FF2B5EF4-FFF2-40B4-BE49-F238E27FC236}">
                <a16:creationId xmlns:a16="http://schemas.microsoft.com/office/drawing/2014/main" id="{89B0BFCE-8D31-4AEA-A9E8-13968696D128}"/>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F5871B5-6D68-4448-BA19-573328490760}"/>
              </a:ext>
            </a:extLst>
          </p:cNvPr>
          <p:cNvGrpSpPr>
            <a:grpSpLocks noChangeAspect="1"/>
          </p:cNvGrpSpPr>
          <p:nvPr/>
        </p:nvGrpSpPr>
        <p:grpSpPr>
          <a:xfrm>
            <a:off x="6284780" y="1483567"/>
            <a:ext cx="2682852" cy="2664000"/>
            <a:chOff x="8169276" y="2006600"/>
            <a:chExt cx="3614737" cy="3589337"/>
          </a:xfrm>
        </p:grpSpPr>
        <p:sp>
          <p:nvSpPr>
            <p:cNvPr id="106" name="Freeform 18">
              <a:extLst>
                <a:ext uri="{FF2B5EF4-FFF2-40B4-BE49-F238E27FC236}">
                  <a16:creationId xmlns:a16="http://schemas.microsoft.com/office/drawing/2014/main" id="{CB36CC61-0538-46A2-9A7D-BB28EAB0E4B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 name="Freeform 15">
              <a:extLst>
                <a:ext uri="{FF2B5EF4-FFF2-40B4-BE49-F238E27FC236}">
                  <a16:creationId xmlns:a16="http://schemas.microsoft.com/office/drawing/2014/main" id="{CB63759B-EB98-44B2-BB23-FA5C3EBE347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 name="Oval 16">
              <a:extLst>
                <a:ext uri="{FF2B5EF4-FFF2-40B4-BE49-F238E27FC236}">
                  <a16:creationId xmlns:a16="http://schemas.microsoft.com/office/drawing/2014/main" id="{60B78463-66BC-4737-AB91-722B77AEF91F}"/>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 name="Freeform 17">
              <a:extLst>
                <a:ext uri="{FF2B5EF4-FFF2-40B4-BE49-F238E27FC236}">
                  <a16:creationId xmlns:a16="http://schemas.microsoft.com/office/drawing/2014/main" id="{F215C7A7-F193-447A-9040-CED0035C36EA}"/>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 name="Freeform 19">
              <a:extLst>
                <a:ext uri="{FF2B5EF4-FFF2-40B4-BE49-F238E27FC236}">
                  <a16:creationId xmlns:a16="http://schemas.microsoft.com/office/drawing/2014/main" id="{0361B509-5245-4F98-8F23-9321968DE19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 name="Rectangle 122">
              <a:extLst>
                <a:ext uri="{FF2B5EF4-FFF2-40B4-BE49-F238E27FC236}">
                  <a16:creationId xmlns:a16="http://schemas.microsoft.com/office/drawing/2014/main" id="{8F03FBBA-DAE0-47B1-A913-FFD3AA8A4E53}"/>
                </a:ext>
              </a:extLst>
            </p:cNvPr>
            <p:cNvSpPr/>
            <p:nvPr/>
          </p:nvSpPr>
          <p:spPr>
            <a:xfrm>
              <a:off x="8702410" y="3780553"/>
              <a:ext cx="2483384" cy="307777"/>
            </a:xfrm>
            <a:prstGeom prst="rect">
              <a:avLst/>
            </a:prstGeom>
            <a:no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124" name="Group 123">
            <a:extLst>
              <a:ext uri="{FF2B5EF4-FFF2-40B4-BE49-F238E27FC236}">
                <a16:creationId xmlns:a16="http://schemas.microsoft.com/office/drawing/2014/main" id="{CDB6444C-9481-4583-A299-A00D78BDA259}"/>
              </a:ext>
            </a:extLst>
          </p:cNvPr>
          <p:cNvGrpSpPr>
            <a:grpSpLocks noChangeAspect="1"/>
          </p:cNvGrpSpPr>
          <p:nvPr/>
        </p:nvGrpSpPr>
        <p:grpSpPr>
          <a:xfrm>
            <a:off x="6907219" y="2301679"/>
            <a:ext cx="1394668" cy="1037191"/>
            <a:chOff x="669340" y="1602428"/>
            <a:chExt cx="395714" cy="294286"/>
          </a:xfrm>
        </p:grpSpPr>
        <p:sp>
          <p:nvSpPr>
            <p:cNvPr id="125" name="Freeform 46">
              <a:extLst>
                <a:ext uri="{FF2B5EF4-FFF2-40B4-BE49-F238E27FC236}">
                  <a16:creationId xmlns:a16="http://schemas.microsoft.com/office/drawing/2014/main" id="{AC0D1F4A-3EAC-4335-B3C3-6B933D051631}"/>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7">
              <a:extLst>
                <a:ext uri="{FF2B5EF4-FFF2-40B4-BE49-F238E27FC236}">
                  <a16:creationId xmlns:a16="http://schemas.microsoft.com/office/drawing/2014/main" id="{88DC8FA0-A636-43E6-8750-F1E64649A72C}"/>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48">
              <a:extLst>
                <a:ext uri="{FF2B5EF4-FFF2-40B4-BE49-F238E27FC236}">
                  <a16:creationId xmlns:a16="http://schemas.microsoft.com/office/drawing/2014/main" id="{8895B104-48FF-4BBA-9852-72F11FB9C172}"/>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9">
              <a:extLst>
                <a:ext uri="{FF2B5EF4-FFF2-40B4-BE49-F238E27FC236}">
                  <a16:creationId xmlns:a16="http://schemas.microsoft.com/office/drawing/2014/main" id="{860AFAB3-D158-4929-A71D-107B94D4CB74}"/>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0">
              <a:extLst>
                <a:ext uri="{FF2B5EF4-FFF2-40B4-BE49-F238E27FC236}">
                  <a16:creationId xmlns:a16="http://schemas.microsoft.com/office/drawing/2014/main" id="{215A9A70-9E4F-4157-943C-87266CA0336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51">
              <a:extLst>
                <a:ext uri="{FF2B5EF4-FFF2-40B4-BE49-F238E27FC236}">
                  <a16:creationId xmlns:a16="http://schemas.microsoft.com/office/drawing/2014/main" id="{B57B4A66-C197-44DE-9459-EBF9E5107A0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1" name="Rectangle 130">
            <a:extLst>
              <a:ext uri="{FF2B5EF4-FFF2-40B4-BE49-F238E27FC236}">
                <a16:creationId xmlns:a16="http://schemas.microsoft.com/office/drawing/2014/main" id="{11F9AD39-1C2A-4ABB-AAB8-EE9E2C852ACC}"/>
              </a:ext>
            </a:extLst>
          </p:cNvPr>
          <p:cNvSpPr/>
          <p:nvPr/>
        </p:nvSpPr>
        <p:spPr>
          <a:xfrm>
            <a:off x="6141455" y="4260669"/>
            <a:ext cx="2736000" cy="1569660"/>
          </a:xfrm>
          <a:prstGeom prst="rect">
            <a:avLst/>
          </a:prstGeom>
        </p:spPr>
        <p:txBody>
          <a:bodyPr wrap="square">
            <a:spAutoFit/>
          </a:bodyPr>
          <a:lstStyle/>
          <a:p>
            <a:pPr algn="ctr"/>
            <a:r>
              <a:rPr lang="en-IN" sz="1600" b="1" dirty="0"/>
              <a:t>Open platform </a:t>
            </a:r>
          </a:p>
          <a:p>
            <a:pPr algn="ctr"/>
            <a:r>
              <a:rPr lang="en-IN" sz="1600" b="1" dirty="0"/>
              <a:t>is the way forward </a:t>
            </a:r>
            <a:r>
              <a:rPr lang="en-IN" sz="1600" dirty="0"/>
              <a:t>for wealth management firms to </a:t>
            </a:r>
            <a:r>
              <a:rPr lang="en-IN" sz="1600" b="1" dirty="0"/>
              <a:t>optimize</a:t>
            </a:r>
            <a:r>
              <a:rPr lang="en-IN" sz="1600" dirty="0"/>
              <a:t> </a:t>
            </a:r>
          </a:p>
          <a:p>
            <a:pPr algn="ctr"/>
            <a:r>
              <a:rPr lang="en-IN" sz="1600" dirty="0"/>
              <a:t>operating model and </a:t>
            </a:r>
          </a:p>
          <a:p>
            <a:pPr algn="ctr"/>
            <a:r>
              <a:rPr lang="en-IN" sz="1600" dirty="0"/>
              <a:t>cost structures</a:t>
            </a:r>
            <a:endParaRPr lang="en-US" sz="1600" dirty="0"/>
          </a:p>
        </p:txBody>
      </p:sp>
    </p:spTree>
    <p:extLst>
      <p:ext uri="{BB962C8B-B14F-4D97-AF65-F5344CB8AC3E}">
        <p14:creationId xmlns:p14="http://schemas.microsoft.com/office/powerpoint/2010/main" val="23560308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Danger – perfect storm is building up</a:t>
            </a:r>
          </a:p>
        </p:txBody>
      </p:sp>
      <p:sp>
        <p:nvSpPr>
          <p:cNvPr id="54" name="Text Box 1031">
            <a:extLst>
              <a:ext uri="{FF2B5EF4-FFF2-40B4-BE49-F238E27FC236}">
                <a16:creationId xmlns:a16="http://schemas.microsoft.com/office/drawing/2014/main" id="{B40C7E1A-5764-4C82-A18E-7DFA4A9A4F3D}"/>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Disruptors to the wealth management industry, Mar</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Apr 2020 (global)</a:t>
            </a:r>
          </a:p>
        </p:txBody>
      </p:sp>
      <p:sp>
        <p:nvSpPr>
          <p:cNvPr id="142" name="Rectangle 141">
            <a:extLst>
              <a:ext uri="{FF2B5EF4-FFF2-40B4-BE49-F238E27FC236}">
                <a16:creationId xmlns:a16="http://schemas.microsoft.com/office/drawing/2014/main" id="{7B2A6AB6-A494-4162-B373-50C0FB5ED66A}"/>
              </a:ext>
            </a:extLst>
          </p:cNvPr>
          <p:cNvSpPr/>
          <p:nvPr/>
        </p:nvSpPr>
        <p:spPr>
          <a:xfrm>
            <a:off x="0" y="6005185"/>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gile, adaptive, fast are no more just buzzwords – act now. </a:t>
            </a:r>
          </a:p>
        </p:txBody>
      </p:sp>
      <p:sp>
        <p:nvSpPr>
          <p:cNvPr id="116" name="Rectangle 115">
            <a:extLst>
              <a:ext uri="{FF2B5EF4-FFF2-40B4-BE49-F238E27FC236}">
                <a16:creationId xmlns:a16="http://schemas.microsoft.com/office/drawing/2014/main" id="{4AE05963-2C20-4B84-B48B-4DD5B8D8ADCE}"/>
              </a:ext>
            </a:extLst>
          </p:cNvPr>
          <p:cNvSpPr>
            <a:spLocks noChangeArrowheads="1"/>
          </p:cNvSpPr>
          <p:nvPr>
            <p:custDataLst>
              <p:tags r:id="rId1"/>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a:t>
            </a:r>
            <a:r>
              <a:rPr lang="en-US" sz="800" dirty="0" err="1"/>
              <a:t>Capgemini</a:t>
            </a:r>
            <a:r>
              <a:rPr lang="en-US" sz="800" dirty="0"/>
              <a:t> Financial Services Analysis, 2020; WWR 2020 Executive Interviews, 2020.</a:t>
            </a:r>
          </a:p>
        </p:txBody>
      </p:sp>
      <p:grpSp>
        <p:nvGrpSpPr>
          <p:cNvPr id="6" name="Group 5">
            <a:extLst>
              <a:ext uri="{FF2B5EF4-FFF2-40B4-BE49-F238E27FC236}">
                <a16:creationId xmlns:a16="http://schemas.microsoft.com/office/drawing/2014/main" id="{274C3BA9-C2C7-4B98-B87A-FAEFC9D7FD40}"/>
              </a:ext>
            </a:extLst>
          </p:cNvPr>
          <p:cNvGrpSpPr/>
          <p:nvPr/>
        </p:nvGrpSpPr>
        <p:grpSpPr>
          <a:xfrm>
            <a:off x="2339" y="1186813"/>
            <a:ext cx="12246541" cy="5011055"/>
            <a:chOff x="2339" y="1186813"/>
            <a:chExt cx="12246541" cy="5011055"/>
          </a:xfrm>
        </p:grpSpPr>
        <p:pic>
          <p:nvPicPr>
            <p:cNvPr id="4" name="Graphic 3" descr="Lightning">
              <a:extLst>
                <a:ext uri="{FF2B5EF4-FFF2-40B4-BE49-F238E27FC236}">
                  <a16:creationId xmlns:a16="http://schemas.microsoft.com/office/drawing/2014/main" id="{4F3F8230-3005-4A9F-93E5-B51E1D526355}"/>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9" y="1242391"/>
              <a:ext cx="1880207" cy="1880207"/>
            </a:xfrm>
            <a:prstGeom prst="rect">
              <a:avLst/>
            </a:prstGeom>
          </p:spPr>
        </p:pic>
        <p:pic>
          <p:nvPicPr>
            <p:cNvPr id="90" name="Graphic 89" descr="Lightning">
              <a:extLst>
                <a:ext uri="{FF2B5EF4-FFF2-40B4-BE49-F238E27FC236}">
                  <a16:creationId xmlns:a16="http://schemas.microsoft.com/office/drawing/2014/main" id="{E203D2A7-0BEA-490E-917E-D57062B5C199}"/>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54444" y="1186813"/>
              <a:ext cx="1880207" cy="1880207"/>
            </a:xfrm>
            <a:prstGeom prst="rect">
              <a:avLst/>
            </a:prstGeom>
          </p:spPr>
        </p:pic>
        <p:pic>
          <p:nvPicPr>
            <p:cNvPr id="91" name="Graphic 90" descr="Lightning">
              <a:extLst>
                <a:ext uri="{FF2B5EF4-FFF2-40B4-BE49-F238E27FC236}">
                  <a16:creationId xmlns:a16="http://schemas.microsoft.com/office/drawing/2014/main" id="{2CDE6EB1-93B5-4673-A44E-ED54445CFDD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68673" y="4317661"/>
              <a:ext cx="1880207" cy="1880207"/>
            </a:xfrm>
            <a:prstGeom prst="rect">
              <a:avLst/>
            </a:prstGeom>
          </p:spPr>
        </p:pic>
      </p:grpSp>
      <p:sp>
        <p:nvSpPr>
          <p:cNvPr id="5" name="TextBox 4">
            <a:extLst>
              <a:ext uri="{FF2B5EF4-FFF2-40B4-BE49-F238E27FC236}">
                <a16:creationId xmlns:a16="http://schemas.microsoft.com/office/drawing/2014/main" id="{5683250C-8AAC-476A-9F4B-EB21712EF86B}"/>
              </a:ext>
            </a:extLst>
          </p:cNvPr>
          <p:cNvSpPr txBox="1"/>
          <p:nvPr/>
        </p:nvSpPr>
        <p:spPr>
          <a:xfrm>
            <a:off x="381570" y="1952054"/>
            <a:ext cx="1060619" cy="276999"/>
          </a:xfrm>
          <a:prstGeom prst="rect">
            <a:avLst/>
          </a:prstGeom>
          <a:noFill/>
        </p:spPr>
        <p:txBody>
          <a:bodyPr wrap="square" rtlCol="0">
            <a:spAutoFit/>
          </a:bodyPr>
          <a:lstStyle/>
          <a:p>
            <a:pPr algn="ctr"/>
            <a:r>
              <a:rPr lang="en-IN" sz="1200" b="1" dirty="0">
                <a:solidFill>
                  <a:schemeClr val="bg1"/>
                </a:solidFill>
              </a:rPr>
              <a:t>Economy</a:t>
            </a:r>
            <a:endParaRPr lang="en-US" sz="1200" b="1" dirty="0">
              <a:solidFill>
                <a:schemeClr val="bg1"/>
              </a:solidFill>
            </a:endParaRPr>
          </a:p>
        </p:txBody>
      </p:sp>
      <p:sp>
        <p:nvSpPr>
          <p:cNvPr id="93" name="TextBox 92">
            <a:extLst>
              <a:ext uri="{FF2B5EF4-FFF2-40B4-BE49-F238E27FC236}">
                <a16:creationId xmlns:a16="http://schemas.microsoft.com/office/drawing/2014/main" id="{9B283141-C9CE-4C97-84A3-FE8062E053A0}"/>
              </a:ext>
            </a:extLst>
          </p:cNvPr>
          <p:cNvSpPr txBox="1"/>
          <p:nvPr/>
        </p:nvSpPr>
        <p:spPr>
          <a:xfrm>
            <a:off x="10575510" y="1866329"/>
            <a:ext cx="1234178" cy="276999"/>
          </a:xfrm>
          <a:prstGeom prst="rect">
            <a:avLst/>
          </a:prstGeom>
          <a:noFill/>
        </p:spPr>
        <p:txBody>
          <a:bodyPr wrap="square" rtlCol="0">
            <a:spAutoFit/>
          </a:bodyPr>
          <a:lstStyle/>
          <a:p>
            <a:pPr algn="ctr"/>
            <a:r>
              <a:rPr lang="en-IN" sz="1200" b="1" dirty="0">
                <a:solidFill>
                  <a:schemeClr val="bg1"/>
                </a:solidFill>
              </a:rPr>
              <a:t>Competition</a:t>
            </a:r>
            <a:endParaRPr lang="en-US" sz="1200" b="1" dirty="0">
              <a:solidFill>
                <a:schemeClr val="bg1"/>
              </a:solidFill>
            </a:endParaRPr>
          </a:p>
        </p:txBody>
      </p:sp>
      <p:sp>
        <p:nvSpPr>
          <p:cNvPr id="94" name="TextBox 93">
            <a:extLst>
              <a:ext uri="{FF2B5EF4-FFF2-40B4-BE49-F238E27FC236}">
                <a16:creationId xmlns:a16="http://schemas.microsoft.com/office/drawing/2014/main" id="{349573F0-B517-4DA3-93DE-58E5EA48F450}"/>
              </a:ext>
            </a:extLst>
          </p:cNvPr>
          <p:cNvSpPr txBox="1"/>
          <p:nvPr/>
        </p:nvSpPr>
        <p:spPr>
          <a:xfrm>
            <a:off x="10585607" y="5008769"/>
            <a:ext cx="1459381" cy="276999"/>
          </a:xfrm>
          <a:prstGeom prst="rect">
            <a:avLst/>
          </a:prstGeom>
          <a:noFill/>
        </p:spPr>
        <p:txBody>
          <a:bodyPr wrap="square" rtlCol="0">
            <a:spAutoFit/>
          </a:bodyPr>
          <a:lstStyle/>
          <a:p>
            <a:pPr algn="ctr"/>
            <a:r>
              <a:rPr lang="en-IN" sz="1200" b="1" dirty="0">
                <a:solidFill>
                  <a:schemeClr val="bg1"/>
                </a:solidFill>
              </a:rPr>
              <a:t>Expectations</a:t>
            </a:r>
            <a:endParaRPr lang="en-US" sz="1200" b="1" dirty="0">
              <a:solidFill>
                <a:schemeClr val="bg1"/>
              </a:solidFill>
            </a:endParaRPr>
          </a:p>
        </p:txBody>
      </p:sp>
      <p:sp>
        <p:nvSpPr>
          <p:cNvPr id="245" name="Donut 66">
            <a:extLst>
              <a:ext uri="{FF2B5EF4-FFF2-40B4-BE49-F238E27FC236}">
                <a16:creationId xmlns:a16="http://schemas.microsoft.com/office/drawing/2014/main" id="{6CDC7600-AD2A-4219-8569-88BE8C4812FD}"/>
              </a:ext>
            </a:extLst>
          </p:cNvPr>
          <p:cNvSpPr/>
          <p:nvPr/>
        </p:nvSpPr>
        <p:spPr>
          <a:xfrm>
            <a:off x="4885947" y="2662787"/>
            <a:ext cx="2240971" cy="2218784"/>
          </a:xfrm>
          <a:prstGeom prst="donut">
            <a:avLst>
              <a:gd name="adj" fmla="val 8289"/>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6" name="Oval 245">
            <a:extLst>
              <a:ext uri="{FF2B5EF4-FFF2-40B4-BE49-F238E27FC236}">
                <a16:creationId xmlns:a16="http://schemas.microsoft.com/office/drawing/2014/main" id="{0571AEE8-C6BB-44A9-9DB6-9A1444D5394A}"/>
              </a:ext>
            </a:extLst>
          </p:cNvPr>
          <p:cNvSpPr>
            <a:spLocks noChangeArrowheads="1"/>
          </p:cNvSpPr>
          <p:nvPr/>
        </p:nvSpPr>
        <p:spPr bwMode="auto">
          <a:xfrm>
            <a:off x="5164948" y="2945441"/>
            <a:ext cx="1682970" cy="1653476"/>
          </a:xfrm>
          <a:prstGeom prst="ellipse">
            <a:avLst/>
          </a:prstGeom>
          <a:solidFill>
            <a:schemeClr val="bg2"/>
          </a:solidFill>
          <a:ln>
            <a:noFill/>
          </a:ln>
        </p:spPr>
        <p:txBody>
          <a:bodyPr vert="horz" wrap="square" lIns="0" tIns="0" rIns="0" bIns="0" numCol="1" anchor="ctr" anchorCtr="0" compatLnSpc="1">
            <a:prstTxWarp prst="textNoShape">
              <a:avLst/>
            </a:prstTxWarp>
          </a:bodyPr>
          <a:lstStyle/>
          <a:p>
            <a:pPr algn="ctr"/>
            <a:r>
              <a:rPr lang="en-IN" sz="1200" b="1" dirty="0"/>
              <a:t>Wealth management industry disruptors</a:t>
            </a:r>
            <a:endParaRPr lang="en-US" sz="1200" b="1" dirty="0"/>
          </a:p>
        </p:txBody>
      </p:sp>
      <p:grpSp>
        <p:nvGrpSpPr>
          <p:cNvPr id="3" name="Group 2">
            <a:extLst>
              <a:ext uri="{FF2B5EF4-FFF2-40B4-BE49-F238E27FC236}">
                <a16:creationId xmlns:a16="http://schemas.microsoft.com/office/drawing/2014/main" id="{454665E3-B019-4994-87F9-AFDE9F34078F}"/>
              </a:ext>
            </a:extLst>
          </p:cNvPr>
          <p:cNvGrpSpPr/>
          <p:nvPr/>
        </p:nvGrpSpPr>
        <p:grpSpPr>
          <a:xfrm>
            <a:off x="1762441" y="1247775"/>
            <a:ext cx="8195776" cy="1896869"/>
            <a:chOff x="1762441" y="1247775"/>
            <a:chExt cx="8195776" cy="1896869"/>
          </a:xfrm>
        </p:grpSpPr>
        <p:sp>
          <p:nvSpPr>
            <p:cNvPr id="247" name="Rectangle 246">
              <a:extLst>
                <a:ext uri="{FF2B5EF4-FFF2-40B4-BE49-F238E27FC236}">
                  <a16:creationId xmlns:a16="http://schemas.microsoft.com/office/drawing/2014/main" id="{DA7EA5FC-CD88-41BB-B46B-8F0F3C799E80}"/>
                </a:ext>
              </a:extLst>
            </p:cNvPr>
            <p:cNvSpPr/>
            <p:nvPr/>
          </p:nvSpPr>
          <p:spPr>
            <a:xfrm>
              <a:off x="5164947" y="1247775"/>
              <a:ext cx="1539009" cy="864175"/>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Rectangle 248">
              <a:extLst>
                <a:ext uri="{FF2B5EF4-FFF2-40B4-BE49-F238E27FC236}">
                  <a16:creationId xmlns:a16="http://schemas.microsoft.com/office/drawing/2014/main" id="{991124CE-0C57-4B51-A30A-6A0E56268CBB}"/>
                </a:ext>
              </a:extLst>
            </p:cNvPr>
            <p:cNvSpPr/>
            <p:nvPr/>
          </p:nvSpPr>
          <p:spPr>
            <a:xfrm>
              <a:off x="6664605" y="2088363"/>
              <a:ext cx="3292699" cy="762114"/>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0" name="Rectangle 249">
              <a:extLst>
                <a:ext uri="{FF2B5EF4-FFF2-40B4-BE49-F238E27FC236}">
                  <a16:creationId xmlns:a16="http://schemas.microsoft.com/office/drawing/2014/main" id="{4BDD82DF-5142-49D9-B297-7FB077986BC5}"/>
                </a:ext>
              </a:extLst>
            </p:cNvPr>
            <p:cNvSpPr/>
            <p:nvPr/>
          </p:nvSpPr>
          <p:spPr>
            <a:xfrm>
              <a:off x="1762441" y="2088363"/>
              <a:ext cx="3569047" cy="762114"/>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Freeform 119">
              <a:extLst>
                <a:ext uri="{FF2B5EF4-FFF2-40B4-BE49-F238E27FC236}">
                  <a16:creationId xmlns:a16="http://schemas.microsoft.com/office/drawing/2014/main" id="{CA6283DA-6AB3-4C8D-A67F-2B46312763B8}"/>
                </a:ext>
              </a:extLst>
            </p:cNvPr>
            <p:cNvSpPr>
              <a:spLocks/>
            </p:cNvSpPr>
            <p:nvPr/>
          </p:nvSpPr>
          <p:spPr bwMode="auto">
            <a:xfrm>
              <a:off x="5409188" y="1963134"/>
              <a:ext cx="1197969" cy="888432"/>
            </a:xfrm>
            <a:custGeom>
              <a:avLst/>
              <a:gdLst>
                <a:gd name="T0" fmla="*/ 191 w 478"/>
                <a:gd name="T1" fmla="*/ 358 h 358"/>
                <a:gd name="T2" fmla="*/ 239 w 478"/>
                <a:gd name="T3" fmla="*/ 355 h 358"/>
                <a:gd name="T4" fmla="*/ 287 w 478"/>
                <a:gd name="T5" fmla="*/ 358 h 358"/>
                <a:gd name="T6" fmla="*/ 478 w 478"/>
                <a:gd name="T7" fmla="*/ 40 h 358"/>
                <a:gd name="T8" fmla="*/ 239 w 478"/>
                <a:gd name="T9" fmla="*/ 0 h 358"/>
                <a:gd name="T10" fmla="*/ 0 w 478"/>
                <a:gd name="T11" fmla="*/ 40 h 358"/>
                <a:gd name="T12" fmla="*/ 191 w 478"/>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478" h="358">
                  <a:moveTo>
                    <a:pt x="191" y="358"/>
                  </a:moveTo>
                  <a:cubicBezTo>
                    <a:pt x="206" y="356"/>
                    <a:pt x="222" y="355"/>
                    <a:pt x="239" y="355"/>
                  </a:cubicBezTo>
                  <a:cubicBezTo>
                    <a:pt x="255" y="355"/>
                    <a:pt x="271" y="356"/>
                    <a:pt x="287" y="358"/>
                  </a:cubicBezTo>
                  <a:cubicBezTo>
                    <a:pt x="478" y="40"/>
                    <a:pt x="478" y="40"/>
                    <a:pt x="478" y="40"/>
                  </a:cubicBezTo>
                  <a:cubicBezTo>
                    <a:pt x="403" y="14"/>
                    <a:pt x="322" y="0"/>
                    <a:pt x="239" y="0"/>
                  </a:cubicBezTo>
                  <a:cubicBezTo>
                    <a:pt x="155" y="0"/>
                    <a:pt x="75" y="14"/>
                    <a:pt x="0" y="40"/>
                  </a:cubicBezTo>
                  <a:lnTo>
                    <a:pt x="191" y="358"/>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120">
              <a:extLst>
                <a:ext uri="{FF2B5EF4-FFF2-40B4-BE49-F238E27FC236}">
                  <a16:creationId xmlns:a16="http://schemas.microsoft.com/office/drawing/2014/main" id="{2345816A-01F0-4E9A-8CFC-39C12BA2D1F5}"/>
                </a:ext>
              </a:extLst>
            </p:cNvPr>
            <p:cNvSpPr>
              <a:spLocks/>
            </p:cNvSpPr>
            <p:nvPr/>
          </p:nvSpPr>
          <p:spPr bwMode="auto">
            <a:xfrm>
              <a:off x="4438740" y="2082664"/>
              <a:ext cx="1063314" cy="1061980"/>
            </a:xfrm>
            <a:custGeom>
              <a:avLst/>
              <a:gdLst>
                <a:gd name="T0" fmla="*/ 351 w 424"/>
                <a:gd name="T1" fmla="*/ 428 h 428"/>
                <a:gd name="T2" fmla="*/ 385 w 424"/>
                <a:gd name="T3" fmla="*/ 395 h 428"/>
                <a:gd name="T4" fmla="*/ 424 w 424"/>
                <a:gd name="T5" fmla="*/ 366 h 428"/>
                <a:gd name="T6" fmla="*/ 366 w 424"/>
                <a:gd name="T7" fmla="*/ 0 h 428"/>
                <a:gd name="T8" fmla="*/ 157 w 424"/>
                <a:gd name="T9" fmla="*/ 122 h 428"/>
                <a:gd name="T10" fmla="*/ 0 w 424"/>
                <a:gd name="T11" fmla="*/ 307 h 428"/>
                <a:gd name="T12" fmla="*/ 351 w 42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424" h="428">
                  <a:moveTo>
                    <a:pt x="351" y="428"/>
                  </a:moveTo>
                  <a:cubicBezTo>
                    <a:pt x="361" y="416"/>
                    <a:pt x="373" y="405"/>
                    <a:pt x="385" y="395"/>
                  </a:cubicBezTo>
                  <a:cubicBezTo>
                    <a:pt x="398" y="384"/>
                    <a:pt x="411" y="375"/>
                    <a:pt x="424" y="366"/>
                  </a:cubicBezTo>
                  <a:cubicBezTo>
                    <a:pt x="366" y="0"/>
                    <a:pt x="366" y="0"/>
                    <a:pt x="366" y="0"/>
                  </a:cubicBezTo>
                  <a:cubicBezTo>
                    <a:pt x="292" y="28"/>
                    <a:pt x="221" y="69"/>
                    <a:pt x="157" y="122"/>
                  </a:cubicBezTo>
                  <a:cubicBezTo>
                    <a:pt x="93" y="176"/>
                    <a:pt x="40" y="239"/>
                    <a:pt x="0" y="307"/>
                  </a:cubicBezTo>
                  <a:lnTo>
                    <a:pt x="351" y="428"/>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27">
              <a:extLst>
                <a:ext uri="{FF2B5EF4-FFF2-40B4-BE49-F238E27FC236}">
                  <a16:creationId xmlns:a16="http://schemas.microsoft.com/office/drawing/2014/main" id="{08729D6D-4E33-4A47-A156-C1E494755219}"/>
                </a:ext>
              </a:extLst>
            </p:cNvPr>
            <p:cNvSpPr>
              <a:spLocks/>
            </p:cNvSpPr>
            <p:nvPr/>
          </p:nvSpPr>
          <p:spPr bwMode="auto">
            <a:xfrm>
              <a:off x="6511970" y="2082664"/>
              <a:ext cx="1064475" cy="1061980"/>
            </a:xfrm>
            <a:custGeom>
              <a:avLst/>
              <a:gdLst>
                <a:gd name="T0" fmla="*/ 0 w 425"/>
                <a:gd name="T1" fmla="*/ 366 h 428"/>
                <a:gd name="T2" fmla="*/ 39 w 425"/>
                <a:gd name="T3" fmla="*/ 395 h 428"/>
                <a:gd name="T4" fmla="*/ 74 w 425"/>
                <a:gd name="T5" fmla="*/ 428 h 428"/>
                <a:gd name="T6" fmla="*/ 425 w 425"/>
                <a:gd name="T7" fmla="*/ 307 h 428"/>
                <a:gd name="T8" fmla="*/ 267 w 425"/>
                <a:gd name="T9" fmla="*/ 122 h 428"/>
                <a:gd name="T10" fmla="*/ 58 w 425"/>
                <a:gd name="T11" fmla="*/ 0 h 428"/>
                <a:gd name="T12" fmla="*/ 0 w 425"/>
                <a:gd name="T13" fmla="*/ 366 h 428"/>
              </a:gdLst>
              <a:ahLst/>
              <a:cxnLst>
                <a:cxn ang="0">
                  <a:pos x="T0" y="T1"/>
                </a:cxn>
                <a:cxn ang="0">
                  <a:pos x="T2" y="T3"/>
                </a:cxn>
                <a:cxn ang="0">
                  <a:pos x="T4" y="T5"/>
                </a:cxn>
                <a:cxn ang="0">
                  <a:pos x="T6" y="T7"/>
                </a:cxn>
                <a:cxn ang="0">
                  <a:pos x="T8" y="T9"/>
                </a:cxn>
                <a:cxn ang="0">
                  <a:pos x="T10" y="T11"/>
                </a:cxn>
                <a:cxn ang="0">
                  <a:pos x="T12" y="T13"/>
                </a:cxn>
              </a:cxnLst>
              <a:rect l="0" t="0" r="r" b="b"/>
              <a:pathLst>
                <a:path w="425" h="428">
                  <a:moveTo>
                    <a:pt x="0" y="366"/>
                  </a:moveTo>
                  <a:cubicBezTo>
                    <a:pt x="13" y="375"/>
                    <a:pt x="26" y="384"/>
                    <a:pt x="39" y="395"/>
                  </a:cubicBezTo>
                  <a:cubicBezTo>
                    <a:pt x="51" y="405"/>
                    <a:pt x="63" y="416"/>
                    <a:pt x="74" y="428"/>
                  </a:cubicBezTo>
                  <a:cubicBezTo>
                    <a:pt x="425" y="307"/>
                    <a:pt x="425" y="307"/>
                    <a:pt x="425" y="307"/>
                  </a:cubicBezTo>
                  <a:cubicBezTo>
                    <a:pt x="384" y="239"/>
                    <a:pt x="331" y="176"/>
                    <a:pt x="267" y="122"/>
                  </a:cubicBezTo>
                  <a:cubicBezTo>
                    <a:pt x="203" y="69"/>
                    <a:pt x="132" y="28"/>
                    <a:pt x="58" y="0"/>
                  </a:cubicBezTo>
                  <a:lnTo>
                    <a:pt x="0" y="366"/>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Rectangle 254">
              <a:extLst>
                <a:ext uri="{FF2B5EF4-FFF2-40B4-BE49-F238E27FC236}">
                  <a16:creationId xmlns:a16="http://schemas.microsoft.com/office/drawing/2014/main" id="{408569EA-6717-4B2F-AE62-FB17DC1C634B}"/>
                </a:ext>
              </a:extLst>
            </p:cNvPr>
            <p:cNvSpPr/>
            <p:nvPr/>
          </p:nvSpPr>
          <p:spPr>
            <a:xfrm>
              <a:off x="7270321" y="2322033"/>
              <a:ext cx="2687896" cy="276999"/>
            </a:xfrm>
            <a:prstGeom prst="rect">
              <a:avLst/>
            </a:prstGeom>
          </p:spPr>
          <p:txBody>
            <a:bodyPr wrap="square">
              <a:spAutoFit/>
            </a:bodyPr>
            <a:lstStyle/>
            <a:p>
              <a:pPr algn="ctr"/>
              <a:r>
                <a:rPr lang="en-IN" sz="1200" dirty="0"/>
                <a:t>Global economic slowdown</a:t>
              </a:r>
            </a:p>
          </p:txBody>
        </p:sp>
        <p:sp>
          <p:nvSpPr>
            <p:cNvPr id="257" name="Rectangle 256">
              <a:extLst>
                <a:ext uri="{FF2B5EF4-FFF2-40B4-BE49-F238E27FC236}">
                  <a16:creationId xmlns:a16="http://schemas.microsoft.com/office/drawing/2014/main" id="{599F1320-8F84-49D3-AA99-88FEDF37A4A3}"/>
                </a:ext>
              </a:extLst>
            </p:cNvPr>
            <p:cNvSpPr/>
            <p:nvPr/>
          </p:nvSpPr>
          <p:spPr>
            <a:xfrm>
              <a:off x="1780830" y="2219704"/>
              <a:ext cx="2698881" cy="461665"/>
            </a:xfrm>
            <a:prstGeom prst="rect">
              <a:avLst/>
            </a:prstGeom>
          </p:spPr>
          <p:txBody>
            <a:bodyPr wrap="square">
              <a:spAutoFit/>
            </a:bodyPr>
            <a:lstStyle/>
            <a:p>
              <a:pPr algn="r"/>
              <a:r>
                <a:rPr lang="en-US" sz="1200" dirty="0"/>
                <a:t>Changing client profiles and expectations</a:t>
              </a:r>
            </a:p>
          </p:txBody>
        </p:sp>
        <p:sp>
          <p:nvSpPr>
            <p:cNvPr id="258" name="Rectangle 257">
              <a:extLst>
                <a:ext uri="{FF2B5EF4-FFF2-40B4-BE49-F238E27FC236}">
                  <a16:creationId xmlns:a16="http://schemas.microsoft.com/office/drawing/2014/main" id="{ACF7EF90-B67E-4581-A286-791A0E6E50E4}"/>
                </a:ext>
              </a:extLst>
            </p:cNvPr>
            <p:cNvSpPr/>
            <p:nvPr/>
          </p:nvSpPr>
          <p:spPr>
            <a:xfrm>
              <a:off x="5013913" y="1308236"/>
              <a:ext cx="1831847" cy="646331"/>
            </a:xfrm>
            <a:prstGeom prst="rect">
              <a:avLst/>
            </a:prstGeom>
          </p:spPr>
          <p:txBody>
            <a:bodyPr wrap="square">
              <a:spAutoFit/>
            </a:bodyPr>
            <a:lstStyle/>
            <a:p>
              <a:pPr algn="ctr"/>
              <a:r>
                <a:rPr lang="en-US" sz="1200" dirty="0"/>
                <a:t>Impact of natural events such as pandemics</a:t>
              </a:r>
            </a:p>
          </p:txBody>
        </p:sp>
        <p:pic>
          <p:nvPicPr>
            <p:cNvPr id="259" name="Picture 258">
              <a:extLst>
                <a:ext uri="{FF2B5EF4-FFF2-40B4-BE49-F238E27FC236}">
                  <a16:creationId xmlns:a16="http://schemas.microsoft.com/office/drawing/2014/main" id="{6AF48A4B-661F-492F-A98C-3CA7C3FCEF0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70364" y="2256186"/>
              <a:ext cx="490041" cy="485189"/>
            </a:xfrm>
            <a:prstGeom prst="rect">
              <a:avLst/>
            </a:prstGeom>
          </p:spPr>
        </p:pic>
        <p:sp>
          <p:nvSpPr>
            <p:cNvPr id="260" name="TextBox 259">
              <a:extLst>
                <a:ext uri="{FF2B5EF4-FFF2-40B4-BE49-F238E27FC236}">
                  <a16:creationId xmlns:a16="http://schemas.microsoft.com/office/drawing/2014/main" id="{4C79E5B9-8184-47D2-A928-3BF2A4C08396}"/>
                </a:ext>
              </a:extLst>
            </p:cNvPr>
            <p:cNvSpPr txBox="1"/>
            <p:nvPr/>
          </p:nvSpPr>
          <p:spPr>
            <a:xfrm>
              <a:off x="5665894" y="1976304"/>
              <a:ext cx="755718" cy="261610"/>
            </a:xfrm>
            <a:prstGeom prst="rect">
              <a:avLst/>
            </a:prstGeom>
            <a:noFill/>
          </p:spPr>
          <p:txBody>
            <a:bodyPr wrap="square" rtlCol="0">
              <a:spAutoFit/>
            </a:bodyPr>
            <a:lstStyle/>
            <a:p>
              <a:pPr algn="ctr"/>
              <a:r>
                <a:rPr lang="en-IN" sz="1100" b="1" dirty="0">
                  <a:solidFill>
                    <a:schemeClr val="bg1"/>
                  </a:solidFill>
                </a:rPr>
                <a:t>59%</a:t>
              </a:r>
              <a:endParaRPr lang="en-US" sz="1100" b="1" dirty="0">
                <a:solidFill>
                  <a:schemeClr val="bg1"/>
                </a:solidFill>
              </a:endParaRPr>
            </a:p>
          </p:txBody>
        </p:sp>
        <p:grpSp>
          <p:nvGrpSpPr>
            <p:cNvPr id="261" name="Groupe 185">
              <a:extLst>
                <a:ext uri="{FF2B5EF4-FFF2-40B4-BE49-F238E27FC236}">
                  <a16:creationId xmlns:a16="http://schemas.microsoft.com/office/drawing/2014/main" id="{2A7EA739-E72F-4C56-B12F-E07FA19C182B}"/>
                </a:ext>
              </a:extLst>
            </p:cNvPr>
            <p:cNvGrpSpPr/>
            <p:nvPr/>
          </p:nvGrpSpPr>
          <p:grpSpPr>
            <a:xfrm>
              <a:off x="6761111" y="2632782"/>
              <a:ext cx="360899" cy="311870"/>
              <a:chOff x="10198101" y="2388483"/>
              <a:chExt cx="449263" cy="392111"/>
            </a:xfrm>
          </p:grpSpPr>
          <p:sp>
            <p:nvSpPr>
              <p:cNvPr id="262" name="Freeform 145">
                <a:extLst>
                  <a:ext uri="{FF2B5EF4-FFF2-40B4-BE49-F238E27FC236}">
                    <a16:creationId xmlns:a16="http://schemas.microsoft.com/office/drawing/2014/main" id="{34513455-229F-446A-8AFB-82CE07C36783}"/>
                  </a:ext>
                </a:extLst>
              </p:cNvPr>
              <p:cNvSpPr>
                <a:spLocks/>
              </p:cNvSpPr>
              <p:nvPr/>
            </p:nvSpPr>
            <p:spPr bwMode="auto">
              <a:xfrm>
                <a:off x="10198101" y="2388483"/>
                <a:ext cx="449263" cy="392111"/>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63" name="Freeform 146">
                <a:extLst>
                  <a:ext uri="{FF2B5EF4-FFF2-40B4-BE49-F238E27FC236}">
                    <a16:creationId xmlns:a16="http://schemas.microsoft.com/office/drawing/2014/main" id="{6D0C5041-0890-4011-AF27-DE1C4EE950F5}"/>
                  </a:ext>
                </a:extLst>
              </p:cNvPr>
              <p:cNvSpPr>
                <a:spLocks/>
              </p:cNvSpPr>
              <p:nvPr/>
            </p:nvSpPr>
            <p:spPr bwMode="auto">
              <a:xfrm flipV="1">
                <a:off x="10269614" y="2424626"/>
                <a:ext cx="344488" cy="241299"/>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sp>
          <p:nvSpPr>
            <p:cNvPr id="264" name="TextBox 263">
              <a:extLst>
                <a:ext uri="{FF2B5EF4-FFF2-40B4-BE49-F238E27FC236}">
                  <a16:creationId xmlns:a16="http://schemas.microsoft.com/office/drawing/2014/main" id="{666B3F88-1595-46A0-8C73-A21118490475}"/>
                </a:ext>
              </a:extLst>
            </p:cNvPr>
            <p:cNvSpPr txBox="1"/>
            <p:nvPr/>
          </p:nvSpPr>
          <p:spPr>
            <a:xfrm>
              <a:off x="6478808" y="2355685"/>
              <a:ext cx="960366" cy="261610"/>
            </a:xfrm>
            <a:prstGeom prst="rect">
              <a:avLst/>
            </a:prstGeom>
            <a:noFill/>
          </p:spPr>
          <p:txBody>
            <a:bodyPr wrap="square" rtlCol="0">
              <a:spAutoFit/>
            </a:bodyPr>
            <a:lstStyle/>
            <a:p>
              <a:pPr algn="ctr"/>
              <a:r>
                <a:rPr lang="en-IN" sz="1100" b="1" dirty="0">
                  <a:solidFill>
                    <a:schemeClr val="bg1"/>
                  </a:solidFill>
                </a:rPr>
                <a:t>39%</a:t>
              </a:r>
              <a:endParaRPr lang="en-US" sz="1100" b="1" dirty="0">
                <a:solidFill>
                  <a:schemeClr val="bg1"/>
                </a:solidFill>
              </a:endParaRPr>
            </a:p>
          </p:txBody>
        </p:sp>
        <p:sp>
          <p:nvSpPr>
            <p:cNvPr id="265" name="TextBox 264">
              <a:extLst>
                <a:ext uri="{FF2B5EF4-FFF2-40B4-BE49-F238E27FC236}">
                  <a16:creationId xmlns:a16="http://schemas.microsoft.com/office/drawing/2014/main" id="{6A01E047-6A90-4267-ADE8-807F6CAEFDF6}"/>
                </a:ext>
              </a:extLst>
            </p:cNvPr>
            <p:cNvSpPr txBox="1"/>
            <p:nvPr/>
          </p:nvSpPr>
          <p:spPr>
            <a:xfrm>
              <a:off x="4602417" y="2374735"/>
              <a:ext cx="960366" cy="261610"/>
            </a:xfrm>
            <a:prstGeom prst="rect">
              <a:avLst/>
            </a:prstGeom>
            <a:noFill/>
          </p:spPr>
          <p:txBody>
            <a:bodyPr wrap="square" rtlCol="0">
              <a:spAutoFit/>
            </a:bodyPr>
            <a:lstStyle/>
            <a:p>
              <a:pPr algn="ctr"/>
              <a:r>
                <a:rPr lang="en-IN" sz="1100" b="1" dirty="0">
                  <a:solidFill>
                    <a:schemeClr val="bg1"/>
                  </a:solidFill>
                </a:rPr>
                <a:t>35%</a:t>
              </a:r>
              <a:endParaRPr lang="en-US" sz="1100" b="1" dirty="0">
                <a:solidFill>
                  <a:schemeClr val="bg1"/>
                </a:solidFill>
              </a:endParaRPr>
            </a:p>
          </p:txBody>
        </p:sp>
        <p:grpSp>
          <p:nvGrpSpPr>
            <p:cNvPr id="276" name="Groupe 177">
              <a:extLst>
                <a:ext uri="{FF2B5EF4-FFF2-40B4-BE49-F238E27FC236}">
                  <a16:creationId xmlns:a16="http://schemas.microsoft.com/office/drawing/2014/main" id="{5B6AE962-7852-47D5-8FA4-E85D7FD2B516}"/>
                </a:ext>
              </a:extLst>
            </p:cNvPr>
            <p:cNvGrpSpPr/>
            <p:nvPr/>
          </p:nvGrpSpPr>
          <p:grpSpPr>
            <a:xfrm>
              <a:off x="4944394" y="2643084"/>
              <a:ext cx="379849" cy="332751"/>
              <a:chOff x="4795838" y="2276475"/>
              <a:chExt cx="638175" cy="571499"/>
            </a:xfrm>
          </p:grpSpPr>
          <p:sp>
            <p:nvSpPr>
              <p:cNvPr id="277" name="Freeform 49">
                <a:extLst>
                  <a:ext uri="{FF2B5EF4-FFF2-40B4-BE49-F238E27FC236}">
                    <a16:creationId xmlns:a16="http://schemas.microsoft.com/office/drawing/2014/main" id="{9DBB6030-0A08-43BC-A465-9CBBBF3B0F70}"/>
                  </a:ext>
                </a:extLst>
              </p:cNvPr>
              <p:cNvSpPr>
                <a:spLocks/>
              </p:cNvSpPr>
              <p:nvPr/>
            </p:nvSpPr>
            <p:spPr bwMode="auto">
              <a:xfrm>
                <a:off x="5178426" y="2276475"/>
                <a:ext cx="176213" cy="190500"/>
              </a:xfrm>
              <a:custGeom>
                <a:avLst/>
                <a:gdLst>
                  <a:gd name="T0" fmla="*/ 25 w 47"/>
                  <a:gd name="T1" fmla="*/ 50 h 51"/>
                  <a:gd name="T2" fmla="*/ 47 w 47"/>
                  <a:gd name="T3" fmla="*/ 24 h 51"/>
                  <a:gd name="T4" fmla="*/ 24 w 47"/>
                  <a:gd name="T5" fmla="*/ 1 h 51"/>
                  <a:gd name="T6" fmla="*/ 0 w 47"/>
                  <a:gd name="T7" fmla="*/ 27 h 51"/>
                  <a:gd name="T8" fmla="*/ 25 w 47"/>
                  <a:gd name="T9" fmla="*/ 50 h 51"/>
                </a:gdLst>
                <a:ahLst/>
                <a:cxnLst>
                  <a:cxn ang="0">
                    <a:pos x="T0" y="T1"/>
                  </a:cxn>
                  <a:cxn ang="0">
                    <a:pos x="T2" y="T3"/>
                  </a:cxn>
                  <a:cxn ang="0">
                    <a:pos x="T4" y="T5"/>
                  </a:cxn>
                  <a:cxn ang="0">
                    <a:pos x="T6" y="T7"/>
                  </a:cxn>
                  <a:cxn ang="0">
                    <a:pos x="T8" y="T9"/>
                  </a:cxn>
                </a:cxnLst>
                <a:rect l="0" t="0" r="r" b="b"/>
                <a:pathLst>
                  <a:path w="47" h="51">
                    <a:moveTo>
                      <a:pt x="25" y="50"/>
                    </a:moveTo>
                    <a:cubicBezTo>
                      <a:pt x="38" y="49"/>
                      <a:pt x="47" y="37"/>
                      <a:pt x="47" y="24"/>
                    </a:cubicBezTo>
                    <a:cubicBezTo>
                      <a:pt x="47" y="10"/>
                      <a:pt x="37" y="0"/>
                      <a:pt x="24" y="1"/>
                    </a:cubicBezTo>
                    <a:cubicBezTo>
                      <a:pt x="10" y="1"/>
                      <a:pt x="0" y="13"/>
                      <a:pt x="0" y="27"/>
                    </a:cubicBezTo>
                    <a:cubicBezTo>
                      <a:pt x="0" y="41"/>
                      <a:pt x="12" y="51"/>
                      <a:pt x="25" y="5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78" name="Freeform 50">
                <a:extLst>
                  <a:ext uri="{FF2B5EF4-FFF2-40B4-BE49-F238E27FC236}">
                    <a16:creationId xmlns:a16="http://schemas.microsoft.com/office/drawing/2014/main" id="{5588AEEB-6022-4B90-A91F-862BC62801A5}"/>
                  </a:ext>
                </a:extLst>
              </p:cNvPr>
              <p:cNvSpPr>
                <a:spLocks/>
              </p:cNvSpPr>
              <p:nvPr/>
            </p:nvSpPr>
            <p:spPr bwMode="auto">
              <a:xfrm>
                <a:off x="5100638" y="2490788"/>
                <a:ext cx="333375" cy="220662"/>
              </a:xfrm>
              <a:custGeom>
                <a:avLst/>
                <a:gdLst>
                  <a:gd name="T0" fmla="*/ 0 w 89"/>
                  <a:gd name="T1" fmla="*/ 50 h 59"/>
                  <a:gd name="T2" fmla="*/ 1 w 89"/>
                  <a:gd name="T3" fmla="*/ 39 h 59"/>
                  <a:gd name="T4" fmla="*/ 33 w 89"/>
                  <a:gd name="T5" fmla="*/ 7 h 59"/>
                  <a:gd name="T6" fmla="*/ 86 w 89"/>
                  <a:gd name="T7" fmla="*/ 32 h 59"/>
                  <a:gd name="T8" fmla="*/ 73 w 89"/>
                  <a:gd name="T9" fmla="*/ 53 h 59"/>
                  <a:gd name="T10" fmla="*/ 0 w 89"/>
                  <a:gd name="T11" fmla="*/ 50 h 59"/>
                </a:gdLst>
                <a:ahLst/>
                <a:cxnLst>
                  <a:cxn ang="0">
                    <a:pos x="T0" y="T1"/>
                  </a:cxn>
                  <a:cxn ang="0">
                    <a:pos x="T2" y="T3"/>
                  </a:cxn>
                  <a:cxn ang="0">
                    <a:pos x="T4" y="T5"/>
                  </a:cxn>
                  <a:cxn ang="0">
                    <a:pos x="T6" y="T7"/>
                  </a:cxn>
                  <a:cxn ang="0">
                    <a:pos x="T8" y="T9"/>
                  </a:cxn>
                  <a:cxn ang="0">
                    <a:pos x="T10" y="T11"/>
                  </a:cxn>
                </a:cxnLst>
                <a:rect l="0" t="0" r="r" b="b"/>
                <a:pathLst>
                  <a:path w="89" h="59">
                    <a:moveTo>
                      <a:pt x="0" y="50"/>
                    </a:moveTo>
                    <a:cubicBezTo>
                      <a:pt x="0" y="47"/>
                      <a:pt x="0" y="43"/>
                      <a:pt x="1" y="39"/>
                    </a:cubicBezTo>
                    <a:cubicBezTo>
                      <a:pt x="4" y="23"/>
                      <a:pt x="17" y="10"/>
                      <a:pt x="33" y="7"/>
                    </a:cubicBezTo>
                    <a:cubicBezTo>
                      <a:pt x="63" y="0"/>
                      <a:pt x="80" y="15"/>
                      <a:pt x="86" y="32"/>
                    </a:cubicBezTo>
                    <a:cubicBezTo>
                      <a:pt x="89" y="41"/>
                      <a:pt x="83" y="51"/>
                      <a:pt x="73" y="53"/>
                    </a:cubicBezTo>
                    <a:cubicBezTo>
                      <a:pt x="39" y="59"/>
                      <a:pt x="20" y="49"/>
                      <a:pt x="0" y="5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79" name="Freeform 51">
                <a:extLst>
                  <a:ext uri="{FF2B5EF4-FFF2-40B4-BE49-F238E27FC236}">
                    <a16:creationId xmlns:a16="http://schemas.microsoft.com/office/drawing/2014/main" id="{B41F1C44-2B6D-4FE5-BDB8-948D438BD7BC}"/>
                  </a:ext>
                </a:extLst>
              </p:cNvPr>
              <p:cNvSpPr>
                <a:spLocks/>
              </p:cNvSpPr>
              <p:nvPr/>
            </p:nvSpPr>
            <p:spPr bwMode="auto">
              <a:xfrm>
                <a:off x="4859338" y="2493963"/>
                <a:ext cx="282575" cy="153987"/>
              </a:xfrm>
              <a:custGeom>
                <a:avLst/>
                <a:gdLst>
                  <a:gd name="T0" fmla="*/ 59 w 75"/>
                  <a:gd name="T1" fmla="*/ 41 h 41"/>
                  <a:gd name="T2" fmla="*/ 0 w 75"/>
                  <a:gd name="T3" fmla="*/ 21 h 41"/>
                  <a:gd name="T4" fmla="*/ 0 w 75"/>
                  <a:gd name="T5" fmla="*/ 6 h 41"/>
                  <a:gd name="T6" fmla="*/ 59 w 75"/>
                  <a:gd name="T7" fmla="*/ 41 h 41"/>
                </a:gdLst>
                <a:ahLst/>
                <a:cxnLst>
                  <a:cxn ang="0">
                    <a:pos x="T0" y="T1"/>
                  </a:cxn>
                  <a:cxn ang="0">
                    <a:pos x="T2" y="T3"/>
                  </a:cxn>
                  <a:cxn ang="0">
                    <a:pos x="T4" y="T5"/>
                  </a:cxn>
                  <a:cxn ang="0">
                    <a:pos x="T6" y="T7"/>
                  </a:cxn>
                </a:cxnLst>
                <a:rect l="0" t="0" r="r" b="b"/>
                <a:pathLst>
                  <a:path w="75" h="41">
                    <a:moveTo>
                      <a:pt x="59" y="41"/>
                    </a:moveTo>
                    <a:cubicBezTo>
                      <a:pt x="61" y="18"/>
                      <a:pt x="50" y="17"/>
                      <a:pt x="0" y="21"/>
                    </a:cubicBezTo>
                    <a:cubicBezTo>
                      <a:pt x="0" y="6"/>
                      <a:pt x="0" y="6"/>
                      <a:pt x="0" y="6"/>
                    </a:cubicBezTo>
                    <a:cubicBezTo>
                      <a:pt x="49" y="0"/>
                      <a:pt x="75" y="8"/>
                      <a:pt x="59" y="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0" name="Freeform 52">
                <a:extLst>
                  <a:ext uri="{FF2B5EF4-FFF2-40B4-BE49-F238E27FC236}">
                    <a16:creationId xmlns:a16="http://schemas.microsoft.com/office/drawing/2014/main" id="{EBA42014-9855-49E6-A64A-67E17F98031A}"/>
                  </a:ext>
                </a:extLst>
              </p:cNvPr>
              <p:cNvSpPr>
                <a:spLocks/>
              </p:cNvSpPr>
              <p:nvPr/>
            </p:nvSpPr>
            <p:spPr bwMode="auto">
              <a:xfrm>
                <a:off x="4795838" y="2471738"/>
                <a:ext cx="157163" cy="146050"/>
              </a:xfrm>
              <a:custGeom>
                <a:avLst/>
                <a:gdLst>
                  <a:gd name="T0" fmla="*/ 34 w 42"/>
                  <a:gd name="T1" fmla="*/ 39 h 39"/>
                  <a:gd name="T2" fmla="*/ 0 w 42"/>
                  <a:gd name="T3" fmla="*/ 20 h 39"/>
                  <a:gd name="T4" fmla="*/ 34 w 42"/>
                  <a:gd name="T5" fmla="*/ 0 h 39"/>
                  <a:gd name="T6" fmla="*/ 34 w 42"/>
                  <a:gd name="T7" fmla="*/ 39 h 39"/>
                </a:gdLst>
                <a:ahLst/>
                <a:cxnLst>
                  <a:cxn ang="0">
                    <a:pos x="T0" y="T1"/>
                  </a:cxn>
                  <a:cxn ang="0">
                    <a:pos x="T2" y="T3"/>
                  </a:cxn>
                  <a:cxn ang="0">
                    <a:pos x="T4" y="T5"/>
                  </a:cxn>
                  <a:cxn ang="0">
                    <a:pos x="T6" y="T7"/>
                  </a:cxn>
                </a:cxnLst>
                <a:rect l="0" t="0" r="r" b="b"/>
                <a:pathLst>
                  <a:path w="42" h="39">
                    <a:moveTo>
                      <a:pt x="34" y="39"/>
                    </a:moveTo>
                    <a:cubicBezTo>
                      <a:pt x="21" y="32"/>
                      <a:pt x="0" y="20"/>
                      <a:pt x="0" y="20"/>
                    </a:cubicBezTo>
                    <a:cubicBezTo>
                      <a:pt x="0" y="20"/>
                      <a:pt x="25" y="5"/>
                      <a:pt x="34" y="0"/>
                    </a:cubicBezTo>
                    <a:cubicBezTo>
                      <a:pt x="42" y="5"/>
                      <a:pt x="30" y="31"/>
                      <a:pt x="34" y="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1" name="Freeform 53">
                <a:extLst>
                  <a:ext uri="{FF2B5EF4-FFF2-40B4-BE49-F238E27FC236}">
                    <a16:creationId xmlns:a16="http://schemas.microsoft.com/office/drawing/2014/main" id="{7CFFDEEA-E589-4C48-B208-8C2496335C5C}"/>
                  </a:ext>
                </a:extLst>
              </p:cNvPr>
              <p:cNvSpPr>
                <a:spLocks/>
              </p:cNvSpPr>
              <p:nvPr/>
            </p:nvSpPr>
            <p:spPr bwMode="auto">
              <a:xfrm>
                <a:off x="4994276" y="2670175"/>
                <a:ext cx="285750" cy="153987"/>
              </a:xfrm>
              <a:custGeom>
                <a:avLst/>
                <a:gdLst>
                  <a:gd name="T0" fmla="*/ 17 w 76"/>
                  <a:gd name="T1" fmla="*/ 0 h 41"/>
                  <a:gd name="T2" fmla="*/ 76 w 76"/>
                  <a:gd name="T3" fmla="*/ 20 h 41"/>
                  <a:gd name="T4" fmla="*/ 76 w 76"/>
                  <a:gd name="T5" fmla="*/ 35 h 41"/>
                  <a:gd name="T6" fmla="*/ 17 w 76"/>
                  <a:gd name="T7" fmla="*/ 0 h 41"/>
                </a:gdLst>
                <a:ahLst/>
                <a:cxnLst>
                  <a:cxn ang="0">
                    <a:pos x="T0" y="T1"/>
                  </a:cxn>
                  <a:cxn ang="0">
                    <a:pos x="T2" y="T3"/>
                  </a:cxn>
                  <a:cxn ang="0">
                    <a:pos x="T4" y="T5"/>
                  </a:cxn>
                  <a:cxn ang="0">
                    <a:pos x="T6" y="T7"/>
                  </a:cxn>
                </a:cxnLst>
                <a:rect l="0" t="0" r="r" b="b"/>
                <a:pathLst>
                  <a:path w="76" h="41">
                    <a:moveTo>
                      <a:pt x="17" y="0"/>
                    </a:moveTo>
                    <a:cubicBezTo>
                      <a:pt x="15" y="23"/>
                      <a:pt x="26" y="24"/>
                      <a:pt x="76" y="20"/>
                    </a:cubicBezTo>
                    <a:cubicBezTo>
                      <a:pt x="76" y="35"/>
                      <a:pt x="76" y="35"/>
                      <a:pt x="76" y="35"/>
                    </a:cubicBezTo>
                    <a:cubicBezTo>
                      <a:pt x="27" y="41"/>
                      <a:pt x="0" y="33"/>
                      <a:pt x="1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2" name="Freeform 54">
                <a:extLst>
                  <a:ext uri="{FF2B5EF4-FFF2-40B4-BE49-F238E27FC236}">
                    <a16:creationId xmlns:a16="http://schemas.microsoft.com/office/drawing/2014/main" id="{CA96819F-71D0-43C7-A5AA-0320B44B20D2}"/>
                  </a:ext>
                </a:extLst>
              </p:cNvPr>
              <p:cNvSpPr>
                <a:spLocks/>
              </p:cNvSpPr>
              <p:nvPr/>
            </p:nvSpPr>
            <p:spPr bwMode="auto">
              <a:xfrm>
                <a:off x="5186363" y="2700337"/>
                <a:ext cx="157163" cy="147637"/>
              </a:xfrm>
              <a:custGeom>
                <a:avLst/>
                <a:gdLst>
                  <a:gd name="T0" fmla="*/ 8 w 42"/>
                  <a:gd name="T1" fmla="*/ 0 h 39"/>
                  <a:gd name="T2" fmla="*/ 42 w 42"/>
                  <a:gd name="T3" fmla="*/ 19 h 39"/>
                  <a:gd name="T4" fmla="*/ 8 w 42"/>
                  <a:gd name="T5" fmla="*/ 39 h 39"/>
                  <a:gd name="T6" fmla="*/ 8 w 42"/>
                  <a:gd name="T7" fmla="*/ 0 h 39"/>
                </a:gdLst>
                <a:ahLst/>
                <a:cxnLst>
                  <a:cxn ang="0">
                    <a:pos x="T0" y="T1"/>
                  </a:cxn>
                  <a:cxn ang="0">
                    <a:pos x="T2" y="T3"/>
                  </a:cxn>
                  <a:cxn ang="0">
                    <a:pos x="T4" y="T5"/>
                  </a:cxn>
                  <a:cxn ang="0">
                    <a:pos x="T6" y="T7"/>
                  </a:cxn>
                </a:cxnLst>
                <a:rect l="0" t="0" r="r" b="b"/>
                <a:pathLst>
                  <a:path w="42" h="39">
                    <a:moveTo>
                      <a:pt x="8" y="0"/>
                    </a:moveTo>
                    <a:cubicBezTo>
                      <a:pt x="21" y="7"/>
                      <a:pt x="42" y="19"/>
                      <a:pt x="42" y="19"/>
                    </a:cubicBezTo>
                    <a:cubicBezTo>
                      <a:pt x="42" y="19"/>
                      <a:pt x="17" y="34"/>
                      <a:pt x="8" y="39"/>
                    </a:cubicBezTo>
                    <a:cubicBezTo>
                      <a:pt x="0" y="34"/>
                      <a:pt x="12" y="8"/>
                      <a:pt x="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10" name="Group 9">
            <a:extLst>
              <a:ext uri="{FF2B5EF4-FFF2-40B4-BE49-F238E27FC236}">
                <a16:creationId xmlns:a16="http://schemas.microsoft.com/office/drawing/2014/main" id="{46741EEE-352F-49A3-A381-A0047997FF17}"/>
              </a:ext>
            </a:extLst>
          </p:cNvPr>
          <p:cNvGrpSpPr/>
          <p:nvPr/>
        </p:nvGrpSpPr>
        <p:grpSpPr>
          <a:xfrm>
            <a:off x="2106507" y="4596247"/>
            <a:ext cx="7587663" cy="1350747"/>
            <a:chOff x="2106507" y="4596247"/>
            <a:chExt cx="7587663" cy="1350747"/>
          </a:xfrm>
        </p:grpSpPr>
        <p:sp>
          <p:nvSpPr>
            <p:cNvPr id="287" name="Rectangle 286">
              <a:extLst>
                <a:ext uri="{FF2B5EF4-FFF2-40B4-BE49-F238E27FC236}">
                  <a16:creationId xmlns:a16="http://schemas.microsoft.com/office/drawing/2014/main" id="{DF6D1063-FB1A-49C5-807F-1C7781ED7D1E}"/>
                </a:ext>
              </a:extLst>
            </p:cNvPr>
            <p:cNvSpPr/>
            <p:nvPr/>
          </p:nvSpPr>
          <p:spPr>
            <a:xfrm>
              <a:off x="6401471" y="5184880"/>
              <a:ext cx="3292699" cy="762114"/>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Rectangle 287">
              <a:extLst>
                <a:ext uri="{FF2B5EF4-FFF2-40B4-BE49-F238E27FC236}">
                  <a16:creationId xmlns:a16="http://schemas.microsoft.com/office/drawing/2014/main" id="{C4EBB6FB-9B54-49EE-866E-A3C413C3B23B}"/>
                </a:ext>
              </a:extLst>
            </p:cNvPr>
            <p:cNvSpPr/>
            <p:nvPr/>
          </p:nvSpPr>
          <p:spPr>
            <a:xfrm>
              <a:off x="2106507" y="5184880"/>
              <a:ext cx="3292699" cy="762114"/>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Freeform 123">
              <a:extLst>
                <a:ext uri="{FF2B5EF4-FFF2-40B4-BE49-F238E27FC236}">
                  <a16:creationId xmlns:a16="http://schemas.microsoft.com/office/drawing/2014/main" id="{B4F841D0-1793-40BB-935F-C848BF891C57}"/>
                </a:ext>
              </a:extLst>
            </p:cNvPr>
            <p:cNvSpPr>
              <a:spLocks/>
            </p:cNvSpPr>
            <p:nvPr/>
          </p:nvSpPr>
          <p:spPr bwMode="auto">
            <a:xfrm>
              <a:off x="4851993" y="4596247"/>
              <a:ext cx="1125998" cy="984976"/>
            </a:xfrm>
            <a:custGeom>
              <a:avLst/>
              <a:gdLst>
                <a:gd name="T0" fmla="*/ 379 w 449"/>
                <a:gd name="T1" fmla="*/ 33 h 397"/>
                <a:gd name="T2" fmla="*/ 333 w 449"/>
                <a:gd name="T3" fmla="*/ 19 h 397"/>
                <a:gd name="T4" fmla="*/ 289 w 449"/>
                <a:gd name="T5" fmla="*/ 0 h 397"/>
                <a:gd name="T6" fmla="*/ 0 w 449"/>
                <a:gd name="T7" fmla="*/ 234 h 397"/>
                <a:gd name="T8" fmla="*/ 211 w 449"/>
                <a:gd name="T9" fmla="*/ 353 h 397"/>
                <a:gd name="T10" fmla="*/ 449 w 449"/>
                <a:gd name="T11" fmla="*/ 397 h 397"/>
                <a:gd name="T12" fmla="*/ 379 w 449"/>
                <a:gd name="T13" fmla="*/ 33 h 397"/>
              </a:gdLst>
              <a:ahLst/>
              <a:cxnLst>
                <a:cxn ang="0">
                  <a:pos x="T0" y="T1"/>
                </a:cxn>
                <a:cxn ang="0">
                  <a:pos x="T2" y="T3"/>
                </a:cxn>
                <a:cxn ang="0">
                  <a:pos x="T4" y="T5"/>
                </a:cxn>
                <a:cxn ang="0">
                  <a:pos x="T6" y="T7"/>
                </a:cxn>
                <a:cxn ang="0">
                  <a:pos x="T8" y="T9"/>
                </a:cxn>
                <a:cxn ang="0">
                  <a:pos x="T10" y="T11"/>
                </a:cxn>
                <a:cxn ang="0">
                  <a:pos x="T12" y="T13"/>
                </a:cxn>
              </a:cxnLst>
              <a:rect l="0" t="0" r="r" b="b"/>
              <a:pathLst>
                <a:path w="449" h="397">
                  <a:moveTo>
                    <a:pt x="379" y="33"/>
                  </a:moveTo>
                  <a:cubicBezTo>
                    <a:pt x="364" y="29"/>
                    <a:pt x="348" y="25"/>
                    <a:pt x="333" y="19"/>
                  </a:cubicBezTo>
                  <a:cubicBezTo>
                    <a:pt x="318" y="13"/>
                    <a:pt x="303" y="7"/>
                    <a:pt x="289" y="0"/>
                  </a:cubicBezTo>
                  <a:cubicBezTo>
                    <a:pt x="0" y="234"/>
                    <a:pt x="0" y="234"/>
                    <a:pt x="0" y="234"/>
                  </a:cubicBezTo>
                  <a:cubicBezTo>
                    <a:pt x="62" y="284"/>
                    <a:pt x="133" y="324"/>
                    <a:pt x="211" y="353"/>
                  </a:cubicBezTo>
                  <a:cubicBezTo>
                    <a:pt x="290" y="382"/>
                    <a:pt x="370" y="396"/>
                    <a:pt x="449" y="397"/>
                  </a:cubicBezTo>
                  <a:lnTo>
                    <a:pt x="379" y="33"/>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0" name="Freeform 124">
              <a:extLst>
                <a:ext uri="{FF2B5EF4-FFF2-40B4-BE49-F238E27FC236}">
                  <a16:creationId xmlns:a16="http://schemas.microsoft.com/office/drawing/2014/main" id="{D3300F4F-B736-40CD-AC1D-AFF113AE0F17}"/>
                </a:ext>
              </a:extLst>
            </p:cNvPr>
            <p:cNvSpPr>
              <a:spLocks/>
            </p:cNvSpPr>
            <p:nvPr/>
          </p:nvSpPr>
          <p:spPr bwMode="auto">
            <a:xfrm>
              <a:off x="6034871" y="4596247"/>
              <a:ext cx="1125998" cy="984976"/>
            </a:xfrm>
            <a:custGeom>
              <a:avLst/>
              <a:gdLst>
                <a:gd name="T0" fmla="*/ 160 w 449"/>
                <a:gd name="T1" fmla="*/ 0 h 397"/>
                <a:gd name="T2" fmla="*/ 116 w 449"/>
                <a:gd name="T3" fmla="*/ 19 h 397"/>
                <a:gd name="T4" fmla="*/ 70 w 449"/>
                <a:gd name="T5" fmla="*/ 33 h 397"/>
                <a:gd name="T6" fmla="*/ 0 w 449"/>
                <a:gd name="T7" fmla="*/ 397 h 397"/>
                <a:gd name="T8" fmla="*/ 238 w 449"/>
                <a:gd name="T9" fmla="*/ 353 h 397"/>
                <a:gd name="T10" fmla="*/ 449 w 449"/>
                <a:gd name="T11" fmla="*/ 234 h 397"/>
                <a:gd name="T12" fmla="*/ 160 w 449"/>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449" h="397">
                  <a:moveTo>
                    <a:pt x="160" y="0"/>
                  </a:moveTo>
                  <a:cubicBezTo>
                    <a:pt x="146" y="7"/>
                    <a:pt x="132" y="13"/>
                    <a:pt x="116" y="19"/>
                  </a:cubicBezTo>
                  <a:cubicBezTo>
                    <a:pt x="101" y="25"/>
                    <a:pt x="86" y="29"/>
                    <a:pt x="70" y="33"/>
                  </a:cubicBezTo>
                  <a:cubicBezTo>
                    <a:pt x="0" y="397"/>
                    <a:pt x="0" y="397"/>
                    <a:pt x="0" y="397"/>
                  </a:cubicBezTo>
                  <a:cubicBezTo>
                    <a:pt x="79" y="396"/>
                    <a:pt x="159" y="382"/>
                    <a:pt x="238" y="353"/>
                  </a:cubicBezTo>
                  <a:cubicBezTo>
                    <a:pt x="317" y="324"/>
                    <a:pt x="387" y="284"/>
                    <a:pt x="449" y="234"/>
                  </a:cubicBezTo>
                  <a:lnTo>
                    <a:pt x="160" y="0"/>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1" name="Rectangle 290">
              <a:extLst>
                <a:ext uri="{FF2B5EF4-FFF2-40B4-BE49-F238E27FC236}">
                  <a16:creationId xmlns:a16="http://schemas.microsoft.com/office/drawing/2014/main" id="{EA56724C-C33F-4F27-8F5D-B1B97EE14056}"/>
                </a:ext>
              </a:extLst>
            </p:cNvPr>
            <p:cNvSpPr/>
            <p:nvPr/>
          </p:nvSpPr>
          <p:spPr>
            <a:xfrm>
              <a:off x="2125392" y="5259271"/>
              <a:ext cx="2837167" cy="646331"/>
            </a:xfrm>
            <a:prstGeom prst="rect">
              <a:avLst/>
            </a:prstGeom>
          </p:spPr>
          <p:txBody>
            <a:bodyPr wrap="square">
              <a:spAutoFit/>
            </a:bodyPr>
            <a:lstStyle/>
            <a:p>
              <a:pPr algn="r"/>
              <a:r>
                <a:rPr lang="en-US" sz="1200" dirty="0"/>
                <a:t>Changing market dynamics through increasing information transparency</a:t>
              </a:r>
            </a:p>
          </p:txBody>
        </p:sp>
        <p:sp>
          <p:nvSpPr>
            <p:cNvPr id="292" name="Rectangle 291">
              <a:extLst>
                <a:ext uri="{FF2B5EF4-FFF2-40B4-BE49-F238E27FC236}">
                  <a16:creationId xmlns:a16="http://schemas.microsoft.com/office/drawing/2014/main" id="{B1C87759-3173-42E0-A47E-031A86CABF1A}"/>
                </a:ext>
              </a:extLst>
            </p:cNvPr>
            <p:cNvSpPr/>
            <p:nvPr/>
          </p:nvSpPr>
          <p:spPr>
            <a:xfrm>
              <a:off x="6836236" y="5383314"/>
              <a:ext cx="2744936" cy="461665"/>
            </a:xfrm>
            <a:prstGeom prst="rect">
              <a:avLst/>
            </a:prstGeom>
          </p:spPr>
          <p:txBody>
            <a:bodyPr wrap="square">
              <a:spAutoFit/>
            </a:bodyPr>
            <a:lstStyle/>
            <a:p>
              <a:r>
                <a:rPr lang="en-IN" sz="1200" dirty="0"/>
                <a:t>Threat of new entrants such as BigTech firms</a:t>
              </a:r>
              <a:endParaRPr lang="en-US" sz="1200" dirty="0"/>
            </a:p>
          </p:txBody>
        </p:sp>
        <p:sp>
          <p:nvSpPr>
            <p:cNvPr id="306" name="TextBox 305">
              <a:extLst>
                <a:ext uri="{FF2B5EF4-FFF2-40B4-BE49-F238E27FC236}">
                  <a16:creationId xmlns:a16="http://schemas.microsoft.com/office/drawing/2014/main" id="{F4FB16A7-2E39-454A-8EF4-9BF1C9AC57E4}"/>
                </a:ext>
              </a:extLst>
            </p:cNvPr>
            <p:cNvSpPr txBox="1"/>
            <p:nvPr/>
          </p:nvSpPr>
          <p:spPr>
            <a:xfrm>
              <a:off x="6073877" y="5178644"/>
              <a:ext cx="851561" cy="261610"/>
            </a:xfrm>
            <a:prstGeom prst="rect">
              <a:avLst/>
            </a:prstGeom>
            <a:noFill/>
          </p:spPr>
          <p:txBody>
            <a:bodyPr wrap="square" rtlCol="0">
              <a:spAutoFit/>
            </a:bodyPr>
            <a:lstStyle/>
            <a:p>
              <a:pPr algn="ctr"/>
              <a:r>
                <a:rPr lang="en-IN" sz="1100" b="1" dirty="0"/>
                <a:t>26%</a:t>
              </a:r>
              <a:endParaRPr lang="en-US" sz="1100" b="1" dirty="0"/>
            </a:p>
          </p:txBody>
        </p:sp>
        <p:sp>
          <p:nvSpPr>
            <p:cNvPr id="307" name="TextBox 306">
              <a:extLst>
                <a:ext uri="{FF2B5EF4-FFF2-40B4-BE49-F238E27FC236}">
                  <a16:creationId xmlns:a16="http://schemas.microsoft.com/office/drawing/2014/main" id="{66522B5D-0565-4A13-8868-FA678A778F34}"/>
                </a:ext>
              </a:extLst>
            </p:cNvPr>
            <p:cNvSpPr txBox="1"/>
            <p:nvPr/>
          </p:nvSpPr>
          <p:spPr>
            <a:xfrm>
              <a:off x="5115243" y="5170575"/>
              <a:ext cx="851561" cy="261610"/>
            </a:xfrm>
            <a:prstGeom prst="rect">
              <a:avLst/>
            </a:prstGeom>
            <a:noFill/>
          </p:spPr>
          <p:txBody>
            <a:bodyPr wrap="square" rtlCol="0">
              <a:spAutoFit/>
            </a:bodyPr>
            <a:lstStyle/>
            <a:p>
              <a:pPr algn="ctr"/>
              <a:r>
                <a:rPr lang="en-IN" sz="1100" b="1" dirty="0"/>
                <a:t>26%</a:t>
              </a:r>
              <a:endParaRPr lang="en-US" sz="1100" b="1" dirty="0"/>
            </a:p>
          </p:txBody>
        </p:sp>
        <p:grpSp>
          <p:nvGrpSpPr>
            <p:cNvPr id="308" name="Groupe 14">
              <a:extLst>
                <a:ext uri="{FF2B5EF4-FFF2-40B4-BE49-F238E27FC236}">
                  <a16:creationId xmlns:a16="http://schemas.microsoft.com/office/drawing/2014/main" id="{B4FFC5C1-1059-4E09-AADE-33167DC3989A}"/>
                </a:ext>
              </a:extLst>
            </p:cNvPr>
            <p:cNvGrpSpPr>
              <a:grpSpLocks noChangeAspect="1"/>
            </p:cNvGrpSpPr>
            <p:nvPr/>
          </p:nvGrpSpPr>
          <p:grpSpPr>
            <a:xfrm>
              <a:off x="6248400" y="4772428"/>
              <a:ext cx="396476" cy="345037"/>
              <a:chOff x="-900051" y="3829728"/>
              <a:chExt cx="571942" cy="502714"/>
            </a:xfrm>
          </p:grpSpPr>
          <p:sp>
            <p:nvSpPr>
              <p:cNvPr id="309" name="Freeform 26">
                <a:extLst>
                  <a:ext uri="{FF2B5EF4-FFF2-40B4-BE49-F238E27FC236}">
                    <a16:creationId xmlns:a16="http://schemas.microsoft.com/office/drawing/2014/main" id="{8BD3807A-7181-42A0-88F0-3B05A8001247}"/>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rgbClr val="7030A0"/>
              </a:solidFill>
              <a:ln w="9525">
                <a:noFill/>
                <a:round/>
                <a:headEnd/>
                <a:tailEnd/>
              </a:ln>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310" name="Groupe 13">
                <a:extLst>
                  <a:ext uri="{FF2B5EF4-FFF2-40B4-BE49-F238E27FC236}">
                    <a16:creationId xmlns:a16="http://schemas.microsoft.com/office/drawing/2014/main" id="{D4266ABC-4E28-481F-ACAE-07DC221D5547}"/>
                  </a:ext>
                </a:extLst>
              </p:cNvPr>
              <p:cNvGrpSpPr>
                <a:grpSpLocks noChangeAspect="1"/>
              </p:cNvGrpSpPr>
              <p:nvPr/>
            </p:nvGrpSpPr>
            <p:grpSpPr>
              <a:xfrm>
                <a:off x="-659195" y="3966579"/>
                <a:ext cx="84532" cy="288000"/>
                <a:chOff x="-687930" y="3942515"/>
                <a:chExt cx="120467" cy="410428"/>
              </a:xfrm>
              <a:solidFill>
                <a:schemeClr val="bg1"/>
              </a:solidFill>
            </p:grpSpPr>
            <p:sp>
              <p:nvSpPr>
                <p:cNvPr id="311" name="Freeform 112">
                  <a:extLst>
                    <a:ext uri="{FF2B5EF4-FFF2-40B4-BE49-F238E27FC236}">
                      <a16:creationId xmlns:a16="http://schemas.microsoft.com/office/drawing/2014/main" id="{90254493-892B-4F38-ADE6-68FBDB42D900}"/>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113">
                  <a:extLst>
                    <a:ext uri="{FF2B5EF4-FFF2-40B4-BE49-F238E27FC236}">
                      <a16:creationId xmlns:a16="http://schemas.microsoft.com/office/drawing/2014/main" id="{1DE6D6AC-46E2-44D3-A231-D23EB6FA52D6}"/>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13" name="Groupe 720">
              <a:extLst>
                <a:ext uri="{FF2B5EF4-FFF2-40B4-BE49-F238E27FC236}">
                  <a16:creationId xmlns:a16="http://schemas.microsoft.com/office/drawing/2014/main" id="{A5889F3C-D90A-4280-B7ED-69125995D755}"/>
                </a:ext>
              </a:extLst>
            </p:cNvPr>
            <p:cNvGrpSpPr/>
            <p:nvPr/>
          </p:nvGrpSpPr>
          <p:grpSpPr>
            <a:xfrm>
              <a:off x="5380955" y="4752975"/>
              <a:ext cx="410245" cy="399755"/>
              <a:chOff x="6605588" y="2852738"/>
              <a:chExt cx="501650" cy="493712"/>
            </a:xfrm>
          </p:grpSpPr>
          <p:sp>
            <p:nvSpPr>
              <p:cNvPr id="314" name="Freeform 186">
                <a:extLst>
                  <a:ext uri="{FF2B5EF4-FFF2-40B4-BE49-F238E27FC236}">
                    <a16:creationId xmlns:a16="http://schemas.microsoft.com/office/drawing/2014/main" id="{E822801F-E31D-4D94-914A-AA75CF51E904}"/>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187">
                <a:extLst>
                  <a:ext uri="{FF2B5EF4-FFF2-40B4-BE49-F238E27FC236}">
                    <a16:creationId xmlns:a16="http://schemas.microsoft.com/office/drawing/2014/main" id="{1D67BDC3-84DD-4F83-B12D-C0C678CBC4C1}"/>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188">
                <a:extLst>
                  <a:ext uri="{FF2B5EF4-FFF2-40B4-BE49-F238E27FC236}">
                    <a16:creationId xmlns:a16="http://schemas.microsoft.com/office/drawing/2014/main" id="{55569E09-0A3B-4394-A302-B6C39FAF8F49}"/>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189">
                <a:extLst>
                  <a:ext uri="{FF2B5EF4-FFF2-40B4-BE49-F238E27FC236}">
                    <a16:creationId xmlns:a16="http://schemas.microsoft.com/office/drawing/2014/main" id="{8F629CBB-8501-4BA2-8628-50A48C180DE1}"/>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190">
                <a:extLst>
                  <a:ext uri="{FF2B5EF4-FFF2-40B4-BE49-F238E27FC236}">
                    <a16:creationId xmlns:a16="http://schemas.microsoft.com/office/drawing/2014/main" id="{5DAC60D6-822B-4C7F-8444-26CCB67949A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191">
                <a:extLst>
                  <a:ext uri="{FF2B5EF4-FFF2-40B4-BE49-F238E27FC236}">
                    <a16:creationId xmlns:a16="http://schemas.microsoft.com/office/drawing/2014/main" id="{8ADAECA4-3BA5-494A-B318-E3FA62AA334C}"/>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 name="Group 7">
            <a:extLst>
              <a:ext uri="{FF2B5EF4-FFF2-40B4-BE49-F238E27FC236}">
                <a16:creationId xmlns:a16="http://schemas.microsoft.com/office/drawing/2014/main" id="{D9AA7268-4575-4269-964B-7FD83DF6E448}"/>
              </a:ext>
            </a:extLst>
          </p:cNvPr>
          <p:cNvGrpSpPr/>
          <p:nvPr/>
        </p:nvGrpSpPr>
        <p:grpSpPr>
          <a:xfrm>
            <a:off x="1152210" y="2887467"/>
            <a:ext cx="9744390" cy="2251264"/>
            <a:chOff x="1152210" y="2887467"/>
            <a:chExt cx="9744390" cy="2251264"/>
          </a:xfrm>
        </p:grpSpPr>
        <p:sp>
          <p:nvSpPr>
            <p:cNvPr id="248" name="Rectangle 247">
              <a:extLst>
                <a:ext uri="{FF2B5EF4-FFF2-40B4-BE49-F238E27FC236}">
                  <a16:creationId xmlns:a16="http://schemas.microsoft.com/office/drawing/2014/main" id="{00539880-948D-4553-8141-8681BFC54B41}"/>
                </a:ext>
              </a:extLst>
            </p:cNvPr>
            <p:cNvSpPr/>
            <p:nvPr/>
          </p:nvSpPr>
          <p:spPr>
            <a:xfrm>
              <a:off x="7603901" y="310376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3" name="Freeform 126">
              <a:extLst>
                <a:ext uri="{FF2B5EF4-FFF2-40B4-BE49-F238E27FC236}">
                  <a16:creationId xmlns:a16="http://schemas.microsoft.com/office/drawing/2014/main" id="{6B804729-D6BF-4388-9A11-B1B966531523}"/>
                </a:ext>
              </a:extLst>
            </p:cNvPr>
            <p:cNvSpPr>
              <a:spLocks/>
            </p:cNvSpPr>
            <p:nvPr/>
          </p:nvSpPr>
          <p:spPr bwMode="auto">
            <a:xfrm>
              <a:off x="6899685" y="2890642"/>
              <a:ext cx="942588" cy="1168868"/>
            </a:xfrm>
            <a:custGeom>
              <a:avLst/>
              <a:gdLst>
                <a:gd name="T0" fmla="*/ 0 w 376"/>
                <a:gd name="T1" fmla="*/ 243 h 471"/>
                <a:gd name="T2" fmla="*/ 11 w 376"/>
                <a:gd name="T3" fmla="*/ 290 h 471"/>
                <a:gd name="T4" fmla="*/ 17 w 376"/>
                <a:gd name="T5" fmla="*/ 338 h 471"/>
                <a:gd name="T6" fmla="*/ 364 w 376"/>
                <a:gd name="T7" fmla="*/ 471 h 471"/>
                <a:gd name="T8" fmla="*/ 362 w 376"/>
                <a:gd name="T9" fmla="*/ 228 h 471"/>
                <a:gd name="T10" fmla="*/ 281 w 376"/>
                <a:gd name="T11" fmla="*/ 0 h 471"/>
                <a:gd name="T12" fmla="*/ 0 w 376"/>
                <a:gd name="T13" fmla="*/ 243 h 471"/>
              </a:gdLst>
              <a:ahLst/>
              <a:cxnLst>
                <a:cxn ang="0">
                  <a:pos x="T0" y="T1"/>
                </a:cxn>
                <a:cxn ang="0">
                  <a:pos x="T2" y="T3"/>
                </a:cxn>
                <a:cxn ang="0">
                  <a:pos x="T4" y="T5"/>
                </a:cxn>
                <a:cxn ang="0">
                  <a:pos x="T6" y="T7"/>
                </a:cxn>
                <a:cxn ang="0">
                  <a:pos x="T8" y="T9"/>
                </a:cxn>
                <a:cxn ang="0">
                  <a:pos x="T10" y="T11"/>
                </a:cxn>
                <a:cxn ang="0">
                  <a:pos x="T12" y="T13"/>
                </a:cxn>
              </a:cxnLst>
              <a:rect l="0" t="0" r="r" b="b"/>
              <a:pathLst>
                <a:path w="376" h="471">
                  <a:moveTo>
                    <a:pt x="0" y="243"/>
                  </a:moveTo>
                  <a:cubicBezTo>
                    <a:pt x="5" y="258"/>
                    <a:pt x="9" y="274"/>
                    <a:pt x="11" y="290"/>
                  </a:cubicBezTo>
                  <a:cubicBezTo>
                    <a:pt x="14" y="306"/>
                    <a:pt x="16" y="322"/>
                    <a:pt x="17" y="338"/>
                  </a:cubicBezTo>
                  <a:cubicBezTo>
                    <a:pt x="364" y="471"/>
                    <a:pt x="364" y="471"/>
                    <a:pt x="364" y="471"/>
                  </a:cubicBezTo>
                  <a:cubicBezTo>
                    <a:pt x="376" y="392"/>
                    <a:pt x="376" y="311"/>
                    <a:pt x="362" y="228"/>
                  </a:cubicBezTo>
                  <a:cubicBezTo>
                    <a:pt x="347" y="146"/>
                    <a:pt x="319" y="69"/>
                    <a:pt x="281" y="0"/>
                  </a:cubicBezTo>
                  <a:lnTo>
                    <a:pt x="0" y="24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Rectangle 255">
              <a:extLst>
                <a:ext uri="{FF2B5EF4-FFF2-40B4-BE49-F238E27FC236}">
                  <a16:creationId xmlns:a16="http://schemas.microsoft.com/office/drawing/2014/main" id="{8ADC6D65-CEE7-45BC-94BE-119ECD191F26}"/>
                </a:ext>
              </a:extLst>
            </p:cNvPr>
            <p:cNvSpPr/>
            <p:nvPr/>
          </p:nvSpPr>
          <p:spPr>
            <a:xfrm>
              <a:off x="7869729" y="3224510"/>
              <a:ext cx="2726250" cy="461665"/>
            </a:xfrm>
            <a:prstGeom prst="rect">
              <a:avLst/>
            </a:prstGeom>
          </p:spPr>
          <p:txBody>
            <a:bodyPr wrap="square">
              <a:spAutoFit/>
            </a:bodyPr>
            <a:lstStyle/>
            <a:p>
              <a:r>
                <a:rPr lang="en-IN" sz="1200" dirty="0"/>
                <a:t>Impact of technology and change in business models</a:t>
              </a:r>
              <a:endParaRPr lang="en-US" sz="1200" dirty="0"/>
            </a:p>
          </p:txBody>
        </p:sp>
        <p:sp>
          <p:nvSpPr>
            <p:cNvPr id="266" name="TextBox 265">
              <a:extLst>
                <a:ext uri="{FF2B5EF4-FFF2-40B4-BE49-F238E27FC236}">
                  <a16:creationId xmlns:a16="http://schemas.microsoft.com/office/drawing/2014/main" id="{25FEB31F-3EAC-41D0-A5B7-863110A6A512}"/>
                </a:ext>
              </a:extLst>
            </p:cNvPr>
            <p:cNvSpPr txBox="1"/>
            <p:nvPr/>
          </p:nvSpPr>
          <p:spPr>
            <a:xfrm>
              <a:off x="7112936" y="3167736"/>
              <a:ext cx="763275" cy="261610"/>
            </a:xfrm>
            <a:prstGeom prst="rect">
              <a:avLst/>
            </a:prstGeom>
            <a:noFill/>
          </p:spPr>
          <p:txBody>
            <a:bodyPr wrap="square" rtlCol="0">
              <a:spAutoFit/>
            </a:bodyPr>
            <a:lstStyle/>
            <a:p>
              <a:pPr algn="ctr"/>
              <a:r>
                <a:rPr lang="en-IN" sz="1100" b="1" dirty="0"/>
                <a:t>31%</a:t>
              </a:r>
              <a:endParaRPr lang="en-US" sz="1100" b="1" dirty="0"/>
            </a:p>
          </p:txBody>
        </p:sp>
        <p:sp>
          <p:nvSpPr>
            <p:cNvPr id="267" name="Rectangle 266">
              <a:extLst>
                <a:ext uri="{FF2B5EF4-FFF2-40B4-BE49-F238E27FC236}">
                  <a16:creationId xmlns:a16="http://schemas.microsoft.com/office/drawing/2014/main" id="{8B32E568-5577-4E6F-B76E-7271129392AC}"/>
                </a:ext>
              </a:extLst>
            </p:cNvPr>
            <p:cNvSpPr/>
            <p:nvPr/>
          </p:nvSpPr>
          <p:spPr>
            <a:xfrm>
              <a:off x="7211216" y="422257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4E72A0EF-52C2-4085-9200-71C95D85BED9}"/>
                </a:ext>
              </a:extLst>
            </p:cNvPr>
            <p:cNvSpPr/>
            <p:nvPr/>
          </p:nvSpPr>
          <p:spPr>
            <a:xfrm>
              <a:off x="1461184" y="422257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Rectangle 268">
              <a:extLst>
                <a:ext uri="{FF2B5EF4-FFF2-40B4-BE49-F238E27FC236}">
                  <a16:creationId xmlns:a16="http://schemas.microsoft.com/office/drawing/2014/main" id="{16D41315-41D9-4DE3-8BD0-C688C570DDE0}"/>
                </a:ext>
              </a:extLst>
            </p:cNvPr>
            <p:cNvSpPr/>
            <p:nvPr/>
          </p:nvSpPr>
          <p:spPr>
            <a:xfrm>
              <a:off x="1152210" y="310376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Freeform 121">
              <a:extLst>
                <a:ext uri="{FF2B5EF4-FFF2-40B4-BE49-F238E27FC236}">
                  <a16:creationId xmlns:a16="http://schemas.microsoft.com/office/drawing/2014/main" id="{81D7FADB-879B-497E-A5FA-30C2BB25F06C}"/>
                </a:ext>
              </a:extLst>
            </p:cNvPr>
            <p:cNvSpPr>
              <a:spLocks/>
            </p:cNvSpPr>
            <p:nvPr/>
          </p:nvSpPr>
          <p:spPr bwMode="auto">
            <a:xfrm>
              <a:off x="4174026" y="2887467"/>
              <a:ext cx="942588" cy="1168868"/>
            </a:xfrm>
            <a:custGeom>
              <a:avLst/>
              <a:gdLst>
                <a:gd name="T0" fmla="*/ 359 w 376"/>
                <a:gd name="T1" fmla="*/ 338 h 471"/>
                <a:gd name="T2" fmla="*/ 365 w 376"/>
                <a:gd name="T3" fmla="*/ 290 h 471"/>
                <a:gd name="T4" fmla="*/ 376 w 376"/>
                <a:gd name="T5" fmla="*/ 243 h 471"/>
                <a:gd name="T6" fmla="*/ 96 w 376"/>
                <a:gd name="T7" fmla="*/ 0 h 471"/>
                <a:gd name="T8" fmla="*/ 15 w 376"/>
                <a:gd name="T9" fmla="*/ 228 h 471"/>
                <a:gd name="T10" fmla="*/ 13 w 376"/>
                <a:gd name="T11" fmla="*/ 471 h 471"/>
                <a:gd name="T12" fmla="*/ 359 w 376"/>
                <a:gd name="T13" fmla="*/ 338 h 471"/>
              </a:gdLst>
              <a:ahLst/>
              <a:cxnLst>
                <a:cxn ang="0">
                  <a:pos x="T0" y="T1"/>
                </a:cxn>
                <a:cxn ang="0">
                  <a:pos x="T2" y="T3"/>
                </a:cxn>
                <a:cxn ang="0">
                  <a:pos x="T4" y="T5"/>
                </a:cxn>
                <a:cxn ang="0">
                  <a:pos x="T6" y="T7"/>
                </a:cxn>
                <a:cxn ang="0">
                  <a:pos x="T8" y="T9"/>
                </a:cxn>
                <a:cxn ang="0">
                  <a:pos x="T10" y="T11"/>
                </a:cxn>
                <a:cxn ang="0">
                  <a:pos x="T12" y="T13"/>
                </a:cxn>
              </a:cxnLst>
              <a:rect l="0" t="0" r="r" b="b"/>
              <a:pathLst>
                <a:path w="376" h="471">
                  <a:moveTo>
                    <a:pt x="359" y="338"/>
                  </a:moveTo>
                  <a:cubicBezTo>
                    <a:pt x="360" y="322"/>
                    <a:pt x="362" y="306"/>
                    <a:pt x="365" y="290"/>
                  </a:cubicBezTo>
                  <a:cubicBezTo>
                    <a:pt x="368" y="274"/>
                    <a:pt x="371" y="258"/>
                    <a:pt x="376" y="243"/>
                  </a:cubicBezTo>
                  <a:cubicBezTo>
                    <a:pt x="96" y="0"/>
                    <a:pt x="96" y="0"/>
                    <a:pt x="96" y="0"/>
                  </a:cubicBezTo>
                  <a:cubicBezTo>
                    <a:pt x="57" y="69"/>
                    <a:pt x="29" y="146"/>
                    <a:pt x="15" y="228"/>
                  </a:cubicBezTo>
                  <a:cubicBezTo>
                    <a:pt x="0" y="311"/>
                    <a:pt x="0" y="392"/>
                    <a:pt x="13" y="471"/>
                  </a:cubicBezTo>
                  <a:lnTo>
                    <a:pt x="359" y="33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122">
              <a:extLst>
                <a:ext uri="{FF2B5EF4-FFF2-40B4-BE49-F238E27FC236}">
                  <a16:creationId xmlns:a16="http://schemas.microsoft.com/office/drawing/2014/main" id="{8EB7E7D1-B4ED-44C6-A80B-A05F4C13A6B7}"/>
                </a:ext>
              </a:extLst>
            </p:cNvPr>
            <p:cNvSpPr>
              <a:spLocks/>
            </p:cNvSpPr>
            <p:nvPr/>
          </p:nvSpPr>
          <p:spPr bwMode="auto">
            <a:xfrm>
              <a:off x="4211219" y="4114678"/>
              <a:ext cx="1052866" cy="1024053"/>
            </a:xfrm>
            <a:custGeom>
              <a:avLst/>
              <a:gdLst>
                <a:gd name="T0" fmla="*/ 420 w 420"/>
                <a:gd name="T1" fmla="*/ 89 h 413"/>
                <a:gd name="T2" fmla="*/ 393 w 420"/>
                <a:gd name="T3" fmla="*/ 49 h 413"/>
                <a:gd name="T4" fmla="*/ 372 w 420"/>
                <a:gd name="T5" fmla="*/ 6 h 413"/>
                <a:gd name="T6" fmla="*/ 0 w 420"/>
                <a:gd name="T7" fmla="*/ 0 h 413"/>
                <a:gd name="T8" fmla="*/ 85 w 420"/>
                <a:gd name="T9" fmla="*/ 227 h 413"/>
                <a:gd name="T10" fmla="*/ 239 w 420"/>
                <a:gd name="T11" fmla="*/ 413 h 413"/>
                <a:gd name="T12" fmla="*/ 420 w 420"/>
                <a:gd name="T13" fmla="*/ 89 h 413"/>
              </a:gdLst>
              <a:ahLst/>
              <a:cxnLst>
                <a:cxn ang="0">
                  <a:pos x="T0" y="T1"/>
                </a:cxn>
                <a:cxn ang="0">
                  <a:pos x="T2" y="T3"/>
                </a:cxn>
                <a:cxn ang="0">
                  <a:pos x="T4" y="T5"/>
                </a:cxn>
                <a:cxn ang="0">
                  <a:pos x="T6" y="T7"/>
                </a:cxn>
                <a:cxn ang="0">
                  <a:pos x="T8" y="T9"/>
                </a:cxn>
                <a:cxn ang="0">
                  <a:pos x="T10" y="T11"/>
                </a:cxn>
                <a:cxn ang="0">
                  <a:pos x="T12" y="T13"/>
                </a:cxn>
              </a:cxnLst>
              <a:rect l="0" t="0" r="r" b="b"/>
              <a:pathLst>
                <a:path w="420" h="413">
                  <a:moveTo>
                    <a:pt x="420" y="89"/>
                  </a:moveTo>
                  <a:cubicBezTo>
                    <a:pt x="410" y="76"/>
                    <a:pt x="401" y="63"/>
                    <a:pt x="393" y="49"/>
                  </a:cubicBezTo>
                  <a:cubicBezTo>
                    <a:pt x="385" y="35"/>
                    <a:pt x="378" y="20"/>
                    <a:pt x="372" y="6"/>
                  </a:cubicBezTo>
                  <a:cubicBezTo>
                    <a:pt x="0" y="0"/>
                    <a:pt x="0" y="0"/>
                    <a:pt x="0" y="0"/>
                  </a:cubicBezTo>
                  <a:cubicBezTo>
                    <a:pt x="15" y="77"/>
                    <a:pt x="43" y="154"/>
                    <a:pt x="85" y="227"/>
                  </a:cubicBezTo>
                  <a:cubicBezTo>
                    <a:pt x="127" y="299"/>
                    <a:pt x="179" y="362"/>
                    <a:pt x="239" y="413"/>
                  </a:cubicBezTo>
                  <a:lnTo>
                    <a:pt x="420" y="89"/>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125">
              <a:extLst>
                <a:ext uri="{FF2B5EF4-FFF2-40B4-BE49-F238E27FC236}">
                  <a16:creationId xmlns:a16="http://schemas.microsoft.com/office/drawing/2014/main" id="{79F5BE16-F412-4DCA-8D44-4C894CF3B154}"/>
                </a:ext>
              </a:extLst>
            </p:cNvPr>
            <p:cNvSpPr>
              <a:spLocks/>
            </p:cNvSpPr>
            <p:nvPr/>
          </p:nvSpPr>
          <p:spPr bwMode="auto">
            <a:xfrm>
              <a:off x="6749938" y="4114678"/>
              <a:ext cx="1051706" cy="1024053"/>
            </a:xfrm>
            <a:custGeom>
              <a:avLst/>
              <a:gdLst>
                <a:gd name="T0" fmla="*/ 48 w 420"/>
                <a:gd name="T1" fmla="*/ 6 h 413"/>
                <a:gd name="T2" fmla="*/ 27 w 420"/>
                <a:gd name="T3" fmla="*/ 49 h 413"/>
                <a:gd name="T4" fmla="*/ 0 w 420"/>
                <a:gd name="T5" fmla="*/ 89 h 413"/>
                <a:gd name="T6" fmla="*/ 181 w 420"/>
                <a:gd name="T7" fmla="*/ 413 h 413"/>
                <a:gd name="T8" fmla="*/ 335 w 420"/>
                <a:gd name="T9" fmla="*/ 227 h 413"/>
                <a:gd name="T10" fmla="*/ 420 w 420"/>
                <a:gd name="T11" fmla="*/ 0 h 413"/>
                <a:gd name="T12" fmla="*/ 48 w 420"/>
                <a:gd name="T13" fmla="*/ 6 h 413"/>
              </a:gdLst>
              <a:ahLst/>
              <a:cxnLst>
                <a:cxn ang="0">
                  <a:pos x="T0" y="T1"/>
                </a:cxn>
                <a:cxn ang="0">
                  <a:pos x="T2" y="T3"/>
                </a:cxn>
                <a:cxn ang="0">
                  <a:pos x="T4" y="T5"/>
                </a:cxn>
                <a:cxn ang="0">
                  <a:pos x="T6" y="T7"/>
                </a:cxn>
                <a:cxn ang="0">
                  <a:pos x="T8" y="T9"/>
                </a:cxn>
                <a:cxn ang="0">
                  <a:pos x="T10" y="T11"/>
                </a:cxn>
                <a:cxn ang="0">
                  <a:pos x="T12" y="T13"/>
                </a:cxn>
              </a:cxnLst>
              <a:rect l="0" t="0" r="r" b="b"/>
              <a:pathLst>
                <a:path w="420" h="413">
                  <a:moveTo>
                    <a:pt x="48" y="6"/>
                  </a:moveTo>
                  <a:cubicBezTo>
                    <a:pt x="42" y="20"/>
                    <a:pt x="35" y="35"/>
                    <a:pt x="27" y="49"/>
                  </a:cubicBezTo>
                  <a:cubicBezTo>
                    <a:pt x="19" y="63"/>
                    <a:pt x="10" y="76"/>
                    <a:pt x="0" y="89"/>
                  </a:cubicBezTo>
                  <a:cubicBezTo>
                    <a:pt x="181" y="413"/>
                    <a:pt x="181" y="413"/>
                    <a:pt x="181" y="413"/>
                  </a:cubicBezTo>
                  <a:cubicBezTo>
                    <a:pt x="241" y="362"/>
                    <a:pt x="293" y="299"/>
                    <a:pt x="335" y="227"/>
                  </a:cubicBezTo>
                  <a:cubicBezTo>
                    <a:pt x="377" y="154"/>
                    <a:pt x="405" y="77"/>
                    <a:pt x="420" y="0"/>
                  </a:cubicBezTo>
                  <a:lnTo>
                    <a:pt x="48" y="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Rectangle 272">
              <a:extLst>
                <a:ext uri="{FF2B5EF4-FFF2-40B4-BE49-F238E27FC236}">
                  <a16:creationId xmlns:a16="http://schemas.microsoft.com/office/drawing/2014/main" id="{EAD2A57F-B312-4969-BE53-A279AA83892D}"/>
                </a:ext>
              </a:extLst>
            </p:cNvPr>
            <p:cNvSpPr/>
            <p:nvPr/>
          </p:nvSpPr>
          <p:spPr>
            <a:xfrm>
              <a:off x="7898865" y="4482230"/>
              <a:ext cx="1965400" cy="276999"/>
            </a:xfrm>
            <a:prstGeom prst="rect">
              <a:avLst/>
            </a:prstGeom>
          </p:spPr>
          <p:txBody>
            <a:bodyPr wrap="square">
              <a:spAutoFit/>
            </a:bodyPr>
            <a:lstStyle/>
            <a:p>
              <a:r>
                <a:rPr lang="en-IN" sz="1200" dirty="0"/>
                <a:t>Geo-political instability</a:t>
              </a:r>
            </a:p>
          </p:txBody>
        </p:sp>
        <p:sp>
          <p:nvSpPr>
            <p:cNvPr id="274" name="Rectangle 273">
              <a:extLst>
                <a:ext uri="{FF2B5EF4-FFF2-40B4-BE49-F238E27FC236}">
                  <a16:creationId xmlns:a16="http://schemas.microsoft.com/office/drawing/2014/main" id="{8139C6E5-0B4A-43F6-A9B9-CFF381F33670}"/>
                </a:ext>
              </a:extLst>
            </p:cNvPr>
            <p:cNvSpPr/>
            <p:nvPr/>
          </p:nvSpPr>
          <p:spPr>
            <a:xfrm>
              <a:off x="1677918" y="4259044"/>
              <a:ext cx="2698928" cy="646331"/>
            </a:xfrm>
            <a:prstGeom prst="rect">
              <a:avLst/>
            </a:prstGeom>
          </p:spPr>
          <p:txBody>
            <a:bodyPr wrap="square">
              <a:spAutoFit/>
            </a:bodyPr>
            <a:lstStyle/>
            <a:p>
              <a:pPr algn="r"/>
              <a:r>
                <a:rPr lang="en-US" sz="1200" dirty="0"/>
                <a:t>Fee pressure due to zero trading commissions and increasing shift towards passive products</a:t>
              </a:r>
            </a:p>
          </p:txBody>
        </p:sp>
        <p:sp>
          <p:nvSpPr>
            <p:cNvPr id="275" name="Rectangle 274">
              <a:extLst>
                <a:ext uri="{FF2B5EF4-FFF2-40B4-BE49-F238E27FC236}">
                  <a16:creationId xmlns:a16="http://schemas.microsoft.com/office/drawing/2014/main" id="{A2E7144E-1413-4CFE-85A7-8E1990720DA0}"/>
                </a:ext>
              </a:extLst>
            </p:cNvPr>
            <p:cNvSpPr/>
            <p:nvPr/>
          </p:nvSpPr>
          <p:spPr>
            <a:xfrm>
              <a:off x="1454695" y="3152775"/>
              <a:ext cx="2740776" cy="646331"/>
            </a:xfrm>
            <a:prstGeom prst="rect">
              <a:avLst/>
            </a:prstGeom>
          </p:spPr>
          <p:txBody>
            <a:bodyPr wrap="square">
              <a:spAutoFit/>
            </a:bodyPr>
            <a:lstStyle/>
            <a:p>
              <a:r>
                <a:rPr lang="en-US" sz="1200" dirty="0"/>
                <a:t>The great wealth transfer and uncertainty regarding future customers</a:t>
              </a:r>
            </a:p>
          </p:txBody>
        </p:sp>
        <p:sp>
          <p:nvSpPr>
            <p:cNvPr id="283" name="TextBox 282">
              <a:extLst>
                <a:ext uri="{FF2B5EF4-FFF2-40B4-BE49-F238E27FC236}">
                  <a16:creationId xmlns:a16="http://schemas.microsoft.com/office/drawing/2014/main" id="{0054C474-EA5A-4031-8B86-346F0A5D9C60}"/>
                </a:ext>
              </a:extLst>
            </p:cNvPr>
            <p:cNvSpPr txBox="1"/>
            <p:nvPr/>
          </p:nvSpPr>
          <p:spPr>
            <a:xfrm>
              <a:off x="4146674" y="3174893"/>
              <a:ext cx="851561" cy="261610"/>
            </a:xfrm>
            <a:prstGeom prst="rect">
              <a:avLst/>
            </a:prstGeom>
            <a:noFill/>
          </p:spPr>
          <p:txBody>
            <a:bodyPr wrap="square" rtlCol="0">
              <a:spAutoFit/>
            </a:bodyPr>
            <a:lstStyle/>
            <a:p>
              <a:pPr algn="ctr"/>
              <a:r>
                <a:rPr lang="en-IN" sz="1100" b="1" dirty="0"/>
                <a:t>31%</a:t>
              </a:r>
              <a:endParaRPr lang="en-US" sz="1100" b="1" dirty="0"/>
            </a:p>
          </p:txBody>
        </p:sp>
        <p:sp>
          <p:nvSpPr>
            <p:cNvPr id="284" name="TextBox 283">
              <a:extLst>
                <a:ext uri="{FF2B5EF4-FFF2-40B4-BE49-F238E27FC236}">
                  <a16:creationId xmlns:a16="http://schemas.microsoft.com/office/drawing/2014/main" id="{A7364AF6-FB67-4755-9027-E2A9A2AE2F28}"/>
                </a:ext>
              </a:extLst>
            </p:cNvPr>
            <p:cNvSpPr txBox="1"/>
            <p:nvPr/>
          </p:nvSpPr>
          <p:spPr>
            <a:xfrm>
              <a:off x="4323959" y="4558565"/>
              <a:ext cx="851561" cy="261610"/>
            </a:xfrm>
            <a:prstGeom prst="rect">
              <a:avLst/>
            </a:prstGeom>
            <a:noFill/>
          </p:spPr>
          <p:txBody>
            <a:bodyPr wrap="square" rtlCol="0">
              <a:spAutoFit/>
            </a:bodyPr>
            <a:lstStyle/>
            <a:p>
              <a:pPr algn="ctr"/>
              <a:r>
                <a:rPr lang="en-IN" sz="1100" b="1" dirty="0"/>
                <a:t>29%</a:t>
              </a:r>
              <a:endParaRPr lang="en-US" sz="1100" b="1" dirty="0"/>
            </a:p>
          </p:txBody>
        </p:sp>
        <p:sp>
          <p:nvSpPr>
            <p:cNvPr id="285" name="TextBox 284">
              <a:extLst>
                <a:ext uri="{FF2B5EF4-FFF2-40B4-BE49-F238E27FC236}">
                  <a16:creationId xmlns:a16="http://schemas.microsoft.com/office/drawing/2014/main" id="{4E9223C9-8159-416D-B4DD-B95E607260AD}"/>
                </a:ext>
              </a:extLst>
            </p:cNvPr>
            <p:cNvSpPr txBox="1"/>
            <p:nvPr/>
          </p:nvSpPr>
          <p:spPr>
            <a:xfrm>
              <a:off x="6931402" y="4597607"/>
              <a:ext cx="711922" cy="261610"/>
            </a:xfrm>
            <a:prstGeom prst="rect">
              <a:avLst/>
            </a:prstGeom>
            <a:noFill/>
          </p:spPr>
          <p:txBody>
            <a:bodyPr wrap="square" rtlCol="0">
              <a:spAutoFit/>
            </a:bodyPr>
            <a:lstStyle/>
            <a:p>
              <a:pPr algn="ctr"/>
              <a:r>
                <a:rPr lang="en-IN" sz="1100" b="1" dirty="0"/>
                <a:t>29%</a:t>
              </a:r>
              <a:endParaRPr lang="en-US" sz="1100" b="1" dirty="0"/>
            </a:p>
          </p:txBody>
        </p:sp>
        <p:sp>
          <p:nvSpPr>
            <p:cNvPr id="286" name="Freeform 337">
              <a:extLst>
                <a:ext uri="{FF2B5EF4-FFF2-40B4-BE49-F238E27FC236}">
                  <a16:creationId xmlns:a16="http://schemas.microsoft.com/office/drawing/2014/main" id="{D823B08F-A35A-4517-894C-0F8BF25A09B2}"/>
                </a:ext>
              </a:extLst>
            </p:cNvPr>
            <p:cNvSpPr>
              <a:spLocks noEditPoints="1"/>
            </p:cNvSpPr>
            <p:nvPr/>
          </p:nvSpPr>
          <p:spPr bwMode="auto">
            <a:xfrm>
              <a:off x="6917315" y="4169666"/>
              <a:ext cx="452092" cy="447616"/>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93" name="Groupe 634">
              <a:extLst>
                <a:ext uri="{FF2B5EF4-FFF2-40B4-BE49-F238E27FC236}">
                  <a16:creationId xmlns:a16="http://schemas.microsoft.com/office/drawing/2014/main" id="{00457E21-0EF5-47EC-AE44-19650814B36B}"/>
                </a:ext>
              </a:extLst>
            </p:cNvPr>
            <p:cNvGrpSpPr/>
            <p:nvPr/>
          </p:nvGrpSpPr>
          <p:grpSpPr>
            <a:xfrm>
              <a:off x="7338766" y="3403258"/>
              <a:ext cx="321393" cy="357293"/>
              <a:chOff x="1022350" y="869951"/>
              <a:chExt cx="438152" cy="496886"/>
            </a:xfrm>
          </p:grpSpPr>
          <p:sp>
            <p:nvSpPr>
              <p:cNvPr id="294" name="Freeform 30">
                <a:extLst>
                  <a:ext uri="{FF2B5EF4-FFF2-40B4-BE49-F238E27FC236}">
                    <a16:creationId xmlns:a16="http://schemas.microsoft.com/office/drawing/2014/main" id="{64F024BA-5056-44E8-8D64-C1399D6D6A4F}"/>
                  </a:ext>
                </a:extLst>
              </p:cNvPr>
              <p:cNvSpPr>
                <a:spLocks noEditPoints="1"/>
              </p:cNvSpPr>
              <p:nvPr/>
            </p:nvSpPr>
            <p:spPr bwMode="auto">
              <a:xfrm>
                <a:off x="1022350" y="990600"/>
                <a:ext cx="314325" cy="376237"/>
              </a:xfrm>
              <a:custGeom>
                <a:avLst/>
                <a:gdLst>
                  <a:gd name="T0" fmla="*/ 45 w 84"/>
                  <a:gd name="T1" fmla="*/ 77 h 100"/>
                  <a:gd name="T2" fmla="*/ 22 w 84"/>
                  <a:gd name="T3" fmla="*/ 77 h 100"/>
                  <a:gd name="T4" fmla="*/ 32 w 84"/>
                  <a:gd name="T5" fmla="*/ 59 h 100"/>
                  <a:gd name="T6" fmla="*/ 37 w 84"/>
                  <a:gd name="T7" fmla="*/ 62 h 100"/>
                  <a:gd name="T8" fmla="*/ 45 w 84"/>
                  <a:gd name="T9" fmla="*/ 77 h 100"/>
                  <a:gd name="T10" fmla="*/ 64 w 84"/>
                  <a:gd name="T11" fmla="*/ 19 h 100"/>
                  <a:gd name="T12" fmla="*/ 66 w 84"/>
                  <a:gd name="T13" fmla="*/ 20 h 100"/>
                  <a:gd name="T14" fmla="*/ 60 w 84"/>
                  <a:gd name="T15" fmla="*/ 32 h 100"/>
                  <a:gd name="T16" fmla="*/ 52 w 84"/>
                  <a:gd name="T17" fmla="*/ 24 h 100"/>
                  <a:gd name="T18" fmla="*/ 64 w 84"/>
                  <a:gd name="T19" fmla="*/ 19 h 100"/>
                  <a:gd name="T20" fmla="*/ 72 w 84"/>
                  <a:gd name="T21" fmla="*/ 6 h 100"/>
                  <a:gd name="T22" fmla="*/ 78 w 84"/>
                  <a:gd name="T23" fmla="*/ 11 h 100"/>
                  <a:gd name="T24" fmla="*/ 72 w 84"/>
                  <a:gd name="T25" fmla="*/ 17 h 100"/>
                  <a:gd name="T26" fmla="*/ 67 w 84"/>
                  <a:gd name="T27" fmla="*/ 11 h 100"/>
                  <a:gd name="T28" fmla="*/ 72 w 84"/>
                  <a:gd name="T29" fmla="*/ 6 h 100"/>
                  <a:gd name="T30" fmla="*/ 84 w 84"/>
                  <a:gd name="T31" fmla="*/ 56 h 100"/>
                  <a:gd name="T32" fmla="*/ 64 w 84"/>
                  <a:gd name="T33" fmla="*/ 37 h 100"/>
                  <a:gd name="T34" fmla="*/ 71 w 84"/>
                  <a:gd name="T35" fmla="*/ 22 h 100"/>
                  <a:gd name="T36" fmla="*/ 83 w 84"/>
                  <a:gd name="T37" fmla="*/ 11 h 100"/>
                  <a:gd name="T38" fmla="*/ 73 w 84"/>
                  <a:gd name="T39" fmla="*/ 0 h 100"/>
                  <a:gd name="T40" fmla="*/ 62 w 84"/>
                  <a:gd name="T41" fmla="*/ 13 h 100"/>
                  <a:gd name="T42" fmla="*/ 47 w 84"/>
                  <a:gd name="T43" fmla="*/ 20 h 100"/>
                  <a:gd name="T44" fmla="*/ 27 w 84"/>
                  <a:gd name="T45" fmla="*/ 0 h 100"/>
                  <a:gd name="T46" fmla="*/ 28 w 84"/>
                  <a:gd name="T47" fmla="*/ 55 h 100"/>
                  <a:gd name="T48" fmla="*/ 16 w 84"/>
                  <a:gd name="T49" fmla="*/ 76 h 100"/>
                  <a:gd name="T50" fmla="*/ 6 w 84"/>
                  <a:gd name="T51" fmla="*/ 76 h 100"/>
                  <a:gd name="T52" fmla="*/ 0 w 84"/>
                  <a:gd name="T53" fmla="*/ 82 h 100"/>
                  <a:gd name="T54" fmla="*/ 0 w 84"/>
                  <a:gd name="T55" fmla="*/ 94 h 100"/>
                  <a:gd name="T56" fmla="*/ 6 w 84"/>
                  <a:gd name="T57" fmla="*/ 100 h 100"/>
                  <a:gd name="T58" fmla="*/ 61 w 84"/>
                  <a:gd name="T59" fmla="*/ 100 h 100"/>
                  <a:gd name="T60" fmla="*/ 67 w 84"/>
                  <a:gd name="T61" fmla="*/ 94 h 100"/>
                  <a:gd name="T62" fmla="*/ 67 w 84"/>
                  <a:gd name="T63" fmla="*/ 82 h 100"/>
                  <a:gd name="T64" fmla="*/ 61 w 84"/>
                  <a:gd name="T65" fmla="*/ 77 h 100"/>
                  <a:gd name="T66" fmla="*/ 51 w 84"/>
                  <a:gd name="T67" fmla="*/ 77 h 100"/>
                  <a:gd name="T68" fmla="*/ 45 w 84"/>
                  <a:gd name="T69" fmla="*/ 66 h 100"/>
                  <a:gd name="T70" fmla="*/ 84 w 84"/>
                  <a:gd name="T71" fmla="*/ 5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0">
                    <a:moveTo>
                      <a:pt x="45" y="77"/>
                    </a:moveTo>
                    <a:cubicBezTo>
                      <a:pt x="22" y="77"/>
                      <a:pt x="22" y="77"/>
                      <a:pt x="22" y="77"/>
                    </a:cubicBezTo>
                    <a:cubicBezTo>
                      <a:pt x="32" y="59"/>
                      <a:pt x="32" y="59"/>
                      <a:pt x="32" y="59"/>
                    </a:cubicBezTo>
                    <a:cubicBezTo>
                      <a:pt x="34" y="60"/>
                      <a:pt x="35" y="61"/>
                      <a:pt x="37" y="62"/>
                    </a:cubicBezTo>
                    <a:lnTo>
                      <a:pt x="45" y="77"/>
                    </a:lnTo>
                    <a:close/>
                    <a:moveTo>
                      <a:pt x="64" y="19"/>
                    </a:moveTo>
                    <a:cubicBezTo>
                      <a:pt x="65" y="19"/>
                      <a:pt x="65" y="19"/>
                      <a:pt x="66" y="20"/>
                    </a:cubicBezTo>
                    <a:cubicBezTo>
                      <a:pt x="60" y="32"/>
                      <a:pt x="60" y="32"/>
                      <a:pt x="60" y="32"/>
                    </a:cubicBezTo>
                    <a:cubicBezTo>
                      <a:pt x="52" y="24"/>
                      <a:pt x="52" y="24"/>
                      <a:pt x="52" y="24"/>
                    </a:cubicBezTo>
                    <a:lnTo>
                      <a:pt x="64" y="19"/>
                    </a:lnTo>
                    <a:close/>
                    <a:moveTo>
                      <a:pt x="72" y="6"/>
                    </a:moveTo>
                    <a:cubicBezTo>
                      <a:pt x="75" y="6"/>
                      <a:pt x="78" y="9"/>
                      <a:pt x="78" y="11"/>
                    </a:cubicBezTo>
                    <a:cubicBezTo>
                      <a:pt x="78" y="14"/>
                      <a:pt x="75" y="17"/>
                      <a:pt x="72" y="17"/>
                    </a:cubicBezTo>
                    <a:cubicBezTo>
                      <a:pt x="70" y="17"/>
                      <a:pt x="67" y="14"/>
                      <a:pt x="67" y="11"/>
                    </a:cubicBezTo>
                    <a:cubicBezTo>
                      <a:pt x="67" y="9"/>
                      <a:pt x="70" y="6"/>
                      <a:pt x="72" y="6"/>
                    </a:cubicBezTo>
                    <a:moveTo>
                      <a:pt x="84" y="56"/>
                    </a:moveTo>
                    <a:cubicBezTo>
                      <a:pt x="64" y="37"/>
                      <a:pt x="64" y="37"/>
                      <a:pt x="64" y="37"/>
                    </a:cubicBezTo>
                    <a:cubicBezTo>
                      <a:pt x="71" y="22"/>
                      <a:pt x="71" y="22"/>
                      <a:pt x="71" y="22"/>
                    </a:cubicBezTo>
                    <a:cubicBezTo>
                      <a:pt x="77" y="23"/>
                      <a:pt x="83" y="18"/>
                      <a:pt x="83" y="11"/>
                    </a:cubicBezTo>
                    <a:cubicBezTo>
                      <a:pt x="83" y="5"/>
                      <a:pt x="79" y="0"/>
                      <a:pt x="73" y="0"/>
                    </a:cubicBezTo>
                    <a:cubicBezTo>
                      <a:pt x="66" y="0"/>
                      <a:pt x="61" y="7"/>
                      <a:pt x="62" y="13"/>
                    </a:cubicBezTo>
                    <a:cubicBezTo>
                      <a:pt x="47" y="20"/>
                      <a:pt x="47" y="20"/>
                      <a:pt x="47" y="20"/>
                    </a:cubicBezTo>
                    <a:cubicBezTo>
                      <a:pt x="27" y="0"/>
                      <a:pt x="27" y="0"/>
                      <a:pt x="27" y="0"/>
                    </a:cubicBezTo>
                    <a:cubicBezTo>
                      <a:pt x="13" y="16"/>
                      <a:pt x="13" y="40"/>
                      <a:pt x="28" y="55"/>
                    </a:cubicBezTo>
                    <a:cubicBezTo>
                      <a:pt x="16" y="76"/>
                      <a:pt x="16" y="76"/>
                      <a:pt x="16" y="76"/>
                    </a:cubicBezTo>
                    <a:cubicBezTo>
                      <a:pt x="6" y="76"/>
                      <a:pt x="6" y="76"/>
                      <a:pt x="6" y="76"/>
                    </a:cubicBezTo>
                    <a:cubicBezTo>
                      <a:pt x="3" y="76"/>
                      <a:pt x="0" y="79"/>
                      <a:pt x="0" y="82"/>
                    </a:cubicBezTo>
                    <a:cubicBezTo>
                      <a:pt x="0" y="94"/>
                      <a:pt x="0" y="94"/>
                      <a:pt x="0" y="94"/>
                    </a:cubicBezTo>
                    <a:cubicBezTo>
                      <a:pt x="0" y="97"/>
                      <a:pt x="3" y="100"/>
                      <a:pt x="6" y="100"/>
                    </a:cubicBezTo>
                    <a:cubicBezTo>
                      <a:pt x="61" y="100"/>
                      <a:pt x="61" y="100"/>
                      <a:pt x="61" y="100"/>
                    </a:cubicBezTo>
                    <a:cubicBezTo>
                      <a:pt x="64" y="100"/>
                      <a:pt x="67" y="97"/>
                      <a:pt x="67" y="94"/>
                    </a:cubicBezTo>
                    <a:cubicBezTo>
                      <a:pt x="67" y="82"/>
                      <a:pt x="67" y="82"/>
                      <a:pt x="67" y="82"/>
                    </a:cubicBezTo>
                    <a:cubicBezTo>
                      <a:pt x="67" y="79"/>
                      <a:pt x="64" y="77"/>
                      <a:pt x="61" y="77"/>
                    </a:cubicBezTo>
                    <a:cubicBezTo>
                      <a:pt x="51" y="77"/>
                      <a:pt x="51" y="77"/>
                      <a:pt x="51" y="77"/>
                    </a:cubicBezTo>
                    <a:cubicBezTo>
                      <a:pt x="45" y="66"/>
                      <a:pt x="45" y="66"/>
                      <a:pt x="45" y="66"/>
                    </a:cubicBezTo>
                    <a:cubicBezTo>
                      <a:pt x="58" y="70"/>
                      <a:pt x="73" y="67"/>
                      <a:pt x="84" y="5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31">
                <a:extLst>
                  <a:ext uri="{FF2B5EF4-FFF2-40B4-BE49-F238E27FC236}">
                    <a16:creationId xmlns:a16="http://schemas.microsoft.com/office/drawing/2014/main" id="{866ED42B-1A5E-477F-90F8-3AE3EC767C3E}"/>
                  </a:ext>
                </a:extLst>
              </p:cNvPr>
              <p:cNvSpPr>
                <a:spLocks/>
              </p:cNvSpPr>
              <p:nvPr/>
            </p:nvSpPr>
            <p:spPr bwMode="auto">
              <a:xfrm>
                <a:off x="1284289" y="869951"/>
                <a:ext cx="176213" cy="173037"/>
              </a:xfrm>
              <a:custGeom>
                <a:avLst/>
                <a:gdLst>
                  <a:gd name="T0" fmla="*/ 2 w 47"/>
                  <a:gd name="T1" fmla="*/ 0 h 46"/>
                  <a:gd name="T2" fmla="*/ 0 w 47"/>
                  <a:gd name="T3" fmla="*/ 3 h 46"/>
                  <a:gd name="T4" fmla="*/ 2 w 47"/>
                  <a:gd name="T5" fmla="*/ 5 h 46"/>
                  <a:gd name="T6" fmla="*/ 41 w 47"/>
                  <a:gd name="T7" fmla="*/ 44 h 46"/>
                  <a:gd name="T8" fmla="*/ 44 w 47"/>
                  <a:gd name="T9" fmla="*/ 46 h 46"/>
                  <a:gd name="T10" fmla="*/ 46 w 47"/>
                  <a:gd name="T11" fmla="*/ 44 h 46"/>
                  <a:gd name="T12" fmla="*/ 2 w 4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2" y="0"/>
                    </a:moveTo>
                    <a:cubicBezTo>
                      <a:pt x="1" y="0"/>
                      <a:pt x="0" y="1"/>
                      <a:pt x="0" y="3"/>
                    </a:cubicBezTo>
                    <a:cubicBezTo>
                      <a:pt x="0" y="4"/>
                      <a:pt x="1" y="5"/>
                      <a:pt x="2" y="5"/>
                    </a:cubicBezTo>
                    <a:cubicBezTo>
                      <a:pt x="24" y="5"/>
                      <a:pt x="41" y="23"/>
                      <a:pt x="41" y="44"/>
                    </a:cubicBezTo>
                    <a:cubicBezTo>
                      <a:pt x="41" y="45"/>
                      <a:pt x="42" y="46"/>
                      <a:pt x="44" y="46"/>
                    </a:cubicBezTo>
                    <a:cubicBezTo>
                      <a:pt x="45" y="46"/>
                      <a:pt x="46" y="45"/>
                      <a:pt x="46" y="44"/>
                    </a:cubicBezTo>
                    <a:cubicBezTo>
                      <a:pt x="47" y="19"/>
                      <a:pt x="27"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32">
                <a:extLst>
                  <a:ext uri="{FF2B5EF4-FFF2-40B4-BE49-F238E27FC236}">
                    <a16:creationId xmlns:a16="http://schemas.microsoft.com/office/drawing/2014/main" id="{A57EC099-49D7-4CC5-A0A1-27478AB880FD}"/>
                  </a:ext>
                </a:extLst>
              </p:cNvPr>
              <p:cNvSpPr>
                <a:spLocks/>
              </p:cNvSpPr>
              <p:nvPr/>
            </p:nvSpPr>
            <p:spPr bwMode="auto">
              <a:xfrm>
                <a:off x="1284288" y="911225"/>
                <a:ext cx="134938" cy="131762"/>
              </a:xfrm>
              <a:custGeom>
                <a:avLst/>
                <a:gdLst>
                  <a:gd name="T0" fmla="*/ 2 w 36"/>
                  <a:gd name="T1" fmla="*/ 0 h 35"/>
                  <a:gd name="T2" fmla="*/ 0 w 36"/>
                  <a:gd name="T3" fmla="*/ 2 h 35"/>
                  <a:gd name="T4" fmla="*/ 2 w 36"/>
                  <a:gd name="T5" fmla="*/ 5 h 35"/>
                  <a:gd name="T6" fmla="*/ 30 w 36"/>
                  <a:gd name="T7" fmla="*/ 33 h 35"/>
                  <a:gd name="T8" fmla="*/ 33 w 36"/>
                  <a:gd name="T9" fmla="*/ 35 h 35"/>
                  <a:gd name="T10" fmla="*/ 35 w 36"/>
                  <a:gd name="T11" fmla="*/ 33 h 35"/>
                  <a:gd name="T12" fmla="*/ 2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 y="0"/>
                    </a:moveTo>
                    <a:cubicBezTo>
                      <a:pt x="1" y="0"/>
                      <a:pt x="0" y="1"/>
                      <a:pt x="0" y="2"/>
                    </a:cubicBezTo>
                    <a:cubicBezTo>
                      <a:pt x="0" y="4"/>
                      <a:pt x="1" y="5"/>
                      <a:pt x="2" y="5"/>
                    </a:cubicBezTo>
                    <a:cubicBezTo>
                      <a:pt x="18" y="5"/>
                      <a:pt x="30" y="18"/>
                      <a:pt x="30" y="33"/>
                    </a:cubicBezTo>
                    <a:cubicBezTo>
                      <a:pt x="30" y="34"/>
                      <a:pt x="31" y="35"/>
                      <a:pt x="33" y="35"/>
                    </a:cubicBezTo>
                    <a:cubicBezTo>
                      <a:pt x="34" y="35"/>
                      <a:pt x="35" y="34"/>
                      <a:pt x="35" y="33"/>
                    </a:cubicBezTo>
                    <a:cubicBezTo>
                      <a:pt x="36" y="15"/>
                      <a:pt x="21"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33">
                <a:extLst>
                  <a:ext uri="{FF2B5EF4-FFF2-40B4-BE49-F238E27FC236}">
                    <a16:creationId xmlns:a16="http://schemas.microsoft.com/office/drawing/2014/main" id="{9A54FFA5-2C7E-4AF5-871B-75C17F590850}"/>
                  </a:ext>
                </a:extLst>
              </p:cNvPr>
              <p:cNvSpPr>
                <a:spLocks/>
              </p:cNvSpPr>
              <p:nvPr/>
            </p:nvSpPr>
            <p:spPr bwMode="auto">
              <a:xfrm>
                <a:off x="1284288" y="954088"/>
                <a:ext cx="93663" cy="88900"/>
              </a:xfrm>
              <a:custGeom>
                <a:avLst/>
                <a:gdLst>
                  <a:gd name="T0" fmla="*/ 2 w 25"/>
                  <a:gd name="T1" fmla="*/ 0 h 24"/>
                  <a:gd name="T2" fmla="*/ 0 w 25"/>
                  <a:gd name="T3" fmla="*/ 2 h 24"/>
                  <a:gd name="T4" fmla="*/ 2 w 25"/>
                  <a:gd name="T5" fmla="*/ 5 h 24"/>
                  <a:gd name="T6" fmla="*/ 19 w 25"/>
                  <a:gd name="T7" fmla="*/ 22 h 24"/>
                  <a:gd name="T8" fmla="*/ 22 w 25"/>
                  <a:gd name="T9" fmla="*/ 24 h 24"/>
                  <a:gd name="T10" fmla="*/ 24 w 25"/>
                  <a:gd name="T11" fmla="*/ 22 h 24"/>
                  <a:gd name="T12" fmla="*/ 2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 y="0"/>
                    </a:moveTo>
                    <a:cubicBezTo>
                      <a:pt x="1" y="0"/>
                      <a:pt x="0" y="1"/>
                      <a:pt x="0" y="2"/>
                    </a:cubicBezTo>
                    <a:cubicBezTo>
                      <a:pt x="0" y="4"/>
                      <a:pt x="1" y="5"/>
                      <a:pt x="2" y="5"/>
                    </a:cubicBezTo>
                    <a:cubicBezTo>
                      <a:pt x="12" y="5"/>
                      <a:pt x="19" y="13"/>
                      <a:pt x="19" y="22"/>
                    </a:cubicBezTo>
                    <a:cubicBezTo>
                      <a:pt x="19" y="23"/>
                      <a:pt x="20" y="24"/>
                      <a:pt x="22" y="24"/>
                    </a:cubicBezTo>
                    <a:cubicBezTo>
                      <a:pt x="23" y="24"/>
                      <a:pt x="24" y="23"/>
                      <a:pt x="24" y="22"/>
                    </a:cubicBezTo>
                    <a:cubicBezTo>
                      <a:pt x="25" y="10"/>
                      <a:pt x="15"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8" name="Groupe 565">
              <a:extLst>
                <a:ext uri="{FF2B5EF4-FFF2-40B4-BE49-F238E27FC236}">
                  <a16:creationId xmlns:a16="http://schemas.microsoft.com/office/drawing/2014/main" id="{94B3C02B-C4F3-45AB-9943-A6735F00FB48}"/>
                </a:ext>
              </a:extLst>
            </p:cNvPr>
            <p:cNvGrpSpPr/>
            <p:nvPr/>
          </p:nvGrpSpPr>
          <p:grpSpPr>
            <a:xfrm>
              <a:off x="4425614" y="3462569"/>
              <a:ext cx="325717" cy="343549"/>
              <a:chOff x="10512426" y="403225"/>
              <a:chExt cx="461962" cy="492125"/>
            </a:xfrm>
          </p:grpSpPr>
          <p:sp>
            <p:nvSpPr>
              <p:cNvPr id="299" name="Freeform 167">
                <a:extLst>
                  <a:ext uri="{FF2B5EF4-FFF2-40B4-BE49-F238E27FC236}">
                    <a16:creationId xmlns:a16="http://schemas.microsoft.com/office/drawing/2014/main" id="{C4A94FB4-BE62-4ED4-9870-98C8E28CDD06}"/>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168">
                <a:extLst>
                  <a:ext uri="{FF2B5EF4-FFF2-40B4-BE49-F238E27FC236}">
                    <a16:creationId xmlns:a16="http://schemas.microsoft.com/office/drawing/2014/main" id="{FD47C0B5-06BB-4EEA-9964-45F6F0E169C1}"/>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169">
                <a:extLst>
                  <a:ext uri="{FF2B5EF4-FFF2-40B4-BE49-F238E27FC236}">
                    <a16:creationId xmlns:a16="http://schemas.microsoft.com/office/drawing/2014/main" id="{636A75B8-D889-49C3-97FB-942CE5DF7704}"/>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70">
                <a:extLst>
                  <a:ext uri="{FF2B5EF4-FFF2-40B4-BE49-F238E27FC236}">
                    <a16:creationId xmlns:a16="http://schemas.microsoft.com/office/drawing/2014/main" id="{8B4F6438-3332-4EE0-8980-FA9511F753DD}"/>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71">
                <a:extLst>
                  <a:ext uri="{FF2B5EF4-FFF2-40B4-BE49-F238E27FC236}">
                    <a16:creationId xmlns:a16="http://schemas.microsoft.com/office/drawing/2014/main" id="{CE1A80C8-2D48-4AC8-BE77-2E76CBD329B6}"/>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72">
                <a:extLst>
                  <a:ext uri="{FF2B5EF4-FFF2-40B4-BE49-F238E27FC236}">
                    <a16:creationId xmlns:a16="http://schemas.microsoft.com/office/drawing/2014/main" id="{65A2C18D-7A80-4FCE-A7D1-93EAF512203A}"/>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173">
                <a:extLst>
                  <a:ext uri="{FF2B5EF4-FFF2-40B4-BE49-F238E27FC236}">
                    <a16:creationId xmlns:a16="http://schemas.microsoft.com/office/drawing/2014/main" id="{D42A03D9-3F2A-4F07-8E22-88ACB008DFEF}"/>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0" name="Groupe 292">
              <a:extLst>
                <a:ext uri="{FF2B5EF4-FFF2-40B4-BE49-F238E27FC236}">
                  <a16:creationId xmlns:a16="http://schemas.microsoft.com/office/drawing/2014/main" id="{DC92D222-4568-4DCD-8EF7-7D3624C49C3F}"/>
                </a:ext>
              </a:extLst>
            </p:cNvPr>
            <p:cNvGrpSpPr/>
            <p:nvPr/>
          </p:nvGrpSpPr>
          <p:grpSpPr>
            <a:xfrm>
              <a:off x="4527674" y="4182697"/>
              <a:ext cx="375493" cy="314472"/>
              <a:chOff x="9088438" y="2917825"/>
              <a:chExt cx="422275" cy="357188"/>
            </a:xfrm>
          </p:grpSpPr>
          <p:sp>
            <p:nvSpPr>
              <p:cNvPr id="321" name="Freeform 200">
                <a:extLst>
                  <a:ext uri="{FF2B5EF4-FFF2-40B4-BE49-F238E27FC236}">
                    <a16:creationId xmlns:a16="http://schemas.microsoft.com/office/drawing/2014/main" id="{B21C7DC4-1ED9-49D3-9758-F9CB6B64E68F}"/>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201">
                <a:extLst>
                  <a:ext uri="{FF2B5EF4-FFF2-40B4-BE49-F238E27FC236}">
                    <a16:creationId xmlns:a16="http://schemas.microsoft.com/office/drawing/2014/main" id="{87581B14-0F84-4939-A2C2-6203858FBEBB}"/>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202">
                <a:extLst>
                  <a:ext uri="{FF2B5EF4-FFF2-40B4-BE49-F238E27FC236}">
                    <a16:creationId xmlns:a16="http://schemas.microsoft.com/office/drawing/2014/main" id="{4D20E701-6D23-479D-925B-09D2BA37CC62}"/>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203">
                <a:extLst>
                  <a:ext uri="{FF2B5EF4-FFF2-40B4-BE49-F238E27FC236}">
                    <a16:creationId xmlns:a16="http://schemas.microsoft.com/office/drawing/2014/main" id="{7056549F-6B9B-45AE-B4C6-86A2C76FB6A4}"/>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204">
                <a:extLst>
                  <a:ext uri="{FF2B5EF4-FFF2-40B4-BE49-F238E27FC236}">
                    <a16:creationId xmlns:a16="http://schemas.microsoft.com/office/drawing/2014/main" id="{12700F48-77EB-4D5E-AD88-B880399DB18C}"/>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3" name="Group 102">
            <a:extLst>
              <a:ext uri="{FF2B5EF4-FFF2-40B4-BE49-F238E27FC236}">
                <a16:creationId xmlns:a16="http://schemas.microsoft.com/office/drawing/2014/main" id="{80812057-93DF-4909-AD93-9B9DD2F323E6}"/>
              </a:ext>
            </a:extLst>
          </p:cNvPr>
          <p:cNvGrpSpPr/>
          <p:nvPr/>
        </p:nvGrpSpPr>
        <p:grpSpPr>
          <a:xfrm>
            <a:off x="10232823" y="122400"/>
            <a:ext cx="537308" cy="533532"/>
            <a:chOff x="8169276" y="2006600"/>
            <a:chExt cx="3614737" cy="3589337"/>
          </a:xfrm>
          <a:solidFill>
            <a:schemeClr val="bg1">
              <a:lumMod val="75000"/>
            </a:schemeClr>
          </a:solidFill>
        </p:grpSpPr>
        <p:sp>
          <p:nvSpPr>
            <p:cNvPr id="104" name="Freeform 18">
              <a:extLst>
                <a:ext uri="{FF2B5EF4-FFF2-40B4-BE49-F238E27FC236}">
                  <a16:creationId xmlns:a16="http://schemas.microsoft.com/office/drawing/2014/main" id="{6B34009A-94BB-4073-B787-55ABC5DED6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5" name="Freeform 15">
              <a:extLst>
                <a:ext uri="{FF2B5EF4-FFF2-40B4-BE49-F238E27FC236}">
                  <a16:creationId xmlns:a16="http://schemas.microsoft.com/office/drawing/2014/main" id="{137A6162-59AF-468B-A00B-DD6DAA4793D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6" name="Oval 16">
              <a:extLst>
                <a:ext uri="{FF2B5EF4-FFF2-40B4-BE49-F238E27FC236}">
                  <a16:creationId xmlns:a16="http://schemas.microsoft.com/office/drawing/2014/main" id="{1C0021A8-55C8-49AC-99C5-6C4E5BE5728D}"/>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Verdana"/>
              </a:endParaRPr>
            </a:p>
          </p:txBody>
        </p:sp>
        <p:sp>
          <p:nvSpPr>
            <p:cNvPr id="107" name="Freeform 17">
              <a:extLst>
                <a:ext uri="{FF2B5EF4-FFF2-40B4-BE49-F238E27FC236}">
                  <a16:creationId xmlns:a16="http://schemas.microsoft.com/office/drawing/2014/main" id="{97519057-58B5-4F06-8BD2-39C534945FB5}"/>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8" name="Freeform 19">
              <a:extLst>
                <a:ext uri="{FF2B5EF4-FFF2-40B4-BE49-F238E27FC236}">
                  <a16:creationId xmlns:a16="http://schemas.microsoft.com/office/drawing/2014/main" id="{99BC9850-5A5C-403F-9C46-397DB24491AD}"/>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sp>
        <p:nvSpPr>
          <p:cNvPr id="111" name="Freeform 46">
            <a:extLst>
              <a:ext uri="{FF2B5EF4-FFF2-40B4-BE49-F238E27FC236}">
                <a16:creationId xmlns:a16="http://schemas.microsoft.com/office/drawing/2014/main" id="{021F5DDD-2441-4958-B3D7-F389FF7D45FE}"/>
              </a:ext>
            </a:extLst>
          </p:cNvPr>
          <p:cNvSpPr>
            <a:spLocks/>
          </p:cNvSpPr>
          <p:nvPr/>
        </p:nvSpPr>
        <p:spPr bwMode="auto">
          <a:xfrm>
            <a:off x="10509082" y="270622"/>
            <a:ext cx="100929" cy="241760"/>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
            <a:extLst>
              <a:ext uri="{FF2B5EF4-FFF2-40B4-BE49-F238E27FC236}">
                <a16:creationId xmlns:a16="http://schemas.microsoft.com/office/drawing/2014/main" id="{79A3A3D3-495B-48FD-B0D5-65579996532C}"/>
              </a:ext>
            </a:extLst>
          </p:cNvPr>
          <p:cNvSpPr>
            <a:spLocks/>
          </p:cNvSpPr>
          <p:nvPr/>
        </p:nvSpPr>
        <p:spPr bwMode="auto">
          <a:xfrm>
            <a:off x="10509082" y="295267"/>
            <a:ext cx="100929" cy="217115"/>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8">
            <a:extLst>
              <a:ext uri="{FF2B5EF4-FFF2-40B4-BE49-F238E27FC236}">
                <a16:creationId xmlns:a16="http://schemas.microsoft.com/office/drawing/2014/main" id="{3F258EC0-E0E8-434C-B9AB-D0C1EC64A707}"/>
              </a:ext>
            </a:extLst>
          </p:cNvPr>
          <p:cNvSpPr>
            <a:spLocks/>
          </p:cNvSpPr>
          <p:nvPr/>
        </p:nvSpPr>
        <p:spPr bwMode="auto">
          <a:xfrm>
            <a:off x="10398765" y="270622"/>
            <a:ext cx="110318" cy="241760"/>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C9DE0894-A0A5-4FAD-A362-8CE3CC8F00DD}"/>
              </a:ext>
            </a:extLst>
          </p:cNvPr>
          <p:cNvSpPr>
            <a:spLocks/>
          </p:cNvSpPr>
          <p:nvPr/>
        </p:nvSpPr>
        <p:spPr bwMode="auto">
          <a:xfrm>
            <a:off x="10398765" y="298788"/>
            <a:ext cx="110318" cy="213594"/>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0">
            <a:extLst>
              <a:ext uri="{FF2B5EF4-FFF2-40B4-BE49-F238E27FC236}">
                <a16:creationId xmlns:a16="http://schemas.microsoft.com/office/drawing/2014/main" id="{BEB3F1ED-BB95-4462-AEB8-049CC161B02F}"/>
              </a:ext>
            </a:extLst>
          </p:cNvPr>
          <p:cNvSpPr>
            <a:spLocks/>
          </p:cNvSpPr>
          <p:nvPr/>
        </p:nvSpPr>
        <p:spPr bwMode="auto">
          <a:xfrm>
            <a:off x="10340085" y="298788"/>
            <a:ext cx="168997" cy="107971"/>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1">
            <a:extLst>
              <a:ext uri="{FF2B5EF4-FFF2-40B4-BE49-F238E27FC236}">
                <a16:creationId xmlns:a16="http://schemas.microsoft.com/office/drawing/2014/main" id="{8FF9B6D5-E407-4221-8DD7-12891541D704}"/>
              </a:ext>
            </a:extLst>
          </p:cNvPr>
          <p:cNvSpPr>
            <a:spLocks/>
          </p:cNvSpPr>
          <p:nvPr/>
        </p:nvSpPr>
        <p:spPr bwMode="auto">
          <a:xfrm>
            <a:off x="10509082" y="295267"/>
            <a:ext cx="156088" cy="109145"/>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Group 117">
            <a:extLst>
              <a:ext uri="{FF2B5EF4-FFF2-40B4-BE49-F238E27FC236}">
                <a16:creationId xmlns:a16="http://schemas.microsoft.com/office/drawing/2014/main" id="{109B708C-FE70-4C19-96D7-7474DC3FBD0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9" name="Freeform 18">
              <a:extLst>
                <a:ext uri="{FF2B5EF4-FFF2-40B4-BE49-F238E27FC236}">
                  <a16:creationId xmlns:a16="http://schemas.microsoft.com/office/drawing/2014/main" id="{823E0B4C-5226-4CF5-9889-3E16E700884D}"/>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15">
              <a:extLst>
                <a:ext uri="{FF2B5EF4-FFF2-40B4-BE49-F238E27FC236}">
                  <a16:creationId xmlns:a16="http://schemas.microsoft.com/office/drawing/2014/main" id="{EB92A284-158F-4224-A02E-327DC7BD550C}"/>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1" name="Oval 16">
              <a:extLst>
                <a:ext uri="{FF2B5EF4-FFF2-40B4-BE49-F238E27FC236}">
                  <a16:creationId xmlns:a16="http://schemas.microsoft.com/office/drawing/2014/main" id="{DF0684FC-A654-4CCC-9D43-9180AD3197B5}"/>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17">
              <a:extLst>
                <a:ext uri="{FF2B5EF4-FFF2-40B4-BE49-F238E27FC236}">
                  <a16:creationId xmlns:a16="http://schemas.microsoft.com/office/drawing/2014/main" id="{1BFC1D84-169E-4544-B700-6A9951B10AD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19">
              <a:extLst>
                <a:ext uri="{FF2B5EF4-FFF2-40B4-BE49-F238E27FC236}">
                  <a16:creationId xmlns:a16="http://schemas.microsoft.com/office/drawing/2014/main" id="{42CA758B-D412-4FB1-AE06-394BF0FFE107}"/>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4" name="Picture 4" descr="Coronavirus | United Nations">
            <a:extLst>
              <a:ext uri="{FF2B5EF4-FFF2-40B4-BE49-F238E27FC236}">
                <a16:creationId xmlns:a16="http://schemas.microsoft.com/office/drawing/2014/main" id="{98F9A9BD-0A7E-4FE6-B091-9487702F0F26}"/>
              </a:ext>
            </a:extLst>
          </p:cNvPr>
          <p:cNvPicPr>
            <a:picLocks noChangeAspect="1" noChangeArrowheads="1"/>
          </p:cNvPicPr>
          <p:nvPr/>
        </p:nvPicPr>
        <p:blipFill>
          <a:blip r:embed="rId6">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25" name="Group 124">
            <a:extLst>
              <a:ext uri="{FF2B5EF4-FFF2-40B4-BE49-F238E27FC236}">
                <a16:creationId xmlns:a16="http://schemas.microsoft.com/office/drawing/2014/main" id="{F14D4007-0EE8-46E6-BE8F-196CFCBED240}"/>
              </a:ext>
            </a:extLst>
          </p:cNvPr>
          <p:cNvGrpSpPr/>
          <p:nvPr/>
        </p:nvGrpSpPr>
        <p:grpSpPr>
          <a:xfrm>
            <a:off x="9034432" y="122400"/>
            <a:ext cx="537780" cy="533532"/>
            <a:chOff x="411163" y="2006600"/>
            <a:chExt cx="3617913" cy="3589337"/>
          </a:xfrm>
          <a:solidFill>
            <a:schemeClr val="bg1">
              <a:lumMod val="75000"/>
            </a:schemeClr>
          </a:solidFill>
        </p:grpSpPr>
        <p:sp>
          <p:nvSpPr>
            <p:cNvPr id="126" name="Freeform 5">
              <a:extLst>
                <a:ext uri="{FF2B5EF4-FFF2-40B4-BE49-F238E27FC236}">
                  <a16:creationId xmlns:a16="http://schemas.microsoft.com/office/drawing/2014/main" id="{3DA3F09D-7513-4EEF-8E59-9C2880543E4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7" name="Oval 6">
              <a:extLst>
                <a:ext uri="{FF2B5EF4-FFF2-40B4-BE49-F238E27FC236}">
                  <a16:creationId xmlns:a16="http://schemas.microsoft.com/office/drawing/2014/main" id="{D9E5D19F-1DB9-416A-A136-8A270267A0B3}"/>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7">
              <a:extLst>
                <a:ext uri="{FF2B5EF4-FFF2-40B4-BE49-F238E27FC236}">
                  <a16:creationId xmlns:a16="http://schemas.microsoft.com/office/drawing/2014/main" id="{0EDB2BA9-A769-4405-8373-624EEF482B5D}"/>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8">
              <a:extLst>
                <a:ext uri="{FF2B5EF4-FFF2-40B4-BE49-F238E27FC236}">
                  <a16:creationId xmlns:a16="http://schemas.microsoft.com/office/drawing/2014/main" id="{960DDA35-A19F-4D83-98F0-6FCF97FB0FEB}"/>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9">
              <a:extLst>
                <a:ext uri="{FF2B5EF4-FFF2-40B4-BE49-F238E27FC236}">
                  <a16:creationId xmlns:a16="http://schemas.microsoft.com/office/drawing/2014/main" id="{7EA745D5-F238-48F9-A8E4-E55F8E11D31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31" name="Groupe 825">
            <a:extLst>
              <a:ext uri="{FF2B5EF4-FFF2-40B4-BE49-F238E27FC236}">
                <a16:creationId xmlns:a16="http://schemas.microsoft.com/office/drawing/2014/main" id="{53B10FDF-083C-4D4F-9974-515AFC73913A}"/>
              </a:ext>
            </a:extLst>
          </p:cNvPr>
          <p:cNvGrpSpPr/>
          <p:nvPr/>
        </p:nvGrpSpPr>
        <p:grpSpPr>
          <a:xfrm>
            <a:off x="9138494" y="248487"/>
            <a:ext cx="337206" cy="317707"/>
            <a:chOff x="6500813" y="736601"/>
            <a:chExt cx="538163" cy="581025"/>
          </a:xfrm>
          <a:solidFill>
            <a:schemeClr val="bg1">
              <a:lumMod val="50000"/>
            </a:schemeClr>
          </a:solidFill>
        </p:grpSpPr>
        <p:sp>
          <p:nvSpPr>
            <p:cNvPr id="132" name="Freeform 37">
              <a:extLst>
                <a:ext uri="{FF2B5EF4-FFF2-40B4-BE49-F238E27FC236}">
                  <a16:creationId xmlns:a16="http://schemas.microsoft.com/office/drawing/2014/main" id="{AD549284-A19E-4F43-8A93-D4C47DF6EED7}"/>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38">
              <a:extLst>
                <a:ext uri="{FF2B5EF4-FFF2-40B4-BE49-F238E27FC236}">
                  <a16:creationId xmlns:a16="http://schemas.microsoft.com/office/drawing/2014/main" id="{A7178B92-7C10-4E19-A3FB-5D63B02EFF86}"/>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39">
              <a:extLst>
                <a:ext uri="{FF2B5EF4-FFF2-40B4-BE49-F238E27FC236}">
                  <a16:creationId xmlns:a16="http://schemas.microsoft.com/office/drawing/2014/main" id="{5195359D-5883-478C-BA4D-D516620BE9DE}"/>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40">
              <a:extLst>
                <a:ext uri="{FF2B5EF4-FFF2-40B4-BE49-F238E27FC236}">
                  <a16:creationId xmlns:a16="http://schemas.microsoft.com/office/drawing/2014/main" id="{3A8E38DC-2184-4B7D-9A0C-E65F0A5D308C}"/>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41">
              <a:extLst>
                <a:ext uri="{FF2B5EF4-FFF2-40B4-BE49-F238E27FC236}">
                  <a16:creationId xmlns:a16="http://schemas.microsoft.com/office/drawing/2014/main" id="{8F6F3A69-C8D4-431C-9BE8-7C2173D2C610}"/>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42">
              <a:extLst>
                <a:ext uri="{FF2B5EF4-FFF2-40B4-BE49-F238E27FC236}">
                  <a16:creationId xmlns:a16="http://schemas.microsoft.com/office/drawing/2014/main" id="{5DFD01EB-6C61-4124-AAB5-F9C87472BA17}"/>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3">
              <a:extLst>
                <a:ext uri="{FF2B5EF4-FFF2-40B4-BE49-F238E27FC236}">
                  <a16:creationId xmlns:a16="http://schemas.microsoft.com/office/drawing/2014/main" id="{69F6F7B1-30D2-4768-B68A-CB8A580A4139}"/>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44">
              <a:extLst>
                <a:ext uri="{FF2B5EF4-FFF2-40B4-BE49-F238E27FC236}">
                  <a16:creationId xmlns:a16="http://schemas.microsoft.com/office/drawing/2014/main" id="{BDFF7E8E-2329-42BA-994E-3A61A0F4B87A}"/>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45">
              <a:extLst>
                <a:ext uri="{FF2B5EF4-FFF2-40B4-BE49-F238E27FC236}">
                  <a16:creationId xmlns:a16="http://schemas.microsoft.com/office/drawing/2014/main" id="{AE054382-A9F8-4803-9880-964425644422}"/>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46">
              <a:extLst>
                <a:ext uri="{FF2B5EF4-FFF2-40B4-BE49-F238E27FC236}">
                  <a16:creationId xmlns:a16="http://schemas.microsoft.com/office/drawing/2014/main" id="{675F4B8A-632C-4141-AE1F-2CAD09E241B1}"/>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47">
              <a:extLst>
                <a:ext uri="{FF2B5EF4-FFF2-40B4-BE49-F238E27FC236}">
                  <a16:creationId xmlns:a16="http://schemas.microsoft.com/office/drawing/2014/main" id="{FFBB1246-A9F8-404E-9228-03EE89336A86}"/>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48">
              <a:extLst>
                <a:ext uri="{FF2B5EF4-FFF2-40B4-BE49-F238E27FC236}">
                  <a16:creationId xmlns:a16="http://schemas.microsoft.com/office/drawing/2014/main" id="{13C8072E-95F5-4658-B348-B8C289D1918F}"/>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49">
              <a:extLst>
                <a:ext uri="{FF2B5EF4-FFF2-40B4-BE49-F238E27FC236}">
                  <a16:creationId xmlns:a16="http://schemas.microsoft.com/office/drawing/2014/main" id="{BD410440-89D6-4EFA-9B33-494F0B01A32D}"/>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0">
              <a:extLst>
                <a:ext uri="{FF2B5EF4-FFF2-40B4-BE49-F238E27FC236}">
                  <a16:creationId xmlns:a16="http://schemas.microsoft.com/office/drawing/2014/main" id="{27C022A1-9B61-4A75-818F-FE6DAC39F3FC}"/>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1">
              <a:extLst>
                <a:ext uri="{FF2B5EF4-FFF2-40B4-BE49-F238E27FC236}">
                  <a16:creationId xmlns:a16="http://schemas.microsoft.com/office/drawing/2014/main" id="{803480F3-5238-495C-8933-BD41364F10B3}"/>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2">
              <a:extLst>
                <a:ext uri="{FF2B5EF4-FFF2-40B4-BE49-F238E27FC236}">
                  <a16:creationId xmlns:a16="http://schemas.microsoft.com/office/drawing/2014/main" id="{340812AC-C6E8-496D-99DD-97E73E04A061}"/>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53">
              <a:extLst>
                <a:ext uri="{FF2B5EF4-FFF2-40B4-BE49-F238E27FC236}">
                  <a16:creationId xmlns:a16="http://schemas.microsoft.com/office/drawing/2014/main" id="{E5B66E70-0820-4081-B7BF-3FAA45289111}"/>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54">
              <a:extLst>
                <a:ext uri="{FF2B5EF4-FFF2-40B4-BE49-F238E27FC236}">
                  <a16:creationId xmlns:a16="http://schemas.microsoft.com/office/drawing/2014/main" id="{60F93D30-9CDA-43AB-B9D1-E4E354A54B47}"/>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55">
              <a:extLst>
                <a:ext uri="{FF2B5EF4-FFF2-40B4-BE49-F238E27FC236}">
                  <a16:creationId xmlns:a16="http://schemas.microsoft.com/office/drawing/2014/main" id="{79DBB8DA-3E69-48D6-B373-26B9507C7AB5}"/>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56">
              <a:extLst>
                <a:ext uri="{FF2B5EF4-FFF2-40B4-BE49-F238E27FC236}">
                  <a16:creationId xmlns:a16="http://schemas.microsoft.com/office/drawing/2014/main" id="{7BF31C6D-DA76-427E-BBBD-BD44E8AFB064}"/>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57">
              <a:extLst>
                <a:ext uri="{FF2B5EF4-FFF2-40B4-BE49-F238E27FC236}">
                  <a16:creationId xmlns:a16="http://schemas.microsoft.com/office/drawing/2014/main" id="{798D905C-1491-4487-91C1-F613ED88C15D}"/>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58">
              <a:extLst>
                <a:ext uri="{FF2B5EF4-FFF2-40B4-BE49-F238E27FC236}">
                  <a16:creationId xmlns:a16="http://schemas.microsoft.com/office/drawing/2014/main" id="{E4C5B914-0998-4E52-B141-96D660DF4ABA}"/>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59">
              <a:extLst>
                <a:ext uri="{FF2B5EF4-FFF2-40B4-BE49-F238E27FC236}">
                  <a16:creationId xmlns:a16="http://schemas.microsoft.com/office/drawing/2014/main" id="{57ABAFF1-124A-4A53-BCDD-2080D55B26E3}"/>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0">
              <a:extLst>
                <a:ext uri="{FF2B5EF4-FFF2-40B4-BE49-F238E27FC236}">
                  <a16:creationId xmlns:a16="http://schemas.microsoft.com/office/drawing/2014/main" id="{9A656D59-F49F-43BB-904C-880F370E82F5}"/>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1">
              <a:extLst>
                <a:ext uri="{FF2B5EF4-FFF2-40B4-BE49-F238E27FC236}">
                  <a16:creationId xmlns:a16="http://schemas.microsoft.com/office/drawing/2014/main" id="{FC578132-2D7B-42A8-846D-86B2F45D9044}"/>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2">
              <a:extLst>
                <a:ext uri="{FF2B5EF4-FFF2-40B4-BE49-F238E27FC236}">
                  <a16:creationId xmlns:a16="http://schemas.microsoft.com/office/drawing/2014/main" id="{86765080-C6F2-4202-BD82-3367ECC9628A}"/>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63">
              <a:extLst>
                <a:ext uri="{FF2B5EF4-FFF2-40B4-BE49-F238E27FC236}">
                  <a16:creationId xmlns:a16="http://schemas.microsoft.com/office/drawing/2014/main" id="{37E7E02E-7A0E-488C-B37C-890D509F4D80}"/>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64">
              <a:extLst>
                <a:ext uri="{FF2B5EF4-FFF2-40B4-BE49-F238E27FC236}">
                  <a16:creationId xmlns:a16="http://schemas.microsoft.com/office/drawing/2014/main" id="{13C76FFA-5683-4F33-9EEF-1A03B188B670}"/>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65">
              <a:extLst>
                <a:ext uri="{FF2B5EF4-FFF2-40B4-BE49-F238E27FC236}">
                  <a16:creationId xmlns:a16="http://schemas.microsoft.com/office/drawing/2014/main" id="{850B4A6C-3A2F-4638-BF4A-A5EE17DB11C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66">
              <a:extLst>
                <a:ext uri="{FF2B5EF4-FFF2-40B4-BE49-F238E27FC236}">
                  <a16:creationId xmlns:a16="http://schemas.microsoft.com/office/drawing/2014/main" id="{2A627C79-4B16-473F-9C89-58E6019C8B77}"/>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67">
              <a:extLst>
                <a:ext uri="{FF2B5EF4-FFF2-40B4-BE49-F238E27FC236}">
                  <a16:creationId xmlns:a16="http://schemas.microsoft.com/office/drawing/2014/main" id="{0808625D-9462-40A1-8D49-A78698D3A9C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68">
              <a:extLst>
                <a:ext uri="{FF2B5EF4-FFF2-40B4-BE49-F238E27FC236}">
                  <a16:creationId xmlns:a16="http://schemas.microsoft.com/office/drawing/2014/main" id="{55E9CB14-D275-4975-9817-9710A51F4DB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69">
              <a:extLst>
                <a:ext uri="{FF2B5EF4-FFF2-40B4-BE49-F238E27FC236}">
                  <a16:creationId xmlns:a16="http://schemas.microsoft.com/office/drawing/2014/main" id="{4A4EF865-F001-4695-96CE-2D1BF18EC498}"/>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0">
              <a:extLst>
                <a:ext uri="{FF2B5EF4-FFF2-40B4-BE49-F238E27FC236}">
                  <a16:creationId xmlns:a16="http://schemas.microsoft.com/office/drawing/2014/main" id="{D199529A-B9DE-47C2-97DA-08C5E8CB2C13}"/>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1">
              <a:extLst>
                <a:ext uri="{FF2B5EF4-FFF2-40B4-BE49-F238E27FC236}">
                  <a16:creationId xmlns:a16="http://schemas.microsoft.com/office/drawing/2014/main" id="{1FD088F7-2404-434B-96DC-C586F03D669C}"/>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2">
              <a:extLst>
                <a:ext uri="{FF2B5EF4-FFF2-40B4-BE49-F238E27FC236}">
                  <a16:creationId xmlns:a16="http://schemas.microsoft.com/office/drawing/2014/main" id="{08FE095C-3FFF-47BF-84F4-8DCB65760FC2}"/>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73">
              <a:extLst>
                <a:ext uri="{FF2B5EF4-FFF2-40B4-BE49-F238E27FC236}">
                  <a16:creationId xmlns:a16="http://schemas.microsoft.com/office/drawing/2014/main" id="{039F14C5-AADD-4B9B-834D-6062140992BE}"/>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74">
              <a:extLst>
                <a:ext uri="{FF2B5EF4-FFF2-40B4-BE49-F238E27FC236}">
                  <a16:creationId xmlns:a16="http://schemas.microsoft.com/office/drawing/2014/main" id="{ED578F0F-9625-4C9E-8AD9-76E46BF2207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75">
              <a:extLst>
                <a:ext uri="{FF2B5EF4-FFF2-40B4-BE49-F238E27FC236}">
                  <a16:creationId xmlns:a16="http://schemas.microsoft.com/office/drawing/2014/main" id="{09C06DF6-6DE8-48B2-ACDE-73827418B7B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76">
              <a:extLst>
                <a:ext uri="{FF2B5EF4-FFF2-40B4-BE49-F238E27FC236}">
                  <a16:creationId xmlns:a16="http://schemas.microsoft.com/office/drawing/2014/main" id="{3918B3DF-38E7-4A5F-B05D-EBA7134E600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77">
              <a:extLst>
                <a:ext uri="{FF2B5EF4-FFF2-40B4-BE49-F238E27FC236}">
                  <a16:creationId xmlns:a16="http://schemas.microsoft.com/office/drawing/2014/main" id="{68B5A033-01E9-4941-91F6-8976AAFD3A5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78">
              <a:extLst>
                <a:ext uri="{FF2B5EF4-FFF2-40B4-BE49-F238E27FC236}">
                  <a16:creationId xmlns:a16="http://schemas.microsoft.com/office/drawing/2014/main" id="{14CA1CED-34D0-44FB-A72F-34A30DDEC40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79">
              <a:extLst>
                <a:ext uri="{FF2B5EF4-FFF2-40B4-BE49-F238E27FC236}">
                  <a16:creationId xmlns:a16="http://schemas.microsoft.com/office/drawing/2014/main" id="{9D659AE7-548B-4EA8-B75F-AE9820911927}"/>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80">
              <a:extLst>
                <a:ext uri="{FF2B5EF4-FFF2-40B4-BE49-F238E27FC236}">
                  <a16:creationId xmlns:a16="http://schemas.microsoft.com/office/drawing/2014/main" id="{1C1EE7BB-8127-4A2A-9DDC-1A5CD8AE8798}"/>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81">
              <a:extLst>
                <a:ext uri="{FF2B5EF4-FFF2-40B4-BE49-F238E27FC236}">
                  <a16:creationId xmlns:a16="http://schemas.microsoft.com/office/drawing/2014/main" id="{79E2C052-D388-4836-A3D5-4822035AEF3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82">
              <a:extLst>
                <a:ext uri="{FF2B5EF4-FFF2-40B4-BE49-F238E27FC236}">
                  <a16:creationId xmlns:a16="http://schemas.microsoft.com/office/drawing/2014/main" id="{F6A9663B-7220-4EC0-97C8-1F9BF120615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9" name="Freeform 83">
              <a:extLst>
                <a:ext uri="{FF2B5EF4-FFF2-40B4-BE49-F238E27FC236}">
                  <a16:creationId xmlns:a16="http://schemas.microsoft.com/office/drawing/2014/main" id="{CB1F7C63-5E75-4B53-B1BE-8D344C293C95}"/>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84">
              <a:extLst>
                <a:ext uri="{FF2B5EF4-FFF2-40B4-BE49-F238E27FC236}">
                  <a16:creationId xmlns:a16="http://schemas.microsoft.com/office/drawing/2014/main" id="{0E624A33-DC8F-4F01-AEBB-848BF0C75304}"/>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85">
              <a:extLst>
                <a:ext uri="{FF2B5EF4-FFF2-40B4-BE49-F238E27FC236}">
                  <a16:creationId xmlns:a16="http://schemas.microsoft.com/office/drawing/2014/main" id="{FDE4EBDF-573E-43BD-842E-1CD79263890F}"/>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82" name="Group 181">
            <a:extLst>
              <a:ext uri="{FF2B5EF4-FFF2-40B4-BE49-F238E27FC236}">
                <a16:creationId xmlns:a16="http://schemas.microsoft.com/office/drawing/2014/main" id="{963CFA1A-4A0A-488F-9696-8F5C1DF7D7C1}"/>
              </a:ext>
            </a:extLst>
          </p:cNvPr>
          <p:cNvGrpSpPr/>
          <p:nvPr/>
        </p:nvGrpSpPr>
        <p:grpSpPr>
          <a:xfrm>
            <a:off x="9622537" y="85117"/>
            <a:ext cx="559961" cy="608099"/>
            <a:chOff x="9622537" y="85117"/>
            <a:chExt cx="559961" cy="608099"/>
          </a:xfrm>
        </p:grpSpPr>
        <p:sp>
          <p:nvSpPr>
            <p:cNvPr id="183" name="Freeform 10">
              <a:extLst>
                <a:ext uri="{FF2B5EF4-FFF2-40B4-BE49-F238E27FC236}">
                  <a16:creationId xmlns:a16="http://schemas.microsoft.com/office/drawing/2014/main" id="{436F1FDF-590C-4628-B771-A410DCB1DDD1}"/>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11">
              <a:extLst>
                <a:ext uri="{FF2B5EF4-FFF2-40B4-BE49-F238E27FC236}">
                  <a16:creationId xmlns:a16="http://schemas.microsoft.com/office/drawing/2014/main" id="{378AB945-011D-4A5C-999D-74D6A2520C62}"/>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5" name="Freeform 12">
              <a:extLst>
                <a:ext uri="{FF2B5EF4-FFF2-40B4-BE49-F238E27FC236}">
                  <a16:creationId xmlns:a16="http://schemas.microsoft.com/office/drawing/2014/main" id="{986D8639-4CC1-4086-98CA-FE0A67129185}"/>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13">
              <a:extLst>
                <a:ext uri="{FF2B5EF4-FFF2-40B4-BE49-F238E27FC236}">
                  <a16:creationId xmlns:a16="http://schemas.microsoft.com/office/drawing/2014/main" id="{9B72B42F-DC43-44EE-8A18-BA491A3610A7}"/>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14">
              <a:extLst>
                <a:ext uri="{FF2B5EF4-FFF2-40B4-BE49-F238E27FC236}">
                  <a16:creationId xmlns:a16="http://schemas.microsoft.com/office/drawing/2014/main" id="{487DEF60-9236-4DE6-9EC0-AAD2AA70221A}"/>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88" name="Freeform 332">
            <a:extLst>
              <a:ext uri="{FF2B5EF4-FFF2-40B4-BE49-F238E27FC236}">
                <a16:creationId xmlns:a16="http://schemas.microsoft.com/office/drawing/2014/main" id="{FB4CF91E-3E80-4660-81A9-B8D53D0AFDDE}"/>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9" name="Freeform 14">
            <a:extLst>
              <a:ext uri="{FF2B5EF4-FFF2-40B4-BE49-F238E27FC236}">
                <a16:creationId xmlns:a16="http://schemas.microsoft.com/office/drawing/2014/main" id="{81685198-9220-4D90-AB14-C638911BCA56}"/>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624230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6BE116-B63F-4040-95D8-639B1BB02602}"/>
              </a:ext>
            </a:extLst>
          </p:cNvPr>
          <p:cNvGraphicFramePr>
            <a:graphicFrameLocks noChangeAspect="1"/>
          </p:cNvGraphicFramePr>
          <p:nvPr>
            <p:custDataLst>
              <p:tags r:id="rId2"/>
            </p:custDataLst>
            <p:extLst>
              <p:ext uri="{D42A27DB-BD31-4B8C-83A1-F6EECF244321}">
                <p14:modId xmlns:p14="http://schemas.microsoft.com/office/powerpoint/2010/main" val="3954544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2"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5B790C-56FB-4B63-A545-B650FA04B49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558F5A7F-1E4E-484E-91C2-48567DF09D7F}"/>
              </a:ext>
            </a:extLst>
          </p:cNvPr>
          <p:cNvSpPr>
            <a:spLocks noGrp="1"/>
          </p:cNvSpPr>
          <p:nvPr>
            <p:ph type="title"/>
          </p:nvPr>
        </p:nvSpPr>
        <p:spPr>
          <a:xfrm>
            <a:off x="227349" y="160527"/>
            <a:ext cx="8177068" cy="844589"/>
          </a:xfrm>
        </p:spPr>
        <p:txBody>
          <a:bodyPr/>
          <a:lstStyle/>
          <a:p>
            <a:r>
              <a:rPr lang="en-US" sz="2200" dirty="0"/>
              <a:t>Wealth management Achilles’ heel: lack of personalized interactions</a:t>
            </a:r>
          </a:p>
        </p:txBody>
      </p:sp>
      <p:sp>
        <p:nvSpPr>
          <p:cNvPr id="46" name="Text Box 1031">
            <a:extLst>
              <a:ext uri="{FF2B5EF4-FFF2-40B4-BE49-F238E27FC236}">
                <a16:creationId xmlns:a16="http://schemas.microsoft.com/office/drawing/2014/main" id="{3D800B10-A21F-4A69-9AF8-1966B686C90B}"/>
              </a:ext>
            </a:extLst>
          </p:cNvPr>
          <p:cNvSpPr txBox="1">
            <a:spLocks noChangeArrowheads="1"/>
          </p:cNvSpPr>
          <p:nvPr/>
        </p:nvSpPr>
        <p:spPr bwMode="auto">
          <a:xfrm>
            <a:off x="309651" y="940109"/>
            <a:ext cx="11572698" cy="302282"/>
          </a:xfrm>
          <a:prstGeom prst="rect">
            <a:avLst/>
          </a:prstGeom>
          <a:noFill/>
          <a:ln w="19050">
            <a:noFill/>
            <a:miter lim="800000"/>
            <a:headEnd/>
            <a:tailEnd/>
          </a:ln>
        </p:spPr>
        <p:txBody>
          <a:bodyPr wrap="square" lIns="0" tIns="0" rIns="0" bIns="0">
            <a:noAutofit/>
          </a:bodyPr>
          <a:lstStyle/>
          <a:p>
            <a:pPr lvl="0" algn="ctr">
              <a:defRPr/>
            </a:pPr>
            <a:r>
              <a:rPr lang="en-IN" sz="1600" b="1" i="1" dirty="0">
                <a:solidFill>
                  <a:prstClr val="black"/>
                </a:solidFill>
              </a:rPr>
              <a:t>W</a:t>
            </a:r>
            <a:r>
              <a:rPr lang="en-US" sz="1600" b="1" i="1" dirty="0" err="1">
                <a:solidFill>
                  <a:prstClr val="black"/>
                </a:solidFill>
              </a:rPr>
              <a:t>ealth</a:t>
            </a:r>
            <a:r>
              <a:rPr lang="en-US" sz="1600" b="1" i="1" dirty="0">
                <a:solidFill>
                  <a:prstClr val="black"/>
                </a:solidFill>
              </a:rPr>
              <a:t> management client journey analysis</a:t>
            </a:r>
          </a:p>
        </p:txBody>
      </p:sp>
      <p:grpSp>
        <p:nvGrpSpPr>
          <p:cNvPr id="4" name="Group 3">
            <a:extLst>
              <a:ext uri="{FF2B5EF4-FFF2-40B4-BE49-F238E27FC236}">
                <a16:creationId xmlns:a16="http://schemas.microsoft.com/office/drawing/2014/main" id="{B0D28384-8616-4A2F-9445-F254D20B1257}"/>
              </a:ext>
            </a:extLst>
          </p:cNvPr>
          <p:cNvGrpSpPr/>
          <p:nvPr/>
        </p:nvGrpSpPr>
        <p:grpSpPr>
          <a:xfrm>
            <a:off x="0" y="1570141"/>
            <a:ext cx="12192000" cy="4898479"/>
            <a:chOff x="0" y="1570141"/>
            <a:chExt cx="12192000" cy="4898479"/>
          </a:xfrm>
        </p:grpSpPr>
        <p:grpSp>
          <p:nvGrpSpPr>
            <p:cNvPr id="14" name="Group 13">
              <a:extLst>
                <a:ext uri="{FF2B5EF4-FFF2-40B4-BE49-F238E27FC236}">
                  <a16:creationId xmlns:a16="http://schemas.microsoft.com/office/drawing/2014/main" id="{903F4E9B-7B7E-43D4-913A-5E4EB91D52AA}"/>
                </a:ext>
              </a:extLst>
            </p:cNvPr>
            <p:cNvGrpSpPr/>
            <p:nvPr/>
          </p:nvGrpSpPr>
          <p:grpSpPr>
            <a:xfrm>
              <a:off x="345921" y="1570141"/>
              <a:ext cx="11374592" cy="3249509"/>
              <a:chOff x="345921" y="1570141"/>
              <a:chExt cx="11374592" cy="3249509"/>
            </a:xfrm>
          </p:grpSpPr>
          <p:sp>
            <p:nvSpPr>
              <p:cNvPr id="150" name="Rectangle: Rounded Corners 149">
                <a:extLst>
                  <a:ext uri="{FF2B5EF4-FFF2-40B4-BE49-F238E27FC236}">
                    <a16:creationId xmlns:a16="http://schemas.microsoft.com/office/drawing/2014/main" id="{1CD3812A-9742-4FA1-902E-89478BE324DD}"/>
                  </a:ext>
                </a:extLst>
              </p:cNvPr>
              <p:cNvSpPr/>
              <p:nvPr/>
            </p:nvSpPr>
            <p:spPr>
              <a:xfrm>
                <a:off x="345921" y="1570141"/>
                <a:ext cx="1263304"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Rounded Corners 150">
                <a:extLst>
                  <a:ext uri="{FF2B5EF4-FFF2-40B4-BE49-F238E27FC236}">
                    <a16:creationId xmlns:a16="http://schemas.microsoft.com/office/drawing/2014/main" id="{88DD1B02-963B-4BCC-9FFE-C37AAA4AB91E}"/>
                  </a:ext>
                </a:extLst>
              </p:cNvPr>
              <p:cNvSpPr/>
              <p:nvPr/>
            </p:nvSpPr>
            <p:spPr>
              <a:xfrm>
                <a:off x="4408952" y="1570141"/>
                <a:ext cx="2023480"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Rounded Corners 102">
                <a:extLst>
                  <a:ext uri="{FF2B5EF4-FFF2-40B4-BE49-F238E27FC236}">
                    <a16:creationId xmlns:a16="http://schemas.microsoft.com/office/drawing/2014/main" id="{F4FD0B85-7DA0-4C1A-A1DE-62FF86C56F9E}"/>
                  </a:ext>
                </a:extLst>
              </p:cNvPr>
              <p:cNvSpPr/>
              <p:nvPr/>
            </p:nvSpPr>
            <p:spPr>
              <a:xfrm>
                <a:off x="10546592" y="1570141"/>
                <a:ext cx="1173921"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Rectangle 107">
              <a:extLst>
                <a:ext uri="{FF2B5EF4-FFF2-40B4-BE49-F238E27FC236}">
                  <a16:creationId xmlns:a16="http://schemas.microsoft.com/office/drawing/2014/main" id="{7B2A6AB6-A494-4162-B373-50C0FB5ED66A}"/>
                </a:ext>
              </a:extLst>
            </p:cNvPr>
            <p:cNvSpPr/>
            <p:nvPr/>
          </p:nvSpPr>
          <p:spPr>
            <a:xfrm>
              <a:off x="0" y="6027410"/>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Focus on a few information and value-added related areas, will help wealth firms deliver big.</a:t>
              </a:r>
            </a:p>
          </p:txBody>
        </p:sp>
      </p:grpSp>
      <p:sp>
        <p:nvSpPr>
          <p:cNvPr id="109" name="Rectangle 108">
            <a:extLst>
              <a:ext uri="{FF2B5EF4-FFF2-40B4-BE49-F238E27FC236}">
                <a16:creationId xmlns:a16="http://schemas.microsoft.com/office/drawing/2014/main" id="{B3FDCE2A-E075-411A-880E-3E0F0CE53261}"/>
              </a:ext>
            </a:extLst>
          </p:cNvPr>
          <p:cNvSpPr>
            <a:spLocks noChangeArrowheads="1"/>
          </p:cNvSpPr>
          <p:nvPr>
            <p:custDataLst>
              <p:tags r:id="rId4"/>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fr-FR" sz="800" dirty="0"/>
              <a:t>Source:	</a:t>
            </a:r>
            <a:r>
              <a:rPr lang="fr-FR" sz="800" dirty="0" err="1"/>
              <a:t>Capgemini</a:t>
            </a:r>
            <a:r>
              <a:rPr lang="fr-FR" sz="800" dirty="0"/>
              <a:t> Financial Services </a:t>
            </a:r>
            <a:r>
              <a:rPr lang="fr-FR" sz="800" dirty="0" err="1"/>
              <a:t>Analysis</a:t>
            </a:r>
            <a:r>
              <a:rPr lang="fr-FR" sz="800" dirty="0"/>
              <a:t>, 2020.</a:t>
            </a:r>
          </a:p>
        </p:txBody>
      </p:sp>
      <p:grpSp>
        <p:nvGrpSpPr>
          <p:cNvPr id="12" name="Group 11">
            <a:extLst>
              <a:ext uri="{FF2B5EF4-FFF2-40B4-BE49-F238E27FC236}">
                <a16:creationId xmlns:a16="http://schemas.microsoft.com/office/drawing/2014/main" id="{D49474F3-2635-4D3A-A702-A33144865739}"/>
              </a:ext>
            </a:extLst>
          </p:cNvPr>
          <p:cNvGrpSpPr/>
          <p:nvPr/>
        </p:nvGrpSpPr>
        <p:grpSpPr>
          <a:xfrm>
            <a:off x="375569" y="3179328"/>
            <a:ext cx="11273360" cy="2753279"/>
            <a:chOff x="375569" y="3179328"/>
            <a:chExt cx="11273360" cy="2753279"/>
          </a:xfrm>
        </p:grpSpPr>
        <p:grpSp>
          <p:nvGrpSpPr>
            <p:cNvPr id="3" name="Group 2">
              <a:extLst>
                <a:ext uri="{FF2B5EF4-FFF2-40B4-BE49-F238E27FC236}">
                  <a16:creationId xmlns:a16="http://schemas.microsoft.com/office/drawing/2014/main" id="{EA3CE6F2-7F56-4B3B-9E7B-969B8EAF1840}"/>
                </a:ext>
              </a:extLst>
            </p:cNvPr>
            <p:cNvGrpSpPr/>
            <p:nvPr/>
          </p:nvGrpSpPr>
          <p:grpSpPr>
            <a:xfrm>
              <a:off x="375569" y="5483786"/>
              <a:ext cx="114600" cy="371020"/>
              <a:chOff x="2768376" y="5566161"/>
              <a:chExt cx="114600" cy="371020"/>
            </a:xfrm>
          </p:grpSpPr>
          <p:sp>
            <p:nvSpPr>
              <p:cNvPr id="119" name="Freeform 112">
                <a:extLst>
                  <a:ext uri="{FF2B5EF4-FFF2-40B4-BE49-F238E27FC236}">
                    <a16:creationId xmlns:a16="http://schemas.microsoft.com/office/drawing/2014/main" id="{7AC46D4A-8381-407B-B5A0-3DE1929A5853}"/>
                  </a:ext>
                </a:extLst>
              </p:cNvPr>
              <p:cNvSpPr>
                <a:spLocks/>
              </p:cNvSpPr>
              <p:nvPr/>
            </p:nvSpPr>
            <p:spPr bwMode="auto">
              <a:xfrm>
                <a:off x="2784368" y="5566161"/>
                <a:ext cx="82619" cy="230658"/>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3">
                <a:extLst>
                  <a:ext uri="{FF2B5EF4-FFF2-40B4-BE49-F238E27FC236}">
                    <a16:creationId xmlns:a16="http://schemas.microsoft.com/office/drawing/2014/main" id="{9D3D183C-58FD-4CEE-B678-691C4FABF797}"/>
                  </a:ext>
                </a:extLst>
              </p:cNvPr>
              <p:cNvSpPr>
                <a:spLocks/>
              </p:cNvSpPr>
              <p:nvPr/>
            </p:nvSpPr>
            <p:spPr bwMode="auto">
              <a:xfrm>
                <a:off x="2768376" y="5848554"/>
                <a:ext cx="114600" cy="88627"/>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TextBox 112">
              <a:extLst>
                <a:ext uri="{FF2B5EF4-FFF2-40B4-BE49-F238E27FC236}">
                  <a16:creationId xmlns:a16="http://schemas.microsoft.com/office/drawing/2014/main" id="{90D504F6-C7C0-44C0-8434-FF07411AF07C}"/>
                </a:ext>
              </a:extLst>
            </p:cNvPr>
            <p:cNvSpPr txBox="1"/>
            <p:nvPr/>
          </p:nvSpPr>
          <p:spPr>
            <a:xfrm>
              <a:off x="534840" y="5409387"/>
              <a:ext cx="3203391" cy="523220"/>
            </a:xfrm>
            <a:prstGeom prst="rect">
              <a:avLst/>
            </a:prstGeom>
            <a:noFill/>
          </p:spPr>
          <p:txBody>
            <a:bodyPr wrap="square" rtlCol="0">
              <a:spAutoFit/>
            </a:bodyPr>
            <a:lstStyle/>
            <a:p>
              <a:pPr lvl="0">
                <a:defRPr/>
              </a:pPr>
              <a:r>
                <a:rPr lang="en-IN" sz="1000" b="1" kern="0" dirty="0"/>
                <a:t>Touchpoints with least client satisfaction</a:t>
              </a:r>
            </a:p>
            <a:p>
              <a:pPr lvl="0">
                <a:defRPr/>
              </a:pPr>
              <a:r>
                <a:rPr kumimoji="0" lang="en-IN" sz="900" i="0" u="none" strike="noStrike" kern="0" cap="none" spc="0" normalizeH="0" baseline="0" noProof="0" dirty="0">
                  <a:ln>
                    <a:noFill/>
                  </a:ln>
                  <a:effectLst/>
                  <a:uLnTx/>
                  <a:uFillTx/>
                </a:rPr>
                <a:t>% </a:t>
              </a:r>
              <a:r>
                <a:rPr kumimoji="0" lang="en-IN" sz="900" i="0" u="none" strike="noStrike" kern="0" cap="none" spc="0" normalizeH="0" baseline="0" noProof="0" dirty="0" err="1">
                  <a:ln>
                    <a:noFill/>
                  </a:ln>
                  <a:effectLst/>
                  <a:uLnTx/>
                  <a:uFillTx/>
                </a:rPr>
                <a:t>deno</a:t>
              </a:r>
              <a:r>
                <a:rPr lang="en-IN" sz="900" kern="0" dirty="0" err="1"/>
                <a:t>tes</a:t>
              </a:r>
              <a:r>
                <a:rPr lang="en-IN" sz="900" kern="0" dirty="0"/>
                <a:t> HNWIs not satisfied with their firm’s service at the touchpoint</a:t>
              </a:r>
              <a:endParaRPr kumimoji="0" lang="en-US" sz="900" i="0" u="none" strike="noStrike" kern="0" cap="none" spc="0" normalizeH="0" baseline="0" noProof="0" dirty="0">
                <a:ln>
                  <a:noFill/>
                </a:ln>
                <a:effectLst/>
                <a:uLnTx/>
                <a:uFillTx/>
              </a:endParaRPr>
            </a:p>
          </p:txBody>
        </p:sp>
        <p:grpSp>
          <p:nvGrpSpPr>
            <p:cNvPr id="5" name="Group 4">
              <a:extLst>
                <a:ext uri="{FF2B5EF4-FFF2-40B4-BE49-F238E27FC236}">
                  <a16:creationId xmlns:a16="http://schemas.microsoft.com/office/drawing/2014/main" id="{E5229CF7-A9F9-43D6-8EAA-7AF7BD7FD2AD}"/>
                </a:ext>
              </a:extLst>
            </p:cNvPr>
            <p:cNvGrpSpPr/>
            <p:nvPr/>
          </p:nvGrpSpPr>
          <p:grpSpPr>
            <a:xfrm>
              <a:off x="573505" y="3179328"/>
              <a:ext cx="11075424" cy="332920"/>
              <a:chOff x="573505" y="3179328"/>
              <a:chExt cx="11075424" cy="332920"/>
            </a:xfrm>
          </p:grpSpPr>
          <p:grpSp>
            <p:nvGrpSpPr>
              <p:cNvPr id="10" name="Group 9"/>
              <p:cNvGrpSpPr/>
              <p:nvPr/>
            </p:nvGrpSpPr>
            <p:grpSpPr>
              <a:xfrm>
                <a:off x="9710752" y="3179328"/>
                <a:ext cx="875108" cy="332920"/>
                <a:chOff x="10070192" y="4089918"/>
                <a:chExt cx="875108" cy="332920"/>
              </a:xfrm>
            </p:grpSpPr>
            <p:grpSp>
              <p:nvGrpSpPr>
                <p:cNvPr id="100" name="Groupe 455">
                  <a:extLst>
                    <a:ext uri="{FF2B5EF4-FFF2-40B4-BE49-F238E27FC236}">
                      <a16:creationId xmlns:a16="http://schemas.microsoft.com/office/drawing/2014/main" id="{E1BDB2EB-D9FB-4935-84FC-4C202962E2ED}"/>
                    </a:ext>
                  </a:extLst>
                </p:cNvPr>
                <p:cNvGrpSpPr>
                  <a:grpSpLocks/>
                </p:cNvGrpSpPr>
                <p:nvPr/>
              </p:nvGrpSpPr>
              <p:grpSpPr>
                <a:xfrm>
                  <a:off x="10070192" y="4089918"/>
                  <a:ext cx="114600" cy="332920"/>
                  <a:chOff x="7350126" y="5470526"/>
                  <a:chExt cx="136525" cy="465137"/>
                </a:xfrm>
                <a:solidFill>
                  <a:srgbClr val="FF0000"/>
                </a:solidFill>
              </p:grpSpPr>
              <p:sp>
                <p:nvSpPr>
                  <p:cNvPr id="101" name="Freeform 112">
                    <a:extLst>
                      <a:ext uri="{FF2B5EF4-FFF2-40B4-BE49-F238E27FC236}">
                        <a16:creationId xmlns:a16="http://schemas.microsoft.com/office/drawing/2014/main" id="{48FC7CBE-FF71-4672-A514-5F4CACEC63E0}"/>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13">
                    <a:extLst>
                      <a:ext uri="{FF2B5EF4-FFF2-40B4-BE49-F238E27FC236}">
                        <a16:creationId xmlns:a16="http://schemas.microsoft.com/office/drawing/2014/main" id="{BC280980-5F7E-4A53-B2A5-0EB438263571}"/>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1" name="TextBox 290">
                  <a:extLst>
                    <a:ext uri="{FF2B5EF4-FFF2-40B4-BE49-F238E27FC236}">
                      <a16:creationId xmlns:a16="http://schemas.microsoft.com/office/drawing/2014/main" id="{1CE426D0-520F-4022-A9E3-1E04439533E8}"/>
                    </a:ext>
                  </a:extLst>
                </p:cNvPr>
                <p:cNvSpPr txBox="1"/>
                <p:nvPr/>
              </p:nvSpPr>
              <p:spPr>
                <a:xfrm>
                  <a:off x="10141651" y="4150111"/>
                  <a:ext cx="803649" cy="246221"/>
                </a:xfrm>
                <a:prstGeom prst="rect">
                  <a:avLst/>
                </a:prstGeom>
                <a:noFill/>
              </p:spPr>
              <p:txBody>
                <a:bodyPr wrap="square" rtlCol="0">
                  <a:spAutoFit/>
                </a:bodyPr>
                <a:lstStyle/>
                <a:p>
                  <a:r>
                    <a:rPr lang="en-IN" sz="1000" dirty="0"/>
                    <a:t>64%</a:t>
                  </a:r>
                  <a:endParaRPr lang="en-US" sz="1000" dirty="0"/>
                </a:p>
              </p:txBody>
            </p:sp>
          </p:grpSp>
          <p:sp>
            <p:nvSpPr>
              <p:cNvPr id="62" name="Freeform 113">
                <a:extLst>
                  <a:ext uri="{FF2B5EF4-FFF2-40B4-BE49-F238E27FC236}">
                    <a16:creationId xmlns:a16="http://schemas.microsoft.com/office/drawing/2014/main" id="{DCEBA8D0-02A1-4B6E-9D0D-B6DFAE37089E}"/>
                  </a:ext>
                </a:extLst>
              </p:cNvPr>
              <p:cNvSpPr>
                <a:spLocks/>
              </p:cNvSpPr>
              <p:nvPr/>
            </p:nvSpPr>
            <p:spPr bwMode="auto">
              <a:xfrm>
                <a:off x="573505" y="3423621"/>
                <a:ext cx="114600" cy="88627"/>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12">
                <a:extLst>
                  <a:ext uri="{FF2B5EF4-FFF2-40B4-BE49-F238E27FC236}">
                    <a16:creationId xmlns:a16="http://schemas.microsoft.com/office/drawing/2014/main" id="{05A546B5-1602-4341-8CAE-9C1FBA66446F}"/>
                  </a:ext>
                </a:extLst>
              </p:cNvPr>
              <p:cNvSpPr>
                <a:spLocks/>
              </p:cNvSpPr>
              <p:nvPr/>
            </p:nvSpPr>
            <p:spPr bwMode="auto">
              <a:xfrm>
                <a:off x="589496" y="3179328"/>
                <a:ext cx="82619" cy="230658"/>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TextBox 287">
                <a:extLst>
                  <a:ext uri="{FF2B5EF4-FFF2-40B4-BE49-F238E27FC236}">
                    <a16:creationId xmlns:a16="http://schemas.microsoft.com/office/drawing/2014/main" id="{3D163644-C0CB-4F38-BF42-3DFD3F8130B7}"/>
                  </a:ext>
                </a:extLst>
              </p:cNvPr>
              <p:cNvSpPr txBox="1"/>
              <p:nvPr/>
            </p:nvSpPr>
            <p:spPr>
              <a:xfrm>
                <a:off x="673743" y="3239521"/>
                <a:ext cx="803649" cy="246221"/>
              </a:xfrm>
              <a:prstGeom prst="rect">
                <a:avLst/>
              </a:prstGeom>
              <a:noFill/>
            </p:spPr>
            <p:txBody>
              <a:bodyPr wrap="square" rtlCol="0">
                <a:spAutoFit/>
              </a:bodyPr>
              <a:lstStyle/>
              <a:p>
                <a:r>
                  <a:rPr lang="en-IN" sz="1000" dirty="0"/>
                  <a:t>61%</a:t>
                </a:r>
                <a:endParaRPr lang="en-US" sz="1000" dirty="0"/>
              </a:p>
            </p:txBody>
          </p:sp>
          <p:grpSp>
            <p:nvGrpSpPr>
              <p:cNvPr id="64" name="Groupe 455">
                <a:extLst>
                  <a:ext uri="{FF2B5EF4-FFF2-40B4-BE49-F238E27FC236}">
                    <a16:creationId xmlns:a16="http://schemas.microsoft.com/office/drawing/2014/main" id="{CA9FA72D-5ECE-4262-BBBB-6F695162450B}"/>
                  </a:ext>
                </a:extLst>
              </p:cNvPr>
              <p:cNvGrpSpPr>
                <a:grpSpLocks/>
              </p:cNvGrpSpPr>
              <p:nvPr/>
            </p:nvGrpSpPr>
            <p:grpSpPr>
              <a:xfrm>
                <a:off x="4477717" y="3179328"/>
                <a:ext cx="114600" cy="332920"/>
                <a:chOff x="7350126" y="5470526"/>
                <a:chExt cx="136525" cy="465137"/>
              </a:xfrm>
              <a:solidFill>
                <a:srgbClr val="FF0000"/>
              </a:solidFill>
            </p:grpSpPr>
            <p:sp>
              <p:nvSpPr>
                <p:cNvPr id="65" name="Freeform 112">
                  <a:extLst>
                    <a:ext uri="{FF2B5EF4-FFF2-40B4-BE49-F238E27FC236}">
                      <a16:creationId xmlns:a16="http://schemas.microsoft.com/office/drawing/2014/main" id="{82F175E0-9C03-487A-A791-88D92C2A3851}"/>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3">
                  <a:extLst>
                    <a:ext uri="{FF2B5EF4-FFF2-40B4-BE49-F238E27FC236}">
                      <a16:creationId xmlns:a16="http://schemas.microsoft.com/office/drawing/2014/main" id="{8E921B34-0DDF-4268-8B51-93D3C4C4E24B}"/>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e 455">
                <a:extLst>
                  <a:ext uri="{FF2B5EF4-FFF2-40B4-BE49-F238E27FC236}">
                    <a16:creationId xmlns:a16="http://schemas.microsoft.com/office/drawing/2014/main" id="{8FD8E7B2-8701-4CCC-8D60-AF574FAD8925}"/>
                  </a:ext>
                </a:extLst>
              </p:cNvPr>
              <p:cNvGrpSpPr>
                <a:grpSpLocks/>
              </p:cNvGrpSpPr>
              <p:nvPr/>
            </p:nvGrpSpPr>
            <p:grpSpPr>
              <a:xfrm>
                <a:off x="5645231" y="3179328"/>
                <a:ext cx="114600" cy="332920"/>
                <a:chOff x="7350126" y="5470526"/>
                <a:chExt cx="136525" cy="465137"/>
              </a:xfrm>
              <a:solidFill>
                <a:srgbClr val="FF0000"/>
              </a:solidFill>
            </p:grpSpPr>
            <p:sp>
              <p:nvSpPr>
                <p:cNvPr id="69" name="Freeform 112">
                  <a:extLst>
                    <a:ext uri="{FF2B5EF4-FFF2-40B4-BE49-F238E27FC236}">
                      <a16:creationId xmlns:a16="http://schemas.microsoft.com/office/drawing/2014/main" id="{94B27EF4-B07F-48F9-9D50-B122FF2CCA9B}"/>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3">
                  <a:extLst>
                    <a:ext uri="{FF2B5EF4-FFF2-40B4-BE49-F238E27FC236}">
                      <a16:creationId xmlns:a16="http://schemas.microsoft.com/office/drawing/2014/main" id="{3A5B7805-F61E-43BF-9547-9BA5B6ED712A}"/>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9" name="TextBox 288">
                <a:extLst>
                  <a:ext uri="{FF2B5EF4-FFF2-40B4-BE49-F238E27FC236}">
                    <a16:creationId xmlns:a16="http://schemas.microsoft.com/office/drawing/2014/main" id="{EA1B03E8-DEA3-4291-A99D-2F0C22635830}"/>
                  </a:ext>
                </a:extLst>
              </p:cNvPr>
              <p:cNvSpPr txBox="1"/>
              <p:nvPr/>
            </p:nvSpPr>
            <p:spPr>
              <a:xfrm>
                <a:off x="4586224" y="3239521"/>
                <a:ext cx="741895" cy="246221"/>
              </a:xfrm>
              <a:prstGeom prst="rect">
                <a:avLst/>
              </a:prstGeom>
              <a:noFill/>
            </p:spPr>
            <p:txBody>
              <a:bodyPr wrap="square" rtlCol="0">
                <a:spAutoFit/>
              </a:bodyPr>
              <a:lstStyle/>
              <a:p>
                <a:r>
                  <a:rPr lang="en-IN" sz="1000" dirty="0"/>
                  <a:t>60%</a:t>
                </a:r>
                <a:endParaRPr lang="en-US" sz="1000" dirty="0"/>
              </a:p>
            </p:txBody>
          </p:sp>
          <p:sp>
            <p:nvSpPr>
              <p:cNvPr id="290" name="TextBox 289">
                <a:extLst>
                  <a:ext uri="{FF2B5EF4-FFF2-40B4-BE49-F238E27FC236}">
                    <a16:creationId xmlns:a16="http://schemas.microsoft.com/office/drawing/2014/main" id="{1B16D76E-97BD-4C14-A305-99CF6F9C8410}"/>
                  </a:ext>
                </a:extLst>
              </p:cNvPr>
              <p:cNvSpPr txBox="1"/>
              <p:nvPr/>
            </p:nvSpPr>
            <p:spPr>
              <a:xfrm>
                <a:off x="5707914" y="3239521"/>
                <a:ext cx="803649" cy="246221"/>
              </a:xfrm>
              <a:prstGeom prst="rect">
                <a:avLst/>
              </a:prstGeom>
              <a:noFill/>
            </p:spPr>
            <p:txBody>
              <a:bodyPr wrap="square" rtlCol="0">
                <a:spAutoFit/>
              </a:bodyPr>
              <a:lstStyle/>
              <a:p>
                <a:r>
                  <a:rPr lang="en-IN" sz="1000" dirty="0"/>
                  <a:t>63%</a:t>
                </a:r>
                <a:endParaRPr lang="en-US" sz="1000" dirty="0"/>
              </a:p>
            </p:txBody>
          </p:sp>
          <p:grpSp>
            <p:nvGrpSpPr>
              <p:cNvPr id="72" name="Groupe 455">
                <a:extLst>
                  <a:ext uri="{FF2B5EF4-FFF2-40B4-BE49-F238E27FC236}">
                    <a16:creationId xmlns:a16="http://schemas.microsoft.com/office/drawing/2014/main" id="{DCEFD014-99DD-4EF1-8955-100079769E68}"/>
                  </a:ext>
                </a:extLst>
              </p:cNvPr>
              <p:cNvGrpSpPr>
                <a:grpSpLocks/>
              </p:cNvGrpSpPr>
              <p:nvPr/>
            </p:nvGrpSpPr>
            <p:grpSpPr>
              <a:xfrm>
                <a:off x="10741529" y="3179328"/>
                <a:ext cx="114600" cy="332920"/>
                <a:chOff x="7350126" y="5470526"/>
                <a:chExt cx="136525" cy="465137"/>
              </a:xfrm>
              <a:solidFill>
                <a:srgbClr val="FF0000"/>
              </a:solidFill>
            </p:grpSpPr>
            <p:sp>
              <p:nvSpPr>
                <p:cNvPr id="73" name="Freeform 112">
                  <a:extLst>
                    <a:ext uri="{FF2B5EF4-FFF2-40B4-BE49-F238E27FC236}">
                      <a16:creationId xmlns:a16="http://schemas.microsoft.com/office/drawing/2014/main" id="{C5EDAC43-3406-4FFC-99DB-984684523782}"/>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13">
                  <a:extLst>
                    <a:ext uri="{FF2B5EF4-FFF2-40B4-BE49-F238E27FC236}">
                      <a16:creationId xmlns:a16="http://schemas.microsoft.com/office/drawing/2014/main" id="{64EC52C6-882D-45AE-9DDD-2F0C642EDA99}"/>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TextBox 291">
                <a:extLst>
                  <a:ext uri="{FF2B5EF4-FFF2-40B4-BE49-F238E27FC236}">
                    <a16:creationId xmlns:a16="http://schemas.microsoft.com/office/drawing/2014/main" id="{E943F7F5-33B2-401A-B18E-AD3C83276EB6}"/>
                  </a:ext>
                </a:extLst>
              </p:cNvPr>
              <p:cNvSpPr txBox="1"/>
              <p:nvPr/>
            </p:nvSpPr>
            <p:spPr>
              <a:xfrm>
                <a:off x="10845280" y="3239521"/>
                <a:ext cx="803649" cy="246221"/>
              </a:xfrm>
              <a:prstGeom prst="rect">
                <a:avLst/>
              </a:prstGeom>
              <a:noFill/>
            </p:spPr>
            <p:txBody>
              <a:bodyPr wrap="square" rtlCol="0">
                <a:spAutoFit/>
              </a:bodyPr>
              <a:lstStyle/>
              <a:p>
                <a:r>
                  <a:rPr lang="en-IN" sz="1000" dirty="0"/>
                  <a:t>64%</a:t>
                </a:r>
                <a:endParaRPr lang="en-US" sz="1000" dirty="0"/>
              </a:p>
            </p:txBody>
          </p:sp>
        </p:grpSp>
      </p:grpSp>
      <p:grpSp>
        <p:nvGrpSpPr>
          <p:cNvPr id="15" name="Group 14">
            <a:extLst>
              <a:ext uri="{FF2B5EF4-FFF2-40B4-BE49-F238E27FC236}">
                <a16:creationId xmlns:a16="http://schemas.microsoft.com/office/drawing/2014/main" id="{C26F6BAE-EC30-478B-ACE2-1AEFBEDFACAD}"/>
              </a:ext>
            </a:extLst>
          </p:cNvPr>
          <p:cNvGrpSpPr/>
          <p:nvPr/>
        </p:nvGrpSpPr>
        <p:grpSpPr>
          <a:xfrm>
            <a:off x="496435" y="3721026"/>
            <a:ext cx="11152494" cy="2169940"/>
            <a:chOff x="496435" y="3721026"/>
            <a:chExt cx="11152494" cy="2169940"/>
          </a:xfrm>
        </p:grpSpPr>
        <p:sp>
          <p:nvSpPr>
            <p:cNvPr id="115" name="Freeform 178">
              <a:extLst>
                <a:ext uri="{FF2B5EF4-FFF2-40B4-BE49-F238E27FC236}">
                  <a16:creationId xmlns:a16="http://schemas.microsoft.com/office/drawing/2014/main" id="{AD0FA5D6-620C-4EEB-A780-FBA4A3F810EB}"/>
                </a:ext>
              </a:extLst>
            </p:cNvPr>
            <p:cNvSpPr>
              <a:spLocks/>
            </p:cNvSpPr>
            <p:nvPr/>
          </p:nvSpPr>
          <p:spPr bwMode="auto">
            <a:xfrm>
              <a:off x="4034654" y="5496300"/>
              <a:ext cx="210863" cy="30175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TextBox 113">
              <a:extLst>
                <a:ext uri="{FF2B5EF4-FFF2-40B4-BE49-F238E27FC236}">
                  <a16:creationId xmlns:a16="http://schemas.microsoft.com/office/drawing/2014/main" id="{E01CF4CE-39C7-4A20-95E9-53AA82772DBF}"/>
                </a:ext>
              </a:extLst>
            </p:cNvPr>
            <p:cNvSpPr txBox="1"/>
            <p:nvPr/>
          </p:nvSpPr>
          <p:spPr>
            <a:xfrm>
              <a:off x="4250503" y="5367746"/>
              <a:ext cx="3972785" cy="523220"/>
            </a:xfrm>
            <a:prstGeom prst="rect">
              <a:avLst/>
            </a:prstGeom>
            <a:noFill/>
          </p:spPr>
          <p:txBody>
            <a:bodyPr wrap="square" rtlCol="0">
              <a:spAutoFit/>
            </a:bodyPr>
            <a:lstStyle/>
            <a:p>
              <a:pPr lvl="0">
                <a:defRPr/>
              </a:pPr>
              <a:r>
                <a:rPr kumimoji="0" lang="en-IN" sz="1000" b="1" i="0" u="none" strike="noStrike" kern="0" cap="none" spc="0" normalizeH="0" baseline="0" noProof="0" dirty="0">
                  <a:ln>
                    <a:noFill/>
                  </a:ln>
                  <a:effectLst/>
                  <a:uLnTx/>
                  <a:uFillTx/>
                </a:rPr>
                <a:t>Touchpoints most vulnerable to </a:t>
              </a:r>
              <a:r>
                <a:rPr kumimoji="0" lang="en-IN" sz="1000" b="1" i="0" u="none" strike="noStrike" kern="0" cap="none" spc="0" normalizeH="0" baseline="0" noProof="0" dirty="0" err="1">
                  <a:ln>
                    <a:noFill/>
                  </a:ln>
                  <a:effectLst/>
                  <a:uLnTx/>
                  <a:uFillTx/>
                </a:rPr>
                <a:t>BigTech</a:t>
              </a:r>
              <a:endParaRPr kumimoji="0" lang="en-IN" sz="1000" b="1" i="0" u="none" strike="noStrike" kern="0" cap="none" spc="0" normalizeH="0" baseline="0" noProof="0" dirty="0">
                <a:ln>
                  <a:noFill/>
                </a:ln>
                <a:effectLst/>
                <a:uLnTx/>
                <a:uFillTx/>
              </a:endParaRPr>
            </a:p>
            <a:p>
              <a:pPr lvl="0">
                <a:defRPr/>
              </a:pPr>
              <a:r>
                <a:rPr kumimoji="0" lang="en-IN" sz="900" i="0" u="none" strike="noStrike" kern="0" cap="none" spc="0" normalizeH="0" baseline="0" noProof="0" dirty="0">
                  <a:ln>
                    <a:noFill/>
                  </a:ln>
                  <a:effectLst/>
                  <a:uLnTx/>
                  <a:uFillTx/>
                </a:rPr>
                <a:t>PP denotes how much higher is the percentage of HNWIs who rate </a:t>
              </a:r>
              <a:r>
                <a:rPr kumimoji="0" lang="en-IN" sz="900" i="0" u="none" strike="noStrike" kern="0" cap="none" spc="0" normalizeH="0" baseline="0" noProof="0" dirty="0" err="1">
                  <a:ln>
                    <a:noFill/>
                  </a:ln>
                  <a:effectLst/>
                  <a:uLnTx/>
                  <a:uFillTx/>
                </a:rPr>
                <a:t>BigTechs</a:t>
              </a:r>
              <a:r>
                <a:rPr kumimoji="0" lang="en-IN" sz="900" i="0" u="none" strike="noStrike" kern="0" cap="none" spc="0" normalizeH="0" baseline="0" noProof="0" dirty="0">
                  <a:ln>
                    <a:noFill/>
                  </a:ln>
                  <a:effectLst/>
                  <a:uLnTx/>
                  <a:uFillTx/>
                </a:rPr>
                <a:t> as more likely to provide excellent service</a:t>
              </a:r>
              <a:endParaRPr kumimoji="0" lang="en-US" sz="900" i="0" u="none" strike="noStrike" kern="0" cap="none" spc="0" normalizeH="0" baseline="0" noProof="0" dirty="0">
                <a:ln>
                  <a:noFill/>
                </a:ln>
                <a:effectLst/>
                <a:uLnTx/>
                <a:uFillTx/>
              </a:endParaRPr>
            </a:p>
          </p:txBody>
        </p:sp>
        <p:grpSp>
          <p:nvGrpSpPr>
            <p:cNvPr id="6" name="Group 5">
              <a:extLst>
                <a:ext uri="{FF2B5EF4-FFF2-40B4-BE49-F238E27FC236}">
                  <a16:creationId xmlns:a16="http://schemas.microsoft.com/office/drawing/2014/main" id="{B2B6B8E7-24A8-4777-AFB7-842E252618CD}"/>
                </a:ext>
              </a:extLst>
            </p:cNvPr>
            <p:cNvGrpSpPr/>
            <p:nvPr/>
          </p:nvGrpSpPr>
          <p:grpSpPr>
            <a:xfrm>
              <a:off x="496435" y="3721026"/>
              <a:ext cx="11152494" cy="301752"/>
              <a:chOff x="496435" y="3721026"/>
              <a:chExt cx="11152494" cy="301752"/>
            </a:xfrm>
          </p:grpSpPr>
          <p:sp>
            <p:nvSpPr>
              <p:cNvPr id="127" name="Freeform 178">
                <a:extLst>
                  <a:ext uri="{FF2B5EF4-FFF2-40B4-BE49-F238E27FC236}">
                    <a16:creationId xmlns:a16="http://schemas.microsoft.com/office/drawing/2014/main" id="{78BCC06F-EED4-4EE6-806A-D2E93BF7F2B4}"/>
                  </a:ext>
                </a:extLst>
              </p:cNvPr>
              <p:cNvSpPr>
                <a:spLocks/>
              </p:cNvSpPr>
              <p:nvPr/>
            </p:nvSpPr>
            <p:spPr bwMode="auto">
              <a:xfrm>
                <a:off x="521613" y="3721026"/>
                <a:ext cx="210863" cy="30175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9">
                <a:extLst>
                  <a:ext uri="{FF2B5EF4-FFF2-40B4-BE49-F238E27FC236}">
                    <a16:creationId xmlns:a16="http://schemas.microsoft.com/office/drawing/2014/main" id="{802D6381-C0DE-451D-8A96-D73451BC990F}"/>
                  </a:ext>
                </a:extLst>
              </p:cNvPr>
              <p:cNvSpPr>
                <a:spLocks/>
              </p:cNvSpPr>
              <p:nvPr/>
            </p:nvSpPr>
            <p:spPr bwMode="auto">
              <a:xfrm>
                <a:off x="496435" y="3734193"/>
                <a:ext cx="112251" cy="260055"/>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80">
                <a:extLst>
                  <a:ext uri="{FF2B5EF4-FFF2-40B4-BE49-F238E27FC236}">
                    <a16:creationId xmlns:a16="http://schemas.microsoft.com/office/drawing/2014/main" id="{DC55639D-6406-40C8-A5B1-0B3F1A8CE087}"/>
                  </a:ext>
                </a:extLst>
              </p:cNvPr>
              <p:cNvSpPr>
                <a:spLocks/>
              </p:cNvSpPr>
              <p:nvPr/>
            </p:nvSpPr>
            <p:spPr bwMode="auto">
              <a:xfrm>
                <a:off x="648551" y="3747361"/>
                <a:ext cx="111201" cy="257861"/>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TextBox 293">
                <a:extLst>
                  <a:ext uri="{FF2B5EF4-FFF2-40B4-BE49-F238E27FC236}">
                    <a16:creationId xmlns:a16="http://schemas.microsoft.com/office/drawing/2014/main" id="{18378EB8-7262-4D1C-A4E3-6B6BB5A799EF}"/>
                  </a:ext>
                </a:extLst>
              </p:cNvPr>
              <p:cNvSpPr txBox="1"/>
              <p:nvPr/>
            </p:nvSpPr>
            <p:spPr>
              <a:xfrm>
                <a:off x="673743" y="3740420"/>
                <a:ext cx="803649" cy="246221"/>
              </a:xfrm>
              <a:prstGeom prst="rect">
                <a:avLst/>
              </a:prstGeom>
              <a:noFill/>
            </p:spPr>
            <p:txBody>
              <a:bodyPr wrap="square" rtlCol="0">
                <a:spAutoFit/>
              </a:bodyPr>
              <a:lstStyle/>
              <a:p>
                <a:r>
                  <a:rPr lang="en-IN" sz="1000" dirty="0"/>
                  <a:t>18 PP</a:t>
                </a:r>
                <a:endParaRPr lang="en-US" sz="1000" dirty="0"/>
              </a:p>
            </p:txBody>
          </p:sp>
          <p:grpSp>
            <p:nvGrpSpPr>
              <p:cNvPr id="136" name="Groupe 686">
                <a:extLst>
                  <a:ext uri="{FF2B5EF4-FFF2-40B4-BE49-F238E27FC236}">
                    <a16:creationId xmlns:a16="http://schemas.microsoft.com/office/drawing/2014/main" id="{285C02F9-E318-49EF-BAA2-DEAFF24C4CC2}"/>
                  </a:ext>
                </a:extLst>
              </p:cNvPr>
              <p:cNvGrpSpPr/>
              <p:nvPr/>
            </p:nvGrpSpPr>
            <p:grpSpPr>
              <a:xfrm>
                <a:off x="5569185" y="3721026"/>
                <a:ext cx="250538" cy="301752"/>
                <a:chOff x="7121525" y="2576513"/>
                <a:chExt cx="398463" cy="436562"/>
              </a:xfrm>
            </p:grpSpPr>
            <p:sp>
              <p:nvSpPr>
                <p:cNvPr id="137" name="Freeform 178">
                  <a:extLst>
                    <a:ext uri="{FF2B5EF4-FFF2-40B4-BE49-F238E27FC236}">
                      <a16:creationId xmlns:a16="http://schemas.microsoft.com/office/drawing/2014/main" id="{BF265FD0-8C00-4D4F-ABA9-FC7CE206D7AD}"/>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79">
                  <a:extLst>
                    <a:ext uri="{FF2B5EF4-FFF2-40B4-BE49-F238E27FC236}">
                      <a16:creationId xmlns:a16="http://schemas.microsoft.com/office/drawing/2014/main" id="{3E9756BB-FB25-4930-B13B-8A7093AD01B2}"/>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80">
                  <a:extLst>
                    <a:ext uri="{FF2B5EF4-FFF2-40B4-BE49-F238E27FC236}">
                      <a16:creationId xmlns:a16="http://schemas.microsoft.com/office/drawing/2014/main" id="{C6758695-FD70-47BF-BCD4-31D81417E2ED}"/>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e 686">
                <a:extLst>
                  <a:ext uri="{FF2B5EF4-FFF2-40B4-BE49-F238E27FC236}">
                    <a16:creationId xmlns:a16="http://schemas.microsoft.com/office/drawing/2014/main" id="{144B9DC5-5B9E-444D-B2DE-930E54623B50}"/>
                  </a:ext>
                </a:extLst>
              </p:cNvPr>
              <p:cNvGrpSpPr/>
              <p:nvPr/>
            </p:nvGrpSpPr>
            <p:grpSpPr>
              <a:xfrm>
                <a:off x="4408199" y="3721026"/>
                <a:ext cx="250538" cy="301752"/>
                <a:chOff x="7121525" y="2576513"/>
                <a:chExt cx="398463" cy="436562"/>
              </a:xfrm>
            </p:grpSpPr>
            <p:sp>
              <p:nvSpPr>
                <p:cNvPr id="147" name="Freeform 178">
                  <a:extLst>
                    <a:ext uri="{FF2B5EF4-FFF2-40B4-BE49-F238E27FC236}">
                      <a16:creationId xmlns:a16="http://schemas.microsoft.com/office/drawing/2014/main" id="{20099C25-82C6-4136-BFC5-25622A4C89EA}"/>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79">
                  <a:extLst>
                    <a:ext uri="{FF2B5EF4-FFF2-40B4-BE49-F238E27FC236}">
                      <a16:creationId xmlns:a16="http://schemas.microsoft.com/office/drawing/2014/main" id="{1939A368-94A7-443E-A4F0-7884974D80EF}"/>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80">
                  <a:extLst>
                    <a:ext uri="{FF2B5EF4-FFF2-40B4-BE49-F238E27FC236}">
                      <a16:creationId xmlns:a16="http://schemas.microsoft.com/office/drawing/2014/main" id="{2A49BA65-AC6E-419A-81B2-2298BB0F9AD1}"/>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5" name="TextBox 294">
                <a:extLst>
                  <a:ext uri="{FF2B5EF4-FFF2-40B4-BE49-F238E27FC236}">
                    <a16:creationId xmlns:a16="http://schemas.microsoft.com/office/drawing/2014/main" id="{64E78BEC-5E8C-4785-930A-2E9181EB661A}"/>
                  </a:ext>
                </a:extLst>
              </p:cNvPr>
              <p:cNvSpPr txBox="1"/>
              <p:nvPr/>
            </p:nvSpPr>
            <p:spPr>
              <a:xfrm>
                <a:off x="4573630" y="3722452"/>
                <a:ext cx="803649" cy="246221"/>
              </a:xfrm>
              <a:prstGeom prst="rect">
                <a:avLst/>
              </a:prstGeom>
              <a:noFill/>
            </p:spPr>
            <p:txBody>
              <a:bodyPr wrap="square" rtlCol="0">
                <a:spAutoFit/>
              </a:bodyPr>
              <a:lstStyle/>
              <a:p>
                <a:r>
                  <a:rPr lang="en-IN" sz="1000" dirty="0"/>
                  <a:t>17 PP</a:t>
                </a:r>
                <a:endParaRPr lang="en-US" sz="1000" dirty="0"/>
              </a:p>
            </p:txBody>
          </p:sp>
          <p:sp>
            <p:nvSpPr>
              <p:cNvPr id="296" name="TextBox 295">
                <a:extLst>
                  <a:ext uri="{FF2B5EF4-FFF2-40B4-BE49-F238E27FC236}">
                    <a16:creationId xmlns:a16="http://schemas.microsoft.com/office/drawing/2014/main" id="{F3C9FE87-62C7-4604-AD0F-D816CBF12740}"/>
                  </a:ext>
                </a:extLst>
              </p:cNvPr>
              <p:cNvSpPr txBox="1"/>
              <p:nvPr/>
            </p:nvSpPr>
            <p:spPr>
              <a:xfrm>
                <a:off x="5707914" y="3722452"/>
                <a:ext cx="803649" cy="246221"/>
              </a:xfrm>
              <a:prstGeom prst="rect">
                <a:avLst/>
              </a:prstGeom>
              <a:noFill/>
            </p:spPr>
            <p:txBody>
              <a:bodyPr wrap="square" rtlCol="0">
                <a:spAutoFit/>
              </a:bodyPr>
              <a:lstStyle/>
              <a:p>
                <a:r>
                  <a:rPr lang="en-IN" sz="1000" dirty="0"/>
                  <a:t>18 PP</a:t>
                </a:r>
                <a:endParaRPr lang="en-US" sz="1000" dirty="0"/>
              </a:p>
            </p:txBody>
          </p:sp>
          <p:grpSp>
            <p:nvGrpSpPr>
              <p:cNvPr id="131" name="Groupe 686">
                <a:extLst>
                  <a:ext uri="{FF2B5EF4-FFF2-40B4-BE49-F238E27FC236}">
                    <a16:creationId xmlns:a16="http://schemas.microsoft.com/office/drawing/2014/main" id="{8F35EECA-BE7B-4C83-9CFB-689788F28521}"/>
                  </a:ext>
                </a:extLst>
              </p:cNvPr>
              <p:cNvGrpSpPr/>
              <p:nvPr/>
            </p:nvGrpSpPr>
            <p:grpSpPr>
              <a:xfrm>
                <a:off x="10664008" y="3721026"/>
                <a:ext cx="263317" cy="301752"/>
                <a:chOff x="7121525" y="2576513"/>
                <a:chExt cx="398463" cy="436562"/>
              </a:xfrm>
            </p:grpSpPr>
            <p:sp>
              <p:nvSpPr>
                <p:cNvPr id="132" name="Freeform 178">
                  <a:extLst>
                    <a:ext uri="{FF2B5EF4-FFF2-40B4-BE49-F238E27FC236}">
                      <a16:creationId xmlns:a16="http://schemas.microsoft.com/office/drawing/2014/main" id="{41A73CEC-ABC8-4BE9-A391-087B897EB7DE}"/>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79">
                  <a:extLst>
                    <a:ext uri="{FF2B5EF4-FFF2-40B4-BE49-F238E27FC236}">
                      <a16:creationId xmlns:a16="http://schemas.microsoft.com/office/drawing/2014/main" id="{E8664B99-E6DE-4F5C-B865-675F3CF1CE3A}"/>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80">
                  <a:extLst>
                    <a:ext uri="{FF2B5EF4-FFF2-40B4-BE49-F238E27FC236}">
                      <a16:creationId xmlns:a16="http://schemas.microsoft.com/office/drawing/2014/main" id="{533942B9-1C13-4B3E-ACDA-34CEF89F097C}"/>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7" name="TextBox 296">
                <a:extLst>
                  <a:ext uri="{FF2B5EF4-FFF2-40B4-BE49-F238E27FC236}">
                    <a16:creationId xmlns:a16="http://schemas.microsoft.com/office/drawing/2014/main" id="{C3ABB608-1C35-4298-92D8-ECD69B077265}"/>
                  </a:ext>
                </a:extLst>
              </p:cNvPr>
              <p:cNvSpPr txBox="1"/>
              <p:nvPr/>
            </p:nvSpPr>
            <p:spPr>
              <a:xfrm>
                <a:off x="10845280" y="3725115"/>
                <a:ext cx="803649" cy="246221"/>
              </a:xfrm>
              <a:prstGeom prst="rect">
                <a:avLst/>
              </a:prstGeom>
              <a:noFill/>
            </p:spPr>
            <p:txBody>
              <a:bodyPr wrap="square" rtlCol="0">
                <a:spAutoFit/>
              </a:bodyPr>
              <a:lstStyle/>
              <a:p>
                <a:r>
                  <a:rPr lang="en-IN" sz="1000" dirty="0"/>
                  <a:t>18 PP</a:t>
                </a:r>
                <a:endParaRPr lang="en-US" sz="1000" dirty="0"/>
              </a:p>
            </p:txBody>
          </p:sp>
          <p:grpSp>
            <p:nvGrpSpPr>
              <p:cNvPr id="9" name="Group 8"/>
              <p:cNvGrpSpPr/>
              <p:nvPr/>
            </p:nvGrpSpPr>
            <p:grpSpPr>
              <a:xfrm>
                <a:off x="7463800" y="3721026"/>
                <a:ext cx="977539" cy="301752"/>
                <a:chOff x="7850958" y="4631616"/>
                <a:chExt cx="977539" cy="301752"/>
              </a:xfrm>
            </p:grpSpPr>
            <p:grpSp>
              <p:nvGrpSpPr>
                <p:cNvPr id="141" name="Groupe 686">
                  <a:extLst>
                    <a:ext uri="{FF2B5EF4-FFF2-40B4-BE49-F238E27FC236}">
                      <a16:creationId xmlns:a16="http://schemas.microsoft.com/office/drawing/2014/main" id="{633186F0-F836-4A4F-B448-C9446D2ED20F}"/>
                    </a:ext>
                  </a:extLst>
                </p:cNvPr>
                <p:cNvGrpSpPr/>
                <p:nvPr/>
              </p:nvGrpSpPr>
              <p:grpSpPr>
                <a:xfrm>
                  <a:off x="7850958" y="4631616"/>
                  <a:ext cx="263317" cy="301752"/>
                  <a:chOff x="7121525" y="2576513"/>
                  <a:chExt cx="398463" cy="436562"/>
                </a:xfrm>
              </p:grpSpPr>
              <p:sp>
                <p:nvSpPr>
                  <p:cNvPr id="142" name="Freeform 178">
                    <a:extLst>
                      <a:ext uri="{FF2B5EF4-FFF2-40B4-BE49-F238E27FC236}">
                        <a16:creationId xmlns:a16="http://schemas.microsoft.com/office/drawing/2014/main" id="{D91E0E73-56EB-4F4D-B33B-31DFD1D15E4E}"/>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79">
                    <a:extLst>
                      <a:ext uri="{FF2B5EF4-FFF2-40B4-BE49-F238E27FC236}">
                        <a16:creationId xmlns:a16="http://schemas.microsoft.com/office/drawing/2014/main" id="{C41C9927-B1CA-4AA5-AE7E-3685E52E1ABF}"/>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80">
                    <a:extLst>
                      <a:ext uri="{FF2B5EF4-FFF2-40B4-BE49-F238E27FC236}">
                        <a16:creationId xmlns:a16="http://schemas.microsoft.com/office/drawing/2014/main" id="{BB9B6C48-AE73-4461-804E-F33E08476DFD}"/>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8" name="TextBox 297">
                  <a:extLst>
                    <a:ext uri="{FF2B5EF4-FFF2-40B4-BE49-F238E27FC236}">
                      <a16:creationId xmlns:a16="http://schemas.microsoft.com/office/drawing/2014/main" id="{86DC4D48-1F53-4E74-AC37-B02D45A4F814}"/>
                    </a:ext>
                  </a:extLst>
                </p:cNvPr>
                <p:cNvSpPr txBox="1"/>
                <p:nvPr/>
              </p:nvSpPr>
              <p:spPr>
                <a:xfrm>
                  <a:off x="8024848" y="4633042"/>
                  <a:ext cx="803649" cy="246221"/>
                </a:xfrm>
                <a:prstGeom prst="rect">
                  <a:avLst/>
                </a:prstGeom>
                <a:noFill/>
              </p:spPr>
              <p:txBody>
                <a:bodyPr wrap="square" rtlCol="0">
                  <a:spAutoFit/>
                </a:bodyPr>
                <a:lstStyle/>
                <a:p>
                  <a:r>
                    <a:rPr lang="en-IN" sz="1000" dirty="0"/>
                    <a:t>17 PP</a:t>
                  </a:r>
                  <a:endParaRPr lang="en-US" sz="1000" dirty="0"/>
                </a:p>
              </p:txBody>
            </p:sp>
          </p:grpSp>
        </p:grpSp>
      </p:grpSp>
      <p:grpSp>
        <p:nvGrpSpPr>
          <p:cNvPr id="16" name="Group 15">
            <a:extLst>
              <a:ext uri="{FF2B5EF4-FFF2-40B4-BE49-F238E27FC236}">
                <a16:creationId xmlns:a16="http://schemas.microsoft.com/office/drawing/2014/main" id="{D6AAE9B3-B7D7-4B56-BAC4-339CE6057A14}"/>
              </a:ext>
            </a:extLst>
          </p:cNvPr>
          <p:cNvGrpSpPr/>
          <p:nvPr/>
        </p:nvGrpSpPr>
        <p:grpSpPr>
          <a:xfrm>
            <a:off x="471708" y="4144214"/>
            <a:ext cx="11558366" cy="1777485"/>
            <a:chOff x="471708" y="4144214"/>
            <a:chExt cx="11558366" cy="1777485"/>
          </a:xfrm>
        </p:grpSpPr>
        <p:sp>
          <p:nvSpPr>
            <p:cNvPr id="112" name="TextBox 111">
              <a:extLst>
                <a:ext uri="{FF2B5EF4-FFF2-40B4-BE49-F238E27FC236}">
                  <a16:creationId xmlns:a16="http://schemas.microsoft.com/office/drawing/2014/main" id="{EADB5899-0265-429B-9DE6-18F7526E5018}"/>
                </a:ext>
              </a:extLst>
            </p:cNvPr>
            <p:cNvSpPr txBox="1"/>
            <p:nvPr/>
          </p:nvSpPr>
          <p:spPr>
            <a:xfrm>
              <a:off x="8604699" y="5398479"/>
              <a:ext cx="3425375" cy="523220"/>
            </a:xfrm>
            <a:prstGeom prst="rect">
              <a:avLst/>
            </a:prstGeom>
            <a:noFill/>
          </p:spPr>
          <p:txBody>
            <a:bodyPr wrap="square" rtlCol="0">
              <a:spAutoFit/>
            </a:bodyPr>
            <a:lstStyle/>
            <a:p>
              <a:pPr lvl="0">
                <a:defRPr/>
              </a:pPr>
              <a:r>
                <a:rPr lang="en-IN" sz="1000" b="1" kern="0" dirty="0"/>
                <a:t>Wow impact</a:t>
              </a:r>
            </a:p>
            <a:p>
              <a:pPr lvl="0">
                <a:defRPr/>
              </a:pPr>
              <a:r>
                <a:rPr lang="en-IN" sz="900" kern="0" dirty="0"/>
                <a:t>% denotes HNWIs for whom a good experience at the touchpoint will strongly improve overall firm perception</a:t>
              </a:r>
              <a:endParaRPr kumimoji="0" lang="en-US" sz="1000" i="0" u="none" strike="noStrike" kern="0" cap="none" spc="0" normalizeH="0" baseline="0" noProof="0" dirty="0">
                <a:ln>
                  <a:noFill/>
                </a:ln>
                <a:effectLst/>
                <a:uLnTx/>
                <a:uFillTx/>
              </a:endParaRPr>
            </a:p>
          </p:txBody>
        </p:sp>
        <p:sp>
          <p:nvSpPr>
            <p:cNvPr id="125" name="Star: 5 Points 124">
              <a:extLst>
                <a:ext uri="{FF2B5EF4-FFF2-40B4-BE49-F238E27FC236}">
                  <a16:creationId xmlns:a16="http://schemas.microsoft.com/office/drawing/2014/main" id="{1B042C18-BDB9-4678-B85F-8C96278F768D}"/>
                </a:ext>
              </a:extLst>
            </p:cNvPr>
            <p:cNvSpPr/>
            <p:nvPr/>
          </p:nvSpPr>
          <p:spPr>
            <a:xfrm>
              <a:off x="8326197" y="5549788"/>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90956D4B-8008-433E-81B0-616BE3003DD0}"/>
                </a:ext>
              </a:extLst>
            </p:cNvPr>
            <p:cNvGrpSpPr/>
            <p:nvPr/>
          </p:nvGrpSpPr>
          <p:grpSpPr>
            <a:xfrm>
              <a:off x="471708" y="4144214"/>
              <a:ext cx="11226076" cy="268768"/>
              <a:chOff x="471708" y="4144214"/>
              <a:chExt cx="11226076" cy="268768"/>
            </a:xfrm>
          </p:grpSpPr>
          <p:sp>
            <p:nvSpPr>
              <p:cNvPr id="47" name="Star: 5 Points 46">
                <a:extLst>
                  <a:ext uri="{FF2B5EF4-FFF2-40B4-BE49-F238E27FC236}">
                    <a16:creationId xmlns:a16="http://schemas.microsoft.com/office/drawing/2014/main" id="{23380AAC-280F-41B5-A8B4-8C6D54ED0E30}"/>
                  </a:ext>
                </a:extLst>
              </p:cNvPr>
              <p:cNvSpPr/>
              <p:nvPr/>
            </p:nvSpPr>
            <p:spPr>
              <a:xfrm>
                <a:off x="471708"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Star: 5 Points 50">
                <a:extLst>
                  <a:ext uri="{FF2B5EF4-FFF2-40B4-BE49-F238E27FC236}">
                    <a16:creationId xmlns:a16="http://schemas.microsoft.com/office/drawing/2014/main" id="{5038BF7B-6EE3-48DD-9E3A-C3FA9D6ABAAD}"/>
                  </a:ext>
                </a:extLst>
              </p:cNvPr>
              <p:cNvSpPr/>
              <p:nvPr/>
            </p:nvSpPr>
            <p:spPr>
              <a:xfrm>
                <a:off x="4401344" y="4145873"/>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82C6754-F2AF-4BA3-8720-3A18CFD591EF}"/>
                  </a:ext>
                </a:extLst>
              </p:cNvPr>
              <p:cNvSpPr txBox="1"/>
              <p:nvPr/>
            </p:nvSpPr>
            <p:spPr>
              <a:xfrm>
                <a:off x="706768" y="4166761"/>
                <a:ext cx="803649" cy="246221"/>
              </a:xfrm>
              <a:prstGeom prst="rect">
                <a:avLst/>
              </a:prstGeom>
              <a:noFill/>
            </p:spPr>
            <p:txBody>
              <a:bodyPr wrap="square" rtlCol="0">
                <a:spAutoFit/>
              </a:bodyPr>
              <a:lstStyle/>
              <a:p>
                <a:r>
                  <a:rPr lang="en-IN" sz="1000" dirty="0"/>
                  <a:t>48%</a:t>
                </a:r>
                <a:endParaRPr lang="en-US" sz="1000" dirty="0"/>
              </a:p>
            </p:txBody>
          </p:sp>
          <p:sp>
            <p:nvSpPr>
              <p:cNvPr id="163" name="TextBox 162">
                <a:extLst>
                  <a:ext uri="{FF2B5EF4-FFF2-40B4-BE49-F238E27FC236}">
                    <a16:creationId xmlns:a16="http://schemas.microsoft.com/office/drawing/2014/main" id="{E19D1E23-B826-48E5-A71B-3383AB162F01}"/>
                  </a:ext>
                </a:extLst>
              </p:cNvPr>
              <p:cNvSpPr txBox="1"/>
              <p:nvPr/>
            </p:nvSpPr>
            <p:spPr>
              <a:xfrm>
                <a:off x="4646539" y="4144214"/>
                <a:ext cx="803649" cy="246221"/>
              </a:xfrm>
              <a:prstGeom prst="rect">
                <a:avLst/>
              </a:prstGeom>
              <a:noFill/>
            </p:spPr>
            <p:txBody>
              <a:bodyPr wrap="square" rtlCol="0">
                <a:spAutoFit/>
              </a:bodyPr>
              <a:lstStyle/>
              <a:p>
                <a:r>
                  <a:rPr lang="en-IN" sz="1000" dirty="0"/>
                  <a:t>44%</a:t>
                </a:r>
                <a:endParaRPr lang="en-US" sz="1000" dirty="0"/>
              </a:p>
            </p:txBody>
          </p:sp>
          <p:sp>
            <p:nvSpPr>
              <p:cNvPr id="473" name="Star: 5 Points 472">
                <a:extLst>
                  <a:ext uri="{FF2B5EF4-FFF2-40B4-BE49-F238E27FC236}">
                    <a16:creationId xmlns:a16="http://schemas.microsoft.com/office/drawing/2014/main" id="{44E22BAB-31D8-4239-9D61-C06F7A6D0189}"/>
                  </a:ext>
                </a:extLst>
              </p:cNvPr>
              <p:cNvSpPr/>
              <p:nvPr/>
            </p:nvSpPr>
            <p:spPr>
              <a:xfrm>
                <a:off x="5524771"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TextBox 473">
                <a:extLst>
                  <a:ext uri="{FF2B5EF4-FFF2-40B4-BE49-F238E27FC236}">
                    <a16:creationId xmlns:a16="http://schemas.microsoft.com/office/drawing/2014/main" id="{C0D42F99-CE40-44B9-8794-FCAB831FBDBA}"/>
                  </a:ext>
                </a:extLst>
              </p:cNvPr>
              <p:cNvSpPr txBox="1"/>
              <p:nvPr/>
            </p:nvSpPr>
            <p:spPr>
              <a:xfrm>
                <a:off x="5759831" y="4166761"/>
                <a:ext cx="803649" cy="246221"/>
              </a:xfrm>
              <a:prstGeom prst="rect">
                <a:avLst/>
              </a:prstGeom>
              <a:noFill/>
            </p:spPr>
            <p:txBody>
              <a:bodyPr wrap="square" rtlCol="0">
                <a:spAutoFit/>
              </a:bodyPr>
              <a:lstStyle/>
              <a:p>
                <a:r>
                  <a:rPr lang="en-IN" sz="1000" dirty="0"/>
                  <a:t>42%</a:t>
                </a:r>
                <a:endParaRPr lang="en-US" sz="1000" dirty="0"/>
              </a:p>
            </p:txBody>
          </p:sp>
          <p:sp>
            <p:nvSpPr>
              <p:cNvPr id="475" name="Star: 5 Points 474">
                <a:extLst>
                  <a:ext uri="{FF2B5EF4-FFF2-40B4-BE49-F238E27FC236}">
                    <a16:creationId xmlns:a16="http://schemas.microsoft.com/office/drawing/2014/main" id="{E42D3BB0-89F0-4F3F-96C9-E95EF5C4E096}"/>
                  </a:ext>
                </a:extLst>
              </p:cNvPr>
              <p:cNvSpPr/>
              <p:nvPr/>
            </p:nvSpPr>
            <p:spPr>
              <a:xfrm>
                <a:off x="10659075"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TextBox 475">
                <a:extLst>
                  <a:ext uri="{FF2B5EF4-FFF2-40B4-BE49-F238E27FC236}">
                    <a16:creationId xmlns:a16="http://schemas.microsoft.com/office/drawing/2014/main" id="{2C74F55A-95A8-4D12-9FAB-46A23BEB217B}"/>
                  </a:ext>
                </a:extLst>
              </p:cNvPr>
              <p:cNvSpPr txBox="1"/>
              <p:nvPr/>
            </p:nvSpPr>
            <p:spPr>
              <a:xfrm>
                <a:off x="10894135" y="4166761"/>
                <a:ext cx="803649" cy="246221"/>
              </a:xfrm>
              <a:prstGeom prst="rect">
                <a:avLst/>
              </a:prstGeom>
              <a:noFill/>
            </p:spPr>
            <p:txBody>
              <a:bodyPr wrap="square" rtlCol="0">
                <a:spAutoFit/>
              </a:bodyPr>
              <a:lstStyle/>
              <a:p>
                <a:r>
                  <a:rPr lang="en-IN" sz="1000" dirty="0"/>
                  <a:t>43%</a:t>
                </a:r>
                <a:endParaRPr lang="en-US" sz="1000" dirty="0"/>
              </a:p>
            </p:txBody>
          </p:sp>
        </p:grpSp>
      </p:grpSp>
      <p:grpSp>
        <p:nvGrpSpPr>
          <p:cNvPr id="17" name="Group 16">
            <a:extLst>
              <a:ext uri="{FF2B5EF4-FFF2-40B4-BE49-F238E27FC236}">
                <a16:creationId xmlns:a16="http://schemas.microsoft.com/office/drawing/2014/main" id="{D6242D2B-EDF2-4477-80BD-F56A2F751B1D}"/>
              </a:ext>
            </a:extLst>
          </p:cNvPr>
          <p:cNvGrpSpPr/>
          <p:nvPr/>
        </p:nvGrpSpPr>
        <p:grpSpPr>
          <a:xfrm>
            <a:off x="119182" y="1787351"/>
            <a:ext cx="11969525" cy="1301247"/>
            <a:chOff x="119182" y="1787351"/>
            <a:chExt cx="11969525" cy="1301247"/>
          </a:xfrm>
        </p:grpSpPr>
        <p:grpSp>
          <p:nvGrpSpPr>
            <p:cNvPr id="420" name="Group 419"/>
            <p:cNvGrpSpPr>
              <a:grpSpLocks/>
            </p:cNvGrpSpPr>
            <p:nvPr/>
          </p:nvGrpSpPr>
          <p:grpSpPr>
            <a:xfrm>
              <a:off x="119182" y="2208382"/>
              <a:ext cx="486216" cy="485262"/>
              <a:chOff x="-4240213" y="3676650"/>
              <a:chExt cx="3228975" cy="3222626"/>
            </a:xfrm>
          </p:grpSpPr>
          <p:sp>
            <p:nvSpPr>
              <p:cNvPr id="421" name="Oval 50"/>
              <p:cNvSpPr>
                <a:spLocks noChangeArrowheads="1"/>
              </p:cNvSpPr>
              <p:nvPr/>
            </p:nvSpPr>
            <p:spPr bwMode="auto">
              <a:xfrm>
                <a:off x="-4240213" y="3676650"/>
                <a:ext cx="3228975" cy="3222625"/>
              </a:xfrm>
              <a:prstGeom prst="ellipse">
                <a:avLst/>
              </a:prstGeom>
              <a:solidFill>
                <a:srgbClr val="94DA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51"/>
              <p:cNvSpPr>
                <a:spLocks/>
              </p:cNvSpPr>
              <p:nvPr/>
            </p:nvSpPr>
            <p:spPr bwMode="auto">
              <a:xfrm>
                <a:off x="-3500438" y="6157913"/>
                <a:ext cx="1754188" cy="741363"/>
              </a:xfrm>
              <a:custGeom>
                <a:avLst/>
                <a:gdLst>
                  <a:gd name="T0" fmla="*/ 236 w 473"/>
                  <a:gd name="T1" fmla="*/ 200 h 200"/>
                  <a:gd name="T2" fmla="*/ 473 w 473"/>
                  <a:gd name="T3" fmla="*/ 131 h 200"/>
                  <a:gd name="T4" fmla="*/ 456 w 473"/>
                  <a:gd name="T5" fmla="*/ 89 h 200"/>
                  <a:gd name="T6" fmla="*/ 236 w 473"/>
                  <a:gd name="T7" fmla="*/ 0 h 200"/>
                  <a:gd name="T8" fmla="*/ 16 w 473"/>
                  <a:gd name="T9" fmla="*/ 89 h 200"/>
                  <a:gd name="T10" fmla="*/ 0 w 473"/>
                  <a:gd name="T11" fmla="*/ 131 h 200"/>
                  <a:gd name="T12" fmla="*/ 236 w 473"/>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473" h="200">
                    <a:moveTo>
                      <a:pt x="236" y="200"/>
                    </a:moveTo>
                    <a:cubicBezTo>
                      <a:pt x="324" y="200"/>
                      <a:pt x="405" y="175"/>
                      <a:pt x="473" y="131"/>
                    </a:cubicBezTo>
                    <a:cubicBezTo>
                      <a:pt x="469" y="113"/>
                      <a:pt x="463" y="99"/>
                      <a:pt x="456" y="89"/>
                    </a:cubicBezTo>
                    <a:cubicBezTo>
                      <a:pt x="421" y="42"/>
                      <a:pt x="236" y="0"/>
                      <a:pt x="236" y="0"/>
                    </a:cubicBezTo>
                    <a:cubicBezTo>
                      <a:pt x="236" y="0"/>
                      <a:pt x="52" y="42"/>
                      <a:pt x="16" y="89"/>
                    </a:cubicBezTo>
                    <a:cubicBezTo>
                      <a:pt x="9" y="99"/>
                      <a:pt x="4" y="113"/>
                      <a:pt x="0" y="131"/>
                    </a:cubicBezTo>
                    <a:cubicBezTo>
                      <a:pt x="68" y="175"/>
                      <a:pt x="149" y="200"/>
                      <a:pt x="236" y="200"/>
                    </a:cubicBezTo>
                    <a:close/>
                  </a:path>
                </a:pathLst>
              </a:custGeom>
              <a:solidFill>
                <a:srgbClr val="133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52"/>
              <p:cNvSpPr>
                <a:spLocks/>
              </p:cNvSpPr>
              <p:nvPr/>
            </p:nvSpPr>
            <p:spPr bwMode="auto">
              <a:xfrm>
                <a:off x="-3500438" y="6562725"/>
                <a:ext cx="1754188" cy="336550"/>
              </a:xfrm>
              <a:custGeom>
                <a:avLst/>
                <a:gdLst>
                  <a:gd name="T0" fmla="*/ 255 w 473"/>
                  <a:gd name="T1" fmla="*/ 91 h 91"/>
                  <a:gd name="T2" fmla="*/ 267 w 473"/>
                  <a:gd name="T3" fmla="*/ 90 h 91"/>
                  <a:gd name="T4" fmla="*/ 269 w 473"/>
                  <a:gd name="T5" fmla="*/ 90 h 91"/>
                  <a:gd name="T6" fmla="*/ 283 w 473"/>
                  <a:gd name="T7" fmla="*/ 89 h 91"/>
                  <a:gd name="T8" fmla="*/ 287 w 473"/>
                  <a:gd name="T9" fmla="*/ 89 h 91"/>
                  <a:gd name="T10" fmla="*/ 299 w 473"/>
                  <a:gd name="T11" fmla="*/ 87 h 91"/>
                  <a:gd name="T12" fmla="*/ 301 w 473"/>
                  <a:gd name="T13" fmla="*/ 87 h 91"/>
                  <a:gd name="T14" fmla="*/ 315 w 473"/>
                  <a:gd name="T15" fmla="*/ 84 h 91"/>
                  <a:gd name="T16" fmla="*/ 318 w 473"/>
                  <a:gd name="T17" fmla="*/ 84 h 91"/>
                  <a:gd name="T18" fmla="*/ 330 w 473"/>
                  <a:gd name="T19" fmla="*/ 81 h 91"/>
                  <a:gd name="T20" fmla="*/ 332 w 473"/>
                  <a:gd name="T21" fmla="*/ 81 h 91"/>
                  <a:gd name="T22" fmla="*/ 346 w 473"/>
                  <a:gd name="T23" fmla="*/ 77 h 91"/>
                  <a:gd name="T24" fmla="*/ 348 w 473"/>
                  <a:gd name="T25" fmla="*/ 77 h 91"/>
                  <a:gd name="T26" fmla="*/ 360 w 473"/>
                  <a:gd name="T27" fmla="*/ 73 h 91"/>
                  <a:gd name="T28" fmla="*/ 363 w 473"/>
                  <a:gd name="T29" fmla="*/ 73 h 91"/>
                  <a:gd name="T30" fmla="*/ 390 w 473"/>
                  <a:gd name="T31" fmla="*/ 63 h 91"/>
                  <a:gd name="T32" fmla="*/ 392 w 473"/>
                  <a:gd name="T33" fmla="*/ 63 h 91"/>
                  <a:gd name="T34" fmla="*/ 419 w 473"/>
                  <a:gd name="T35" fmla="*/ 51 h 91"/>
                  <a:gd name="T36" fmla="*/ 420 w 473"/>
                  <a:gd name="T37" fmla="*/ 51 h 91"/>
                  <a:gd name="T38" fmla="*/ 446 w 473"/>
                  <a:gd name="T39" fmla="*/ 37 h 91"/>
                  <a:gd name="T40" fmla="*/ 447 w 473"/>
                  <a:gd name="T41" fmla="*/ 37 h 91"/>
                  <a:gd name="T42" fmla="*/ 460 w 473"/>
                  <a:gd name="T43" fmla="*/ 30 h 91"/>
                  <a:gd name="T44" fmla="*/ 460 w 473"/>
                  <a:gd name="T45" fmla="*/ 30 h 91"/>
                  <a:gd name="T46" fmla="*/ 473 w 473"/>
                  <a:gd name="T47" fmla="*/ 22 h 91"/>
                  <a:gd name="T48" fmla="*/ 473 w 473"/>
                  <a:gd name="T49" fmla="*/ 22 h 91"/>
                  <a:gd name="T50" fmla="*/ 466 w 473"/>
                  <a:gd name="T51" fmla="*/ 0 h 91"/>
                  <a:gd name="T52" fmla="*/ 236 w 473"/>
                  <a:gd name="T53" fmla="*/ 68 h 91"/>
                  <a:gd name="T54" fmla="*/ 6 w 473"/>
                  <a:gd name="T55" fmla="*/ 0 h 91"/>
                  <a:gd name="T56" fmla="*/ 0 w 473"/>
                  <a:gd name="T57" fmla="*/ 22 h 91"/>
                  <a:gd name="T58" fmla="*/ 0 w 473"/>
                  <a:gd name="T59" fmla="*/ 22 h 91"/>
                  <a:gd name="T60" fmla="*/ 13 w 473"/>
                  <a:gd name="T61" fmla="*/ 30 h 91"/>
                  <a:gd name="T62" fmla="*/ 13 w 473"/>
                  <a:gd name="T63" fmla="*/ 30 h 91"/>
                  <a:gd name="T64" fmla="*/ 25 w 473"/>
                  <a:gd name="T65" fmla="*/ 37 h 91"/>
                  <a:gd name="T66" fmla="*/ 26 w 473"/>
                  <a:gd name="T67" fmla="*/ 37 h 91"/>
                  <a:gd name="T68" fmla="*/ 52 w 473"/>
                  <a:gd name="T69" fmla="*/ 51 h 91"/>
                  <a:gd name="T70" fmla="*/ 54 w 473"/>
                  <a:gd name="T71" fmla="*/ 51 h 91"/>
                  <a:gd name="T72" fmla="*/ 81 w 473"/>
                  <a:gd name="T73" fmla="*/ 63 h 91"/>
                  <a:gd name="T74" fmla="*/ 82 w 473"/>
                  <a:gd name="T75" fmla="*/ 63 h 91"/>
                  <a:gd name="T76" fmla="*/ 110 w 473"/>
                  <a:gd name="T77" fmla="*/ 73 h 91"/>
                  <a:gd name="T78" fmla="*/ 112 w 473"/>
                  <a:gd name="T79" fmla="*/ 73 h 91"/>
                  <a:gd name="T80" fmla="*/ 125 w 473"/>
                  <a:gd name="T81" fmla="*/ 77 h 91"/>
                  <a:gd name="T82" fmla="*/ 126 w 473"/>
                  <a:gd name="T83" fmla="*/ 77 h 91"/>
                  <a:gd name="T84" fmla="*/ 140 w 473"/>
                  <a:gd name="T85" fmla="*/ 81 h 91"/>
                  <a:gd name="T86" fmla="*/ 143 w 473"/>
                  <a:gd name="T87" fmla="*/ 81 h 91"/>
                  <a:gd name="T88" fmla="*/ 155 w 473"/>
                  <a:gd name="T89" fmla="*/ 84 h 91"/>
                  <a:gd name="T90" fmla="*/ 157 w 473"/>
                  <a:gd name="T91" fmla="*/ 84 h 91"/>
                  <a:gd name="T92" fmla="*/ 171 w 473"/>
                  <a:gd name="T93" fmla="*/ 87 h 91"/>
                  <a:gd name="T94" fmla="*/ 174 w 473"/>
                  <a:gd name="T95" fmla="*/ 87 h 91"/>
                  <a:gd name="T96" fmla="*/ 186 w 473"/>
                  <a:gd name="T97" fmla="*/ 89 h 91"/>
                  <a:gd name="T98" fmla="*/ 189 w 473"/>
                  <a:gd name="T99" fmla="*/ 89 h 91"/>
                  <a:gd name="T100" fmla="*/ 203 w 473"/>
                  <a:gd name="T101" fmla="*/ 90 h 91"/>
                  <a:gd name="T102" fmla="*/ 205 w 473"/>
                  <a:gd name="T103" fmla="*/ 90 h 91"/>
                  <a:gd name="T104" fmla="*/ 218 w 473"/>
                  <a:gd name="T105" fmla="*/ 91 h 91"/>
                  <a:gd name="T106" fmla="*/ 222 w 473"/>
                  <a:gd name="T107" fmla="*/ 91 h 91"/>
                  <a:gd name="T108" fmla="*/ 236 w 473"/>
                  <a:gd name="T109" fmla="*/ 91 h 91"/>
                  <a:gd name="T110" fmla="*/ 251 w 473"/>
                  <a:gd name="T111" fmla="*/ 91 h 91"/>
                  <a:gd name="T112" fmla="*/ 255 w 473"/>
                  <a:gd name="T11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3" h="91">
                    <a:moveTo>
                      <a:pt x="255" y="91"/>
                    </a:moveTo>
                    <a:cubicBezTo>
                      <a:pt x="259" y="91"/>
                      <a:pt x="263" y="91"/>
                      <a:pt x="267" y="90"/>
                    </a:cubicBezTo>
                    <a:cubicBezTo>
                      <a:pt x="268" y="90"/>
                      <a:pt x="268" y="90"/>
                      <a:pt x="269" y="90"/>
                    </a:cubicBezTo>
                    <a:cubicBezTo>
                      <a:pt x="274" y="90"/>
                      <a:pt x="279" y="89"/>
                      <a:pt x="283" y="89"/>
                    </a:cubicBezTo>
                    <a:cubicBezTo>
                      <a:pt x="284" y="89"/>
                      <a:pt x="286" y="89"/>
                      <a:pt x="287" y="89"/>
                    </a:cubicBezTo>
                    <a:cubicBezTo>
                      <a:pt x="291" y="88"/>
                      <a:pt x="295" y="88"/>
                      <a:pt x="299" y="87"/>
                    </a:cubicBezTo>
                    <a:cubicBezTo>
                      <a:pt x="300" y="87"/>
                      <a:pt x="300" y="87"/>
                      <a:pt x="301" y="87"/>
                    </a:cubicBezTo>
                    <a:cubicBezTo>
                      <a:pt x="306" y="86"/>
                      <a:pt x="311" y="85"/>
                      <a:pt x="315" y="84"/>
                    </a:cubicBezTo>
                    <a:cubicBezTo>
                      <a:pt x="316" y="84"/>
                      <a:pt x="317" y="84"/>
                      <a:pt x="318" y="84"/>
                    </a:cubicBezTo>
                    <a:cubicBezTo>
                      <a:pt x="322" y="83"/>
                      <a:pt x="326" y="82"/>
                      <a:pt x="330" y="81"/>
                    </a:cubicBezTo>
                    <a:cubicBezTo>
                      <a:pt x="331" y="81"/>
                      <a:pt x="332" y="81"/>
                      <a:pt x="332" y="81"/>
                    </a:cubicBezTo>
                    <a:cubicBezTo>
                      <a:pt x="337" y="80"/>
                      <a:pt x="342" y="79"/>
                      <a:pt x="346" y="77"/>
                    </a:cubicBezTo>
                    <a:cubicBezTo>
                      <a:pt x="347" y="77"/>
                      <a:pt x="347" y="77"/>
                      <a:pt x="348" y="77"/>
                    </a:cubicBezTo>
                    <a:cubicBezTo>
                      <a:pt x="352" y="76"/>
                      <a:pt x="356" y="75"/>
                      <a:pt x="360" y="73"/>
                    </a:cubicBezTo>
                    <a:cubicBezTo>
                      <a:pt x="361" y="73"/>
                      <a:pt x="362" y="73"/>
                      <a:pt x="363" y="73"/>
                    </a:cubicBezTo>
                    <a:cubicBezTo>
                      <a:pt x="372" y="70"/>
                      <a:pt x="381" y="67"/>
                      <a:pt x="390" y="63"/>
                    </a:cubicBezTo>
                    <a:cubicBezTo>
                      <a:pt x="391" y="63"/>
                      <a:pt x="391" y="63"/>
                      <a:pt x="392" y="63"/>
                    </a:cubicBezTo>
                    <a:cubicBezTo>
                      <a:pt x="401" y="59"/>
                      <a:pt x="410" y="55"/>
                      <a:pt x="419" y="51"/>
                    </a:cubicBezTo>
                    <a:cubicBezTo>
                      <a:pt x="419" y="51"/>
                      <a:pt x="420" y="51"/>
                      <a:pt x="420" y="51"/>
                    </a:cubicBezTo>
                    <a:cubicBezTo>
                      <a:pt x="429" y="47"/>
                      <a:pt x="438" y="42"/>
                      <a:pt x="446" y="37"/>
                    </a:cubicBezTo>
                    <a:cubicBezTo>
                      <a:pt x="447" y="37"/>
                      <a:pt x="447" y="37"/>
                      <a:pt x="447" y="37"/>
                    </a:cubicBezTo>
                    <a:cubicBezTo>
                      <a:pt x="451" y="35"/>
                      <a:pt x="456" y="32"/>
                      <a:pt x="460" y="30"/>
                    </a:cubicBezTo>
                    <a:cubicBezTo>
                      <a:pt x="460" y="30"/>
                      <a:pt x="460" y="30"/>
                      <a:pt x="460" y="30"/>
                    </a:cubicBezTo>
                    <a:cubicBezTo>
                      <a:pt x="464" y="27"/>
                      <a:pt x="469" y="24"/>
                      <a:pt x="473" y="22"/>
                    </a:cubicBezTo>
                    <a:cubicBezTo>
                      <a:pt x="473" y="22"/>
                      <a:pt x="473" y="22"/>
                      <a:pt x="473" y="22"/>
                    </a:cubicBezTo>
                    <a:cubicBezTo>
                      <a:pt x="471" y="14"/>
                      <a:pt x="469" y="6"/>
                      <a:pt x="466" y="0"/>
                    </a:cubicBezTo>
                    <a:cubicBezTo>
                      <a:pt x="399" y="43"/>
                      <a:pt x="321" y="68"/>
                      <a:pt x="236" y="68"/>
                    </a:cubicBezTo>
                    <a:cubicBezTo>
                      <a:pt x="152" y="68"/>
                      <a:pt x="73" y="43"/>
                      <a:pt x="6" y="0"/>
                    </a:cubicBezTo>
                    <a:cubicBezTo>
                      <a:pt x="4" y="6"/>
                      <a:pt x="2" y="14"/>
                      <a:pt x="0" y="22"/>
                    </a:cubicBezTo>
                    <a:cubicBezTo>
                      <a:pt x="0" y="22"/>
                      <a:pt x="0" y="22"/>
                      <a:pt x="0" y="22"/>
                    </a:cubicBezTo>
                    <a:cubicBezTo>
                      <a:pt x="4" y="24"/>
                      <a:pt x="8" y="27"/>
                      <a:pt x="13" y="30"/>
                    </a:cubicBezTo>
                    <a:cubicBezTo>
                      <a:pt x="13" y="30"/>
                      <a:pt x="13" y="30"/>
                      <a:pt x="13" y="30"/>
                    </a:cubicBezTo>
                    <a:cubicBezTo>
                      <a:pt x="17" y="32"/>
                      <a:pt x="21" y="35"/>
                      <a:pt x="25" y="37"/>
                    </a:cubicBezTo>
                    <a:cubicBezTo>
                      <a:pt x="26" y="37"/>
                      <a:pt x="26" y="37"/>
                      <a:pt x="26" y="37"/>
                    </a:cubicBezTo>
                    <a:cubicBezTo>
                      <a:pt x="35" y="42"/>
                      <a:pt x="43" y="47"/>
                      <a:pt x="52" y="51"/>
                    </a:cubicBezTo>
                    <a:cubicBezTo>
                      <a:pt x="53" y="51"/>
                      <a:pt x="53" y="51"/>
                      <a:pt x="54" y="51"/>
                    </a:cubicBezTo>
                    <a:cubicBezTo>
                      <a:pt x="63" y="55"/>
                      <a:pt x="71" y="59"/>
                      <a:pt x="81" y="63"/>
                    </a:cubicBezTo>
                    <a:cubicBezTo>
                      <a:pt x="81" y="63"/>
                      <a:pt x="82" y="63"/>
                      <a:pt x="82" y="63"/>
                    </a:cubicBezTo>
                    <a:cubicBezTo>
                      <a:pt x="91" y="67"/>
                      <a:pt x="101" y="70"/>
                      <a:pt x="110" y="73"/>
                    </a:cubicBezTo>
                    <a:cubicBezTo>
                      <a:pt x="111" y="73"/>
                      <a:pt x="111" y="73"/>
                      <a:pt x="112" y="73"/>
                    </a:cubicBezTo>
                    <a:cubicBezTo>
                      <a:pt x="116" y="75"/>
                      <a:pt x="121" y="76"/>
                      <a:pt x="125" y="77"/>
                    </a:cubicBezTo>
                    <a:cubicBezTo>
                      <a:pt x="125" y="77"/>
                      <a:pt x="126" y="77"/>
                      <a:pt x="126" y="77"/>
                    </a:cubicBezTo>
                    <a:cubicBezTo>
                      <a:pt x="131" y="79"/>
                      <a:pt x="135" y="80"/>
                      <a:pt x="140" y="81"/>
                    </a:cubicBezTo>
                    <a:cubicBezTo>
                      <a:pt x="141" y="81"/>
                      <a:pt x="142" y="81"/>
                      <a:pt x="143" y="81"/>
                    </a:cubicBezTo>
                    <a:cubicBezTo>
                      <a:pt x="147" y="82"/>
                      <a:pt x="151" y="83"/>
                      <a:pt x="155" y="84"/>
                    </a:cubicBezTo>
                    <a:cubicBezTo>
                      <a:pt x="156" y="84"/>
                      <a:pt x="156" y="84"/>
                      <a:pt x="157" y="84"/>
                    </a:cubicBezTo>
                    <a:cubicBezTo>
                      <a:pt x="162" y="85"/>
                      <a:pt x="167" y="86"/>
                      <a:pt x="171" y="87"/>
                    </a:cubicBezTo>
                    <a:cubicBezTo>
                      <a:pt x="172" y="87"/>
                      <a:pt x="173" y="87"/>
                      <a:pt x="174" y="87"/>
                    </a:cubicBezTo>
                    <a:cubicBezTo>
                      <a:pt x="178" y="88"/>
                      <a:pt x="182" y="88"/>
                      <a:pt x="186" y="89"/>
                    </a:cubicBezTo>
                    <a:cubicBezTo>
                      <a:pt x="187" y="89"/>
                      <a:pt x="188" y="89"/>
                      <a:pt x="189" y="89"/>
                    </a:cubicBezTo>
                    <a:cubicBezTo>
                      <a:pt x="194" y="89"/>
                      <a:pt x="199" y="90"/>
                      <a:pt x="203" y="90"/>
                    </a:cubicBezTo>
                    <a:cubicBezTo>
                      <a:pt x="204" y="90"/>
                      <a:pt x="205" y="90"/>
                      <a:pt x="205" y="90"/>
                    </a:cubicBezTo>
                    <a:cubicBezTo>
                      <a:pt x="209" y="91"/>
                      <a:pt x="214" y="91"/>
                      <a:pt x="218" y="91"/>
                    </a:cubicBezTo>
                    <a:cubicBezTo>
                      <a:pt x="219" y="91"/>
                      <a:pt x="220" y="91"/>
                      <a:pt x="222" y="91"/>
                    </a:cubicBezTo>
                    <a:cubicBezTo>
                      <a:pt x="227" y="91"/>
                      <a:pt x="231" y="91"/>
                      <a:pt x="236" y="91"/>
                    </a:cubicBezTo>
                    <a:cubicBezTo>
                      <a:pt x="241" y="91"/>
                      <a:pt x="246" y="91"/>
                      <a:pt x="251" y="91"/>
                    </a:cubicBezTo>
                    <a:cubicBezTo>
                      <a:pt x="252" y="91"/>
                      <a:pt x="253" y="91"/>
                      <a:pt x="255" y="91"/>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53"/>
              <p:cNvSpPr>
                <a:spLocks/>
              </p:cNvSpPr>
              <p:nvPr/>
            </p:nvSpPr>
            <p:spPr bwMode="auto">
              <a:xfrm>
                <a:off x="-3070226" y="6213475"/>
                <a:ext cx="236538" cy="674688"/>
              </a:xfrm>
              <a:custGeom>
                <a:avLst/>
                <a:gdLst>
                  <a:gd name="T0" fmla="*/ 56 w 64"/>
                  <a:gd name="T1" fmla="*/ 0 h 182"/>
                  <a:gd name="T2" fmla="*/ 0 w 64"/>
                  <a:gd name="T3" fmla="*/ 61 h 182"/>
                  <a:gd name="T4" fmla="*/ 35 w 64"/>
                  <a:gd name="T5" fmla="*/ 99 h 182"/>
                  <a:gd name="T6" fmla="*/ 0 w 64"/>
                  <a:gd name="T7" fmla="*/ 129 h 182"/>
                  <a:gd name="T8" fmla="*/ 30 w 64"/>
                  <a:gd name="T9" fmla="*/ 176 h 182"/>
                  <a:gd name="T10" fmla="*/ 64 w 64"/>
                  <a:gd name="T11" fmla="*/ 182 h 182"/>
                  <a:gd name="T12" fmla="*/ 56 w 64"/>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4" h="182">
                    <a:moveTo>
                      <a:pt x="56" y="0"/>
                    </a:moveTo>
                    <a:cubicBezTo>
                      <a:pt x="0" y="61"/>
                      <a:pt x="0" y="61"/>
                      <a:pt x="0" y="61"/>
                    </a:cubicBezTo>
                    <a:cubicBezTo>
                      <a:pt x="35" y="99"/>
                      <a:pt x="35" y="99"/>
                      <a:pt x="35" y="99"/>
                    </a:cubicBezTo>
                    <a:cubicBezTo>
                      <a:pt x="0" y="129"/>
                      <a:pt x="0" y="129"/>
                      <a:pt x="0" y="129"/>
                    </a:cubicBezTo>
                    <a:cubicBezTo>
                      <a:pt x="30" y="176"/>
                      <a:pt x="30" y="176"/>
                      <a:pt x="30" y="176"/>
                    </a:cubicBezTo>
                    <a:cubicBezTo>
                      <a:pt x="41" y="178"/>
                      <a:pt x="52" y="180"/>
                      <a:pt x="64" y="182"/>
                    </a:cubicBezTo>
                    <a:lnTo>
                      <a:pt x="56"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54"/>
              <p:cNvSpPr>
                <a:spLocks/>
              </p:cNvSpPr>
              <p:nvPr/>
            </p:nvSpPr>
            <p:spPr bwMode="auto">
              <a:xfrm>
                <a:off x="-2406651" y="6213475"/>
                <a:ext cx="234950" cy="674688"/>
              </a:xfrm>
              <a:custGeom>
                <a:avLst/>
                <a:gdLst>
                  <a:gd name="T0" fmla="*/ 7 w 63"/>
                  <a:gd name="T1" fmla="*/ 0 h 182"/>
                  <a:gd name="T2" fmla="*/ 0 w 63"/>
                  <a:gd name="T3" fmla="*/ 182 h 182"/>
                  <a:gd name="T4" fmla="*/ 33 w 63"/>
                  <a:gd name="T5" fmla="*/ 176 h 182"/>
                  <a:gd name="T6" fmla="*/ 63 w 63"/>
                  <a:gd name="T7" fmla="*/ 129 h 182"/>
                  <a:gd name="T8" fmla="*/ 28 w 63"/>
                  <a:gd name="T9" fmla="*/ 99 h 182"/>
                  <a:gd name="T10" fmla="*/ 63 w 63"/>
                  <a:gd name="T11" fmla="*/ 61 h 182"/>
                  <a:gd name="T12" fmla="*/ 7 w 63"/>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3" h="182">
                    <a:moveTo>
                      <a:pt x="7" y="0"/>
                    </a:moveTo>
                    <a:cubicBezTo>
                      <a:pt x="0" y="182"/>
                      <a:pt x="0" y="182"/>
                      <a:pt x="0" y="182"/>
                    </a:cubicBezTo>
                    <a:cubicBezTo>
                      <a:pt x="11" y="180"/>
                      <a:pt x="22" y="178"/>
                      <a:pt x="33" y="176"/>
                    </a:cubicBezTo>
                    <a:cubicBezTo>
                      <a:pt x="63" y="129"/>
                      <a:pt x="63" y="129"/>
                      <a:pt x="63" y="129"/>
                    </a:cubicBezTo>
                    <a:cubicBezTo>
                      <a:pt x="28" y="99"/>
                      <a:pt x="28" y="99"/>
                      <a:pt x="28" y="99"/>
                    </a:cubicBezTo>
                    <a:cubicBezTo>
                      <a:pt x="63" y="61"/>
                      <a:pt x="63" y="61"/>
                      <a:pt x="63" y="61"/>
                    </a:cubicBezTo>
                    <a:lnTo>
                      <a:pt x="7"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55"/>
              <p:cNvSpPr>
                <a:spLocks/>
              </p:cNvSpPr>
              <p:nvPr/>
            </p:nvSpPr>
            <p:spPr bwMode="auto">
              <a:xfrm>
                <a:off x="-2862263" y="6157913"/>
                <a:ext cx="474663" cy="741363"/>
              </a:xfrm>
              <a:custGeom>
                <a:avLst/>
                <a:gdLst>
                  <a:gd name="T0" fmla="*/ 0 w 128"/>
                  <a:gd name="T1" fmla="*/ 15 h 200"/>
                  <a:gd name="T2" fmla="*/ 4 w 128"/>
                  <a:gd name="T3" fmla="*/ 196 h 200"/>
                  <a:gd name="T4" fmla="*/ 64 w 128"/>
                  <a:gd name="T5" fmla="*/ 200 h 200"/>
                  <a:gd name="T6" fmla="*/ 125 w 128"/>
                  <a:gd name="T7" fmla="*/ 196 h 200"/>
                  <a:gd name="T8" fmla="*/ 128 w 128"/>
                  <a:gd name="T9" fmla="*/ 15 h 200"/>
                  <a:gd name="T10" fmla="*/ 64 w 128"/>
                  <a:gd name="T11" fmla="*/ 0 h 200"/>
                  <a:gd name="T12" fmla="*/ 0 w 128"/>
                  <a:gd name="T13" fmla="*/ 15 h 200"/>
                </a:gdLst>
                <a:ahLst/>
                <a:cxnLst>
                  <a:cxn ang="0">
                    <a:pos x="T0" y="T1"/>
                  </a:cxn>
                  <a:cxn ang="0">
                    <a:pos x="T2" y="T3"/>
                  </a:cxn>
                  <a:cxn ang="0">
                    <a:pos x="T4" y="T5"/>
                  </a:cxn>
                  <a:cxn ang="0">
                    <a:pos x="T6" y="T7"/>
                  </a:cxn>
                  <a:cxn ang="0">
                    <a:pos x="T8" y="T9"/>
                  </a:cxn>
                  <a:cxn ang="0">
                    <a:pos x="T10" y="T11"/>
                  </a:cxn>
                  <a:cxn ang="0">
                    <a:pos x="T12" y="T13"/>
                  </a:cxn>
                </a:cxnLst>
                <a:rect l="0" t="0" r="r" b="b"/>
                <a:pathLst>
                  <a:path w="128" h="200">
                    <a:moveTo>
                      <a:pt x="0" y="15"/>
                    </a:moveTo>
                    <a:cubicBezTo>
                      <a:pt x="4" y="196"/>
                      <a:pt x="4" y="196"/>
                      <a:pt x="4" y="196"/>
                    </a:cubicBezTo>
                    <a:cubicBezTo>
                      <a:pt x="23" y="199"/>
                      <a:pt x="44" y="200"/>
                      <a:pt x="64" y="200"/>
                    </a:cubicBezTo>
                    <a:cubicBezTo>
                      <a:pt x="85" y="200"/>
                      <a:pt x="105" y="199"/>
                      <a:pt x="125" y="196"/>
                    </a:cubicBezTo>
                    <a:cubicBezTo>
                      <a:pt x="128" y="15"/>
                      <a:pt x="128" y="15"/>
                      <a:pt x="128" y="15"/>
                    </a:cubicBezTo>
                    <a:cubicBezTo>
                      <a:pt x="64" y="0"/>
                      <a:pt x="64" y="0"/>
                      <a:pt x="64" y="0"/>
                    </a:cubicBezTo>
                    <a:lnTo>
                      <a:pt x="0" y="15"/>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56"/>
              <p:cNvSpPr>
                <a:spLocks/>
              </p:cNvSpPr>
              <p:nvPr/>
            </p:nvSpPr>
            <p:spPr bwMode="auto">
              <a:xfrm>
                <a:off x="-2851151" y="6777038"/>
                <a:ext cx="455613" cy="122238"/>
              </a:xfrm>
              <a:custGeom>
                <a:avLst/>
                <a:gdLst>
                  <a:gd name="T0" fmla="*/ 79 w 123"/>
                  <a:gd name="T1" fmla="*/ 33 h 33"/>
                  <a:gd name="T2" fmla="*/ 91 w 123"/>
                  <a:gd name="T3" fmla="*/ 32 h 33"/>
                  <a:gd name="T4" fmla="*/ 92 w 123"/>
                  <a:gd name="T5" fmla="*/ 32 h 33"/>
                  <a:gd name="T6" fmla="*/ 122 w 123"/>
                  <a:gd name="T7" fmla="*/ 29 h 33"/>
                  <a:gd name="T8" fmla="*/ 123 w 123"/>
                  <a:gd name="T9" fmla="*/ 0 h 33"/>
                  <a:gd name="T10" fmla="*/ 61 w 123"/>
                  <a:gd name="T11" fmla="*/ 5 h 33"/>
                  <a:gd name="T12" fmla="*/ 0 w 123"/>
                  <a:gd name="T13" fmla="*/ 0 h 33"/>
                  <a:gd name="T14" fmla="*/ 1 w 123"/>
                  <a:gd name="T15" fmla="*/ 29 h 33"/>
                  <a:gd name="T16" fmla="*/ 30 w 123"/>
                  <a:gd name="T17" fmla="*/ 32 h 33"/>
                  <a:gd name="T18" fmla="*/ 32 w 123"/>
                  <a:gd name="T19" fmla="*/ 32 h 33"/>
                  <a:gd name="T20" fmla="*/ 44 w 123"/>
                  <a:gd name="T21" fmla="*/ 33 h 33"/>
                  <a:gd name="T22" fmla="*/ 47 w 123"/>
                  <a:gd name="T23" fmla="*/ 33 h 33"/>
                  <a:gd name="T24" fmla="*/ 61 w 123"/>
                  <a:gd name="T25" fmla="*/ 33 h 33"/>
                  <a:gd name="T26" fmla="*/ 75 w 123"/>
                  <a:gd name="T27" fmla="*/ 33 h 33"/>
                  <a:gd name="T28" fmla="*/ 79 w 123"/>
                  <a:gd name="T2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3">
                    <a:moveTo>
                      <a:pt x="79" y="33"/>
                    </a:moveTo>
                    <a:cubicBezTo>
                      <a:pt x="83" y="33"/>
                      <a:pt x="87" y="33"/>
                      <a:pt x="91" y="32"/>
                    </a:cubicBezTo>
                    <a:cubicBezTo>
                      <a:pt x="92" y="32"/>
                      <a:pt x="92" y="32"/>
                      <a:pt x="92" y="32"/>
                    </a:cubicBezTo>
                    <a:cubicBezTo>
                      <a:pt x="102" y="32"/>
                      <a:pt x="112" y="31"/>
                      <a:pt x="122" y="29"/>
                    </a:cubicBezTo>
                    <a:cubicBezTo>
                      <a:pt x="123" y="0"/>
                      <a:pt x="123" y="0"/>
                      <a:pt x="123" y="0"/>
                    </a:cubicBezTo>
                    <a:cubicBezTo>
                      <a:pt x="103" y="3"/>
                      <a:pt x="82" y="5"/>
                      <a:pt x="61" y="5"/>
                    </a:cubicBezTo>
                    <a:cubicBezTo>
                      <a:pt x="40" y="5"/>
                      <a:pt x="20" y="3"/>
                      <a:pt x="0" y="0"/>
                    </a:cubicBezTo>
                    <a:cubicBezTo>
                      <a:pt x="1" y="29"/>
                      <a:pt x="1" y="29"/>
                      <a:pt x="1" y="29"/>
                    </a:cubicBezTo>
                    <a:cubicBezTo>
                      <a:pt x="10" y="31"/>
                      <a:pt x="20" y="32"/>
                      <a:pt x="30" y="32"/>
                    </a:cubicBezTo>
                    <a:cubicBezTo>
                      <a:pt x="31" y="32"/>
                      <a:pt x="31" y="32"/>
                      <a:pt x="32" y="32"/>
                    </a:cubicBezTo>
                    <a:cubicBezTo>
                      <a:pt x="36" y="33"/>
                      <a:pt x="40" y="33"/>
                      <a:pt x="44" y="33"/>
                    </a:cubicBezTo>
                    <a:cubicBezTo>
                      <a:pt x="45" y="33"/>
                      <a:pt x="46" y="33"/>
                      <a:pt x="47" y="33"/>
                    </a:cubicBezTo>
                    <a:cubicBezTo>
                      <a:pt x="52" y="33"/>
                      <a:pt x="57" y="33"/>
                      <a:pt x="61" y="33"/>
                    </a:cubicBezTo>
                    <a:cubicBezTo>
                      <a:pt x="66" y="33"/>
                      <a:pt x="71" y="33"/>
                      <a:pt x="75" y="33"/>
                    </a:cubicBezTo>
                    <a:cubicBezTo>
                      <a:pt x="76" y="33"/>
                      <a:pt x="78" y="33"/>
                      <a:pt x="79" y="33"/>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57"/>
              <p:cNvSpPr>
                <a:spLocks/>
              </p:cNvSpPr>
              <p:nvPr/>
            </p:nvSpPr>
            <p:spPr bwMode="auto">
              <a:xfrm>
                <a:off x="-2717801" y="6402388"/>
                <a:ext cx="177800" cy="496888"/>
              </a:xfrm>
              <a:custGeom>
                <a:avLst/>
                <a:gdLst>
                  <a:gd name="T0" fmla="*/ 24 w 48"/>
                  <a:gd name="T1" fmla="*/ 0 h 134"/>
                  <a:gd name="T2" fmla="*/ 0 w 48"/>
                  <a:gd name="T3" fmla="*/ 11 h 134"/>
                  <a:gd name="T4" fmla="*/ 0 w 48"/>
                  <a:gd name="T5" fmla="*/ 13 h 134"/>
                  <a:gd name="T6" fmla="*/ 13 w 48"/>
                  <a:gd name="T7" fmla="*/ 40 h 134"/>
                  <a:gd name="T8" fmla="*/ 9 w 48"/>
                  <a:gd name="T9" fmla="*/ 134 h 134"/>
                  <a:gd name="T10" fmla="*/ 25 w 48"/>
                  <a:gd name="T11" fmla="*/ 134 h 134"/>
                  <a:gd name="T12" fmla="*/ 39 w 48"/>
                  <a:gd name="T13" fmla="*/ 134 h 134"/>
                  <a:gd name="T14" fmla="*/ 35 w 48"/>
                  <a:gd name="T15" fmla="*/ 40 h 134"/>
                  <a:gd name="T16" fmla="*/ 48 w 48"/>
                  <a:gd name="T17" fmla="*/ 13 h 134"/>
                  <a:gd name="T18" fmla="*/ 48 w 48"/>
                  <a:gd name="T19" fmla="*/ 11 h 134"/>
                  <a:gd name="T20" fmla="*/ 24 w 48"/>
                  <a:gd name="T2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34">
                    <a:moveTo>
                      <a:pt x="24" y="0"/>
                    </a:moveTo>
                    <a:cubicBezTo>
                      <a:pt x="11" y="0"/>
                      <a:pt x="0" y="0"/>
                      <a:pt x="0" y="11"/>
                    </a:cubicBezTo>
                    <a:cubicBezTo>
                      <a:pt x="0" y="13"/>
                      <a:pt x="0" y="13"/>
                      <a:pt x="0" y="13"/>
                    </a:cubicBezTo>
                    <a:cubicBezTo>
                      <a:pt x="0" y="21"/>
                      <a:pt x="3" y="37"/>
                      <a:pt x="13" y="40"/>
                    </a:cubicBezTo>
                    <a:cubicBezTo>
                      <a:pt x="9" y="134"/>
                      <a:pt x="9" y="134"/>
                      <a:pt x="9" y="134"/>
                    </a:cubicBezTo>
                    <a:cubicBezTo>
                      <a:pt x="15" y="134"/>
                      <a:pt x="20" y="134"/>
                      <a:pt x="25" y="134"/>
                    </a:cubicBezTo>
                    <a:cubicBezTo>
                      <a:pt x="30" y="134"/>
                      <a:pt x="34" y="134"/>
                      <a:pt x="39" y="134"/>
                    </a:cubicBezTo>
                    <a:cubicBezTo>
                      <a:pt x="35" y="40"/>
                      <a:pt x="35" y="40"/>
                      <a:pt x="35" y="40"/>
                    </a:cubicBezTo>
                    <a:cubicBezTo>
                      <a:pt x="45" y="37"/>
                      <a:pt x="48" y="21"/>
                      <a:pt x="48" y="13"/>
                    </a:cubicBezTo>
                    <a:cubicBezTo>
                      <a:pt x="48" y="11"/>
                      <a:pt x="48" y="11"/>
                      <a:pt x="48" y="11"/>
                    </a:cubicBezTo>
                    <a:cubicBezTo>
                      <a:pt x="48" y="0"/>
                      <a:pt x="37" y="0"/>
                      <a:pt x="24" y="0"/>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58"/>
              <p:cNvSpPr>
                <a:spLocks/>
              </p:cNvSpPr>
              <p:nvPr/>
            </p:nvSpPr>
            <p:spPr bwMode="auto">
              <a:xfrm>
                <a:off x="-2862263" y="6157913"/>
                <a:ext cx="236538" cy="730250"/>
              </a:xfrm>
              <a:custGeom>
                <a:avLst/>
                <a:gdLst>
                  <a:gd name="T0" fmla="*/ 4 w 64"/>
                  <a:gd name="T1" fmla="*/ 196 h 197"/>
                  <a:gd name="T2" fmla="*/ 6 w 64"/>
                  <a:gd name="T3" fmla="*/ 197 h 197"/>
                  <a:gd name="T4" fmla="*/ 3 w 64"/>
                  <a:gd name="T5" fmla="*/ 15 h 197"/>
                  <a:gd name="T6" fmla="*/ 64 w 64"/>
                  <a:gd name="T7" fmla="*/ 0 h 197"/>
                  <a:gd name="T8" fmla="*/ 0 w 64"/>
                  <a:gd name="T9" fmla="*/ 15 h 197"/>
                  <a:gd name="T10" fmla="*/ 4 w 64"/>
                  <a:gd name="T11" fmla="*/ 196 h 197"/>
                </a:gdLst>
                <a:ahLst/>
                <a:cxnLst>
                  <a:cxn ang="0">
                    <a:pos x="T0" y="T1"/>
                  </a:cxn>
                  <a:cxn ang="0">
                    <a:pos x="T2" y="T3"/>
                  </a:cxn>
                  <a:cxn ang="0">
                    <a:pos x="T4" y="T5"/>
                  </a:cxn>
                  <a:cxn ang="0">
                    <a:pos x="T6" y="T7"/>
                  </a:cxn>
                  <a:cxn ang="0">
                    <a:pos x="T8" y="T9"/>
                  </a:cxn>
                  <a:cxn ang="0">
                    <a:pos x="T10" y="T11"/>
                  </a:cxn>
                </a:cxnLst>
                <a:rect l="0" t="0" r="r" b="b"/>
                <a:pathLst>
                  <a:path w="64" h="197">
                    <a:moveTo>
                      <a:pt x="4" y="196"/>
                    </a:moveTo>
                    <a:cubicBezTo>
                      <a:pt x="4" y="196"/>
                      <a:pt x="5" y="196"/>
                      <a:pt x="6" y="197"/>
                    </a:cubicBezTo>
                    <a:cubicBezTo>
                      <a:pt x="3" y="15"/>
                      <a:pt x="3" y="15"/>
                      <a:pt x="3" y="15"/>
                    </a:cubicBezTo>
                    <a:cubicBezTo>
                      <a:pt x="64" y="0"/>
                      <a:pt x="64" y="0"/>
                      <a:pt x="64" y="0"/>
                    </a:cubicBezTo>
                    <a:cubicBezTo>
                      <a:pt x="0" y="15"/>
                      <a:pt x="0" y="15"/>
                      <a:pt x="0" y="15"/>
                    </a:cubicBezTo>
                    <a:lnTo>
                      <a:pt x="4" y="196"/>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59"/>
              <p:cNvSpPr>
                <a:spLocks/>
              </p:cNvSpPr>
              <p:nvPr/>
            </p:nvSpPr>
            <p:spPr bwMode="auto">
              <a:xfrm>
                <a:off x="-2625726" y="6157913"/>
                <a:ext cx="238125" cy="727075"/>
              </a:xfrm>
              <a:custGeom>
                <a:avLst/>
                <a:gdLst>
                  <a:gd name="T0" fmla="*/ 0 w 64"/>
                  <a:gd name="T1" fmla="*/ 0 h 196"/>
                  <a:gd name="T2" fmla="*/ 62 w 64"/>
                  <a:gd name="T3" fmla="*/ 15 h 196"/>
                  <a:gd name="T4" fmla="*/ 59 w 64"/>
                  <a:gd name="T5" fmla="*/ 196 h 196"/>
                  <a:gd name="T6" fmla="*/ 61 w 64"/>
                  <a:gd name="T7" fmla="*/ 196 h 196"/>
                  <a:gd name="T8" fmla="*/ 64 w 64"/>
                  <a:gd name="T9" fmla="*/ 15 h 196"/>
                  <a:gd name="T10" fmla="*/ 0 w 64"/>
                  <a:gd name="T11" fmla="*/ 0 h 196"/>
                </a:gdLst>
                <a:ahLst/>
                <a:cxnLst>
                  <a:cxn ang="0">
                    <a:pos x="T0" y="T1"/>
                  </a:cxn>
                  <a:cxn ang="0">
                    <a:pos x="T2" y="T3"/>
                  </a:cxn>
                  <a:cxn ang="0">
                    <a:pos x="T4" y="T5"/>
                  </a:cxn>
                  <a:cxn ang="0">
                    <a:pos x="T6" y="T7"/>
                  </a:cxn>
                  <a:cxn ang="0">
                    <a:pos x="T8" y="T9"/>
                  </a:cxn>
                  <a:cxn ang="0">
                    <a:pos x="T10" y="T11"/>
                  </a:cxn>
                </a:cxnLst>
                <a:rect l="0" t="0" r="r" b="b"/>
                <a:pathLst>
                  <a:path w="64" h="196">
                    <a:moveTo>
                      <a:pt x="0" y="0"/>
                    </a:moveTo>
                    <a:cubicBezTo>
                      <a:pt x="62" y="15"/>
                      <a:pt x="62" y="15"/>
                      <a:pt x="62" y="15"/>
                    </a:cubicBezTo>
                    <a:cubicBezTo>
                      <a:pt x="59" y="196"/>
                      <a:pt x="59" y="196"/>
                      <a:pt x="59" y="196"/>
                    </a:cubicBezTo>
                    <a:cubicBezTo>
                      <a:pt x="60" y="196"/>
                      <a:pt x="61" y="196"/>
                      <a:pt x="61" y="196"/>
                    </a:cubicBezTo>
                    <a:cubicBezTo>
                      <a:pt x="64" y="15"/>
                      <a:pt x="64" y="15"/>
                      <a:pt x="64" y="15"/>
                    </a:cubicBezTo>
                    <a:lnTo>
                      <a:pt x="0"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60"/>
              <p:cNvSpPr>
                <a:spLocks/>
              </p:cNvSpPr>
              <p:nvPr/>
            </p:nvSpPr>
            <p:spPr bwMode="auto">
              <a:xfrm>
                <a:off x="-2862263" y="6199188"/>
                <a:ext cx="474663" cy="319088"/>
              </a:xfrm>
              <a:custGeom>
                <a:avLst/>
                <a:gdLst>
                  <a:gd name="T0" fmla="*/ 299 w 299"/>
                  <a:gd name="T1" fmla="*/ 75 h 201"/>
                  <a:gd name="T2" fmla="*/ 299 w 299"/>
                  <a:gd name="T3" fmla="*/ 14 h 201"/>
                  <a:gd name="T4" fmla="*/ 290 w 299"/>
                  <a:gd name="T5" fmla="*/ 7 h 201"/>
                  <a:gd name="T6" fmla="*/ 257 w 299"/>
                  <a:gd name="T7" fmla="*/ 0 h 201"/>
                  <a:gd name="T8" fmla="*/ 149 w 299"/>
                  <a:gd name="T9" fmla="*/ 133 h 201"/>
                  <a:gd name="T10" fmla="*/ 42 w 299"/>
                  <a:gd name="T11" fmla="*/ 0 h 201"/>
                  <a:gd name="T12" fmla="*/ 9 w 299"/>
                  <a:gd name="T13" fmla="*/ 7 h 201"/>
                  <a:gd name="T14" fmla="*/ 0 w 299"/>
                  <a:gd name="T15" fmla="*/ 14 h 201"/>
                  <a:gd name="T16" fmla="*/ 2 w 299"/>
                  <a:gd name="T17" fmla="*/ 77 h 201"/>
                  <a:gd name="T18" fmla="*/ 91 w 299"/>
                  <a:gd name="T19" fmla="*/ 201 h 201"/>
                  <a:gd name="T20" fmla="*/ 149 w 299"/>
                  <a:gd name="T21" fmla="*/ 135 h 201"/>
                  <a:gd name="T22" fmla="*/ 208 w 299"/>
                  <a:gd name="T23" fmla="*/ 201 h 201"/>
                  <a:gd name="T24" fmla="*/ 299 w 299"/>
                  <a:gd name="T25" fmla="*/ 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201">
                    <a:moveTo>
                      <a:pt x="299" y="75"/>
                    </a:moveTo>
                    <a:lnTo>
                      <a:pt x="299" y="14"/>
                    </a:lnTo>
                    <a:lnTo>
                      <a:pt x="290" y="7"/>
                    </a:lnTo>
                    <a:lnTo>
                      <a:pt x="257" y="0"/>
                    </a:lnTo>
                    <a:lnTo>
                      <a:pt x="149" y="133"/>
                    </a:lnTo>
                    <a:lnTo>
                      <a:pt x="42" y="0"/>
                    </a:lnTo>
                    <a:lnTo>
                      <a:pt x="9" y="7"/>
                    </a:lnTo>
                    <a:lnTo>
                      <a:pt x="0" y="14"/>
                    </a:lnTo>
                    <a:lnTo>
                      <a:pt x="2" y="77"/>
                    </a:lnTo>
                    <a:lnTo>
                      <a:pt x="91" y="201"/>
                    </a:lnTo>
                    <a:lnTo>
                      <a:pt x="149" y="135"/>
                    </a:lnTo>
                    <a:lnTo>
                      <a:pt x="208" y="201"/>
                    </a:lnTo>
                    <a:lnTo>
                      <a:pt x="299" y="75"/>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61"/>
              <p:cNvSpPr>
                <a:spLocks/>
              </p:cNvSpPr>
              <p:nvPr/>
            </p:nvSpPr>
            <p:spPr bwMode="auto">
              <a:xfrm>
                <a:off x="-2703513" y="6388100"/>
                <a:ext cx="152400" cy="152400"/>
              </a:xfrm>
              <a:custGeom>
                <a:avLst/>
                <a:gdLst>
                  <a:gd name="T0" fmla="*/ 41 w 41"/>
                  <a:gd name="T1" fmla="*/ 21 h 41"/>
                  <a:gd name="T2" fmla="*/ 20 w 41"/>
                  <a:gd name="T3" fmla="*/ 41 h 41"/>
                  <a:gd name="T4" fmla="*/ 20 w 41"/>
                  <a:gd name="T5" fmla="*/ 41 h 41"/>
                  <a:gd name="T6" fmla="*/ 0 w 41"/>
                  <a:gd name="T7" fmla="*/ 21 h 41"/>
                  <a:gd name="T8" fmla="*/ 0 w 41"/>
                  <a:gd name="T9" fmla="*/ 20 h 41"/>
                  <a:gd name="T10" fmla="*/ 20 w 41"/>
                  <a:gd name="T11" fmla="*/ 0 h 41"/>
                  <a:gd name="T12" fmla="*/ 20 w 41"/>
                  <a:gd name="T13" fmla="*/ 0 h 41"/>
                  <a:gd name="T14" fmla="*/ 41 w 41"/>
                  <a:gd name="T15" fmla="*/ 20 h 41"/>
                  <a:gd name="T16" fmla="*/ 41 w 41"/>
                  <a:gd name="T1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41" y="21"/>
                    </a:moveTo>
                    <a:cubicBezTo>
                      <a:pt x="41" y="32"/>
                      <a:pt x="31" y="41"/>
                      <a:pt x="20" y="41"/>
                    </a:cubicBezTo>
                    <a:cubicBezTo>
                      <a:pt x="20" y="41"/>
                      <a:pt x="20" y="41"/>
                      <a:pt x="20" y="41"/>
                    </a:cubicBezTo>
                    <a:cubicBezTo>
                      <a:pt x="9" y="41"/>
                      <a:pt x="0" y="32"/>
                      <a:pt x="0" y="21"/>
                    </a:cubicBezTo>
                    <a:cubicBezTo>
                      <a:pt x="0" y="20"/>
                      <a:pt x="0" y="20"/>
                      <a:pt x="0" y="20"/>
                    </a:cubicBezTo>
                    <a:cubicBezTo>
                      <a:pt x="0" y="9"/>
                      <a:pt x="9" y="0"/>
                      <a:pt x="20" y="0"/>
                    </a:cubicBezTo>
                    <a:cubicBezTo>
                      <a:pt x="20" y="0"/>
                      <a:pt x="20" y="0"/>
                      <a:pt x="20" y="0"/>
                    </a:cubicBezTo>
                    <a:cubicBezTo>
                      <a:pt x="31" y="0"/>
                      <a:pt x="41" y="9"/>
                      <a:pt x="41" y="20"/>
                    </a:cubicBezTo>
                    <a:lnTo>
                      <a:pt x="41" y="21"/>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62"/>
              <p:cNvSpPr>
                <a:spLocks/>
              </p:cNvSpPr>
              <p:nvPr/>
            </p:nvSpPr>
            <p:spPr bwMode="auto">
              <a:xfrm>
                <a:off x="-2814638" y="5829300"/>
                <a:ext cx="379413" cy="558800"/>
              </a:xfrm>
              <a:custGeom>
                <a:avLst/>
                <a:gdLst>
                  <a:gd name="T0" fmla="*/ 239 w 239"/>
                  <a:gd name="T1" fmla="*/ 282 h 352"/>
                  <a:gd name="T2" fmla="*/ 119 w 239"/>
                  <a:gd name="T3" fmla="*/ 352 h 352"/>
                  <a:gd name="T4" fmla="*/ 0 w 239"/>
                  <a:gd name="T5" fmla="*/ 282 h 352"/>
                  <a:gd name="T6" fmla="*/ 19 w 239"/>
                  <a:gd name="T7" fmla="*/ 0 h 352"/>
                  <a:gd name="T8" fmla="*/ 222 w 239"/>
                  <a:gd name="T9" fmla="*/ 0 h 352"/>
                  <a:gd name="T10" fmla="*/ 239 w 239"/>
                  <a:gd name="T11" fmla="*/ 282 h 352"/>
                </a:gdLst>
                <a:ahLst/>
                <a:cxnLst>
                  <a:cxn ang="0">
                    <a:pos x="T0" y="T1"/>
                  </a:cxn>
                  <a:cxn ang="0">
                    <a:pos x="T2" y="T3"/>
                  </a:cxn>
                  <a:cxn ang="0">
                    <a:pos x="T4" y="T5"/>
                  </a:cxn>
                  <a:cxn ang="0">
                    <a:pos x="T6" y="T7"/>
                  </a:cxn>
                  <a:cxn ang="0">
                    <a:pos x="T8" y="T9"/>
                  </a:cxn>
                  <a:cxn ang="0">
                    <a:pos x="T10" y="T11"/>
                  </a:cxn>
                </a:cxnLst>
                <a:rect l="0" t="0" r="r" b="b"/>
                <a:pathLst>
                  <a:path w="239" h="352">
                    <a:moveTo>
                      <a:pt x="239" y="282"/>
                    </a:moveTo>
                    <a:lnTo>
                      <a:pt x="119" y="352"/>
                    </a:lnTo>
                    <a:lnTo>
                      <a:pt x="0" y="282"/>
                    </a:lnTo>
                    <a:lnTo>
                      <a:pt x="19" y="0"/>
                    </a:lnTo>
                    <a:lnTo>
                      <a:pt x="222" y="0"/>
                    </a:lnTo>
                    <a:lnTo>
                      <a:pt x="239" y="282"/>
                    </a:ln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63"/>
              <p:cNvSpPr>
                <a:spLocks/>
              </p:cNvSpPr>
              <p:nvPr/>
            </p:nvSpPr>
            <p:spPr bwMode="auto">
              <a:xfrm>
                <a:off x="-2814638" y="6143625"/>
                <a:ext cx="379413" cy="244475"/>
              </a:xfrm>
              <a:custGeom>
                <a:avLst/>
                <a:gdLst>
                  <a:gd name="T0" fmla="*/ 119 w 239"/>
                  <a:gd name="T1" fmla="*/ 128 h 154"/>
                  <a:gd name="T2" fmla="*/ 7 w 239"/>
                  <a:gd name="T3" fmla="*/ 0 h 154"/>
                  <a:gd name="T4" fmla="*/ 0 w 239"/>
                  <a:gd name="T5" fmla="*/ 84 h 154"/>
                  <a:gd name="T6" fmla="*/ 119 w 239"/>
                  <a:gd name="T7" fmla="*/ 154 h 154"/>
                  <a:gd name="T8" fmla="*/ 239 w 239"/>
                  <a:gd name="T9" fmla="*/ 84 h 154"/>
                  <a:gd name="T10" fmla="*/ 234 w 239"/>
                  <a:gd name="T11" fmla="*/ 0 h 154"/>
                  <a:gd name="T12" fmla="*/ 119 w 239"/>
                  <a:gd name="T13" fmla="*/ 128 h 154"/>
                </a:gdLst>
                <a:ahLst/>
                <a:cxnLst>
                  <a:cxn ang="0">
                    <a:pos x="T0" y="T1"/>
                  </a:cxn>
                  <a:cxn ang="0">
                    <a:pos x="T2" y="T3"/>
                  </a:cxn>
                  <a:cxn ang="0">
                    <a:pos x="T4" y="T5"/>
                  </a:cxn>
                  <a:cxn ang="0">
                    <a:pos x="T6" y="T7"/>
                  </a:cxn>
                  <a:cxn ang="0">
                    <a:pos x="T8" y="T9"/>
                  </a:cxn>
                  <a:cxn ang="0">
                    <a:pos x="T10" y="T11"/>
                  </a:cxn>
                  <a:cxn ang="0">
                    <a:pos x="T12" y="T13"/>
                  </a:cxn>
                </a:cxnLst>
                <a:rect l="0" t="0" r="r" b="b"/>
                <a:pathLst>
                  <a:path w="239" h="154">
                    <a:moveTo>
                      <a:pt x="119" y="128"/>
                    </a:moveTo>
                    <a:lnTo>
                      <a:pt x="7" y="0"/>
                    </a:lnTo>
                    <a:lnTo>
                      <a:pt x="0" y="84"/>
                    </a:lnTo>
                    <a:lnTo>
                      <a:pt x="119" y="154"/>
                    </a:lnTo>
                    <a:lnTo>
                      <a:pt x="239" y="84"/>
                    </a:lnTo>
                    <a:lnTo>
                      <a:pt x="234" y="0"/>
                    </a:lnTo>
                    <a:lnTo>
                      <a:pt x="119" y="128"/>
                    </a:ln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Oval 64"/>
              <p:cNvSpPr>
                <a:spLocks noChangeArrowheads="1"/>
              </p:cNvSpPr>
              <p:nvPr/>
            </p:nvSpPr>
            <p:spPr bwMode="auto">
              <a:xfrm>
                <a:off x="-3549651" y="5051425"/>
                <a:ext cx="412750" cy="528638"/>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Oval 65"/>
              <p:cNvSpPr>
                <a:spLocks noChangeArrowheads="1"/>
              </p:cNvSpPr>
              <p:nvPr/>
            </p:nvSpPr>
            <p:spPr bwMode="auto">
              <a:xfrm>
                <a:off x="-3505201" y="5106988"/>
                <a:ext cx="323850" cy="417513"/>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66"/>
              <p:cNvSpPr>
                <a:spLocks/>
              </p:cNvSpPr>
              <p:nvPr/>
            </p:nvSpPr>
            <p:spPr bwMode="auto">
              <a:xfrm>
                <a:off x="-3505201" y="5106988"/>
                <a:ext cx="282575" cy="417513"/>
              </a:xfrm>
              <a:custGeom>
                <a:avLst/>
                <a:gdLst>
                  <a:gd name="T0" fmla="*/ 12 w 76"/>
                  <a:gd name="T1" fmla="*/ 61 h 113"/>
                  <a:gd name="T2" fmla="*/ 52 w 76"/>
                  <a:gd name="T3" fmla="*/ 9 h 113"/>
                  <a:gd name="T4" fmla="*/ 76 w 76"/>
                  <a:gd name="T5" fmla="*/ 19 h 113"/>
                  <a:gd name="T6" fmla="*/ 44 w 76"/>
                  <a:gd name="T7" fmla="*/ 0 h 113"/>
                  <a:gd name="T8" fmla="*/ 0 w 76"/>
                  <a:gd name="T9" fmla="*/ 57 h 113"/>
                  <a:gd name="T10" fmla="*/ 44 w 76"/>
                  <a:gd name="T11" fmla="*/ 113 h 113"/>
                  <a:gd name="T12" fmla="*/ 48 w 76"/>
                  <a:gd name="T13" fmla="*/ 113 h 113"/>
                  <a:gd name="T14" fmla="*/ 12 w 76"/>
                  <a:gd name="T15" fmla="*/ 61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12" y="61"/>
                    </a:moveTo>
                    <a:cubicBezTo>
                      <a:pt x="12" y="32"/>
                      <a:pt x="30" y="9"/>
                      <a:pt x="52" y="9"/>
                    </a:cubicBezTo>
                    <a:cubicBezTo>
                      <a:pt x="61" y="9"/>
                      <a:pt x="69" y="13"/>
                      <a:pt x="76" y="19"/>
                    </a:cubicBezTo>
                    <a:cubicBezTo>
                      <a:pt x="68" y="8"/>
                      <a:pt x="56" y="0"/>
                      <a:pt x="44" y="0"/>
                    </a:cubicBezTo>
                    <a:cubicBezTo>
                      <a:pt x="19" y="0"/>
                      <a:pt x="0" y="26"/>
                      <a:pt x="0" y="57"/>
                    </a:cubicBezTo>
                    <a:cubicBezTo>
                      <a:pt x="0" y="88"/>
                      <a:pt x="19" y="113"/>
                      <a:pt x="44" y="113"/>
                    </a:cubicBezTo>
                    <a:cubicBezTo>
                      <a:pt x="45" y="113"/>
                      <a:pt x="47" y="113"/>
                      <a:pt x="48" y="113"/>
                    </a:cubicBezTo>
                    <a:cubicBezTo>
                      <a:pt x="28" y="110"/>
                      <a:pt x="12" y="88"/>
                      <a:pt x="12" y="61"/>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Oval 67"/>
              <p:cNvSpPr>
                <a:spLocks noChangeArrowheads="1"/>
              </p:cNvSpPr>
              <p:nvPr/>
            </p:nvSpPr>
            <p:spPr bwMode="auto">
              <a:xfrm>
                <a:off x="-2112963" y="5051425"/>
                <a:ext cx="411163" cy="528638"/>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Oval 68"/>
              <p:cNvSpPr>
                <a:spLocks noChangeArrowheads="1"/>
              </p:cNvSpPr>
              <p:nvPr/>
            </p:nvSpPr>
            <p:spPr bwMode="auto">
              <a:xfrm>
                <a:off x="-2068513" y="5106988"/>
                <a:ext cx="327025" cy="417513"/>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69"/>
              <p:cNvSpPr>
                <a:spLocks/>
              </p:cNvSpPr>
              <p:nvPr/>
            </p:nvSpPr>
            <p:spPr bwMode="auto">
              <a:xfrm>
                <a:off x="-2024063" y="5106988"/>
                <a:ext cx="282575" cy="417513"/>
              </a:xfrm>
              <a:custGeom>
                <a:avLst/>
                <a:gdLst>
                  <a:gd name="T0" fmla="*/ 64 w 76"/>
                  <a:gd name="T1" fmla="*/ 61 h 113"/>
                  <a:gd name="T2" fmla="*/ 23 w 76"/>
                  <a:gd name="T3" fmla="*/ 9 h 113"/>
                  <a:gd name="T4" fmla="*/ 0 w 76"/>
                  <a:gd name="T5" fmla="*/ 19 h 113"/>
                  <a:gd name="T6" fmla="*/ 32 w 76"/>
                  <a:gd name="T7" fmla="*/ 0 h 113"/>
                  <a:gd name="T8" fmla="*/ 76 w 76"/>
                  <a:gd name="T9" fmla="*/ 57 h 113"/>
                  <a:gd name="T10" fmla="*/ 32 w 76"/>
                  <a:gd name="T11" fmla="*/ 113 h 113"/>
                  <a:gd name="T12" fmla="*/ 28 w 76"/>
                  <a:gd name="T13" fmla="*/ 113 h 113"/>
                  <a:gd name="T14" fmla="*/ 64 w 76"/>
                  <a:gd name="T15" fmla="*/ 61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64" y="61"/>
                    </a:moveTo>
                    <a:cubicBezTo>
                      <a:pt x="64" y="32"/>
                      <a:pt x="46" y="9"/>
                      <a:pt x="23" y="9"/>
                    </a:cubicBezTo>
                    <a:cubicBezTo>
                      <a:pt x="15" y="9"/>
                      <a:pt x="6" y="13"/>
                      <a:pt x="0" y="19"/>
                    </a:cubicBezTo>
                    <a:cubicBezTo>
                      <a:pt x="8" y="8"/>
                      <a:pt x="19" y="0"/>
                      <a:pt x="32" y="0"/>
                    </a:cubicBezTo>
                    <a:cubicBezTo>
                      <a:pt x="56" y="0"/>
                      <a:pt x="76" y="26"/>
                      <a:pt x="76" y="57"/>
                    </a:cubicBezTo>
                    <a:cubicBezTo>
                      <a:pt x="76" y="88"/>
                      <a:pt x="56" y="113"/>
                      <a:pt x="32" y="113"/>
                    </a:cubicBezTo>
                    <a:cubicBezTo>
                      <a:pt x="30" y="113"/>
                      <a:pt x="29" y="113"/>
                      <a:pt x="28" y="113"/>
                    </a:cubicBezTo>
                    <a:cubicBezTo>
                      <a:pt x="48" y="110"/>
                      <a:pt x="64" y="88"/>
                      <a:pt x="64" y="61"/>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70"/>
              <p:cNvSpPr>
                <a:spLocks/>
              </p:cNvSpPr>
              <p:nvPr/>
            </p:nvSpPr>
            <p:spPr bwMode="auto">
              <a:xfrm>
                <a:off x="-3352801" y="4268788"/>
                <a:ext cx="1450975" cy="1841500"/>
              </a:xfrm>
              <a:custGeom>
                <a:avLst/>
                <a:gdLst>
                  <a:gd name="T0" fmla="*/ 391 w 391"/>
                  <a:gd name="T1" fmla="*/ 266 h 497"/>
                  <a:gd name="T2" fmla="*/ 195 w 391"/>
                  <a:gd name="T3" fmla="*/ 497 h 497"/>
                  <a:gd name="T4" fmla="*/ 0 w 391"/>
                  <a:gd name="T5" fmla="*/ 266 h 497"/>
                  <a:gd name="T6" fmla="*/ 195 w 391"/>
                  <a:gd name="T7" fmla="*/ 0 h 497"/>
                  <a:gd name="T8" fmla="*/ 391 w 391"/>
                  <a:gd name="T9" fmla="*/ 266 h 497"/>
                </a:gdLst>
                <a:ahLst/>
                <a:cxnLst>
                  <a:cxn ang="0">
                    <a:pos x="T0" y="T1"/>
                  </a:cxn>
                  <a:cxn ang="0">
                    <a:pos x="T2" y="T3"/>
                  </a:cxn>
                  <a:cxn ang="0">
                    <a:pos x="T4" y="T5"/>
                  </a:cxn>
                  <a:cxn ang="0">
                    <a:pos x="T6" y="T7"/>
                  </a:cxn>
                  <a:cxn ang="0">
                    <a:pos x="T8" y="T9"/>
                  </a:cxn>
                </a:cxnLst>
                <a:rect l="0" t="0" r="r" b="b"/>
                <a:pathLst>
                  <a:path w="391" h="497">
                    <a:moveTo>
                      <a:pt x="391" y="266"/>
                    </a:moveTo>
                    <a:cubicBezTo>
                      <a:pt x="391" y="393"/>
                      <a:pt x="303" y="497"/>
                      <a:pt x="195" y="497"/>
                    </a:cubicBezTo>
                    <a:cubicBezTo>
                      <a:pt x="87" y="497"/>
                      <a:pt x="0" y="393"/>
                      <a:pt x="0" y="266"/>
                    </a:cubicBezTo>
                    <a:cubicBezTo>
                      <a:pt x="0" y="139"/>
                      <a:pt x="19" y="0"/>
                      <a:pt x="195" y="0"/>
                    </a:cubicBezTo>
                    <a:cubicBezTo>
                      <a:pt x="371" y="0"/>
                      <a:pt x="391" y="139"/>
                      <a:pt x="391" y="266"/>
                    </a:cubicBez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71"/>
              <p:cNvSpPr>
                <a:spLocks/>
              </p:cNvSpPr>
              <p:nvPr/>
            </p:nvSpPr>
            <p:spPr bwMode="auto">
              <a:xfrm>
                <a:off x="-3349626" y="4268788"/>
                <a:ext cx="1441450" cy="971550"/>
              </a:xfrm>
              <a:custGeom>
                <a:avLst/>
                <a:gdLst>
                  <a:gd name="T0" fmla="*/ 194 w 388"/>
                  <a:gd name="T1" fmla="*/ 0 h 262"/>
                  <a:gd name="T2" fmla="*/ 0 w 388"/>
                  <a:gd name="T3" fmla="*/ 218 h 262"/>
                  <a:gd name="T4" fmla="*/ 10 w 388"/>
                  <a:gd name="T5" fmla="*/ 262 h 262"/>
                  <a:gd name="T6" fmla="*/ 51 w 388"/>
                  <a:gd name="T7" fmla="*/ 123 h 262"/>
                  <a:gd name="T8" fmla="*/ 157 w 388"/>
                  <a:gd name="T9" fmla="*/ 154 h 262"/>
                  <a:gd name="T10" fmla="*/ 335 w 388"/>
                  <a:gd name="T11" fmla="*/ 113 h 262"/>
                  <a:gd name="T12" fmla="*/ 377 w 388"/>
                  <a:gd name="T13" fmla="*/ 262 h 262"/>
                  <a:gd name="T14" fmla="*/ 388 w 388"/>
                  <a:gd name="T15" fmla="*/ 214 h 262"/>
                  <a:gd name="T16" fmla="*/ 194 w 388"/>
                  <a:gd name="T1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62">
                    <a:moveTo>
                      <a:pt x="194" y="0"/>
                    </a:moveTo>
                    <a:cubicBezTo>
                      <a:pt x="40" y="0"/>
                      <a:pt x="6" y="106"/>
                      <a:pt x="0" y="218"/>
                    </a:cubicBezTo>
                    <a:cubicBezTo>
                      <a:pt x="5" y="244"/>
                      <a:pt x="10" y="262"/>
                      <a:pt x="10" y="262"/>
                    </a:cubicBezTo>
                    <a:cubicBezTo>
                      <a:pt x="40" y="212"/>
                      <a:pt x="49" y="147"/>
                      <a:pt x="51" y="123"/>
                    </a:cubicBezTo>
                    <a:cubicBezTo>
                      <a:pt x="79" y="137"/>
                      <a:pt x="114" y="149"/>
                      <a:pt x="157" y="154"/>
                    </a:cubicBezTo>
                    <a:cubicBezTo>
                      <a:pt x="253" y="166"/>
                      <a:pt x="301" y="130"/>
                      <a:pt x="335" y="113"/>
                    </a:cubicBezTo>
                    <a:cubicBezTo>
                      <a:pt x="335" y="113"/>
                      <a:pt x="341" y="200"/>
                      <a:pt x="377" y="262"/>
                    </a:cubicBezTo>
                    <a:cubicBezTo>
                      <a:pt x="377" y="262"/>
                      <a:pt x="383" y="242"/>
                      <a:pt x="388" y="214"/>
                    </a:cubicBezTo>
                    <a:cubicBezTo>
                      <a:pt x="381" y="104"/>
                      <a:pt x="346" y="0"/>
                      <a:pt x="194"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72"/>
              <p:cNvSpPr>
                <a:spLocks noEditPoints="1"/>
              </p:cNvSpPr>
              <p:nvPr/>
            </p:nvSpPr>
            <p:spPr bwMode="auto">
              <a:xfrm>
                <a:off x="-3352801" y="4268788"/>
                <a:ext cx="1450975" cy="1841500"/>
              </a:xfrm>
              <a:custGeom>
                <a:avLst/>
                <a:gdLst>
                  <a:gd name="T0" fmla="*/ 195 w 391"/>
                  <a:gd name="T1" fmla="*/ 0 h 497"/>
                  <a:gd name="T2" fmla="*/ 0 w 391"/>
                  <a:gd name="T3" fmla="*/ 266 h 497"/>
                  <a:gd name="T4" fmla="*/ 195 w 391"/>
                  <a:gd name="T5" fmla="*/ 497 h 497"/>
                  <a:gd name="T6" fmla="*/ 391 w 391"/>
                  <a:gd name="T7" fmla="*/ 266 h 497"/>
                  <a:gd name="T8" fmla="*/ 195 w 391"/>
                  <a:gd name="T9" fmla="*/ 0 h 497"/>
                  <a:gd name="T10" fmla="*/ 195 w 391"/>
                  <a:gd name="T11" fmla="*/ 484 h 497"/>
                  <a:gd name="T12" fmla="*/ 10 w 391"/>
                  <a:gd name="T13" fmla="*/ 265 h 497"/>
                  <a:gd name="T14" fmla="*/ 195 w 391"/>
                  <a:gd name="T15" fmla="*/ 13 h 497"/>
                  <a:gd name="T16" fmla="*/ 380 w 391"/>
                  <a:gd name="T17" fmla="*/ 265 h 497"/>
                  <a:gd name="T18" fmla="*/ 195 w 391"/>
                  <a:gd name="T19" fmla="*/ 48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497">
                    <a:moveTo>
                      <a:pt x="195" y="0"/>
                    </a:moveTo>
                    <a:cubicBezTo>
                      <a:pt x="19" y="0"/>
                      <a:pt x="0" y="139"/>
                      <a:pt x="0" y="266"/>
                    </a:cubicBezTo>
                    <a:cubicBezTo>
                      <a:pt x="0" y="393"/>
                      <a:pt x="87" y="497"/>
                      <a:pt x="195" y="497"/>
                    </a:cubicBezTo>
                    <a:cubicBezTo>
                      <a:pt x="303" y="497"/>
                      <a:pt x="391" y="393"/>
                      <a:pt x="391" y="266"/>
                    </a:cubicBezTo>
                    <a:cubicBezTo>
                      <a:pt x="391" y="139"/>
                      <a:pt x="371" y="0"/>
                      <a:pt x="195" y="0"/>
                    </a:cubicBezTo>
                    <a:close/>
                    <a:moveTo>
                      <a:pt x="195" y="484"/>
                    </a:moveTo>
                    <a:cubicBezTo>
                      <a:pt x="93" y="484"/>
                      <a:pt x="10" y="386"/>
                      <a:pt x="10" y="265"/>
                    </a:cubicBezTo>
                    <a:cubicBezTo>
                      <a:pt x="10" y="145"/>
                      <a:pt x="28" y="13"/>
                      <a:pt x="195" y="13"/>
                    </a:cubicBezTo>
                    <a:cubicBezTo>
                      <a:pt x="362" y="13"/>
                      <a:pt x="380" y="145"/>
                      <a:pt x="380" y="265"/>
                    </a:cubicBezTo>
                    <a:cubicBezTo>
                      <a:pt x="380" y="386"/>
                      <a:pt x="297" y="484"/>
                      <a:pt x="195" y="484"/>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73"/>
              <p:cNvSpPr>
                <a:spLocks/>
              </p:cNvSpPr>
              <p:nvPr/>
            </p:nvSpPr>
            <p:spPr bwMode="auto">
              <a:xfrm>
                <a:off x="-3471863" y="4354513"/>
                <a:ext cx="285750" cy="900113"/>
              </a:xfrm>
              <a:custGeom>
                <a:avLst/>
                <a:gdLst>
                  <a:gd name="T0" fmla="*/ 77 w 77"/>
                  <a:gd name="T1" fmla="*/ 75 h 243"/>
                  <a:gd name="T2" fmla="*/ 32 w 77"/>
                  <a:gd name="T3" fmla="*/ 243 h 243"/>
                  <a:gd name="T4" fmla="*/ 19 w 77"/>
                  <a:gd name="T5" fmla="*/ 45 h 243"/>
                  <a:gd name="T6" fmla="*/ 66 w 77"/>
                  <a:gd name="T7" fmla="*/ 0 h 243"/>
                  <a:gd name="T8" fmla="*/ 77 w 77"/>
                  <a:gd name="T9" fmla="*/ 75 h 243"/>
                </a:gdLst>
                <a:ahLst/>
                <a:cxnLst>
                  <a:cxn ang="0">
                    <a:pos x="T0" y="T1"/>
                  </a:cxn>
                  <a:cxn ang="0">
                    <a:pos x="T2" y="T3"/>
                  </a:cxn>
                  <a:cxn ang="0">
                    <a:pos x="T4" y="T5"/>
                  </a:cxn>
                  <a:cxn ang="0">
                    <a:pos x="T6" y="T7"/>
                  </a:cxn>
                  <a:cxn ang="0">
                    <a:pos x="T8" y="T9"/>
                  </a:cxn>
                </a:cxnLst>
                <a:rect l="0" t="0" r="r" b="b"/>
                <a:pathLst>
                  <a:path w="77" h="243">
                    <a:moveTo>
                      <a:pt x="77" y="75"/>
                    </a:moveTo>
                    <a:cubicBezTo>
                      <a:pt x="77" y="75"/>
                      <a:pt x="71" y="174"/>
                      <a:pt x="32" y="243"/>
                    </a:cubicBezTo>
                    <a:cubicBezTo>
                      <a:pt x="32" y="243"/>
                      <a:pt x="0" y="125"/>
                      <a:pt x="19" y="45"/>
                    </a:cubicBezTo>
                    <a:cubicBezTo>
                      <a:pt x="27" y="7"/>
                      <a:pt x="66" y="0"/>
                      <a:pt x="66" y="0"/>
                    </a:cubicBezTo>
                    <a:lnTo>
                      <a:pt x="77" y="75"/>
                    </a:lnTo>
                    <a:close/>
                  </a:path>
                </a:pathLst>
              </a:custGeom>
              <a:solidFill>
                <a:srgbClr val="643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74"/>
              <p:cNvSpPr>
                <a:spLocks/>
              </p:cNvSpPr>
              <p:nvPr/>
            </p:nvSpPr>
            <p:spPr bwMode="auto">
              <a:xfrm>
                <a:off x="-3378201" y="4354513"/>
                <a:ext cx="192088" cy="900113"/>
              </a:xfrm>
              <a:custGeom>
                <a:avLst/>
                <a:gdLst>
                  <a:gd name="T0" fmla="*/ 41 w 52"/>
                  <a:gd name="T1" fmla="*/ 0 h 243"/>
                  <a:gd name="T2" fmla="*/ 32 w 52"/>
                  <a:gd name="T3" fmla="*/ 3 h 243"/>
                  <a:gd name="T4" fmla="*/ 39 w 52"/>
                  <a:gd name="T5" fmla="*/ 53 h 243"/>
                  <a:gd name="T6" fmla="*/ 0 w 52"/>
                  <a:gd name="T7" fmla="*/ 211 h 243"/>
                  <a:gd name="T8" fmla="*/ 7 w 52"/>
                  <a:gd name="T9" fmla="*/ 243 h 243"/>
                  <a:gd name="T10" fmla="*/ 52 w 52"/>
                  <a:gd name="T11" fmla="*/ 75 h 243"/>
                  <a:gd name="T12" fmla="*/ 41 w 52"/>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52" h="243">
                    <a:moveTo>
                      <a:pt x="41" y="0"/>
                    </a:moveTo>
                    <a:cubicBezTo>
                      <a:pt x="41" y="0"/>
                      <a:pt x="37" y="0"/>
                      <a:pt x="32" y="3"/>
                    </a:cubicBezTo>
                    <a:cubicBezTo>
                      <a:pt x="39" y="53"/>
                      <a:pt x="39" y="53"/>
                      <a:pt x="39" y="53"/>
                    </a:cubicBezTo>
                    <a:cubicBezTo>
                      <a:pt x="39" y="53"/>
                      <a:pt x="34" y="143"/>
                      <a:pt x="0" y="211"/>
                    </a:cubicBezTo>
                    <a:cubicBezTo>
                      <a:pt x="4" y="231"/>
                      <a:pt x="7" y="243"/>
                      <a:pt x="7" y="243"/>
                    </a:cubicBezTo>
                    <a:cubicBezTo>
                      <a:pt x="46" y="174"/>
                      <a:pt x="52" y="75"/>
                      <a:pt x="52" y="75"/>
                    </a:cubicBezTo>
                    <a:lnTo>
                      <a:pt x="41" y="0"/>
                    </a:ln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75"/>
              <p:cNvSpPr>
                <a:spLocks/>
              </p:cNvSpPr>
              <p:nvPr/>
            </p:nvSpPr>
            <p:spPr bwMode="auto">
              <a:xfrm>
                <a:off x="-3416301" y="4354513"/>
                <a:ext cx="230188" cy="369888"/>
              </a:xfrm>
              <a:custGeom>
                <a:avLst/>
                <a:gdLst>
                  <a:gd name="T0" fmla="*/ 4 w 62"/>
                  <a:gd name="T1" fmla="*/ 45 h 100"/>
                  <a:gd name="T2" fmla="*/ 0 w 62"/>
                  <a:gd name="T3" fmla="*/ 62 h 100"/>
                  <a:gd name="T4" fmla="*/ 59 w 62"/>
                  <a:gd name="T5" fmla="*/ 100 h 100"/>
                  <a:gd name="T6" fmla="*/ 62 w 62"/>
                  <a:gd name="T7" fmla="*/ 75 h 100"/>
                  <a:gd name="T8" fmla="*/ 51 w 62"/>
                  <a:gd name="T9" fmla="*/ 0 h 100"/>
                  <a:gd name="T10" fmla="*/ 4 w 62"/>
                  <a:gd name="T11" fmla="*/ 45 h 100"/>
                </a:gdLst>
                <a:ahLst/>
                <a:cxnLst>
                  <a:cxn ang="0">
                    <a:pos x="T0" y="T1"/>
                  </a:cxn>
                  <a:cxn ang="0">
                    <a:pos x="T2" y="T3"/>
                  </a:cxn>
                  <a:cxn ang="0">
                    <a:pos x="T4" y="T5"/>
                  </a:cxn>
                  <a:cxn ang="0">
                    <a:pos x="T6" y="T7"/>
                  </a:cxn>
                  <a:cxn ang="0">
                    <a:pos x="T8" y="T9"/>
                  </a:cxn>
                  <a:cxn ang="0">
                    <a:pos x="T10" y="T11"/>
                  </a:cxn>
                </a:cxnLst>
                <a:rect l="0" t="0" r="r" b="b"/>
                <a:pathLst>
                  <a:path w="62" h="100">
                    <a:moveTo>
                      <a:pt x="4" y="45"/>
                    </a:moveTo>
                    <a:cubicBezTo>
                      <a:pt x="2" y="50"/>
                      <a:pt x="1" y="56"/>
                      <a:pt x="0" y="62"/>
                    </a:cubicBezTo>
                    <a:cubicBezTo>
                      <a:pt x="15" y="74"/>
                      <a:pt x="35" y="88"/>
                      <a:pt x="59" y="100"/>
                    </a:cubicBezTo>
                    <a:cubicBezTo>
                      <a:pt x="61" y="85"/>
                      <a:pt x="62" y="75"/>
                      <a:pt x="62" y="75"/>
                    </a:cubicBezTo>
                    <a:cubicBezTo>
                      <a:pt x="51" y="0"/>
                      <a:pt x="51" y="0"/>
                      <a:pt x="51" y="0"/>
                    </a:cubicBezTo>
                    <a:cubicBezTo>
                      <a:pt x="51" y="0"/>
                      <a:pt x="12" y="7"/>
                      <a:pt x="4" y="45"/>
                    </a:cubicBez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76"/>
              <p:cNvSpPr>
                <a:spLocks/>
              </p:cNvSpPr>
              <p:nvPr/>
            </p:nvSpPr>
            <p:spPr bwMode="auto">
              <a:xfrm>
                <a:off x="-3494088" y="3965575"/>
                <a:ext cx="1711325" cy="1289050"/>
              </a:xfrm>
              <a:custGeom>
                <a:avLst/>
                <a:gdLst>
                  <a:gd name="T0" fmla="*/ 429 w 461"/>
                  <a:gd name="T1" fmla="*/ 348 h 348"/>
                  <a:gd name="T2" fmla="*/ 442 w 461"/>
                  <a:gd name="T3" fmla="*/ 150 h 348"/>
                  <a:gd name="T4" fmla="*/ 395 w 461"/>
                  <a:gd name="T5" fmla="*/ 105 h 348"/>
                  <a:gd name="T6" fmla="*/ 275 w 461"/>
                  <a:gd name="T7" fmla="*/ 17 h 348"/>
                  <a:gd name="T8" fmla="*/ 72 w 461"/>
                  <a:gd name="T9" fmla="*/ 90 h 348"/>
                  <a:gd name="T10" fmla="*/ 0 w 461"/>
                  <a:gd name="T11" fmla="*/ 125 h 348"/>
                  <a:gd name="T12" fmla="*/ 194 w 461"/>
                  <a:gd name="T13" fmla="*/ 226 h 348"/>
                  <a:gd name="T14" fmla="*/ 384 w 461"/>
                  <a:gd name="T15" fmla="*/ 180 h 348"/>
                  <a:gd name="T16" fmla="*/ 429 w 461"/>
                  <a:gd name="T1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348">
                    <a:moveTo>
                      <a:pt x="429" y="348"/>
                    </a:moveTo>
                    <a:cubicBezTo>
                      <a:pt x="429" y="348"/>
                      <a:pt x="461" y="230"/>
                      <a:pt x="442" y="150"/>
                    </a:cubicBezTo>
                    <a:cubicBezTo>
                      <a:pt x="433" y="112"/>
                      <a:pt x="395" y="105"/>
                      <a:pt x="395" y="105"/>
                    </a:cubicBezTo>
                    <a:cubicBezTo>
                      <a:pt x="395" y="105"/>
                      <a:pt x="362" y="40"/>
                      <a:pt x="275" y="17"/>
                    </a:cubicBezTo>
                    <a:cubicBezTo>
                      <a:pt x="211" y="0"/>
                      <a:pt x="136" y="26"/>
                      <a:pt x="72" y="90"/>
                    </a:cubicBezTo>
                    <a:cubicBezTo>
                      <a:pt x="36" y="125"/>
                      <a:pt x="0" y="125"/>
                      <a:pt x="0" y="125"/>
                    </a:cubicBezTo>
                    <a:cubicBezTo>
                      <a:pt x="0" y="125"/>
                      <a:pt x="64" y="210"/>
                      <a:pt x="194" y="226"/>
                    </a:cubicBezTo>
                    <a:cubicBezTo>
                      <a:pt x="296" y="240"/>
                      <a:pt x="347" y="199"/>
                      <a:pt x="384" y="180"/>
                    </a:cubicBezTo>
                    <a:cubicBezTo>
                      <a:pt x="384" y="180"/>
                      <a:pt x="389" y="279"/>
                      <a:pt x="429" y="34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77"/>
              <p:cNvSpPr>
                <a:spLocks/>
              </p:cNvSpPr>
              <p:nvPr/>
            </p:nvSpPr>
            <p:spPr bwMode="auto">
              <a:xfrm>
                <a:off x="-2068513" y="4351338"/>
                <a:ext cx="188913" cy="903288"/>
              </a:xfrm>
              <a:custGeom>
                <a:avLst/>
                <a:gdLst>
                  <a:gd name="T0" fmla="*/ 51 w 51"/>
                  <a:gd name="T1" fmla="*/ 215 h 244"/>
                  <a:gd name="T2" fmla="*/ 12 w 51"/>
                  <a:gd name="T3" fmla="*/ 59 h 244"/>
                  <a:gd name="T4" fmla="*/ 20 w 51"/>
                  <a:gd name="T5" fmla="*/ 4 h 244"/>
                  <a:gd name="T6" fmla="*/ 11 w 51"/>
                  <a:gd name="T7" fmla="*/ 1 h 244"/>
                  <a:gd name="T8" fmla="*/ 10 w 51"/>
                  <a:gd name="T9" fmla="*/ 0 h 244"/>
                  <a:gd name="T10" fmla="*/ 0 w 51"/>
                  <a:gd name="T11" fmla="*/ 76 h 244"/>
                  <a:gd name="T12" fmla="*/ 45 w 51"/>
                  <a:gd name="T13" fmla="*/ 244 h 244"/>
                  <a:gd name="T14" fmla="*/ 51 w 51"/>
                  <a:gd name="T15" fmla="*/ 215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44">
                    <a:moveTo>
                      <a:pt x="51" y="215"/>
                    </a:moveTo>
                    <a:cubicBezTo>
                      <a:pt x="18" y="147"/>
                      <a:pt x="11" y="99"/>
                      <a:pt x="12" y="59"/>
                    </a:cubicBezTo>
                    <a:cubicBezTo>
                      <a:pt x="13" y="49"/>
                      <a:pt x="18" y="17"/>
                      <a:pt x="20" y="4"/>
                    </a:cubicBezTo>
                    <a:cubicBezTo>
                      <a:pt x="14" y="1"/>
                      <a:pt x="11" y="1"/>
                      <a:pt x="11" y="1"/>
                    </a:cubicBezTo>
                    <a:cubicBezTo>
                      <a:pt x="11" y="1"/>
                      <a:pt x="11" y="0"/>
                      <a:pt x="10" y="0"/>
                    </a:cubicBezTo>
                    <a:cubicBezTo>
                      <a:pt x="7" y="14"/>
                      <a:pt x="0" y="47"/>
                      <a:pt x="0" y="76"/>
                    </a:cubicBezTo>
                    <a:cubicBezTo>
                      <a:pt x="0" y="83"/>
                      <a:pt x="7" y="177"/>
                      <a:pt x="45" y="244"/>
                    </a:cubicBezTo>
                    <a:cubicBezTo>
                      <a:pt x="45" y="244"/>
                      <a:pt x="48" y="233"/>
                      <a:pt x="51" y="215"/>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78"/>
              <p:cNvSpPr>
                <a:spLocks/>
              </p:cNvSpPr>
              <p:nvPr/>
            </p:nvSpPr>
            <p:spPr bwMode="auto">
              <a:xfrm>
                <a:off x="-2068513" y="4632325"/>
                <a:ext cx="3175" cy="55563"/>
              </a:xfrm>
              <a:custGeom>
                <a:avLst/>
                <a:gdLst>
                  <a:gd name="T0" fmla="*/ 0 w 1"/>
                  <a:gd name="T1" fmla="*/ 0 h 15"/>
                  <a:gd name="T2" fmla="*/ 1 w 1"/>
                  <a:gd name="T3" fmla="*/ 15 h 15"/>
                  <a:gd name="T4" fmla="*/ 0 w 1"/>
                  <a:gd name="T5" fmla="*/ 0 h 15"/>
                </a:gdLst>
                <a:ahLst/>
                <a:cxnLst>
                  <a:cxn ang="0">
                    <a:pos x="T0" y="T1"/>
                  </a:cxn>
                  <a:cxn ang="0">
                    <a:pos x="T2" y="T3"/>
                  </a:cxn>
                  <a:cxn ang="0">
                    <a:pos x="T4" y="T5"/>
                  </a:cxn>
                </a:cxnLst>
                <a:rect l="0" t="0" r="r" b="b"/>
                <a:pathLst>
                  <a:path w="1" h="15">
                    <a:moveTo>
                      <a:pt x="0" y="0"/>
                    </a:moveTo>
                    <a:cubicBezTo>
                      <a:pt x="0" y="0"/>
                      <a:pt x="0" y="6"/>
                      <a:pt x="1" y="15"/>
                    </a:cubicBezTo>
                    <a:cubicBezTo>
                      <a:pt x="0" y="6"/>
                      <a:pt x="0" y="0"/>
                      <a:pt x="0" y="0"/>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79"/>
              <p:cNvSpPr>
                <a:spLocks/>
              </p:cNvSpPr>
              <p:nvPr/>
            </p:nvSpPr>
            <p:spPr bwMode="auto">
              <a:xfrm>
                <a:off x="-3494088" y="4421188"/>
                <a:ext cx="1425575" cy="433388"/>
              </a:xfrm>
              <a:custGeom>
                <a:avLst/>
                <a:gdLst>
                  <a:gd name="T0" fmla="*/ 194 w 384"/>
                  <a:gd name="T1" fmla="*/ 86 h 117"/>
                  <a:gd name="T2" fmla="*/ 14 w 384"/>
                  <a:gd name="T3" fmla="*/ 0 h 117"/>
                  <a:gd name="T4" fmla="*/ 0 w 384"/>
                  <a:gd name="T5" fmla="*/ 2 h 117"/>
                  <a:gd name="T6" fmla="*/ 194 w 384"/>
                  <a:gd name="T7" fmla="*/ 103 h 117"/>
                  <a:gd name="T8" fmla="*/ 384 w 384"/>
                  <a:gd name="T9" fmla="*/ 57 h 117"/>
                  <a:gd name="T10" fmla="*/ 194 w 384"/>
                  <a:gd name="T11" fmla="*/ 86 h 117"/>
                </a:gdLst>
                <a:ahLst/>
                <a:cxnLst>
                  <a:cxn ang="0">
                    <a:pos x="T0" y="T1"/>
                  </a:cxn>
                  <a:cxn ang="0">
                    <a:pos x="T2" y="T3"/>
                  </a:cxn>
                  <a:cxn ang="0">
                    <a:pos x="T4" y="T5"/>
                  </a:cxn>
                  <a:cxn ang="0">
                    <a:pos x="T6" y="T7"/>
                  </a:cxn>
                  <a:cxn ang="0">
                    <a:pos x="T8" y="T9"/>
                  </a:cxn>
                  <a:cxn ang="0">
                    <a:pos x="T10" y="T11"/>
                  </a:cxn>
                </a:cxnLst>
                <a:rect l="0" t="0" r="r" b="b"/>
                <a:pathLst>
                  <a:path w="384" h="117">
                    <a:moveTo>
                      <a:pt x="194" y="86"/>
                    </a:moveTo>
                    <a:cubicBezTo>
                      <a:pt x="99" y="73"/>
                      <a:pt x="40" y="25"/>
                      <a:pt x="14" y="0"/>
                    </a:cubicBezTo>
                    <a:cubicBezTo>
                      <a:pt x="6" y="2"/>
                      <a:pt x="0" y="2"/>
                      <a:pt x="0" y="2"/>
                    </a:cubicBezTo>
                    <a:cubicBezTo>
                      <a:pt x="0" y="2"/>
                      <a:pt x="64" y="87"/>
                      <a:pt x="194" y="103"/>
                    </a:cubicBezTo>
                    <a:cubicBezTo>
                      <a:pt x="296" y="117"/>
                      <a:pt x="347" y="76"/>
                      <a:pt x="384" y="57"/>
                    </a:cubicBezTo>
                    <a:cubicBezTo>
                      <a:pt x="347" y="76"/>
                      <a:pt x="296" y="99"/>
                      <a:pt x="194" y="8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Oval 80"/>
              <p:cNvSpPr>
                <a:spLocks noChangeArrowheads="1"/>
              </p:cNvSpPr>
              <p:nvPr/>
            </p:nvSpPr>
            <p:spPr bwMode="auto">
              <a:xfrm>
                <a:off x="-3092451" y="5087938"/>
                <a:ext cx="141288"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Oval 81"/>
              <p:cNvSpPr>
                <a:spLocks noChangeArrowheads="1"/>
              </p:cNvSpPr>
              <p:nvPr/>
            </p:nvSpPr>
            <p:spPr bwMode="auto">
              <a:xfrm>
                <a:off x="-3063876" y="5121275"/>
                <a:ext cx="41275" cy="587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Oval 82"/>
              <p:cNvSpPr>
                <a:spLocks noChangeArrowheads="1"/>
              </p:cNvSpPr>
              <p:nvPr/>
            </p:nvSpPr>
            <p:spPr bwMode="auto">
              <a:xfrm>
                <a:off x="-2324101" y="5087938"/>
                <a:ext cx="136525"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Oval 83"/>
              <p:cNvSpPr>
                <a:spLocks noChangeArrowheads="1"/>
              </p:cNvSpPr>
              <p:nvPr/>
            </p:nvSpPr>
            <p:spPr bwMode="auto">
              <a:xfrm>
                <a:off x="-2295526" y="5121275"/>
                <a:ext cx="41275" cy="587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84"/>
              <p:cNvSpPr>
                <a:spLocks/>
              </p:cNvSpPr>
              <p:nvPr/>
            </p:nvSpPr>
            <p:spPr bwMode="auto">
              <a:xfrm>
                <a:off x="-2803526" y="5287963"/>
                <a:ext cx="352425" cy="200025"/>
              </a:xfrm>
              <a:custGeom>
                <a:avLst/>
                <a:gdLst>
                  <a:gd name="T0" fmla="*/ 92 w 95"/>
                  <a:gd name="T1" fmla="*/ 0 h 54"/>
                  <a:gd name="T2" fmla="*/ 93 w 95"/>
                  <a:gd name="T3" fmla="*/ 7 h 54"/>
                  <a:gd name="T4" fmla="*/ 48 w 95"/>
                  <a:gd name="T5" fmla="*/ 44 h 54"/>
                  <a:gd name="T6" fmla="*/ 3 w 95"/>
                  <a:gd name="T7" fmla="*/ 7 h 54"/>
                  <a:gd name="T8" fmla="*/ 3 w 95"/>
                  <a:gd name="T9" fmla="*/ 0 h 54"/>
                  <a:gd name="T10" fmla="*/ 0 w 95"/>
                  <a:gd name="T11" fmla="*/ 18 h 54"/>
                  <a:gd name="T12" fmla="*/ 48 w 95"/>
                  <a:gd name="T13" fmla="*/ 54 h 54"/>
                  <a:gd name="T14" fmla="*/ 95 w 95"/>
                  <a:gd name="T15" fmla="*/ 18 h 54"/>
                  <a:gd name="T16" fmla="*/ 92 w 95"/>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54">
                    <a:moveTo>
                      <a:pt x="92" y="0"/>
                    </a:moveTo>
                    <a:cubicBezTo>
                      <a:pt x="93" y="3"/>
                      <a:pt x="93" y="5"/>
                      <a:pt x="93" y="7"/>
                    </a:cubicBezTo>
                    <a:cubicBezTo>
                      <a:pt x="93" y="36"/>
                      <a:pt x="73" y="44"/>
                      <a:pt x="48" y="44"/>
                    </a:cubicBezTo>
                    <a:cubicBezTo>
                      <a:pt x="23" y="44"/>
                      <a:pt x="3" y="36"/>
                      <a:pt x="3" y="7"/>
                    </a:cubicBezTo>
                    <a:cubicBezTo>
                      <a:pt x="3" y="5"/>
                      <a:pt x="3" y="3"/>
                      <a:pt x="3" y="0"/>
                    </a:cubicBezTo>
                    <a:cubicBezTo>
                      <a:pt x="1" y="6"/>
                      <a:pt x="0" y="12"/>
                      <a:pt x="0" y="18"/>
                    </a:cubicBezTo>
                    <a:cubicBezTo>
                      <a:pt x="0" y="46"/>
                      <a:pt x="22" y="54"/>
                      <a:pt x="48" y="54"/>
                    </a:cubicBezTo>
                    <a:cubicBezTo>
                      <a:pt x="74" y="54"/>
                      <a:pt x="95" y="46"/>
                      <a:pt x="95" y="18"/>
                    </a:cubicBezTo>
                    <a:cubicBezTo>
                      <a:pt x="95" y="12"/>
                      <a:pt x="94" y="6"/>
                      <a:pt x="92"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85"/>
              <p:cNvSpPr>
                <a:spLocks/>
              </p:cNvSpPr>
              <p:nvPr/>
            </p:nvSpPr>
            <p:spPr bwMode="auto">
              <a:xfrm>
                <a:off x="-3167063" y="4954588"/>
                <a:ext cx="311150" cy="141288"/>
              </a:xfrm>
              <a:custGeom>
                <a:avLst/>
                <a:gdLst>
                  <a:gd name="T0" fmla="*/ 9 w 196"/>
                  <a:gd name="T1" fmla="*/ 89 h 89"/>
                  <a:gd name="T2" fmla="*/ 0 w 196"/>
                  <a:gd name="T3" fmla="*/ 51 h 89"/>
                  <a:gd name="T4" fmla="*/ 187 w 196"/>
                  <a:gd name="T5" fmla="*/ 0 h 89"/>
                  <a:gd name="T6" fmla="*/ 196 w 196"/>
                  <a:gd name="T7" fmla="*/ 35 h 89"/>
                  <a:gd name="T8" fmla="*/ 9 w 196"/>
                  <a:gd name="T9" fmla="*/ 89 h 89"/>
                </a:gdLst>
                <a:ahLst/>
                <a:cxnLst>
                  <a:cxn ang="0">
                    <a:pos x="T0" y="T1"/>
                  </a:cxn>
                  <a:cxn ang="0">
                    <a:pos x="T2" y="T3"/>
                  </a:cxn>
                  <a:cxn ang="0">
                    <a:pos x="T4" y="T5"/>
                  </a:cxn>
                  <a:cxn ang="0">
                    <a:pos x="T6" y="T7"/>
                  </a:cxn>
                  <a:cxn ang="0">
                    <a:pos x="T8" y="T9"/>
                  </a:cxn>
                </a:cxnLst>
                <a:rect l="0" t="0" r="r" b="b"/>
                <a:pathLst>
                  <a:path w="196" h="89">
                    <a:moveTo>
                      <a:pt x="9" y="89"/>
                    </a:moveTo>
                    <a:lnTo>
                      <a:pt x="0" y="51"/>
                    </a:lnTo>
                    <a:lnTo>
                      <a:pt x="187" y="0"/>
                    </a:lnTo>
                    <a:lnTo>
                      <a:pt x="196" y="35"/>
                    </a:lnTo>
                    <a:lnTo>
                      <a:pt x="9" y="89"/>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86"/>
              <p:cNvSpPr>
                <a:spLocks/>
              </p:cNvSpPr>
              <p:nvPr/>
            </p:nvSpPr>
            <p:spPr bwMode="auto">
              <a:xfrm>
                <a:off x="-2368551" y="4954588"/>
                <a:ext cx="252413" cy="158750"/>
              </a:xfrm>
              <a:custGeom>
                <a:avLst/>
                <a:gdLst>
                  <a:gd name="T0" fmla="*/ 142 w 159"/>
                  <a:gd name="T1" fmla="*/ 100 h 100"/>
                  <a:gd name="T2" fmla="*/ 0 w 159"/>
                  <a:gd name="T3" fmla="*/ 35 h 100"/>
                  <a:gd name="T4" fmla="*/ 16 w 159"/>
                  <a:gd name="T5" fmla="*/ 0 h 100"/>
                  <a:gd name="T6" fmla="*/ 159 w 159"/>
                  <a:gd name="T7" fmla="*/ 65 h 100"/>
                  <a:gd name="T8" fmla="*/ 142 w 159"/>
                  <a:gd name="T9" fmla="*/ 100 h 100"/>
                </a:gdLst>
                <a:ahLst/>
                <a:cxnLst>
                  <a:cxn ang="0">
                    <a:pos x="T0" y="T1"/>
                  </a:cxn>
                  <a:cxn ang="0">
                    <a:pos x="T2" y="T3"/>
                  </a:cxn>
                  <a:cxn ang="0">
                    <a:pos x="T4" y="T5"/>
                  </a:cxn>
                  <a:cxn ang="0">
                    <a:pos x="T6" y="T7"/>
                  </a:cxn>
                  <a:cxn ang="0">
                    <a:pos x="T8" y="T9"/>
                  </a:cxn>
                </a:cxnLst>
                <a:rect l="0" t="0" r="r" b="b"/>
                <a:pathLst>
                  <a:path w="159" h="100">
                    <a:moveTo>
                      <a:pt x="142" y="100"/>
                    </a:moveTo>
                    <a:lnTo>
                      <a:pt x="0" y="35"/>
                    </a:lnTo>
                    <a:lnTo>
                      <a:pt x="16" y="0"/>
                    </a:lnTo>
                    <a:lnTo>
                      <a:pt x="159" y="65"/>
                    </a:lnTo>
                    <a:lnTo>
                      <a:pt x="142" y="100"/>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87"/>
              <p:cNvSpPr>
                <a:spLocks/>
              </p:cNvSpPr>
              <p:nvPr/>
            </p:nvSpPr>
            <p:spPr bwMode="auto">
              <a:xfrm>
                <a:off x="-2911476" y="6157913"/>
                <a:ext cx="285750" cy="330200"/>
              </a:xfrm>
              <a:custGeom>
                <a:avLst/>
                <a:gdLst>
                  <a:gd name="T0" fmla="*/ 66 w 180"/>
                  <a:gd name="T1" fmla="*/ 0 h 208"/>
                  <a:gd name="T2" fmla="*/ 180 w 180"/>
                  <a:gd name="T3" fmla="*/ 145 h 208"/>
                  <a:gd name="T4" fmla="*/ 122 w 180"/>
                  <a:gd name="T5" fmla="*/ 208 h 208"/>
                  <a:gd name="T6" fmla="*/ 0 w 180"/>
                  <a:gd name="T7" fmla="*/ 42 h 208"/>
                  <a:gd name="T8" fmla="*/ 66 w 180"/>
                  <a:gd name="T9" fmla="*/ 0 h 208"/>
                </a:gdLst>
                <a:ahLst/>
                <a:cxnLst>
                  <a:cxn ang="0">
                    <a:pos x="T0" y="T1"/>
                  </a:cxn>
                  <a:cxn ang="0">
                    <a:pos x="T2" y="T3"/>
                  </a:cxn>
                  <a:cxn ang="0">
                    <a:pos x="T4" y="T5"/>
                  </a:cxn>
                  <a:cxn ang="0">
                    <a:pos x="T6" y="T7"/>
                  </a:cxn>
                  <a:cxn ang="0">
                    <a:pos x="T8" y="T9"/>
                  </a:cxn>
                </a:cxnLst>
                <a:rect l="0" t="0" r="r" b="b"/>
                <a:pathLst>
                  <a:path w="180" h="208">
                    <a:moveTo>
                      <a:pt x="66" y="0"/>
                    </a:moveTo>
                    <a:lnTo>
                      <a:pt x="180" y="145"/>
                    </a:lnTo>
                    <a:lnTo>
                      <a:pt x="122" y="208"/>
                    </a:lnTo>
                    <a:lnTo>
                      <a:pt x="0" y="42"/>
                    </a:lnTo>
                    <a:lnTo>
                      <a:pt x="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88"/>
              <p:cNvSpPr>
                <a:spLocks/>
              </p:cNvSpPr>
              <p:nvPr/>
            </p:nvSpPr>
            <p:spPr bwMode="auto">
              <a:xfrm>
                <a:off x="-2628901" y="6157913"/>
                <a:ext cx="288925" cy="330200"/>
              </a:xfrm>
              <a:custGeom>
                <a:avLst/>
                <a:gdLst>
                  <a:gd name="T0" fmla="*/ 117 w 182"/>
                  <a:gd name="T1" fmla="*/ 0 h 208"/>
                  <a:gd name="T2" fmla="*/ 0 w 182"/>
                  <a:gd name="T3" fmla="*/ 145 h 208"/>
                  <a:gd name="T4" fmla="*/ 61 w 182"/>
                  <a:gd name="T5" fmla="*/ 208 h 208"/>
                  <a:gd name="T6" fmla="*/ 182 w 182"/>
                  <a:gd name="T7" fmla="*/ 42 h 208"/>
                  <a:gd name="T8" fmla="*/ 117 w 182"/>
                  <a:gd name="T9" fmla="*/ 0 h 208"/>
                </a:gdLst>
                <a:ahLst/>
                <a:cxnLst>
                  <a:cxn ang="0">
                    <a:pos x="T0" y="T1"/>
                  </a:cxn>
                  <a:cxn ang="0">
                    <a:pos x="T2" y="T3"/>
                  </a:cxn>
                  <a:cxn ang="0">
                    <a:pos x="T4" y="T5"/>
                  </a:cxn>
                  <a:cxn ang="0">
                    <a:pos x="T6" y="T7"/>
                  </a:cxn>
                  <a:cxn ang="0">
                    <a:pos x="T8" y="T9"/>
                  </a:cxn>
                </a:cxnLst>
                <a:rect l="0" t="0" r="r" b="b"/>
                <a:pathLst>
                  <a:path w="182" h="208">
                    <a:moveTo>
                      <a:pt x="117" y="0"/>
                    </a:moveTo>
                    <a:lnTo>
                      <a:pt x="0" y="145"/>
                    </a:lnTo>
                    <a:lnTo>
                      <a:pt x="61" y="208"/>
                    </a:lnTo>
                    <a:lnTo>
                      <a:pt x="182" y="42"/>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89"/>
              <p:cNvSpPr>
                <a:spLocks/>
              </p:cNvSpPr>
              <p:nvPr/>
            </p:nvSpPr>
            <p:spPr bwMode="auto">
              <a:xfrm>
                <a:off x="-3500438" y="6432550"/>
                <a:ext cx="188913" cy="315913"/>
              </a:xfrm>
              <a:custGeom>
                <a:avLst/>
                <a:gdLst>
                  <a:gd name="T0" fmla="*/ 0 w 51"/>
                  <a:gd name="T1" fmla="*/ 57 h 85"/>
                  <a:gd name="T2" fmla="*/ 51 w 51"/>
                  <a:gd name="T3" fmla="*/ 85 h 85"/>
                  <a:gd name="T4" fmla="*/ 33 w 51"/>
                  <a:gd name="T5" fmla="*/ 0 h 85"/>
                  <a:gd name="T6" fmla="*/ 16 w 51"/>
                  <a:gd name="T7" fmla="*/ 15 h 85"/>
                  <a:gd name="T8" fmla="*/ 0 w 51"/>
                  <a:gd name="T9" fmla="*/ 57 h 85"/>
                </a:gdLst>
                <a:ahLst/>
                <a:cxnLst>
                  <a:cxn ang="0">
                    <a:pos x="T0" y="T1"/>
                  </a:cxn>
                  <a:cxn ang="0">
                    <a:pos x="T2" y="T3"/>
                  </a:cxn>
                  <a:cxn ang="0">
                    <a:pos x="T4" y="T5"/>
                  </a:cxn>
                  <a:cxn ang="0">
                    <a:pos x="T6" y="T7"/>
                  </a:cxn>
                  <a:cxn ang="0">
                    <a:pos x="T8" y="T9"/>
                  </a:cxn>
                </a:cxnLst>
                <a:rect l="0" t="0" r="r" b="b"/>
                <a:pathLst>
                  <a:path w="51" h="85">
                    <a:moveTo>
                      <a:pt x="0" y="57"/>
                    </a:moveTo>
                    <a:cubicBezTo>
                      <a:pt x="16" y="67"/>
                      <a:pt x="33" y="77"/>
                      <a:pt x="51" y="85"/>
                    </a:cubicBezTo>
                    <a:cubicBezTo>
                      <a:pt x="47" y="54"/>
                      <a:pt x="41" y="26"/>
                      <a:pt x="33" y="0"/>
                    </a:cubicBezTo>
                    <a:cubicBezTo>
                      <a:pt x="26" y="5"/>
                      <a:pt x="20" y="10"/>
                      <a:pt x="16" y="15"/>
                    </a:cubicBezTo>
                    <a:cubicBezTo>
                      <a:pt x="9" y="25"/>
                      <a:pt x="4" y="39"/>
                      <a:pt x="0" y="57"/>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90"/>
              <p:cNvSpPr>
                <a:spLocks/>
              </p:cNvSpPr>
              <p:nvPr/>
            </p:nvSpPr>
            <p:spPr bwMode="auto">
              <a:xfrm>
                <a:off x="-1954213" y="6424613"/>
                <a:ext cx="207963" cy="330200"/>
              </a:xfrm>
              <a:custGeom>
                <a:avLst/>
                <a:gdLst>
                  <a:gd name="T0" fmla="*/ 0 w 56"/>
                  <a:gd name="T1" fmla="*/ 89 h 89"/>
                  <a:gd name="T2" fmla="*/ 56 w 56"/>
                  <a:gd name="T3" fmla="*/ 59 h 89"/>
                  <a:gd name="T4" fmla="*/ 39 w 56"/>
                  <a:gd name="T5" fmla="*/ 17 h 89"/>
                  <a:gd name="T6" fmla="*/ 19 w 56"/>
                  <a:gd name="T7" fmla="*/ 0 h 89"/>
                  <a:gd name="T8" fmla="*/ 0 w 56"/>
                  <a:gd name="T9" fmla="*/ 89 h 89"/>
                </a:gdLst>
                <a:ahLst/>
                <a:cxnLst>
                  <a:cxn ang="0">
                    <a:pos x="T0" y="T1"/>
                  </a:cxn>
                  <a:cxn ang="0">
                    <a:pos x="T2" y="T3"/>
                  </a:cxn>
                  <a:cxn ang="0">
                    <a:pos x="T4" y="T5"/>
                  </a:cxn>
                  <a:cxn ang="0">
                    <a:pos x="T6" y="T7"/>
                  </a:cxn>
                  <a:cxn ang="0">
                    <a:pos x="T8" y="T9"/>
                  </a:cxn>
                </a:cxnLst>
                <a:rect l="0" t="0" r="r" b="b"/>
                <a:pathLst>
                  <a:path w="56" h="89">
                    <a:moveTo>
                      <a:pt x="0" y="89"/>
                    </a:moveTo>
                    <a:cubicBezTo>
                      <a:pt x="20" y="80"/>
                      <a:pt x="38" y="70"/>
                      <a:pt x="56" y="59"/>
                    </a:cubicBezTo>
                    <a:cubicBezTo>
                      <a:pt x="52" y="41"/>
                      <a:pt x="46" y="27"/>
                      <a:pt x="39" y="17"/>
                    </a:cubicBezTo>
                    <a:cubicBezTo>
                      <a:pt x="35" y="11"/>
                      <a:pt x="28" y="5"/>
                      <a:pt x="19" y="0"/>
                    </a:cubicBezTo>
                    <a:cubicBezTo>
                      <a:pt x="11" y="27"/>
                      <a:pt x="4" y="57"/>
                      <a:pt x="0" y="89"/>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91"/>
              <p:cNvSpPr>
                <a:spLocks/>
              </p:cNvSpPr>
              <p:nvPr/>
            </p:nvSpPr>
            <p:spPr bwMode="auto">
              <a:xfrm>
                <a:off x="-2676526" y="6462713"/>
                <a:ext cx="95250" cy="436563"/>
              </a:xfrm>
              <a:custGeom>
                <a:avLst/>
                <a:gdLst>
                  <a:gd name="T0" fmla="*/ 0 w 26"/>
                  <a:gd name="T1" fmla="*/ 118 h 118"/>
                  <a:gd name="T2" fmla="*/ 14 w 26"/>
                  <a:gd name="T3" fmla="*/ 118 h 118"/>
                  <a:gd name="T4" fmla="*/ 26 w 26"/>
                  <a:gd name="T5" fmla="*/ 118 h 118"/>
                  <a:gd name="T6" fmla="*/ 20 w 26"/>
                  <a:gd name="T7" fmla="*/ 0 h 118"/>
                  <a:gd name="T8" fmla="*/ 6 w 26"/>
                  <a:gd name="T9" fmla="*/ 0 h 118"/>
                  <a:gd name="T10" fmla="*/ 0 w 26"/>
                  <a:gd name="T11" fmla="*/ 118 h 118"/>
                </a:gdLst>
                <a:ahLst/>
                <a:cxnLst>
                  <a:cxn ang="0">
                    <a:pos x="T0" y="T1"/>
                  </a:cxn>
                  <a:cxn ang="0">
                    <a:pos x="T2" y="T3"/>
                  </a:cxn>
                  <a:cxn ang="0">
                    <a:pos x="T4" y="T5"/>
                  </a:cxn>
                  <a:cxn ang="0">
                    <a:pos x="T6" y="T7"/>
                  </a:cxn>
                  <a:cxn ang="0">
                    <a:pos x="T8" y="T9"/>
                  </a:cxn>
                  <a:cxn ang="0">
                    <a:pos x="T10" y="T11"/>
                  </a:cxn>
                </a:cxnLst>
                <a:rect l="0" t="0" r="r" b="b"/>
                <a:pathLst>
                  <a:path w="26" h="118">
                    <a:moveTo>
                      <a:pt x="0" y="118"/>
                    </a:moveTo>
                    <a:cubicBezTo>
                      <a:pt x="5" y="118"/>
                      <a:pt x="9" y="118"/>
                      <a:pt x="14" y="118"/>
                    </a:cubicBezTo>
                    <a:cubicBezTo>
                      <a:pt x="18" y="118"/>
                      <a:pt x="22" y="118"/>
                      <a:pt x="26" y="118"/>
                    </a:cubicBezTo>
                    <a:cubicBezTo>
                      <a:pt x="20" y="0"/>
                      <a:pt x="20" y="0"/>
                      <a:pt x="20" y="0"/>
                    </a:cubicBezTo>
                    <a:cubicBezTo>
                      <a:pt x="6" y="0"/>
                      <a:pt x="6" y="0"/>
                      <a:pt x="6" y="0"/>
                    </a:cubicBezTo>
                    <a:lnTo>
                      <a:pt x="0" y="118"/>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92"/>
              <p:cNvSpPr>
                <a:spLocks/>
              </p:cNvSpPr>
              <p:nvPr/>
            </p:nvSpPr>
            <p:spPr bwMode="auto">
              <a:xfrm>
                <a:off x="-2692401" y="5624513"/>
                <a:ext cx="446088" cy="141288"/>
              </a:xfrm>
              <a:custGeom>
                <a:avLst/>
                <a:gdLst>
                  <a:gd name="T0" fmla="*/ 26 w 120"/>
                  <a:gd name="T1" fmla="*/ 38 h 38"/>
                  <a:gd name="T2" fmla="*/ 2 w 120"/>
                  <a:gd name="T3" fmla="*/ 24 h 38"/>
                  <a:gd name="T4" fmla="*/ 3 w 120"/>
                  <a:gd name="T5" fmla="*/ 18 h 38"/>
                  <a:gd name="T6" fmla="*/ 8 w 120"/>
                  <a:gd name="T7" fmla="*/ 19 h 38"/>
                  <a:gd name="T8" fmla="*/ 66 w 120"/>
                  <a:gd name="T9" fmla="*/ 14 h 38"/>
                  <a:gd name="T10" fmla="*/ 78 w 120"/>
                  <a:gd name="T11" fmla="*/ 7 h 38"/>
                  <a:gd name="T12" fmla="*/ 106 w 120"/>
                  <a:gd name="T13" fmla="*/ 3 h 38"/>
                  <a:gd name="T14" fmla="*/ 119 w 120"/>
                  <a:gd name="T15" fmla="*/ 19 h 38"/>
                  <a:gd name="T16" fmla="*/ 116 w 120"/>
                  <a:gd name="T17" fmla="*/ 24 h 38"/>
                  <a:gd name="T18" fmla="*/ 111 w 120"/>
                  <a:gd name="T19" fmla="*/ 21 h 38"/>
                  <a:gd name="T20" fmla="*/ 103 w 120"/>
                  <a:gd name="T21" fmla="*/ 11 h 38"/>
                  <a:gd name="T22" fmla="*/ 82 w 120"/>
                  <a:gd name="T23" fmla="*/ 14 h 38"/>
                  <a:gd name="T24" fmla="*/ 70 w 120"/>
                  <a:gd name="T25" fmla="*/ 21 h 38"/>
                  <a:gd name="T26" fmla="*/ 26 w 120"/>
                  <a:gd name="T2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38">
                    <a:moveTo>
                      <a:pt x="26" y="38"/>
                    </a:moveTo>
                    <a:cubicBezTo>
                      <a:pt x="17" y="38"/>
                      <a:pt x="9" y="34"/>
                      <a:pt x="2" y="24"/>
                    </a:cubicBezTo>
                    <a:cubicBezTo>
                      <a:pt x="0" y="22"/>
                      <a:pt x="1" y="19"/>
                      <a:pt x="3" y="18"/>
                    </a:cubicBezTo>
                    <a:cubicBezTo>
                      <a:pt x="4" y="17"/>
                      <a:pt x="7" y="17"/>
                      <a:pt x="8" y="19"/>
                    </a:cubicBezTo>
                    <a:cubicBezTo>
                      <a:pt x="21" y="38"/>
                      <a:pt x="38" y="29"/>
                      <a:pt x="66" y="14"/>
                    </a:cubicBezTo>
                    <a:cubicBezTo>
                      <a:pt x="70" y="11"/>
                      <a:pt x="74" y="9"/>
                      <a:pt x="78" y="7"/>
                    </a:cubicBezTo>
                    <a:cubicBezTo>
                      <a:pt x="89" y="1"/>
                      <a:pt x="99" y="0"/>
                      <a:pt x="106" y="3"/>
                    </a:cubicBezTo>
                    <a:cubicBezTo>
                      <a:pt x="116" y="8"/>
                      <a:pt x="119" y="19"/>
                      <a:pt x="119" y="19"/>
                    </a:cubicBezTo>
                    <a:cubicBezTo>
                      <a:pt x="120" y="21"/>
                      <a:pt x="118" y="23"/>
                      <a:pt x="116" y="24"/>
                    </a:cubicBezTo>
                    <a:cubicBezTo>
                      <a:pt x="114" y="24"/>
                      <a:pt x="112" y="23"/>
                      <a:pt x="111" y="21"/>
                    </a:cubicBezTo>
                    <a:cubicBezTo>
                      <a:pt x="111" y="21"/>
                      <a:pt x="109" y="13"/>
                      <a:pt x="103" y="11"/>
                    </a:cubicBezTo>
                    <a:cubicBezTo>
                      <a:pt x="98" y="8"/>
                      <a:pt x="91" y="9"/>
                      <a:pt x="82" y="14"/>
                    </a:cubicBezTo>
                    <a:cubicBezTo>
                      <a:pt x="78" y="16"/>
                      <a:pt x="74" y="18"/>
                      <a:pt x="70" y="21"/>
                    </a:cubicBezTo>
                    <a:cubicBezTo>
                      <a:pt x="55" y="29"/>
                      <a:pt x="40" y="38"/>
                      <a:pt x="26" y="3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480" name="Picture 479"/>
              <p:cNvPicPr>
                <a:picLocks noChangeAspect="1"/>
              </p:cNvPicPr>
              <p:nvPr/>
            </p:nvPicPr>
            <p:blipFill rotWithShape="1">
              <a:blip r:embed="rId9"/>
              <a:srcRect l="35004" t="24056" r="35004" b="24056"/>
              <a:stretch/>
            </p:blipFill>
            <p:spPr>
              <a:xfrm>
                <a:off x="-1831170" y="4299535"/>
                <a:ext cx="457286" cy="912812"/>
              </a:xfrm>
              <a:prstGeom prst="rect">
                <a:avLst/>
              </a:prstGeom>
            </p:spPr>
          </p:pic>
        </p:grpSp>
        <p:sp>
          <p:nvSpPr>
            <p:cNvPr id="166" name="Arrow: Chevron 76">
              <a:extLst>
                <a:ext uri="{FF2B5EF4-FFF2-40B4-BE49-F238E27FC236}">
                  <a16:creationId xmlns:a16="http://schemas.microsoft.com/office/drawing/2014/main" id="{73B22A10-86F7-47FF-AE59-A638BA885E31}"/>
                </a:ext>
              </a:extLst>
            </p:cNvPr>
            <p:cNvSpPr>
              <a:spLocks/>
            </p:cNvSpPr>
            <p:nvPr/>
          </p:nvSpPr>
          <p:spPr>
            <a:xfrm>
              <a:off x="344310"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7" name="Arrow: Chevron 77">
              <a:extLst>
                <a:ext uri="{FF2B5EF4-FFF2-40B4-BE49-F238E27FC236}">
                  <a16:creationId xmlns:a16="http://schemas.microsoft.com/office/drawing/2014/main" id="{C9F9DC7F-5BFE-426A-A005-13AE4060927D}"/>
                </a:ext>
              </a:extLst>
            </p:cNvPr>
            <p:cNvSpPr>
              <a:spLocks/>
            </p:cNvSpPr>
            <p:nvPr/>
          </p:nvSpPr>
          <p:spPr>
            <a:xfrm>
              <a:off x="1355082"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8" name="Arrow: Chevron 78">
              <a:extLst>
                <a:ext uri="{FF2B5EF4-FFF2-40B4-BE49-F238E27FC236}">
                  <a16:creationId xmlns:a16="http://schemas.microsoft.com/office/drawing/2014/main" id="{0AB3102D-C703-4FB0-8D68-0846232A97EA}"/>
                </a:ext>
              </a:extLst>
            </p:cNvPr>
            <p:cNvSpPr>
              <a:spLocks/>
            </p:cNvSpPr>
            <p:nvPr/>
          </p:nvSpPr>
          <p:spPr>
            <a:xfrm>
              <a:off x="236585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9" name="Arrow: Chevron 79">
              <a:extLst>
                <a:ext uri="{FF2B5EF4-FFF2-40B4-BE49-F238E27FC236}">
                  <a16:creationId xmlns:a16="http://schemas.microsoft.com/office/drawing/2014/main" id="{937253F6-590C-4BB1-B132-351304F5403E}"/>
                </a:ext>
              </a:extLst>
            </p:cNvPr>
            <p:cNvSpPr>
              <a:spLocks/>
            </p:cNvSpPr>
            <p:nvPr/>
          </p:nvSpPr>
          <p:spPr>
            <a:xfrm>
              <a:off x="3384843"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0" name="Arrow: Chevron 80">
              <a:extLst>
                <a:ext uri="{FF2B5EF4-FFF2-40B4-BE49-F238E27FC236}">
                  <a16:creationId xmlns:a16="http://schemas.microsoft.com/office/drawing/2014/main" id="{2636D18D-A8E6-4728-9EA3-F9539C5BB346}"/>
                </a:ext>
              </a:extLst>
            </p:cNvPr>
            <p:cNvSpPr>
              <a:spLocks/>
            </p:cNvSpPr>
            <p:nvPr/>
          </p:nvSpPr>
          <p:spPr>
            <a:xfrm>
              <a:off x="4408199"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1" name="Arrow: Chevron 81">
              <a:extLst>
                <a:ext uri="{FF2B5EF4-FFF2-40B4-BE49-F238E27FC236}">
                  <a16:creationId xmlns:a16="http://schemas.microsoft.com/office/drawing/2014/main" id="{1977417A-9C73-4169-AC00-352B7EF2F38A}"/>
                </a:ext>
              </a:extLst>
            </p:cNvPr>
            <p:cNvSpPr>
              <a:spLocks/>
            </p:cNvSpPr>
            <p:nvPr/>
          </p:nvSpPr>
          <p:spPr>
            <a:xfrm>
              <a:off x="543461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2" name="Arrow: Chevron 82">
              <a:extLst>
                <a:ext uri="{FF2B5EF4-FFF2-40B4-BE49-F238E27FC236}">
                  <a16:creationId xmlns:a16="http://schemas.microsoft.com/office/drawing/2014/main" id="{A582DE51-F266-4F9F-B8D4-A8BBFF372C2A}"/>
                </a:ext>
              </a:extLst>
            </p:cNvPr>
            <p:cNvSpPr>
              <a:spLocks/>
            </p:cNvSpPr>
            <p:nvPr/>
          </p:nvSpPr>
          <p:spPr>
            <a:xfrm>
              <a:off x="6450546"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3" name="Arrow: Chevron 83">
              <a:extLst>
                <a:ext uri="{FF2B5EF4-FFF2-40B4-BE49-F238E27FC236}">
                  <a16:creationId xmlns:a16="http://schemas.microsoft.com/office/drawing/2014/main" id="{C40BF7F9-EB9C-4F7E-A6BB-EE55DDA49570}"/>
                </a:ext>
              </a:extLst>
            </p:cNvPr>
            <p:cNvSpPr>
              <a:spLocks/>
            </p:cNvSpPr>
            <p:nvPr/>
          </p:nvSpPr>
          <p:spPr>
            <a:xfrm>
              <a:off x="7477242"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4" name="Arrow: Chevron 84">
              <a:extLst>
                <a:ext uri="{FF2B5EF4-FFF2-40B4-BE49-F238E27FC236}">
                  <a16:creationId xmlns:a16="http://schemas.microsoft.com/office/drawing/2014/main" id="{0F4F2FA9-501A-4423-9260-E594C49BCBA2}"/>
                </a:ext>
              </a:extLst>
            </p:cNvPr>
            <p:cNvSpPr>
              <a:spLocks/>
            </p:cNvSpPr>
            <p:nvPr/>
          </p:nvSpPr>
          <p:spPr>
            <a:xfrm>
              <a:off x="8500853"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5" name="Arrow: Chevron 85">
              <a:extLst>
                <a:ext uri="{FF2B5EF4-FFF2-40B4-BE49-F238E27FC236}">
                  <a16:creationId xmlns:a16="http://schemas.microsoft.com/office/drawing/2014/main" id="{059311D2-4489-4B8F-BBB2-5E5010990228}"/>
                </a:ext>
              </a:extLst>
            </p:cNvPr>
            <p:cNvSpPr>
              <a:spLocks/>
            </p:cNvSpPr>
            <p:nvPr/>
          </p:nvSpPr>
          <p:spPr>
            <a:xfrm>
              <a:off x="951522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6" name="TextBox 175">
              <a:extLst>
                <a:ext uri="{FF2B5EF4-FFF2-40B4-BE49-F238E27FC236}">
                  <a16:creationId xmlns:a16="http://schemas.microsoft.com/office/drawing/2014/main" id="{97DC3C67-A265-4B08-965D-0C96F3B24D56}"/>
                </a:ext>
              </a:extLst>
            </p:cNvPr>
            <p:cNvSpPr txBox="1"/>
            <p:nvPr/>
          </p:nvSpPr>
          <p:spPr>
            <a:xfrm>
              <a:off x="562271"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Researching information about the firm</a:t>
              </a:r>
            </a:p>
          </p:txBody>
        </p:sp>
        <p:sp>
          <p:nvSpPr>
            <p:cNvPr id="177" name="TextBox 176">
              <a:extLst>
                <a:ext uri="{FF2B5EF4-FFF2-40B4-BE49-F238E27FC236}">
                  <a16:creationId xmlns:a16="http://schemas.microsoft.com/office/drawing/2014/main" id="{9117D8C6-7916-4394-97FE-75E0B2F54600}"/>
                </a:ext>
              </a:extLst>
            </p:cNvPr>
            <p:cNvSpPr txBox="1"/>
            <p:nvPr/>
          </p:nvSpPr>
          <p:spPr>
            <a:xfrm>
              <a:off x="1513304" y="2201715"/>
              <a:ext cx="1035426" cy="861774"/>
            </a:xfrm>
            <a:prstGeom prst="rect">
              <a:avLst/>
            </a:prstGeom>
            <a:noFill/>
            <a:ln>
              <a:noFill/>
            </a:ln>
          </p:spPr>
          <p:txBody>
            <a:bodyPr wrap="square" rtlCol="0" anchor="ctr">
              <a:spAutoFit/>
            </a:bodyPr>
            <a:lstStyle/>
            <a:p>
              <a:pPr lvl="0" algn="ctr">
                <a:defRPr/>
              </a:pPr>
              <a:r>
                <a:rPr lang="en-IN" sz="1000" kern="0" dirty="0">
                  <a:solidFill>
                    <a:srgbClr val="FFFFFF"/>
                  </a:solidFill>
                </a:rPr>
                <a:t>Product/ service or investment information search</a:t>
              </a:r>
            </a:p>
          </p:txBody>
        </p:sp>
        <p:sp>
          <p:nvSpPr>
            <p:cNvPr id="178" name="TextBox 177">
              <a:extLst>
                <a:ext uri="{FF2B5EF4-FFF2-40B4-BE49-F238E27FC236}">
                  <a16:creationId xmlns:a16="http://schemas.microsoft.com/office/drawing/2014/main" id="{2B46866A-C4F9-4331-B3A4-BDF16EF2F69E}"/>
                </a:ext>
              </a:extLst>
            </p:cNvPr>
            <p:cNvSpPr txBox="1"/>
            <p:nvPr/>
          </p:nvSpPr>
          <p:spPr>
            <a:xfrm>
              <a:off x="2483293" y="2270292"/>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Firm selection</a:t>
              </a:r>
              <a:br>
                <a:rPr lang="en-IN" sz="1000" kern="0" dirty="0">
                  <a:solidFill>
                    <a:srgbClr val="FFFFFF"/>
                  </a:solidFill>
                </a:rPr>
              </a:br>
              <a:r>
                <a:rPr lang="en-IN" sz="1000" kern="0" dirty="0">
                  <a:solidFill>
                    <a:srgbClr val="FFFFFF"/>
                  </a:solidFill>
                </a:rPr>
                <a:t>and onboarding</a:t>
              </a:r>
            </a:p>
          </p:txBody>
        </p:sp>
        <p:sp>
          <p:nvSpPr>
            <p:cNvPr id="179" name="TextBox 178">
              <a:extLst>
                <a:ext uri="{FF2B5EF4-FFF2-40B4-BE49-F238E27FC236}">
                  <a16:creationId xmlns:a16="http://schemas.microsoft.com/office/drawing/2014/main" id="{7FDAF2E0-2FB3-42B0-80F3-DD898764566F}"/>
                </a:ext>
              </a:extLst>
            </p:cNvPr>
            <p:cNvSpPr txBox="1"/>
            <p:nvPr/>
          </p:nvSpPr>
          <p:spPr>
            <a:xfrm>
              <a:off x="3596903" y="2365471"/>
              <a:ext cx="933144" cy="553998"/>
            </a:xfrm>
            <a:prstGeom prst="rect">
              <a:avLst/>
            </a:prstGeom>
            <a:noFill/>
            <a:ln>
              <a:noFill/>
            </a:ln>
          </p:spPr>
          <p:txBody>
            <a:bodyPr wrap="square" rtlCol="0" anchor="ctr">
              <a:spAutoFit/>
            </a:bodyPr>
            <a:lstStyle/>
            <a:p>
              <a:pPr lvl="0" algn="ctr">
                <a:defRPr/>
              </a:pPr>
              <a:r>
                <a:rPr lang="en-IN" sz="1000" kern="0" dirty="0">
                  <a:solidFill>
                    <a:srgbClr val="FFFFFF"/>
                  </a:solidFill>
                </a:rPr>
                <a:t>Receiving portfolio advice</a:t>
              </a:r>
            </a:p>
          </p:txBody>
        </p:sp>
        <p:sp>
          <p:nvSpPr>
            <p:cNvPr id="180" name="TextBox 179">
              <a:extLst>
                <a:ext uri="{FF2B5EF4-FFF2-40B4-BE49-F238E27FC236}">
                  <a16:creationId xmlns:a16="http://schemas.microsoft.com/office/drawing/2014/main" id="{DE26F63C-7207-4F87-8F6B-8AC9C9A6E9DA}"/>
                </a:ext>
              </a:extLst>
            </p:cNvPr>
            <p:cNvSpPr txBox="1"/>
            <p:nvPr/>
          </p:nvSpPr>
          <p:spPr>
            <a:xfrm>
              <a:off x="6606273" y="2432549"/>
              <a:ext cx="1035426" cy="400110"/>
            </a:xfrm>
            <a:prstGeom prst="rect">
              <a:avLst/>
            </a:prstGeom>
            <a:noFill/>
            <a:ln>
              <a:noFill/>
            </a:ln>
          </p:spPr>
          <p:txBody>
            <a:bodyPr wrap="square" rtlCol="0" anchor="ctr">
              <a:spAutoFit/>
            </a:bodyPr>
            <a:lstStyle/>
            <a:p>
              <a:pPr lvl="0" algn="ctr">
                <a:defRPr/>
              </a:pPr>
              <a:r>
                <a:rPr lang="en-IN" sz="1000" kern="0" dirty="0">
                  <a:solidFill>
                    <a:srgbClr val="FFFFFF"/>
                  </a:solidFill>
                </a:rPr>
                <a:t>Executing transactions</a:t>
              </a:r>
            </a:p>
          </p:txBody>
        </p:sp>
        <p:sp>
          <p:nvSpPr>
            <p:cNvPr id="181" name="TextBox 180">
              <a:extLst>
                <a:ext uri="{FF2B5EF4-FFF2-40B4-BE49-F238E27FC236}">
                  <a16:creationId xmlns:a16="http://schemas.microsoft.com/office/drawing/2014/main" id="{638AE57C-3E4A-4F5C-83F5-3B934D2C3A04}"/>
                </a:ext>
              </a:extLst>
            </p:cNvPr>
            <p:cNvSpPr txBox="1"/>
            <p:nvPr/>
          </p:nvSpPr>
          <p:spPr>
            <a:xfrm>
              <a:off x="7636014" y="2355605"/>
              <a:ext cx="1035426" cy="553998"/>
            </a:xfrm>
            <a:prstGeom prst="rect">
              <a:avLst/>
            </a:prstGeom>
            <a:noFill/>
            <a:ln>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srgbClr val="FFFFFF"/>
                  </a:solidFill>
                  <a:effectLst/>
                  <a:uLnTx/>
                  <a:uFillTx/>
                </a:rPr>
                <a:t>Accessing portfolio information</a:t>
              </a:r>
              <a:endParaRPr kumimoji="0" lang="en-US" sz="1000" b="0" i="0" u="none" strike="noStrike" kern="0" cap="none" spc="0" normalizeH="0" baseline="0" noProof="0" dirty="0">
                <a:ln>
                  <a:noFill/>
                </a:ln>
                <a:solidFill>
                  <a:srgbClr val="FFFFFF"/>
                </a:solidFill>
                <a:effectLst/>
                <a:uLnTx/>
                <a:uFillTx/>
              </a:endParaRPr>
            </a:p>
          </p:txBody>
        </p:sp>
        <p:sp>
          <p:nvSpPr>
            <p:cNvPr id="182" name="TextBox 181">
              <a:extLst>
                <a:ext uri="{FF2B5EF4-FFF2-40B4-BE49-F238E27FC236}">
                  <a16:creationId xmlns:a16="http://schemas.microsoft.com/office/drawing/2014/main" id="{9F222441-4D17-4150-9DFC-6DD3896FD068}"/>
                </a:ext>
              </a:extLst>
            </p:cNvPr>
            <p:cNvSpPr txBox="1"/>
            <p:nvPr/>
          </p:nvSpPr>
          <p:spPr>
            <a:xfrm>
              <a:off x="8596890" y="2210183"/>
              <a:ext cx="1146390" cy="861774"/>
            </a:xfrm>
            <a:prstGeom prst="rect">
              <a:avLst/>
            </a:prstGeom>
            <a:noFill/>
            <a:ln>
              <a:noFill/>
            </a:ln>
          </p:spPr>
          <p:txBody>
            <a:bodyPr wrap="square" rtlCol="0" anchor="ctr">
              <a:spAutoFit/>
            </a:bodyPr>
            <a:lstStyle/>
            <a:p>
              <a:pPr lvl="0" algn="ctr">
                <a:defRPr/>
              </a:pPr>
              <a:r>
                <a:rPr lang="en-IN" sz="1000" kern="0" dirty="0">
                  <a:solidFill>
                    <a:srgbClr val="FFFFFF"/>
                  </a:solidFill>
                </a:rPr>
                <a:t>General </a:t>
              </a:r>
              <a:r>
                <a:rPr lang="en-IN" sz="1000" kern="0" dirty="0" err="1">
                  <a:solidFill>
                    <a:srgbClr val="FFFFFF"/>
                  </a:solidFill>
                </a:rPr>
                <a:t>communi-cation</a:t>
              </a:r>
              <a:br>
                <a:rPr lang="en-IN" sz="1000" kern="0" dirty="0">
                  <a:solidFill>
                    <a:srgbClr val="FFFFFF"/>
                  </a:solidFill>
                </a:rPr>
              </a:br>
              <a:r>
                <a:rPr lang="en-IN" sz="1000" kern="0" dirty="0">
                  <a:solidFill>
                    <a:srgbClr val="FFFFFF"/>
                  </a:solidFill>
                </a:rPr>
                <a:t>with wealth manager</a:t>
              </a:r>
            </a:p>
          </p:txBody>
        </p:sp>
        <p:sp>
          <p:nvSpPr>
            <p:cNvPr id="183" name="TextBox 182">
              <a:extLst>
                <a:ext uri="{FF2B5EF4-FFF2-40B4-BE49-F238E27FC236}">
                  <a16:creationId xmlns:a16="http://schemas.microsoft.com/office/drawing/2014/main" id="{49E85763-4E3E-4B7D-8AD5-20E8E0E6DE84}"/>
                </a:ext>
              </a:extLst>
            </p:cNvPr>
            <p:cNvSpPr txBox="1"/>
            <p:nvPr/>
          </p:nvSpPr>
          <p:spPr>
            <a:xfrm>
              <a:off x="5560320"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Receiving educational market information</a:t>
              </a:r>
              <a:endParaRPr kumimoji="0" lang="en-US" sz="1000" b="0" i="0" u="none" strike="noStrike" kern="0" cap="none" spc="0" normalizeH="0" baseline="0" noProof="0" dirty="0">
                <a:ln>
                  <a:noFill/>
                </a:ln>
                <a:solidFill>
                  <a:srgbClr val="FFFFFF"/>
                </a:solidFill>
                <a:effectLst/>
                <a:uLnTx/>
                <a:uFillTx/>
              </a:endParaRPr>
            </a:p>
          </p:txBody>
        </p:sp>
        <p:sp>
          <p:nvSpPr>
            <p:cNvPr id="184" name="TextBox 183">
              <a:extLst>
                <a:ext uri="{FF2B5EF4-FFF2-40B4-BE49-F238E27FC236}">
                  <a16:creationId xmlns:a16="http://schemas.microsoft.com/office/drawing/2014/main" id="{E65FE1F2-23DE-47DC-8887-52A1A75739D4}"/>
                </a:ext>
              </a:extLst>
            </p:cNvPr>
            <p:cNvSpPr txBox="1"/>
            <p:nvPr/>
          </p:nvSpPr>
          <p:spPr>
            <a:xfrm>
              <a:off x="9712307"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Interactions with specific experts in the firm</a:t>
              </a:r>
            </a:p>
          </p:txBody>
        </p:sp>
        <p:sp>
          <p:nvSpPr>
            <p:cNvPr id="185" name="TextBox 184">
              <a:extLst>
                <a:ext uri="{FF2B5EF4-FFF2-40B4-BE49-F238E27FC236}">
                  <a16:creationId xmlns:a16="http://schemas.microsoft.com/office/drawing/2014/main" id="{A2441AEE-6A7D-4FD4-935B-F42464BA93F6}"/>
                </a:ext>
              </a:extLst>
            </p:cNvPr>
            <p:cNvSpPr txBox="1"/>
            <p:nvPr/>
          </p:nvSpPr>
          <p:spPr>
            <a:xfrm>
              <a:off x="4621860" y="2226824"/>
              <a:ext cx="1035426" cy="861774"/>
            </a:xfrm>
            <a:prstGeom prst="rect">
              <a:avLst/>
            </a:prstGeom>
            <a:noFill/>
            <a:ln>
              <a:noFill/>
            </a:ln>
          </p:spPr>
          <p:txBody>
            <a:bodyPr wrap="square" rtlCol="0" anchor="ctr">
              <a:spAutoFit/>
            </a:bodyPr>
            <a:lstStyle/>
            <a:p>
              <a:pPr lvl="0" algn="ctr">
                <a:defRPr/>
              </a:pPr>
              <a:r>
                <a:rPr lang="en-IN" sz="1000" kern="0" dirty="0">
                  <a:solidFill>
                    <a:srgbClr val="FFFFFF"/>
                  </a:solidFill>
                </a:rPr>
                <a:t>Personalized updates about new products/ services</a:t>
              </a:r>
            </a:p>
          </p:txBody>
        </p:sp>
        <p:sp>
          <p:nvSpPr>
            <p:cNvPr id="186" name="Arrow: Chevron 96">
              <a:extLst>
                <a:ext uri="{FF2B5EF4-FFF2-40B4-BE49-F238E27FC236}">
                  <a16:creationId xmlns:a16="http://schemas.microsoft.com/office/drawing/2014/main" id="{532EF4DC-915E-4336-98E6-B5B6248841F2}"/>
                </a:ext>
              </a:extLst>
            </p:cNvPr>
            <p:cNvSpPr>
              <a:spLocks/>
            </p:cNvSpPr>
            <p:nvPr/>
          </p:nvSpPr>
          <p:spPr>
            <a:xfrm>
              <a:off x="10538836" y="1787351"/>
              <a:ext cx="1181677"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87" name="TextBox 186">
              <a:extLst>
                <a:ext uri="{FF2B5EF4-FFF2-40B4-BE49-F238E27FC236}">
                  <a16:creationId xmlns:a16="http://schemas.microsoft.com/office/drawing/2014/main" id="{6313D376-D0B9-4C64-8B9D-868AFBFF5B33}"/>
                </a:ext>
              </a:extLst>
            </p:cNvPr>
            <p:cNvSpPr txBox="1"/>
            <p:nvPr/>
          </p:nvSpPr>
          <p:spPr>
            <a:xfrm>
              <a:off x="10613426" y="2355605"/>
              <a:ext cx="1035426" cy="553998"/>
            </a:xfrm>
            <a:prstGeom prst="rect">
              <a:avLst/>
            </a:prstGeom>
            <a:noFill/>
            <a:ln>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srgbClr val="FFFFFF"/>
                  </a:solidFill>
                  <a:effectLst/>
                  <a:uLnTx/>
                  <a:uFillTx/>
                </a:rPr>
                <a:t>Receiving value-added services</a:t>
              </a:r>
              <a:endParaRPr kumimoji="0" lang="en-US" sz="1000" b="0" i="0" u="none" strike="noStrike" kern="0" cap="none" spc="0" normalizeH="0" baseline="0" noProof="0" dirty="0">
                <a:ln>
                  <a:noFill/>
                </a:ln>
                <a:solidFill>
                  <a:srgbClr val="FFFFFF"/>
                </a:solidFill>
                <a:effectLst/>
                <a:uLnTx/>
                <a:uFillTx/>
              </a:endParaRPr>
            </a:p>
          </p:txBody>
        </p:sp>
        <p:sp>
          <p:nvSpPr>
            <p:cNvPr id="188" name="Oval 187">
              <a:extLst>
                <a:ext uri="{FF2B5EF4-FFF2-40B4-BE49-F238E27FC236}">
                  <a16:creationId xmlns:a16="http://schemas.microsoft.com/office/drawing/2014/main" id="{35A14FDF-463E-4A49-99A2-71B4FB370CE2}"/>
                </a:ext>
              </a:extLst>
            </p:cNvPr>
            <p:cNvSpPr/>
            <p:nvPr/>
          </p:nvSpPr>
          <p:spPr>
            <a:xfrm>
              <a:off x="887452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9" name="Groupe 298">
              <a:extLst>
                <a:ext uri="{FF2B5EF4-FFF2-40B4-BE49-F238E27FC236}">
                  <a16:creationId xmlns:a16="http://schemas.microsoft.com/office/drawing/2014/main" id="{167BEB72-C7CE-46C0-8776-4290F5D400D1}"/>
                </a:ext>
              </a:extLst>
            </p:cNvPr>
            <p:cNvGrpSpPr/>
            <p:nvPr/>
          </p:nvGrpSpPr>
          <p:grpSpPr>
            <a:xfrm>
              <a:off x="8969677" y="1911082"/>
              <a:ext cx="270040" cy="309159"/>
              <a:chOff x="10301288" y="1909762"/>
              <a:chExt cx="517525" cy="668338"/>
            </a:xfrm>
          </p:grpSpPr>
          <p:sp>
            <p:nvSpPr>
              <p:cNvPr id="190" name="Freeform 189">
                <a:extLst>
                  <a:ext uri="{FF2B5EF4-FFF2-40B4-BE49-F238E27FC236}">
                    <a16:creationId xmlns:a16="http://schemas.microsoft.com/office/drawing/2014/main" id="{F42856ED-7009-440A-8B60-0315D6F08FE4}"/>
                  </a:ext>
                </a:extLst>
              </p:cNvPr>
              <p:cNvSpPr>
                <a:spLocks/>
              </p:cNvSpPr>
              <p:nvPr/>
            </p:nvSpPr>
            <p:spPr bwMode="auto">
              <a:xfrm>
                <a:off x="10561638" y="2187575"/>
                <a:ext cx="257175" cy="322263"/>
              </a:xfrm>
              <a:custGeom>
                <a:avLst/>
                <a:gdLst>
                  <a:gd name="T0" fmla="*/ 0 w 76"/>
                  <a:gd name="T1" fmla="*/ 81 h 95"/>
                  <a:gd name="T2" fmla="*/ 3 w 76"/>
                  <a:gd name="T3" fmla="*/ 56 h 95"/>
                  <a:gd name="T4" fmla="*/ 8 w 76"/>
                  <a:gd name="T5" fmla="*/ 51 h 95"/>
                  <a:gd name="T6" fmla="*/ 27 w 76"/>
                  <a:gd name="T7" fmla="*/ 46 h 95"/>
                  <a:gd name="T8" fmla="*/ 31 w 76"/>
                  <a:gd name="T9" fmla="*/ 43 h 95"/>
                  <a:gd name="T10" fmla="*/ 29 w 76"/>
                  <a:gd name="T11" fmla="*/ 40 h 95"/>
                  <a:gd name="T12" fmla="*/ 21 w 76"/>
                  <a:gd name="T13" fmla="*/ 37 h 95"/>
                  <a:gd name="T14" fmla="*/ 24 w 76"/>
                  <a:gd name="T15" fmla="*/ 23 h 95"/>
                  <a:gd name="T16" fmla="*/ 38 w 76"/>
                  <a:gd name="T17" fmla="*/ 1 h 95"/>
                  <a:gd name="T18" fmla="*/ 53 w 76"/>
                  <a:gd name="T19" fmla="*/ 23 h 95"/>
                  <a:gd name="T20" fmla="*/ 57 w 76"/>
                  <a:gd name="T21" fmla="*/ 37 h 95"/>
                  <a:gd name="T22" fmla="*/ 48 w 76"/>
                  <a:gd name="T23" fmla="*/ 40 h 95"/>
                  <a:gd name="T24" fmla="*/ 45 w 76"/>
                  <a:gd name="T25" fmla="*/ 44 h 95"/>
                  <a:gd name="T26" fmla="*/ 68 w 76"/>
                  <a:gd name="T27" fmla="*/ 51 h 95"/>
                  <a:gd name="T28" fmla="*/ 73 w 76"/>
                  <a:gd name="T29" fmla="*/ 57 h 95"/>
                  <a:gd name="T30" fmla="*/ 76 w 76"/>
                  <a:gd name="T31" fmla="*/ 89 h 95"/>
                  <a:gd name="T32" fmla="*/ 61 w 76"/>
                  <a:gd name="T33" fmla="*/ 90 h 95"/>
                  <a:gd name="T34" fmla="*/ 0 w 76"/>
                  <a:gd name="T35"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95">
                    <a:moveTo>
                      <a:pt x="0" y="81"/>
                    </a:moveTo>
                    <a:cubicBezTo>
                      <a:pt x="0" y="81"/>
                      <a:pt x="3" y="58"/>
                      <a:pt x="3" y="56"/>
                    </a:cubicBezTo>
                    <a:cubicBezTo>
                      <a:pt x="4" y="54"/>
                      <a:pt x="5" y="51"/>
                      <a:pt x="8" y="51"/>
                    </a:cubicBezTo>
                    <a:cubicBezTo>
                      <a:pt x="11" y="51"/>
                      <a:pt x="24" y="48"/>
                      <a:pt x="27" y="46"/>
                    </a:cubicBezTo>
                    <a:cubicBezTo>
                      <a:pt x="31" y="45"/>
                      <a:pt x="31" y="43"/>
                      <a:pt x="31" y="43"/>
                    </a:cubicBezTo>
                    <a:cubicBezTo>
                      <a:pt x="29" y="40"/>
                      <a:pt x="29" y="40"/>
                      <a:pt x="29" y="40"/>
                    </a:cubicBezTo>
                    <a:cubicBezTo>
                      <a:pt x="29" y="40"/>
                      <a:pt x="24" y="41"/>
                      <a:pt x="21" y="37"/>
                    </a:cubicBezTo>
                    <a:cubicBezTo>
                      <a:pt x="21" y="37"/>
                      <a:pt x="23" y="30"/>
                      <a:pt x="24" y="23"/>
                    </a:cubicBezTo>
                    <a:cubicBezTo>
                      <a:pt x="24" y="16"/>
                      <a:pt x="26" y="0"/>
                      <a:pt x="38" y="1"/>
                    </a:cubicBezTo>
                    <a:cubicBezTo>
                      <a:pt x="50" y="2"/>
                      <a:pt x="53" y="16"/>
                      <a:pt x="53" y="23"/>
                    </a:cubicBezTo>
                    <a:cubicBezTo>
                      <a:pt x="53" y="30"/>
                      <a:pt x="56" y="37"/>
                      <a:pt x="57" y="37"/>
                    </a:cubicBezTo>
                    <a:cubicBezTo>
                      <a:pt x="57" y="37"/>
                      <a:pt x="52" y="41"/>
                      <a:pt x="48" y="40"/>
                    </a:cubicBezTo>
                    <a:cubicBezTo>
                      <a:pt x="45" y="44"/>
                      <a:pt x="45" y="44"/>
                      <a:pt x="45" y="44"/>
                    </a:cubicBezTo>
                    <a:cubicBezTo>
                      <a:pt x="45" y="44"/>
                      <a:pt x="52" y="49"/>
                      <a:pt x="68" y="51"/>
                    </a:cubicBezTo>
                    <a:cubicBezTo>
                      <a:pt x="70" y="51"/>
                      <a:pt x="73" y="52"/>
                      <a:pt x="73" y="57"/>
                    </a:cubicBezTo>
                    <a:cubicBezTo>
                      <a:pt x="73" y="62"/>
                      <a:pt x="76" y="89"/>
                      <a:pt x="76" y="89"/>
                    </a:cubicBezTo>
                    <a:cubicBezTo>
                      <a:pt x="76" y="89"/>
                      <a:pt x="69" y="88"/>
                      <a:pt x="61" y="90"/>
                    </a:cubicBezTo>
                    <a:cubicBezTo>
                      <a:pt x="52" y="91"/>
                      <a:pt x="12" y="95"/>
                      <a:pt x="0" y="8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0">
                <a:extLst>
                  <a:ext uri="{FF2B5EF4-FFF2-40B4-BE49-F238E27FC236}">
                    <a16:creationId xmlns:a16="http://schemas.microsoft.com/office/drawing/2014/main" id="{D0110853-A954-4B16-A219-5318F857D3DA}"/>
                  </a:ext>
                </a:extLst>
              </p:cNvPr>
              <p:cNvSpPr>
                <a:spLocks/>
              </p:cNvSpPr>
              <p:nvPr/>
            </p:nvSpPr>
            <p:spPr bwMode="auto">
              <a:xfrm>
                <a:off x="10636250" y="2333625"/>
                <a:ext cx="53975" cy="122238"/>
              </a:xfrm>
              <a:custGeom>
                <a:avLst/>
                <a:gdLst>
                  <a:gd name="T0" fmla="*/ 9 w 16"/>
                  <a:gd name="T1" fmla="*/ 0 h 36"/>
                  <a:gd name="T2" fmla="*/ 11 w 16"/>
                  <a:gd name="T3" fmla="*/ 5 h 36"/>
                  <a:gd name="T4" fmla="*/ 13 w 16"/>
                  <a:gd name="T5" fmla="*/ 16 h 36"/>
                  <a:gd name="T6" fmla="*/ 14 w 16"/>
                  <a:gd name="T7" fmla="*/ 18 h 36"/>
                  <a:gd name="T8" fmla="*/ 12 w 16"/>
                  <a:gd name="T9" fmla="*/ 20 h 36"/>
                  <a:gd name="T10" fmla="*/ 16 w 16"/>
                  <a:gd name="T11" fmla="*/ 29 h 36"/>
                  <a:gd name="T12" fmla="*/ 14 w 16"/>
                  <a:gd name="T13" fmla="*/ 36 h 36"/>
                  <a:gd name="T14" fmla="*/ 7 w 16"/>
                  <a:gd name="T15" fmla="*/ 18 h 36"/>
                  <a:gd name="T16" fmla="*/ 1 w 16"/>
                  <a:gd name="T17" fmla="*/ 21 h 36"/>
                  <a:gd name="T18" fmla="*/ 3 w 16"/>
                  <a:gd name="T19" fmla="*/ 6 h 36"/>
                  <a:gd name="T20" fmla="*/ 9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9" y="0"/>
                    </a:moveTo>
                    <a:cubicBezTo>
                      <a:pt x="9" y="0"/>
                      <a:pt x="10" y="1"/>
                      <a:pt x="11" y="5"/>
                    </a:cubicBezTo>
                    <a:cubicBezTo>
                      <a:pt x="11" y="9"/>
                      <a:pt x="13" y="16"/>
                      <a:pt x="13" y="16"/>
                    </a:cubicBezTo>
                    <a:cubicBezTo>
                      <a:pt x="13" y="16"/>
                      <a:pt x="15" y="17"/>
                      <a:pt x="14" y="18"/>
                    </a:cubicBezTo>
                    <a:cubicBezTo>
                      <a:pt x="13" y="19"/>
                      <a:pt x="11" y="20"/>
                      <a:pt x="12" y="20"/>
                    </a:cubicBezTo>
                    <a:cubicBezTo>
                      <a:pt x="12" y="20"/>
                      <a:pt x="16" y="28"/>
                      <a:pt x="16" y="29"/>
                    </a:cubicBezTo>
                    <a:cubicBezTo>
                      <a:pt x="16" y="31"/>
                      <a:pt x="14" y="36"/>
                      <a:pt x="14" y="36"/>
                    </a:cubicBezTo>
                    <a:cubicBezTo>
                      <a:pt x="14" y="36"/>
                      <a:pt x="8" y="22"/>
                      <a:pt x="7" y="18"/>
                    </a:cubicBezTo>
                    <a:cubicBezTo>
                      <a:pt x="7" y="18"/>
                      <a:pt x="2" y="19"/>
                      <a:pt x="1" y="21"/>
                    </a:cubicBezTo>
                    <a:cubicBezTo>
                      <a:pt x="0" y="23"/>
                      <a:pt x="3" y="7"/>
                      <a:pt x="3" y="6"/>
                    </a:cubicBezTo>
                    <a:cubicBezTo>
                      <a:pt x="4" y="5"/>
                      <a:pt x="5" y="1"/>
                      <a:pt x="9"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1">
                <a:extLst>
                  <a:ext uri="{FF2B5EF4-FFF2-40B4-BE49-F238E27FC236}">
                    <a16:creationId xmlns:a16="http://schemas.microsoft.com/office/drawing/2014/main" id="{F3B3A095-7698-41EF-9D62-A5FF5DB952E4}"/>
                  </a:ext>
                </a:extLst>
              </p:cNvPr>
              <p:cNvSpPr>
                <a:spLocks/>
              </p:cNvSpPr>
              <p:nvPr/>
            </p:nvSpPr>
            <p:spPr bwMode="auto">
              <a:xfrm>
                <a:off x="10693400" y="2333625"/>
                <a:ext cx="55563" cy="122238"/>
              </a:xfrm>
              <a:custGeom>
                <a:avLst/>
                <a:gdLst>
                  <a:gd name="T0" fmla="*/ 7 w 16"/>
                  <a:gd name="T1" fmla="*/ 0 h 36"/>
                  <a:gd name="T2" fmla="*/ 5 w 16"/>
                  <a:gd name="T3" fmla="*/ 5 h 36"/>
                  <a:gd name="T4" fmla="*/ 3 w 16"/>
                  <a:gd name="T5" fmla="*/ 16 h 36"/>
                  <a:gd name="T6" fmla="*/ 2 w 16"/>
                  <a:gd name="T7" fmla="*/ 18 h 36"/>
                  <a:gd name="T8" fmla="*/ 4 w 16"/>
                  <a:gd name="T9" fmla="*/ 20 h 36"/>
                  <a:gd name="T10" fmla="*/ 0 w 16"/>
                  <a:gd name="T11" fmla="*/ 29 h 36"/>
                  <a:gd name="T12" fmla="*/ 2 w 16"/>
                  <a:gd name="T13" fmla="*/ 36 h 36"/>
                  <a:gd name="T14" fmla="*/ 9 w 16"/>
                  <a:gd name="T15" fmla="*/ 18 h 36"/>
                  <a:gd name="T16" fmla="*/ 15 w 16"/>
                  <a:gd name="T17" fmla="*/ 21 h 36"/>
                  <a:gd name="T18" fmla="*/ 13 w 16"/>
                  <a:gd name="T19" fmla="*/ 6 h 36"/>
                  <a:gd name="T20" fmla="*/ 7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7" y="0"/>
                    </a:moveTo>
                    <a:cubicBezTo>
                      <a:pt x="7" y="0"/>
                      <a:pt x="6" y="1"/>
                      <a:pt x="5" y="5"/>
                    </a:cubicBezTo>
                    <a:cubicBezTo>
                      <a:pt x="5" y="9"/>
                      <a:pt x="3" y="16"/>
                      <a:pt x="3" y="16"/>
                    </a:cubicBezTo>
                    <a:cubicBezTo>
                      <a:pt x="3" y="16"/>
                      <a:pt x="1" y="17"/>
                      <a:pt x="2" y="18"/>
                    </a:cubicBezTo>
                    <a:cubicBezTo>
                      <a:pt x="3" y="19"/>
                      <a:pt x="5" y="20"/>
                      <a:pt x="4" y="20"/>
                    </a:cubicBezTo>
                    <a:cubicBezTo>
                      <a:pt x="4" y="20"/>
                      <a:pt x="0" y="28"/>
                      <a:pt x="0" y="29"/>
                    </a:cubicBezTo>
                    <a:cubicBezTo>
                      <a:pt x="0" y="31"/>
                      <a:pt x="2" y="36"/>
                      <a:pt x="2" y="36"/>
                    </a:cubicBezTo>
                    <a:cubicBezTo>
                      <a:pt x="2" y="36"/>
                      <a:pt x="8" y="22"/>
                      <a:pt x="9" y="18"/>
                    </a:cubicBezTo>
                    <a:cubicBezTo>
                      <a:pt x="9" y="18"/>
                      <a:pt x="14" y="19"/>
                      <a:pt x="15" y="21"/>
                    </a:cubicBezTo>
                    <a:cubicBezTo>
                      <a:pt x="16" y="23"/>
                      <a:pt x="13" y="7"/>
                      <a:pt x="13" y="6"/>
                    </a:cubicBezTo>
                    <a:cubicBezTo>
                      <a:pt x="12" y="5"/>
                      <a:pt x="11" y="1"/>
                      <a:pt x="7"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2">
                <a:extLst>
                  <a:ext uri="{FF2B5EF4-FFF2-40B4-BE49-F238E27FC236}">
                    <a16:creationId xmlns:a16="http://schemas.microsoft.com/office/drawing/2014/main" id="{E94E7CF0-C5BF-4088-A2D9-FD0DD5B32FFF}"/>
                  </a:ext>
                </a:extLst>
              </p:cNvPr>
              <p:cNvSpPr>
                <a:spLocks/>
              </p:cNvSpPr>
              <p:nvPr/>
            </p:nvSpPr>
            <p:spPr bwMode="auto">
              <a:xfrm>
                <a:off x="10301288" y="2200275"/>
                <a:ext cx="388938" cy="377825"/>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3">
                <a:extLst>
                  <a:ext uri="{FF2B5EF4-FFF2-40B4-BE49-F238E27FC236}">
                    <a16:creationId xmlns:a16="http://schemas.microsoft.com/office/drawing/2014/main" id="{D8B6E9F6-B0A3-45BC-9907-146B23ADE9B3}"/>
                  </a:ext>
                </a:extLst>
              </p:cNvPr>
              <p:cNvSpPr>
                <a:spLocks/>
              </p:cNvSpPr>
              <p:nvPr/>
            </p:nvSpPr>
            <p:spPr bwMode="auto">
              <a:xfrm>
                <a:off x="10501313" y="2378075"/>
                <a:ext cx="50800" cy="144463"/>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94">
                <a:extLst>
                  <a:ext uri="{FF2B5EF4-FFF2-40B4-BE49-F238E27FC236}">
                    <a16:creationId xmlns:a16="http://schemas.microsoft.com/office/drawing/2014/main" id="{35F4E62D-8A6E-4B56-850D-4FDD4C2B7A94}"/>
                  </a:ext>
                </a:extLst>
              </p:cNvPr>
              <p:cNvSpPr>
                <a:spLocks/>
              </p:cNvSpPr>
              <p:nvPr/>
            </p:nvSpPr>
            <p:spPr bwMode="auto">
              <a:xfrm>
                <a:off x="10440988" y="2378075"/>
                <a:ext cx="50800" cy="144463"/>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95">
                <a:extLst>
                  <a:ext uri="{FF2B5EF4-FFF2-40B4-BE49-F238E27FC236}">
                    <a16:creationId xmlns:a16="http://schemas.microsoft.com/office/drawing/2014/main" id="{01317F17-BF92-46C7-9BB6-FBCF74C7F4D4}"/>
                  </a:ext>
                </a:extLst>
              </p:cNvPr>
              <p:cNvSpPr>
                <a:spLocks/>
              </p:cNvSpPr>
              <p:nvPr/>
            </p:nvSpPr>
            <p:spPr bwMode="auto">
              <a:xfrm>
                <a:off x="10345739" y="1909762"/>
                <a:ext cx="338137" cy="280988"/>
              </a:xfrm>
              <a:custGeom>
                <a:avLst/>
                <a:gdLst>
                  <a:gd name="T0" fmla="*/ 48 w 100"/>
                  <a:gd name="T1" fmla="*/ 0 h 83"/>
                  <a:gd name="T2" fmla="*/ 97 w 100"/>
                  <a:gd name="T3" fmla="*/ 38 h 83"/>
                  <a:gd name="T4" fmla="*/ 91 w 100"/>
                  <a:gd name="T5" fmla="*/ 83 h 83"/>
                  <a:gd name="T6" fmla="*/ 67 w 100"/>
                  <a:gd name="T7" fmla="*/ 73 h 83"/>
                  <a:gd name="T8" fmla="*/ 56 w 100"/>
                  <a:gd name="T9" fmla="*/ 75 h 83"/>
                  <a:gd name="T10" fmla="*/ 48 w 100"/>
                  <a:gd name="T11" fmla="*/ 75 h 83"/>
                  <a:gd name="T12" fmla="*/ 19 w 100"/>
                  <a:gd name="T13" fmla="*/ 68 h 83"/>
                  <a:gd name="T14" fmla="*/ 0 w 100"/>
                  <a:gd name="T15" fmla="*/ 38 h 83"/>
                  <a:gd name="T16" fmla="*/ 48 w 100"/>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3">
                    <a:moveTo>
                      <a:pt x="48" y="0"/>
                    </a:moveTo>
                    <a:cubicBezTo>
                      <a:pt x="75" y="0"/>
                      <a:pt x="94" y="17"/>
                      <a:pt x="97" y="38"/>
                    </a:cubicBezTo>
                    <a:cubicBezTo>
                      <a:pt x="100" y="59"/>
                      <a:pt x="86" y="70"/>
                      <a:pt x="91" y="83"/>
                    </a:cubicBezTo>
                    <a:cubicBezTo>
                      <a:pt x="67" y="73"/>
                      <a:pt x="67" y="73"/>
                      <a:pt x="67" y="73"/>
                    </a:cubicBezTo>
                    <a:cubicBezTo>
                      <a:pt x="64" y="74"/>
                      <a:pt x="60" y="74"/>
                      <a:pt x="56" y="75"/>
                    </a:cubicBezTo>
                    <a:cubicBezTo>
                      <a:pt x="54" y="75"/>
                      <a:pt x="51" y="75"/>
                      <a:pt x="48" y="75"/>
                    </a:cubicBezTo>
                    <a:cubicBezTo>
                      <a:pt x="37" y="75"/>
                      <a:pt x="27" y="73"/>
                      <a:pt x="19" y="68"/>
                    </a:cubicBezTo>
                    <a:cubicBezTo>
                      <a:pt x="8" y="61"/>
                      <a:pt x="0" y="50"/>
                      <a:pt x="0" y="38"/>
                    </a:cubicBezTo>
                    <a:cubicBezTo>
                      <a:pt x="0" y="17"/>
                      <a:pt x="22" y="0"/>
                      <a:pt x="4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 name="Oval 196">
              <a:extLst>
                <a:ext uri="{FF2B5EF4-FFF2-40B4-BE49-F238E27FC236}">
                  <a16:creationId xmlns:a16="http://schemas.microsoft.com/office/drawing/2014/main" id="{E608AD76-B286-4287-9B6A-0CC3B251CEFE}"/>
                </a:ext>
              </a:extLst>
            </p:cNvPr>
            <p:cNvSpPr/>
            <p:nvPr/>
          </p:nvSpPr>
          <p:spPr>
            <a:xfrm>
              <a:off x="701539"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45CB9E0F-7C2F-413A-8BD7-EF363331B617}"/>
                </a:ext>
              </a:extLst>
            </p:cNvPr>
            <p:cNvSpPr/>
            <p:nvPr/>
          </p:nvSpPr>
          <p:spPr>
            <a:xfrm>
              <a:off x="1745874" y="183392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199643AF-7228-436C-BDC4-7BF4D404B643}"/>
                </a:ext>
              </a:extLst>
            </p:cNvPr>
            <p:cNvSpPr/>
            <p:nvPr/>
          </p:nvSpPr>
          <p:spPr>
            <a:xfrm>
              <a:off x="275236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EFF66A94-9529-4D81-8A2C-3922E66593E8}"/>
                </a:ext>
              </a:extLst>
            </p:cNvPr>
            <p:cNvSpPr/>
            <p:nvPr/>
          </p:nvSpPr>
          <p:spPr>
            <a:xfrm>
              <a:off x="3779134"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575F714D-9870-4CA6-9361-AFCEE7FA36E6}"/>
                </a:ext>
              </a:extLst>
            </p:cNvPr>
            <p:cNvSpPr/>
            <p:nvPr/>
          </p:nvSpPr>
          <p:spPr>
            <a:xfrm>
              <a:off x="4805018"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3F0B712F-993A-4091-8DA2-3C4EE5A8D1E4}"/>
                </a:ext>
              </a:extLst>
            </p:cNvPr>
            <p:cNvSpPr/>
            <p:nvPr/>
          </p:nvSpPr>
          <p:spPr>
            <a:xfrm>
              <a:off x="5795490"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BF4A161A-75A2-4413-9F31-06E50C12582C}"/>
                </a:ext>
              </a:extLst>
            </p:cNvPr>
            <p:cNvSpPr/>
            <p:nvPr/>
          </p:nvSpPr>
          <p:spPr>
            <a:xfrm>
              <a:off x="6821905"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CFB99ABB-2F56-417E-9510-A7C67B0EFBCD}"/>
                </a:ext>
              </a:extLst>
            </p:cNvPr>
            <p:cNvSpPr/>
            <p:nvPr/>
          </p:nvSpPr>
          <p:spPr>
            <a:xfrm>
              <a:off x="7848069"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a16="http://schemas.microsoft.com/office/drawing/2014/main" id="{A71CD52A-DBDA-4C10-9CA9-5B1C0FF279CB}"/>
                </a:ext>
              </a:extLst>
            </p:cNvPr>
            <p:cNvSpPr/>
            <p:nvPr/>
          </p:nvSpPr>
          <p:spPr>
            <a:xfrm>
              <a:off x="985305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4ECF82C3-CCCB-4A55-8EC3-89B953D5EA2A}"/>
                </a:ext>
              </a:extLst>
            </p:cNvPr>
            <p:cNvSpPr/>
            <p:nvPr/>
          </p:nvSpPr>
          <p:spPr>
            <a:xfrm>
              <a:off x="10907207"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7" name="Groupe 175">
              <a:extLst>
                <a:ext uri="{FF2B5EF4-FFF2-40B4-BE49-F238E27FC236}">
                  <a16:creationId xmlns:a16="http://schemas.microsoft.com/office/drawing/2014/main" id="{3B85BC72-D31E-447B-9D97-A79A41E3C9D7}"/>
                </a:ext>
              </a:extLst>
            </p:cNvPr>
            <p:cNvGrpSpPr/>
            <p:nvPr/>
          </p:nvGrpSpPr>
          <p:grpSpPr>
            <a:xfrm>
              <a:off x="6854537" y="1951979"/>
              <a:ext cx="412415" cy="234785"/>
              <a:chOff x="9967913" y="3967163"/>
              <a:chExt cx="573088" cy="373062"/>
            </a:xfrm>
          </p:grpSpPr>
          <p:sp>
            <p:nvSpPr>
              <p:cNvPr id="208" name="Freeform 251">
                <a:extLst>
                  <a:ext uri="{FF2B5EF4-FFF2-40B4-BE49-F238E27FC236}">
                    <a16:creationId xmlns:a16="http://schemas.microsoft.com/office/drawing/2014/main" id="{A3722537-EC03-4295-9B75-524BB126B808}"/>
                  </a:ext>
                </a:extLst>
              </p:cNvPr>
              <p:cNvSpPr>
                <a:spLocks/>
              </p:cNvSpPr>
              <p:nvPr/>
            </p:nvSpPr>
            <p:spPr bwMode="auto">
              <a:xfrm>
                <a:off x="10133013" y="3967163"/>
                <a:ext cx="407988" cy="233363"/>
              </a:xfrm>
              <a:custGeom>
                <a:avLst/>
                <a:gdLst>
                  <a:gd name="T0" fmla="*/ 109 w 109"/>
                  <a:gd name="T1" fmla="*/ 13 h 62"/>
                  <a:gd name="T2" fmla="*/ 109 w 109"/>
                  <a:gd name="T3" fmla="*/ 16 h 62"/>
                  <a:gd name="T4" fmla="*/ 108 w 109"/>
                  <a:gd name="T5" fmla="*/ 40 h 62"/>
                  <a:gd name="T6" fmla="*/ 108 w 109"/>
                  <a:gd name="T7" fmla="*/ 40 h 62"/>
                  <a:gd name="T8" fmla="*/ 102 w 109"/>
                  <a:gd name="T9" fmla="*/ 43 h 62"/>
                  <a:gd name="T10" fmla="*/ 96 w 109"/>
                  <a:gd name="T11" fmla="*/ 42 h 62"/>
                  <a:gd name="T12" fmla="*/ 81 w 109"/>
                  <a:gd name="T13" fmla="*/ 41 h 62"/>
                  <a:gd name="T14" fmla="*/ 69 w 109"/>
                  <a:gd name="T15" fmla="*/ 46 h 62"/>
                  <a:gd name="T16" fmla="*/ 54 w 109"/>
                  <a:gd name="T17" fmla="*/ 46 h 62"/>
                  <a:gd name="T18" fmla="*/ 41 w 109"/>
                  <a:gd name="T19" fmla="*/ 50 h 62"/>
                  <a:gd name="T20" fmla="*/ 32 w 109"/>
                  <a:gd name="T21" fmla="*/ 54 h 62"/>
                  <a:gd name="T22" fmla="*/ 28 w 109"/>
                  <a:gd name="T23" fmla="*/ 59 h 62"/>
                  <a:gd name="T24" fmla="*/ 23 w 109"/>
                  <a:gd name="T25" fmla="*/ 60 h 62"/>
                  <a:gd name="T26" fmla="*/ 24 w 109"/>
                  <a:gd name="T27" fmla="*/ 48 h 62"/>
                  <a:gd name="T28" fmla="*/ 35 w 109"/>
                  <a:gd name="T29" fmla="*/ 39 h 62"/>
                  <a:gd name="T30" fmla="*/ 40 w 109"/>
                  <a:gd name="T31" fmla="*/ 35 h 62"/>
                  <a:gd name="T32" fmla="*/ 41 w 109"/>
                  <a:gd name="T33" fmla="*/ 31 h 62"/>
                  <a:gd name="T34" fmla="*/ 39 w 109"/>
                  <a:gd name="T35" fmla="*/ 26 h 62"/>
                  <a:gd name="T36" fmla="*/ 33 w 109"/>
                  <a:gd name="T37" fmla="*/ 21 h 62"/>
                  <a:gd name="T38" fmla="*/ 27 w 109"/>
                  <a:gd name="T39" fmla="*/ 24 h 62"/>
                  <a:gd name="T40" fmla="*/ 20 w 109"/>
                  <a:gd name="T41" fmla="*/ 25 h 62"/>
                  <a:gd name="T42" fmla="*/ 16 w 109"/>
                  <a:gd name="T43" fmla="*/ 31 h 62"/>
                  <a:gd name="T44" fmla="*/ 12 w 109"/>
                  <a:gd name="T45" fmla="*/ 33 h 62"/>
                  <a:gd name="T46" fmla="*/ 6 w 109"/>
                  <a:gd name="T47" fmla="*/ 43 h 62"/>
                  <a:gd name="T48" fmla="*/ 0 w 109"/>
                  <a:gd name="T49" fmla="*/ 41 h 62"/>
                  <a:gd name="T50" fmla="*/ 1 w 109"/>
                  <a:gd name="T51" fmla="*/ 37 h 62"/>
                  <a:gd name="T52" fmla="*/ 4 w 109"/>
                  <a:gd name="T53" fmla="*/ 31 h 62"/>
                  <a:gd name="T54" fmla="*/ 7 w 109"/>
                  <a:gd name="T55" fmla="*/ 25 h 62"/>
                  <a:gd name="T56" fmla="*/ 12 w 109"/>
                  <a:gd name="T57" fmla="*/ 19 h 62"/>
                  <a:gd name="T58" fmla="*/ 27 w 109"/>
                  <a:gd name="T59" fmla="*/ 9 h 62"/>
                  <a:gd name="T60" fmla="*/ 33 w 109"/>
                  <a:gd name="T61" fmla="*/ 4 h 62"/>
                  <a:gd name="T62" fmla="*/ 37 w 109"/>
                  <a:gd name="T63" fmla="*/ 4 h 62"/>
                  <a:gd name="T64" fmla="*/ 40 w 109"/>
                  <a:gd name="T65" fmla="*/ 1 h 62"/>
                  <a:gd name="T66" fmla="*/ 67 w 109"/>
                  <a:gd name="T67" fmla="*/ 9 h 62"/>
                  <a:gd name="T68" fmla="*/ 97 w 109"/>
                  <a:gd name="T69" fmla="*/ 16 h 62"/>
                  <a:gd name="T70" fmla="*/ 109 w 109"/>
                  <a:gd name="T7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2">
                    <a:moveTo>
                      <a:pt x="109" y="13"/>
                    </a:moveTo>
                    <a:cubicBezTo>
                      <a:pt x="109" y="16"/>
                      <a:pt x="109" y="16"/>
                      <a:pt x="109" y="16"/>
                    </a:cubicBezTo>
                    <a:cubicBezTo>
                      <a:pt x="108" y="40"/>
                      <a:pt x="108" y="40"/>
                      <a:pt x="108" y="40"/>
                    </a:cubicBezTo>
                    <a:cubicBezTo>
                      <a:pt x="108" y="40"/>
                      <a:pt x="108" y="40"/>
                      <a:pt x="108" y="40"/>
                    </a:cubicBezTo>
                    <a:cubicBezTo>
                      <a:pt x="107" y="42"/>
                      <a:pt x="104" y="43"/>
                      <a:pt x="102" y="43"/>
                    </a:cubicBezTo>
                    <a:cubicBezTo>
                      <a:pt x="96" y="42"/>
                      <a:pt x="96" y="42"/>
                      <a:pt x="96" y="42"/>
                    </a:cubicBezTo>
                    <a:cubicBezTo>
                      <a:pt x="96" y="42"/>
                      <a:pt x="83" y="41"/>
                      <a:pt x="81" y="41"/>
                    </a:cubicBezTo>
                    <a:cubicBezTo>
                      <a:pt x="78" y="41"/>
                      <a:pt x="74" y="44"/>
                      <a:pt x="69" y="46"/>
                    </a:cubicBezTo>
                    <a:cubicBezTo>
                      <a:pt x="64" y="48"/>
                      <a:pt x="56" y="46"/>
                      <a:pt x="54" y="46"/>
                    </a:cubicBezTo>
                    <a:cubicBezTo>
                      <a:pt x="52" y="47"/>
                      <a:pt x="43" y="50"/>
                      <a:pt x="41" y="50"/>
                    </a:cubicBezTo>
                    <a:cubicBezTo>
                      <a:pt x="39" y="50"/>
                      <a:pt x="34" y="52"/>
                      <a:pt x="32" y="54"/>
                    </a:cubicBezTo>
                    <a:cubicBezTo>
                      <a:pt x="30" y="56"/>
                      <a:pt x="30" y="58"/>
                      <a:pt x="28" y="59"/>
                    </a:cubicBezTo>
                    <a:cubicBezTo>
                      <a:pt x="27" y="61"/>
                      <a:pt x="26" y="62"/>
                      <a:pt x="23" y="60"/>
                    </a:cubicBezTo>
                    <a:cubicBezTo>
                      <a:pt x="20" y="58"/>
                      <a:pt x="23" y="51"/>
                      <a:pt x="24" y="48"/>
                    </a:cubicBezTo>
                    <a:cubicBezTo>
                      <a:pt x="25" y="45"/>
                      <a:pt x="29" y="41"/>
                      <a:pt x="35" y="39"/>
                    </a:cubicBezTo>
                    <a:cubicBezTo>
                      <a:pt x="37" y="38"/>
                      <a:pt x="39" y="37"/>
                      <a:pt x="40" y="35"/>
                    </a:cubicBezTo>
                    <a:cubicBezTo>
                      <a:pt x="41" y="34"/>
                      <a:pt x="41" y="32"/>
                      <a:pt x="41" y="31"/>
                    </a:cubicBezTo>
                    <a:cubicBezTo>
                      <a:pt x="42" y="29"/>
                      <a:pt x="39" y="27"/>
                      <a:pt x="39" y="26"/>
                    </a:cubicBezTo>
                    <a:cubicBezTo>
                      <a:pt x="38" y="25"/>
                      <a:pt x="38" y="21"/>
                      <a:pt x="33" y="21"/>
                    </a:cubicBezTo>
                    <a:cubicBezTo>
                      <a:pt x="32" y="21"/>
                      <a:pt x="28" y="23"/>
                      <a:pt x="27" y="24"/>
                    </a:cubicBezTo>
                    <a:cubicBezTo>
                      <a:pt x="23" y="26"/>
                      <a:pt x="20" y="25"/>
                      <a:pt x="20" y="25"/>
                    </a:cubicBezTo>
                    <a:cubicBezTo>
                      <a:pt x="20" y="25"/>
                      <a:pt x="20" y="26"/>
                      <a:pt x="16" y="31"/>
                    </a:cubicBezTo>
                    <a:cubicBezTo>
                      <a:pt x="13" y="34"/>
                      <a:pt x="12" y="33"/>
                      <a:pt x="12" y="33"/>
                    </a:cubicBezTo>
                    <a:cubicBezTo>
                      <a:pt x="12" y="33"/>
                      <a:pt x="9" y="42"/>
                      <a:pt x="6" y="43"/>
                    </a:cubicBezTo>
                    <a:cubicBezTo>
                      <a:pt x="2" y="44"/>
                      <a:pt x="0" y="42"/>
                      <a:pt x="0" y="41"/>
                    </a:cubicBezTo>
                    <a:cubicBezTo>
                      <a:pt x="0" y="40"/>
                      <a:pt x="1" y="37"/>
                      <a:pt x="1" y="37"/>
                    </a:cubicBezTo>
                    <a:cubicBezTo>
                      <a:pt x="2" y="35"/>
                      <a:pt x="4" y="32"/>
                      <a:pt x="4" y="31"/>
                    </a:cubicBezTo>
                    <a:cubicBezTo>
                      <a:pt x="4" y="29"/>
                      <a:pt x="6" y="27"/>
                      <a:pt x="7" y="25"/>
                    </a:cubicBezTo>
                    <a:cubicBezTo>
                      <a:pt x="8" y="24"/>
                      <a:pt x="11" y="21"/>
                      <a:pt x="12" y="19"/>
                    </a:cubicBezTo>
                    <a:cubicBezTo>
                      <a:pt x="13" y="17"/>
                      <a:pt x="20" y="14"/>
                      <a:pt x="27" y="9"/>
                    </a:cubicBezTo>
                    <a:cubicBezTo>
                      <a:pt x="30" y="6"/>
                      <a:pt x="32" y="5"/>
                      <a:pt x="33" y="4"/>
                    </a:cubicBezTo>
                    <a:cubicBezTo>
                      <a:pt x="35" y="3"/>
                      <a:pt x="37" y="4"/>
                      <a:pt x="37" y="4"/>
                    </a:cubicBezTo>
                    <a:cubicBezTo>
                      <a:pt x="37" y="4"/>
                      <a:pt x="38" y="2"/>
                      <a:pt x="40" y="1"/>
                    </a:cubicBezTo>
                    <a:cubicBezTo>
                      <a:pt x="42" y="0"/>
                      <a:pt x="61" y="7"/>
                      <a:pt x="67" y="9"/>
                    </a:cubicBezTo>
                    <a:cubicBezTo>
                      <a:pt x="72" y="10"/>
                      <a:pt x="95" y="16"/>
                      <a:pt x="97" y="16"/>
                    </a:cubicBezTo>
                    <a:cubicBezTo>
                      <a:pt x="99" y="16"/>
                      <a:pt x="109" y="13"/>
                      <a:pt x="109" y="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Oval 252">
                <a:extLst>
                  <a:ext uri="{FF2B5EF4-FFF2-40B4-BE49-F238E27FC236}">
                    <a16:creationId xmlns:a16="http://schemas.microsoft.com/office/drawing/2014/main" id="{041616CF-CD25-46DC-B7B1-F9FA22A094D5}"/>
                  </a:ext>
                </a:extLst>
              </p:cNvPr>
              <p:cNvSpPr>
                <a:spLocks noChangeArrowheads="1"/>
              </p:cNvSpPr>
              <p:nvPr/>
            </p:nvSpPr>
            <p:spPr bwMode="auto">
              <a:xfrm>
                <a:off x="10155238" y="4117975"/>
                <a:ext cx="63500" cy="6032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3">
                <a:extLst>
                  <a:ext uri="{FF2B5EF4-FFF2-40B4-BE49-F238E27FC236}">
                    <a16:creationId xmlns:a16="http://schemas.microsoft.com/office/drawing/2014/main" id="{3A7A138E-E106-4D57-90C3-5C3EEFE936CD}"/>
                  </a:ext>
                </a:extLst>
              </p:cNvPr>
              <p:cNvSpPr>
                <a:spLocks/>
              </p:cNvSpPr>
              <p:nvPr/>
            </p:nvSpPr>
            <p:spPr bwMode="auto">
              <a:xfrm>
                <a:off x="9967913" y="4197350"/>
                <a:ext cx="352425" cy="142875"/>
              </a:xfrm>
              <a:custGeom>
                <a:avLst/>
                <a:gdLst>
                  <a:gd name="T0" fmla="*/ 79 w 94"/>
                  <a:gd name="T1" fmla="*/ 20 h 38"/>
                  <a:gd name="T2" fmla="*/ 55 w 94"/>
                  <a:gd name="T3" fmla="*/ 32 h 38"/>
                  <a:gd name="T4" fmla="*/ 28 w 94"/>
                  <a:gd name="T5" fmla="*/ 27 h 38"/>
                  <a:gd name="T6" fmla="*/ 6 w 94"/>
                  <a:gd name="T7" fmla="*/ 38 h 38"/>
                  <a:gd name="T8" fmla="*/ 2 w 94"/>
                  <a:gd name="T9" fmla="*/ 29 h 38"/>
                  <a:gd name="T10" fmla="*/ 5 w 94"/>
                  <a:gd name="T11" fmla="*/ 18 h 38"/>
                  <a:gd name="T12" fmla="*/ 20 w 94"/>
                  <a:gd name="T13" fmla="*/ 8 h 38"/>
                  <a:gd name="T14" fmla="*/ 37 w 94"/>
                  <a:gd name="T15" fmla="*/ 4 h 38"/>
                  <a:gd name="T16" fmla="*/ 39 w 94"/>
                  <a:gd name="T17" fmla="*/ 5 h 38"/>
                  <a:gd name="T18" fmla="*/ 41 w 94"/>
                  <a:gd name="T19" fmla="*/ 6 h 38"/>
                  <a:gd name="T20" fmla="*/ 42 w 94"/>
                  <a:gd name="T21" fmla="*/ 6 h 38"/>
                  <a:gd name="T22" fmla="*/ 44 w 94"/>
                  <a:gd name="T23" fmla="*/ 6 h 38"/>
                  <a:gd name="T24" fmla="*/ 54 w 94"/>
                  <a:gd name="T25" fmla="*/ 9 h 38"/>
                  <a:gd name="T26" fmla="*/ 58 w 94"/>
                  <a:gd name="T27" fmla="*/ 10 h 38"/>
                  <a:gd name="T28" fmla="*/ 61 w 94"/>
                  <a:gd name="T29" fmla="*/ 11 h 38"/>
                  <a:gd name="T30" fmla="*/ 65 w 94"/>
                  <a:gd name="T31" fmla="*/ 12 h 38"/>
                  <a:gd name="T32" fmla="*/ 69 w 94"/>
                  <a:gd name="T33" fmla="*/ 15 h 38"/>
                  <a:gd name="T34" fmla="*/ 69 w 94"/>
                  <a:gd name="T35" fmla="*/ 15 h 38"/>
                  <a:gd name="T36" fmla="*/ 65 w 94"/>
                  <a:gd name="T37" fmla="*/ 18 h 38"/>
                  <a:gd name="T38" fmla="*/ 55 w 94"/>
                  <a:gd name="T39" fmla="*/ 17 h 38"/>
                  <a:gd name="T40" fmla="*/ 45 w 94"/>
                  <a:gd name="T41" fmla="*/ 18 h 38"/>
                  <a:gd name="T42" fmla="*/ 41 w 94"/>
                  <a:gd name="T43" fmla="*/ 18 h 38"/>
                  <a:gd name="T44" fmla="*/ 41 w 94"/>
                  <a:gd name="T45" fmla="*/ 19 h 38"/>
                  <a:gd name="T46" fmla="*/ 41 w 94"/>
                  <a:gd name="T47" fmla="*/ 20 h 38"/>
                  <a:gd name="T48" fmla="*/ 41 w 94"/>
                  <a:gd name="T49" fmla="*/ 20 h 38"/>
                  <a:gd name="T50" fmla="*/ 42 w 94"/>
                  <a:gd name="T51" fmla="*/ 20 h 38"/>
                  <a:gd name="T52" fmla="*/ 47 w 94"/>
                  <a:gd name="T53" fmla="*/ 19 h 38"/>
                  <a:gd name="T54" fmla="*/ 58 w 94"/>
                  <a:gd name="T55" fmla="*/ 19 h 38"/>
                  <a:gd name="T56" fmla="*/ 70 w 94"/>
                  <a:gd name="T57" fmla="*/ 15 h 38"/>
                  <a:gd name="T58" fmla="*/ 68 w 94"/>
                  <a:gd name="T59" fmla="*/ 12 h 38"/>
                  <a:gd name="T60" fmla="*/ 85 w 94"/>
                  <a:gd name="T61" fmla="*/ 0 h 38"/>
                  <a:gd name="T62" fmla="*/ 90 w 94"/>
                  <a:gd name="T6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38">
                    <a:moveTo>
                      <a:pt x="94" y="3"/>
                    </a:moveTo>
                    <a:cubicBezTo>
                      <a:pt x="94" y="6"/>
                      <a:pt x="82" y="18"/>
                      <a:pt x="79" y="20"/>
                    </a:cubicBezTo>
                    <a:cubicBezTo>
                      <a:pt x="76" y="22"/>
                      <a:pt x="61" y="30"/>
                      <a:pt x="61" y="30"/>
                    </a:cubicBezTo>
                    <a:cubicBezTo>
                      <a:pt x="61" y="30"/>
                      <a:pt x="58" y="32"/>
                      <a:pt x="55" y="32"/>
                    </a:cubicBezTo>
                    <a:cubicBezTo>
                      <a:pt x="52" y="32"/>
                      <a:pt x="41" y="29"/>
                      <a:pt x="41" y="29"/>
                    </a:cubicBezTo>
                    <a:cubicBezTo>
                      <a:pt x="41" y="29"/>
                      <a:pt x="32" y="27"/>
                      <a:pt x="28" y="27"/>
                    </a:cubicBezTo>
                    <a:cubicBezTo>
                      <a:pt x="24" y="27"/>
                      <a:pt x="17" y="30"/>
                      <a:pt x="15" y="31"/>
                    </a:cubicBezTo>
                    <a:cubicBezTo>
                      <a:pt x="12" y="33"/>
                      <a:pt x="6" y="38"/>
                      <a:pt x="6" y="38"/>
                    </a:cubicBezTo>
                    <a:cubicBezTo>
                      <a:pt x="2" y="30"/>
                      <a:pt x="2" y="30"/>
                      <a:pt x="2" y="30"/>
                    </a:cubicBezTo>
                    <a:cubicBezTo>
                      <a:pt x="2" y="29"/>
                      <a:pt x="2" y="29"/>
                      <a:pt x="2" y="29"/>
                    </a:cubicBezTo>
                    <a:cubicBezTo>
                      <a:pt x="0" y="25"/>
                      <a:pt x="1" y="20"/>
                      <a:pt x="5" y="18"/>
                    </a:cubicBezTo>
                    <a:cubicBezTo>
                      <a:pt x="5" y="18"/>
                      <a:pt x="5" y="18"/>
                      <a:pt x="5" y="18"/>
                    </a:cubicBezTo>
                    <a:cubicBezTo>
                      <a:pt x="15" y="13"/>
                      <a:pt x="15" y="13"/>
                      <a:pt x="15" y="13"/>
                    </a:cubicBezTo>
                    <a:cubicBezTo>
                      <a:pt x="20" y="8"/>
                      <a:pt x="20" y="8"/>
                      <a:pt x="20" y="8"/>
                    </a:cubicBezTo>
                    <a:cubicBezTo>
                      <a:pt x="25" y="4"/>
                      <a:pt x="28" y="4"/>
                      <a:pt x="31" y="4"/>
                    </a:cubicBezTo>
                    <a:cubicBezTo>
                      <a:pt x="33" y="4"/>
                      <a:pt x="35" y="4"/>
                      <a:pt x="37" y="4"/>
                    </a:cubicBezTo>
                    <a:cubicBezTo>
                      <a:pt x="37" y="4"/>
                      <a:pt x="37" y="4"/>
                      <a:pt x="37" y="4"/>
                    </a:cubicBezTo>
                    <a:cubicBezTo>
                      <a:pt x="38" y="4"/>
                      <a:pt x="38" y="5"/>
                      <a:pt x="39" y="5"/>
                    </a:cubicBezTo>
                    <a:cubicBezTo>
                      <a:pt x="40" y="5"/>
                      <a:pt x="40" y="5"/>
                      <a:pt x="41" y="6"/>
                    </a:cubicBezTo>
                    <a:cubicBezTo>
                      <a:pt x="41" y="6"/>
                      <a:pt x="41" y="6"/>
                      <a:pt x="41" y="6"/>
                    </a:cubicBezTo>
                    <a:cubicBezTo>
                      <a:pt x="42" y="6"/>
                      <a:pt x="42" y="6"/>
                      <a:pt x="42" y="6"/>
                    </a:cubicBezTo>
                    <a:cubicBezTo>
                      <a:pt x="42" y="6"/>
                      <a:pt x="42" y="6"/>
                      <a:pt x="42" y="6"/>
                    </a:cubicBezTo>
                    <a:cubicBezTo>
                      <a:pt x="43" y="6"/>
                      <a:pt x="43" y="6"/>
                      <a:pt x="43" y="6"/>
                    </a:cubicBezTo>
                    <a:cubicBezTo>
                      <a:pt x="44" y="6"/>
                      <a:pt x="44" y="6"/>
                      <a:pt x="44" y="6"/>
                    </a:cubicBezTo>
                    <a:cubicBezTo>
                      <a:pt x="45" y="7"/>
                      <a:pt x="45" y="7"/>
                      <a:pt x="45" y="7"/>
                    </a:cubicBezTo>
                    <a:cubicBezTo>
                      <a:pt x="54" y="9"/>
                      <a:pt x="54" y="9"/>
                      <a:pt x="54" y="9"/>
                    </a:cubicBezTo>
                    <a:cubicBezTo>
                      <a:pt x="56" y="10"/>
                      <a:pt x="56" y="10"/>
                      <a:pt x="56" y="10"/>
                    </a:cubicBezTo>
                    <a:cubicBezTo>
                      <a:pt x="58" y="10"/>
                      <a:pt x="58" y="10"/>
                      <a:pt x="58" y="10"/>
                    </a:cubicBezTo>
                    <a:cubicBezTo>
                      <a:pt x="59" y="11"/>
                      <a:pt x="59" y="11"/>
                      <a:pt x="59" y="11"/>
                    </a:cubicBezTo>
                    <a:cubicBezTo>
                      <a:pt x="61" y="11"/>
                      <a:pt x="61" y="11"/>
                      <a:pt x="61" y="11"/>
                    </a:cubicBezTo>
                    <a:cubicBezTo>
                      <a:pt x="62" y="11"/>
                      <a:pt x="63" y="12"/>
                      <a:pt x="64" y="12"/>
                    </a:cubicBezTo>
                    <a:cubicBezTo>
                      <a:pt x="64" y="12"/>
                      <a:pt x="65" y="12"/>
                      <a:pt x="65" y="12"/>
                    </a:cubicBezTo>
                    <a:cubicBezTo>
                      <a:pt x="66" y="12"/>
                      <a:pt x="68" y="13"/>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7"/>
                      <a:pt x="66" y="18"/>
                      <a:pt x="65" y="18"/>
                    </a:cubicBezTo>
                    <a:cubicBezTo>
                      <a:pt x="63" y="18"/>
                      <a:pt x="61" y="18"/>
                      <a:pt x="59" y="17"/>
                    </a:cubicBezTo>
                    <a:cubicBezTo>
                      <a:pt x="58" y="17"/>
                      <a:pt x="57" y="17"/>
                      <a:pt x="55" y="17"/>
                    </a:cubicBezTo>
                    <a:cubicBezTo>
                      <a:pt x="53" y="17"/>
                      <a:pt x="50" y="17"/>
                      <a:pt x="47" y="18"/>
                    </a:cubicBezTo>
                    <a:cubicBezTo>
                      <a:pt x="46" y="18"/>
                      <a:pt x="45" y="18"/>
                      <a:pt x="45" y="18"/>
                    </a:cubicBezTo>
                    <a:cubicBezTo>
                      <a:pt x="44" y="18"/>
                      <a:pt x="43" y="18"/>
                      <a:pt x="42" y="18"/>
                    </a:cubicBezTo>
                    <a:cubicBezTo>
                      <a:pt x="42" y="18"/>
                      <a:pt x="41" y="18"/>
                      <a:pt x="41" y="18"/>
                    </a:cubicBezTo>
                    <a:cubicBezTo>
                      <a:pt x="41" y="18"/>
                      <a:pt x="41" y="18"/>
                      <a:pt x="41" y="18"/>
                    </a:cubicBezTo>
                    <a:cubicBezTo>
                      <a:pt x="41" y="18"/>
                      <a:pt x="41" y="19"/>
                      <a:pt x="41" y="19"/>
                    </a:cubicBezTo>
                    <a:cubicBezTo>
                      <a:pt x="41" y="19"/>
                      <a:pt x="41" y="20"/>
                      <a:pt x="41" y="20"/>
                    </a:cubicBezTo>
                    <a:cubicBezTo>
                      <a:pt x="41" y="20"/>
                      <a:pt x="41" y="20"/>
                      <a:pt x="41" y="20"/>
                    </a:cubicBezTo>
                    <a:cubicBezTo>
                      <a:pt x="41" y="20"/>
                      <a:pt x="41" y="20"/>
                      <a:pt x="41" y="20"/>
                    </a:cubicBezTo>
                    <a:cubicBezTo>
                      <a:pt x="41" y="20"/>
                      <a:pt x="41" y="20"/>
                      <a:pt x="41" y="20"/>
                    </a:cubicBezTo>
                    <a:cubicBezTo>
                      <a:pt x="41" y="20"/>
                      <a:pt x="41" y="20"/>
                      <a:pt x="41" y="20"/>
                    </a:cubicBezTo>
                    <a:cubicBezTo>
                      <a:pt x="42" y="20"/>
                      <a:pt x="42" y="20"/>
                      <a:pt x="42" y="20"/>
                    </a:cubicBezTo>
                    <a:cubicBezTo>
                      <a:pt x="43" y="20"/>
                      <a:pt x="44" y="19"/>
                      <a:pt x="45" y="19"/>
                    </a:cubicBezTo>
                    <a:cubicBezTo>
                      <a:pt x="46" y="19"/>
                      <a:pt x="46" y="19"/>
                      <a:pt x="47" y="19"/>
                    </a:cubicBezTo>
                    <a:cubicBezTo>
                      <a:pt x="50" y="18"/>
                      <a:pt x="53" y="18"/>
                      <a:pt x="55" y="18"/>
                    </a:cubicBezTo>
                    <a:cubicBezTo>
                      <a:pt x="56" y="19"/>
                      <a:pt x="58" y="19"/>
                      <a:pt x="58" y="19"/>
                    </a:cubicBezTo>
                    <a:cubicBezTo>
                      <a:pt x="61" y="19"/>
                      <a:pt x="63" y="19"/>
                      <a:pt x="65" y="19"/>
                    </a:cubicBezTo>
                    <a:cubicBezTo>
                      <a:pt x="68" y="19"/>
                      <a:pt x="70" y="17"/>
                      <a:pt x="70" y="15"/>
                    </a:cubicBezTo>
                    <a:cubicBezTo>
                      <a:pt x="70" y="15"/>
                      <a:pt x="70" y="14"/>
                      <a:pt x="70" y="14"/>
                    </a:cubicBezTo>
                    <a:cubicBezTo>
                      <a:pt x="70" y="13"/>
                      <a:pt x="69" y="13"/>
                      <a:pt x="68" y="12"/>
                    </a:cubicBezTo>
                    <a:cubicBezTo>
                      <a:pt x="72" y="11"/>
                      <a:pt x="81" y="3"/>
                      <a:pt x="83" y="2"/>
                    </a:cubicBezTo>
                    <a:cubicBezTo>
                      <a:pt x="84" y="2"/>
                      <a:pt x="84" y="1"/>
                      <a:pt x="85" y="0"/>
                    </a:cubicBezTo>
                    <a:cubicBezTo>
                      <a:pt x="85" y="0"/>
                      <a:pt x="85" y="0"/>
                      <a:pt x="85" y="0"/>
                    </a:cubicBezTo>
                    <a:cubicBezTo>
                      <a:pt x="86" y="0"/>
                      <a:pt x="88" y="0"/>
                      <a:pt x="90" y="0"/>
                    </a:cubicBezTo>
                    <a:cubicBezTo>
                      <a:pt x="91" y="1"/>
                      <a:pt x="94" y="1"/>
                      <a:pt x="94" y="3"/>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54">
                <a:extLst>
                  <a:ext uri="{FF2B5EF4-FFF2-40B4-BE49-F238E27FC236}">
                    <a16:creationId xmlns:a16="http://schemas.microsoft.com/office/drawing/2014/main" id="{45CD03F9-79DB-40C2-AD5D-30764C57BD1A}"/>
                  </a:ext>
                </a:extLst>
              </p:cNvPr>
              <p:cNvSpPr>
                <a:spLocks/>
              </p:cNvSpPr>
              <p:nvPr/>
            </p:nvSpPr>
            <p:spPr bwMode="auto">
              <a:xfrm>
                <a:off x="10174288" y="4129088"/>
                <a:ext cx="22225" cy="41275"/>
              </a:xfrm>
              <a:custGeom>
                <a:avLst/>
                <a:gdLst>
                  <a:gd name="T0" fmla="*/ 3 w 6"/>
                  <a:gd name="T1" fmla="*/ 9 h 11"/>
                  <a:gd name="T2" fmla="*/ 1 w 6"/>
                  <a:gd name="T3" fmla="*/ 9 h 11"/>
                  <a:gd name="T4" fmla="*/ 0 w 6"/>
                  <a:gd name="T5" fmla="*/ 8 h 11"/>
                  <a:gd name="T6" fmla="*/ 1 w 6"/>
                  <a:gd name="T7" fmla="*/ 7 h 11"/>
                  <a:gd name="T8" fmla="*/ 2 w 6"/>
                  <a:gd name="T9" fmla="*/ 7 h 11"/>
                  <a:gd name="T10" fmla="*/ 3 w 6"/>
                  <a:gd name="T11" fmla="*/ 8 h 11"/>
                  <a:gd name="T12" fmla="*/ 4 w 6"/>
                  <a:gd name="T13" fmla="*/ 7 h 11"/>
                  <a:gd name="T14" fmla="*/ 5 w 6"/>
                  <a:gd name="T15" fmla="*/ 7 h 11"/>
                  <a:gd name="T16" fmla="*/ 4 w 6"/>
                  <a:gd name="T17" fmla="*/ 6 h 11"/>
                  <a:gd name="T18" fmla="*/ 4 w 6"/>
                  <a:gd name="T19" fmla="*/ 6 h 11"/>
                  <a:gd name="T20" fmla="*/ 4 w 6"/>
                  <a:gd name="T21" fmla="*/ 6 h 11"/>
                  <a:gd name="T22" fmla="*/ 3 w 6"/>
                  <a:gd name="T23" fmla="*/ 6 h 11"/>
                  <a:gd name="T24" fmla="*/ 2 w 6"/>
                  <a:gd name="T25" fmla="*/ 5 h 11"/>
                  <a:gd name="T26" fmla="*/ 1 w 6"/>
                  <a:gd name="T27" fmla="*/ 5 h 11"/>
                  <a:gd name="T28" fmla="*/ 1 w 6"/>
                  <a:gd name="T29" fmla="*/ 4 h 11"/>
                  <a:gd name="T30" fmla="*/ 1 w 6"/>
                  <a:gd name="T31" fmla="*/ 3 h 11"/>
                  <a:gd name="T32" fmla="*/ 1 w 6"/>
                  <a:gd name="T33" fmla="*/ 2 h 11"/>
                  <a:gd name="T34" fmla="*/ 1 w 6"/>
                  <a:gd name="T35" fmla="*/ 2 h 11"/>
                  <a:gd name="T36" fmla="*/ 2 w 6"/>
                  <a:gd name="T37" fmla="*/ 1 h 11"/>
                  <a:gd name="T38" fmla="*/ 3 w 6"/>
                  <a:gd name="T39" fmla="*/ 1 h 11"/>
                  <a:gd name="T40" fmla="*/ 3 w 6"/>
                  <a:gd name="T41" fmla="*/ 0 h 11"/>
                  <a:gd name="T42" fmla="*/ 4 w 6"/>
                  <a:gd name="T43" fmla="*/ 0 h 11"/>
                  <a:gd name="T44" fmla="*/ 4 w 6"/>
                  <a:gd name="T45" fmla="*/ 1 h 11"/>
                  <a:gd name="T46" fmla="*/ 5 w 6"/>
                  <a:gd name="T47" fmla="*/ 1 h 11"/>
                  <a:gd name="T48" fmla="*/ 6 w 6"/>
                  <a:gd name="T49" fmla="*/ 1 h 11"/>
                  <a:gd name="T50" fmla="*/ 6 w 6"/>
                  <a:gd name="T51" fmla="*/ 3 h 11"/>
                  <a:gd name="T52" fmla="*/ 5 w 6"/>
                  <a:gd name="T53" fmla="*/ 2 h 11"/>
                  <a:gd name="T54" fmla="*/ 4 w 6"/>
                  <a:gd name="T55" fmla="*/ 2 h 11"/>
                  <a:gd name="T56" fmla="*/ 3 w 6"/>
                  <a:gd name="T57" fmla="*/ 3 h 11"/>
                  <a:gd name="T58" fmla="*/ 2 w 6"/>
                  <a:gd name="T59" fmla="*/ 3 h 11"/>
                  <a:gd name="T60" fmla="*/ 3 w 6"/>
                  <a:gd name="T61" fmla="*/ 3 h 11"/>
                  <a:gd name="T62" fmla="*/ 3 w 6"/>
                  <a:gd name="T63" fmla="*/ 4 h 11"/>
                  <a:gd name="T64" fmla="*/ 3 w 6"/>
                  <a:gd name="T65" fmla="*/ 4 h 11"/>
                  <a:gd name="T66" fmla="*/ 4 w 6"/>
                  <a:gd name="T67" fmla="*/ 4 h 11"/>
                  <a:gd name="T68" fmla="*/ 5 w 6"/>
                  <a:gd name="T69" fmla="*/ 5 h 11"/>
                  <a:gd name="T70" fmla="*/ 6 w 6"/>
                  <a:gd name="T71" fmla="*/ 5 h 11"/>
                  <a:gd name="T72" fmla="*/ 6 w 6"/>
                  <a:gd name="T73" fmla="*/ 6 h 11"/>
                  <a:gd name="T74" fmla="*/ 6 w 6"/>
                  <a:gd name="T75" fmla="*/ 7 h 11"/>
                  <a:gd name="T76" fmla="*/ 6 w 6"/>
                  <a:gd name="T77" fmla="*/ 8 h 11"/>
                  <a:gd name="T78" fmla="*/ 6 w 6"/>
                  <a:gd name="T79" fmla="*/ 8 h 11"/>
                  <a:gd name="T80" fmla="*/ 5 w 6"/>
                  <a:gd name="T81" fmla="*/ 9 h 11"/>
                  <a:gd name="T82" fmla="*/ 4 w 6"/>
                  <a:gd name="T83" fmla="*/ 9 h 11"/>
                  <a:gd name="T84" fmla="*/ 4 w 6"/>
                  <a:gd name="T85" fmla="*/ 11 h 11"/>
                  <a:gd name="T86" fmla="*/ 3 w 6"/>
                  <a:gd name="T87" fmla="*/ 11 h 11"/>
                  <a:gd name="T88" fmla="*/ 3 w 6"/>
                  <a:gd name="T8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11">
                    <a:moveTo>
                      <a:pt x="3" y="9"/>
                    </a:moveTo>
                    <a:cubicBezTo>
                      <a:pt x="2" y="9"/>
                      <a:pt x="2" y="9"/>
                      <a:pt x="1" y="9"/>
                    </a:cubicBezTo>
                    <a:cubicBezTo>
                      <a:pt x="1" y="9"/>
                      <a:pt x="1" y="9"/>
                      <a:pt x="0" y="8"/>
                    </a:cubicBezTo>
                    <a:cubicBezTo>
                      <a:pt x="1" y="7"/>
                      <a:pt x="1" y="7"/>
                      <a:pt x="1" y="7"/>
                    </a:cubicBezTo>
                    <a:cubicBezTo>
                      <a:pt x="1" y="7"/>
                      <a:pt x="2" y="7"/>
                      <a:pt x="2" y="7"/>
                    </a:cubicBezTo>
                    <a:cubicBezTo>
                      <a:pt x="2" y="8"/>
                      <a:pt x="3" y="8"/>
                      <a:pt x="3" y="8"/>
                    </a:cubicBezTo>
                    <a:cubicBezTo>
                      <a:pt x="4" y="8"/>
                      <a:pt x="4" y="8"/>
                      <a:pt x="4" y="7"/>
                    </a:cubicBezTo>
                    <a:cubicBezTo>
                      <a:pt x="4" y="7"/>
                      <a:pt x="5" y="7"/>
                      <a:pt x="5" y="7"/>
                    </a:cubicBezTo>
                    <a:cubicBezTo>
                      <a:pt x="5" y="7"/>
                      <a:pt x="4" y="7"/>
                      <a:pt x="4" y="6"/>
                    </a:cubicBezTo>
                    <a:cubicBezTo>
                      <a:pt x="4" y="6"/>
                      <a:pt x="4" y="6"/>
                      <a:pt x="4" y="6"/>
                    </a:cubicBezTo>
                    <a:cubicBezTo>
                      <a:pt x="4" y="6"/>
                      <a:pt x="4" y="6"/>
                      <a:pt x="4" y="6"/>
                    </a:cubicBezTo>
                    <a:cubicBezTo>
                      <a:pt x="3" y="6"/>
                      <a:pt x="3" y="6"/>
                      <a:pt x="3" y="6"/>
                    </a:cubicBezTo>
                    <a:cubicBezTo>
                      <a:pt x="3" y="5"/>
                      <a:pt x="2" y="5"/>
                      <a:pt x="2" y="5"/>
                    </a:cubicBezTo>
                    <a:cubicBezTo>
                      <a:pt x="2" y="5"/>
                      <a:pt x="1" y="5"/>
                      <a:pt x="1" y="5"/>
                    </a:cubicBezTo>
                    <a:cubicBezTo>
                      <a:pt x="1" y="5"/>
                      <a:pt x="1" y="4"/>
                      <a:pt x="1" y="4"/>
                    </a:cubicBezTo>
                    <a:cubicBezTo>
                      <a:pt x="1" y="4"/>
                      <a:pt x="1" y="4"/>
                      <a:pt x="1" y="3"/>
                    </a:cubicBezTo>
                    <a:cubicBezTo>
                      <a:pt x="1" y="3"/>
                      <a:pt x="1" y="3"/>
                      <a:pt x="1" y="2"/>
                    </a:cubicBezTo>
                    <a:cubicBezTo>
                      <a:pt x="1" y="2"/>
                      <a:pt x="1" y="2"/>
                      <a:pt x="1" y="2"/>
                    </a:cubicBezTo>
                    <a:cubicBezTo>
                      <a:pt x="1" y="2"/>
                      <a:pt x="1" y="1"/>
                      <a:pt x="2" y="1"/>
                    </a:cubicBezTo>
                    <a:cubicBezTo>
                      <a:pt x="2" y="1"/>
                      <a:pt x="2" y="1"/>
                      <a:pt x="3" y="1"/>
                    </a:cubicBezTo>
                    <a:cubicBezTo>
                      <a:pt x="3" y="0"/>
                      <a:pt x="3" y="0"/>
                      <a:pt x="3" y="0"/>
                    </a:cubicBezTo>
                    <a:cubicBezTo>
                      <a:pt x="4" y="0"/>
                      <a:pt x="4" y="0"/>
                      <a:pt x="4" y="0"/>
                    </a:cubicBezTo>
                    <a:cubicBezTo>
                      <a:pt x="4" y="1"/>
                      <a:pt x="4" y="1"/>
                      <a:pt x="4" y="1"/>
                    </a:cubicBezTo>
                    <a:cubicBezTo>
                      <a:pt x="5" y="1"/>
                      <a:pt x="5" y="1"/>
                      <a:pt x="5" y="1"/>
                    </a:cubicBezTo>
                    <a:cubicBezTo>
                      <a:pt x="6" y="1"/>
                      <a:pt x="6" y="1"/>
                      <a:pt x="6" y="1"/>
                    </a:cubicBezTo>
                    <a:cubicBezTo>
                      <a:pt x="6" y="3"/>
                      <a:pt x="6" y="3"/>
                      <a:pt x="6" y="3"/>
                    </a:cubicBezTo>
                    <a:cubicBezTo>
                      <a:pt x="5" y="3"/>
                      <a:pt x="5" y="3"/>
                      <a:pt x="5" y="2"/>
                    </a:cubicBezTo>
                    <a:cubicBezTo>
                      <a:pt x="4" y="2"/>
                      <a:pt x="4" y="2"/>
                      <a:pt x="4" y="2"/>
                    </a:cubicBezTo>
                    <a:cubicBezTo>
                      <a:pt x="3" y="2"/>
                      <a:pt x="3" y="2"/>
                      <a:pt x="3" y="3"/>
                    </a:cubicBezTo>
                    <a:cubicBezTo>
                      <a:pt x="3" y="3"/>
                      <a:pt x="2" y="3"/>
                      <a:pt x="2" y="3"/>
                    </a:cubicBezTo>
                    <a:cubicBezTo>
                      <a:pt x="2" y="3"/>
                      <a:pt x="3" y="3"/>
                      <a:pt x="3" y="3"/>
                    </a:cubicBezTo>
                    <a:cubicBezTo>
                      <a:pt x="3" y="4"/>
                      <a:pt x="3" y="4"/>
                      <a:pt x="3" y="4"/>
                    </a:cubicBezTo>
                    <a:cubicBezTo>
                      <a:pt x="3" y="4"/>
                      <a:pt x="3" y="4"/>
                      <a:pt x="3" y="4"/>
                    </a:cubicBezTo>
                    <a:cubicBezTo>
                      <a:pt x="3" y="4"/>
                      <a:pt x="4" y="4"/>
                      <a:pt x="4" y="4"/>
                    </a:cubicBezTo>
                    <a:cubicBezTo>
                      <a:pt x="4" y="4"/>
                      <a:pt x="5" y="4"/>
                      <a:pt x="5" y="5"/>
                    </a:cubicBezTo>
                    <a:cubicBezTo>
                      <a:pt x="5" y="5"/>
                      <a:pt x="5" y="5"/>
                      <a:pt x="6" y="5"/>
                    </a:cubicBezTo>
                    <a:cubicBezTo>
                      <a:pt x="6" y="5"/>
                      <a:pt x="6" y="6"/>
                      <a:pt x="6" y="6"/>
                    </a:cubicBezTo>
                    <a:cubicBezTo>
                      <a:pt x="6" y="6"/>
                      <a:pt x="6" y="6"/>
                      <a:pt x="6" y="7"/>
                    </a:cubicBezTo>
                    <a:cubicBezTo>
                      <a:pt x="6" y="7"/>
                      <a:pt x="6" y="7"/>
                      <a:pt x="6" y="8"/>
                    </a:cubicBezTo>
                    <a:cubicBezTo>
                      <a:pt x="6" y="8"/>
                      <a:pt x="6" y="8"/>
                      <a:pt x="6" y="8"/>
                    </a:cubicBezTo>
                    <a:cubicBezTo>
                      <a:pt x="6" y="8"/>
                      <a:pt x="6" y="9"/>
                      <a:pt x="5" y="9"/>
                    </a:cubicBezTo>
                    <a:cubicBezTo>
                      <a:pt x="5" y="9"/>
                      <a:pt x="5" y="9"/>
                      <a:pt x="4" y="9"/>
                    </a:cubicBezTo>
                    <a:cubicBezTo>
                      <a:pt x="4" y="11"/>
                      <a:pt x="4" y="11"/>
                      <a:pt x="4" y="11"/>
                    </a:cubicBezTo>
                    <a:cubicBezTo>
                      <a:pt x="3" y="11"/>
                      <a:pt x="3" y="11"/>
                      <a:pt x="3" y="11"/>
                    </a:cubicBezTo>
                    <a:lnTo>
                      <a:pt x="3" y="9"/>
                    </a:lnTo>
                    <a:close/>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2" name="Group 211">
              <a:extLst>
                <a:ext uri="{FF2B5EF4-FFF2-40B4-BE49-F238E27FC236}">
                  <a16:creationId xmlns:a16="http://schemas.microsoft.com/office/drawing/2014/main" id="{64A5FA76-B0D7-4FF3-A541-294508EFF112}"/>
                </a:ext>
              </a:extLst>
            </p:cNvPr>
            <p:cNvGrpSpPr/>
            <p:nvPr/>
          </p:nvGrpSpPr>
          <p:grpSpPr>
            <a:xfrm>
              <a:off x="7963923" y="1961805"/>
              <a:ext cx="259473" cy="208220"/>
              <a:chOff x="3250005" y="5357826"/>
              <a:chExt cx="290809" cy="266742"/>
            </a:xfrm>
          </p:grpSpPr>
          <p:sp>
            <p:nvSpPr>
              <p:cNvPr id="213" name="Freeform 250">
                <a:extLst>
                  <a:ext uri="{FF2B5EF4-FFF2-40B4-BE49-F238E27FC236}">
                    <a16:creationId xmlns:a16="http://schemas.microsoft.com/office/drawing/2014/main" id="{C074671A-DFC5-4E49-80DB-76A984DE8B7A}"/>
                  </a:ext>
                </a:extLst>
              </p:cNvPr>
              <p:cNvSpPr>
                <a:spLocks/>
              </p:cNvSpPr>
              <p:nvPr/>
            </p:nvSpPr>
            <p:spPr bwMode="auto">
              <a:xfrm>
                <a:off x="3250005" y="5357826"/>
                <a:ext cx="290809" cy="134373"/>
              </a:xfrm>
              <a:custGeom>
                <a:avLst/>
                <a:gdLst>
                  <a:gd name="T0" fmla="*/ 28 w 168"/>
                  <a:gd name="T1" fmla="*/ 47 h 78"/>
                  <a:gd name="T2" fmla="*/ 168 w 168"/>
                  <a:gd name="T3" fmla="*/ 47 h 78"/>
                  <a:gd name="T4" fmla="*/ 140 w 168"/>
                  <a:gd name="T5" fmla="*/ 19 h 78"/>
                  <a:gd name="T6" fmla="*/ 73 w 168"/>
                  <a:gd name="T7" fmla="*/ 18 h 78"/>
                  <a:gd name="T8" fmla="*/ 48 w 168"/>
                  <a:gd name="T9" fmla="*/ 0 h 78"/>
                  <a:gd name="T10" fmla="*/ 0 w 168"/>
                  <a:gd name="T11" fmla="*/ 0 h 78"/>
                  <a:gd name="T12" fmla="*/ 0 w 168"/>
                  <a:gd name="T13" fmla="*/ 18 h 78"/>
                  <a:gd name="T14" fmla="*/ 0 w 168"/>
                  <a:gd name="T15" fmla="*/ 18 h 78"/>
                  <a:gd name="T16" fmla="*/ 0 w 168"/>
                  <a:gd name="T17" fmla="*/ 78 h 78"/>
                  <a:gd name="T18" fmla="*/ 28 w 168"/>
                  <a:gd name="T19"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28" y="47"/>
                    </a:moveTo>
                    <a:cubicBezTo>
                      <a:pt x="50" y="45"/>
                      <a:pt x="162" y="47"/>
                      <a:pt x="168" y="47"/>
                    </a:cubicBezTo>
                    <a:cubicBezTo>
                      <a:pt x="167" y="23"/>
                      <a:pt x="159" y="20"/>
                      <a:pt x="140" y="19"/>
                    </a:cubicBezTo>
                    <a:cubicBezTo>
                      <a:pt x="130" y="18"/>
                      <a:pt x="102" y="17"/>
                      <a:pt x="73" y="18"/>
                    </a:cubicBezTo>
                    <a:cubicBezTo>
                      <a:pt x="67" y="12"/>
                      <a:pt x="56" y="0"/>
                      <a:pt x="48" y="0"/>
                    </a:cubicBezTo>
                    <a:cubicBezTo>
                      <a:pt x="0" y="0"/>
                      <a:pt x="0" y="0"/>
                      <a:pt x="0" y="0"/>
                    </a:cubicBezTo>
                    <a:cubicBezTo>
                      <a:pt x="0" y="0"/>
                      <a:pt x="0" y="11"/>
                      <a:pt x="0" y="18"/>
                    </a:cubicBezTo>
                    <a:cubicBezTo>
                      <a:pt x="0" y="18"/>
                      <a:pt x="0" y="18"/>
                      <a:pt x="0" y="18"/>
                    </a:cubicBezTo>
                    <a:cubicBezTo>
                      <a:pt x="0" y="30"/>
                      <a:pt x="0" y="56"/>
                      <a:pt x="0" y="78"/>
                    </a:cubicBezTo>
                    <a:cubicBezTo>
                      <a:pt x="0" y="52"/>
                      <a:pt x="8" y="49"/>
                      <a:pt x="28"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59">
                <a:extLst>
                  <a:ext uri="{FF2B5EF4-FFF2-40B4-BE49-F238E27FC236}">
                    <a16:creationId xmlns:a16="http://schemas.microsoft.com/office/drawing/2014/main" id="{C49F8AF7-F68D-4DB2-AF60-BA9B22EF5A34}"/>
                  </a:ext>
                </a:extLst>
              </p:cNvPr>
              <p:cNvSpPr>
                <a:spLocks/>
              </p:cNvSpPr>
              <p:nvPr/>
            </p:nvSpPr>
            <p:spPr bwMode="auto">
              <a:xfrm>
                <a:off x="3250005" y="5436044"/>
                <a:ext cx="290809" cy="188524"/>
              </a:xfrm>
              <a:custGeom>
                <a:avLst/>
                <a:gdLst>
                  <a:gd name="T0" fmla="*/ 168 w 168"/>
                  <a:gd name="T1" fmla="*/ 89 h 109"/>
                  <a:gd name="T2" fmla="*/ 168 w 168"/>
                  <a:gd name="T3" fmla="*/ 75 h 109"/>
                  <a:gd name="T4" fmla="*/ 168 w 168"/>
                  <a:gd name="T5" fmla="*/ 17 h 109"/>
                  <a:gd name="T6" fmla="*/ 168 w 168"/>
                  <a:gd name="T7" fmla="*/ 2 h 109"/>
                  <a:gd name="T8" fmla="*/ 168 w 168"/>
                  <a:gd name="T9" fmla="*/ 2 h 109"/>
                  <a:gd name="T10" fmla="*/ 168 w 168"/>
                  <a:gd name="T11" fmla="*/ 2 h 109"/>
                  <a:gd name="T12" fmla="*/ 28 w 168"/>
                  <a:gd name="T13" fmla="*/ 2 h 109"/>
                  <a:gd name="T14" fmla="*/ 0 w 168"/>
                  <a:gd name="T15" fmla="*/ 33 h 109"/>
                  <a:gd name="T16" fmla="*/ 0 w 168"/>
                  <a:gd name="T17" fmla="*/ 33 h 109"/>
                  <a:gd name="T18" fmla="*/ 0 w 168"/>
                  <a:gd name="T19" fmla="*/ 35 h 109"/>
                  <a:gd name="T20" fmla="*/ 0 w 168"/>
                  <a:gd name="T21" fmla="*/ 80 h 109"/>
                  <a:gd name="T22" fmla="*/ 0 w 168"/>
                  <a:gd name="T23" fmla="*/ 83 h 109"/>
                  <a:gd name="T24" fmla="*/ 28 w 168"/>
                  <a:gd name="T25" fmla="*/ 108 h 109"/>
                  <a:gd name="T26" fmla="*/ 142 w 168"/>
                  <a:gd name="T27" fmla="*/ 108 h 109"/>
                  <a:gd name="T28" fmla="*/ 142 w 168"/>
                  <a:gd name="T29" fmla="*/ 108 h 109"/>
                  <a:gd name="T30" fmla="*/ 168 w 168"/>
                  <a:gd name="T31"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09">
                    <a:moveTo>
                      <a:pt x="168" y="89"/>
                    </a:moveTo>
                    <a:cubicBezTo>
                      <a:pt x="168" y="85"/>
                      <a:pt x="168" y="81"/>
                      <a:pt x="168" y="75"/>
                    </a:cubicBezTo>
                    <a:cubicBezTo>
                      <a:pt x="168" y="75"/>
                      <a:pt x="168" y="42"/>
                      <a:pt x="168" y="17"/>
                    </a:cubicBezTo>
                    <a:cubicBezTo>
                      <a:pt x="168" y="11"/>
                      <a:pt x="168" y="6"/>
                      <a:pt x="168" y="2"/>
                    </a:cubicBezTo>
                    <a:cubicBezTo>
                      <a:pt x="168" y="2"/>
                      <a:pt x="168" y="2"/>
                      <a:pt x="168" y="2"/>
                    </a:cubicBezTo>
                    <a:cubicBezTo>
                      <a:pt x="168" y="2"/>
                      <a:pt x="168" y="2"/>
                      <a:pt x="168" y="2"/>
                    </a:cubicBezTo>
                    <a:cubicBezTo>
                      <a:pt x="162" y="2"/>
                      <a:pt x="50" y="0"/>
                      <a:pt x="28" y="2"/>
                    </a:cubicBezTo>
                    <a:cubicBezTo>
                      <a:pt x="8" y="4"/>
                      <a:pt x="0" y="7"/>
                      <a:pt x="0" y="33"/>
                    </a:cubicBezTo>
                    <a:cubicBezTo>
                      <a:pt x="0" y="33"/>
                      <a:pt x="0" y="33"/>
                      <a:pt x="0" y="33"/>
                    </a:cubicBezTo>
                    <a:cubicBezTo>
                      <a:pt x="0" y="35"/>
                      <a:pt x="0" y="35"/>
                      <a:pt x="0" y="35"/>
                    </a:cubicBezTo>
                    <a:cubicBezTo>
                      <a:pt x="0" y="80"/>
                      <a:pt x="0" y="80"/>
                      <a:pt x="0" y="80"/>
                    </a:cubicBezTo>
                    <a:cubicBezTo>
                      <a:pt x="0" y="83"/>
                      <a:pt x="0" y="83"/>
                      <a:pt x="0" y="83"/>
                    </a:cubicBezTo>
                    <a:cubicBezTo>
                      <a:pt x="0" y="103"/>
                      <a:pt x="6" y="107"/>
                      <a:pt x="28" y="108"/>
                    </a:cubicBezTo>
                    <a:cubicBezTo>
                      <a:pt x="44" y="109"/>
                      <a:pt x="130" y="109"/>
                      <a:pt x="142" y="108"/>
                    </a:cubicBezTo>
                    <a:cubicBezTo>
                      <a:pt x="142" y="108"/>
                      <a:pt x="142" y="108"/>
                      <a:pt x="142" y="108"/>
                    </a:cubicBezTo>
                    <a:cubicBezTo>
                      <a:pt x="159" y="106"/>
                      <a:pt x="166" y="104"/>
                      <a:pt x="168"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 name="Groupe 720">
              <a:extLst>
                <a:ext uri="{FF2B5EF4-FFF2-40B4-BE49-F238E27FC236}">
                  <a16:creationId xmlns:a16="http://schemas.microsoft.com/office/drawing/2014/main" id="{E89CE507-93B2-4428-9601-8CFCE51EA37C}"/>
                </a:ext>
              </a:extLst>
            </p:cNvPr>
            <p:cNvGrpSpPr/>
            <p:nvPr/>
          </p:nvGrpSpPr>
          <p:grpSpPr>
            <a:xfrm>
              <a:off x="1855306" y="1940436"/>
              <a:ext cx="255420" cy="218343"/>
              <a:chOff x="6605636" y="2852739"/>
              <a:chExt cx="501606" cy="454130"/>
            </a:xfrm>
          </p:grpSpPr>
          <p:sp>
            <p:nvSpPr>
              <p:cNvPr id="216" name="Freeform 186">
                <a:extLst>
                  <a:ext uri="{FF2B5EF4-FFF2-40B4-BE49-F238E27FC236}">
                    <a16:creationId xmlns:a16="http://schemas.microsoft.com/office/drawing/2014/main" id="{64EFA4F2-1027-4E8C-AAD9-6B7375C2779A}"/>
                  </a:ext>
                </a:extLst>
              </p:cNvPr>
              <p:cNvSpPr>
                <a:spLocks/>
              </p:cNvSpPr>
              <p:nvPr/>
            </p:nvSpPr>
            <p:spPr bwMode="auto">
              <a:xfrm>
                <a:off x="6734179" y="2852739"/>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7">
                <a:extLst>
                  <a:ext uri="{FF2B5EF4-FFF2-40B4-BE49-F238E27FC236}">
                    <a16:creationId xmlns:a16="http://schemas.microsoft.com/office/drawing/2014/main" id="{3EE08446-BC7E-4606-B751-4A26D463DC90}"/>
                  </a:ext>
                </a:extLst>
              </p:cNvPr>
              <p:cNvSpPr>
                <a:spLocks/>
              </p:cNvSpPr>
              <p:nvPr/>
            </p:nvSpPr>
            <p:spPr bwMode="auto">
              <a:xfrm>
                <a:off x="6772323" y="2890865"/>
                <a:ext cx="293690" cy="295278"/>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8">
                <a:extLst>
                  <a:ext uri="{FF2B5EF4-FFF2-40B4-BE49-F238E27FC236}">
                    <a16:creationId xmlns:a16="http://schemas.microsoft.com/office/drawing/2014/main" id="{4BDCA9EC-EF50-4D00-B6FD-ADA262F777F6}"/>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89">
                <a:extLst>
                  <a:ext uri="{FF2B5EF4-FFF2-40B4-BE49-F238E27FC236}">
                    <a16:creationId xmlns:a16="http://schemas.microsoft.com/office/drawing/2014/main" id="{751A2AE9-9947-4ABE-A525-82E1DD9DE3E2}"/>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90">
                <a:extLst>
                  <a:ext uri="{FF2B5EF4-FFF2-40B4-BE49-F238E27FC236}">
                    <a16:creationId xmlns:a16="http://schemas.microsoft.com/office/drawing/2014/main" id="{0E07F28E-9C4A-412E-8751-0C2640E887F3}"/>
                  </a:ext>
                </a:extLst>
              </p:cNvPr>
              <p:cNvSpPr>
                <a:spLocks/>
              </p:cNvSpPr>
              <p:nvPr/>
            </p:nvSpPr>
            <p:spPr bwMode="auto">
              <a:xfrm>
                <a:off x="6946901" y="2890902"/>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91">
                <a:extLst>
                  <a:ext uri="{FF2B5EF4-FFF2-40B4-BE49-F238E27FC236}">
                    <a16:creationId xmlns:a16="http://schemas.microsoft.com/office/drawing/2014/main" id="{0EA19069-6390-4237-864F-C20A782A9317}"/>
                  </a:ext>
                </a:extLst>
              </p:cNvPr>
              <p:cNvSpPr>
                <a:spLocks/>
              </p:cNvSpPr>
              <p:nvPr/>
            </p:nvSpPr>
            <p:spPr bwMode="auto">
              <a:xfrm>
                <a:off x="6605636" y="3143354"/>
                <a:ext cx="169865" cy="163515"/>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 name="Groupe 167">
              <a:extLst>
                <a:ext uri="{FF2B5EF4-FFF2-40B4-BE49-F238E27FC236}">
                  <a16:creationId xmlns:a16="http://schemas.microsoft.com/office/drawing/2014/main" id="{E8D7A1D5-CFED-4B54-BE4C-0C0394F4CE03}"/>
                </a:ext>
              </a:extLst>
            </p:cNvPr>
            <p:cNvGrpSpPr/>
            <p:nvPr/>
          </p:nvGrpSpPr>
          <p:grpSpPr>
            <a:xfrm>
              <a:off x="3831465" y="1907179"/>
              <a:ext cx="364023" cy="304694"/>
              <a:chOff x="9494838" y="650875"/>
              <a:chExt cx="538163" cy="557213"/>
            </a:xfrm>
          </p:grpSpPr>
          <p:sp>
            <p:nvSpPr>
              <p:cNvPr id="223" name="Freeform 6">
                <a:extLst>
                  <a:ext uri="{FF2B5EF4-FFF2-40B4-BE49-F238E27FC236}">
                    <a16:creationId xmlns:a16="http://schemas.microsoft.com/office/drawing/2014/main" id="{7D690703-6EC4-440A-B650-34D7C83ECE86}"/>
                  </a:ext>
                </a:extLst>
              </p:cNvPr>
              <p:cNvSpPr>
                <a:spLocks/>
              </p:cNvSpPr>
              <p:nvPr/>
            </p:nvSpPr>
            <p:spPr bwMode="auto">
              <a:xfrm>
                <a:off x="9563101" y="820738"/>
                <a:ext cx="157163"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4" name="Freeform 7">
                <a:extLst>
                  <a:ext uri="{FF2B5EF4-FFF2-40B4-BE49-F238E27FC236}">
                    <a16:creationId xmlns:a16="http://schemas.microsoft.com/office/drawing/2014/main" id="{9A735C5F-9748-4461-A1AC-6A070B2757EC}"/>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5" name="Freeform 8">
                <a:extLst>
                  <a:ext uri="{FF2B5EF4-FFF2-40B4-BE49-F238E27FC236}">
                    <a16:creationId xmlns:a16="http://schemas.microsoft.com/office/drawing/2014/main" id="{2BA2D70A-96E8-484A-8BF9-099840697A5F}"/>
                  </a:ext>
                </a:extLst>
              </p:cNvPr>
              <p:cNvSpPr>
                <a:spLocks/>
              </p:cNvSpPr>
              <p:nvPr/>
            </p:nvSpPr>
            <p:spPr bwMode="auto">
              <a:xfrm>
                <a:off x="9807576" y="801688"/>
                <a:ext cx="157163"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9">
                <a:extLst>
                  <a:ext uri="{FF2B5EF4-FFF2-40B4-BE49-F238E27FC236}">
                    <a16:creationId xmlns:a16="http://schemas.microsoft.com/office/drawing/2014/main" id="{2C12FB72-86B1-4D46-9733-9F7CF1CA9430}"/>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7" name="Freeform 10">
                <a:extLst>
                  <a:ext uri="{FF2B5EF4-FFF2-40B4-BE49-F238E27FC236}">
                    <a16:creationId xmlns:a16="http://schemas.microsoft.com/office/drawing/2014/main" id="{AD25C8BB-4799-4B74-B078-82D8D7C9A32D}"/>
                  </a:ext>
                </a:extLst>
              </p:cNvPr>
              <p:cNvSpPr>
                <a:spLocks/>
              </p:cNvSpPr>
              <p:nvPr/>
            </p:nvSpPr>
            <p:spPr bwMode="auto">
              <a:xfrm>
                <a:off x="9645651" y="650875"/>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8" name="Freeform 11">
                <a:extLst>
                  <a:ext uri="{FF2B5EF4-FFF2-40B4-BE49-F238E27FC236}">
                    <a16:creationId xmlns:a16="http://schemas.microsoft.com/office/drawing/2014/main" id="{6DFE7912-D5F2-49F6-94B4-1F5334CB2B2E}"/>
                  </a:ext>
                </a:extLst>
              </p:cNvPr>
              <p:cNvSpPr>
                <a:spLocks/>
              </p:cNvSpPr>
              <p:nvPr/>
            </p:nvSpPr>
            <p:spPr bwMode="auto">
              <a:xfrm>
                <a:off x="9728201" y="650875"/>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229" name="Groupe 787">
              <a:extLst>
                <a:ext uri="{FF2B5EF4-FFF2-40B4-BE49-F238E27FC236}">
                  <a16:creationId xmlns:a16="http://schemas.microsoft.com/office/drawing/2014/main" id="{AF5D70B2-3FB1-46FB-9A9B-2AF5C229255F}"/>
                </a:ext>
              </a:extLst>
            </p:cNvPr>
            <p:cNvGrpSpPr/>
            <p:nvPr/>
          </p:nvGrpSpPr>
          <p:grpSpPr>
            <a:xfrm>
              <a:off x="2823774" y="1904427"/>
              <a:ext cx="322859" cy="315814"/>
              <a:chOff x="10512425" y="3481387"/>
              <a:chExt cx="514349" cy="533401"/>
            </a:xfrm>
            <a:solidFill>
              <a:schemeClr val="accent2">
                <a:lumMod val="50000"/>
              </a:schemeClr>
            </a:solidFill>
          </p:grpSpPr>
          <p:sp>
            <p:nvSpPr>
              <p:cNvPr id="230" name="Freeform 362">
                <a:extLst>
                  <a:ext uri="{FF2B5EF4-FFF2-40B4-BE49-F238E27FC236}">
                    <a16:creationId xmlns:a16="http://schemas.microsoft.com/office/drawing/2014/main" id="{807873AE-1908-4C68-8B04-0D5648A4260C}"/>
                  </a:ext>
                </a:extLst>
              </p:cNvPr>
              <p:cNvSpPr>
                <a:spLocks/>
              </p:cNvSpPr>
              <p:nvPr/>
            </p:nvSpPr>
            <p:spPr bwMode="auto">
              <a:xfrm>
                <a:off x="10961687" y="3695700"/>
                <a:ext cx="38100" cy="127000"/>
              </a:xfrm>
              <a:custGeom>
                <a:avLst/>
                <a:gdLst>
                  <a:gd name="T0" fmla="*/ 10 w 10"/>
                  <a:gd name="T1" fmla="*/ 2 h 34"/>
                  <a:gd name="T2" fmla="*/ 9 w 10"/>
                  <a:gd name="T3" fmla="*/ 10 h 34"/>
                  <a:gd name="T4" fmla="*/ 8 w 10"/>
                  <a:gd name="T5" fmla="*/ 18 h 34"/>
                  <a:gd name="T6" fmla="*/ 6 w 10"/>
                  <a:gd name="T7" fmla="*/ 26 h 34"/>
                  <a:gd name="T8" fmla="*/ 6 w 10"/>
                  <a:gd name="T9" fmla="*/ 26 h 34"/>
                  <a:gd name="T10" fmla="*/ 2 w 10"/>
                  <a:gd name="T11" fmla="*/ 33 h 34"/>
                  <a:gd name="T12" fmla="*/ 1 w 10"/>
                  <a:gd name="T13" fmla="*/ 34 h 34"/>
                  <a:gd name="T14" fmla="*/ 0 w 10"/>
                  <a:gd name="T15" fmla="*/ 32 h 34"/>
                  <a:gd name="T16" fmla="*/ 4 w 10"/>
                  <a:gd name="T17" fmla="*/ 25 h 34"/>
                  <a:gd name="T18" fmla="*/ 4 w 10"/>
                  <a:gd name="T19" fmla="*/ 25 h 34"/>
                  <a:gd name="T20" fmla="*/ 6 w 10"/>
                  <a:gd name="T21" fmla="*/ 18 h 34"/>
                  <a:gd name="T22" fmla="*/ 7 w 10"/>
                  <a:gd name="T23" fmla="*/ 10 h 34"/>
                  <a:gd name="T24" fmla="*/ 7 w 10"/>
                  <a:gd name="T25" fmla="*/ 1 h 34"/>
                  <a:gd name="T26" fmla="*/ 9 w 10"/>
                  <a:gd name="T27" fmla="*/ 0 h 34"/>
                  <a:gd name="T28" fmla="*/ 10 w 10"/>
                  <a:gd name="T2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4">
                    <a:moveTo>
                      <a:pt x="10" y="2"/>
                    </a:moveTo>
                    <a:cubicBezTo>
                      <a:pt x="9" y="10"/>
                      <a:pt x="9" y="10"/>
                      <a:pt x="9" y="10"/>
                    </a:cubicBezTo>
                    <a:cubicBezTo>
                      <a:pt x="8" y="18"/>
                      <a:pt x="8" y="18"/>
                      <a:pt x="8" y="18"/>
                    </a:cubicBezTo>
                    <a:cubicBezTo>
                      <a:pt x="6" y="26"/>
                      <a:pt x="6" y="26"/>
                      <a:pt x="6" y="26"/>
                    </a:cubicBezTo>
                    <a:cubicBezTo>
                      <a:pt x="6" y="26"/>
                      <a:pt x="6" y="26"/>
                      <a:pt x="6" y="26"/>
                    </a:cubicBezTo>
                    <a:cubicBezTo>
                      <a:pt x="2" y="33"/>
                      <a:pt x="2" y="33"/>
                      <a:pt x="2" y="33"/>
                    </a:cubicBezTo>
                    <a:cubicBezTo>
                      <a:pt x="2" y="34"/>
                      <a:pt x="1" y="34"/>
                      <a:pt x="1" y="34"/>
                    </a:cubicBezTo>
                    <a:cubicBezTo>
                      <a:pt x="0" y="34"/>
                      <a:pt x="0" y="33"/>
                      <a:pt x="0" y="32"/>
                    </a:cubicBezTo>
                    <a:cubicBezTo>
                      <a:pt x="4" y="25"/>
                      <a:pt x="4" y="25"/>
                      <a:pt x="4" y="25"/>
                    </a:cubicBezTo>
                    <a:cubicBezTo>
                      <a:pt x="4" y="25"/>
                      <a:pt x="4" y="25"/>
                      <a:pt x="4" y="25"/>
                    </a:cubicBezTo>
                    <a:cubicBezTo>
                      <a:pt x="6" y="18"/>
                      <a:pt x="6" y="18"/>
                      <a:pt x="6" y="18"/>
                    </a:cubicBezTo>
                    <a:cubicBezTo>
                      <a:pt x="7" y="10"/>
                      <a:pt x="7" y="10"/>
                      <a:pt x="7" y="10"/>
                    </a:cubicBezTo>
                    <a:cubicBezTo>
                      <a:pt x="7" y="1"/>
                      <a:pt x="7" y="1"/>
                      <a:pt x="7" y="1"/>
                    </a:cubicBezTo>
                    <a:cubicBezTo>
                      <a:pt x="7" y="1"/>
                      <a:pt x="8" y="0"/>
                      <a:pt x="9" y="0"/>
                    </a:cubicBezTo>
                    <a:cubicBezTo>
                      <a:pt x="9" y="0"/>
                      <a:pt x="10" y="1"/>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363">
                <a:extLst>
                  <a:ext uri="{FF2B5EF4-FFF2-40B4-BE49-F238E27FC236}">
                    <a16:creationId xmlns:a16="http://schemas.microsoft.com/office/drawing/2014/main" id="{E0B2D472-CD69-4D93-BE2D-C6DE39A652CD}"/>
                  </a:ext>
                </a:extLst>
              </p:cNvPr>
              <p:cNvSpPr>
                <a:spLocks/>
              </p:cNvSpPr>
              <p:nvPr/>
            </p:nvSpPr>
            <p:spPr bwMode="auto">
              <a:xfrm>
                <a:off x="10917237" y="3552825"/>
                <a:ext cx="74612" cy="101600"/>
              </a:xfrm>
              <a:custGeom>
                <a:avLst/>
                <a:gdLst>
                  <a:gd name="T0" fmla="*/ 2 w 20"/>
                  <a:gd name="T1" fmla="*/ 0 h 27"/>
                  <a:gd name="T2" fmla="*/ 6 w 20"/>
                  <a:gd name="T3" fmla="*/ 5 h 27"/>
                  <a:gd name="T4" fmla="*/ 14 w 20"/>
                  <a:gd name="T5" fmla="*/ 14 h 27"/>
                  <a:gd name="T6" fmla="*/ 14 w 20"/>
                  <a:gd name="T7" fmla="*/ 14 h 27"/>
                  <a:gd name="T8" fmla="*/ 19 w 20"/>
                  <a:gd name="T9" fmla="*/ 25 h 27"/>
                  <a:gd name="T10" fmla="*/ 19 w 20"/>
                  <a:gd name="T11" fmla="*/ 26 h 27"/>
                  <a:gd name="T12" fmla="*/ 17 w 20"/>
                  <a:gd name="T13" fmla="*/ 26 h 27"/>
                  <a:gd name="T14" fmla="*/ 12 w 20"/>
                  <a:gd name="T15" fmla="*/ 15 h 27"/>
                  <a:gd name="T16" fmla="*/ 12 w 20"/>
                  <a:gd name="T17" fmla="*/ 15 h 27"/>
                  <a:gd name="T18" fmla="*/ 5 w 20"/>
                  <a:gd name="T19" fmla="*/ 6 h 27"/>
                  <a:gd name="T20" fmla="*/ 0 w 20"/>
                  <a:gd name="T21" fmla="*/ 2 h 27"/>
                  <a:gd name="T22" fmla="*/ 0 w 20"/>
                  <a:gd name="T23" fmla="*/ 0 h 27"/>
                  <a:gd name="T24" fmla="*/ 2 w 2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7">
                    <a:moveTo>
                      <a:pt x="2" y="0"/>
                    </a:moveTo>
                    <a:cubicBezTo>
                      <a:pt x="6" y="5"/>
                      <a:pt x="6" y="5"/>
                      <a:pt x="6" y="5"/>
                    </a:cubicBezTo>
                    <a:cubicBezTo>
                      <a:pt x="14" y="14"/>
                      <a:pt x="14" y="14"/>
                      <a:pt x="14" y="14"/>
                    </a:cubicBezTo>
                    <a:cubicBezTo>
                      <a:pt x="14" y="14"/>
                      <a:pt x="14" y="14"/>
                      <a:pt x="14" y="14"/>
                    </a:cubicBezTo>
                    <a:cubicBezTo>
                      <a:pt x="19" y="25"/>
                      <a:pt x="19" y="25"/>
                      <a:pt x="19" y="25"/>
                    </a:cubicBezTo>
                    <a:cubicBezTo>
                      <a:pt x="20" y="25"/>
                      <a:pt x="19" y="26"/>
                      <a:pt x="19" y="26"/>
                    </a:cubicBezTo>
                    <a:cubicBezTo>
                      <a:pt x="18" y="27"/>
                      <a:pt x="17" y="26"/>
                      <a:pt x="17" y="26"/>
                    </a:cubicBezTo>
                    <a:cubicBezTo>
                      <a:pt x="12" y="15"/>
                      <a:pt x="12" y="15"/>
                      <a:pt x="12" y="15"/>
                    </a:cubicBezTo>
                    <a:cubicBezTo>
                      <a:pt x="12" y="15"/>
                      <a:pt x="12" y="15"/>
                      <a:pt x="12" y="15"/>
                    </a:cubicBezTo>
                    <a:cubicBezTo>
                      <a:pt x="5" y="6"/>
                      <a:pt x="5" y="6"/>
                      <a:pt x="5" y="6"/>
                    </a:cubicBezTo>
                    <a:cubicBezTo>
                      <a:pt x="0" y="2"/>
                      <a:pt x="0" y="2"/>
                      <a:pt x="0" y="2"/>
                    </a:cubicBezTo>
                    <a:cubicBezTo>
                      <a:pt x="0" y="1"/>
                      <a:pt x="0" y="1"/>
                      <a:pt x="0" y="0"/>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364">
                <a:extLst>
                  <a:ext uri="{FF2B5EF4-FFF2-40B4-BE49-F238E27FC236}">
                    <a16:creationId xmlns:a16="http://schemas.microsoft.com/office/drawing/2014/main" id="{C5455213-251C-4C57-A377-338DA36009BB}"/>
                  </a:ext>
                </a:extLst>
              </p:cNvPr>
              <p:cNvSpPr>
                <a:spLocks/>
              </p:cNvSpPr>
              <p:nvPr/>
            </p:nvSpPr>
            <p:spPr bwMode="auto">
              <a:xfrm>
                <a:off x="10699750" y="3492500"/>
                <a:ext cx="153987" cy="22225"/>
              </a:xfrm>
              <a:custGeom>
                <a:avLst/>
                <a:gdLst>
                  <a:gd name="T0" fmla="*/ 1 w 41"/>
                  <a:gd name="T1" fmla="*/ 3 h 6"/>
                  <a:gd name="T2" fmla="*/ 11 w 41"/>
                  <a:gd name="T3" fmla="*/ 1 h 6"/>
                  <a:gd name="T4" fmla="*/ 11 w 41"/>
                  <a:gd name="T5" fmla="*/ 1 h 6"/>
                  <a:gd name="T6" fmla="*/ 21 w 41"/>
                  <a:gd name="T7" fmla="*/ 0 h 6"/>
                  <a:gd name="T8" fmla="*/ 21 w 41"/>
                  <a:gd name="T9" fmla="*/ 0 h 6"/>
                  <a:gd name="T10" fmla="*/ 31 w 41"/>
                  <a:gd name="T11" fmla="*/ 2 h 6"/>
                  <a:gd name="T12" fmla="*/ 31 w 41"/>
                  <a:gd name="T13" fmla="*/ 2 h 6"/>
                  <a:gd name="T14" fmla="*/ 40 w 41"/>
                  <a:gd name="T15" fmla="*/ 4 h 6"/>
                  <a:gd name="T16" fmla="*/ 41 w 41"/>
                  <a:gd name="T17" fmla="*/ 5 h 6"/>
                  <a:gd name="T18" fmla="*/ 40 w 41"/>
                  <a:gd name="T19" fmla="*/ 6 h 6"/>
                  <a:gd name="T20" fmla="*/ 30 w 41"/>
                  <a:gd name="T21" fmla="*/ 4 h 6"/>
                  <a:gd name="T22" fmla="*/ 31 w 41"/>
                  <a:gd name="T23" fmla="*/ 4 h 6"/>
                  <a:gd name="T24" fmla="*/ 21 w 41"/>
                  <a:gd name="T25" fmla="*/ 3 h 6"/>
                  <a:gd name="T26" fmla="*/ 21 w 41"/>
                  <a:gd name="T27" fmla="*/ 3 h 6"/>
                  <a:gd name="T28" fmla="*/ 11 w 41"/>
                  <a:gd name="T29" fmla="*/ 3 h 6"/>
                  <a:gd name="T30" fmla="*/ 11 w 41"/>
                  <a:gd name="T31" fmla="*/ 3 h 6"/>
                  <a:gd name="T32" fmla="*/ 2 w 41"/>
                  <a:gd name="T33" fmla="*/ 6 h 6"/>
                  <a:gd name="T34" fmla="*/ 0 w 41"/>
                  <a:gd name="T35" fmla="*/ 5 h 6"/>
                  <a:gd name="T36" fmla="*/ 1 w 41"/>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6">
                    <a:moveTo>
                      <a:pt x="1" y="3"/>
                    </a:moveTo>
                    <a:cubicBezTo>
                      <a:pt x="11" y="1"/>
                      <a:pt x="11" y="1"/>
                      <a:pt x="11" y="1"/>
                    </a:cubicBezTo>
                    <a:cubicBezTo>
                      <a:pt x="11" y="1"/>
                      <a:pt x="11" y="1"/>
                      <a:pt x="11" y="1"/>
                    </a:cubicBezTo>
                    <a:cubicBezTo>
                      <a:pt x="21" y="0"/>
                      <a:pt x="21" y="0"/>
                      <a:pt x="21" y="0"/>
                    </a:cubicBezTo>
                    <a:cubicBezTo>
                      <a:pt x="21" y="0"/>
                      <a:pt x="21" y="0"/>
                      <a:pt x="21" y="0"/>
                    </a:cubicBezTo>
                    <a:cubicBezTo>
                      <a:pt x="31" y="2"/>
                      <a:pt x="31" y="2"/>
                      <a:pt x="31" y="2"/>
                    </a:cubicBezTo>
                    <a:cubicBezTo>
                      <a:pt x="31" y="2"/>
                      <a:pt x="31" y="2"/>
                      <a:pt x="31" y="2"/>
                    </a:cubicBezTo>
                    <a:cubicBezTo>
                      <a:pt x="40" y="4"/>
                      <a:pt x="40" y="4"/>
                      <a:pt x="40" y="4"/>
                    </a:cubicBezTo>
                    <a:cubicBezTo>
                      <a:pt x="41" y="4"/>
                      <a:pt x="41" y="5"/>
                      <a:pt x="41" y="5"/>
                    </a:cubicBezTo>
                    <a:cubicBezTo>
                      <a:pt x="41" y="6"/>
                      <a:pt x="40" y="6"/>
                      <a:pt x="40" y="6"/>
                    </a:cubicBezTo>
                    <a:cubicBezTo>
                      <a:pt x="30" y="4"/>
                      <a:pt x="30" y="4"/>
                      <a:pt x="30" y="4"/>
                    </a:cubicBezTo>
                    <a:cubicBezTo>
                      <a:pt x="31" y="4"/>
                      <a:pt x="31" y="4"/>
                      <a:pt x="31" y="4"/>
                    </a:cubicBezTo>
                    <a:cubicBezTo>
                      <a:pt x="21" y="3"/>
                      <a:pt x="21" y="3"/>
                      <a:pt x="21" y="3"/>
                    </a:cubicBezTo>
                    <a:cubicBezTo>
                      <a:pt x="21" y="3"/>
                      <a:pt x="21" y="3"/>
                      <a:pt x="21" y="3"/>
                    </a:cubicBezTo>
                    <a:cubicBezTo>
                      <a:pt x="11" y="3"/>
                      <a:pt x="11" y="3"/>
                      <a:pt x="11" y="3"/>
                    </a:cubicBezTo>
                    <a:cubicBezTo>
                      <a:pt x="11" y="3"/>
                      <a:pt x="11" y="3"/>
                      <a:pt x="11" y="3"/>
                    </a:cubicBezTo>
                    <a:cubicBezTo>
                      <a:pt x="2" y="6"/>
                      <a:pt x="2" y="6"/>
                      <a:pt x="2" y="6"/>
                    </a:cubicBezTo>
                    <a:cubicBezTo>
                      <a:pt x="1" y="6"/>
                      <a:pt x="1" y="5"/>
                      <a:pt x="0" y="5"/>
                    </a:cubicBezTo>
                    <a:cubicBezTo>
                      <a:pt x="0" y="4"/>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365">
                <a:extLst>
                  <a:ext uri="{FF2B5EF4-FFF2-40B4-BE49-F238E27FC236}">
                    <a16:creationId xmlns:a16="http://schemas.microsoft.com/office/drawing/2014/main" id="{AF6A35C9-A9EB-4DCA-97DA-4A7B3E9AB2BF}"/>
                  </a:ext>
                </a:extLst>
              </p:cNvPr>
              <p:cNvSpPr>
                <a:spLocks/>
              </p:cNvSpPr>
              <p:nvPr/>
            </p:nvSpPr>
            <p:spPr bwMode="auto">
              <a:xfrm>
                <a:off x="10564812" y="3533775"/>
                <a:ext cx="90487" cy="101600"/>
              </a:xfrm>
              <a:custGeom>
                <a:avLst/>
                <a:gdLst>
                  <a:gd name="T0" fmla="*/ 0 w 24"/>
                  <a:gd name="T1" fmla="*/ 25 h 27"/>
                  <a:gd name="T2" fmla="*/ 7 w 24"/>
                  <a:gd name="T3" fmla="*/ 14 h 27"/>
                  <a:gd name="T4" fmla="*/ 8 w 24"/>
                  <a:gd name="T5" fmla="*/ 14 h 27"/>
                  <a:gd name="T6" fmla="*/ 17 w 24"/>
                  <a:gd name="T7" fmla="*/ 5 h 27"/>
                  <a:gd name="T8" fmla="*/ 20 w 24"/>
                  <a:gd name="T9" fmla="*/ 3 h 27"/>
                  <a:gd name="T10" fmla="*/ 22 w 24"/>
                  <a:gd name="T11" fmla="*/ 0 h 27"/>
                  <a:gd name="T12" fmla="*/ 24 w 24"/>
                  <a:gd name="T13" fmla="*/ 0 h 27"/>
                  <a:gd name="T14" fmla="*/ 24 w 24"/>
                  <a:gd name="T15" fmla="*/ 2 h 27"/>
                  <a:gd name="T16" fmla="*/ 21 w 24"/>
                  <a:gd name="T17" fmla="*/ 5 h 27"/>
                  <a:gd name="T18" fmla="*/ 18 w 24"/>
                  <a:gd name="T19" fmla="*/ 6 h 27"/>
                  <a:gd name="T20" fmla="*/ 9 w 24"/>
                  <a:gd name="T21" fmla="*/ 15 h 27"/>
                  <a:gd name="T22" fmla="*/ 9 w 24"/>
                  <a:gd name="T23" fmla="*/ 15 h 27"/>
                  <a:gd name="T24" fmla="*/ 2 w 24"/>
                  <a:gd name="T25" fmla="*/ 26 h 27"/>
                  <a:gd name="T26" fmla="*/ 1 w 24"/>
                  <a:gd name="T27" fmla="*/ 26 h 27"/>
                  <a:gd name="T28" fmla="*/ 0 w 24"/>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7">
                    <a:moveTo>
                      <a:pt x="0" y="25"/>
                    </a:moveTo>
                    <a:cubicBezTo>
                      <a:pt x="7" y="14"/>
                      <a:pt x="7" y="14"/>
                      <a:pt x="7" y="14"/>
                    </a:cubicBezTo>
                    <a:cubicBezTo>
                      <a:pt x="7" y="14"/>
                      <a:pt x="7" y="14"/>
                      <a:pt x="8" y="14"/>
                    </a:cubicBezTo>
                    <a:cubicBezTo>
                      <a:pt x="17" y="5"/>
                      <a:pt x="17" y="5"/>
                      <a:pt x="17" y="5"/>
                    </a:cubicBezTo>
                    <a:cubicBezTo>
                      <a:pt x="20" y="3"/>
                      <a:pt x="20" y="3"/>
                      <a:pt x="20" y="3"/>
                    </a:cubicBezTo>
                    <a:cubicBezTo>
                      <a:pt x="22" y="0"/>
                      <a:pt x="22" y="0"/>
                      <a:pt x="22" y="0"/>
                    </a:cubicBezTo>
                    <a:cubicBezTo>
                      <a:pt x="23" y="0"/>
                      <a:pt x="24" y="0"/>
                      <a:pt x="24" y="0"/>
                    </a:cubicBezTo>
                    <a:cubicBezTo>
                      <a:pt x="24" y="1"/>
                      <a:pt x="24" y="2"/>
                      <a:pt x="24" y="2"/>
                    </a:cubicBezTo>
                    <a:cubicBezTo>
                      <a:pt x="21" y="5"/>
                      <a:pt x="21" y="5"/>
                      <a:pt x="21" y="5"/>
                    </a:cubicBezTo>
                    <a:cubicBezTo>
                      <a:pt x="18" y="6"/>
                      <a:pt x="18" y="6"/>
                      <a:pt x="18" y="6"/>
                    </a:cubicBezTo>
                    <a:cubicBezTo>
                      <a:pt x="9" y="15"/>
                      <a:pt x="9" y="15"/>
                      <a:pt x="9" y="15"/>
                    </a:cubicBezTo>
                    <a:cubicBezTo>
                      <a:pt x="9" y="15"/>
                      <a:pt x="9" y="15"/>
                      <a:pt x="9" y="15"/>
                    </a:cubicBezTo>
                    <a:cubicBezTo>
                      <a:pt x="2" y="26"/>
                      <a:pt x="2" y="26"/>
                      <a:pt x="2" y="26"/>
                    </a:cubicBezTo>
                    <a:cubicBezTo>
                      <a:pt x="2" y="27"/>
                      <a:pt x="1" y="27"/>
                      <a:pt x="1" y="26"/>
                    </a:cubicBezTo>
                    <a:cubicBezTo>
                      <a:pt x="0" y="26"/>
                      <a:pt x="0" y="25"/>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366">
                <a:extLst>
                  <a:ext uri="{FF2B5EF4-FFF2-40B4-BE49-F238E27FC236}">
                    <a16:creationId xmlns:a16="http://schemas.microsoft.com/office/drawing/2014/main" id="{0934F290-CE3F-4C5E-B6E1-8622F6038F66}"/>
                  </a:ext>
                </a:extLst>
              </p:cNvPr>
              <p:cNvSpPr>
                <a:spLocks/>
              </p:cNvSpPr>
              <p:nvPr/>
            </p:nvSpPr>
            <p:spPr bwMode="auto">
              <a:xfrm>
                <a:off x="10545762" y="3706812"/>
                <a:ext cx="55562" cy="142875"/>
              </a:xfrm>
              <a:custGeom>
                <a:avLst/>
                <a:gdLst>
                  <a:gd name="T0" fmla="*/ 13 w 15"/>
                  <a:gd name="T1" fmla="*/ 38 h 38"/>
                  <a:gd name="T2" fmla="*/ 7 w 15"/>
                  <a:gd name="T3" fmla="*/ 29 h 38"/>
                  <a:gd name="T4" fmla="*/ 7 w 15"/>
                  <a:gd name="T5" fmla="*/ 29 h 38"/>
                  <a:gd name="T6" fmla="*/ 3 w 15"/>
                  <a:gd name="T7" fmla="*/ 20 h 38"/>
                  <a:gd name="T8" fmla="*/ 3 w 15"/>
                  <a:gd name="T9" fmla="*/ 20 h 38"/>
                  <a:gd name="T10" fmla="*/ 1 w 15"/>
                  <a:gd name="T11" fmla="*/ 11 h 38"/>
                  <a:gd name="T12" fmla="*/ 1 w 15"/>
                  <a:gd name="T13" fmla="*/ 11 h 38"/>
                  <a:gd name="T14" fmla="*/ 0 w 15"/>
                  <a:gd name="T15" fmla="*/ 1 h 38"/>
                  <a:gd name="T16" fmla="*/ 1 w 15"/>
                  <a:gd name="T17" fmla="*/ 0 h 38"/>
                  <a:gd name="T18" fmla="*/ 3 w 15"/>
                  <a:gd name="T19" fmla="*/ 1 h 38"/>
                  <a:gd name="T20" fmla="*/ 3 w 15"/>
                  <a:gd name="T21" fmla="*/ 11 h 38"/>
                  <a:gd name="T22" fmla="*/ 3 w 15"/>
                  <a:gd name="T23" fmla="*/ 10 h 38"/>
                  <a:gd name="T24" fmla="*/ 6 w 15"/>
                  <a:gd name="T25" fmla="*/ 20 h 38"/>
                  <a:gd name="T26" fmla="*/ 6 w 15"/>
                  <a:gd name="T27" fmla="*/ 19 h 38"/>
                  <a:gd name="T28" fmla="*/ 9 w 15"/>
                  <a:gd name="T29" fmla="*/ 28 h 38"/>
                  <a:gd name="T30" fmla="*/ 9 w 15"/>
                  <a:gd name="T31" fmla="*/ 28 h 38"/>
                  <a:gd name="T32" fmla="*/ 15 w 15"/>
                  <a:gd name="T33" fmla="*/ 36 h 38"/>
                  <a:gd name="T34" fmla="*/ 14 w 15"/>
                  <a:gd name="T35" fmla="*/ 38 h 38"/>
                  <a:gd name="T36" fmla="*/ 13 w 15"/>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8">
                    <a:moveTo>
                      <a:pt x="13" y="38"/>
                    </a:moveTo>
                    <a:cubicBezTo>
                      <a:pt x="7" y="29"/>
                      <a:pt x="7" y="29"/>
                      <a:pt x="7" y="29"/>
                    </a:cubicBezTo>
                    <a:cubicBezTo>
                      <a:pt x="7" y="29"/>
                      <a:pt x="7" y="29"/>
                      <a:pt x="7" y="29"/>
                    </a:cubicBezTo>
                    <a:cubicBezTo>
                      <a:pt x="3" y="20"/>
                      <a:pt x="3" y="20"/>
                      <a:pt x="3" y="20"/>
                    </a:cubicBezTo>
                    <a:cubicBezTo>
                      <a:pt x="3" y="20"/>
                      <a:pt x="3" y="20"/>
                      <a:pt x="3" y="20"/>
                    </a:cubicBezTo>
                    <a:cubicBezTo>
                      <a:pt x="1" y="11"/>
                      <a:pt x="1" y="11"/>
                      <a:pt x="1" y="11"/>
                    </a:cubicBezTo>
                    <a:cubicBezTo>
                      <a:pt x="1" y="11"/>
                      <a:pt x="1" y="11"/>
                      <a:pt x="1" y="11"/>
                    </a:cubicBezTo>
                    <a:cubicBezTo>
                      <a:pt x="0" y="1"/>
                      <a:pt x="0" y="1"/>
                      <a:pt x="0" y="1"/>
                    </a:cubicBezTo>
                    <a:cubicBezTo>
                      <a:pt x="0" y="0"/>
                      <a:pt x="1" y="0"/>
                      <a:pt x="1" y="0"/>
                    </a:cubicBezTo>
                    <a:cubicBezTo>
                      <a:pt x="2" y="0"/>
                      <a:pt x="3" y="0"/>
                      <a:pt x="3" y="1"/>
                    </a:cubicBezTo>
                    <a:cubicBezTo>
                      <a:pt x="3" y="11"/>
                      <a:pt x="3" y="11"/>
                      <a:pt x="3" y="11"/>
                    </a:cubicBezTo>
                    <a:cubicBezTo>
                      <a:pt x="3" y="10"/>
                      <a:pt x="3" y="10"/>
                      <a:pt x="3" y="10"/>
                    </a:cubicBezTo>
                    <a:cubicBezTo>
                      <a:pt x="6" y="20"/>
                      <a:pt x="6" y="20"/>
                      <a:pt x="6" y="20"/>
                    </a:cubicBezTo>
                    <a:cubicBezTo>
                      <a:pt x="6" y="19"/>
                      <a:pt x="6" y="19"/>
                      <a:pt x="6" y="19"/>
                    </a:cubicBezTo>
                    <a:cubicBezTo>
                      <a:pt x="9" y="28"/>
                      <a:pt x="9" y="28"/>
                      <a:pt x="9" y="28"/>
                    </a:cubicBezTo>
                    <a:cubicBezTo>
                      <a:pt x="9" y="28"/>
                      <a:pt x="9" y="28"/>
                      <a:pt x="9" y="28"/>
                    </a:cubicBezTo>
                    <a:cubicBezTo>
                      <a:pt x="15" y="36"/>
                      <a:pt x="15" y="36"/>
                      <a:pt x="15" y="36"/>
                    </a:cubicBezTo>
                    <a:cubicBezTo>
                      <a:pt x="15" y="37"/>
                      <a:pt x="15" y="38"/>
                      <a:pt x="14" y="38"/>
                    </a:cubicBezTo>
                    <a:cubicBezTo>
                      <a:pt x="14" y="38"/>
                      <a:pt x="13" y="38"/>
                      <a:pt x="1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367">
                <a:extLst>
                  <a:ext uri="{FF2B5EF4-FFF2-40B4-BE49-F238E27FC236}">
                    <a16:creationId xmlns:a16="http://schemas.microsoft.com/office/drawing/2014/main" id="{B83BCC42-48F0-41A2-B9BC-C5B3D2748476}"/>
                  </a:ext>
                </a:extLst>
              </p:cNvPr>
              <p:cNvSpPr>
                <a:spLocks/>
              </p:cNvSpPr>
              <p:nvPr/>
            </p:nvSpPr>
            <p:spPr bwMode="auto">
              <a:xfrm>
                <a:off x="10890250" y="3803650"/>
                <a:ext cx="90487" cy="101600"/>
              </a:xfrm>
              <a:custGeom>
                <a:avLst/>
                <a:gdLst>
                  <a:gd name="T0" fmla="*/ 0 w 57"/>
                  <a:gd name="T1" fmla="*/ 31 h 64"/>
                  <a:gd name="T2" fmla="*/ 3 w 57"/>
                  <a:gd name="T3" fmla="*/ 19 h 64"/>
                  <a:gd name="T4" fmla="*/ 10 w 57"/>
                  <a:gd name="T5" fmla="*/ 10 h 64"/>
                  <a:gd name="T6" fmla="*/ 17 w 57"/>
                  <a:gd name="T7" fmla="*/ 3 h 64"/>
                  <a:gd name="T8" fmla="*/ 29 w 57"/>
                  <a:gd name="T9" fmla="*/ 0 h 64"/>
                  <a:gd name="T10" fmla="*/ 41 w 57"/>
                  <a:gd name="T11" fmla="*/ 3 h 64"/>
                  <a:gd name="T12" fmla="*/ 50 w 57"/>
                  <a:gd name="T13" fmla="*/ 10 h 64"/>
                  <a:gd name="T14" fmla="*/ 55 w 57"/>
                  <a:gd name="T15" fmla="*/ 19 h 64"/>
                  <a:gd name="T16" fmla="*/ 57 w 57"/>
                  <a:gd name="T17" fmla="*/ 31 h 64"/>
                  <a:gd name="T18" fmla="*/ 55 w 57"/>
                  <a:gd name="T19" fmla="*/ 43 h 64"/>
                  <a:gd name="T20" fmla="*/ 50 w 57"/>
                  <a:gd name="T21" fmla="*/ 55 h 64"/>
                  <a:gd name="T22" fmla="*/ 41 w 57"/>
                  <a:gd name="T23" fmla="*/ 62 h 64"/>
                  <a:gd name="T24" fmla="*/ 29 w 57"/>
                  <a:gd name="T25" fmla="*/ 64 h 64"/>
                  <a:gd name="T26" fmla="*/ 17 w 57"/>
                  <a:gd name="T27" fmla="*/ 62 h 64"/>
                  <a:gd name="T28" fmla="*/ 10 w 57"/>
                  <a:gd name="T29" fmla="*/ 55 h 64"/>
                  <a:gd name="T30" fmla="*/ 3 w 57"/>
                  <a:gd name="T31" fmla="*/ 45 h 64"/>
                  <a:gd name="T32" fmla="*/ 0 w 57"/>
                  <a:gd name="T33" fmla="*/ 31 h 64"/>
                  <a:gd name="T34" fmla="*/ 0 w 57"/>
                  <a:gd name="T3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4">
                    <a:moveTo>
                      <a:pt x="0" y="31"/>
                    </a:moveTo>
                    <a:lnTo>
                      <a:pt x="3" y="19"/>
                    </a:lnTo>
                    <a:lnTo>
                      <a:pt x="10" y="10"/>
                    </a:lnTo>
                    <a:lnTo>
                      <a:pt x="17" y="3"/>
                    </a:lnTo>
                    <a:lnTo>
                      <a:pt x="29" y="0"/>
                    </a:lnTo>
                    <a:lnTo>
                      <a:pt x="41" y="3"/>
                    </a:lnTo>
                    <a:lnTo>
                      <a:pt x="50" y="10"/>
                    </a:lnTo>
                    <a:lnTo>
                      <a:pt x="55" y="19"/>
                    </a:lnTo>
                    <a:lnTo>
                      <a:pt x="57" y="31"/>
                    </a:lnTo>
                    <a:lnTo>
                      <a:pt x="55" y="43"/>
                    </a:lnTo>
                    <a:lnTo>
                      <a:pt x="50" y="55"/>
                    </a:lnTo>
                    <a:lnTo>
                      <a:pt x="41" y="62"/>
                    </a:lnTo>
                    <a:lnTo>
                      <a:pt x="29" y="64"/>
                    </a:lnTo>
                    <a:lnTo>
                      <a:pt x="17" y="62"/>
                    </a:lnTo>
                    <a:lnTo>
                      <a:pt x="10" y="55"/>
                    </a:lnTo>
                    <a:lnTo>
                      <a:pt x="3" y="45"/>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368">
                <a:extLst>
                  <a:ext uri="{FF2B5EF4-FFF2-40B4-BE49-F238E27FC236}">
                    <a16:creationId xmlns:a16="http://schemas.microsoft.com/office/drawing/2014/main" id="{B14D3614-EDF7-4070-919A-D6CA92BA4C4F}"/>
                  </a:ext>
                </a:extLst>
              </p:cNvPr>
              <p:cNvSpPr>
                <a:spLocks/>
              </p:cNvSpPr>
              <p:nvPr/>
            </p:nvSpPr>
            <p:spPr bwMode="auto">
              <a:xfrm>
                <a:off x="10845800" y="3481387"/>
                <a:ext cx="90487" cy="96838"/>
              </a:xfrm>
              <a:custGeom>
                <a:avLst/>
                <a:gdLst>
                  <a:gd name="T0" fmla="*/ 0 w 57"/>
                  <a:gd name="T1" fmla="*/ 30 h 61"/>
                  <a:gd name="T2" fmla="*/ 2 w 57"/>
                  <a:gd name="T3" fmla="*/ 19 h 61"/>
                  <a:gd name="T4" fmla="*/ 7 w 57"/>
                  <a:gd name="T5" fmla="*/ 7 h 61"/>
                  <a:gd name="T6" fmla="*/ 17 w 57"/>
                  <a:gd name="T7" fmla="*/ 2 h 61"/>
                  <a:gd name="T8" fmla="*/ 28 w 57"/>
                  <a:gd name="T9" fmla="*/ 0 h 61"/>
                  <a:gd name="T10" fmla="*/ 38 w 57"/>
                  <a:gd name="T11" fmla="*/ 2 h 61"/>
                  <a:gd name="T12" fmla="*/ 47 w 57"/>
                  <a:gd name="T13" fmla="*/ 7 h 61"/>
                  <a:gd name="T14" fmla="*/ 55 w 57"/>
                  <a:gd name="T15" fmla="*/ 19 h 61"/>
                  <a:gd name="T16" fmla="*/ 57 w 57"/>
                  <a:gd name="T17" fmla="*/ 30 h 61"/>
                  <a:gd name="T18" fmla="*/ 55 w 57"/>
                  <a:gd name="T19" fmla="*/ 42 h 61"/>
                  <a:gd name="T20" fmla="*/ 47 w 57"/>
                  <a:gd name="T21" fmla="*/ 52 h 61"/>
                  <a:gd name="T22" fmla="*/ 38 w 57"/>
                  <a:gd name="T23" fmla="*/ 59 h 61"/>
                  <a:gd name="T24" fmla="*/ 28 w 57"/>
                  <a:gd name="T25" fmla="*/ 61 h 61"/>
                  <a:gd name="T26" fmla="*/ 17 w 57"/>
                  <a:gd name="T27" fmla="*/ 59 h 61"/>
                  <a:gd name="T28" fmla="*/ 7 w 57"/>
                  <a:gd name="T29" fmla="*/ 52 h 61"/>
                  <a:gd name="T30" fmla="*/ 2 w 57"/>
                  <a:gd name="T31" fmla="*/ 42 h 61"/>
                  <a:gd name="T32" fmla="*/ 0 w 57"/>
                  <a:gd name="T33" fmla="*/ 30 h 61"/>
                  <a:gd name="T34" fmla="*/ 0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0" y="30"/>
                    </a:moveTo>
                    <a:lnTo>
                      <a:pt x="2" y="19"/>
                    </a:lnTo>
                    <a:lnTo>
                      <a:pt x="7" y="7"/>
                    </a:lnTo>
                    <a:lnTo>
                      <a:pt x="17" y="2"/>
                    </a:lnTo>
                    <a:lnTo>
                      <a:pt x="28" y="0"/>
                    </a:lnTo>
                    <a:lnTo>
                      <a:pt x="38" y="2"/>
                    </a:lnTo>
                    <a:lnTo>
                      <a:pt x="47" y="7"/>
                    </a:lnTo>
                    <a:lnTo>
                      <a:pt x="55" y="19"/>
                    </a:lnTo>
                    <a:lnTo>
                      <a:pt x="57" y="30"/>
                    </a:lnTo>
                    <a:lnTo>
                      <a:pt x="55" y="42"/>
                    </a:lnTo>
                    <a:lnTo>
                      <a:pt x="47" y="52"/>
                    </a:lnTo>
                    <a:lnTo>
                      <a:pt x="38" y="59"/>
                    </a:lnTo>
                    <a:lnTo>
                      <a:pt x="28" y="61"/>
                    </a:lnTo>
                    <a:lnTo>
                      <a:pt x="17" y="59"/>
                    </a:lnTo>
                    <a:lnTo>
                      <a:pt x="7" y="52"/>
                    </a:lnTo>
                    <a:lnTo>
                      <a:pt x="2" y="42"/>
                    </a:lnTo>
                    <a:lnTo>
                      <a:pt x="0"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369">
                <a:extLst>
                  <a:ext uri="{FF2B5EF4-FFF2-40B4-BE49-F238E27FC236}">
                    <a16:creationId xmlns:a16="http://schemas.microsoft.com/office/drawing/2014/main" id="{F0477ED6-FC8A-4BF3-A94C-AECF476655F2}"/>
                  </a:ext>
                </a:extLst>
              </p:cNvPr>
              <p:cNvSpPr>
                <a:spLocks/>
              </p:cNvSpPr>
              <p:nvPr/>
            </p:nvSpPr>
            <p:spPr bwMode="auto">
              <a:xfrm>
                <a:off x="10512425" y="3616325"/>
                <a:ext cx="96837" cy="96838"/>
              </a:xfrm>
              <a:custGeom>
                <a:avLst/>
                <a:gdLst>
                  <a:gd name="T0" fmla="*/ 0 w 61"/>
                  <a:gd name="T1" fmla="*/ 31 h 61"/>
                  <a:gd name="T2" fmla="*/ 2 w 61"/>
                  <a:gd name="T3" fmla="*/ 19 h 61"/>
                  <a:gd name="T4" fmla="*/ 9 w 61"/>
                  <a:gd name="T5" fmla="*/ 9 h 61"/>
                  <a:gd name="T6" fmla="*/ 19 w 61"/>
                  <a:gd name="T7" fmla="*/ 2 h 61"/>
                  <a:gd name="T8" fmla="*/ 30 w 61"/>
                  <a:gd name="T9" fmla="*/ 0 h 61"/>
                  <a:gd name="T10" fmla="*/ 42 w 61"/>
                  <a:gd name="T11" fmla="*/ 2 h 61"/>
                  <a:gd name="T12" fmla="*/ 52 w 61"/>
                  <a:gd name="T13" fmla="*/ 9 h 61"/>
                  <a:gd name="T14" fmla="*/ 59 w 61"/>
                  <a:gd name="T15" fmla="*/ 19 h 61"/>
                  <a:gd name="T16" fmla="*/ 61 w 61"/>
                  <a:gd name="T17" fmla="*/ 31 h 61"/>
                  <a:gd name="T18" fmla="*/ 59 w 61"/>
                  <a:gd name="T19" fmla="*/ 42 h 61"/>
                  <a:gd name="T20" fmla="*/ 52 w 61"/>
                  <a:gd name="T21" fmla="*/ 52 h 61"/>
                  <a:gd name="T22" fmla="*/ 42 w 61"/>
                  <a:gd name="T23" fmla="*/ 59 h 61"/>
                  <a:gd name="T24" fmla="*/ 30 w 61"/>
                  <a:gd name="T25" fmla="*/ 61 h 61"/>
                  <a:gd name="T26" fmla="*/ 19 w 61"/>
                  <a:gd name="T27" fmla="*/ 59 h 61"/>
                  <a:gd name="T28" fmla="*/ 9 w 61"/>
                  <a:gd name="T29" fmla="*/ 52 h 61"/>
                  <a:gd name="T30" fmla="*/ 2 w 61"/>
                  <a:gd name="T31" fmla="*/ 42 h 61"/>
                  <a:gd name="T32" fmla="*/ 0 w 61"/>
                  <a:gd name="T33" fmla="*/ 31 h 61"/>
                  <a:gd name="T34" fmla="*/ 0 w 61"/>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1">
                    <a:moveTo>
                      <a:pt x="0" y="31"/>
                    </a:moveTo>
                    <a:lnTo>
                      <a:pt x="2" y="19"/>
                    </a:lnTo>
                    <a:lnTo>
                      <a:pt x="9" y="9"/>
                    </a:lnTo>
                    <a:lnTo>
                      <a:pt x="19" y="2"/>
                    </a:lnTo>
                    <a:lnTo>
                      <a:pt x="30" y="0"/>
                    </a:lnTo>
                    <a:lnTo>
                      <a:pt x="42" y="2"/>
                    </a:lnTo>
                    <a:lnTo>
                      <a:pt x="52" y="9"/>
                    </a:lnTo>
                    <a:lnTo>
                      <a:pt x="59" y="19"/>
                    </a:lnTo>
                    <a:lnTo>
                      <a:pt x="61" y="31"/>
                    </a:lnTo>
                    <a:lnTo>
                      <a:pt x="59" y="42"/>
                    </a:lnTo>
                    <a:lnTo>
                      <a:pt x="52" y="52"/>
                    </a:lnTo>
                    <a:lnTo>
                      <a:pt x="42" y="59"/>
                    </a:lnTo>
                    <a:lnTo>
                      <a:pt x="30" y="61"/>
                    </a:lnTo>
                    <a:lnTo>
                      <a:pt x="19" y="59"/>
                    </a:lnTo>
                    <a:lnTo>
                      <a:pt x="9" y="52"/>
                    </a:lnTo>
                    <a:lnTo>
                      <a:pt x="2" y="42"/>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370">
                <a:extLst>
                  <a:ext uri="{FF2B5EF4-FFF2-40B4-BE49-F238E27FC236}">
                    <a16:creationId xmlns:a16="http://schemas.microsoft.com/office/drawing/2014/main" id="{92945B9C-F879-4FFD-963B-11786DC900C9}"/>
                  </a:ext>
                </a:extLst>
              </p:cNvPr>
              <p:cNvSpPr>
                <a:spLocks/>
              </p:cNvSpPr>
              <p:nvPr/>
            </p:nvSpPr>
            <p:spPr bwMode="auto">
              <a:xfrm>
                <a:off x="10590212" y="3830637"/>
                <a:ext cx="57150" cy="63500"/>
              </a:xfrm>
              <a:custGeom>
                <a:avLst/>
                <a:gdLst>
                  <a:gd name="T0" fmla="*/ 0 w 36"/>
                  <a:gd name="T1" fmla="*/ 21 h 40"/>
                  <a:gd name="T2" fmla="*/ 5 w 36"/>
                  <a:gd name="T3" fmla="*/ 7 h 40"/>
                  <a:gd name="T4" fmla="*/ 12 w 36"/>
                  <a:gd name="T5" fmla="*/ 2 h 40"/>
                  <a:gd name="T6" fmla="*/ 19 w 36"/>
                  <a:gd name="T7" fmla="*/ 0 h 40"/>
                  <a:gd name="T8" fmla="*/ 24 w 36"/>
                  <a:gd name="T9" fmla="*/ 2 h 40"/>
                  <a:gd name="T10" fmla="*/ 31 w 36"/>
                  <a:gd name="T11" fmla="*/ 7 h 40"/>
                  <a:gd name="T12" fmla="*/ 33 w 36"/>
                  <a:gd name="T13" fmla="*/ 14 h 40"/>
                  <a:gd name="T14" fmla="*/ 36 w 36"/>
                  <a:gd name="T15" fmla="*/ 21 h 40"/>
                  <a:gd name="T16" fmla="*/ 33 w 36"/>
                  <a:gd name="T17" fmla="*/ 28 h 40"/>
                  <a:gd name="T18" fmla="*/ 31 w 36"/>
                  <a:gd name="T19" fmla="*/ 35 h 40"/>
                  <a:gd name="T20" fmla="*/ 24 w 36"/>
                  <a:gd name="T21" fmla="*/ 40 h 40"/>
                  <a:gd name="T22" fmla="*/ 19 w 36"/>
                  <a:gd name="T23" fmla="*/ 40 h 40"/>
                  <a:gd name="T24" fmla="*/ 12 w 36"/>
                  <a:gd name="T25" fmla="*/ 40 h 40"/>
                  <a:gd name="T26" fmla="*/ 5 w 36"/>
                  <a:gd name="T27" fmla="*/ 35 h 40"/>
                  <a:gd name="T28" fmla="*/ 0 w 36"/>
                  <a:gd name="T29" fmla="*/ 21 h 40"/>
                  <a:gd name="T30" fmla="*/ 0 w 36"/>
                  <a:gd name="T3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0">
                    <a:moveTo>
                      <a:pt x="0" y="21"/>
                    </a:moveTo>
                    <a:lnTo>
                      <a:pt x="5" y="7"/>
                    </a:lnTo>
                    <a:lnTo>
                      <a:pt x="12" y="2"/>
                    </a:lnTo>
                    <a:lnTo>
                      <a:pt x="19" y="0"/>
                    </a:lnTo>
                    <a:lnTo>
                      <a:pt x="24" y="2"/>
                    </a:lnTo>
                    <a:lnTo>
                      <a:pt x="31" y="7"/>
                    </a:lnTo>
                    <a:lnTo>
                      <a:pt x="33" y="14"/>
                    </a:lnTo>
                    <a:lnTo>
                      <a:pt x="36" y="21"/>
                    </a:lnTo>
                    <a:lnTo>
                      <a:pt x="33" y="28"/>
                    </a:lnTo>
                    <a:lnTo>
                      <a:pt x="31" y="35"/>
                    </a:lnTo>
                    <a:lnTo>
                      <a:pt x="24" y="40"/>
                    </a:lnTo>
                    <a:lnTo>
                      <a:pt x="19" y="40"/>
                    </a:lnTo>
                    <a:lnTo>
                      <a:pt x="12" y="40"/>
                    </a:lnTo>
                    <a:lnTo>
                      <a:pt x="5" y="35"/>
                    </a:lnTo>
                    <a:lnTo>
                      <a:pt x="0" y="21"/>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371">
                <a:extLst>
                  <a:ext uri="{FF2B5EF4-FFF2-40B4-BE49-F238E27FC236}">
                    <a16:creationId xmlns:a16="http://schemas.microsoft.com/office/drawing/2014/main" id="{42F093CE-AF98-4879-9FB6-1E705E3EDF44}"/>
                  </a:ext>
                </a:extLst>
              </p:cNvPr>
              <p:cNvSpPr>
                <a:spLocks/>
              </p:cNvSpPr>
              <p:nvPr/>
            </p:nvSpPr>
            <p:spPr bwMode="auto">
              <a:xfrm>
                <a:off x="10636250" y="3487737"/>
                <a:ext cx="74612" cy="65088"/>
              </a:xfrm>
              <a:custGeom>
                <a:avLst/>
                <a:gdLst>
                  <a:gd name="T0" fmla="*/ 0 w 47"/>
                  <a:gd name="T1" fmla="*/ 19 h 41"/>
                  <a:gd name="T2" fmla="*/ 2 w 47"/>
                  <a:gd name="T3" fmla="*/ 12 h 41"/>
                  <a:gd name="T4" fmla="*/ 9 w 47"/>
                  <a:gd name="T5" fmla="*/ 5 h 41"/>
                  <a:gd name="T6" fmla="*/ 16 w 47"/>
                  <a:gd name="T7" fmla="*/ 3 h 41"/>
                  <a:gd name="T8" fmla="*/ 26 w 47"/>
                  <a:gd name="T9" fmla="*/ 0 h 41"/>
                  <a:gd name="T10" fmla="*/ 33 w 47"/>
                  <a:gd name="T11" fmla="*/ 3 h 41"/>
                  <a:gd name="T12" fmla="*/ 40 w 47"/>
                  <a:gd name="T13" fmla="*/ 5 h 41"/>
                  <a:gd name="T14" fmla="*/ 45 w 47"/>
                  <a:gd name="T15" fmla="*/ 12 h 41"/>
                  <a:gd name="T16" fmla="*/ 47 w 47"/>
                  <a:gd name="T17" fmla="*/ 19 h 41"/>
                  <a:gd name="T18" fmla="*/ 45 w 47"/>
                  <a:gd name="T19" fmla="*/ 29 h 41"/>
                  <a:gd name="T20" fmla="*/ 40 w 47"/>
                  <a:gd name="T21" fmla="*/ 36 h 41"/>
                  <a:gd name="T22" fmla="*/ 33 w 47"/>
                  <a:gd name="T23" fmla="*/ 38 h 41"/>
                  <a:gd name="T24" fmla="*/ 26 w 47"/>
                  <a:gd name="T25" fmla="*/ 41 h 41"/>
                  <a:gd name="T26" fmla="*/ 16 w 47"/>
                  <a:gd name="T27" fmla="*/ 38 h 41"/>
                  <a:gd name="T28" fmla="*/ 9 w 47"/>
                  <a:gd name="T29" fmla="*/ 36 h 41"/>
                  <a:gd name="T30" fmla="*/ 2 w 47"/>
                  <a:gd name="T31" fmla="*/ 29 h 41"/>
                  <a:gd name="T32" fmla="*/ 0 w 47"/>
                  <a:gd name="T33" fmla="*/ 19 h 41"/>
                  <a:gd name="T34" fmla="*/ 0 w 47"/>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1">
                    <a:moveTo>
                      <a:pt x="0" y="19"/>
                    </a:moveTo>
                    <a:lnTo>
                      <a:pt x="2" y="12"/>
                    </a:lnTo>
                    <a:lnTo>
                      <a:pt x="9" y="5"/>
                    </a:lnTo>
                    <a:lnTo>
                      <a:pt x="16" y="3"/>
                    </a:lnTo>
                    <a:lnTo>
                      <a:pt x="26" y="0"/>
                    </a:lnTo>
                    <a:lnTo>
                      <a:pt x="33" y="3"/>
                    </a:lnTo>
                    <a:lnTo>
                      <a:pt x="40" y="5"/>
                    </a:lnTo>
                    <a:lnTo>
                      <a:pt x="45" y="12"/>
                    </a:lnTo>
                    <a:lnTo>
                      <a:pt x="47" y="19"/>
                    </a:lnTo>
                    <a:lnTo>
                      <a:pt x="45" y="29"/>
                    </a:lnTo>
                    <a:lnTo>
                      <a:pt x="40" y="36"/>
                    </a:lnTo>
                    <a:lnTo>
                      <a:pt x="33" y="38"/>
                    </a:lnTo>
                    <a:lnTo>
                      <a:pt x="26" y="41"/>
                    </a:lnTo>
                    <a:lnTo>
                      <a:pt x="16" y="38"/>
                    </a:lnTo>
                    <a:lnTo>
                      <a:pt x="9" y="36"/>
                    </a:lnTo>
                    <a:lnTo>
                      <a:pt x="2" y="2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372">
                <a:extLst>
                  <a:ext uri="{FF2B5EF4-FFF2-40B4-BE49-F238E27FC236}">
                    <a16:creationId xmlns:a16="http://schemas.microsoft.com/office/drawing/2014/main" id="{348ABE75-8CE5-4502-86DA-78984A82F4C4}"/>
                  </a:ext>
                </a:extLst>
              </p:cNvPr>
              <p:cNvSpPr>
                <a:spLocks/>
              </p:cNvSpPr>
              <p:nvPr/>
            </p:nvSpPr>
            <p:spPr bwMode="auto">
              <a:xfrm>
                <a:off x="10955337" y="3641725"/>
                <a:ext cx="71437" cy="65088"/>
              </a:xfrm>
              <a:custGeom>
                <a:avLst/>
                <a:gdLst>
                  <a:gd name="T0" fmla="*/ 0 w 45"/>
                  <a:gd name="T1" fmla="*/ 22 h 41"/>
                  <a:gd name="T2" fmla="*/ 2 w 45"/>
                  <a:gd name="T3" fmla="*/ 12 h 41"/>
                  <a:gd name="T4" fmla="*/ 7 w 45"/>
                  <a:gd name="T5" fmla="*/ 5 h 41"/>
                  <a:gd name="T6" fmla="*/ 14 w 45"/>
                  <a:gd name="T7" fmla="*/ 3 h 41"/>
                  <a:gd name="T8" fmla="*/ 21 w 45"/>
                  <a:gd name="T9" fmla="*/ 0 h 41"/>
                  <a:gd name="T10" fmla="*/ 30 w 45"/>
                  <a:gd name="T11" fmla="*/ 3 h 41"/>
                  <a:gd name="T12" fmla="*/ 38 w 45"/>
                  <a:gd name="T13" fmla="*/ 5 h 41"/>
                  <a:gd name="T14" fmla="*/ 42 w 45"/>
                  <a:gd name="T15" fmla="*/ 12 h 41"/>
                  <a:gd name="T16" fmla="*/ 45 w 45"/>
                  <a:gd name="T17" fmla="*/ 22 h 41"/>
                  <a:gd name="T18" fmla="*/ 42 w 45"/>
                  <a:gd name="T19" fmla="*/ 29 h 41"/>
                  <a:gd name="T20" fmla="*/ 38 w 45"/>
                  <a:gd name="T21" fmla="*/ 34 h 41"/>
                  <a:gd name="T22" fmla="*/ 30 w 45"/>
                  <a:gd name="T23" fmla="*/ 38 h 41"/>
                  <a:gd name="T24" fmla="*/ 21 w 45"/>
                  <a:gd name="T25" fmla="*/ 41 h 41"/>
                  <a:gd name="T26" fmla="*/ 14 w 45"/>
                  <a:gd name="T27" fmla="*/ 38 h 41"/>
                  <a:gd name="T28" fmla="*/ 7 w 45"/>
                  <a:gd name="T29" fmla="*/ 34 h 41"/>
                  <a:gd name="T30" fmla="*/ 2 w 45"/>
                  <a:gd name="T31" fmla="*/ 29 h 41"/>
                  <a:gd name="T32" fmla="*/ 0 w 45"/>
                  <a:gd name="T33" fmla="*/ 22 h 41"/>
                  <a:gd name="T34" fmla="*/ 0 w 45"/>
                  <a:gd name="T35"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41">
                    <a:moveTo>
                      <a:pt x="0" y="22"/>
                    </a:moveTo>
                    <a:lnTo>
                      <a:pt x="2" y="12"/>
                    </a:lnTo>
                    <a:lnTo>
                      <a:pt x="7" y="5"/>
                    </a:lnTo>
                    <a:lnTo>
                      <a:pt x="14" y="3"/>
                    </a:lnTo>
                    <a:lnTo>
                      <a:pt x="21" y="0"/>
                    </a:lnTo>
                    <a:lnTo>
                      <a:pt x="30" y="3"/>
                    </a:lnTo>
                    <a:lnTo>
                      <a:pt x="38" y="5"/>
                    </a:lnTo>
                    <a:lnTo>
                      <a:pt x="42" y="12"/>
                    </a:lnTo>
                    <a:lnTo>
                      <a:pt x="45" y="22"/>
                    </a:lnTo>
                    <a:lnTo>
                      <a:pt x="42" y="29"/>
                    </a:lnTo>
                    <a:lnTo>
                      <a:pt x="38" y="34"/>
                    </a:lnTo>
                    <a:lnTo>
                      <a:pt x="30" y="38"/>
                    </a:lnTo>
                    <a:lnTo>
                      <a:pt x="21" y="41"/>
                    </a:lnTo>
                    <a:lnTo>
                      <a:pt x="14" y="38"/>
                    </a:lnTo>
                    <a:lnTo>
                      <a:pt x="7" y="34"/>
                    </a:lnTo>
                    <a:lnTo>
                      <a:pt x="2" y="29"/>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373">
                <a:extLst>
                  <a:ext uri="{FF2B5EF4-FFF2-40B4-BE49-F238E27FC236}">
                    <a16:creationId xmlns:a16="http://schemas.microsoft.com/office/drawing/2014/main" id="{317FEB46-432D-419C-874E-5DA3214806EB}"/>
                  </a:ext>
                </a:extLst>
              </p:cNvPr>
              <p:cNvSpPr>
                <a:spLocks/>
              </p:cNvSpPr>
              <p:nvPr/>
            </p:nvSpPr>
            <p:spPr bwMode="auto">
              <a:xfrm>
                <a:off x="10691812" y="3533775"/>
                <a:ext cx="225425" cy="280988"/>
              </a:xfrm>
              <a:custGeom>
                <a:avLst/>
                <a:gdLst>
                  <a:gd name="T0" fmla="*/ 2 w 60"/>
                  <a:gd name="T1" fmla="*/ 0 h 75"/>
                  <a:gd name="T2" fmla="*/ 19 w 60"/>
                  <a:gd name="T3" fmla="*/ 18 h 75"/>
                  <a:gd name="T4" fmla="*/ 34 w 60"/>
                  <a:gd name="T5" fmla="*/ 36 h 75"/>
                  <a:gd name="T6" fmla="*/ 47 w 60"/>
                  <a:gd name="T7" fmla="*/ 54 h 75"/>
                  <a:gd name="T8" fmla="*/ 60 w 60"/>
                  <a:gd name="T9" fmla="*/ 73 h 75"/>
                  <a:gd name="T10" fmla="*/ 60 w 60"/>
                  <a:gd name="T11" fmla="*/ 74 h 75"/>
                  <a:gd name="T12" fmla="*/ 58 w 60"/>
                  <a:gd name="T13" fmla="*/ 74 h 75"/>
                  <a:gd name="T14" fmla="*/ 45 w 60"/>
                  <a:gd name="T15" fmla="*/ 55 h 75"/>
                  <a:gd name="T16" fmla="*/ 32 w 60"/>
                  <a:gd name="T17" fmla="*/ 38 h 75"/>
                  <a:gd name="T18" fmla="*/ 18 w 60"/>
                  <a:gd name="T19" fmla="*/ 20 h 75"/>
                  <a:gd name="T20" fmla="*/ 0 w 60"/>
                  <a:gd name="T21" fmla="*/ 2 h 75"/>
                  <a:gd name="T22" fmla="*/ 0 w 60"/>
                  <a:gd name="T23" fmla="*/ 0 h 75"/>
                  <a:gd name="T24" fmla="*/ 2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2" y="0"/>
                    </a:moveTo>
                    <a:cubicBezTo>
                      <a:pt x="19" y="18"/>
                      <a:pt x="19" y="18"/>
                      <a:pt x="19" y="18"/>
                    </a:cubicBezTo>
                    <a:cubicBezTo>
                      <a:pt x="34" y="36"/>
                      <a:pt x="34" y="36"/>
                      <a:pt x="34" y="36"/>
                    </a:cubicBezTo>
                    <a:cubicBezTo>
                      <a:pt x="47" y="54"/>
                      <a:pt x="47" y="54"/>
                      <a:pt x="47" y="54"/>
                    </a:cubicBezTo>
                    <a:cubicBezTo>
                      <a:pt x="60" y="73"/>
                      <a:pt x="60" y="73"/>
                      <a:pt x="60" y="73"/>
                    </a:cubicBezTo>
                    <a:cubicBezTo>
                      <a:pt x="60" y="73"/>
                      <a:pt x="60" y="74"/>
                      <a:pt x="60" y="74"/>
                    </a:cubicBezTo>
                    <a:cubicBezTo>
                      <a:pt x="59" y="75"/>
                      <a:pt x="58" y="75"/>
                      <a:pt x="58" y="74"/>
                    </a:cubicBezTo>
                    <a:cubicBezTo>
                      <a:pt x="45" y="55"/>
                      <a:pt x="45" y="55"/>
                      <a:pt x="45" y="55"/>
                    </a:cubicBezTo>
                    <a:cubicBezTo>
                      <a:pt x="32" y="38"/>
                      <a:pt x="32" y="38"/>
                      <a:pt x="32" y="38"/>
                    </a:cubicBezTo>
                    <a:cubicBezTo>
                      <a:pt x="18" y="20"/>
                      <a:pt x="18" y="20"/>
                      <a:pt x="18" y="20"/>
                    </a:cubicBezTo>
                    <a:cubicBezTo>
                      <a:pt x="0" y="2"/>
                      <a:pt x="0" y="2"/>
                      <a:pt x="0" y="2"/>
                    </a:cubicBezTo>
                    <a:cubicBezTo>
                      <a:pt x="0" y="2"/>
                      <a:pt x="0" y="1"/>
                      <a:pt x="0" y="0"/>
                    </a:cubicBezTo>
                    <a:cubicBezTo>
                      <a:pt x="1"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374">
                <a:extLst>
                  <a:ext uri="{FF2B5EF4-FFF2-40B4-BE49-F238E27FC236}">
                    <a16:creationId xmlns:a16="http://schemas.microsoft.com/office/drawing/2014/main" id="{E5BD634B-FC21-4889-AC9E-459EE94789CA}"/>
                  </a:ext>
                </a:extLst>
              </p:cNvPr>
              <p:cNvSpPr>
                <a:spLocks/>
              </p:cNvSpPr>
              <p:nvPr/>
            </p:nvSpPr>
            <p:spPr bwMode="auto">
              <a:xfrm>
                <a:off x="10620375" y="3540125"/>
                <a:ext cx="52387" cy="301625"/>
              </a:xfrm>
              <a:custGeom>
                <a:avLst/>
                <a:gdLst>
                  <a:gd name="T0" fmla="*/ 14 w 14"/>
                  <a:gd name="T1" fmla="*/ 2 h 80"/>
                  <a:gd name="T2" fmla="*/ 2 w 14"/>
                  <a:gd name="T3" fmla="*/ 79 h 80"/>
                  <a:gd name="T4" fmla="*/ 1 w 14"/>
                  <a:gd name="T5" fmla="*/ 80 h 80"/>
                  <a:gd name="T6" fmla="*/ 0 w 14"/>
                  <a:gd name="T7" fmla="*/ 78 h 80"/>
                  <a:gd name="T8" fmla="*/ 12 w 14"/>
                  <a:gd name="T9" fmla="*/ 1 h 80"/>
                  <a:gd name="T10" fmla="*/ 13 w 14"/>
                  <a:gd name="T11" fmla="*/ 1 h 80"/>
                  <a:gd name="T12" fmla="*/ 14 w 14"/>
                  <a:gd name="T13" fmla="*/ 2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14" y="2"/>
                    </a:moveTo>
                    <a:cubicBezTo>
                      <a:pt x="2" y="79"/>
                      <a:pt x="2" y="79"/>
                      <a:pt x="2" y="79"/>
                    </a:cubicBezTo>
                    <a:cubicBezTo>
                      <a:pt x="2" y="79"/>
                      <a:pt x="1" y="80"/>
                      <a:pt x="1" y="80"/>
                    </a:cubicBezTo>
                    <a:cubicBezTo>
                      <a:pt x="0" y="80"/>
                      <a:pt x="0" y="79"/>
                      <a:pt x="0" y="78"/>
                    </a:cubicBezTo>
                    <a:cubicBezTo>
                      <a:pt x="12" y="1"/>
                      <a:pt x="12" y="1"/>
                      <a:pt x="12" y="1"/>
                    </a:cubicBezTo>
                    <a:cubicBezTo>
                      <a:pt x="12" y="1"/>
                      <a:pt x="12" y="0"/>
                      <a:pt x="13" y="1"/>
                    </a:cubicBezTo>
                    <a:cubicBezTo>
                      <a:pt x="14" y="1"/>
                      <a:pt x="14" y="1"/>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375">
                <a:extLst>
                  <a:ext uri="{FF2B5EF4-FFF2-40B4-BE49-F238E27FC236}">
                    <a16:creationId xmlns:a16="http://schemas.microsoft.com/office/drawing/2014/main" id="{8C54009A-EF9A-4406-A1CE-6ECF02207140}"/>
                  </a:ext>
                </a:extLst>
              </p:cNvPr>
              <p:cNvSpPr>
                <a:spLocks/>
              </p:cNvSpPr>
              <p:nvPr/>
            </p:nvSpPr>
            <p:spPr bwMode="auto">
              <a:xfrm>
                <a:off x="10590212" y="3540125"/>
                <a:ext cx="263525" cy="114300"/>
              </a:xfrm>
              <a:custGeom>
                <a:avLst/>
                <a:gdLst>
                  <a:gd name="T0" fmla="*/ 1 w 70"/>
                  <a:gd name="T1" fmla="*/ 27 h 30"/>
                  <a:gd name="T2" fmla="*/ 16 w 70"/>
                  <a:gd name="T3" fmla="*/ 19 h 30"/>
                  <a:gd name="T4" fmla="*/ 33 w 70"/>
                  <a:gd name="T5" fmla="*/ 12 h 30"/>
                  <a:gd name="T6" fmla="*/ 50 w 70"/>
                  <a:gd name="T7" fmla="*/ 6 h 30"/>
                  <a:gd name="T8" fmla="*/ 69 w 70"/>
                  <a:gd name="T9" fmla="*/ 1 h 30"/>
                  <a:gd name="T10" fmla="*/ 70 w 70"/>
                  <a:gd name="T11" fmla="*/ 1 h 30"/>
                  <a:gd name="T12" fmla="*/ 69 w 70"/>
                  <a:gd name="T13" fmla="*/ 3 h 30"/>
                  <a:gd name="T14" fmla="*/ 51 w 70"/>
                  <a:gd name="T15" fmla="*/ 8 h 30"/>
                  <a:gd name="T16" fmla="*/ 34 w 70"/>
                  <a:gd name="T17" fmla="*/ 14 h 30"/>
                  <a:gd name="T18" fmla="*/ 17 w 70"/>
                  <a:gd name="T19" fmla="*/ 21 h 30"/>
                  <a:gd name="T20" fmla="*/ 2 w 70"/>
                  <a:gd name="T21" fmla="*/ 29 h 30"/>
                  <a:gd name="T22" fmla="*/ 0 w 70"/>
                  <a:gd name="T23" fmla="*/ 29 h 30"/>
                  <a:gd name="T24" fmla="*/ 1 w 70"/>
                  <a:gd name="T2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0">
                    <a:moveTo>
                      <a:pt x="1" y="27"/>
                    </a:moveTo>
                    <a:cubicBezTo>
                      <a:pt x="16" y="19"/>
                      <a:pt x="16" y="19"/>
                      <a:pt x="16" y="19"/>
                    </a:cubicBezTo>
                    <a:cubicBezTo>
                      <a:pt x="33" y="12"/>
                      <a:pt x="33" y="12"/>
                      <a:pt x="33" y="12"/>
                    </a:cubicBezTo>
                    <a:cubicBezTo>
                      <a:pt x="50" y="6"/>
                      <a:pt x="50" y="6"/>
                      <a:pt x="50" y="6"/>
                    </a:cubicBezTo>
                    <a:cubicBezTo>
                      <a:pt x="69" y="1"/>
                      <a:pt x="69" y="1"/>
                      <a:pt x="69" y="1"/>
                    </a:cubicBezTo>
                    <a:cubicBezTo>
                      <a:pt x="69" y="0"/>
                      <a:pt x="70" y="1"/>
                      <a:pt x="70" y="1"/>
                    </a:cubicBezTo>
                    <a:cubicBezTo>
                      <a:pt x="70" y="2"/>
                      <a:pt x="70" y="3"/>
                      <a:pt x="69" y="3"/>
                    </a:cubicBezTo>
                    <a:cubicBezTo>
                      <a:pt x="51" y="8"/>
                      <a:pt x="51" y="8"/>
                      <a:pt x="51" y="8"/>
                    </a:cubicBezTo>
                    <a:cubicBezTo>
                      <a:pt x="34" y="14"/>
                      <a:pt x="34" y="14"/>
                      <a:pt x="34" y="14"/>
                    </a:cubicBezTo>
                    <a:cubicBezTo>
                      <a:pt x="17" y="21"/>
                      <a:pt x="17" y="21"/>
                      <a:pt x="17" y="21"/>
                    </a:cubicBezTo>
                    <a:cubicBezTo>
                      <a:pt x="2" y="29"/>
                      <a:pt x="2" y="29"/>
                      <a:pt x="2" y="29"/>
                    </a:cubicBezTo>
                    <a:cubicBezTo>
                      <a:pt x="2" y="30"/>
                      <a:pt x="1" y="29"/>
                      <a:pt x="0" y="29"/>
                    </a:cubicBezTo>
                    <a:cubicBezTo>
                      <a:pt x="0" y="28"/>
                      <a:pt x="0" y="27"/>
                      <a:pt x="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76">
                <a:extLst>
                  <a:ext uri="{FF2B5EF4-FFF2-40B4-BE49-F238E27FC236}">
                    <a16:creationId xmlns:a16="http://schemas.microsoft.com/office/drawing/2014/main" id="{C4D3F05B-BCDE-46FE-9FFB-08F6BE2421AD}"/>
                  </a:ext>
                </a:extLst>
              </p:cNvPr>
              <p:cNvSpPr>
                <a:spLocks/>
              </p:cNvSpPr>
              <p:nvPr/>
            </p:nvSpPr>
            <p:spPr bwMode="auto">
              <a:xfrm>
                <a:off x="10601325" y="3646487"/>
                <a:ext cx="360362" cy="33338"/>
              </a:xfrm>
              <a:custGeom>
                <a:avLst/>
                <a:gdLst>
                  <a:gd name="T0" fmla="*/ 1 w 96"/>
                  <a:gd name="T1" fmla="*/ 4 h 9"/>
                  <a:gd name="T2" fmla="*/ 24 w 96"/>
                  <a:gd name="T3" fmla="*/ 1 h 9"/>
                  <a:gd name="T4" fmla="*/ 48 w 96"/>
                  <a:gd name="T5" fmla="*/ 0 h 9"/>
                  <a:gd name="T6" fmla="*/ 71 w 96"/>
                  <a:gd name="T7" fmla="*/ 2 h 9"/>
                  <a:gd name="T8" fmla="*/ 95 w 96"/>
                  <a:gd name="T9" fmla="*/ 6 h 9"/>
                  <a:gd name="T10" fmla="*/ 96 w 96"/>
                  <a:gd name="T11" fmla="*/ 8 h 9"/>
                  <a:gd name="T12" fmla="*/ 95 w 96"/>
                  <a:gd name="T13" fmla="*/ 8 h 9"/>
                  <a:gd name="T14" fmla="*/ 71 w 96"/>
                  <a:gd name="T15" fmla="*/ 4 h 9"/>
                  <a:gd name="T16" fmla="*/ 48 w 96"/>
                  <a:gd name="T17" fmla="*/ 3 h 9"/>
                  <a:gd name="T18" fmla="*/ 25 w 96"/>
                  <a:gd name="T19" fmla="*/ 3 h 9"/>
                  <a:gd name="T20" fmla="*/ 1 w 96"/>
                  <a:gd name="T21" fmla="*/ 6 h 9"/>
                  <a:gd name="T22" fmla="*/ 0 w 96"/>
                  <a:gd name="T23" fmla="*/ 5 h 9"/>
                  <a:gd name="T24" fmla="*/ 1 w 96"/>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
                    <a:moveTo>
                      <a:pt x="1" y="4"/>
                    </a:moveTo>
                    <a:cubicBezTo>
                      <a:pt x="24" y="1"/>
                      <a:pt x="24" y="1"/>
                      <a:pt x="24" y="1"/>
                    </a:cubicBezTo>
                    <a:cubicBezTo>
                      <a:pt x="48" y="0"/>
                      <a:pt x="48" y="0"/>
                      <a:pt x="48" y="0"/>
                    </a:cubicBezTo>
                    <a:cubicBezTo>
                      <a:pt x="71" y="2"/>
                      <a:pt x="71" y="2"/>
                      <a:pt x="71" y="2"/>
                    </a:cubicBezTo>
                    <a:cubicBezTo>
                      <a:pt x="95" y="6"/>
                      <a:pt x="95" y="6"/>
                      <a:pt x="95" y="6"/>
                    </a:cubicBezTo>
                    <a:cubicBezTo>
                      <a:pt x="96" y="6"/>
                      <a:pt x="96" y="7"/>
                      <a:pt x="96" y="8"/>
                    </a:cubicBezTo>
                    <a:cubicBezTo>
                      <a:pt x="96" y="8"/>
                      <a:pt x="95" y="9"/>
                      <a:pt x="95" y="8"/>
                    </a:cubicBezTo>
                    <a:cubicBezTo>
                      <a:pt x="71" y="4"/>
                      <a:pt x="71" y="4"/>
                      <a:pt x="71" y="4"/>
                    </a:cubicBezTo>
                    <a:cubicBezTo>
                      <a:pt x="48" y="3"/>
                      <a:pt x="48" y="3"/>
                      <a:pt x="48" y="3"/>
                    </a:cubicBezTo>
                    <a:cubicBezTo>
                      <a:pt x="25" y="3"/>
                      <a:pt x="25" y="3"/>
                      <a:pt x="25" y="3"/>
                    </a:cubicBezTo>
                    <a:cubicBezTo>
                      <a:pt x="1" y="6"/>
                      <a:pt x="1" y="6"/>
                      <a:pt x="1" y="6"/>
                    </a:cubicBezTo>
                    <a:cubicBezTo>
                      <a:pt x="0" y="6"/>
                      <a:pt x="0" y="6"/>
                      <a:pt x="0" y="5"/>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377">
                <a:extLst>
                  <a:ext uri="{FF2B5EF4-FFF2-40B4-BE49-F238E27FC236}">
                    <a16:creationId xmlns:a16="http://schemas.microsoft.com/office/drawing/2014/main" id="{84996D97-AD38-4C0D-9276-6D32488FFE96}"/>
                  </a:ext>
                </a:extLst>
              </p:cNvPr>
              <p:cNvSpPr>
                <a:spLocks/>
              </p:cNvSpPr>
              <p:nvPr/>
            </p:nvSpPr>
            <p:spPr bwMode="auto">
              <a:xfrm>
                <a:off x="10571162" y="3706812"/>
                <a:ext cx="112712" cy="96838"/>
              </a:xfrm>
              <a:custGeom>
                <a:avLst/>
                <a:gdLst>
                  <a:gd name="T0" fmla="*/ 3 w 30"/>
                  <a:gd name="T1" fmla="*/ 0 h 26"/>
                  <a:gd name="T2" fmla="*/ 14 w 30"/>
                  <a:gd name="T3" fmla="*/ 13 h 26"/>
                  <a:gd name="T4" fmla="*/ 14 w 30"/>
                  <a:gd name="T5" fmla="*/ 13 h 26"/>
                  <a:gd name="T6" fmla="*/ 29 w 30"/>
                  <a:gd name="T7" fmla="*/ 24 h 26"/>
                  <a:gd name="T8" fmla="*/ 29 w 30"/>
                  <a:gd name="T9" fmla="*/ 26 h 26"/>
                  <a:gd name="T10" fmla="*/ 28 w 30"/>
                  <a:gd name="T11" fmla="*/ 26 h 26"/>
                  <a:gd name="T12" fmla="*/ 13 w 30"/>
                  <a:gd name="T13" fmla="*/ 15 h 26"/>
                  <a:gd name="T14" fmla="*/ 13 w 30"/>
                  <a:gd name="T15" fmla="*/ 14 h 26"/>
                  <a:gd name="T16" fmla="*/ 1 w 30"/>
                  <a:gd name="T17" fmla="*/ 2 h 26"/>
                  <a:gd name="T18" fmla="*/ 1 w 30"/>
                  <a:gd name="T19" fmla="*/ 0 h 26"/>
                  <a:gd name="T20" fmla="*/ 3 w 3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6">
                    <a:moveTo>
                      <a:pt x="3" y="0"/>
                    </a:moveTo>
                    <a:cubicBezTo>
                      <a:pt x="14" y="13"/>
                      <a:pt x="14" y="13"/>
                      <a:pt x="14" y="13"/>
                    </a:cubicBezTo>
                    <a:cubicBezTo>
                      <a:pt x="14" y="13"/>
                      <a:pt x="14" y="13"/>
                      <a:pt x="14" y="13"/>
                    </a:cubicBezTo>
                    <a:cubicBezTo>
                      <a:pt x="29" y="24"/>
                      <a:pt x="29" y="24"/>
                      <a:pt x="29" y="24"/>
                    </a:cubicBezTo>
                    <a:cubicBezTo>
                      <a:pt x="30" y="24"/>
                      <a:pt x="30" y="25"/>
                      <a:pt x="29" y="26"/>
                    </a:cubicBezTo>
                    <a:cubicBezTo>
                      <a:pt x="29" y="26"/>
                      <a:pt x="28" y="26"/>
                      <a:pt x="28" y="26"/>
                    </a:cubicBezTo>
                    <a:cubicBezTo>
                      <a:pt x="13" y="15"/>
                      <a:pt x="13" y="15"/>
                      <a:pt x="13" y="15"/>
                    </a:cubicBezTo>
                    <a:cubicBezTo>
                      <a:pt x="13" y="15"/>
                      <a:pt x="13" y="14"/>
                      <a:pt x="13" y="14"/>
                    </a:cubicBezTo>
                    <a:cubicBezTo>
                      <a:pt x="1" y="2"/>
                      <a:pt x="1" y="2"/>
                      <a:pt x="1" y="2"/>
                    </a:cubicBezTo>
                    <a:cubicBezTo>
                      <a:pt x="0" y="1"/>
                      <a:pt x="0" y="1"/>
                      <a:pt x="1"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378">
                <a:extLst>
                  <a:ext uri="{FF2B5EF4-FFF2-40B4-BE49-F238E27FC236}">
                    <a16:creationId xmlns:a16="http://schemas.microsoft.com/office/drawing/2014/main" id="{0B82F80D-6A24-4E56-9E3F-9A972DE1F9F4}"/>
                  </a:ext>
                </a:extLst>
              </p:cNvPr>
              <p:cNvSpPr>
                <a:spLocks/>
              </p:cNvSpPr>
              <p:nvPr/>
            </p:nvSpPr>
            <p:spPr bwMode="auto">
              <a:xfrm>
                <a:off x="10853737" y="3695700"/>
                <a:ext cx="127000" cy="107950"/>
              </a:xfrm>
              <a:custGeom>
                <a:avLst/>
                <a:gdLst>
                  <a:gd name="T0" fmla="*/ 34 w 34"/>
                  <a:gd name="T1" fmla="*/ 2 h 29"/>
                  <a:gd name="T2" fmla="*/ 20 w 34"/>
                  <a:gd name="T3" fmla="*/ 17 h 29"/>
                  <a:gd name="T4" fmla="*/ 20 w 34"/>
                  <a:gd name="T5" fmla="*/ 17 h 29"/>
                  <a:gd name="T6" fmla="*/ 11 w 34"/>
                  <a:gd name="T7" fmla="*/ 23 h 29"/>
                  <a:gd name="T8" fmla="*/ 2 w 34"/>
                  <a:gd name="T9" fmla="*/ 29 h 29"/>
                  <a:gd name="T10" fmla="*/ 0 w 34"/>
                  <a:gd name="T11" fmla="*/ 29 h 29"/>
                  <a:gd name="T12" fmla="*/ 1 w 34"/>
                  <a:gd name="T13" fmla="*/ 27 h 29"/>
                  <a:gd name="T14" fmla="*/ 10 w 34"/>
                  <a:gd name="T15" fmla="*/ 21 h 29"/>
                  <a:gd name="T16" fmla="*/ 18 w 34"/>
                  <a:gd name="T17" fmla="*/ 15 h 29"/>
                  <a:gd name="T18" fmla="*/ 18 w 34"/>
                  <a:gd name="T19" fmla="*/ 15 h 29"/>
                  <a:gd name="T20" fmla="*/ 32 w 34"/>
                  <a:gd name="T21" fmla="*/ 1 h 29"/>
                  <a:gd name="T22" fmla="*/ 34 w 34"/>
                  <a:gd name="T23" fmla="*/ 1 h 29"/>
                  <a:gd name="T24" fmla="*/ 34 w 34"/>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9">
                    <a:moveTo>
                      <a:pt x="34" y="2"/>
                    </a:moveTo>
                    <a:cubicBezTo>
                      <a:pt x="20" y="17"/>
                      <a:pt x="20" y="17"/>
                      <a:pt x="20" y="17"/>
                    </a:cubicBezTo>
                    <a:cubicBezTo>
                      <a:pt x="20" y="17"/>
                      <a:pt x="20" y="17"/>
                      <a:pt x="20" y="17"/>
                    </a:cubicBezTo>
                    <a:cubicBezTo>
                      <a:pt x="11" y="23"/>
                      <a:pt x="11" y="23"/>
                      <a:pt x="11" y="23"/>
                    </a:cubicBezTo>
                    <a:cubicBezTo>
                      <a:pt x="2" y="29"/>
                      <a:pt x="2" y="29"/>
                      <a:pt x="2" y="29"/>
                    </a:cubicBezTo>
                    <a:cubicBezTo>
                      <a:pt x="2" y="29"/>
                      <a:pt x="1" y="29"/>
                      <a:pt x="0" y="29"/>
                    </a:cubicBezTo>
                    <a:cubicBezTo>
                      <a:pt x="0" y="28"/>
                      <a:pt x="0" y="27"/>
                      <a:pt x="1" y="27"/>
                    </a:cubicBezTo>
                    <a:cubicBezTo>
                      <a:pt x="10" y="21"/>
                      <a:pt x="10" y="21"/>
                      <a:pt x="10" y="21"/>
                    </a:cubicBezTo>
                    <a:cubicBezTo>
                      <a:pt x="18" y="15"/>
                      <a:pt x="18" y="15"/>
                      <a:pt x="18" y="15"/>
                    </a:cubicBezTo>
                    <a:cubicBezTo>
                      <a:pt x="18" y="15"/>
                      <a:pt x="18" y="15"/>
                      <a:pt x="18" y="15"/>
                    </a:cubicBezTo>
                    <a:cubicBezTo>
                      <a:pt x="32" y="1"/>
                      <a:pt x="32" y="1"/>
                      <a:pt x="32" y="1"/>
                    </a:cubicBezTo>
                    <a:cubicBezTo>
                      <a:pt x="32" y="0"/>
                      <a:pt x="33" y="0"/>
                      <a:pt x="34" y="1"/>
                    </a:cubicBezTo>
                    <a:cubicBezTo>
                      <a:pt x="34" y="1"/>
                      <a:pt x="34" y="2"/>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79">
                <a:extLst>
                  <a:ext uri="{FF2B5EF4-FFF2-40B4-BE49-F238E27FC236}">
                    <a16:creationId xmlns:a16="http://schemas.microsoft.com/office/drawing/2014/main" id="{CF289512-B662-4DCF-A3FD-210A7C97095C}"/>
                  </a:ext>
                </a:extLst>
              </p:cNvPr>
              <p:cNvSpPr>
                <a:spLocks/>
              </p:cNvSpPr>
              <p:nvPr/>
            </p:nvSpPr>
            <p:spPr bwMode="auto">
              <a:xfrm>
                <a:off x="10699750" y="3713162"/>
                <a:ext cx="120650" cy="131763"/>
              </a:xfrm>
              <a:custGeom>
                <a:avLst/>
                <a:gdLst>
                  <a:gd name="T0" fmla="*/ 17 w 32"/>
                  <a:gd name="T1" fmla="*/ 35 h 35"/>
                  <a:gd name="T2" fmla="*/ 32 w 32"/>
                  <a:gd name="T3" fmla="*/ 17 h 35"/>
                  <a:gd name="T4" fmla="*/ 16 w 32"/>
                  <a:gd name="T5" fmla="*/ 1 h 35"/>
                  <a:gd name="T6" fmla="*/ 0 w 32"/>
                  <a:gd name="T7" fmla="*/ 19 h 35"/>
                  <a:gd name="T8" fmla="*/ 17 w 32"/>
                  <a:gd name="T9" fmla="*/ 35 h 35"/>
                </a:gdLst>
                <a:ahLst/>
                <a:cxnLst>
                  <a:cxn ang="0">
                    <a:pos x="T0" y="T1"/>
                  </a:cxn>
                  <a:cxn ang="0">
                    <a:pos x="T2" y="T3"/>
                  </a:cxn>
                  <a:cxn ang="0">
                    <a:pos x="T4" y="T5"/>
                  </a:cxn>
                  <a:cxn ang="0">
                    <a:pos x="T6" y="T7"/>
                  </a:cxn>
                  <a:cxn ang="0">
                    <a:pos x="T8" y="T9"/>
                  </a:cxn>
                </a:cxnLst>
                <a:rect l="0" t="0" r="r" b="b"/>
                <a:pathLst>
                  <a:path w="32" h="35">
                    <a:moveTo>
                      <a:pt x="17" y="35"/>
                    </a:moveTo>
                    <a:cubicBezTo>
                      <a:pt x="26" y="34"/>
                      <a:pt x="32" y="26"/>
                      <a:pt x="32" y="17"/>
                    </a:cubicBezTo>
                    <a:cubicBezTo>
                      <a:pt x="32" y="8"/>
                      <a:pt x="25" y="0"/>
                      <a:pt x="16" y="1"/>
                    </a:cubicBezTo>
                    <a:cubicBezTo>
                      <a:pt x="7" y="2"/>
                      <a:pt x="0" y="10"/>
                      <a:pt x="0" y="19"/>
                    </a:cubicBezTo>
                    <a:cubicBezTo>
                      <a:pt x="0" y="28"/>
                      <a:pt x="8" y="35"/>
                      <a:pt x="17" y="35"/>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380">
                <a:extLst>
                  <a:ext uri="{FF2B5EF4-FFF2-40B4-BE49-F238E27FC236}">
                    <a16:creationId xmlns:a16="http://schemas.microsoft.com/office/drawing/2014/main" id="{33F7EBAB-B262-4F66-B6A4-6B358C6FB5F6}"/>
                  </a:ext>
                </a:extLst>
              </p:cNvPr>
              <p:cNvSpPr>
                <a:spLocks/>
              </p:cNvSpPr>
              <p:nvPr/>
            </p:nvSpPr>
            <p:spPr bwMode="auto">
              <a:xfrm>
                <a:off x="10642600" y="3863975"/>
                <a:ext cx="233362" cy="150813"/>
              </a:xfrm>
              <a:custGeom>
                <a:avLst/>
                <a:gdLst>
                  <a:gd name="T0" fmla="*/ 1 w 62"/>
                  <a:gd name="T1" fmla="*/ 34 h 40"/>
                  <a:gd name="T2" fmla="*/ 1 w 62"/>
                  <a:gd name="T3" fmla="*/ 27 h 40"/>
                  <a:gd name="T4" fmla="*/ 23 w 62"/>
                  <a:gd name="T5" fmla="*/ 4 h 40"/>
                  <a:gd name="T6" fmla="*/ 59 w 62"/>
                  <a:gd name="T7" fmla="*/ 22 h 40"/>
                  <a:gd name="T8" fmla="*/ 50 w 62"/>
                  <a:gd name="T9" fmla="*/ 36 h 40"/>
                  <a:gd name="T10" fmla="*/ 1 w 62"/>
                  <a:gd name="T11" fmla="*/ 34 h 40"/>
                </a:gdLst>
                <a:ahLst/>
                <a:cxnLst>
                  <a:cxn ang="0">
                    <a:pos x="T0" y="T1"/>
                  </a:cxn>
                  <a:cxn ang="0">
                    <a:pos x="T2" y="T3"/>
                  </a:cxn>
                  <a:cxn ang="0">
                    <a:pos x="T4" y="T5"/>
                  </a:cxn>
                  <a:cxn ang="0">
                    <a:pos x="T6" y="T7"/>
                  </a:cxn>
                  <a:cxn ang="0">
                    <a:pos x="T8" y="T9"/>
                  </a:cxn>
                  <a:cxn ang="0">
                    <a:pos x="T10" y="T11"/>
                  </a:cxn>
                </a:cxnLst>
                <a:rect l="0" t="0" r="r" b="b"/>
                <a:pathLst>
                  <a:path w="62" h="40">
                    <a:moveTo>
                      <a:pt x="1" y="34"/>
                    </a:moveTo>
                    <a:cubicBezTo>
                      <a:pt x="0" y="32"/>
                      <a:pt x="1" y="29"/>
                      <a:pt x="1" y="27"/>
                    </a:cubicBezTo>
                    <a:cubicBezTo>
                      <a:pt x="4" y="16"/>
                      <a:pt x="12" y="7"/>
                      <a:pt x="23" y="4"/>
                    </a:cubicBezTo>
                    <a:cubicBezTo>
                      <a:pt x="43" y="0"/>
                      <a:pt x="55" y="10"/>
                      <a:pt x="59" y="22"/>
                    </a:cubicBezTo>
                    <a:cubicBezTo>
                      <a:pt x="62" y="28"/>
                      <a:pt x="57" y="35"/>
                      <a:pt x="50" y="36"/>
                    </a:cubicBezTo>
                    <a:cubicBezTo>
                      <a:pt x="28" y="40"/>
                      <a:pt x="14" y="34"/>
                      <a:pt x="1" y="3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9" name="Freeform 332">
              <a:extLst>
                <a:ext uri="{FF2B5EF4-FFF2-40B4-BE49-F238E27FC236}">
                  <a16:creationId xmlns:a16="http://schemas.microsoft.com/office/drawing/2014/main" id="{7F0222B6-1ACA-40E9-A359-656B6AC31E8E}"/>
                </a:ext>
              </a:extLst>
            </p:cNvPr>
            <p:cNvSpPr>
              <a:spLocks noEditPoints="1"/>
            </p:cNvSpPr>
            <p:nvPr/>
          </p:nvSpPr>
          <p:spPr bwMode="auto">
            <a:xfrm>
              <a:off x="4897923" y="1959754"/>
              <a:ext cx="285561" cy="240216"/>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0" name="Group 4">
              <a:extLst>
                <a:ext uri="{FF2B5EF4-FFF2-40B4-BE49-F238E27FC236}">
                  <a16:creationId xmlns:a16="http://schemas.microsoft.com/office/drawing/2014/main" id="{03C039A0-E132-4FD9-B0DC-2FFE1B158877}"/>
                </a:ext>
              </a:extLst>
            </p:cNvPr>
            <p:cNvGrpSpPr/>
            <p:nvPr/>
          </p:nvGrpSpPr>
          <p:grpSpPr>
            <a:xfrm>
              <a:off x="771820" y="1924165"/>
              <a:ext cx="345367" cy="253891"/>
              <a:chOff x="406149" y="1882410"/>
              <a:chExt cx="585104" cy="468756"/>
            </a:xfrm>
          </p:grpSpPr>
          <p:sp>
            <p:nvSpPr>
              <p:cNvPr id="251" name="Freeform 5">
                <a:extLst>
                  <a:ext uri="{FF2B5EF4-FFF2-40B4-BE49-F238E27FC236}">
                    <a16:creationId xmlns:a16="http://schemas.microsoft.com/office/drawing/2014/main" id="{95C3A2B8-E0B6-49F5-88FC-0B6EDDF0C010}"/>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2" name="Freeform 6">
                <a:extLst>
                  <a:ext uri="{FF2B5EF4-FFF2-40B4-BE49-F238E27FC236}">
                    <a16:creationId xmlns:a16="http://schemas.microsoft.com/office/drawing/2014/main" id="{D99D8470-E85C-429E-8CD6-F38B0E6EF28A}"/>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3" name="Rectangle 7">
                <a:extLst>
                  <a:ext uri="{FF2B5EF4-FFF2-40B4-BE49-F238E27FC236}">
                    <a16:creationId xmlns:a16="http://schemas.microsoft.com/office/drawing/2014/main" id="{DBE79B93-1D57-434E-8D2A-6C2CAE365049}"/>
                  </a:ext>
                </a:extLst>
              </p:cNvPr>
              <p:cNvSpPr>
                <a:spLocks noChangeArrowheads="1"/>
              </p:cNvSpPr>
              <p:nvPr/>
            </p:nvSpPr>
            <p:spPr bwMode="auto">
              <a:xfrm>
                <a:off x="47949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4" name="Rectangle 8">
                <a:extLst>
                  <a:ext uri="{FF2B5EF4-FFF2-40B4-BE49-F238E27FC236}">
                    <a16:creationId xmlns:a16="http://schemas.microsoft.com/office/drawing/2014/main" id="{110B21DD-1F36-4948-9D20-F6AD8BC7F0D6}"/>
                  </a:ext>
                </a:extLst>
              </p:cNvPr>
              <p:cNvSpPr>
                <a:spLocks noChangeArrowheads="1"/>
              </p:cNvSpPr>
              <p:nvPr/>
            </p:nvSpPr>
            <p:spPr bwMode="auto">
              <a:xfrm>
                <a:off x="65991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5" name="Rectangle 9">
                <a:extLst>
                  <a:ext uri="{FF2B5EF4-FFF2-40B4-BE49-F238E27FC236}">
                    <a16:creationId xmlns:a16="http://schemas.microsoft.com/office/drawing/2014/main" id="{5312BB4D-1339-46E5-86B2-C3A4A69F7B8D}"/>
                  </a:ext>
                </a:extLst>
              </p:cNvPr>
              <p:cNvSpPr>
                <a:spLocks noChangeArrowheads="1"/>
              </p:cNvSpPr>
              <p:nvPr/>
            </p:nvSpPr>
            <p:spPr bwMode="auto">
              <a:xfrm>
                <a:off x="570551" y="2140395"/>
                <a:ext cx="50585"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6" name="Rectangle 10">
                <a:extLst>
                  <a:ext uri="{FF2B5EF4-FFF2-40B4-BE49-F238E27FC236}">
                    <a16:creationId xmlns:a16="http://schemas.microsoft.com/office/drawing/2014/main" id="{61D2411E-326E-4470-924D-CE5F1554BE93}"/>
                  </a:ext>
                </a:extLst>
              </p:cNvPr>
              <p:cNvSpPr>
                <a:spLocks noChangeArrowheads="1"/>
              </p:cNvSpPr>
              <p:nvPr/>
            </p:nvSpPr>
            <p:spPr bwMode="auto">
              <a:xfrm>
                <a:off x="479498" y="2051871"/>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7" name="Rectangle 11">
                <a:extLst>
                  <a:ext uri="{FF2B5EF4-FFF2-40B4-BE49-F238E27FC236}">
                    <a16:creationId xmlns:a16="http://schemas.microsoft.com/office/drawing/2014/main" id="{C0A1585C-BAD7-43CA-9266-3A954B78996B}"/>
                  </a:ext>
                </a:extLst>
              </p:cNvPr>
              <p:cNvSpPr>
                <a:spLocks noChangeArrowheads="1"/>
              </p:cNvSpPr>
              <p:nvPr/>
            </p:nvSpPr>
            <p:spPr bwMode="auto">
              <a:xfrm>
                <a:off x="479498" y="2140395"/>
                <a:ext cx="51429"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8" name="Freeform 12">
                <a:extLst>
                  <a:ext uri="{FF2B5EF4-FFF2-40B4-BE49-F238E27FC236}">
                    <a16:creationId xmlns:a16="http://schemas.microsoft.com/office/drawing/2014/main" id="{9B656304-FC47-4B00-928C-A3453F438263}"/>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9" name="Freeform 13">
                <a:extLst>
                  <a:ext uri="{FF2B5EF4-FFF2-40B4-BE49-F238E27FC236}">
                    <a16:creationId xmlns:a16="http://schemas.microsoft.com/office/drawing/2014/main" id="{432D4101-6D2E-406D-AF83-0DCB30CFE83E}"/>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E"/>
              </a:p>
            </p:txBody>
          </p:sp>
          <p:sp>
            <p:nvSpPr>
              <p:cNvPr id="260" name="Freeform 14">
                <a:extLst>
                  <a:ext uri="{FF2B5EF4-FFF2-40B4-BE49-F238E27FC236}">
                    <a16:creationId xmlns:a16="http://schemas.microsoft.com/office/drawing/2014/main" id="{77EF84B1-BEAC-42D1-A1A9-F50DC301CF93}"/>
                  </a:ext>
                </a:extLst>
              </p:cNvPr>
              <p:cNvSpPr>
                <a:spLocks noEditPoints="1"/>
              </p:cNvSpPr>
              <p:nvPr/>
            </p:nvSpPr>
            <p:spPr bwMode="auto">
              <a:xfrm>
                <a:off x="623665" y="1882410"/>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61" name="Group 260">
              <a:extLst>
                <a:ext uri="{FF2B5EF4-FFF2-40B4-BE49-F238E27FC236}">
                  <a16:creationId xmlns:a16="http://schemas.microsoft.com/office/drawing/2014/main" id="{159E5B6B-DEB7-429E-AA7F-218068E44DA9}"/>
                </a:ext>
              </a:extLst>
            </p:cNvPr>
            <p:cNvGrpSpPr/>
            <p:nvPr/>
          </p:nvGrpSpPr>
          <p:grpSpPr>
            <a:xfrm>
              <a:off x="5921558" y="1939204"/>
              <a:ext cx="223280" cy="247448"/>
              <a:chOff x="614030" y="5323170"/>
              <a:chExt cx="257143" cy="311351"/>
            </a:xfrm>
          </p:grpSpPr>
          <p:grpSp>
            <p:nvGrpSpPr>
              <p:cNvPr id="262" name="Groupe 321">
                <a:extLst>
                  <a:ext uri="{FF2B5EF4-FFF2-40B4-BE49-F238E27FC236}">
                    <a16:creationId xmlns:a16="http://schemas.microsoft.com/office/drawing/2014/main" id="{0B73A6B6-B8D9-4B69-B42C-AFD638AE7ACF}"/>
                  </a:ext>
                </a:extLst>
              </p:cNvPr>
              <p:cNvGrpSpPr/>
              <p:nvPr/>
            </p:nvGrpSpPr>
            <p:grpSpPr>
              <a:xfrm>
                <a:off x="614030" y="5323170"/>
                <a:ext cx="257143" cy="311351"/>
                <a:chOff x="2138363" y="871538"/>
                <a:chExt cx="293688" cy="355600"/>
              </a:xfrm>
            </p:grpSpPr>
            <p:sp>
              <p:nvSpPr>
                <p:cNvPr id="268" name="Freeform 33">
                  <a:extLst>
                    <a:ext uri="{FF2B5EF4-FFF2-40B4-BE49-F238E27FC236}">
                      <a16:creationId xmlns:a16="http://schemas.microsoft.com/office/drawing/2014/main" id="{E6452364-0B3D-45C3-89F2-90EDD5CA8739}"/>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4">
                  <a:extLst>
                    <a:ext uri="{FF2B5EF4-FFF2-40B4-BE49-F238E27FC236}">
                      <a16:creationId xmlns:a16="http://schemas.microsoft.com/office/drawing/2014/main" id="{50E8DDA2-00D8-4207-986C-879EBD24BB28}"/>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e 1043">
                <a:extLst>
                  <a:ext uri="{FF2B5EF4-FFF2-40B4-BE49-F238E27FC236}">
                    <a16:creationId xmlns:a16="http://schemas.microsoft.com/office/drawing/2014/main" id="{25D9263F-0E82-483E-94D1-6F5D713A80AE}"/>
                  </a:ext>
                </a:extLst>
              </p:cNvPr>
              <p:cNvGrpSpPr/>
              <p:nvPr/>
            </p:nvGrpSpPr>
            <p:grpSpPr>
              <a:xfrm>
                <a:off x="661688" y="5427929"/>
                <a:ext cx="161826" cy="161011"/>
                <a:chOff x="8767763" y="2197100"/>
                <a:chExt cx="630238" cy="627062"/>
              </a:xfrm>
            </p:grpSpPr>
            <p:sp>
              <p:nvSpPr>
                <p:cNvPr id="264" name="Freeform 160">
                  <a:extLst>
                    <a:ext uri="{FF2B5EF4-FFF2-40B4-BE49-F238E27FC236}">
                      <a16:creationId xmlns:a16="http://schemas.microsoft.com/office/drawing/2014/main" id="{C1D8AAE4-15AB-4D73-A322-714FC64E5101}"/>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5" name="Freeform 161">
                  <a:extLst>
                    <a:ext uri="{FF2B5EF4-FFF2-40B4-BE49-F238E27FC236}">
                      <a16:creationId xmlns:a16="http://schemas.microsoft.com/office/drawing/2014/main" id="{DCB7E7C8-350A-4FAF-87E3-E8A5755FE500}"/>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6" name="Freeform 162">
                  <a:extLst>
                    <a:ext uri="{FF2B5EF4-FFF2-40B4-BE49-F238E27FC236}">
                      <a16:creationId xmlns:a16="http://schemas.microsoft.com/office/drawing/2014/main" id="{66B22AFC-BCE3-4959-9808-5E3F45A3D0E7}"/>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7" name="Freeform 163">
                  <a:extLst>
                    <a:ext uri="{FF2B5EF4-FFF2-40B4-BE49-F238E27FC236}">
                      <a16:creationId xmlns:a16="http://schemas.microsoft.com/office/drawing/2014/main" id="{0E0C89BB-F872-4D84-B7D6-76BF39981445}"/>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70" name="Group 269">
              <a:extLst>
                <a:ext uri="{FF2B5EF4-FFF2-40B4-BE49-F238E27FC236}">
                  <a16:creationId xmlns:a16="http://schemas.microsoft.com/office/drawing/2014/main" id="{0401874C-97D5-422B-A382-187F954CBF10}"/>
                </a:ext>
              </a:extLst>
            </p:cNvPr>
            <p:cNvGrpSpPr/>
            <p:nvPr/>
          </p:nvGrpSpPr>
          <p:grpSpPr>
            <a:xfrm>
              <a:off x="10986996" y="1947160"/>
              <a:ext cx="335180" cy="214497"/>
              <a:chOff x="1720309" y="3404674"/>
              <a:chExt cx="414630" cy="342827"/>
            </a:xfrm>
          </p:grpSpPr>
          <p:sp>
            <p:nvSpPr>
              <p:cNvPr id="271" name="Freeform 118">
                <a:extLst>
                  <a:ext uri="{FF2B5EF4-FFF2-40B4-BE49-F238E27FC236}">
                    <a16:creationId xmlns:a16="http://schemas.microsoft.com/office/drawing/2014/main" id="{4DD9CA95-4FBB-4484-BD3E-5709E1813A7A}"/>
                  </a:ext>
                </a:extLst>
              </p:cNvPr>
              <p:cNvSpPr>
                <a:spLocks noEditPoints="1"/>
              </p:cNvSpPr>
              <p:nvPr/>
            </p:nvSpPr>
            <p:spPr bwMode="auto">
              <a:xfrm>
                <a:off x="1720309" y="3548590"/>
                <a:ext cx="414630" cy="198911"/>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72" name="Freeform 59">
                <a:extLst>
                  <a:ext uri="{FF2B5EF4-FFF2-40B4-BE49-F238E27FC236}">
                    <a16:creationId xmlns:a16="http://schemas.microsoft.com/office/drawing/2014/main" id="{63ADD709-583F-4E0E-BEF3-23E8A51103FD}"/>
                  </a:ext>
                </a:extLst>
              </p:cNvPr>
              <p:cNvSpPr>
                <a:spLocks/>
              </p:cNvSpPr>
              <p:nvPr/>
            </p:nvSpPr>
            <p:spPr bwMode="auto">
              <a:xfrm>
                <a:off x="1870843" y="3404674"/>
                <a:ext cx="161157" cy="146090"/>
              </a:xfrm>
              <a:custGeom>
                <a:avLst/>
                <a:gdLst>
                  <a:gd name="T0" fmla="*/ 102 w 104"/>
                  <a:gd name="T1" fmla="*/ 30 h 94"/>
                  <a:gd name="T2" fmla="*/ 102 w 104"/>
                  <a:gd name="T3" fmla="*/ 30 h 94"/>
                  <a:gd name="T4" fmla="*/ 102 w 104"/>
                  <a:gd name="T5" fmla="*/ 30 h 94"/>
                  <a:gd name="T6" fmla="*/ 102 w 104"/>
                  <a:gd name="T7" fmla="*/ 30 h 94"/>
                  <a:gd name="T8" fmla="*/ 101 w 104"/>
                  <a:gd name="T9" fmla="*/ 30 h 94"/>
                  <a:gd name="T10" fmla="*/ 96 w 104"/>
                  <a:gd name="T11" fmla="*/ 30 h 94"/>
                  <a:gd name="T12" fmla="*/ 74 w 104"/>
                  <a:gd name="T13" fmla="*/ 28 h 94"/>
                  <a:gd name="T14" fmla="*/ 64 w 104"/>
                  <a:gd name="T15" fmla="*/ 30 h 94"/>
                  <a:gd name="T16" fmla="*/ 63 w 104"/>
                  <a:gd name="T17" fmla="*/ 28 h 94"/>
                  <a:gd name="T18" fmla="*/ 56 w 104"/>
                  <a:gd name="T19" fmla="*/ 7 h 94"/>
                  <a:gd name="T20" fmla="*/ 50 w 104"/>
                  <a:gd name="T21" fmla="*/ 0 h 94"/>
                  <a:gd name="T22" fmla="*/ 43 w 104"/>
                  <a:gd name="T23" fmla="*/ 7 h 94"/>
                  <a:gd name="T24" fmla="*/ 35 w 104"/>
                  <a:gd name="T25" fmla="*/ 30 h 94"/>
                  <a:gd name="T26" fmla="*/ 11 w 104"/>
                  <a:gd name="T27" fmla="*/ 30 h 94"/>
                  <a:gd name="T28" fmla="*/ 9 w 104"/>
                  <a:gd name="T29" fmla="*/ 31 h 94"/>
                  <a:gd name="T30" fmla="*/ 4 w 104"/>
                  <a:gd name="T31" fmla="*/ 32 h 94"/>
                  <a:gd name="T32" fmla="*/ 7 w 104"/>
                  <a:gd name="T33" fmla="*/ 43 h 94"/>
                  <a:gd name="T34" fmla="*/ 27 w 104"/>
                  <a:gd name="T35" fmla="*/ 57 h 94"/>
                  <a:gd name="T36" fmla="*/ 19 w 104"/>
                  <a:gd name="T37" fmla="*/ 80 h 94"/>
                  <a:gd name="T38" fmla="*/ 30 w 104"/>
                  <a:gd name="T39" fmla="*/ 88 h 94"/>
                  <a:gd name="T40" fmla="*/ 50 w 104"/>
                  <a:gd name="T41" fmla="*/ 74 h 94"/>
                  <a:gd name="T42" fmla="*/ 69 w 104"/>
                  <a:gd name="T43" fmla="*/ 88 h 94"/>
                  <a:gd name="T44" fmla="*/ 81 w 104"/>
                  <a:gd name="T45" fmla="*/ 88 h 94"/>
                  <a:gd name="T46" fmla="*/ 81 w 104"/>
                  <a:gd name="T47" fmla="*/ 84 h 94"/>
                  <a:gd name="T48" fmla="*/ 80 w 104"/>
                  <a:gd name="T49" fmla="*/ 80 h 94"/>
                  <a:gd name="T50" fmla="*/ 77 w 104"/>
                  <a:gd name="T51" fmla="*/ 71 h 94"/>
                  <a:gd name="T52" fmla="*/ 73 w 104"/>
                  <a:gd name="T53" fmla="*/ 57 h 94"/>
                  <a:gd name="T54" fmla="*/ 92 w 104"/>
                  <a:gd name="T55" fmla="*/ 43 h 94"/>
                  <a:gd name="T56" fmla="*/ 94 w 104"/>
                  <a:gd name="T57" fmla="*/ 41 h 94"/>
                  <a:gd name="T58" fmla="*/ 94 w 104"/>
                  <a:gd name="T59" fmla="*/ 41 h 94"/>
                  <a:gd name="T60" fmla="*/ 94 w 104"/>
                  <a:gd name="T61" fmla="*/ 41 h 94"/>
                  <a:gd name="T62" fmla="*/ 103 w 104"/>
                  <a:gd name="T63" fmla="*/ 31 h 94"/>
                  <a:gd name="T64" fmla="*/ 102 w 104"/>
                  <a:gd name="T6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94">
                    <a:moveTo>
                      <a:pt x="102" y="30"/>
                    </a:moveTo>
                    <a:cubicBezTo>
                      <a:pt x="102" y="30"/>
                      <a:pt x="102" y="30"/>
                      <a:pt x="102" y="30"/>
                    </a:cubicBezTo>
                    <a:cubicBezTo>
                      <a:pt x="102" y="30"/>
                      <a:pt x="102" y="30"/>
                      <a:pt x="102" y="30"/>
                    </a:cubicBezTo>
                    <a:cubicBezTo>
                      <a:pt x="102" y="30"/>
                      <a:pt x="102" y="30"/>
                      <a:pt x="102" y="30"/>
                    </a:cubicBezTo>
                    <a:cubicBezTo>
                      <a:pt x="101" y="30"/>
                      <a:pt x="101" y="30"/>
                      <a:pt x="101" y="30"/>
                    </a:cubicBezTo>
                    <a:cubicBezTo>
                      <a:pt x="99" y="30"/>
                      <a:pt x="98" y="30"/>
                      <a:pt x="96" y="30"/>
                    </a:cubicBezTo>
                    <a:cubicBezTo>
                      <a:pt x="89" y="30"/>
                      <a:pt x="81" y="28"/>
                      <a:pt x="74" y="28"/>
                    </a:cubicBezTo>
                    <a:cubicBezTo>
                      <a:pt x="70" y="28"/>
                      <a:pt x="68" y="29"/>
                      <a:pt x="64" y="30"/>
                    </a:cubicBezTo>
                    <a:cubicBezTo>
                      <a:pt x="63" y="28"/>
                      <a:pt x="63" y="28"/>
                      <a:pt x="63" y="28"/>
                    </a:cubicBezTo>
                    <a:cubicBezTo>
                      <a:pt x="56" y="7"/>
                      <a:pt x="56" y="7"/>
                      <a:pt x="56" y="7"/>
                    </a:cubicBezTo>
                    <a:cubicBezTo>
                      <a:pt x="54" y="2"/>
                      <a:pt x="52" y="0"/>
                      <a:pt x="50" y="0"/>
                    </a:cubicBezTo>
                    <a:cubicBezTo>
                      <a:pt x="47" y="0"/>
                      <a:pt x="45" y="2"/>
                      <a:pt x="43" y="7"/>
                    </a:cubicBezTo>
                    <a:cubicBezTo>
                      <a:pt x="35" y="30"/>
                      <a:pt x="35" y="30"/>
                      <a:pt x="35" y="30"/>
                    </a:cubicBezTo>
                    <a:cubicBezTo>
                      <a:pt x="11" y="30"/>
                      <a:pt x="11" y="30"/>
                      <a:pt x="11" y="30"/>
                    </a:cubicBezTo>
                    <a:cubicBezTo>
                      <a:pt x="10" y="30"/>
                      <a:pt x="10" y="30"/>
                      <a:pt x="9" y="31"/>
                    </a:cubicBezTo>
                    <a:cubicBezTo>
                      <a:pt x="7" y="31"/>
                      <a:pt x="5" y="31"/>
                      <a:pt x="4" y="32"/>
                    </a:cubicBezTo>
                    <a:cubicBezTo>
                      <a:pt x="0" y="34"/>
                      <a:pt x="1" y="38"/>
                      <a:pt x="7" y="43"/>
                    </a:cubicBezTo>
                    <a:cubicBezTo>
                      <a:pt x="27" y="57"/>
                      <a:pt x="27" y="57"/>
                      <a:pt x="27" y="57"/>
                    </a:cubicBezTo>
                    <a:cubicBezTo>
                      <a:pt x="19" y="80"/>
                      <a:pt x="19" y="80"/>
                      <a:pt x="19" y="80"/>
                    </a:cubicBezTo>
                    <a:cubicBezTo>
                      <a:pt x="16" y="91"/>
                      <a:pt x="21" y="94"/>
                      <a:pt x="30" y="88"/>
                    </a:cubicBezTo>
                    <a:cubicBezTo>
                      <a:pt x="50" y="74"/>
                      <a:pt x="50" y="74"/>
                      <a:pt x="50" y="74"/>
                    </a:cubicBezTo>
                    <a:cubicBezTo>
                      <a:pt x="69" y="88"/>
                      <a:pt x="69" y="88"/>
                      <a:pt x="69" y="88"/>
                    </a:cubicBezTo>
                    <a:cubicBezTo>
                      <a:pt x="75" y="92"/>
                      <a:pt x="79" y="92"/>
                      <a:pt x="81" y="88"/>
                    </a:cubicBezTo>
                    <a:cubicBezTo>
                      <a:pt x="81" y="87"/>
                      <a:pt x="81" y="85"/>
                      <a:pt x="81" y="84"/>
                    </a:cubicBezTo>
                    <a:cubicBezTo>
                      <a:pt x="81" y="83"/>
                      <a:pt x="80" y="82"/>
                      <a:pt x="80" y="80"/>
                    </a:cubicBezTo>
                    <a:cubicBezTo>
                      <a:pt x="77" y="71"/>
                      <a:pt x="77" y="71"/>
                      <a:pt x="77" y="71"/>
                    </a:cubicBezTo>
                    <a:cubicBezTo>
                      <a:pt x="73" y="57"/>
                      <a:pt x="73" y="57"/>
                      <a:pt x="73" y="57"/>
                    </a:cubicBezTo>
                    <a:cubicBezTo>
                      <a:pt x="92" y="43"/>
                      <a:pt x="92" y="43"/>
                      <a:pt x="92" y="43"/>
                    </a:cubicBezTo>
                    <a:cubicBezTo>
                      <a:pt x="93" y="42"/>
                      <a:pt x="93" y="42"/>
                      <a:pt x="94" y="41"/>
                    </a:cubicBezTo>
                    <a:cubicBezTo>
                      <a:pt x="94" y="41"/>
                      <a:pt x="94" y="41"/>
                      <a:pt x="94" y="41"/>
                    </a:cubicBezTo>
                    <a:cubicBezTo>
                      <a:pt x="94" y="41"/>
                      <a:pt x="94" y="41"/>
                      <a:pt x="94" y="41"/>
                    </a:cubicBezTo>
                    <a:cubicBezTo>
                      <a:pt x="94" y="41"/>
                      <a:pt x="103" y="33"/>
                      <a:pt x="103" y="31"/>
                    </a:cubicBezTo>
                    <a:cubicBezTo>
                      <a:pt x="103" y="31"/>
                      <a:pt x="104" y="30"/>
                      <a:pt x="102"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3" name="Freeform 339">
              <a:extLst>
                <a:ext uri="{FF2B5EF4-FFF2-40B4-BE49-F238E27FC236}">
                  <a16:creationId xmlns:a16="http://schemas.microsoft.com/office/drawing/2014/main" id="{C8AF7020-360F-416A-916A-AF3DEE5C38AB}"/>
                </a:ext>
              </a:extLst>
            </p:cNvPr>
            <p:cNvSpPr>
              <a:spLocks noChangeAspect="1" noEditPoints="1"/>
            </p:cNvSpPr>
            <p:nvPr/>
          </p:nvSpPr>
          <p:spPr bwMode="auto">
            <a:xfrm>
              <a:off x="9965251" y="1924767"/>
              <a:ext cx="247451" cy="278211"/>
            </a:xfrm>
            <a:custGeom>
              <a:avLst/>
              <a:gdLst>
                <a:gd name="T0" fmla="*/ 0 w 29"/>
                <a:gd name="T1" fmla="*/ 36 h 36"/>
                <a:gd name="T2" fmla="*/ 0 w 29"/>
                <a:gd name="T3" fmla="*/ 36 h 36"/>
                <a:gd name="T4" fmla="*/ 1 w 29"/>
                <a:gd name="T5" fmla="*/ 21 h 36"/>
                <a:gd name="T6" fmla="*/ 2 w 29"/>
                <a:gd name="T7" fmla="*/ 18 h 36"/>
                <a:gd name="T8" fmla="*/ 10 w 29"/>
                <a:gd name="T9" fmla="*/ 16 h 36"/>
                <a:gd name="T10" fmla="*/ 13 w 29"/>
                <a:gd name="T11" fmla="*/ 26 h 36"/>
                <a:gd name="T12" fmla="*/ 13 w 29"/>
                <a:gd name="T13" fmla="*/ 19 h 36"/>
                <a:gd name="T14" fmla="*/ 14 w 29"/>
                <a:gd name="T15" fmla="*/ 19 h 36"/>
                <a:gd name="T16" fmla="*/ 15 w 29"/>
                <a:gd name="T17" fmla="*/ 19 h 36"/>
                <a:gd name="T18" fmla="*/ 15 w 29"/>
                <a:gd name="T19" fmla="*/ 26 h 36"/>
                <a:gd name="T20" fmla="*/ 18 w 29"/>
                <a:gd name="T21" fmla="*/ 16 h 36"/>
                <a:gd name="T22" fmla="*/ 26 w 29"/>
                <a:gd name="T23" fmla="*/ 18 h 36"/>
                <a:gd name="T24" fmla="*/ 27 w 29"/>
                <a:gd name="T25" fmla="*/ 21 h 36"/>
                <a:gd name="T26" fmla="*/ 29 w 29"/>
                <a:gd name="T27" fmla="*/ 36 h 36"/>
                <a:gd name="T28" fmla="*/ 0 w 29"/>
                <a:gd name="T29" fmla="*/ 36 h 36"/>
                <a:gd name="T30" fmla="*/ 14 w 29"/>
                <a:gd name="T31" fmla="*/ 0 h 36"/>
                <a:gd name="T32" fmla="*/ 20 w 29"/>
                <a:gd name="T33" fmla="*/ 5 h 36"/>
                <a:gd name="T34" fmla="*/ 14 w 29"/>
                <a:gd name="T35" fmla="*/ 14 h 36"/>
                <a:gd name="T36" fmla="*/ 8 w 29"/>
                <a:gd name="T37" fmla="*/ 5 h 36"/>
                <a:gd name="T38" fmla="*/ 14 w 29"/>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6">
                  <a:moveTo>
                    <a:pt x="0" y="36"/>
                  </a:moveTo>
                  <a:cubicBezTo>
                    <a:pt x="0" y="36"/>
                    <a:pt x="0" y="36"/>
                    <a:pt x="0" y="36"/>
                  </a:cubicBezTo>
                  <a:cubicBezTo>
                    <a:pt x="0" y="30"/>
                    <a:pt x="0" y="27"/>
                    <a:pt x="1" y="21"/>
                  </a:cubicBezTo>
                  <a:cubicBezTo>
                    <a:pt x="1" y="20"/>
                    <a:pt x="1" y="19"/>
                    <a:pt x="2" y="18"/>
                  </a:cubicBezTo>
                  <a:cubicBezTo>
                    <a:pt x="2" y="18"/>
                    <a:pt x="9" y="16"/>
                    <a:pt x="10" y="16"/>
                  </a:cubicBezTo>
                  <a:cubicBezTo>
                    <a:pt x="10" y="18"/>
                    <a:pt x="11" y="24"/>
                    <a:pt x="13" y="26"/>
                  </a:cubicBezTo>
                  <a:cubicBezTo>
                    <a:pt x="13" y="25"/>
                    <a:pt x="13" y="20"/>
                    <a:pt x="13" y="19"/>
                  </a:cubicBezTo>
                  <a:cubicBezTo>
                    <a:pt x="14" y="19"/>
                    <a:pt x="14" y="19"/>
                    <a:pt x="14" y="19"/>
                  </a:cubicBezTo>
                  <a:cubicBezTo>
                    <a:pt x="15" y="19"/>
                    <a:pt x="15" y="19"/>
                    <a:pt x="15" y="19"/>
                  </a:cubicBezTo>
                  <a:cubicBezTo>
                    <a:pt x="15" y="20"/>
                    <a:pt x="15" y="25"/>
                    <a:pt x="15" y="26"/>
                  </a:cubicBezTo>
                  <a:cubicBezTo>
                    <a:pt x="17" y="24"/>
                    <a:pt x="18" y="18"/>
                    <a:pt x="18" y="16"/>
                  </a:cubicBezTo>
                  <a:cubicBezTo>
                    <a:pt x="19" y="16"/>
                    <a:pt x="26" y="18"/>
                    <a:pt x="26" y="18"/>
                  </a:cubicBezTo>
                  <a:cubicBezTo>
                    <a:pt x="27" y="19"/>
                    <a:pt x="27" y="20"/>
                    <a:pt x="27" y="21"/>
                  </a:cubicBezTo>
                  <a:cubicBezTo>
                    <a:pt x="29" y="36"/>
                    <a:pt x="29" y="36"/>
                    <a:pt x="29" y="36"/>
                  </a:cubicBezTo>
                  <a:lnTo>
                    <a:pt x="0" y="36"/>
                  </a:lnTo>
                  <a:close/>
                  <a:moveTo>
                    <a:pt x="14" y="0"/>
                  </a:moveTo>
                  <a:cubicBezTo>
                    <a:pt x="18" y="0"/>
                    <a:pt x="20" y="3"/>
                    <a:pt x="20" y="5"/>
                  </a:cubicBezTo>
                  <a:cubicBezTo>
                    <a:pt x="20" y="8"/>
                    <a:pt x="18" y="14"/>
                    <a:pt x="14" y="14"/>
                  </a:cubicBezTo>
                  <a:cubicBezTo>
                    <a:pt x="10" y="14"/>
                    <a:pt x="8" y="8"/>
                    <a:pt x="8" y="5"/>
                  </a:cubicBezTo>
                  <a:cubicBezTo>
                    <a:pt x="8" y="3"/>
                    <a:pt x="10" y="0"/>
                    <a:pt x="14"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0" name="TextBox 459">
              <a:extLst>
                <a:ext uri="{FF2B5EF4-FFF2-40B4-BE49-F238E27FC236}">
                  <a16:creationId xmlns:a16="http://schemas.microsoft.com/office/drawing/2014/main" id="{E1F0225D-AF44-44CB-8447-CB2388A1F9DF}"/>
                </a:ext>
              </a:extLst>
            </p:cNvPr>
            <p:cNvSpPr txBox="1"/>
            <p:nvPr/>
          </p:nvSpPr>
          <p:spPr>
            <a:xfrm>
              <a:off x="422271" y="2822581"/>
              <a:ext cx="223404" cy="215444"/>
            </a:xfrm>
            <a:prstGeom prst="rect">
              <a:avLst/>
            </a:prstGeom>
            <a:noFill/>
          </p:spPr>
          <p:txBody>
            <a:bodyPr wrap="square" rtlCol="0">
              <a:spAutoFit/>
            </a:bodyPr>
            <a:lstStyle/>
            <a:p>
              <a:r>
                <a:rPr lang="en-IN" sz="800" dirty="0">
                  <a:solidFill>
                    <a:schemeClr val="bg1"/>
                  </a:solidFill>
                </a:rPr>
                <a:t>1</a:t>
              </a:r>
              <a:endParaRPr lang="en-US" sz="800" dirty="0">
                <a:solidFill>
                  <a:schemeClr val="bg1"/>
                </a:solidFill>
              </a:endParaRPr>
            </a:p>
          </p:txBody>
        </p:sp>
        <p:sp>
          <p:nvSpPr>
            <p:cNvPr id="461" name="TextBox 460">
              <a:extLst>
                <a:ext uri="{FF2B5EF4-FFF2-40B4-BE49-F238E27FC236}">
                  <a16:creationId xmlns:a16="http://schemas.microsoft.com/office/drawing/2014/main" id="{23ABCFCB-E0A0-4F55-8C21-AC205DFCFE83}"/>
                </a:ext>
              </a:extLst>
            </p:cNvPr>
            <p:cNvSpPr txBox="1"/>
            <p:nvPr/>
          </p:nvSpPr>
          <p:spPr>
            <a:xfrm>
              <a:off x="1453257" y="2822581"/>
              <a:ext cx="223404" cy="215444"/>
            </a:xfrm>
            <a:prstGeom prst="rect">
              <a:avLst/>
            </a:prstGeom>
            <a:noFill/>
          </p:spPr>
          <p:txBody>
            <a:bodyPr wrap="square" rtlCol="0">
              <a:spAutoFit/>
            </a:bodyPr>
            <a:lstStyle/>
            <a:p>
              <a:r>
                <a:rPr lang="en-IN" sz="800" dirty="0">
                  <a:solidFill>
                    <a:schemeClr val="bg1"/>
                  </a:solidFill>
                </a:rPr>
                <a:t>2</a:t>
              </a:r>
              <a:endParaRPr lang="en-US" sz="800" dirty="0">
                <a:solidFill>
                  <a:schemeClr val="bg1"/>
                </a:solidFill>
              </a:endParaRPr>
            </a:p>
          </p:txBody>
        </p:sp>
        <p:sp>
          <p:nvSpPr>
            <p:cNvPr id="462" name="TextBox 461">
              <a:extLst>
                <a:ext uri="{FF2B5EF4-FFF2-40B4-BE49-F238E27FC236}">
                  <a16:creationId xmlns:a16="http://schemas.microsoft.com/office/drawing/2014/main" id="{FC13B5F1-D7CB-41B6-B3FA-5A2A9591A9B5}"/>
                </a:ext>
              </a:extLst>
            </p:cNvPr>
            <p:cNvSpPr txBox="1"/>
            <p:nvPr/>
          </p:nvSpPr>
          <p:spPr>
            <a:xfrm>
              <a:off x="2454369" y="2822581"/>
              <a:ext cx="223404" cy="215444"/>
            </a:xfrm>
            <a:prstGeom prst="rect">
              <a:avLst/>
            </a:prstGeom>
            <a:noFill/>
          </p:spPr>
          <p:txBody>
            <a:bodyPr wrap="square" rtlCol="0">
              <a:spAutoFit/>
            </a:bodyPr>
            <a:lstStyle/>
            <a:p>
              <a:r>
                <a:rPr lang="en-IN" sz="800" dirty="0">
                  <a:solidFill>
                    <a:schemeClr val="bg1"/>
                  </a:solidFill>
                </a:rPr>
                <a:t>3</a:t>
              </a:r>
              <a:endParaRPr lang="en-US" sz="800" dirty="0">
                <a:solidFill>
                  <a:schemeClr val="bg1"/>
                </a:solidFill>
              </a:endParaRPr>
            </a:p>
          </p:txBody>
        </p:sp>
        <p:sp>
          <p:nvSpPr>
            <p:cNvPr id="463" name="TextBox 462">
              <a:extLst>
                <a:ext uri="{FF2B5EF4-FFF2-40B4-BE49-F238E27FC236}">
                  <a16:creationId xmlns:a16="http://schemas.microsoft.com/office/drawing/2014/main" id="{0756CB46-FC5D-4307-AFD4-016E8EBE04F3}"/>
                </a:ext>
              </a:extLst>
            </p:cNvPr>
            <p:cNvSpPr txBox="1"/>
            <p:nvPr/>
          </p:nvSpPr>
          <p:spPr>
            <a:xfrm>
              <a:off x="3514827" y="2822581"/>
              <a:ext cx="223404" cy="215444"/>
            </a:xfrm>
            <a:prstGeom prst="rect">
              <a:avLst/>
            </a:prstGeom>
            <a:noFill/>
          </p:spPr>
          <p:txBody>
            <a:bodyPr wrap="square" rtlCol="0">
              <a:spAutoFit/>
            </a:bodyPr>
            <a:lstStyle/>
            <a:p>
              <a:r>
                <a:rPr lang="en-IN" sz="800" dirty="0">
                  <a:solidFill>
                    <a:schemeClr val="bg1"/>
                  </a:solidFill>
                </a:rPr>
                <a:t>4</a:t>
              </a:r>
              <a:endParaRPr lang="en-US" sz="800" dirty="0">
                <a:solidFill>
                  <a:schemeClr val="bg1"/>
                </a:solidFill>
              </a:endParaRPr>
            </a:p>
          </p:txBody>
        </p:sp>
        <p:sp>
          <p:nvSpPr>
            <p:cNvPr id="464" name="TextBox 463">
              <a:extLst>
                <a:ext uri="{FF2B5EF4-FFF2-40B4-BE49-F238E27FC236}">
                  <a16:creationId xmlns:a16="http://schemas.microsoft.com/office/drawing/2014/main" id="{0D96D76F-17DB-407E-8947-9F069C5D9ECE}"/>
                </a:ext>
              </a:extLst>
            </p:cNvPr>
            <p:cNvSpPr txBox="1"/>
            <p:nvPr/>
          </p:nvSpPr>
          <p:spPr>
            <a:xfrm>
              <a:off x="4478083" y="2822581"/>
              <a:ext cx="223404" cy="215444"/>
            </a:xfrm>
            <a:prstGeom prst="rect">
              <a:avLst/>
            </a:prstGeom>
            <a:noFill/>
          </p:spPr>
          <p:txBody>
            <a:bodyPr wrap="square" rtlCol="0">
              <a:spAutoFit/>
            </a:bodyPr>
            <a:lstStyle/>
            <a:p>
              <a:r>
                <a:rPr lang="en-IN" sz="800" dirty="0">
                  <a:solidFill>
                    <a:schemeClr val="bg1"/>
                  </a:solidFill>
                </a:rPr>
                <a:t>5</a:t>
              </a:r>
              <a:endParaRPr lang="en-US" sz="800" dirty="0">
                <a:solidFill>
                  <a:schemeClr val="bg1"/>
                </a:solidFill>
              </a:endParaRPr>
            </a:p>
          </p:txBody>
        </p:sp>
        <p:sp>
          <p:nvSpPr>
            <p:cNvPr id="465" name="TextBox 464">
              <a:extLst>
                <a:ext uri="{FF2B5EF4-FFF2-40B4-BE49-F238E27FC236}">
                  <a16:creationId xmlns:a16="http://schemas.microsoft.com/office/drawing/2014/main" id="{FE49EDF0-2FB4-449F-BEE9-91D14A6750DA}"/>
                </a:ext>
              </a:extLst>
            </p:cNvPr>
            <p:cNvSpPr txBox="1"/>
            <p:nvPr/>
          </p:nvSpPr>
          <p:spPr>
            <a:xfrm>
              <a:off x="5509589" y="2822581"/>
              <a:ext cx="223404" cy="215444"/>
            </a:xfrm>
            <a:prstGeom prst="rect">
              <a:avLst/>
            </a:prstGeom>
            <a:noFill/>
          </p:spPr>
          <p:txBody>
            <a:bodyPr wrap="square" rtlCol="0">
              <a:spAutoFit/>
            </a:bodyPr>
            <a:lstStyle/>
            <a:p>
              <a:r>
                <a:rPr lang="en-IN" sz="800" dirty="0">
                  <a:solidFill>
                    <a:schemeClr val="bg1"/>
                  </a:solidFill>
                </a:rPr>
                <a:t>6</a:t>
              </a:r>
              <a:endParaRPr lang="en-US" sz="800" dirty="0">
                <a:solidFill>
                  <a:schemeClr val="bg1"/>
                </a:solidFill>
              </a:endParaRPr>
            </a:p>
          </p:txBody>
        </p:sp>
        <p:sp>
          <p:nvSpPr>
            <p:cNvPr id="466" name="TextBox 465">
              <a:extLst>
                <a:ext uri="{FF2B5EF4-FFF2-40B4-BE49-F238E27FC236}">
                  <a16:creationId xmlns:a16="http://schemas.microsoft.com/office/drawing/2014/main" id="{45AD72C6-7AAF-4B40-AF34-F40880AF9BC7}"/>
                </a:ext>
              </a:extLst>
            </p:cNvPr>
            <p:cNvSpPr txBox="1"/>
            <p:nvPr/>
          </p:nvSpPr>
          <p:spPr>
            <a:xfrm>
              <a:off x="6522022" y="2822581"/>
              <a:ext cx="223404" cy="215444"/>
            </a:xfrm>
            <a:prstGeom prst="rect">
              <a:avLst/>
            </a:prstGeom>
            <a:noFill/>
          </p:spPr>
          <p:txBody>
            <a:bodyPr wrap="square" rtlCol="0">
              <a:spAutoFit/>
            </a:bodyPr>
            <a:lstStyle/>
            <a:p>
              <a:r>
                <a:rPr lang="en-IN" sz="800" dirty="0">
                  <a:solidFill>
                    <a:schemeClr val="bg1"/>
                  </a:solidFill>
                </a:rPr>
                <a:t>7</a:t>
              </a:r>
              <a:endParaRPr lang="en-US" sz="800" dirty="0">
                <a:solidFill>
                  <a:schemeClr val="bg1"/>
                </a:solidFill>
              </a:endParaRPr>
            </a:p>
          </p:txBody>
        </p:sp>
        <p:sp>
          <p:nvSpPr>
            <p:cNvPr id="467" name="TextBox 466">
              <a:extLst>
                <a:ext uri="{FF2B5EF4-FFF2-40B4-BE49-F238E27FC236}">
                  <a16:creationId xmlns:a16="http://schemas.microsoft.com/office/drawing/2014/main" id="{817239F9-351D-4FB5-A1FF-862B0915E589}"/>
                </a:ext>
              </a:extLst>
            </p:cNvPr>
            <p:cNvSpPr txBox="1"/>
            <p:nvPr/>
          </p:nvSpPr>
          <p:spPr>
            <a:xfrm>
              <a:off x="7534174" y="2822581"/>
              <a:ext cx="223404" cy="215444"/>
            </a:xfrm>
            <a:prstGeom prst="rect">
              <a:avLst/>
            </a:prstGeom>
            <a:noFill/>
          </p:spPr>
          <p:txBody>
            <a:bodyPr wrap="square" rtlCol="0">
              <a:spAutoFit/>
            </a:bodyPr>
            <a:lstStyle/>
            <a:p>
              <a:r>
                <a:rPr lang="en-IN" sz="800" dirty="0">
                  <a:solidFill>
                    <a:schemeClr val="bg1"/>
                  </a:solidFill>
                </a:rPr>
                <a:t>8</a:t>
              </a:r>
              <a:endParaRPr lang="en-US" sz="800" dirty="0">
                <a:solidFill>
                  <a:schemeClr val="bg1"/>
                </a:solidFill>
              </a:endParaRPr>
            </a:p>
          </p:txBody>
        </p:sp>
        <p:sp>
          <p:nvSpPr>
            <p:cNvPr id="468" name="TextBox 467">
              <a:extLst>
                <a:ext uri="{FF2B5EF4-FFF2-40B4-BE49-F238E27FC236}">
                  <a16:creationId xmlns:a16="http://schemas.microsoft.com/office/drawing/2014/main" id="{4DC1E546-F4C0-4AD0-91E5-9391B8CF00F0}"/>
                </a:ext>
              </a:extLst>
            </p:cNvPr>
            <p:cNvSpPr txBox="1"/>
            <p:nvPr/>
          </p:nvSpPr>
          <p:spPr>
            <a:xfrm>
              <a:off x="8546841" y="2822581"/>
              <a:ext cx="223404" cy="215444"/>
            </a:xfrm>
            <a:prstGeom prst="rect">
              <a:avLst/>
            </a:prstGeom>
            <a:noFill/>
          </p:spPr>
          <p:txBody>
            <a:bodyPr wrap="square" rtlCol="0">
              <a:spAutoFit/>
            </a:bodyPr>
            <a:lstStyle/>
            <a:p>
              <a:r>
                <a:rPr lang="en-IN" sz="800" dirty="0">
                  <a:solidFill>
                    <a:schemeClr val="bg1"/>
                  </a:solidFill>
                </a:rPr>
                <a:t>9</a:t>
              </a:r>
              <a:endParaRPr lang="en-US" sz="800" dirty="0">
                <a:solidFill>
                  <a:schemeClr val="bg1"/>
                </a:solidFill>
              </a:endParaRPr>
            </a:p>
          </p:txBody>
        </p:sp>
        <p:sp>
          <p:nvSpPr>
            <p:cNvPr id="469" name="TextBox 468">
              <a:extLst>
                <a:ext uri="{FF2B5EF4-FFF2-40B4-BE49-F238E27FC236}">
                  <a16:creationId xmlns:a16="http://schemas.microsoft.com/office/drawing/2014/main" id="{863A83B2-3E83-4A58-B062-A8D7E8F597B0}"/>
                </a:ext>
              </a:extLst>
            </p:cNvPr>
            <p:cNvSpPr txBox="1"/>
            <p:nvPr/>
          </p:nvSpPr>
          <p:spPr>
            <a:xfrm>
              <a:off x="9543762" y="2822580"/>
              <a:ext cx="338586" cy="215444"/>
            </a:xfrm>
            <a:prstGeom prst="rect">
              <a:avLst/>
            </a:prstGeom>
            <a:noFill/>
          </p:spPr>
          <p:txBody>
            <a:bodyPr wrap="square" rtlCol="0">
              <a:spAutoFit/>
            </a:bodyPr>
            <a:lstStyle/>
            <a:p>
              <a:r>
                <a:rPr lang="en-IN" sz="800" dirty="0">
                  <a:solidFill>
                    <a:schemeClr val="bg1"/>
                  </a:solidFill>
                </a:rPr>
                <a:t>10</a:t>
              </a:r>
              <a:endParaRPr lang="en-US" sz="800" dirty="0">
                <a:solidFill>
                  <a:schemeClr val="bg1"/>
                </a:solidFill>
              </a:endParaRPr>
            </a:p>
          </p:txBody>
        </p:sp>
        <p:sp>
          <p:nvSpPr>
            <p:cNvPr id="470" name="TextBox 469">
              <a:extLst>
                <a:ext uri="{FF2B5EF4-FFF2-40B4-BE49-F238E27FC236}">
                  <a16:creationId xmlns:a16="http://schemas.microsoft.com/office/drawing/2014/main" id="{0703BF01-0BD6-40F5-976B-1D342E00EBD9}"/>
                </a:ext>
              </a:extLst>
            </p:cNvPr>
            <p:cNvSpPr txBox="1"/>
            <p:nvPr/>
          </p:nvSpPr>
          <p:spPr>
            <a:xfrm>
              <a:off x="10556839" y="2822580"/>
              <a:ext cx="354390" cy="215444"/>
            </a:xfrm>
            <a:prstGeom prst="rect">
              <a:avLst/>
            </a:prstGeom>
            <a:noFill/>
          </p:spPr>
          <p:txBody>
            <a:bodyPr wrap="square" rtlCol="0">
              <a:spAutoFit/>
            </a:bodyPr>
            <a:lstStyle/>
            <a:p>
              <a:r>
                <a:rPr lang="en-IN" sz="800" dirty="0">
                  <a:solidFill>
                    <a:schemeClr val="bg1"/>
                  </a:solidFill>
                </a:rPr>
                <a:t>11</a:t>
              </a:r>
              <a:endParaRPr lang="en-US" sz="800" dirty="0">
                <a:solidFill>
                  <a:schemeClr val="bg1"/>
                </a:solidFill>
              </a:endParaRPr>
            </a:p>
          </p:txBody>
        </p:sp>
        <p:grpSp>
          <p:nvGrpSpPr>
            <p:cNvPr id="374" name="Group 373"/>
            <p:cNvGrpSpPr>
              <a:grpSpLocks/>
            </p:cNvGrpSpPr>
            <p:nvPr/>
          </p:nvGrpSpPr>
          <p:grpSpPr>
            <a:xfrm>
              <a:off x="11602491" y="2208382"/>
              <a:ext cx="486216" cy="485262"/>
              <a:chOff x="-4240213" y="38100"/>
              <a:chExt cx="3228975" cy="3227388"/>
            </a:xfrm>
          </p:grpSpPr>
          <p:sp>
            <p:nvSpPr>
              <p:cNvPr id="375" name="Oval 5"/>
              <p:cNvSpPr>
                <a:spLocks noChangeArrowheads="1"/>
              </p:cNvSpPr>
              <p:nvPr/>
            </p:nvSpPr>
            <p:spPr bwMode="auto">
              <a:xfrm>
                <a:off x="-4240213" y="38100"/>
                <a:ext cx="3228975" cy="3227388"/>
              </a:xfrm>
              <a:prstGeom prst="ellipse">
                <a:avLst/>
              </a:prstGeom>
              <a:solidFill>
                <a:srgbClr val="94DA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p:cNvSpPr>
              <p:nvPr/>
            </p:nvSpPr>
            <p:spPr bwMode="auto">
              <a:xfrm>
                <a:off x="-3500438" y="2520950"/>
                <a:ext cx="1754188" cy="744538"/>
              </a:xfrm>
              <a:custGeom>
                <a:avLst/>
                <a:gdLst>
                  <a:gd name="T0" fmla="*/ 236 w 473"/>
                  <a:gd name="T1" fmla="*/ 201 h 201"/>
                  <a:gd name="T2" fmla="*/ 473 w 473"/>
                  <a:gd name="T3" fmla="*/ 131 h 201"/>
                  <a:gd name="T4" fmla="*/ 456 w 473"/>
                  <a:gd name="T5" fmla="*/ 90 h 201"/>
                  <a:gd name="T6" fmla="*/ 236 w 473"/>
                  <a:gd name="T7" fmla="*/ 0 h 201"/>
                  <a:gd name="T8" fmla="*/ 16 w 473"/>
                  <a:gd name="T9" fmla="*/ 90 h 201"/>
                  <a:gd name="T10" fmla="*/ 0 w 473"/>
                  <a:gd name="T11" fmla="*/ 131 h 201"/>
                  <a:gd name="T12" fmla="*/ 236 w 4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473" h="201">
                    <a:moveTo>
                      <a:pt x="236" y="201"/>
                    </a:moveTo>
                    <a:cubicBezTo>
                      <a:pt x="324" y="201"/>
                      <a:pt x="405" y="175"/>
                      <a:pt x="473" y="131"/>
                    </a:cubicBezTo>
                    <a:cubicBezTo>
                      <a:pt x="469" y="114"/>
                      <a:pt x="463" y="99"/>
                      <a:pt x="456" y="90"/>
                    </a:cubicBezTo>
                    <a:cubicBezTo>
                      <a:pt x="421" y="42"/>
                      <a:pt x="236" y="0"/>
                      <a:pt x="236" y="0"/>
                    </a:cubicBezTo>
                    <a:cubicBezTo>
                      <a:pt x="236" y="0"/>
                      <a:pt x="52" y="42"/>
                      <a:pt x="16" y="90"/>
                    </a:cubicBezTo>
                    <a:cubicBezTo>
                      <a:pt x="9" y="99"/>
                      <a:pt x="4" y="114"/>
                      <a:pt x="0" y="131"/>
                    </a:cubicBezTo>
                    <a:cubicBezTo>
                      <a:pt x="68" y="175"/>
                      <a:pt x="149" y="201"/>
                      <a:pt x="236" y="201"/>
                    </a:cubicBezTo>
                    <a:close/>
                  </a:path>
                </a:pathLst>
              </a:custGeom>
              <a:solidFill>
                <a:srgbClr val="133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p:cNvSpPr>
              <p:nvPr/>
            </p:nvSpPr>
            <p:spPr bwMode="auto">
              <a:xfrm>
                <a:off x="-3500438" y="2924175"/>
                <a:ext cx="1754188" cy="341313"/>
              </a:xfrm>
              <a:custGeom>
                <a:avLst/>
                <a:gdLst>
                  <a:gd name="T0" fmla="*/ 255 w 473"/>
                  <a:gd name="T1" fmla="*/ 91 h 92"/>
                  <a:gd name="T2" fmla="*/ 267 w 473"/>
                  <a:gd name="T3" fmla="*/ 91 h 92"/>
                  <a:gd name="T4" fmla="*/ 269 w 473"/>
                  <a:gd name="T5" fmla="*/ 90 h 92"/>
                  <a:gd name="T6" fmla="*/ 283 w 473"/>
                  <a:gd name="T7" fmla="*/ 89 h 92"/>
                  <a:gd name="T8" fmla="*/ 287 w 473"/>
                  <a:gd name="T9" fmla="*/ 89 h 92"/>
                  <a:gd name="T10" fmla="*/ 299 w 473"/>
                  <a:gd name="T11" fmla="*/ 87 h 92"/>
                  <a:gd name="T12" fmla="*/ 301 w 473"/>
                  <a:gd name="T13" fmla="*/ 87 h 92"/>
                  <a:gd name="T14" fmla="*/ 315 w 473"/>
                  <a:gd name="T15" fmla="*/ 84 h 92"/>
                  <a:gd name="T16" fmla="*/ 318 w 473"/>
                  <a:gd name="T17" fmla="*/ 84 h 92"/>
                  <a:gd name="T18" fmla="*/ 330 w 473"/>
                  <a:gd name="T19" fmla="*/ 82 h 92"/>
                  <a:gd name="T20" fmla="*/ 332 w 473"/>
                  <a:gd name="T21" fmla="*/ 81 h 92"/>
                  <a:gd name="T22" fmla="*/ 346 w 473"/>
                  <a:gd name="T23" fmla="*/ 78 h 92"/>
                  <a:gd name="T24" fmla="*/ 348 w 473"/>
                  <a:gd name="T25" fmla="*/ 77 h 92"/>
                  <a:gd name="T26" fmla="*/ 360 w 473"/>
                  <a:gd name="T27" fmla="*/ 74 h 92"/>
                  <a:gd name="T28" fmla="*/ 363 w 473"/>
                  <a:gd name="T29" fmla="*/ 73 h 92"/>
                  <a:gd name="T30" fmla="*/ 390 w 473"/>
                  <a:gd name="T31" fmla="*/ 64 h 92"/>
                  <a:gd name="T32" fmla="*/ 392 w 473"/>
                  <a:gd name="T33" fmla="*/ 63 h 92"/>
                  <a:gd name="T34" fmla="*/ 419 w 473"/>
                  <a:gd name="T35" fmla="*/ 52 h 92"/>
                  <a:gd name="T36" fmla="*/ 420 w 473"/>
                  <a:gd name="T37" fmla="*/ 51 h 92"/>
                  <a:gd name="T38" fmla="*/ 446 w 473"/>
                  <a:gd name="T39" fmla="*/ 38 h 92"/>
                  <a:gd name="T40" fmla="*/ 447 w 473"/>
                  <a:gd name="T41" fmla="*/ 37 h 92"/>
                  <a:gd name="T42" fmla="*/ 460 w 473"/>
                  <a:gd name="T43" fmla="*/ 30 h 92"/>
                  <a:gd name="T44" fmla="*/ 460 w 473"/>
                  <a:gd name="T45" fmla="*/ 30 h 92"/>
                  <a:gd name="T46" fmla="*/ 473 w 473"/>
                  <a:gd name="T47" fmla="*/ 22 h 92"/>
                  <a:gd name="T48" fmla="*/ 473 w 473"/>
                  <a:gd name="T49" fmla="*/ 22 h 92"/>
                  <a:gd name="T50" fmla="*/ 466 w 473"/>
                  <a:gd name="T51" fmla="*/ 0 h 92"/>
                  <a:gd name="T52" fmla="*/ 236 w 473"/>
                  <a:gd name="T53" fmla="*/ 68 h 92"/>
                  <a:gd name="T54" fmla="*/ 6 w 473"/>
                  <a:gd name="T55" fmla="*/ 0 h 92"/>
                  <a:gd name="T56" fmla="*/ 0 w 473"/>
                  <a:gd name="T57" fmla="*/ 22 h 92"/>
                  <a:gd name="T58" fmla="*/ 0 w 473"/>
                  <a:gd name="T59" fmla="*/ 22 h 92"/>
                  <a:gd name="T60" fmla="*/ 13 w 473"/>
                  <a:gd name="T61" fmla="*/ 30 h 92"/>
                  <a:gd name="T62" fmla="*/ 13 w 473"/>
                  <a:gd name="T63" fmla="*/ 30 h 92"/>
                  <a:gd name="T64" fmla="*/ 25 w 473"/>
                  <a:gd name="T65" fmla="*/ 37 h 92"/>
                  <a:gd name="T66" fmla="*/ 26 w 473"/>
                  <a:gd name="T67" fmla="*/ 38 h 92"/>
                  <a:gd name="T68" fmla="*/ 52 w 473"/>
                  <a:gd name="T69" fmla="*/ 51 h 92"/>
                  <a:gd name="T70" fmla="*/ 54 w 473"/>
                  <a:gd name="T71" fmla="*/ 52 h 92"/>
                  <a:gd name="T72" fmla="*/ 81 w 473"/>
                  <a:gd name="T73" fmla="*/ 63 h 92"/>
                  <a:gd name="T74" fmla="*/ 82 w 473"/>
                  <a:gd name="T75" fmla="*/ 64 h 92"/>
                  <a:gd name="T76" fmla="*/ 110 w 473"/>
                  <a:gd name="T77" fmla="*/ 73 h 92"/>
                  <a:gd name="T78" fmla="*/ 112 w 473"/>
                  <a:gd name="T79" fmla="*/ 74 h 92"/>
                  <a:gd name="T80" fmla="*/ 125 w 473"/>
                  <a:gd name="T81" fmla="*/ 77 h 92"/>
                  <a:gd name="T82" fmla="*/ 126 w 473"/>
                  <a:gd name="T83" fmla="*/ 78 h 92"/>
                  <a:gd name="T84" fmla="*/ 140 w 473"/>
                  <a:gd name="T85" fmla="*/ 81 h 92"/>
                  <a:gd name="T86" fmla="*/ 143 w 473"/>
                  <a:gd name="T87" fmla="*/ 82 h 92"/>
                  <a:gd name="T88" fmla="*/ 155 w 473"/>
                  <a:gd name="T89" fmla="*/ 84 h 92"/>
                  <a:gd name="T90" fmla="*/ 157 w 473"/>
                  <a:gd name="T91" fmla="*/ 84 h 92"/>
                  <a:gd name="T92" fmla="*/ 171 w 473"/>
                  <a:gd name="T93" fmla="*/ 87 h 92"/>
                  <a:gd name="T94" fmla="*/ 174 w 473"/>
                  <a:gd name="T95" fmla="*/ 87 h 92"/>
                  <a:gd name="T96" fmla="*/ 186 w 473"/>
                  <a:gd name="T97" fmla="*/ 89 h 92"/>
                  <a:gd name="T98" fmla="*/ 189 w 473"/>
                  <a:gd name="T99" fmla="*/ 89 h 92"/>
                  <a:gd name="T100" fmla="*/ 203 w 473"/>
                  <a:gd name="T101" fmla="*/ 90 h 92"/>
                  <a:gd name="T102" fmla="*/ 205 w 473"/>
                  <a:gd name="T103" fmla="*/ 91 h 92"/>
                  <a:gd name="T104" fmla="*/ 218 w 473"/>
                  <a:gd name="T105" fmla="*/ 91 h 92"/>
                  <a:gd name="T106" fmla="*/ 222 w 473"/>
                  <a:gd name="T107" fmla="*/ 91 h 92"/>
                  <a:gd name="T108" fmla="*/ 236 w 473"/>
                  <a:gd name="T109" fmla="*/ 92 h 92"/>
                  <a:gd name="T110" fmla="*/ 251 w 473"/>
                  <a:gd name="T111" fmla="*/ 91 h 92"/>
                  <a:gd name="T112" fmla="*/ 255 w 473"/>
                  <a:gd name="T113" fmla="*/ 9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3" h="92">
                    <a:moveTo>
                      <a:pt x="255" y="91"/>
                    </a:moveTo>
                    <a:cubicBezTo>
                      <a:pt x="259" y="91"/>
                      <a:pt x="263" y="91"/>
                      <a:pt x="267" y="91"/>
                    </a:cubicBezTo>
                    <a:cubicBezTo>
                      <a:pt x="268" y="90"/>
                      <a:pt x="268" y="90"/>
                      <a:pt x="269" y="90"/>
                    </a:cubicBezTo>
                    <a:cubicBezTo>
                      <a:pt x="274" y="90"/>
                      <a:pt x="279" y="90"/>
                      <a:pt x="283" y="89"/>
                    </a:cubicBezTo>
                    <a:cubicBezTo>
                      <a:pt x="284" y="89"/>
                      <a:pt x="286" y="89"/>
                      <a:pt x="287" y="89"/>
                    </a:cubicBezTo>
                    <a:cubicBezTo>
                      <a:pt x="291" y="88"/>
                      <a:pt x="295" y="88"/>
                      <a:pt x="299" y="87"/>
                    </a:cubicBezTo>
                    <a:cubicBezTo>
                      <a:pt x="300" y="87"/>
                      <a:pt x="300" y="87"/>
                      <a:pt x="301" y="87"/>
                    </a:cubicBezTo>
                    <a:cubicBezTo>
                      <a:pt x="306" y="86"/>
                      <a:pt x="311" y="85"/>
                      <a:pt x="315" y="84"/>
                    </a:cubicBezTo>
                    <a:cubicBezTo>
                      <a:pt x="316" y="84"/>
                      <a:pt x="317" y="84"/>
                      <a:pt x="318" y="84"/>
                    </a:cubicBezTo>
                    <a:cubicBezTo>
                      <a:pt x="322" y="83"/>
                      <a:pt x="326" y="82"/>
                      <a:pt x="330" y="82"/>
                    </a:cubicBezTo>
                    <a:cubicBezTo>
                      <a:pt x="331" y="81"/>
                      <a:pt x="332" y="81"/>
                      <a:pt x="332" y="81"/>
                    </a:cubicBezTo>
                    <a:cubicBezTo>
                      <a:pt x="337" y="80"/>
                      <a:pt x="342" y="79"/>
                      <a:pt x="346" y="78"/>
                    </a:cubicBezTo>
                    <a:cubicBezTo>
                      <a:pt x="347" y="77"/>
                      <a:pt x="347" y="77"/>
                      <a:pt x="348" y="77"/>
                    </a:cubicBezTo>
                    <a:cubicBezTo>
                      <a:pt x="352" y="76"/>
                      <a:pt x="356" y="75"/>
                      <a:pt x="360" y="74"/>
                    </a:cubicBezTo>
                    <a:cubicBezTo>
                      <a:pt x="361" y="73"/>
                      <a:pt x="362" y="73"/>
                      <a:pt x="363" y="73"/>
                    </a:cubicBezTo>
                    <a:cubicBezTo>
                      <a:pt x="372" y="70"/>
                      <a:pt x="381" y="67"/>
                      <a:pt x="390" y="64"/>
                    </a:cubicBezTo>
                    <a:cubicBezTo>
                      <a:pt x="391" y="63"/>
                      <a:pt x="391" y="63"/>
                      <a:pt x="392" y="63"/>
                    </a:cubicBezTo>
                    <a:cubicBezTo>
                      <a:pt x="401" y="59"/>
                      <a:pt x="410" y="56"/>
                      <a:pt x="419" y="52"/>
                    </a:cubicBezTo>
                    <a:cubicBezTo>
                      <a:pt x="419" y="51"/>
                      <a:pt x="420" y="51"/>
                      <a:pt x="420" y="51"/>
                    </a:cubicBezTo>
                    <a:cubicBezTo>
                      <a:pt x="429" y="47"/>
                      <a:pt x="438" y="42"/>
                      <a:pt x="446" y="38"/>
                    </a:cubicBezTo>
                    <a:cubicBezTo>
                      <a:pt x="447" y="37"/>
                      <a:pt x="447" y="37"/>
                      <a:pt x="447" y="37"/>
                    </a:cubicBezTo>
                    <a:cubicBezTo>
                      <a:pt x="451" y="35"/>
                      <a:pt x="456" y="32"/>
                      <a:pt x="460" y="30"/>
                    </a:cubicBezTo>
                    <a:cubicBezTo>
                      <a:pt x="460" y="30"/>
                      <a:pt x="460" y="30"/>
                      <a:pt x="460" y="30"/>
                    </a:cubicBezTo>
                    <a:cubicBezTo>
                      <a:pt x="464" y="27"/>
                      <a:pt x="469" y="25"/>
                      <a:pt x="473" y="22"/>
                    </a:cubicBezTo>
                    <a:cubicBezTo>
                      <a:pt x="473" y="22"/>
                      <a:pt x="473" y="22"/>
                      <a:pt x="473" y="22"/>
                    </a:cubicBezTo>
                    <a:cubicBezTo>
                      <a:pt x="471" y="14"/>
                      <a:pt x="469" y="7"/>
                      <a:pt x="466" y="0"/>
                    </a:cubicBezTo>
                    <a:cubicBezTo>
                      <a:pt x="399" y="43"/>
                      <a:pt x="321" y="68"/>
                      <a:pt x="236" y="68"/>
                    </a:cubicBezTo>
                    <a:cubicBezTo>
                      <a:pt x="152" y="68"/>
                      <a:pt x="73" y="43"/>
                      <a:pt x="6" y="0"/>
                    </a:cubicBezTo>
                    <a:cubicBezTo>
                      <a:pt x="4" y="7"/>
                      <a:pt x="2" y="14"/>
                      <a:pt x="0" y="22"/>
                    </a:cubicBezTo>
                    <a:cubicBezTo>
                      <a:pt x="0" y="22"/>
                      <a:pt x="0" y="22"/>
                      <a:pt x="0" y="22"/>
                    </a:cubicBezTo>
                    <a:cubicBezTo>
                      <a:pt x="4" y="25"/>
                      <a:pt x="8" y="27"/>
                      <a:pt x="13" y="30"/>
                    </a:cubicBezTo>
                    <a:cubicBezTo>
                      <a:pt x="13" y="30"/>
                      <a:pt x="13" y="30"/>
                      <a:pt x="13" y="30"/>
                    </a:cubicBezTo>
                    <a:cubicBezTo>
                      <a:pt x="17" y="32"/>
                      <a:pt x="21" y="35"/>
                      <a:pt x="25" y="37"/>
                    </a:cubicBezTo>
                    <a:cubicBezTo>
                      <a:pt x="26" y="37"/>
                      <a:pt x="26" y="37"/>
                      <a:pt x="26" y="38"/>
                    </a:cubicBezTo>
                    <a:cubicBezTo>
                      <a:pt x="35" y="42"/>
                      <a:pt x="43" y="47"/>
                      <a:pt x="52" y="51"/>
                    </a:cubicBezTo>
                    <a:cubicBezTo>
                      <a:pt x="53" y="51"/>
                      <a:pt x="53" y="51"/>
                      <a:pt x="54" y="52"/>
                    </a:cubicBezTo>
                    <a:cubicBezTo>
                      <a:pt x="63" y="56"/>
                      <a:pt x="71" y="59"/>
                      <a:pt x="81" y="63"/>
                    </a:cubicBezTo>
                    <a:cubicBezTo>
                      <a:pt x="81" y="63"/>
                      <a:pt x="82" y="63"/>
                      <a:pt x="82" y="64"/>
                    </a:cubicBezTo>
                    <a:cubicBezTo>
                      <a:pt x="91" y="67"/>
                      <a:pt x="101" y="70"/>
                      <a:pt x="110" y="73"/>
                    </a:cubicBezTo>
                    <a:cubicBezTo>
                      <a:pt x="111" y="73"/>
                      <a:pt x="111" y="73"/>
                      <a:pt x="112" y="74"/>
                    </a:cubicBezTo>
                    <a:cubicBezTo>
                      <a:pt x="116" y="75"/>
                      <a:pt x="121" y="76"/>
                      <a:pt x="125" y="77"/>
                    </a:cubicBezTo>
                    <a:cubicBezTo>
                      <a:pt x="125" y="77"/>
                      <a:pt x="126" y="77"/>
                      <a:pt x="126" y="78"/>
                    </a:cubicBezTo>
                    <a:cubicBezTo>
                      <a:pt x="131" y="79"/>
                      <a:pt x="135" y="80"/>
                      <a:pt x="140" y="81"/>
                    </a:cubicBezTo>
                    <a:cubicBezTo>
                      <a:pt x="141" y="81"/>
                      <a:pt x="142" y="81"/>
                      <a:pt x="143" y="82"/>
                    </a:cubicBezTo>
                    <a:cubicBezTo>
                      <a:pt x="147" y="82"/>
                      <a:pt x="151" y="83"/>
                      <a:pt x="155" y="84"/>
                    </a:cubicBezTo>
                    <a:cubicBezTo>
                      <a:pt x="156" y="84"/>
                      <a:pt x="156" y="84"/>
                      <a:pt x="157" y="84"/>
                    </a:cubicBezTo>
                    <a:cubicBezTo>
                      <a:pt x="162" y="85"/>
                      <a:pt x="167" y="86"/>
                      <a:pt x="171" y="87"/>
                    </a:cubicBezTo>
                    <a:cubicBezTo>
                      <a:pt x="172" y="87"/>
                      <a:pt x="173" y="87"/>
                      <a:pt x="174" y="87"/>
                    </a:cubicBezTo>
                    <a:cubicBezTo>
                      <a:pt x="178" y="88"/>
                      <a:pt x="182" y="88"/>
                      <a:pt x="186" y="89"/>
                    </a:cubicBezTo>
                    <a:cubicBezTo>
                      <a:pt x="187" y="89"/>
                      <a:pt x="188" y="89"/>
                      <a:pt x="189" y="89"/>
                    </a:cubicBezTo>
                    <a:cubicBezTo>
                      <a:pt x="194" y="90"/>
                      <a:pt x="199" y="90"/>
                      <a:pt x="203" y="90"/>
                    </a:cubicBezTo>
                    <a:cubicBezTo>
                      <a:pt x="204" y="90"/>
                      <a:pt x="205" y="90"/>
                      <a:pt x="205" y="91"/>
                    </a:cubicBezTo>
                    <a:cubicBezTo>
                      <a:pt x="209" y="91"/>
                      <a:pt x="214" y="91"/>
                      <a:pt x="218" y="91"/>
                    </a:cubicBezTo>
                    <a:cubicBezTo>
                      <a:pt x="219" y="91"/>
                      <a:pt x="220" y="91"/>
                      <a:pt x="222" y="91"/>
                    </a:cubicBezTo>
                    <a:cubicBezTo>
                      <a:pt x="227" y="92"/>
                      <a:pt x="231" y="92"/>
                      <a:pt x="236" y="92"/>
                    </a:cubicBezTo>
                    <a:cubicBezTo>
                      <a:pt x="241" y="92"/>
                      <a:pt x="246" y="92"/>
                      <a:pt x="251" y="91"/>
                    </a:cubicBezTo>
                    <a:cubicBezTo>
                      <a:pt x="252" y="91"/>
                      <a:pt x="253" y="91"/>
                      <a:pt x="255" y="91"/>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p:cNvSpPr>
              <p:nvPr/>
            </p:nvSpPr>
            <p:spPr bwMode="auto">
              <a:xfrm>
                <a:off x="-3070226" y="2576513"/>
                <a:ext cx="236538" cy="673100"/>
              </a:xfrm>
              <a:custGeom>
                <a:avLst/>
                <a:gdLst>
                  <a:gd name="T0" fmla="*/ 56 w 64"/>
                  <a:gd name="T1" fmla="*/ 0 h 182"/>
                  <a:gd name="T2" fmla="*/ 0 w 64"/>
                  <a:gd name="T3" fmla="*/ 61 h 182"/>
                  <a:gd name="T4" fmla="*/ 35 w 64"/>
                  <a:gd name="T5" fmla="*/ 100 h 182"/>
                  <a:gd name="T6" fmla="*/ 0 w 64"/>
                  <a:gd name="T7" fmla="*/ 129 h 182"/>
                  <a:gd name="T8" fmla="*/ 30 w 64"/>
                  <a:gd name="T9" fmla="*/ 176 h 182"/>
                  <a:gd name="T10" fmla="*/ 64 w 64"/>
                  <a:gd name="T11" fmla="*/ 182 h 182"/>
                  <a:gd name="T12" fmla="*/ 56 w 64"/>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4" h="182">
                    <a:moveTo>
                      <a:pt x="56" y="0"/>
                    </a:moveTo>
                    <a:cubicBezTo>
                      <a:pt x="0" y="61"/>
                      <a:pt x="0" y="61"/>
                      <a:pt x="0" y="61"/>
                    </a:cubicBezTo>
                    <a:cubicBezTo>
                      <a:pt x="35" y="100"/>
                      <a:pt x="35" y="100"/>
                      <a:pt x="35" y="100"/>
                    </a:cubicBezTo>
                    <a:cubicBezTo>
                      <a:pt x="0" y="129"/>
                      <a:pt x="0" y="129"/>
                      <a:pt x="0" y="129"/>
                    </a:cubicBezTo>
                    <a:cubicBezTo>
                      <a:pt x="30" y="176"/>
                      <a:pt x="30" y="176"/>
                      <a:pt x="30" y="176"/>
                    </a:cubicBezTo>
                    <a:cubicBezTo>
                      <a:pt x="41" y="179"/>
                      <a:pt x="52" y="180"/>
                      <a:pt x="64" y="182"/>
                    </a:cubicBezTo>
                    <a:lnTo>
                      <a:pt x="56"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2406651" y="2576513"/>
                <a:ext cx="234950" cy="673100"/>
              </a:xfrm>
              <a:custGeom>
                <a:avLst/>
                <a:gdLst>
                  <a:gd name="T0" fmla="*/ 7 w 63"/>
                  <a:gd name="T1" fmla="*/ 0 h 182"/>
                  <a:gd name="T2" fmla="*/ 0 w 63"/>
                  <a:gd name="T3" fmla="*/ 182 h 182"/>
                  <a:gd name="T4" fmla="*/ 33 w 63"/>
                  <a:gd name="T5" fmla="*/ 176 h 182"/>
                  <a:gd name="T6" fmla="*/ 63 w 63"/>
                  <a:gd name="T7" fmla="*/ 129 h 182"/>
                  <a:gd name="T8" fmla="*/ 28 w 63"/>
                  <a:gd name="T9" fmla="*/ 100 h 182"/>
                  <a:gd name="T10" fmla="*/ 63 w 63"/>
                  <a:gd name="T11" fmla="*/ 61 h 182"/>
                  <a:gd name="T12" fmla="*/ 7 w 63"/>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3" h="182">
                    <a:moveTo>
                      <a:pt x="7" y="0"/>
                    </a:moveTo>
                    <a:cubicBezTo>
                      <a:pt x="0" y="182"/>
                      <a:pt x="0" y="182"/>
                      <a:pt x="0" y="182"/>
                    </a:cubicBezTo>
                    <a:cubicBezTo>
                      <a:pt x="11" y="180"/>
                      <a:pt x="22" y="178"/>
                      <a:pt x="33" y="176"/>
                    </a:cubicBezTo>
                    <a:cubicBezTo>
                      <a:pt x="63" y="129"/>
                      <a:pt x="63" y="129"/>
                      <a:pt x="63" y="129"/>
                    </a:cubicBezTo>
                    <a:cubicBezTo>
                      <a:pt x="28" y="100"/>
                      <a:pt x="28" y="100"/>
                      <a:pt x="28" y="100"/>
                    </a:cubicBezTo>
                    <a:cubicBezTo>
                      <a:pt x="63" y="61"/>
                      <a:pt x="63" y="61"/>
                      <a:pt x="63" y="61"/>
                    </a:cubicBezTo>
                    <a:lnTo>
                      <a:pt x="7"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p:cNvSpPr>
              <p:nvPr/>
            </p:nvSpPr>
            <p:spPr bwMode="auto">
              <a:xfrm>
                <a:off x="-2862263" y="2520950"/>
                <a:ext cx="474663" cy="744538"/>
              </a:xfrm>
              <a:custGeom>
                <a:avLst/>
                <a:gdLst>
                  <a:gd name="T0" fmla="*/ 0 w 128"/>
                  <a:gd name="T1" fmla="*/ 15 h 201"/>
                  <a:gd name="T2" fmla="*/ 4 w 128"/>
                  <a:gd name="T3" fmla="*/ 196 h 201"/>
                  <a:gd name="T4" fmla="*/ 64 w 128"/>
                  <a:gd name="T5" fmla="*/ 201 h 201"/>
                  <a:gd name="T6" fmla="*/ 125 w 128"/>
                  <a:gd name="T7" fmla="*/ 196 h 201"/>
                  <a:gd name="T8" fmla="*/ 128 w 128"/>
                  <a:gd name="T9" fmla="*/ 15 h 201"/>
                  <a:gd name="T10" fmla="*/ 64 w 128"/>
                  <a:gd name="T11" fmla="*/ 0 h 201"/>
                  <a:gd name="T12" fmla="*/ 0 w 128"/>
                  <a:gd name="T13" fmla="*/ 15 h 201"/>
                </a:gdLst>
                <a:ahLst/>
                <a:cxnLst>
                  <a:cxn ang="0">
                    <a:pos x="T0" y="T1"/>
                  </a:cxn>
                  <a:cxn ang="0">
                    <a:pos x="T2" y="T3"/>
                  </a:cxn>
                  <a:cxn ang="0">
                    <a:pos x="T4" y="T5"/>
                  </a:cxn>
                  <a:cxn ang="0">
                    <a:pos x="T6" y="T7"/>
                  </a:cxn>
                  <a:cxn ang="0">
                    <a:pos x="T8" y="T9"/>
                  </a:cxn>
                  <a:cxn ang="0">
                    <a:pos x="T10" y="T11"/>
                  </a:cxn>
                  <a:cxn ang="0">
                    <a:pos x="T12" y="T13"/>
                  </a:cxn>
                </a:cxnLst>
                <a:rect l="0" t="0" r="r" b="b"/>
                <a:pathLst>
                  <a:path w="128" h="201">
                    <a:moveTo>
                      <a:pt x="0" y="15"/>
                    </a:moveTo>
                    <a:cubicBezTo>
                      <a:pt x="4" y="196"/>
                      <a:pt x="4" y="196"/>
                      <a:pt x="4" y="196"/>
                    </a:cubicBezTo>
                    <a:cubicBezTo>
                      <a:pt x="23" y="199"/>
                      <a:pt x="44" y="201"/>
                      <a:pt x="64" y="201"/>
                    </a:cubicBezTo>
                    <a:cubicBezTo>
                      <a:pt x="85" y="201"/>
                      <a:pt x="105" y="199"/>
                      <a:pt x="125" y="196"/>
                    </a:cubicBezTo>
                    <a:cubicBezTo>
                      <a:pt x="128" y="15"/>
                      <a:pt x="128" y="15"/>
                      <a:pt x="128" y="15"/>
                    </a:cubicBezTo>
                    <a:cubicBezTo>
                      <a:pt x="64" y="0"/>
                      <a:pt x="64" y="0"/>
                      <a:pt x="64" y="0"/>
                    </a:cubicBezTo>
                    <a:lnTo>
                      <a:pt x="0" y="15"/>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1"/>
              <p:cNvSpPr>
                <a:spLocks/>
              </p:cNvSpPr>
              <p:nvPr/>
            </p:nvSpPr>
            <p:spPr bwMode="auto">
              <a:xfrm>
                <a:off x="-2851151" y="3138488"/>
                <a:ext cx="455613" cy="127000"/>
              </a:xfrm>
              <a:custGeom>
                <a:avLst/>
                <a:gdLst>
                  <a:gd name="T0" fmla="*/ 79 w 123"/>
                  <a:gd name="T1" fmla="*/ 33 h 34"/>
                  <a:gd name="T2" fmla="*/ 91 w 123"/>
                  <a:gd name="T3" fmla="*/ 33 h 34"/>
                  <a:gd name="T4" fmla="*/ 92 w 123"/>
                  <a:gd name="T5" fmla="*/ 33 h 34"/>
                  <a:gd name="T6" fmla="*/ 122 w 123"/>
                  <a:gd name="T7" fmla="*/ 29 h 34"/>
                  <a:gd name="T8" fmla="*/ 123 w 123"/>
                  <a:gd name="T9" fmla="*/ 0 h 34"/>
                  <a:gd name="T10" fmla="*/ 61 w 123"/>
                  <a:gd name="T11" fmla="*/ 5 h 34"/>
                  <a:gd name="T12" fmla="*/ 0 w 123"/>
                  <a:gd name="T13" fmla="*/ 0 h 34"/>
                  <a:gd name="T14" fmla="*/ 1 w 123"/>
                  <a:gd name="T15" fmla="*/ 29 h 34"/>
                  <a:gd name="T16" fmla="*/ 30 w 123"/>
                  <a:gd name="T17" fmla="*/ 33 h 34"/>
                  <a:gd name="T18" fmla="*/ 32 w 123"/>
                  <a:gd name="T19" fmla="*/ 33 h 34"/>
                  <a:gd name="T20" fmla="*/ 44 w 123"/>
                  <a:gd name="T21" fmla="*/ 33 h 34"/>
                  <a:gd name="T22" fmla="*/ 47 w 123"/>
                  <a:gd name="T23" fmla="*/ 33 h 34"/>
                  <a:gd name="T24" fmla="*/ 61 w 123"/>
                  <a:gd name="T25" fmla="*/ 34 h 34"/>
                  <a:gd name="T26" fmla="*/ 75 w 123"/>
                  <a:gd name="T27" fmla="*/ 33 h 34"/>
                  <a:gd name="T28" fmla="*/ 79 w 123"/>
                  <a:gd name="T2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4">
                    <a:moveTo>
                      <a:pt x="79" y="33"/>
                    </a:moveTo>
                    <a:cubicBezTo>
                      <a:pt x="83" y="33"/>
                      <a:pt x="87" y="33"/>
                      <a:pt x="91" y="33"/>
                    </a:cubicBezTo>
                    <a:cubicBezTo>
                      <a:pt x="92" y="33"/>
                      <a:pt x="92" y="33"/>
                      <a:pt x="92" y="33"/>
                    </a:cubicBezTo>
                    <a:cubicBezTo>
                      <a:pt x="102" y="32"/>
                      <a:pt x="112" y="31"/>
                      <a:pt x="122" y="29"/>
                    </a:cubicBezTo>
                    <a:cubicBezTo>
                      <a:pt x="123" y="0"/>
                      <a:pt x="123" y="0"/>
                      <a:pt x="123" y="0"/>
                    </a:cubicBezTo>
                    <a:cubicBezTo>
                      <a:pt x="103" y="3"/>
                      <a:pt x="82" y="5"/>
                      <a:pt x="61" y="5"/>
                    </a:cubicBezTo>
                    <a:cubicBezTo>
                      <a:pt x="40" y="5"/>
                      <a:pt x="20" y="3"/>
                      <a:pt x="0" y="0"/>
                    </a:cubicBezTo>
                    <a:cubicBezTo>
                      <a:pt x="1" y="29"/>
                      <a:pt x="1" y="29"/>
                      <a:pt x="1" y="29"/>
                    </a:cubicBezTo>
                    <a:cubicBezTo>
                      <a:pt x="10" y="31"/>
                      <a:pt x="20" y="32"/>
                      <a:pt x="30" y="33"/>
                    </a:cubicBezTo>
                    <a:cubicBezTo>
                      <a:pt x="31" y="33"/>
                      <a:pt x="31" y="33"/>
                      <a:pt x="32" y="33"/>
                    </a:cubicBezTo>
                    <a:cubicBezTo>
                      <a:pt x="36" y="33"/>
                      <a:pt x="40" y="33"/>
                      <a:pt x="44" y="33"/>
                    </a:cubicBezTo>
                    <a:cubicBezTo>
                      <a:pt x="45" y="33"/>
                      <a:pt x="46" y="33"/>
                      <a:pt x="47" y="33"/>
                    </a:cubicBezTo>
                    <a:cubicBezTo>
                      <a:pt x="52" y="34"/>
                      <a:pt x="57" y="34"/>
                      <a:pt x="61" y="34"/>
                    </a:cubicBezTo>
                    <a:cubicBezTo>
                      <a:pt x="66" y="34"/>
                      <a:pt x="71" y="34"/>
                      <a:pt x="75" y="33"/>
                    </a:cubicBezTo>
                    <a:cubicBezTo>
                      <a:pt x="76" y="33"/>
                      <a:pt x="78" y="33"/>
                      <a:pt x="79" y="33"/>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p:cNvSpPr>
              <p:nvPr/>
            </p:nvSpPr>
            <p:spPr bwMode="auto">
              <a:xfrm>
                <a:off x="-2717801" y="2765425"/>
                <a:ext cx="177800" cy="500063"/>
              </a:xfrm>
              <a:custGeom>
                <a:avLst/>
                <a:gdLst>
                  <a:gd name="T0" fmla="*/ 24 w 48"/>
                  <a:gd name="T1" fmla="*/ 0 h 135"/>
                  <a:gd name="T2" fmla="*/ 0 w 48"/>
                  <a:gd name="T3" fmla="*/ 11 h 135"/>
                  <a:gd name="T4" fmla="*/ 0 w 48"/>
                  <a:gd name="T5" fmla="*/ 13 h 135"/>
                  <a:gd name="T6" fmla="*/ 13 w 48"/>
                  <a:gd name="T7" fmla="*/ 41 h 135"/>
                  <a:gd name="T8" fmla="*/ 9 w 48"/>
                  <a:gd name="T9" fmla="*/ 134 h 135"/>
                  <a:gd name="T10" fmla="*/ 25 w 48"/>
                  <a:gd name="T11" fmla="*/ 135 h 135"/>
                  <a:gd name="T12" fmla="*/ 39 w 48"/>
                  <a:gd name="T13" fmla="*/ 134 h 135"/>
                  <a:gd name="T14" fmla="*/ 35 w 48"/>
                  <a:gd name="T15" fmla="*/ 41 h 135"/>
                  <a:gd name="T16" fmla="*/ 48 w 48"/>
                  <a:gd name="T17" fmla="*/ 13 h 135"/>
                  <a:gd name="T18" fmla="*/ 48 w 48"/>
                  <a:gd name="T19" fmla="*/ 11 h 135"/>
                  <a:gd name="T20" fmla="*/ 24 w 48"/>
                  <a:gd name="T2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35">
                    <a:moveTo>
                      <a:pt x="24" y="0"/>
                    </a:moveTo>
                    <a:cubicBezTo>
                      <a:pt x="11" y="0"/>
                      <a:pt x="0" y="0"/>
                      <a:pt x="0" y="11"/>
                    </a:cubicBezTo>
                    <a:cubicBezTo>
                      <a:pt x="0" y="13"/>
                      <a:pt x="0" y="13"/>
                      <a:pt x="0" y="13"/>
                    </a:cubicBezTo>
                    <a:cubicBezTo>
                      <a:pt x="0" y="21"/>
                      <a:pt x="3" y="37"/>
                      <a:pt x="13" y="41"/>
                    </a:cubicBezTo>
                    <a:cubicBezTo>
                      <a:pt x="9" y="134"/>
                      <a:pt x="9" y="134"/>
                      <a:pt x="9" y="134"/>
                    </a:cubicBezTo>
                    <a:cubicBezTo>
                      <a:pt x="15" y="135"/>
                      <a:pt x="20" y="135"/>
                      <a:pt x="25" y="135"/>
                    </a:cubicBezTo>
                    <a:cubicBezTo>
                      <a:pt x="30" y="135"/>
                      <a:pt x="34" y="135"/>
                      <a:pt x="39" y="134"/>
                    </a:cubicBezTo>
                    <a:cubicBezTo>
                      <a:pt x="35" y="41"/>
                      <a:pt x="35" y="41"/>
                      <a:pt x="35" y="41"/>
                    </a:cubicBezTo>
                    <a:cubicBezTo>
                      <a:pt x="45" y="37"/>
                      <a:pt x="48" y="21"/>
                      <a:pt x="48" y="13"/>
                    </a:cubicBezTo>
                    <a:cubicBezTo>
                      <a:pt x="48" y="11"/>
                      <a:pt x="48" y="11"/>
                      <a:pt x="48" y="11"/>
                    </a:cubicBezTo>
                    <a:cubicBezTo>
                      <a:pt x="48" y="0"/>
                      <a:pt x="37" y="0"/>
                      <a:pt x="24" y="0"/>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2862263" y="2520950"/>
                <a:ext cx="236538" cy="728663"/>
              </a:xfrm>
              <a:custGeom>
                <a:avLst/>
                <a:gdLst>
                  <a:gd name="T0" fmla="*/ 4 w 64"/>
                  <a:gd name="T1" fmla="*/ 196 h 197"/>
                  <a:gd name="T2" fmla="*/ 6 w 64"/>
                  <a:gd name="T3" fmla="*/ 197 h 197"/>
                  <a:gd name="T4" fmla="*/ 3 w 64"/>
                  <a:gd name="T5" fmla="*/ 15 h 197"/>
                  <a:gd name="T6" fmla="*/ 64 w 64"/>
                  <a:gd name="T7" fmla="*/ 0 h 197"/>
                  <a:gd name="T8" fmla="*/ 0 w 64"/>
                  <a:gd name="T9" fmla="*/ 15 h 197"/>
                  <a:gd name="T10" fmla="*/ 4 w 64"/>
                  <a:gd name="T11" fmla="*/ 196 h 197"/>
                </a:gdLst>
                <a:ahLst/>
                <a:cxnLst>
                  <a:cxn ang="0">
                    <a:pos x="T0" y="T1"/>
                  </a:cxn>
                  <a:cxn ang="0">
                    <a:pos x="T2" y="T3"/>
                  </a:cxn>
                  <a:cxn ang="0">
                    <a:pos x="T4" y="T5"/>
                  </a:cxn>
                  <a:cxn ang="0">
                    <a:pos x="T6" y="T7"/>
                  </a:cxn>
                  <a:cxn ang="0">
                    <a:pos x="T8" y="T9"/>
                  </a:cxn>
                  <a:cxn ang="0">
                    <a:pos x="T10" y="T11"/>
                  </a:cxn>
                </a:cxnLst>
                <a:rect l="0" t="0" r="r" b="b"/>
                <a:pathLst>
                  <a:path w="64" h="197">
                    <a:moveTo>
                      <a:pt x="4" y="196"/>
                    </a:moveTo>
                    <a:cubicBezTo>
                      <a:pt x="4" y="197"/>
                      <a:pt x="5" y="197"/>
                      <a:pt x="6" y="197"/>
                    </a:cubicBezTo>
                    <a:cubicBezTo>
                      <a:pt x="3" y="15"/>
                      <a:pt x="3" y="15"/>
                      <a:pt x="3" y="15"/>
                    </a:cubicBezTo>
                    <a:cubicBezTo>
                      <a:pt x="64" y="0"/>
                      <a:pt x="64" y="0"/>
                      <a:pt x="64" y="0"/>
                    </a:cubicBezTo>
                    <a:cubicBezTo>
                      <a:pt x="0" y="15"/>
                      <a:pt x="0" y="15"/>
                      <a:pt x="0" y="15"/>
                    </a:cubicBezTo>
                    <a:lnTo>
                      <a:pt x="4" y="196"/>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4"/>
              <p:cNvSpPr>
                <a:spLocks/>
              </p:cNvSpPr>
              <p:nvPr/>
            </p:nvSpPr>
            <p:spPr bwMode="auto">
              <a:xfrm>
                <a:off x="-2625726" y="2520950"/>
                <a:ext cx="238125" cy="728663"/>
              </a:xfrm>
              <a:custGeom>
                <a:avLst/>
                <a:gdLst>
                  <a:gd name="T0" fmla="*/ 0 w 64"/>
                  <a:gd name="T1" fmla="*/ 0 h 197"/>
                  <a:gd name="T2" fmla="*/ 62 w 64"/>
                  <a:gd name="T3" fmla="*/ 15 h 197"/>
                  <a:gd name="T4" fmla="*/ 59 w 64"/>
                  <a:gd name="T5" fmla="*/ 197 h 197"/>
                  <a:gd name="T6" fmla="*/ 61 w 64"/>
                  <a:gd name="T7" fmla="*/ 196 h 197"/>
                  <a:gd name="T8" fmla="*/ 64 w 64"/>
                  <a:gd name="T9" fmla="*/ 15 h 197"/>
                  <a:gd name="T10" fmla="*/ 0 w 64"/>
                  <a:gd name="T11" fmla="*/ 0 h 197"/>
                </a:gdLst>
                <a:ahLst/>
                <a:cxnLst>
                  <a:cxn ang="0">
                    <a:pos x="T0" y="T1"/>
                  </a:cxn>
                  <a:cxn ang="0">
                    <a:pos x="T2" y="T3"/>
                  </a:cxn>
                  <a:cxn ang="0">
                    <a:pos x="T4" y="T5"/>
                  </a:cxn>
                  <a:cxn ang="0">
                    <a:pos x="T6" y="T7"/>
                  </a:cxn>
                  <a:cxn ang="0">
                    <a:pos x="T8" y="T9"/>
                  </a:cxn>
                  <a:cxn ang="0">
                    <a:pos x="T10" y="T11"/>
                  </a:cxn>
                </a:cxnLst>
                <a:rect l="0" t="0" r="r" b="b"/>
                <a:pathLst>
                  <a:path w="64" h="197">
                    <a:moveTo>
                      <a:pt x="0" y="0"/>
                    </a:moveTo>
                    <a:cubicBezTo>
                      <a:pt x="62" y="15"/>
                      <a:pt x="62" y="15"/>
                      <a:pt x="62" y="15"/>
                    </a:cubicBezTo>
                    <a:cubicBezTo>
                      <a:pt x="59" y="197"/>
                      <a:pt x="59" y="197"/>
                      <a:pt x="59" y="197"/>
                    </a:cubicBezTo>
                    <a:cubicBezTo>
                      <a:pt x="60" y="197"/>
                      <a:pt x="61" y="196"/>
                      <a:pt x="61" y="196"/>
                    </a:cubicBezTo>
                    <a:cubicBezTo>
                      <a:pt x="64" y="15"/>
                      <a:pt x="64" y="15"/>
                      <a:pt x="64" y="15"/>
                    </a:cubicBezTo>
                    <a:lnTo>
                      <a:pt x="0"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5"/>
              <p:cNvSpPr>
                <a:spLocks/>
              </p:cNvSpPr>
              <p:nvPr/>
            </p:nvSpPr>
            <p:spPr bwMode="auto">
              <a:xfrm>
                <a:off x="-2862263" y="2560638"/>
                <a:ext cx="474663" cy="319088"/>
              </a:xfrm>
              <a:custGeom>
                <a:avLst/>
                <a:gdLst>
                  <a:gd name="T0" fmla="*/ 299 w 299"/>
                  <a:gd name="T1" fmla="*/ 75 h 201"/>
                  <a:gd name="T2" fmla="*/ 299 w 299"/>
                  <a:gd name="T3" fmla="*/ 14 h 201"/>
                  <a:gd name="T4" fmla="*/ 290 w 299"/>
                  <a:gd name="T5" fmla="*/ 7 h 201"/>
                  <a:gd name="T6" fmla="*/ 257 w 299"/>
                  <a:gd name="T7" fmla="*/ 0 h 201"/>
                  <a:gd name="T8" fmla="*/ 149 w 299"/>
                  <a:gd name="T9" fmla="*/ 133 h 201"/>
                  <a:gd name="T10" fmla="*/ 42 w 299"/>
                  <a:gd name="T11" fmla="*/ 0 h 201"/>
                  <a:gd name="T12" fmla="*/ 9 w 299"/>
                  <a:gd name="T13" fmla="*/ 7 h 201"/>
                  <a:gd name="T14" fmla="*/ 0 w 299"/>
                  <a:gd name="T15" fmla="*/ 14 h 201"/>
                  <a:gd name="T16" fmla="*/ 2 w 299"/>
                  <a:gd name="T17" fmla="*/ 80 h 201"/>
                  <a:gd name="T18" fmla="*/ 91 w 299"/>
                  <a:gd name="T19" fmla="*/ 201 h 201"/>
                  <a:gd name="T20" fmla="*/ 149 w 299"/>
                  <a:gd name="T21" fmla="*/ 138 h 201"/>
                  <a:gd name="T22" fmla="*/ 208 w 299"/>
                  <a:gd name="T23" fmla="*/ 201 h 201"/>
                  <a:gd name="T24" fmla="*/ 299 w 299"/>
                  <a:gd name="T25" fmla="*/ 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201">
                    <a:moveTo>
                      <a:pt x="299" y="75"/>
                    </a:moveTo>
                    <a:lnTo>
                      <a:pt x="299" y="14"/>
                    </a:lnTo>
                    <a:lnTo>
                      <a:pt x="290" y="7"/>
                    </a:lnTo>
                    <a:lnTo>
                      <a:pt x="257" y="0"/>
                    </a:lnTo>
                    <a:lnTo>
                      <a:pt x="149" y="133"/>
                    </a:lnTo>
                    <a:lnTo>
                      <a:pt x="42" y="0"/>
                    </a:lnTo>
                    <a:lnTo>
                      <a:pt x="9" y="7"/>
                    </a:lnTo>
                    <a:lnTo>
                      <a:pt x="0" y="14"/>
                    </a:lnTo>
                    <a:lnTo>
                      <a:pt x="2" y="80"/>
                    </a:lnTo>
                    <a:lnTo>
                      <a:pt x="91" y="201"/>
                    </a:lnTo>
                    <a:lnTo>
                      <a:pt x="149" y="138"/>
                    </a:lnTo>
                    <a:lnTo>
                      <a:pt x="208" y="201"/>
                    </a:lnTo>
                    <a:lnTo>
                      <a:pt x="299" y="75"/>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6"/>
              <p:cNvSpPr>
                <a:spLocks/>
              </p:cNvSpPr>
              <p:nvPr/>
            </p:nvSpPr>
            <p:spPr bwMode="auto">
              <a:xfrm>
                <a:off x="-2703513" y="2749550"/>
                <a:ext cx="152400" cy="155575"/>
              </a:xfrm>
              <a:custGeom>
                <a:avLst/>
                <a:gdLst>
                  <a:gd name="T0" fmla="*/ 41 w 41"/>
                  <a:gd name="T1" fmla="*/ 21 h 42"/>
                  <a:gd name="T2" fmla="*/ 20 w 41"/>
                  <a:gd name="T3" fmla="*/ 42 h 42"/>
                  <a:gd name="T4" fmla="*/ 20 w 41"/>
                  <a:gd name="T5" fmla="*/ 42 h 42"/>
                  <a:gd name="T6" fmla="*/ 0 w 41"/>
                  <a:gd name="T7" fmla="*/ 21 h 42"/>
                  <a:gd name="T8" fmla="*/ 0 w 41"/>
                  <a:gd name="T9" fmla="*/ 20 h 42"/>
                  <a:gd name="T10" fmla="*/ 20 w 41"/>
                  <a:gd name="T11" fmla="*/ 0 h 42"/>
                  <a:gd name="T12" fmla="*/ 20 w 41"/>
                  <a:gd name="T13" fmla="*/ 0 h 42"/>
                  <a:gd name="T14" fmla="*/ 41 w 41"/>
                  <a:gd name="T15" fmla="*/ 20 h 42"/>
                  <a:gd name="T16" fmla="*/ 41 w 41"/>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41" y="21"/>
                    </a:moveTo>
                    <a:cubicBezTo>
                      <a:pt x="41" y="32"/>
                      <a:pt x="31" y="42"/>
                      <a:pt x="20" y="42"/>
                    </a:cubicBezTo>
                    <a:cubicBezTo>
                      <a:pt x="20" y="42"/>
                      <a:pt x="20" y="42"/>
                      <a:pt x="20" y="42"/>
                    </a:cubicBezTo>
                    <a:cubicBezTo>
                      <a:pt x="9" y="42"/>
                      <a:pt x="0" y="32"/>
                      <a:pt x="0" y="21"/>
                    </a:cubicBezTo>
                    <a:cubicBezTo>
                      <a:pt x="0" y="20"/>
                      <a:pt x="0" y="20"/>
                      <a:pt x="0" y="20"/>
                    </a:cubicBezTo>
                    <a:cubicBezTo>
                      <a:pt x="0" y="9"/>
                      <a:pt x="9" y="0"/>
                      <a:pt x="20" y="0"/>
                    </a:cubicBezTo>
                    <a:cubicBezTo>
                      <a:pt x="20" y="0"/>
                      <a:pt x="20" y="0"/>
                      <a:pt x="20" y="0"/>
                    </a:cubicBezTo>
                    <a:cubicBezTo>
                      <a:pt x="31" y="0"/>
                      <a:pt x="41" y="9"/>
                      <a:pt x="41" y="20"/>
                    </a:cubicBezTo>
                    <a:lnTo>
                      <a:pt x="41" y="21"/>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7"/>
              <p:cNvSpPr>
                <a:spLocks/>
              </p:cNvSpPr>
              <p:nvPr/>
            </p:nvSpPr>
            <p:spPr bwMode="auto">
              <a:xfrm>
                <a:off x="-2814638" y="2190750"/>
                <a:ext cx="379413" cy="558800"/>
              </a:xfrm>
              <a:custGeom>
                <a:avLst/>
                <a:gdLst>
                  <a:gd name="T0" fmla="*/ 239 w 239"/>
                  <a:gd name="T1" fmla="*/ 282 h 352"/>
                  <a:gd name="T2" fmla="*/ 119 w 239"/>
                  <a:gd name="T3" fmla="*/ 352 h 352"/>
                  <a:gd name="T4" fmla="*/ 0 w 239"/>
                  <a:gd name="T5" fmla="*/ 282 h 352"/>
                  <a:gd name="T6" fmla="*/ 19 w 239"/>
                  <a:gd name="T7" fmla="*/ 0 h 352"/>
                  <a:gd name="T8" fmla="*/ 222 w 239"/>
                  <a:gd name="T9" fmla="*/ 0 h 352"/>
                  <a:gd name="T10" fmla="*/ 239 w 239"/>
                  <a:gd name="T11" fmla="*/ 282 h 352"/>
                </a:gdLst>
                <a:ahLst/>
                <a:cxnLst>
                  <a:cxn ang="0">
                    <a:pos x="T0" y="T1"/>
                  </a:cxn>
                  <a:cxn ang="0">
                    <a:pos x="T2" y="T3"/>
                  </a:cxn>
                  <a:cxn ang="0">
                    <a:pos x="T4" y="T5"/>
                  </a:cxn>
                  <a:cxn ang="0">
                    <a:pos x="T6" y="T7"/>
                  </a:cxn>
                  <a:cxn ang="0">
                    <a:pos x="T8" y="T9"/>
                  </a:cxn>
                  <a:cxn ang="0">
                    <a:pos x="T10" y="T11"/>
                  </a:cxn>
                </a:cxnLst>
                <a:rect l="0" t="0" r="r" b="b"/>
                <a:pathLst>
                  <a:path w="239" h="352">
                    <a:moveTo>
                      <a:pt x="239" y="282"/>
                    </a:moveTo>
                    <a:lnTo>
                      <a:pt x="119" y="352"/>
                    </a:lnTo>
                    <a:lnTo>
                      <a:pt x="0" y="282"/>
                    </a:lnTo>
                    <a:lnTo>
                      <a:pt x="19" y="0"/>
                    </a:lnTo>
                    <a:lnTo>
                      <a:pt x="222" y="0"/>
                    </a:lnTo>
                    <a:lnTo>
                      <a:pt x="239" y="282"/>
                    </a:ln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8"/>
              <p:cNvSpPr>
                <a:spLocks/>
              </p:cNvSpPr>
              <p:nvPr/>
            </p:nvSpPr>
            <p:spPr bwMode="auto">
              <a:xfrm>
                <a:off x="-2814638" y="2505075"/>
                <a:ext cx="379413" cy="244475"/>
              </a:xfrm>
              <a:custGeom>
                <a:avLst/>
                <a:gdLst>
                  <a:gd name="T0" fmla="*/ 119 w 239"/>
                  <a:gd name="T1" fmla="*/ 131 h 154"/>
                  <a:gd name="T2" fmla="*/ 7 w 239"/>
                  <a:gd name="T3" fmla="*/ 0 h 154"/>
                  <a:gd name="T4" fmla="*/ 0 w 239"/>
                  <a:gd name="T5" fmla="*/ 84 h 154"/>
                  <a:gd name="T6" fmla="*/ 119 w 239"/>
                  <a:gd name="T7" fmla="*/ 154 h 154"/>
                  <a:gd name="T8" fmla="*/ 239 w 239"/>
                  <a:gd name="T9" fmla="*/ 84 h 154"/>
                  <a:gd name="T10" fmla="*/ 234 w 239"/>
                  <a:gd name="T11" fmla="*/ 0 h 154"/>
                  <a:gd name="T12" fmla="*/ 119 w 239"/>
                  <a:gd name="T13" fmla="*/ 131 h 154"/>
                </a:gdLst>
                <a:ahLst/>
                <a:cxnLst>
                  <a:cxn ang="0">
                    <a:pos x="T0" y="T1"/>
                  </a:cxn>
                  <a:cxn ang="0">
                    <a:pos x="T2" y="T3"/>
                  </a:cxn>
                  <a:cxn ang="0">
                    <a:pos x="T4" y="T5"/>
                  </a:cxn>
                  <a:cxn ang="0">
                    <a:pos x="T6" y="T7"/>
                  </a:cxn>
                  <a:cxn ang="0">
                    <a:pos x="T8" y="T9"/>
                  </a:cxn>
                  <a:cxn ang="0">
                    <a:pos x="T10" y="T11"/>
                  </a:cxn>
                  <a:cxn ang="0">
                    <a:pos x="T12" y="T13"/>
                  </a:cxn>
                </a:cxnLst>
                <a:rect l="0" t="0" r="r" b="b"/>
                <a:pathLst>
                  <a:path w="239" h="154">
                    <a:moveTo>
                      <a:pt x="119" y="131"/>
                    </a:moveTo>
                    <a:lnTo>
                      <a:pt x="7" y="0"/>
                    </a:lnTo>
                    <a:lnTo>
                      <a:pt x="0" y="84"/>
                    </a:lnTo>
                    <a:lnTo>
                      <a:pt x="119" y="154"/>
                    </a:lnTo>
                    <a:lnTo>
                      <a:pt x="239" y="84"/>
                    </a:lnTo>
                    <a:lnTo>
                      <a:pt x="234" y="0"/>
                    </a:lnTo>
                    <a:lnTo>
                      <a:pt x="119" y="131"/>
                    </a:ln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19"/>
              <p:cNvSpPr>
                <a:spLocks noChangeArrowheads="1"/>
              </p:cNvSpPr>
              <p:nvPr/>
            </p:nvSpPr>
            <p:spPr bwMode="auto">
              <a:xfrm>
                <a:off x="-3549651" y="1416050"/>
                <a:ext cx="412750" cy="530225"/>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0"/>
              <p:cNvSpPr>
                <a:spLocks noChangeArrowheads="1"/>
              </p:cNvSpPr>
              <p:nvPr/>
            </p:nvSpPr>
            <p:spPr bwMode="auto">
              <a:xfrm>
                <a:off x="-3505201" y="1471613"/>
                <a:ext cx="323850" cy="419100"/>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1"/>
              <p:cNvSpPr>
                <a:spLocks/>
              </p:cNvSpPr>
              <p:nvPr/>
            </p:nvSpPr>
            <p:spPr bwMode="auto">
              <a:xfrm>
                <a:off x="-3505201" y="1471613"/>
                <a:ext cx="282575" cy="419100"/>
              </a:xfrm>
              <a:custGeom>
                <a:avLst/>
                <a:gdLst>
                  <a:gd name="T0" fmla="*/ 12 w 76"/>
                  <a:gd name="T1" fmla="*/ 60 h 113"/>
                  <a:gd name="T2" fmla="*/ 52 w 76"/>
                  <a:gd name="T3" fmla="*/ 8 h 113"/>
                  <a:gd name="T4" fmla="*/ 76 w 76"/>
                  <a:gd name="T5" fmla="*/ 18 h 113"/>
                  <a:gd name="T6" fmla="*/ 44 w 76"/>
                  <a:gd name="T7" fmla="*/ 0 h 113"/>
                  <a:gd name="T8" fmla="*/ 0 w 76"/>
                  <a:gd name="T9" fmla="*/ 56 h 113"/>
                  <a:gd name="T10" fmla="*/ 44 w 76"/>
                  <a:gd name="T11" fmla="*/ 113 h 113"/>
                  <a:gd name="T12" fmla="*/ 48 w 76"/>
                  <a:gd name="T13" fmla="*/ 112 h 113"/>
                  <a:gd name="T14" fmla="*/ 12 w 76"/>
                  <a:gd name="T15" fmla="*/ 6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12" y="60"/>
                    </a:moveTo>
                    <a:cubicBezTo>
                      <a:pt x="12" y="31"/>
                      <a:pt x="30" y="8"/>
                      <a:pt x="52" y="8"/>
                    </a:cubicBezTo>
                    <a:cubicBezTo>
                      <a:pt x="61" y="8"/>
                      <a:pt x="69" y="12"/>
                      <a:pt x="76" y="18"/>
                    </a:cubicBezTo>
                    <a:cubicBezTo>
                      <a:pt x="68" y="7"/>
                      <a:pt x="56" y="0"/>
                      <a:pt x="44" y="0"/>
                    </a:cubicBezTo>
                    <a:cubicBezTo>
                      <a:pt x="19" y="0"/>
                      <a:pt x="0" y="25"/>
                      <a:pt x="0" y="56"/>
                    </a:cubicBezTo>
                    <a:cubicBezTo>
                      <a:pt x="0" y="87"/>
                      <a:pt x="19" y="113"/>
                      <a:pt x="44" y="113"/>
                    </a:cubicBezTo>
                    <a:cubicBezTo>
                      <a:pt x="45" y="113"/>
                      <a:pt x="47" y="113"/>
                      <a:pt x="48" y="112"/>
                    </a:cubicBezTo>
                    <a:cubicBezTo>
                      <a:pt x="28" y="110"/>
                      <a:pt x="12" y="87"/>
                      <a:pt x="12" y="60"/>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Oval 22"/>
              <p:cNvSpPr>
                <a:spLocks noChangeArrowheads="1"/>
              </p:cNvSpPr>
              <p:nvPr/>
            </p:nvSpPr>
            <p:spPr bwMode="auto">
              <a:xfrm>
                <a:off x="-2112963" y="1416050"/>
                <a:ext cx="411163" cy="530225"/>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Oval 23"/>
              <p:cNvSpPr>
                <a:spLocks noChangeArrowheads="1"/>
              </p:cNvSpPr>
              <p:nvPr/>
            </p:nvSpPr>
            <p:spPr bwMode="auto">
              <a:xfrm>
                <a:off x="-2068513" y="1471613"/>
                <a:ext cx="327025" cy="419100"/>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4"/>
              <p:cNvSpPr>
                <a:spLocks/>
              </p:cNvSpPr>
              <p:nvPr/>
            </p:nvSpPr>
            <p:spPr bwMode="auto">
              <a:xfrm>
                <a:off x="-2024063" y="1471613"/>
                <a:ext cx="282575" cy="419100"/>
              </a:xfrm>
              <a:custGeom>
                <a:avLst/>
                <a:gdLst>
                  <a:gd name="T0" fmla="*/ 64 w 76"/>
                  <a:gd name="T1" fmla="*/ 60 h 113"/>
                  <a:gd name="T2" fmla="*/ 23 w 76"/>
                  <a:gd name="T3" fmla="*/ 8 h 113"/>
                  <a:gd name="T4" fmla="*/ 0 w 76"/>
                  <a:gd name="T5" fmla="*/ 18 h 113"/>
                  <a:gd name="T6" fmla="*/ 32 w 76"/>
                  <a:gd name="T7" fmla="*/ 0 h 113"/>
                  <a:gd name="T8" fmla="*/ 76 w 76"/>
                  <a:gd name="T9" fmla="*/ 56 h 113"/>
                  <a:gd name="T10" fmla="*/ 32 w 76"/>
                  <a:gd name="T11" fmla="*/ 113 h 113"/>
                  <a:gd name="T12" fmla="*/ 28 w 76"/>
                  <a:gd name="T13" fmla="*/ 112 h 113"/>
                  <a:gd name="T14" fmla="*/ 64 w 76"/>
                  <a:gd name="T15" fmla="*/ 6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64" y="60"/>
                    </a:moveTo>
                    <a:cubicBezTo>
                      <a:pt x="64" y="31"/>
                      <a:pt x="46" y="8"/>
                      <a:pt x="23" y="8"/>
                    </a:cubicBezTo>
                    <a:cubicBezTo>
                      <a:pt x="15" y="8"/>
                      <a:pt x="6" y="12"/>
                      <a:pt x="0" y="18"/>
                    </a:cubicBezTo>
                    <a:cubicBezTo>
                      <a:pt x="8" y="7"/>
                      <a:pt x="19" y="0"/>
                      <a:pt x="32" y="0"/>
                    </a:cubicBezTo>
                    <a:cubicBezTo>
                      <a:pt x="56" y="0"/>
                      <a:pt x="76" y="25"/>
                      <a:pt x="76" y="56"/>
                    </a:cubicBezTo>
                    <a:cubicBezTo>
                      <a:pt x="76" y="87"/>
                      <a:pt x="56" y="113"/>
                      <a:pt x="32" y="113"/>
                    </a:cubicBezTo>
                    <a:cubicBezTo>
                      <a:pt x="30" y="113"/>
                      <a:pt x="29" y="113"/>
                      <a:pt x="28" y="112"/>
                    </a:cubicBezTo>
                    <a:cubicBezTo>
                      <a:pt x="48" y="110"/>
                      <a:pt x="64" y="87"/>
                      <a:pt x="64" y="60"/>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5"/>
              <p:cNvSpPr>
                <a:spLocks/>
              </p:cNvSpPr>
              <p:nvPr/>
            </p:nvSpPr>
            <p:spPr bwMode="auto">
              <a:xfrm>
                <a:off x="-3352801" y="630238"/>
                <a:ext cx="1450975" cy="1841500"/>
              </a:xfrm>
              <a:custGeom>
                <a:avLst/>
                <a:gdLst>
                  <a:gd name="T0" fmla="*/ 391 w 391"/>
                  <a:gd name="T1" fmla="*/ 266 h 497"/>
                  <a:gd name="T2" fmla="*/ 195 w 391"/>
                  <a:gd name="T3" fmla="*/ 497 h 497"/>
                  <a:gd name="T4" fmla="*/ 0 w 391"/>
                  <a:gd name="T5" fmla="*/ 266 h 497"/>
                  <a:gd name="T6" fmla="*/ 195 w 391"/>
                  <a:gd name="T7" fmla="*/ 0 h 497"/>
                  <a:gd name="T8" fmla="*/ 391 w 391"/>
                  <a:gd name="T9" fmla="*/ 266 h 497"/>
                </a:gdLst>
                <a:ahLst/>
                <a:cxnLst>
                  <a:cxn ang="0">
                    <a:pos x="T0" y="T1"/>
                  </a:cxn>
                  <a:cxn ang="0">
                    <a:pos x="T2" y="T3"/>
                  </a:cxn>
                  <a:cxn ang="0">
                    <a:pos x="T4" y="T5"/>
                  </a:cxn>
                  <a:cxn ang="0">
                    <a:pos x="T6" y="T7"/>
                  </a:cxn>
                  <a:cxn ang="0">
                    <a:pos x="T8" y="T9"/>
                  </a:cxn>
                </a:cxnLst>
                <a:rect l="0" t="0" r="r" b="b"/>
                <a:pathLst>
                  <a:path w="391" h="497">
                    <a:moveTo>
                      <a:pt x="391" y="266"/>
                    </a:moveTo>
                    <a:cubicBezTo>
                      <a:pt x="391" y="394"/>
                      <a:pt x="303" y="497"/>
                      <a:pt x="195" y="497"/>
                    </a:cubicBezTo>
                    <a:cubicBezTo>
                      <a:pt x="87" y="497"/>
                      <a:pt x="0" y="394"/>
                      <a:pt x="0" y="266"/>
                    </a:cubicBezTo>
                    <a:cubicBezTo>
                      <a:pt x="0" y="139"/>
                      <a:pt x="19" y="0"/>
                      <a:pt x="195" y="0"/>
                    </a:cubicBezTo>
                    <a:cubicBezTo>
                      <a:pt x="371" y="0"/>
                      <a:pt x="391" y="139"/>
                      <a:pt x="391" y="266"/>
                    </a:cubicBez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6"/>
              <p:cNvSpPr>
                <a:spLocks/>
              </p:cNvSpPr>
              <p:nvPr/>
            </p:nvSpPr>
            <p:spPr bwMode="auto">
              <a:xfrm>
                <a:off x="-3349626" y="630238"/>
                <a:ext cx="1441450" cy="971550"/>
              </a:xfrm>
              <a:custGeom>
                <a:avLst/>
                <a:gdLst>
                  <a:gd name="T0" fmla="*/ 194 w 388"/>
                  <a:gd name="T1" fmla="*/ 0 h 262"/>
                  <a:gd name="T2" fmla="*/ 0 w 388"/>
                  <a:gd name="T3" fmla="*/ 218 h 262"/>
                  <a:gd name="T4" fmla="*/ 10 w 388"/>
                  <a:gd name="T5" fmla="*/ 262 h 262"/>
                  <a:gd name="T6" fmla="*/ 51 w 388"/>
                  <a:gd name="T7" fmla="*/ 123 h 262"/>
                  <a:gd name="T8" fmla="*/ 157 w 388"/>
                  <a:gd name="T9" fmla="*/ 154 h 262"/>
                  <a:gd name="T10" fmla="*/ 335 w 388"/>
                  <a:gd name="T11" fmla="*/ 114 h 262"/>
                  <a:gd name="T12" fmla="*/ 377 w 388"/>
                  <a:gd name="T13" fmla="*/ 262 h 262"/>
                  <a:gd name="T14" fmla="*/ 388 w 388"/>
                  <a:gd name="T15" fmla="*/ 214 h 262"/>
                  <a:gd name="T16" fmla="*/ 194 w 388"/>
                  <a:gd name="T1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62">
                    <a:moveTo>
                      <a:pt x="194" y="0"/>
                    </a:moveTo>
                    <a:cubicBezTo>
                      <a:pt x="40" y="0"/>
                      <a:pt x="6" y="107"/>
                      <a:pt x="0" y="218"/>
                    </a:cubicBezTo>
                    <a:cubicBezTo>
                      <a:pt x="5" y="244"/>
                      <a:pt x="10" y="262"/>
                      <a:pt x="10" y="262"/>
                    </a:cubicBezTo>
                    <a:cubicBezTo>
                      <a:pt x="40" y="212"/>
                      <a:pt x="49" y="147"/>
                      <a:pt x="51" y="123"/>
                    </a:cubicBezTo>
                    <a:cubicBezTo>
                      <a:pt x="79" y="137"/>
                      <a:pt x="114" y="149"/>
                      <a:pt x="157" y="154"/>
                    </a:cubicBezTo>
                    <a:cubicBezTo>
                      <a:pt x="253" y="166"/>
                      <a:pt x="301" y="130"/>
                      <a:pt x="335" y="114"/>
                    </a:cubicBezTo>
                    <a:cubicBezTo>
                      <a:pt x="335" y="114"/>
                      <a:pt x="341" y="200"/>
                      <a:pt x="377" y="262"/>
                    </a:cubicBezTo>
                    <a:cubicBezTo>
                      <a:pt x="377" y="262"/>
                      <a:pt x="383" y="242"/>
                      <a:pt x="388" y="214"/>
                    </a:cubicBezTo>
                    <a:cubicBezTo>
                      <a:pt x="381" y="104"/>
                      <a:pt x="346" y="0"/>
                      <a:pt x="194"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7"/>
              <p:cNvSpPr>
                <a:spLocks noEditPoints="1"/>
              </p:cNvSpPr>
              <p:nvPr/>
            </p:nvSpPr>
            <p:spPr bwMode="auto">
              <a:xfrm>
                <a:off x="-3352801" y="630238"/>
                <a:ext cx="1450975" cy="1841500"/>
              </a:xfrm>
              <a:custGeom>
                <a:avLst/>
                <a:gdLst>
                  <a:gd name="T0" fmla="*/ 195 w 391"/>
                  <a:gd name="T1" fmla="*/ 0 h 497"/>
                  <a:gd name="T2" fmla="*/ 0 w 391"/>
                  <a:gd name="T3" fmla="*/ 266 h 497"/>
                  <a:gd name="T4" fmla="*/ 195 w 391"/>
                  <a:gd name="T5" fmla="*/ 497 h 497"/>
                  <a:gd name="T6" fmla="*/ 391 w 391"/>
                  <a:gd name="T7" fmla="*/ 266 h 497"/>
                  <a:gd name="T8" fmla="*/ 195 w 391"/>
                  <a:gd name="T9" fmla="*/ 0 h 497"/>
                  <a:gd name="T10" fmla="*/ 195 w 391"/>
                  <a:gd name="T11" fmla="*/ 484 h 497"/>
                  <a:gd name="T12" fmla="*/ 10 w 391"/>
                  <a:gd name="T13" fmla="*/ 265 h 497"/>
                  <a:gd name="T14" fmla="*/ 195 w 391"/>
                  <a:gd name="T15" fmla="*/ 13 h 497"/>
                  <a:gd name="T16" fmla="*/ 380 w 391"/>
                  <a:gd name="T17" fmla="*/ 265 h 497"/>
                  <a:gd name="T18" fmla="*/ 195 w 391"/>
                  <a:gd name="T19" fmla="*/ 48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497">
                    <a:moveTo>
                      <a:pt x="195" y="0"/>
                    </a:moveTo>
                    <a:cubicBezTo>
                      <a:pt x="19" y="0"/>
                      <a:pt x="0" y="139"/>
                      <a:pt x="0" y="266"/>
                    </a:cubicBezTo>
                    <a:cubicBezTo>
                      <a:pt x="0" y="394"/>
                      <a:pt x="87" y="497"/>
                      <a:pt x="195" y="497"/>
                    </a:cubicBezTo>
                    <a:cubicBezTo>
                      <a:pt x="303" y="497"/>
                      <a:pt x="391" y="394"/>
                      <a:pt x="391" y="266"/>
                    </a:cubicBezTo>
                    <a:cubicBezTo>
                      <a:pt x="391" y="139"/>
                      <a:pt x="371" y="0"/>
                      <a:pt x="195" y="0"/>
                    </a:cubicBezTo>
                    <a:close/>
                    <a:moveTo>
                      <a:pt x="195" y="484"/>
                    </a:moveTo>
                    <a:cubicBezTo>
                      <a:pt x="93" y="484"/>
                      <a:pt x="10" y="386"/>
                      <a:pt x="10" y="265"/>
                    </a:cubicBezTo>
                    <a:cubicBezTo>
                      <a:pt x="10" y="145"/>
                      <a:pt x="28" y="13"/>
                      <a:pt x="195" y="13"/>
                    </a:cubicBezTo>
                    <a:cubicBezTo>
                      <a:pt x="362" y="13"/>
                      <a:pt x="380" y="145"/>
                      <a:pt x="380" y="265"/>
                    </a:cubicBezTo>
                    <a:cubicBezTo>
                      <a:pt x="380" y="386"/>
                      <a:pt x="297" y="484"/>
                      <a:pt x="195" y="484"/>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8"/>
              <p:cNvSpPr>
                <a:spLocks/>
              </p:cNvSpPr>
              <p:nvPr/>
            </p:nvSpPr>
            <p:spPr bwMode="auto">
              <a:xfrm>
                <a:off x="-3006726" y="1890713"/>
                <a:ext cx="755650" cy="336550"/>
              </a:xfrm>
              <a:custGeom>
                <a:avLst/>
                <a:gdLst>
                  <a:gd name="T0" fmla="*/ 0 w 204"/>
                  <a:gd name="T1" fmla="*/ 0 h 91"/>
                  <a:gd name="T2" fmla="*/ 102 w 204"/>
                  <a:gd name="T3" fmla="*/ 91 h 91"/>
                  <a:gd name="T4" fmla="*/ 204 w 204"/>
                  <a:gd name="T5" fmla="*/ 0 h 91"/>
                  <a:gd name="T6" fmla="*/ 0 w 204"/>
                  <a:gd name="T7" fmla="*/ 0 h 91"/>
                </a:gdLst>
                <a:ahLst/>
                <a:cxnLst>
                  <a:cxn ang="0">
                    <a:pos x="T0" y="T1"/>
                  </a:cxn>
                  <a:cxn ang="0">
                    <a:pos x="T2" y="T3"/>
                  </a:cxn>
                  <a:cxn ang="0">
                    <a:pos x="T4" y="T5"/>
                  </a:cxn>
                  <a:cxn ang="0">
                    <a:pos x="T6" y="T7"/>
                  </a:cxn>
                </a:cxnLst>
                <a:rect l="0" t="0" r="r" b="b"/>
                <a:pathLst>
                  <a:path w="204" h="91">
                    <a:moveTo>
                      <a:pt x="0" y="0"/>
                    </a:moveTo>
                    <a:cubicBezTo>
                      <a:pt x="22" y="62"/>
                      <a:pt x="60" y="91"/>
                      <a:pt x="102" y="91"/>
                    </a:cubicBezTo>
                    <a:cubicBezTo>
                      <a:pt x="145" y="91"/>
                      <a:pt x="182" y="62"/>
                      <a:pt x="20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9"/>
              <p:cNvSpPr>
                <a:spLocks/>
              </p:cNvSpPr>
              <p:nvPr/>
            </p:nvSpPr>
            <p:spPr bwMode="auto">
              <a:xfrm>
                <a:off x="-3471863" y="715963"/>
                <a:ext cx="285750" cy="900113"/>
              </a:xfrm>
              <a:custGeom>
                <a:avLst/>
                <a:gdLst>
                  <a:gd name="T0" fmla="*/ 77 w 77"/>
                  <a:gd name="T1" fmla="*/ 75 h 243"/>
                  <a:gd name="T2" fmla="*/ 32 w 77"/>
                  <a:gd name="T3" fmla="*/ 243 h 243"/>
                  <a:gd name="T4" fmla="*/ 19 w 77"/>
                  <a:gd name="T5" fmla="*/ 45 h 243"/>
                  <a:gd name="T6" fmla="*/ 66 w 77"/>
                  <a:gd name="T7" fmla="*/ 0 h 243"/>
                  <a:gd name="T8" fmla="*/ 77 w 77"/>
                  <a:gd name="T9" fmla="*/ 75 h 243"/>
                </a:gdLst>
                <a:ahLst/>
                <a:cxnLst>
                  <a:cxn ang="0">
                    <a:pos x="T0" y="T1"/>
                  </a:cxn>
                  <a:cxn ang="0">
                    <a:pos x="T2" y="T3"/>
                  </a:cxn>
                  <a:cxn ang="0">
                    <a:pos x="T4" y="T5"/>
                  </a:cxn>
                  <a:cxn ang="0">
                    <a:pos x="T6" y="T7"/>
                  </a:cxn>
                  <a:cxn ang="0">
                    <a:pos x="T8" y="T9"/>
                  </a:cxn>
                </a:cxnLst>
                <a:rect l="0" t="0" r="r" b="b"/>
                <a:pathLst>
                  <a:path w="77" h="243">
                    <a:moveTo>
                      <a:pt x="77" y="75"/>
                    </a:moveTo>
                    <a:cubicBezTo>
                      <a:pt x="77" y="75"/>
                      <a:pt x="71" y="174"/>
                      <a:pt x="32" y="243"/>
                    </a:cubicBezTo>
                    <a:cubicBezTo>
                      <a:pt x="32" y="243"/>
                      <a:pt x="0" y="125"/>
                      <a:pt x="19" y="45"/>
                    </a:cubicBezTo>
                    <a:cubicBezTo>
                      <a:pt x="27" y="7"/>
                      <a:pt x="66" y="0"/>
                      <a:pt x="66" y="0"/>
                    </a:cubicBezTo>
                    <a:lnTo>
                      <a:pt x="77" y="75"/>
                    </a:lnTo>
                    <a:close/>
                  </a:path>
                </a:pathLst>
              </a:custGeom>
              <a:solidFill>
                <a:srgbClr val="643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0"/>
              <p:cNvSpPr>
                <a:spLocks/>
              </p:cNvSpPr>
              <p:nvPr/>
            </p:nvSpPr>
            <p:spPr bwMode="auto">
              <a:xfrm>
                <a:off x="-3378201" y="715963"/>
                <a:ext cx="192088" cy="900113"/>
              </a:xfrm>
              <a:custGeom>
                <a:avLst/>
                <a:gdLst>
                  <a:gd name="T0" fmla="*/ 41 w 52"/>
                  <a:gd name="T1" fmla="*/ 0 h 243"/>
                  <a:gd name="T2" fmla="*/ 32 w 52"/>
                  <a:gd name="T3" fmla="*/ 3 h 243"/>
                  <a:gd name="T4" fmla="*/ 39 w 52"/>
                  <a:gd name="T5" fmla="*/ 54 h 243"/>
                  <a:gd name="T6" fmla="*/ 0 w 52"/>
                  <a:gd name="T7" fmla="*/ 211 h 243"/>
                  <a:gd name="T8" fmla="*/ 7 w 52"/>
                  <a:gd name="T9" fmla="*/ 243 h 243"/>
                  <a:gd name="T10" fmla="*/ 52 w 52"/>
                  <a:gd name="T11" fmla="*/ 75 h 243"/>
                  <a:gd name="T12" fmla="*/ 41 w 52"/>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52" h="243">
                    <a:moveTo>
                      <a:pt x="41" y="0"/>
                    </a:moveTo>
                    <a:cubicBezTo>
                      <a:pt x="41" y="0"/>
                      <a:pt x="37" y="1"/>
                      <a:pt x="32" y="3"/>
                    </a:cubicBezTo>
                    <a:cubicBezTo>
                      <a:pt x="39" y="54"/>
                      <a:pt x="39" y="54"/>
                      <a:pt x="39" y="54"/>
                    </a:cubicBezTo>
                    <a:cubicBezTo>
                      <a:pt x="39" y="54"/>
                      <a:pt x="34" y="143"/>
                      <a:pt x="0" y="211"/>
                    </a:cubicBezTo>
                    <a:cubicBezTo>
                      <a:pt x="4" y="231"/>
                      <a:pt x="7" y="243"/>
                      <a:pt x="7" y="243"/>
                    </a:cubicBezTo>
                    <a:cubicBezTo>
                      <a:pt x="46" y="174"/>
                      <a:pt x="52" y="75"/>
                      <a:pt x="52" y="75"/>
                    </a:cubicBezTo>
                    <a:lnTo>
                      <a:pt x="41" y="0"/>
                    </a:ln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31"/>
              <p:cNvSpPr>
                <a:spLocks/>
              </p:cNvSpPr>
              <p:nvPr/>
            </p:nvSpPr>
            <p:spPr bwMode="auto">
              <a:xfrm>
                <a:off x="-3416301" y="715963"/>
                <a:ext cx="230188" cy="369888"/>
              </a:xfrm>
              <a:custGeom>
                <a:avLst/>
                <a:gdLst>
                  <a:gd name="T0" fmla="*/ 4 w 62"/>
                  <a:gd name="T1" fmla="*/ 45 h 100"/>
                  <a:gd name="T2" fmla="*/ 0 w 62"/>
                  <a:gd name="T3" fmla="*/ 63 h 100"/>
                  <a:gd name="T4" fmla="*/ 59 w 62"/>
                  <a:gd name="T5" fmla="*/ 100 h 100"/>
                  <a:gd name="T6" fmla="*/ 62 w 62"/>
                  <a:gd name="T7" fmla="*/ 75 h 100"/>
                  <a:gd name="T8" fmla="*/ 51 w 62"/>
                  <a:gd name="T9" fmla="*/ 0 h 100"/>
                  <a:gd name="T10" fmla="*/ 4 w 62"/>
                  <a:gd name="T11" fmla="*/ 45 h 100"/>
                </a:gdLst>
                <a:ahLst/>
                <a:cxnLst>
                  <a:cxn ang="0">
                    <a:pos x="T0" y="T1"/>
                  </a:cxn>
                  <a:cxn ang="0">
                    <a:pos x="T2" y="T3"/>
                  </a:cxn>
                  <a:cxn ang="0">
                    <a:pos x="T4" y="T5"/>
                  </a:cxn>
                  <a:cxn ang="0">
                    <a:pos x="T6" y="T7"/>
                  </a:cxn>
                  <a:cxn ang="0">
                    <a:pos x="T8" y="T9"/>
                  </a:cxn>
                  <a:cxn ang="0">
                    <a:pos x="T10" y="T11"/>
                  </a:cxn>
                </a:cxnLst>
                <a:rect l="0" t="0" r="r" b="b"/>
                <a:pathLst>
                  <a:path w="62" h="100">
                    <a:moveTo>
                      <a:pt x="4" y="45"/>
                    </a:moveTo>
                    <a:cubicBezTo>
                      <a:pt x="2" y="50"/>
                      <a:pt x="1" y="56"/>
                      <a:pt x="0" y="63"/>
                    </a:cubicBezTo>
                    <a:cubicBezTo>
                      <a:pt x="15" y="75"/>
                      <a:pt x="35" y="88"/>
                      <a:pt x="59" y="100"/>
                    </a:cubicBezTo>
                    <a:cubicBezTo>
                      <a:pt x="61" y="85"/>
                      <a:pt x="62" y="75"/>
                      <a:pt x="62" y="75"/>
                    </a:cubicBezTo>
                    <a:cubicBezTo>
                      <a:pt x="51" y="0"/>
                      <a:pt x="51" y="0"/>
                      <a:pt x="51" y="0"/>
                    </a:cubicBezTo>
                    <a:cubicBezTo>
                      <a:pt x="51" y="0"/>
                      <a:pt x="12" y="7"/>
                      <a:pt x="4" y="45"/>
                    </a:cubicBez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32"/>
              <p:cNvSpPr>
                <a:spLocks/>
              </p:cNvSpPr>
              <p:nvPr/>
            </p:nvSpPr>
            <p:spPr bwMode="auto">
              <a:xfrm>
                <a:off x="-3494088" y="327025"/>
                <a:ext cx="1711325" cy="1289050"/>
              </a:xfrm>
              <a:custGeom>
                <a:avLst/>
                <a:gdLst>
                  <a:gd name="T0" fmla="*/ 429 w 461"/>
                  <a:gd name="T1" fmla="*/ 348 h 348"/>
                  <a:gd name="T2" fmla="*/ 442 w 461"/>
                  <a:gd name="T3" fmla="*/ 150 h 348"/>
                  <a:gd name="T4" fmla="*/ 395 w 461"/>
                  <a:gd name="T5" fmla="*/ 105 h 348"/>
                  <a:gd name="T6" fmla="*/ 275 w 461"/>
                  <a:gd name="T7" fmla="*/ 17 h 348"/>
                  <a:gd name="T8" fmla="*/ 72 w 461"/>
                  <a:gd name="T9" fmla="*/ 90 h 348"/>
                  <a:gd name="T10" fmla="*/ 0 w 461"/>
                  <a:gd name="T11" fmla="*/ 125 h 348"/>
                  <a:gd name="T12" fmla="*/ 194 w 461"/>
                  <a:gd name="T13" fmla="*/ 227 h 348"/>
                  <a:gd name="T14" fmla="*/ 384 w 461"/>
                  <a:gd name="T15" fmla="*/ 180 h 348"/>
                  <a:gd name="T16" fmla="*/ 429 w 461"/>
                  <a:gd name="T1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348">
                    <a:moveTo>
                      <a:pt x="429" y="348"/>
                    </a:moveTo>
                    <a:cubicBezTo>
                      <a:pt x="429" y="348"/>
                      <a:pt x="461" y="230"/>
                      <a:pt x="442" y="150"/>
                    </a:cubicBezTo>
                    <a:cubicBezTo>
                      <a:pt x="433" y="112"/>
                      <a:pt x="395" y="105"/>
                      <a:pt x="395" y="105"/>
                    </a:cubicBezTo>
                    <a:cubicBezTo>
                      <a:pt x="395" y="105"/>
                      <a:pt x="362" y="40"/>
                      <a:pt x="275" y="17"/>
                    </a:cubicBezTo>
                    <a:cubicBezTo>
                      <a:pt x="211" y="0"/>
                      <a:pt x="136" y="26"/>
                      <a:pt x="72" y="90"/>
                    </a:cubicBezTo>
                    <a:cubicBezTo>
                      <a:pt x="36" y="125"/>
                      <a:pt x="0" y="125"/>
                      <a:pt x="0" y="125"/>
                    </a:cubicBezTo>
                    <a:cubicBezTo>
                      <a:pt x="0" y="125"/>
                      <a:pt x="64" y="210"/>
                      <a:pt x="194" y="227"/>
                    </a:cubicBezTo>
                    <a:cubicBezTo>
                      <a:pt x="296" y="240"/>
                      <a:pt x="347" y="199"/>
                      <a:pt x="384" y="180"/>
                    </a:cubicBezTo>
                    <a:cubicBezTo>
                      <a:pt x="384" y="180"/>
                      <a:pt x="389" y="279"/>
                      <a:pt x="429" y="34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33"/>
              <p:cNvSpPr>
                <a:spLocks/>
              </p:cNvSpPr>
              <p:nvPr/>
            </p:nvSpPr>
            <p:spPr bwMode="auto">
              <a:xfrm>
                <a:off x="-2068513" y="712788"/>
                <a:ext cx="188913" cy="903288"/>
              </a:xfrm>
              <a:custGeom>
                <a:avLst/>
                <a:gdLst>
                  <a:gd name="T0" fmla="*/ 51 w 51"/>
                  <a:gd name="T1" fmla="*/ 216 h 244"/>
                  <a:gd name="T2" fmla="*/ 12 w 51"/>
                  <a:gd name="T3" fmla="*/ 59 h 244"/>
                  <a:gd name="T4" fmla="*/ 20 w 51"/>
                  <a:gd name="T5" fmla="*/ 4 h 244"/>
                  <a:gd name="T6" fmla="*/ 11 w 51"/>
                  <a:gd name="T7" fmla="*/ 1 h 244"/>
                  <a:gd name="T8" fmla="*/ 10 w 51"/>
                  <a:gd name="T9" fmla="*/ 0 h 244"/>
                  <a:gd name="T10" fmla="*/ 0 w 51"/>
                  <a:gd name="T11" fmla="*/ 77 h 244"/>
                  <a:gd name="T12" fmla="*/ 45 w 51"/>
                  <a:gd name="T13" fmla="*/ 244 h 244"/>
                  <a:gd name="T14" fmla="*/ 51 w 51"/>
                  <a:gd name="T15" fmla="*/ 216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44">
                    <a:moveTo>
                      <a:pt x="51" y="216"/>
                    </a:moveTo>
                    <a:cubicBezTo>
                      <a:pt x="18" y="148"/>
                      <a:pt x="11" y="99"/>
                      <a:pt x="12" y="59"/>
                    </a:cubicBezTo>
                    <a:cubicBezTo>
                      <a:pt x="13" y="49"/>
                      <a:pt x="18" y="17"/>
                      <a:pt x="20" y="4"/>
                    </a:cubicBezTo>
                    <a:cubicBezTo>
                      <a:pt x="14" y="2"/>
                      <a:pt x="11" y="1"/>
                      <a:pt x="11" y="1"/>
                    </a:cubicBezTo>
                    <a:cubicBezTo>
                      <a:pt x="11" y="1"/>
                      <a:pt x="11" y="1"/>
                      <a:pt x="10" y="0"/>
                    </a:cubicBezTo>
                    <a:cubicBezTo>
                      <a:pt x="7" y="14"/>
                      <a:pt x="0" y="48"/>
                      <a:pt x="0" y="77"/>
                    </a:cubicBezTo>
                    <a:cubicBezTo>
                      <a:pt x="0" y="83"/>
                      <a:pt x="7" y="177"/>
                      <a:pt x="45" y="244"/>
                    </a:cubicBezTo>
                    <a:cubicBezTo>
                      <a:pt x="45" y="244"/>
                      <a:pt x="48" y="233"/>
                      <a:pt x="51" y="21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34"/>
              <p:cNvSpPr>
                <a:spLocks/>
              </p:cNvSpPr>
              <p:nvPr/>
            </p:nvSpPr>
            <p:spPr bwMode="auto">
              <a:xfrm>
                <a:off x="-2068513" y="993775"/>
                <a:ext cx="3175" cy="58738"/>
              </a:xfrm>
              <a:custGeom>
                <a:avLst/>
                <a:gdLst>
                  <a:gd name="T0" fmla="*/ 0 w 1"/>
                  <a:gd name="T1" fmla="*/ 0 h 16"/>
                  <a:gd name="T2" fmla="*/ 1 w 1"/>
                  <a:gd name="T3" fmla="*/ 16 h 16"/>
                  <a:gd name="T4" fmla="*/ 0 w 1"/>
                  <a:gd name="T5" fmla="*/ 0 h 16"/>
                </a:gdLst>
                <a:ahLst/>
                <a:cxnLst>
                  <a:cxn ang="0">
                    <a:pos x="T0" y="T1"/>
                  </a:cxn>
                  <a:cxn ang="0">
                    <a:pos x="T2" y="T3"/>
                  </a:cxn>
                  <a:cxn ang="0">
                    <a:pos x="T4" y="T5"/>
                  </a:cxn>
                </a:cxnLst>
                <a:rect l="0" t="0" r="r" b="b"/>
                <a:pathLst>
                  <a:path w="1" h="16">
                    <a:moveTo>
                      <a:pt x="0" y="0"/>
                    </a:moveTo>
                    <a:cubicBezTo>
                      <a:pt x="0" y="0"/>
                      <a:pt x="0" y="6"/>
                      <a:pt x="1" y="16"/>
                    </a:cubicBezTo>
                    <a:cubicBezTo>
                      <a:pt x="0" y="6"/>
                      <a:pt x="0" y="0"/>
                      <a:pt x="0" y="0"/>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35"/>
              <p:cNvSpPr>
                <a:spLocks/>
              </p:cNvSpPr>
              <p:nvPr/>
            </p:nvSpPr>
            <p:spPr bwMode="auto">
              <a:xfrm>
                <a:off x="-3494088" y="782638"/>
                <a:ext cx="1425575" cy="433388"/>
              </a:xfrm>
              <a:custGeom>
                <a:avLst/>
                <a:gdLst>
                  <a:gd name="T0" fmla="*/ 194 w 384"/>
                  <a:gd name="T1" fmla="*/ 86 h 117"/>
                  <a:gd name="T2" fmla="*/ 14 w 384"/>
                  <a:gd name="T3" fmla="*/ 0 h 117"/>
                  <a:gd name="T4" fmla="*/ 0 w 384"/>
                  <a:gd name="T5" fmla="*/ 2 h 117"/>
                  <a:gd name="T6" fmla="*/ 194 w 384"/>
                  <a:gd name="T7" fmla="*/ 104 h 117"/>
                  <a:gd name="T8" fmla="*/ 384 w 384"/>
                  <a:gd name="T9" fmla="*/ 57 h 117"/>
                  <a:gd name="T10" fmla="*/ 194 w 384"/>
                  <a:gd name="T11" fmla="*/ 86 h 117"/>
                </a:gdLst>
                <a:ahLst/>
                <a:cxnLst>
                  <a:cxn ang="0">
                    <a:pos x="T0" y="T1"/>
                  </a:cxn>
                  <a:cxn ang="0">
                    <a:pos x="T2" y="T3"/>
                  </a:cxn>
                  <a:cxn ang="0">
                    <a:pos x="T4" y="T5"/>
                  </a:cxn>
                  <a:cxn ang="0">
                    <a:pos x="T6" y="T7"/>
                  </a:cxn>
                  <a:cxn ang="0">
                    <a:pos x="T8" y="T9"/>
                  </a:cxn>
                  <a:cxn ang="0">
                    <a:pos x="T10" y="T11"/>
                  </a:cxn>
                </a:cxnLst>
                <a:rect l="0" t="0" r="r" b="b"/>
                <a:pathLst>
                  <a:path w="384" h="117">
                    <a:moveTo>
                      <a:pt x="194" y="86"/>
                    </a:moveTo>
                    <a:cubicBezTo>
                      <a:pt x="99" y="74"/>
                      <a:pt x="40" y="26"/>
                      <a:pt x="14" y="0"/>
                    </a:cubicBezTo>
                    <a:cubicBezTo>
                      <a:pt x="6" y="2"/>
                      <a:pt x="0" y="2"/>
                      <a:pt x="0" y="2"/>
                    </a:cubicBezTo>
                    <a:cubicBezTo>
                      <a:pt x="0" y="2"/>
                      <a:pt x="64" y="87"/>
                      <a:pt x="194" y="104"/>
                    </a:cubicBezTo>
                    <a:cubicBezTo>
                      <a:pt x="296" y="117"/>
                      <a:pt x="347" y="76"/>
                      <a:pt x="384" y="57"/>
                    </a:cubicBezTo>
                    <a:cubicBezTo>
                      <a:pt x="347" y="76"/>
                      <a:pt x="296" y="99"/>
                      <a:pt x="194" y="8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Oval 36"/>
              <p:cNvSpPr>
                <a:spLocks noChangeArrowheads="1"/>
              </p:cNvSpPr>
              <p:nvPr/>
            </p:nvSpPr>
            <p:spPr bwMode="auto">
              <a:xfrm>
                <a:off x="-3092451" y="1416050"/>
                <a:ext cx="141288"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Oval 37"/>
              <p:cNvSpPr>
                <a:spLocks noChangeArrowheads="1"/>
              </p:cNvSpPr>
              <p:nvPr/>
            </p:nvSpPr>
            <p:spPr bwMode="auto">
              <a:xfrm>
                <a:off x="-3063876" y="1449388"/>
                <a:ext cx="41275" cy="60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Oval 38"/>
              <p:cNvSpPr>
                <a:spLocks noChangeArrowheads="1"/>
              </p:cNvSpPr>
              <p:nvPr/>
            </p:nvSpPr>
            <p:spPr bwMode="auto">
              <a:xfrm>
                <a:off x="-2324101" y="1416050"/>
                <a:ext cx="136525"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Oval 39"/>
              <p:cNvSpPr>
                <a:spLocks noChangeArrowheads="1"/>
              </p:cNvSpPr>
              <p:nvPr/>
            </p:nvSpPr>
            <p:spPr bwMode="auto">
              <a:xfrm>
                <a:off x="-2295526" y="1449388"/>
                <a:ext cx="41275" cy="60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40"/>
              <p:cNvSpPr>
                <a:spLocks/>
              </p:cNvSpPr>
              <p:nvPr/>
            </p:nvSpPr>
            <p:spPr bwMode="auto">
              <a:xfrm>
                <a:off x="-2803526" y="1601788"/>
                <a:ext cx="352425" cy="200025"/>
              </a:xfrm>
              <a:custGeom>
                <a:avLst/>
                <a:gdLst>
                  <a:gd name="T0" fmla="*/ 92 w 95"/>
                  <a:gd name="T1" fmla="*/ 0 h 54"/>
                  <a:gd name="T2" fmla="*/ 93 w 95"/>
                  <a:gd name="T3" fmla="*/ 7 h 54"/>
                  <a:gd name="T4" fmla="*/ 48 w 95"/>
                  <a:gd name="T5" fmla="*/ 43 h 54"/>
                  <a:gd name="T6" fmla="*/ 3 w 95"/>
                  <a:gd name="T7" fmla="*/ 7 h 54"/>
                  <a:gd name="T8" fmla="*/ 3 w 95"/>
                  <a:gd name="T9" fmla="*/ 0 h 54"/>
                  <a:gd name="T10" fmla="*/ 0 w 95"/>
                  <a:gd name="T11" fmla="*/ 17 h 54"/>
                  <a:gd name="T12" fmla="*/ 48 w 95"/>
                  <a:gd name="T13" fmla="*/ 54 h 54"/>
                  <a:gd name="T14" fmla="*/ 95 w 95"/>
                  <a:gd name="T15" fmla="*/ 17 h 54"/>
                  <a:gd name="T16" fmla="*/ 92 w 95"/>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54">
                    <a:moveTo>
                      <a:pt x="92" y="0"/>
                    </a:moveTo>
                    <a:cubicBezTo>
                      <a:pt x="93" y="2"/>
                      <a:pt x="93" y="4"/>
                      <a:pt x="93" y="7"/>
                    </a:cubicBezTo>
                    <a:cubicBezTo>
                      <a:pt x="93" y="35"/>
                      <a:pt x="73" y="43"/>
                      <a:pt x="48" y="43"/>
                    </a:cubicBezTo>
                    <a:cubicBezTo>
                      <a:pt x="23" y="43"/>
                      <a:pt x="3" y="35"/>
                      <a:pt x="3" y="7"/>
                    </a:cubicBezTo>
                    <a:cubicBezTo>
                      <a:pt x="3" y="4"/>
                      <a:pt x="3" y="2"/>
                      <a:pt x="3" y="0"/>
                    </a:cubicBezTo>
                    <a:cubicBezTo>
                      <a:pt x="1" y="5"/>
                      <a:pt x="0" y="11"/>
                      <a:pt x="0" y="17"/>
                    </a:cubicBezTo>
                    <a:cubicBezTo>
                      <a:pt x="0" y="46"/>
                      <a:pt x="22" y="54"/>
                      <a:pt x="48" y="54"/>
                    </a:cubicBezTo>
                    <a:cubicBezTo>
                      <a:pt x="74" y="54"/>
                      <a:pt x="95" y="46"/>
                      <a:pt x="95" y="17"/>
                    </a:cubicBezTo>
                    <a:cubicBezTo>
                      <a:pt x="95" y="11"/>
                      <a:pt x="94" y="5"/>
                      <a:pt x="92"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41"/>
              <p:cNvSpPr>
                <a:spLocks/>
              </p:cNvSpPr>
              <p:nvPr/>
            </p:nvSpPr>
            <p:spPr bwMode="auto">
              <a:xfrm>
                <a:off x="-3186113" y="1231900"/>
                <a:ext cx="327025" cy="133350"/>
              </a:xfrm>
              <a:custGeom>
                <a:avLst/>
                <a:gdLst>
                  <a:gd name="T0" fmla="*/ 74 w 88"/>
                  <a:gd name="T1" fmla="*/ 36 h 36"/>
                  <a:gd name="T2" fmla="*/ 44 w 88"/>
                  <a:gd name="T3" fmla="*/ 16 h 36"/>
                  <a:gd name="T4" fmla="*/ 13 w 88"/>
                  <a:gd name="T5" fmla="*/ 36 h 36"/>
                  <a:gd name="T6" fmla="*/ 0 w 88"/>
                  <a:gd name="T7" fmla="*/ 28 h 36"/>
                  <a:gd name="T8" fmla="*/ 44 w 88"/>
                  <a:gd name="T9" fmla="*/ 0 h 36"/>
                  <a:gd name="T10" fmla="*/ 88 w 88"/>
                  <a:gd name="T11" fmla="*/ 28 h 36"/>
                  <a:gd name="T12" fmla="*/ 74 w 8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88" h="36">
                    <a:moveTo>
                      <a:pt x="74" y="36"/>
                    </a:moveTo>
                    <a:cubicBezTo>
                      <a:pt x="67" y="23"/>
                      <a:pt x="56" y="16"/>
                      <a:pt x="44" y="16"/>
                    </a:cubicBezTo>
                    <a:cubicBezTo>
                      <a:pt x="32" y="16"/>
                      <a:pt x="21" y="23"/>
                      <a:pt x="13" y="36"/>
                    </a:cubicBezTo>
                    <a:cubicBezTo>
                      <a:pt x="0" y="28"/>
                      <a:pt x="0" y="28"/>
                      <a:pt x="0" y="28"/>
                    </a:cubicBezTo>
                    <a:cubicBezTo>
                      <a:pt x="10" y="10"/>
                      <a:pt x="26" y="0"/>
                      <a:pt x="44" y="0"/>
                    </a:cubicBezTo>
                    <a:cubicBezTo>
                      <a:pt x="62" y="0"/>
                      <a:pt x="78" y="10"/>
                      <a:pt x="88" y="28"/>
                    </a:cubicBezTo>
                    <a:lnTo>
                      <a:pt x="74" y="36"/>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42"/>
              <p:cNvSpPr>
                <a:spLocks/>
              </p:cNvSpPr>
              <p:nvPr/>
            </p:nvSpPr>
            <p:spPr bwMode="auto">
              <a:xfrm>
                <a:off x="-2420938" y="1187450"/>
                <a:ext cx="330200" cy="133350"/>
              </a:xfrm>
              <a:custGeom>
                <a:avLst/>
                <a:gdLst>
                  <a:gd name="T0" fmla="*/ 75 w 89"/>
                  <a:gd name="T1" fmla="*/ 36 h 36"/>
                  <a:gd name="T2" fmla="*/ 45 w 89"/>
                  <a:gd name="T3" fmla="*/ 16 h 36"/>
                  <a:gd name="T4" fmla="*/ 14 w 89"/>
                  <a:gd name="T5" fmla="*/ 36 h 36"/>
                  <a:gd name="T6" fmla="*/ 0 w 89"/>
                  <a:gd name="T7" fmla="*/ 28 h 36"/>
                  <a:gd name="T8" fmla="*/ 45 w 89"/>
                  <a:gd name="T9" fmla="*/ 0 h 36"/>
                  <a:gd name="T10" fmla="*/ 89 w 89"/>
                  <a:gd name="T11" fmla="*/ 28 h 36"/>
                  <a:gd name="T12" fmla="*/ 75 w 8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89" h="36">
                    <a:moveTo>
                      <a:pt x="75" y="36"/>
                    </a:moveTo>
                    <a:cubicBezTo>
                      <a:pt x="68" y="23"/>
                      <a:pt x="57" y="16"/>
                      <a:pt x="45" y="16"/>
                    </a:cubicBezTo>
                    <a:cubicBezTo>
                      <a:pt x="33" y="16"/>
                      <a:pt x="22" y="23"/>
                      <a:pt x="14" y="36"/>
                    </a:cubicBezTo>
                    <a:cubicBezTo>
                      <a:pt x="0" y="28"/>
                      <a:pt x="0" y="28"/>
                      <a:pt x="0" y="28"/>
                    </a:cubicBezTo>
                    <a:cubicBezTo>
                      <a:pt x="11" y="10"/>
                      <a:pt x="27" y="0"/>
                      <a:pt x="45" y="0"/>
                    </a:cubicBezTo>
                    <a:cubicBezTo>
                      <a:pt x="62" y="0"/>
                      <a:pt x="79" y="10"/>
                      <a:pt x="89" y="28"/>
                    </a:cubicBezTo>
                    <a:lnTo>
                      <a:pt x="75" y="36"/>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43"/>
              <p:cNvSpPr>
                <a:spLocks/>
              </p:cNvSpPr>
              <p:nvPr/>
            </p:nvSpPr>
            <p:spPr bwMode="auto">
              <a:xfrm>
                <a:off x="-2936876" y="2038350"/>
                <a:ext cx="133350" cy="26988"/>
              </a:xfrm>
              <a:custGeom>
                <a:avLst/>
                <a:gdLst>
                  <a:gd name="T0" fmla="*/ 0 w 36"/>
                  <a:gd name="T1" fmla="*/ 0 h 7"/>
                  <a:gd name="T2" fmla="*/ 6 w 36"/>
                  <a:gd name="T3" fmla="*/ 1 h 7"/>
                  <a:gd name="T4" fmla="*/ 9 w 36"/>
                  <a:gd name="T5" fmla="*/ 1 h 7"/>
                  <a:gd name="T6" fmla="*/ 12 w 36"/>
                  <a:gd name="T7" fmla="*/ 2 h 7"/>
                  <a:gd name="T8" fmla="*/ 15 w 36"/>
                  <a:gd name="T9" fmla="*/ 2 h 7"/>
                  <a:gd name="T10" fmla="*/ 18 w 36"/>
                  <a:gd name="T11" fmla="*/ 3 h 7"/>
                  <a:gd name="T12" fmla="*/ 25 w 36"/>
                  <a:gd name="T13" fmla="*/ 4 h 7"/>
                  <a:gd name="T14" fmla="*/ 28 w 36"/>
                  <a:gd name="T15" fmla="*/ 4 h 7"/>
                  <a:gd name="T16" fmla="*/ 30 w 36"/>
                  <a:gd name="T17" fmla="*/ 4 h 7"/>
                  <a:gd name="T18" fmla="*/ 36 w 36"/>
                  <a:gd name="T19" fmla="*/ 5 h 7"/>
                  <a:gd name="T20" fmla="*/ 30 w 36"/>
                  <a:gd name="T21" fmla="*/ 7 h 7"/>
                  <a:gd name="T22" fmla="*/ 28 w 36"/>
                  <a:gd name="T23" fmla="*/ 7 h 7"/>
                  <a:gd name="T24" fmla="*/ 24 w 36"/>
                  <a:gd name="T25" fmla="*/ 7 h 7"/>
                  <a:gd name="T26" fmla="*/ 21 w 36"/>
                  <a:gd name="T27" fmla="*/ 7 h 7"/>
                  <a:gd name="T28" fmla="*/ 18 w 36"/>
                  <a:gd name="T29" fmla="*/ 7 h 7"/>
                  <a:gd name="T30" fmla="*/ 14 w 36"/>
                  <a:gd name="T31" fmla="*/ 6 h 7"/>
                  <a:gd name="T32" fmla="*/ 11 w 36"/>
                  <a:gd name="T33" fmla="*/ 5 h 7"/>
                  <a:gd name="T34" fmla="*/ 5 w 36"/>
                  <a:gd name="T35" fmla="*/ 3 h 7"/>
                  <a:gd name="T36" fmla="*/ 0 w 36"/>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7">
                    <a:moveTo>
                      <a:pt x="0" y="0"/>
                    </a:moveTo>
                    <a:cubicBezTo>
                      <a:pt x="0" y="0"/>
                      <a:pt x="3" y="0"/>
                      <a:pt x="6" y="1"/>
                    </a:cubicBezTo>
                    <a:cubicBezTo>
                      <a:pt x="7" y="1"/>
                      <a:pt x="8" y="1"/>
                      <a:pt x="9" y="1"/>
                    </a:cubicBezTo>
                    <a:cubicBezTo>
                      <a:pt x="10" y="2"/>
                      <a:pt x="11" y="2"/>
                      <a:pt x="12" y="2"/>
                    </a:cubicBezTo>
                    <a:cubicBezTo>
                      <a:pt x="13" y="2"/>
                      <a:pt x="14" y="2"/>
                      <a:pt x="15" y="2"/>
                    </a:cubicBezTo>
                    <a:cubicBezTo>
                      <a:pt x="16" y="3"/>
                      <a:pt x="17" y="3"/>
                      <a:pt x="18" y="3"/>
                    </a:cubicBezTo>
                    <a:cubicBezTo>
                      <a:pt x="20" y="3"/>
                      <a:pt x="23" y="4"/>
                      <a:pt x="25" y="4"/>
                    </a:cubicBezTo>
                    <a:cubicBezTo>
                      <a:pt x="26" y="4"/>
                      <a:pt x="27" y="4"/>
                      <a:pt x="28" y="4"/>
                    </a:cubicBezTo>
                    <a:cubicBezTo>
                      <a:pt x="29" y="4"/>
                      <a:pt x="30" y="4"/>
                      <a:pt x="30" y="4"/>
                    </a:cubicBezTo>
                    <a:cubicBezTo>
                      <a:pt x="34" y="5"/>
                      <a:pt x="36" y="5"/>
                      <a:pt x="36" y="5"/>
                    </a:cubicBezTo>
                    <a:cubicBezTo>
                      <a:pt x="36" y="5"/>
                      <a:pt x="34" y="6"/>
                      <a:pt x="30" y="7"/>
                    </a:cubicBezTo>
                    <a:cubicBezTo>
                      <a:pt x="30" y="7"/>
                      <a:pt x="29" y="7"/>
                      <a:pt x="28" y="7"/>
                    </a:cubicBezTo>
                    <a:cubicBezTo>
                      <a:pt x="27" y="7"/>
                      <a:pt x="26" y="7"/>
                      <a:pt x="24" y="7"/>
                    </a:cubicBezTo>
                    <a:cubicBezTo>
                      <a:pt x="23" y="7"/>
                      <a:pt x="22" y="7"/>
                      <a:pt x="21" y="7"/>
                    </a:cubicBezTo>
                    <a:cubicBezTo>
                      <a:pt x="20" y="7"/>
                      <a:pt x="19" y="7"/>
                      <a:pt x="18" y="7"/>
                    </a:cubicBezTo>
                    <a:cubicBezTo>
                      <a:pt x="16" y="7"/>
                      <a:pt x="15" y="7"/>
                      <a:pt x="14" y="6"/>
                    </a:cubicBezTo>
                    <a:cubicBezTo>
                      <a:pt x="13" y="6"/>
                      <a:pt x="12" y="6"/>
                      <a:pt x="11" y="5"/>
                    </a:cubicBezTo>
                    <a:cubicBezTo>
                      <a:pt x="9" y="5"/>
                      <a:pt x="7" y="4"/>
                      <a:pt x="5" y="3"/>
                    </a:cubicBezTo>
                    <a:cubicBezTo>
                      <a:pt x="2" y="1"/>
                      <a:pt x="0" y="0"/>
                      <a:pt x="0" y="0"/>
                    </a:cubicBez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44"/>
              <p:cNvSpPr>
                <a:spLocks/>
              </p:cNvSpPr>
              <p:nvPr/>
            </p:nvSpPr>
            <p:spPr bwMode="auto">
              <a:xfrm>
                <a:off x="-2451101" y="2038350"/>
                <a:ext cx="130175" cy="33338"/>
              </a:xfrm>
              <a:custGeom>
                <a:avLst/>
                <a:gdLst>
                  <a:gd name="T0" fmla="*/ 0 w 35"/>
                  <a:gd name="T1" fmla="*/ 6 h 9"/>
                  <a:gd name="T2" fmla="*/ 6 w 35"/>
                  <a:gd name="T3" fmla="*/ 5 h 9"/>
                  <a:gd name="T4" fmla="*/ 19 w 35"/>
                  <a:gd name="T5" fmla="*/ 5 h 9"/>
                  <a:gd name="T6" fmla="*/ 22 w 35"/>
                  <a:gd name="T7" fmla="*/ 4 h 9"/>
                  <a:gd name="T8" fmla="*/ 25 w 35"/>
                  <a:gd name="T9" fmla="*/ 4 h 9"/>
                  <a:gd name="T10" fmla="*/ 30 w 35"/>
                  <a:gd name="T11" fmla="*/ 3 h 9"/>
                  <a:gd name="T12" fmla="*/ 32 w 35"/>
                  <a:gd name="T13" fmla="*/ 2 h 9"/>
                  <a:gd name="T14" fmla="*/ 34 w 35"/>
                  <a:gd name="T15" fmla="*/ 1 h 9"/>
                  <a:gd name="T16" fmla="*/ 35 w 35"/>
                  <a:gd name="T17" fmla="*/ 0 h 9"/>
                  <a:gd name="T18" fmla="*/ 35 w 35"/>
                  <a:gd name="T19" fmla="*/ 1 h 9"/>
                  <a:gd name="T20" fmla="*/ 33 w 35"/>
                  <a:gd name="T21" fmla="*/ 3 h 9"/>
                  <a:gd name="T22" fmla="*/ 32 w 35"/>
                  <a:gd name="T23" fmla="*/ 5 h 9"/>
                  <a:gd name="T24" fmla="*/ 29 w 35"/>
                  <a:gd name="T25" fmla="*/ 6 h 9"/>
                  <a:gd name="T26" fmla="*/ 26 w 35"/>
                  <a:gd name="T27" fmla="*/ 7 h 9"/>
                  <a:gd name="T28" fmla="*/ 19 w 35"/>
                  <a:gd name="T29" fmla="*/ 9 h 9"/>
                  <a:gd name="T30" fmla="*/ 12 w 35"/>
                  <a:gd name="T31" fmla="*/ 8 h 9"/>
                  <a:gd name="T32" fmla="*/ 6 w 35"/>
                  <a:gd name="T33" fmla="*/ 8 h 9"/>
                  <a:gd name="T34" fmla="*/ 0 w 35"/>
                  <a:gd name="T3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9">
                    <a:moveTo>
                      <a:pt x="0" y="6"/>
                    </a:moveTo>
                    <a:cubicBezTo>
                      <a:pt x="0" y="6"/>
                      <a:pt x="3" y="5"/>
                      <a:pt x="6" y="5"/>
                    </a:cubicBezTo>
                    <a:cubicBezTo>
                      <a:pt x="10" y="5"/>
                      <a:pt x="14" y="5"/>
                      <a:pt x="19" y="5"/>
                    </a:cubicBezTo>
                    <a:cubicBezTo>
                      <a:pt x="20" y="5"/>
                      <a:pt x="21" y="5"/>
                      <a:pt x="22" y="4"/>
                    </a:cubicBezTo>
                    <a:cubicBezTo>
                      <a:pt x="23" y="4"/>
                      <a:pt x="24" y="4"/>
                      <a:pt x="25" y="4"/>
                    </a:cubicBezTo>
                    <a:cubicBezTo>
                      <a:pt x="27" y="4"/>
                      <a:pt x="29" y="3"/>
                      <a:pt x="30" y="3"/>
                    </a:cubicBezTo>
                    <a:cubicBezTo>
                      <a:pt x="31" y="2"/>
                      <a:pt x="32" y="2"/>
                      <a:pt x="32" y="2"/>
                    </a:cubicBezTo>
                    <a:cubicBezTo>
                      <a:pt x="33" y="1"/>
                      <a:pt x="34" y="1"/>
                      <a:pt x="34" y="1"/>
                    </a:cubicBezTo>
                    <a:cubicBezTo>
                      <a:pt x="35" y="0"/>
                      <a:pt x="35" y="0"/>
                      <a:pt x="35" y="0"/>
                    </a:cubicBezTo>
                    <a:cubicBezTo>
                      <a:pt x="35" y="0"/>
                      <a:pt x="35" y="0"/>
                      <a:pt x="35" y="1"/>
                    </a:cubicBezTo>
                    <a:cubicBezTo>
                      <a:pt x="34" y="2"/>
                      <a:pt x="34" y="2"/>
                      <a:pt x="33" y="3"/>
                    </a:cubicBezTo>
                    <a:cubicBezTo>
                      <a:pt x="33" y="3"/>
                      <a:pt x="32" y="4"/>
                      <a:pt x="32" y="5"/>
                    </a:cubicBezTo>
                    <a:cubicBezTo>
                      <a:pt x="31" y="5"/>
                      <a:pt x="30" y="6"/>
                      <a:pt x="29" y="6"/>
                    </a:cubicBezTo>
                    <a:cubicBezTo>
                      <a:pt x="28" y="7"/>
                      <a:pt x="27" y="7"/>
                      <a:pt x="26" y="7"/>
                    </a:cubicBezTo>
                    <a:cubicBezTo>
                      <a:pt x="24" y="8"/>
                      <a:pt x="21" y="8"/>
                      <a:pt x="19" y="9"/>
                    </a:cubicBezTo>
                    <a:cubicBezTo>
                      <a:pt x="17" y="9"/>
                      <a:pt x="14" y="9"/>
                      <a:pt x="12" y="8"/>
                    </a:cubicBezTo>
                    <a:cubicBezTo>
                      <a:pt x="10" y="8"/>
                      <a:pt x="8" y="8"/>
                      <a:pt x="6" y="8"/>
                    </a:cubicBezTo>
                    <a:cubicBezTo>
                      <a:pt x="3" y="7"/>
                      <a:pt x="0" y="6"/>
                      <a:pt x="0" y="6"/>
                    </a:cubicBez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45"/>
              <p:cNvSpPr>
                <a:spLocks/>
              </p:cNvSpPr>
              <p:nvPr/>
            </p:nvSpPr>
            <p:spPr bwMode="auto">
              <a:xfrm>
                <a:off x="-2911476" y="2520950"/>
                <a:ext cx="285750" cy="333375"/>
              </a:xfrm>
              <a:custGeom>
                <a:avLst/>
                <a:gdLst>
                  <a:gd name="T0" fmla="*/ 66 w 180"/>
                  <a:gd name="T1" fmla="*/ 0 h 210"/>
                  <a:gd name="T2" fmla="*/ 180 w 180"/>
                  <a:gd name="T3" fmla="*/ 144 h 210"/>
                  <a:gd name="T4" fmla="*/ 122 w 180"/>
                  <a:gd name="T5" fmla="*/ 210 h 210"/>
                  <a:gd name="T6" fmla="*/ 0 w 180"/>
                  <a:gd name="T7" fmla="*/ 42 h 210"/>
                  <a:gd name="T8" fmla="*/ 66 w 180"/>
                  <a:gd name="T9" fmla="*/ 0 h 210"/>
                </a:gdLst>
                <a:ahLst/>
                <a:cxnLst>
                  <a:cxn ang="0">
                    <a:pos x="T0" y="T1"/>
                  </a:cxn>
                  <a:cxn ang="0">
                    <a:pos x="T2" y="T3"/>
                  </a:cxn>
                  <a:cxn ang="0">
                    <a:pos x="T4" y="T5"/>
                  </a:cxn>
                  <a:cxn ang="0">
                    <a:pos x="T6" y="T7"/>
                  </a:cxn>
                  <a:cxn ang="0">
                    <a:pos x="T8" y="T9"/>
                  </a:cxn>
                </a:cxnLst>
                <a:rect l="0" t="0" r="r" b="b"/>
                <a:pathLst>
                  <a:path w="180" h="210">
                    <a:moveTo>
                      <a:pt x="66" y="0"/>
                    </a:moveTo>
                    <a:lnTo>
                      <a:pt x="180" y="144"/>
                    </a:lnTo>
                    <a:lnTo>
                      <a:pt x="122" y="210"/>
                    </a:lnTo>
                    <a:lnTo>
                      <a:pt x="0" y="42"/>
                    </a:lnTo>
                    <a:lnTo>
                      <a:pt x="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46"/>
              <p:cNvSpPr>
                <a:spLocks/>
              </p:cNvSpPr>
              <p:nvPr/>
            </p:nvSpPr>
            <p:spPr bwMode="auto">
              <a:xfrm>
                <a:off x="-2628901" y="2520950"/>
                <a:ext cx="288925" cy="333375"/>
              </a:xfrm>
              <a:custGeom>
                <a:avLst/>
                <a:gdLst>
                  <a:gd name="T0" fmla="*/ 117 w 182"/>
                  <a:gd name="T1" fmla="*/ 0 h 210"/>
                  <a:gd name="T2" fmla="*/ 0 w 182"/>
                  <a:gd name="T3" fmla="*/ 144 h 210"/>
                  <a:gd name="T4" fmla="*/ 61 w 182"/>
                  <a:gd name="T5" fmla="*/ 210 h 210"/>
                  <a:gd name="T6" fmla="*/ 182 w 182"/>
                  <a:gd name="T7" fmla="*/ 42 h 210"/>
                  <a:gd name="T8" fmla="*/ 117 w 182"/>
                  <a:gd name="T9" fmla="*/ 0 h 210"/>
                </a:gdLst>
                <a:ahLst/>
                <a:cxnLst>
                  <a:cxn ang="0">
                    <a:pos x="T0" y="T1"/>
                  </a:cxn>
                  <a:cxn ang="0">
                    <a:pos x="T2" y="T3"/>
                  </a:cxn>
                  <a:cxn ang="0">
                    <a:pos x="T4" y="T5"/>
                  </a:cxn>
                  <a:cxn ang="0">
                    <a:pos x="T6" y="T7"/>
                  </a:cxn>
                  <a:cxn ang="0">
                    <a:pos x="T8" y="T9"/>
                  </a:cxn>
                </a:cxnLst>
                <a:rect l="0" t="0" r="r" b="b"/>
                <a:pathLst>
                  <a:path w="182" h="210">
                    <a:moveTo>
                      <a:pt x="117" y="0"/>
                    </a:moveTo>
                    <a:lnTo>
                      <a:pt x="0" y="144"/>
                    </a:lnTo>
                    <a:lnTo>
                      <a:pt x="61" y="210"/>
                    </a:lnTo>
                    <a:lnTo>
                      <a:pt x="182" y="42"/>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47"/>
              <p:cNvSpPr>
                <a:spLocks/>
              </p:cNvSpPr>
              <p:nvPr/>
            </p:nvSpPr>
            <p:spPr bwMode="auto">
              <a:xfrm>
                <a:off x="-3500438" y="2794000"/>
                <a:ext cx="188913" cy="315913"/>
              </a:xfrm>
              <a:custGeom>
                <a:avLst/>
                <a:gdLst>
                  <a:gd name="T0" fmla="*/ 0 w 51"/>
                  <a:gd name="T1" fmla="*/ 57 h 85"/>
                  <a:gd name="T2" fmla="*/ 51 w 51"/>
                  <a:gd name="T3" fmla="*/ 85 h 85"/>
                  <a:gd name="T4" fmla="*/ 33 w 51"/>
                  <a:gd name="T5" fmla="*/ 0 h 85"/>
                  <a:gd name="T6" fmla="*/ 16 w 51"/>
                  <a:gd name="T7" fmla="*/ 16 h 85"/>
                  <a:gd name="T8" fmla="*/ 0 w 51"/>
                  <a:gd name="T9" fmla="*/ 57 h 85"/>
                </a:gdLst>
                <a:ahLst/>
                <a:cxnLst>
                  <a:cxn ang="0">
                    <a:pos x="T0" y="T1"/>
                  </a:cxn>
                  <a:cxn ang="0">
                    <a:pos x="T2" y="T3"/>
                  </a:cxn>
                  <a:cxn ang="0">
                    <a:pos x="T4" y="T5"/>
                  </a:cxn>
                  <a:cxn ang="0">
                    <a:pos x="T6" y="T7"/>
                  </a:cxn>
                  <a:cxn ang="0">
                    <a:pos x="T8" y="T9"/>
                  </a:cxn>
                </a:cxnLst>
                <a:rect l="0" t="0" r="r" b="b"/>
                <a:pathLst>
                  <a:path w="51" h="85">
                    <a:moveTo>
                      <a:pt x="0" y="57"/>
                    </a:moveTo>
                    <a:cubicBezTo>
                      <a:pt x="16" y="67"/>
                      <a:pt x="33" y="77"/>
                      <a:pt x="51" y="85"/>
                    </a:cubicBezTo>
                    <a:cubicBezTo>
                      <a:pt x="47" y="55"/>
                      <a:pt x="41" y="26"/>
                      <a:pt x="33" y="0"/>
                    </a:cubicBezTo>
                    <a:cubicBezTo>
                      <a:pt x="26" y="5"/>
                      <a:pt x="20" y="10"/>
                      <a:pt x="16" y="16"/>
                    </a:cubicBezTo>
                    <a:cubicBezTo>
                      <a:pt x="9" y="25"/>
                      <a:pt x="4" y="40"/>
                      <a:pt x="0" y="57"/>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48"/>
              <p:cNvSpPr>
                <a:spLocks/>
              </p:cNvSpPr>
              <p:nvPr/>
            </p:nvSpPr>
            <p:spPr bwMode="auto">
              <a:xfrm>
                <a:off x="-1954213" y="2787650"/>
                <a:ext cx="207963" cy="328613"/>
              </a:xfrm>
              <a:custGeom>
                <a:avLst/>
                <a:gdLst>
                  <a:gd name="T0" fmla="*/ 0 w 56"/>
                  <a:gd name="T1" fmla="*/ 89 h 89"/>
                  <a:gd name="T2" fmla="*/ 56 w 56"/>
                  <a:gd name="T3" fmla="*/ 59 h 89"/>
                  <a:gd name="T4" fmla="*/ 39 w 56"/>
                  <a:gd name="T5" fmla="*/ 18 h 89"/>
                  <a:gd name="T6" fmla="*/ 19 w 56"/>
                  <a:gd name="T7" fmla="*/ 0 h 89"/>
                  <a:gd name="T8" fmla="*/ 0 w 56"/>
                  <a:gd name="T9" fmla="*/ 89 h 89"/>
                </a:gdLst>
                <a:ahLst/>
                <a:cxnLst>
                  <a:cxn ang="0">
                    <a:pos x="T0" y="T1"/>
                  </a:cxn>
                  <a:cxn ang="0">
                    <a:pos x="T2" y="T3"/>
                  </a:cxn>
                  <a:cxn ang="0">
                    <a:pos x="T4" y="T5"/>
                  </a:cxn>
                  <a:cxn ang="0">
                    <a:pos x="T6" y="T7"/>
                  </a:cxn>
                  <a:cxn ang="0">
                    <a:pos x="T8" y="T9"/>
                  </a:cxn>
                </a:cxnLst>
                <a:rect l="0" t="0" r="r" b="b"/>
                <a:pathLst>
                  <a:path w="56" h="89">
                    <a:moveTo>
                      <a:pt x="0" y="89"/>
                    </a:moveTo>
                    <a:cubicBezTo>
                      <a:pt x="20" y="80"/>
                      <a:pt x="38" y="70"/>
                      <a:pt x="56" y="59"/>
                    </a:cubicBezTo>
                    <a:cubicBezTo>
                      <a:pt x="52" y="42"/>
                      <a:pt x="46" y="27"/>
                      <a:pt x="39" y="18"/>
                    </a:cubicBezTo>
                    <a:cubicBezTo>
                      <a:pt x="35" y="12"/>
                      <a:pt x="28" y="6"/>
                      <a:pt x="19" y="0"/>
                    </a:cubicBezTo>
                    <a:cubicBezTo>
                      <a:pt x="11" y="27"/>
                      <a:pt x="4" y="57"/>
                      <a:pt x="0" y="89"/>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49"/>
              <p:cNvSpPr>
                <a:spLocks/>
              </p:cNvSpPr>
              <p:nvPr/>
            </p:nvSpPr>
            <p:spPr bwMode="auto">
              <a:xfrm>
                <a:off x="-2676526" y="2824163"/>
                <a:ext cx="95250" cy="441325"/>
              </a:xfrm>
              <a:custGeom>
                <a:avLst/>
                <a:gdLst>
                  <a:gd name="T0" fmla="*/ 0 w 26"/>
                  <a:gd name="T1" fmla="*/ 118 h 119"/>
                  <a:gd name="T2" fmla="*/ 14 w 26"/>
                  <a:gd name="T3" fmla="*/ 119 h 119"/>
                  <a:gd name="T4" fmla="*/ 26 w 26"/>
                  <a:gd name="T5" fmla="*/ 118 h 119"/>
                  <a:gd name="T6" fmla="*/ 20 w 26"/>
                  <a:gd name="T7" fmla="*/ 0 h 119"/>
                  <a:gd name="T8" fmla="*/ 6 w 26"/>
                  <a:gd name="T9" fmla="*/ 0 h 119"/>
                  <a:gd name="T10" fmla="*/ 0 w 26"/>
                  <a:gd name="T11" fmla="*/ 118 h 119"/>
                </a:gdLst>
                <a:ahLst/>
                <a:cxnLst>
                  <a:cxn ang="0">
                    <a:pos x="T0" y="T1"/>
                  </a:cxn>
                  <a:cxn ang="0">
                    <a:pos x="T2" y="T3"/>
                  </a:cxn>
                  <a:cxn ang="0">
                    <a:pos x="T4" y="T5"/>
                  </a:cxn>
                  <a:cxn ang="0">
                    <a:pos x="T6" y="T7"/>
                  </a:cxn>
                  <a:cxn ang="0">
                    <a:pos x="T8" y="T9"/>
                  </a:cxn>
                  <a:cxn ang="0">
                    <a:pos x="T10" y="T11"/>
                  </a:cxn>
                </a:cxnLst>
                <a:rect l="0" t="0" r="r" b="b"/>
                <a:pathLst>
                  <a:path w="26" h="119">
                    <a:moveTo>
                      <a:pt x="0" y="118"/>
                    </a:moveTo>
                    <a:cubicBezTo>
                      <a:pt x="5" y="119"/>
                      <a:pt x="9" y="119"/>
                      <a:pt x="14" y="119"/>
                    </a:cubicBezTo>
                    <a:cubicBezTo>
                      <a:pt x="18" y="119"/>
                      <a:pt x="22" y="119"/>
                      <a:pt x="26" y="118"/>
                    </a:cubicBezTo>
                    <a:cubicBezTo>
                      <a:pt x="20" y="0"/>
                      <a:pt x="20" y="0"/>
                      <a:pt x="20" y="0"/>
                    </a:cubicBezTo>
                    <a:cubicBezTo>
                      <a:pt x="6" y="0"/>
                      <a:pt x="6" y="0"/>
                      <a:pt x="6" y="0"/>
                    </a:cubicBezTo>
                    <a:lnTo>
                      <a:pt x="0" y="118"/>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3" name="Group 292">
            <a:extLst>
              <a:ext uri="{FF2B5EF4-FFF2-40B4-BE49-F238E27FC236}">
                <a16:creationId xmlns:a16="http://schemas.microsoft.com/office/drawing/2014/main" id="{E36F8C31-7150-42F5-AE61-93C3B9E18F34}"/>
              </a:ext>
            </a:extLst>
          </p:cNvPr>
          <p:cNvGrpSpPr/>
          <p:nvPr/>
        </p:nvGrpSpPr>
        <p:grpSpPr>
          <a:xfrm>
            <a:off x="10232823" y="122400"/>
            <a:ext cx="537308" cy="533532"/>
            <a:chOff x="8169276" y="2006600"/>
            <a:chExt cx="3614737" cy="3589337"/>
          </a:xfrm>
          <a:solidFill>
            <a:schemeClr val="bg1">
              <a:lumMod val="75000"/>
            </a:schemeClr>
          </a:solidFill>
        </p:grpSpPr>
        <p:sp>
          <p:nvSpPr>
            <p:cNvPr id="299" name="Freeform 18">
              <a:extLst>
                <a:ext uri="{FF2B5EF4-FFF2-40B4-BE49-F238E27FC236}">
                  <a16:creationId xmlns:a16="http://schemas.microsoft.com/office/drawing/2014/main" id="{88FFD7C8-D3D4-40D1-BC4D-E3E0898EF50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0" name="Freeform 15">
              <a:extLst>
                <a:ext uri="{FF2B5EF4-FFF2-40B4-BE49-F238E27FC236}">
                  <a16:creationId xmlns:a16="http://schemas.microsoft.com/office/drawing/2014/main" id="{DE92572F-8EFB-41B3-ADE9-363F9A2D2DAC}"/>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1" name="Oval 16">
              <a:extLst>
                <a:ext uri="{FF2B5EF4-FFF2-40B4-BE49-F238E27FC236}">
                  <a16:creationId xmlns:a16="http://schemas.microsoft.com/office/drawing/2014/main" id="{AAC985BE-E987-4B09-8FFE-064F809618F8}"/>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Verdana"/>
              </a:endParaRPr>
            </a:p>
          </p:txBody>
        </p:sp>
        <p:sp>
          <p:nvSpPr>
            <p:cNvPr id="302" name="Freeform 17">
              <a:extLst>
                <a:ext uri="{FF2B5EF4-FFF2-40B4-BE49-F238E27FC236}">
                  <a16:creationId xmlns:a16="http://schemas.microsoft.com/office/drawing/2014/main" id="{6BCCE4D0-6B24-4653-89A7-E04AEAC65A1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3" name="Freeform 19">
              <a:extLst>
                <a:ext uri="{FF2B5EF4-FFF2-40B4-BE49-F238E27FC236}">
                  <a16:creationId xmlns:a16="http://schemas.microsoft.com/office/drawing/2014/main" id="{BDAE0B1E-3A64-4654-B158-066E28809EC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sp>
        <p:nvSpPr>
          <p:cNvPr id="304" name="Freeform 46">
            <a:extLst>
              <a:ext uri="{FF2B5EF4-FFF2-40B4-BE49-F238E27FC236}">
                <a16:creationId xmlns:a16="http://schemas.microsoft.com/office/drawing/2014/main" id="{D4B726F8-5193-41DD-B30D-B3EE66B1B783}"/>
              </a:ext>
            </a:extLst>
          </p:cNvPr>
          <p:cNvSpPr>
            <a:spLocks/>
          </p:cNvSpPr>
          <p:nvPr/>
        </p:nvSpPr>
        <p:spPr bwMode="auto">
          <a:xfrm>
            <a:off x="10509082" y="270622"/>
            <a:ext cx="100929" cy="241760"/>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6C2FB0E9-FB13-422C-A4AA-6B6B478C7E0E}"/>
              </a:ext>
            </a:extLst>
          </p:cNvPr>
          <p:cNvSpPr>
            <a:spLocks/>
          </p:cNvSpPr>
          <p:nvPr/>
        </p:nvSpPr>
        <p:spPr bwMode="auto">
          <a:xfrm>
            <a:off x="10509082" y="295267"/>
            <a:ext cx="100929" cy="217115"/>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0B222FEC-F03A-4E4B-B43B-911323E5AA48}"/>
              </a:ext>
            </a:extLst>
          </p:cNvPr>
          <p:cNvSpPr>
            <a:spLocks/>
          </p:cNvSpPr>
          <p:nvPr/>
        </p:nvSpPr>
        <p:spPr bwMode="auto">
          <a:xfrm>
            <a:off x="10398765" y="270622"/>
            <a:ext cx="110318" cy="241760"/>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C0520DC0-6395-4597-B5D6-CEA20C109A59}"/>
              </a:ext>
            </a:extLst>
          </p:cNvPr>
          <p:cNvSpPr>
            <a:spLocks/>
          </p:cNvSpPr>
          <p:nvPr/>
        </p:nvSpPr>
        <p:spPr bwMode="auto">
          <a:xfrm>
            <a:off x="10398765" y="298788"/>
            <a:ext cx="110318" cy="213594"/>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E41E4B88-2230-49DF-97EE-0564A50E40EE}"/>
              </a:ext>
            </a:extLst>
          </p:cNvPr>
          <p:cNvSpPr>
            <a:spLocks/>
          </p:cNvSpPr>
          <p:nvPr/>
        </p:nvSpPr>
        <p:spPr bwMode="auto">
          <a:xfrm>
            <a:off x="10340085" y="298788"/>
            <a:ext cx="168997" cy="107971"/>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76A5427D-1BBB-4DA0-B6A3-D0A64E83B0F1}"/>
              </a:ext>
            </a:extLst>
          </p:cNvPr>
          <p:cNvSpPr>
            <a:spLocks/>
          </p:cNvSpPr>
          <p:nvPr/>
        </p:nvSpPr>
        <p:spPr bwMode="auto">
          <a:xfrm>
            <a:off x="10509082" y="295267"/>
            <a:ext cx="156088" cy="109145"/>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0" name="Group 309">
            <a:extLst>
              <a:ext uri="{FF2B5EF4-FFF2-40B4-BE49-F238E27FC236}">
                <a16:creationId xmlns:a16="http://schemas.microsoft.com/office/drawing/2014/main" id="{B497EB2A-D1F1-49C5-9037-8E576D1D2F93}"/>
              </a:ext>
            </a:extLst>
          </p:cNvPr>
          <p:cNvGrpSpPr/>
          <p:nvPr/>
        </p:nvGrpSpPr>
        <p:grpSpPr>
          <a:xfrm rot="16938775">
            <a:off x="10818568" y="122400"/>
            <a:ext cx="537307" cy="533532"/>
            <a:chOff x="8169276" y="2006600"/>
            <a:chExt cx="3614737" cy="3589337"/>
          </a:xfrm>
          <a:solidFill>
            <a:schemeClr val="bg1">
              <a:lumMod val="75000"/>
            </a:schemeClr>
          </a:solidFill>
        </p:grpSpPr>
        <p:sp>
          <p:nvSpPr>
            <p:cNvPr id="311" name="Freeform 18">
              <a:extLst>
                <a:ext uri="{FF2B5EF4-FFF2-40B4-BE49-F238E27FC236}">
                  <a16:creationId xmlns:a16="http://schemas.microsoft.com/office/drawing/2014/main" id="{82CBA648-3696-4248-B023-8494D38AEC7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2" name="Freeform 15">
              <a:extLst>
                <a:ext uri="{FF2B5EF4-FFF2-40B4-BE49-F238E27FC236}">
                  <a16:creationId xmlns:a16="http://schemas.microsoft.com/office/drawing/2014/main" id="{3FD0A65B-CCB8-471F-870E-1FDE2FCFEAF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3" name="Oval 16">
              <a:extLst>
                <a:ext uri="{FF2B5EF4-FFF2-40B4-BE49-F238E27FC236}">
                  <a16:creationId xmlns:a16="http://schemas.microsoft.com/office/drawing/2014/main" id="{B2D56ACE-A5C1-44B7-915E-702FBCA2064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4" name="Freeform 17">
              <a:extLst>
                <a:ext uri="{FF2B5EF4-FFF2-40B4-BE49-F238E27FC236}">
                  <a16:creationId xmlns:a16="http://schemas.microsoft.com/office/drawing/2014/main" id="{0DD1F66C-2F3F-41C6-8A79-BF481662DA2E}"/>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5" name="Freeform 19">
              <a:extLst>
                <a:ext uri="{FF2B5EF4-FFF2-40B4-BE49-F238E27FC236}">
                  <a16:creationId xmlns:a16="http://schemas.microsoft.com/office/drawing/2014/main" id="{FB57FEFF-5B66-4F9A-B163-029C58D2181E}"/>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16" name="Picture 4" descr="Coronavirus | United Nations">
            <a:extLst>
              <a:ext uri="{FF2B5EF4-FFF2-40B4-BE49-F238E27FC236}">
                <a16:creationId xmlns:a16="http://schemas.microsoft.com/office/drawing/2014/main" id="{7EDF67BB-8CA1-45EB-AC48-9AE302035F43}"/>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317" name="Group 316">
            <a:extLst>
              <a:ext uri="{FF2B5EF4-FFF2-40B4-BE49-F238E27FC236}">
                <a16:creationId xmlns:a16="http://schemas.microsoft.com/office/drawing/2014/main" id="{2ECFC017-2E17-47F2-BC98-5A15826EBD8B}"/>
              </a:ext>
            </a:extLst>
          </p:cNvPr>
          <p:cNvGrpSpPr/>
          <p:nvPr/>
        </p:nvGrpSpPr>
        <p:grpSpPr>
          <a:xfrm>
            <a:off x="9034432" y="122400"/>
            <a:ext cx="537780" cy="533532"/>
            <a:chOff x="411163" y="2006600"/>
            <a:chExt cx="3617913" cy="3589337"/>
          </a:xfrm>
          <a:solidFill>
            <a:schemeClr val="bg1">
              <a:lumMod val="75000"/>
            </a:schemeClr>
          </a:solidFill>
        </p:grpSpPr>
        <p:sp>
          <p:nvSpPr>
            <p:cNvPr id="318" name="Freeform 5">
              <a:extLst>
                <a:ext uri="{FF2B5EF4-FFF2-40B4-BE49-F238E27FC236}">
                  <a16:creationId xmlns:a16="http://schemas.microsoft.com/office/drawing/2014/main" id="{F06DE7F7-F3A6-4F5B-9687-EF08B8A8FD9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9" name="Oval 6">
              <a:extLst>
                <a:ext uri="{FF2B5EF4-FFF2-40B4-BE49-F238E27FC236}">
                  <a16:creationId xmlns:a16="http://schemas.microsoft.com/office/drawing/2014/main" id="{24CEB9A8-759E-46B1-8426-DF3FD75ED6F8}"/>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0" name="Freeform 7">
              <a:extLst>
                <a:ext uri="{FF2B5EF4-FFF2-40B4-BE49-F238E27FC236}">
                  <a16:creationId xmlns:a16="http://schemas.microsoft.com/office/drawing/2014/main" id="{EDFAD714-18FF-42A7-844F-0B10FAEA3747}"/>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1" name="Freeform 8">
              <a:extLst>
                <a:ext uri="{FF2B5EF4-FFF2-40B4-BE49-F238E27FC236}">
                  <a16:creationId xmlns:a16="http://schemas.microsoft.com/office/drawing/2014/main" id="{2F9DD495-E653-4E15-AC95-549FDDCF296D}"/>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2" name="Freeform 9">
              <a:extLst>
                <a:ext uri="{FF2B5EF4-FFF2-40B4-BE49-F238E27FC236}">
                  <a16:creationId xmlns:a16="http://schemas.microsoft.com/office/drawing/2014/main" id="{1806FB93-5864-4215-A005-9E42FBAB1165}"/>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23" name="Groupe 825">
            <a:extLst>
              <a:ext uri="{FF2B5EF4-FFF2-40B4-BE49-F238E27FC236}">
                <a16:creationId xmlns:a16="http://schemas.microsoft.com/office/drawing/2014/main" id="{4397B52B-E65E-4F1D-BD61-91F7D720B3BB}"/>
              </a:ext>
            </a:extLst>
          </p:cNvPr>
          <p:cNvGrpSpPr/>
          <p:nvPr/>
        </p:nvGrpSpPr>
        <p:grpSpPr>
          <a:xfrm>
            <a:off x="9138494" y="248487"/>
            <a:ext cx="337206" cy="317707"/>
            <a:chOff x="6500813" y="736601"/>
            <a:chExt cx="538163" cy="581025"/>
          </a:xfrm>
          <a:solidFill>
            <a:schemeClr val="bg1">
              <a:lumMod val="50000"/>
            </a:schemeClr>
          </a:solidFill>
        </p:grpSpPr>
        <p:sp>
          <p:nvSpPr>
            <p:cNvPr id="324" name="Freeform 37">
              <a:extLst>
                <a:ext uri="{FF2B5EF4-FFF2-40B4-BE49-F238E27FC236}">
                  <a16:creationId xmlns:a16="http://schemas.microsoft.com/office/drawing/2014/main" id="{23A65B25-3A9C-4D04-BEED-B85AC6A3E1C4}"/>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5" name="Freeform 38">
              <a:extLst>
                <a:ext uri="{FF2B5EF4-FFF2-40B4-BE49-F238E27FC236}">
                  <a16:creationId xmlns:a16="http://schemas.microsoft.com/office/drawing/2014/main" id="{A8A5EC8D-320D-4A40-A637-F98BB99E92EF}"/>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6" name="Freeform 39">
              <a:extLst>
                <a:ext uri="{FF2B5EF4-FFF2-40B4-BE49-F238E27FC236}">
                  <a16:creationId xmlns:a16="http://schemas.microsoft.com/office/drawing/2014/main" id="{F196CE3F-E7DE-4D7C-A0A3-E3531538909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7" name="Freeform 40">
              <a:extLst>
                <a:ext uri="{FF2B5EF4-FFF2-40B4-BE49-F238E27FC236}">
                  <a16:creationId xmlns:a16="http://schemas.microsoft.com/office/drawing/2014/main" id="{23EFD98B-9C6A-48ED-BAA9-1D7547BC63E7}"/>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8" name="Freeform 41">
              <a:extLst>
                <a:ext uri="{FF2B5EF4-FFF2-40B4-BE49-F238E27FC236}">
                  <a16:creationId xmlns:a16="http://schemas.microsoft.com/office/drawing/2014/main" id="{FAFD4F60-AA3E-4D1B-B897-D86C6124AD4D}"/>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9" name="Freeform 42">
              <a:extLst>
                <a:ext uri="{FF2B5EF4-FFF2-40B4-BE49-F238E27FC236}">
                  <a16:creationId xmlns:a16="http://schemas.microsoft.com/office/drawing/2014/main" id="{4B9CD4DA-3758-4741-B49A-979EA370547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0" name="Freeform 43">
              <a:extLst>
                <a:ext uri="{FF2B5EF4-FFF2-40B4-BE49-F238E27FC236}">
                  <a16:creationId xmlns:a16="http://schemas.microsoft.com/office/drawing/2014/main" id="{A69ABF7E-7DA3-4B4A-A997-19D9A53F69C4}"/>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1" name="Freeform 44">
              <a:extLst>
                <a:ext uri="{FF2B5EF4-FFF2-40B4-BE49-F238E27FC236}">
                  <a16:creationId xmlns:a16="http://schemas.microsoft.com/office/drawing/2014/main" id="{5A793653-CFE7-4F4C-BAB0-37B6BADF5928}"/>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2" name="Freeform 45">
              <a:extLst>
                <a:ext uri="{FF2B5EF4-FFF2-40B4-BE49-F238E27FC236}">
                  <a16:creationId xmlns:a16="http://schemas.microsoft.com/office/drawing/2014/main" id="{58B61DAD-037D-4DBC-BD41-D5DA315C016B}"/>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3" name="Freeform 46">
              <a:extLst>
                <a:ext uri="{FF2B5EF4-FFF2-40B4-BE49-F238E27FC236}">
                  <a16:creationId xmlns:a16="http://schemas.microsoft.com/office/drawing/2014/main" id="{4031ECC7-F4FB-4D15-BDC1-0D67A4299EAB}"/>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4" name="Freeform 47">
              <a:extLst>
                <a:ext uri="{FF2B5EF4-FFF2-40B4-BE49-F238E27FC236}">
                  <a16:creationId xmlns:a16="http://schemas.microsoft.com/office/drawing/2014/main" id="{7DE71674-D5CA-4397-A7A5-33CB2D821583}"/>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5" name="Freeform 48">
              <a:extLst>
                <a:ext uri="{FF2B5EF4-FFF2-40B4-BE49-F238E27FC236}">
                  <a16:creationId xmlns:a16="http://schemas.microsoft.com/office/drawing/2014/main" id="{67877EB3-825C-405F-9D34-95939F7AFFA9}"/>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6" name="Freeform 49">
              <a:extLst>
                <a:ext uri="{FF2B5EF4-FFF2-40B4-BE49-F238E27FC236}">
                  <a16:creationId xmlns:a16="http://schemas.microsoft.com/office/drawing/2014/main" id="{C215FE7C-E562-4D45-8320-75B3DD65AB1D}"/>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7" name="Freeform 50">
              <a:extLst>
                <a:ext uri="{FF2B5EF4-FFF2-40B4-BE49-F238E27FC236}">
                  <a16:creationId xmlns:a16="http://schemas.microsoft.com/office/drawing/2014/main" id="{8712BBA3-A8F3-455E-BC92-E5075166987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8" name="Freeform 51">
              <a:extLst>
                <a:ext uri="{FF2B5EF4-FFF2-40B4-BE49-F238E27FC236}">
                  <a16:creationId xmlns:a16="http://schemas.microsoft.com/office/drawing/2014/main" id="{E3F6AEB7-4F1E-4E1F-93CD-9198CB25466E}"/>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9" name="Freeform 52">
              <a:extLst>
                <a:ext uri="{FF2B5EF4-FFF2-40B4-BE49-F238E27FC236}">
                  <a16:creationId xmlns:a16="http://schemas.microsoft.com/office/drawing/2014/main" id="{AA4F91FB-6E4B-4DDA-8F05-ECC5E20709E0}"/>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0" name="Freeform 53">
              <a:extLst>
                <a:ext uri="{FF2B5EF4-FFF2-40B4-BE49-F238E27FC236}">
                  <a16:creationId xmlns:a16="http://schemas.microsoft.com/office/drawing/2014/main" id="{3C9E7EFF-6D46-4067-9701-28A341FF5671}"/>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1" name="Freeform 54">
              <a:extLst>
                <a:ext uri="{FF2B5EF4-FFF2-40B4-BE49-F238E27FC236}">
                  <a16:creationId xmlns:a16="http://schemas.microsoft.com/office/drawing/2014/main" id="{27FE59B0-1290-43DA-BF55-43F6BFCD024D}"/>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2" name="Freeform 55">
              <a:extLst>
                <a:ext uri="{FF2B5EF4-FFF2-40B4-BE49-F238E27FC236}">
                  <a16:creationId xmlns:a16="http://schemas.microsoft.com/office/drawing/2014/main" id="{E0D1A49B-270E-4147-87AD-068FC123C51A}"/>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3" name="Freeform 56">
              <a:extLst>
                <a:ext uri="{FF2B5EF4-FFF2-40B4-BE49-F238E27FC236}">
                  <a16:creationId xmlns:a16="http://schemas.microsoft.com/office/drawing/2014/main" id="{9074E81C-8EE8-40A7-BCFF-E85985CF4DBE}"/>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4" name="Freeform 57">
              <a:extLst>
                <a:ext uri="{FF2B5EF4-FFF2-40B4-BE49-F238E27FC236}">
                  <a16:creationId xmlns:a16="http://schemas.microsoft.com/office/drawing/2014/main" id="{877F0610-B97F-4617-BAFF-CBB86E32DE8B}"/>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5" name="Freeform 58">
              <a:extLst>
                <a:ext uri="{FF2B5EF4-FFF2-40B4-BE49-F238E27FC236}">
                  <a16:creationId xmlns:a16="http://schemas.microsoft.com/office/drawing/2014/main" id="{03E26055-0DCD-4D65-80D1-7D4593BF132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6" name="Freeform 59">
              <a:extLst>
                <a:ext uri="{FF2B5EF4-FFF2-40B4-BE49-F238E27FC236}">
                  <a16:creationId xmlns:a16="http://schemas.microsoft.com/office/drawing/2014/main" id="{70C3B977-5DB9-4AE4-B25A-7527E6131B5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7" name="Freeform 60">
              <a:extLst>
                <a:ext uri="{FF2B5EF4-FFF2-40B4-BE49-F238E27FC236}">
                  <a16:creationId xmlns:a16="http://schemas.microsoft.com/office/drawing/2014/main" id="{ED085288-65BA-4EFF-A2CB-16D5F2C3DC4C}"/>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8" name="Freeform 61">
              <a:extLst>
                <a:ext uri="{FF2B5EF4-FFF2-40B4-BE49-F238E27FC236}">
                  <a16:creationId xmlns:a16="http://schemas.microsoft.com/office/drawing/2014/main" id="{DB89FC72-433E-4E1B-95E7-835387D16CF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9" name="Freeform 62">
              <a:extLst>
                <a:ext uri="{FF2B5EF4-FFF2-40B4-BE49-F238E27FC236}">
                  <a16:creationId xmlns:a16="http://schemas.microsoft.com/office/drawing/2014/main" id="{ECFD2F9A-3754-4029-A1E5-A997E7F03E60}"/>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0" name="Freeform 63">
              <a:extLst>
                <a:ext uri="{FF2B5EF4-FFF2-40B4-BE49-F238E27FC236}">
                  <a16:creationId xmlns:a16="http://schemas.microsoft.com/office/drawing/2014/main" id="{725D9F03-1DBF-4173-8803-7CED6E510F89}"/>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1" name="Freeform 64">
              <a:extLst>
                <a:ext uri="{FF2B5EF4-FFF2-40B4-BE49-F238E27FC236}">
                  <a16:creationId xmlns:a16="http://schemas.microsoft.com/office/drawing/2014/main" id="{41957981-9C7E-4DD8-801C-C7D7B453AD97}"/>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2" name="Freeform 65">
              <a:extLst>
                <a:ext uri="{FF2B5EF4-FFF2-40B4-BE49-F238E27FC236}">
                  <a16:creationId xmlns:a16="http://schemas.microsoft.com/office/drawing/2014/main" id="{A6DC5E5F-2C22-49AA-9CCA-39B2BED7EA4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3" name="Freeform 66">
              <a:extLst>
                <a:ext uri="{FF2B5EF4-FFF2-40B4-BE49-F238E27FC236}">
                  <a16:creationId xmlns:a16="http://schemas.microsoft.com/office/drawing/2014/main" id="{B30588EC-ECE9-4738-90D4-091662DD50F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4" name="Freeform 67">
              <a:extLst>
                <a:ext uri="{FF2B5EF4-FFF2-40B4-BE49-F238E27FC236}">
                  <a16:creationId xmlns:a16="http://schemas.microsoft.com/office/drawing/2014/main" id="{1B041A52-AE09-4E42-9E8B-3ED7866916C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5" name="Freeform 68">
              <a:extLst>
                <a:ext uri="{FF2B5EF4-FFF2-40B4-BE49-F238E27FC236}">
                  <a16:creationId xmlns:a16="http://schemas.microsoft.com/office/drawing/2014/main" id="{26265753-61B2-4967-9361-8A44C0DD79C4}"/>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6" name="Freeform 69">
              <a:extLst>
                <a:ext uri="{FF2B5EF4-FFF2-40B4-BE49-F238E27FC236}">
                  <a16:creationId xmlns:a16="http://schemas.microsoft.com/office/drawing/2014/main" id="{E144673A-8D25-42E4-88CC-ABF9929D88A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7" name="Freeform 70">
              <a:extLst>
                <a:ext uri="{FF2B5EF4-FFF2-40B4-BE49-F238E27FC236}">
                  <a16:creationId xmlns:a16="http://schemas.microsoft.com/office/drawing/2014/main" id="{2401EAB9-45CD-45C8-94AE-EEDA460FB347}"/>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8" name="Freeform 71">
              <a:extLst>
                <a:ext uri="{FF2B5EF4-FFF2-40B4-BE49-F238E27FC236}">
                  <a16:creationId xmlns:a16="http://schemas.microsoft.com/office/drawing/2014/main" id="{E005F6B7-CC11-45FD-AA70-6911BED7C163}"/>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9" name="Freeform 72">
              <a:extLst>
                <a:ext uri="{FF2B5EF4-FFF2-40B4-BE49-F238E27FC236}">
                  <a16:creationId xmlns:a16="http://schemas.microsoft.com/office/drawing/2014/main" id="{961C2B93-CA59-4B44-804C-50806D406BD4}"/>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0" name="Freeform 73">
              <a:extLst>
                <a:ext uri="{FF2B5EF4-FFF2-40B4-BE49-F238E27FC236}">
                  <a16:creationId xmlns:a16="http://schemas.microsoft.com/office/drawing/2014/main" id="{FD90323E-47CE-43CB-BB00-DA9A3BA8839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1" name="Freeform 74">
              <a:extLst>
                <a:ext uri="{FF2B5EF4-FFF2-40B4-BE49-F238E27FC236}">
                  <a16:creationId xmlns:a16="http://schemas.microsoft.com/office/drawing/2014/main" id="{F210D7CD-065B-4F2B-989A-DA094B03582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2" name="Freeform 75">
              <a:extLst>
                <a:ext uri="{FF2B5EF4-FFF2-40B4-BE49-F238E27FC236}">
                  <a16:creationId xmlns:a16="http://schemas.microsoft.com/office/drawing/2014/main" id="{0FF75847-EA65-4E00-BD40-33E1C2D0EC1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3" name="Freeform 76">
              <a:extLst>
                <a:ext uri="{FF2B5EF4-FFF2-40B4-BE49-F238E27FC236}">
                  <a16:creationId xmlns:a16="http://schemas.microsoft.com/office/drawing/2014/main" id="{3F4A1777-E07C-412F-803C-8CCA8AD80A6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4" name="Freeform 77">
              <a:extLst>
                <a:ext uri="{FF2B5EF4-FFF2-40B4-BE49-F238E27FC236}">
                  <a16:creationId xmlns:a16="http://schemas.microsoft.com/office/drawing/2014/main" id="{9A4B671E-205B-4DE9-AA81-D7157944A3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5" name="Freeform 78">
              <a:extLst>
                <a:ext uri="{FF2B5EF4-FFF2-40B4-BE49-F238E27FC236}">
                  <a16:creationId xmlns:a16="http://schemas.microsoft.com/office/drawing/2014/main" id="{2E453C68-3C34-49A7-848E-C3A0F5ECA44A}"/>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6" name="Freeform 79">
              <a:extLst>
                <a:ext uri="{FF2B5EF4-FFF2-40B4-BE49-F238E27FC236}">
                  <a16:creationId xmlns:a16="http://schemas.microsoft.com/office/drawing/2014/main" id="{FBA362F3-32B6-4525-9979-338886A8535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7" name="Freeform 80">
              <a:extLst>
                <a:ext uri="{FF2B5EF4-FFF2-40B4-BE49-F238E27FC236}">
                  <a16:creationId xmlns:a16="http://schemas.microsoft.com/office/drawing/2014/main" id="{6382891F-1CFC-4F3E-8990-92E952A9D721}"/>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8" name="Freeform 81">
              <a:extLst>
                <a:ext uri="{FF2B5EF4-FFF2-40B4-BE49-F238E27FC236}">
                  <a16:creationId xmlns:a16="http://schemas.microsoft.com/office/drawing/2014/main" id="{8EC685A8-B910-4EC8-9417-9778ABBA3BDC}"/>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9" name="Freeform 82">
              <a:extLst>
                <a:ext uri="{FF2B5EF4-FFF2-40B4-BE49-F238E27FC236}">
                  <a16:creationId xmlns:a16="http://schemas.microsoft.com/office/drawing/2014/main" id="{E48B169A-6B5A-4933-ACD6-EE206E8042F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0" name="Freeform 83">
              <a:extLst>
                <a:ext uri="{FF2B5EF4-FFF2-40B4-BE49-F238E27FC236}">
                  <a16:creationId xmlns:a16="http://schemas.microsoft.com/office/drawing/2014/main" id="{36E00B51-DB0F-4A78-9865-8FF91987171A}"/>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1" name="Freeform 84">
              <a:extLst>
                <a:ext uri="{FF2B5EF4-FFF2-40B4-BE49-F238E27FC236}">
                  <a16:creationId xmlns:a16="http://schemas.microsoft.com/office/drawing/2014/main" id="{6ADC858B-6D8E-426C-86CB-05978B3DBCB9}"/>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2" name="Freeform 85">
              <a:extLst>
                <a:ext uri="{FF2B5EF4-FFF2-40B4-BE49-F238E27FC236}">
                  <a16:creationId xmlns:a16="http://schemas.microsoft.com/office/drawing/2014/main" id="{435E26A6-6A16-4C5B-994A-59668505497C}"/>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373" name="Group 372">
            <a:extLst>
              <a:ext uri="{FF2B5EF4-FFF2-40B4-BE49-F238E27FC236}">
                <a16:creationId xmlns:a16="http://schemas.microsoft.com/office/drawing/2014/main" id="{F20570C0-A893-4F2E-8660-861D4CC995B6}"/>
              </a:ext>
            </a:extLst>
          </p:cNvPr>
          <p:cNvGrpSpPr/>
          <p:nvPr/>
        </p:nvGrpSpPr>
        <p:grpSpPr>
          <a:xfrm>
            <a:off x="9622537" y="85117"/>
            <a:ext cx="559961" cy="608099"/>
            <a:chOff x="9622537" y="85117"/>
            <a:chExt cx="559961" cy="608099"/>
          </a:xfrm>
        </p:grpSpPr>
        <p:sp>
          <p:nvSpPr>
            <p:cNvPr id="471" name="Freeform 10">
              <a:extLst>
                <a:ext uri="{FF2B5EF4-FFF2-40B4-BE49-F238E27FC236}">
                  <a16:creationId xmlns:a16="http://schemas.microsoft.com/office/drawing/2014/main" id="{62E3E4CD-D6A1-43CD-9906-343BA9E3AA18}"/>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1" name="Freeform 11">
              <a:extLst>
                <a:ext uri="{FF2B5EF4-FFF2-40B4-BE49-F238E27FC236}">
                  <a16:creationId xmlns:a16="http://schemas.microsoft.com/office/drawing/2014/main" id="{74D2630D-1105-4A03-9E09-EACCA285C912}"/>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2" name="Freeform 12">
              <a:extLst>
                <a:ext uri="{FF2B5EF4-FFF2-40B4-BE49-F238E27FC236}">
                  <a16:creationId xmlns:a16="http://schemas.microsoft.com/office/drawing/2014/main" id="{861D90BB-E064-4EFB-8097-A965DE39E32D}"/>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3" name="Freeform 13">
              <a:extLst>
                <a:ext uri="{FF2B5EF4-FFF2-40B4-BE49-F238E27FC236}">
                  <a16:creationId xmlns:a16="http://schemas.microsoft.com/office/drawing/2014/main" id="{089523D6-8B65-4D92-B52A-EBF016DB50AB}"/>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4" name="Freeform 14">
              <a:extLst>
                <a:ext uri="{FF2B5EF4-FFF2-40B4-BE49-F238E27FC236}">
                  <a16:creationId xmlns:a16="http://schemas.microsoft.com/office/drawing/2014/main" id="{0628A6A4-BC9D-4A27-9960-9138B72CE046}"/>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485" name="Freeform 332">
            <a:extLst>
              <a:ext uri="{FF2B5EF4-FFF2-40B4-BE49-F238E27FC236}">
                <a16:creationId xmlns:a16="http://schemas.microsoft.com/office/drawing/2014/main" id="{D84C8861-1BF3-4B55-920D-E1249892456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6" name="Freeform 14">
            <a:extLst>
              <a:ext uri="{FF2B5EF4-FFF2-40B4-BE49-F238E27FC236}">
                <a16:creationId xmlns:a16="http://schemas.microsoft.com/office/drawing/2014/main" id="{135ADFE2-122D-4847-80EB-1D00D3681F24}"/>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59106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 complete range of businesses </a:t>
            </a:r>
          </a:p>
        </p:txBody>
      </p:sp>
      <p:grpSp>
        <p:nvGrpSpPr>
          <p:cNvPr id="11" name="Group 10">
            <a:extLst>
              <a:ext uri="{FF2B5EF4-FFF2-40B4-BE49-F238E27FC236}">
                <a16:creationId xmlns:a16="http://schemas.microsoft.com/office/drawing/2014/main" id="{3977EED2-9C21-4F91-A157-BF07DFDB7558}"/>
              </a:ext>
            </a:extLst>
          </p:cNvPr>
          <p:cNvGrpSpPr/>
          <p:nvPr/>
        </p:nvGrpSpPr>
        <p:grpSpPr>
          <a:xfrm>
            <a:off x="236616" y="1369611"/>
            <a:ext cx="11679159" cy="1019615"/>
            <a:chOff x="236616" y="1194649"/>
            <a:chExt cx="11679159" cy="1019615"/>
          </a:xfrm>
        </p:grpSpPr>
        <p:grpSp>
          <p:nvGrpSpPr>
            <p:cNvPr id="32" name="Group 14">
              <a:extLst>
                <a:ext uri="{FF2B5EF4-FFF2-40B4-BE49-F238E27FC236}">
                  <a16:creationId xmlns:a16="http://schemas.microsoft.com/office/drawing/2014/main" id="{0F9E7C66-1597-0640-A8ED-C7F4D7D6F986}"/>
                </a:ext>
              </a:extLst>
            </p:cNvPr>
            <p:cNvGrpSpPr>
              <a:grpSpLocks noChangeAspect="1"/>
            </p:cNvGrpSpPr>
            <p:nvPr/>
          </p:nvGrpSpPr>
          <p:grpSpPr>
            <a:xfrm>
              <a:off x="236616" y="1247702"/>
              <a:ext cx="4335384" cy="966562"/>
              <a:chOff x="728663" y="4465638"/>
              <a:chExt cx="5354637" cy="1193801"/>
            </a:xfrm>
          </p:grpSpPr>
          <p:sp>
            <p:nvSpPr>
              <p:cNvPr id="33" name="Freeform 11">
                <a:extLst>
                  <a:ext uri="{FF2B5EF4-FFF2-40B4-BE49-F238E27FC236}">
                    <a16:creationId xmlns:a16="http://schemas.microsoft.com/office/drawing/2014/main" id="{31BE0134-C820-7D4C-A257-A6FC4C688D04}"/>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sp>
            <p:nvSpPr>
              <p:cNvPr id="34" name="Freeform 12">
                <a:extLst>
                  <a:ext uri="{FF2B5EF4-FFF2-40B4-BE49-F238E27FC236}">
                    <a16:creationId xmlns:a16="http://schemas.microsoft.com/office/drawing/2014/main" id="{A83A3E4E-366A-3B4A-A28A-0639900CE3C8}"/>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sp>
            <p:nvSpPr>
              <p:cNvPr id="35" name="Freeform 13">
                <a:extLst>
                  <a:ext uri="{FF2B5EF4-FFF2-40B4-BE49-F238E27FC236}">
                    <a16:creationId xmlns:a16="http://schemas.microsoft.com/office/drawing/2014/main" id="{2998D6FA-D803-7F49-B6B9-871973CA81EB}"/>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sp>
            <p:nvSpPr>
              <p:cNvPr id="36" name="Freeform 14">
                <a:extLst>
                  <a:ext uri="{FF2B5EF4-FFF2-40B4-BE49-F238E27FC236}">
                    <a16:creationId xmlns:a16="http://schemas.microsoft.com/office/drawing/2014/main" id="{C6F853A2-BE8D-A449-9DA1-221BF47F2FE9}"/>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sp>
            <p:nvSpPr>
              <p:cNvPr id="37" name="Freeform 15">
                <a:extLst>
                  <a:ext uri="{FF2B5EF4-FFF2-40B4-BE49-F238E27FC236}">
                    <a16:creationId xmlns:a16="http://schemas.microsoft.com/office/drawing/2014/main" id="{A55921C7-1B45-194E-A500-E3E8A40F586E}"/>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eaLnBrk="1"/>
                <a:endParaRPr lang="en-US"/>
              </a:p>
            </p:txBody>
          </p:sp>
        </p:grpSp>
        <p:sp>
          <p:nvSpPr>
            <p:cNvPr id="38" name="Rectangle 3">
              <a:extLst>
                <a:ext uri="{FF2B5EF4-FFF2-40B4-BE49-F238E27FC236}">
                  <a16:creationId xmlns:a16="http://schemas.microsoft.com/office/drawing/2014/main" id="{6FABB2F8-76D2-464F-AD07-B8695C55DAA3}"/>
                </a:ext>
              </a:extLst>
            </p:cNvPr>
            <p:cNvSpPr/>
            <p:nvPr/>
          </p:nvSpPr>
          <p:spPr>
            <a:xfrm>
              <a:off x="4826000" y="1194649"/>
              <a:ext cx="7089775" cy="869469"/>
            </a:xfrm>
            <a:prstGeom prst="rect">
              <a:avLst/>
            </a:prstGeom>
          </p:spPr>
          <p:txBody>
            <a:bodyPr wrap="square">
              <a:spAutoFit/>
            </a:bodyPr>
            <a:lstStyle/>
            <a:p>
              <a:pPr marL="0" marR="0" lvl="0" indent="0" algn="l" defTabSz="957756" rtl="0" eaLnBrk="1" fontAlgn="auto" latinLnBrk="0" hangingPunct="1">
                <a:spcBef>
                  <a:spcPts val="0"/>
                </a:spcBef>
                <a:spcAft>
                  <a:spcPts val="300"/>
                </a:spcAft>
                <a:buClrTx/>
                <a:buSzTx/>
                <a:buFontTx/>
                <a:buNone/>
                <a:tabLst/>
                <a:defRPr/>
              </a:pPr>
              <a:r>
                <a:rPr kumimoji="0" lang="en-US" sz="1200" b="0" i="0" u="none" strike="noStrike" kern="1200" cap="none" spc="0" normalizeH="0" baseline="0" noProof="0" dirty="0">
                  <a:ln>
                    <a:noFill/>
                  </a:ln>
                  <a:effectLst/>
                  <a:uLnTx/>
                  <a:uFillTx/>
                  <a:ea typeface="+mn-ea"/>
                  <a:cs typeface="Arial" panose="020B0604020202020204" pitchFamily="34" charset="0"/>
                </a:rPr>
                <a:t>We are 270,000 people, passionate about helping our clients solve their most complex business and technology challenges, and we deliver transformational outcomes at scale. </a:t>
              </a:r>
            </a:p>
            <a:p>
              <a:pPr defTabSz="957756">
                <a:spcAft>
                  <a:spcPts val="300"/>
                </a:spcAft>
                <a:defRPr/>
              </a:pPr>
              <a:r>
                <a:rPr lang="en-US" sz="1200" dirty="0">
                  <a:cs typeface="Arial" panose="020B0604020202020204" pitchFamily="34" charset="0"/>
                </a:rPr>
                <a:t>We are driven by the conviction that the business value of technology comes from and through people.</a:t>
              </a:r>
              <a:endParaRPr kumimoji="0" lang="en-US" sz="1200" b="1" i="0" u="none" strike="noStrike" kern="1200" cap="none" spc="0" normalizeH="0" baseline="0" noProof="0" dirty="0">
                <a:ln>
                  <a:noFill/>
                </a:ln>
                <a:effectLst/>
                <a:uLnTx/>
                <a:uFillTx/>
                <a:cs typeface="Arial" panose="020B0604020202020204" pitchFamily="34" charset="0"/>
              </a:endParaRPr>
            </a:p>
          </p:txBody>
        </p:sp>
      </p:grpSp>
      <p:grpSp>
        <p:nvGrpSpPr>
          <p:cNvPr id="9" name="Group 8">
            <a:extLst>
              <a:ext uri="{FF2B5EF4-FFF2-40B4-BE49-F238E27FC236}">
                <a16:creationId xmlns:a16="http://schemas.microsoft.com/office/drawing/2014/main" id="{CB41F940-723A-45F7-8789-9B9DDD91B855}"/>
              </a:ext>
            </a:extLst>
          </p:cNvPr>
          <p:cNvGrpSpPr/>
          <p:nvPr/>
        </p:nvGrpSpPr>
        <p:grpSpPr>
          <a:xfrm>
            <a:off x="2647612" y="3990006"/>
            <a:ext cx="9268163" cy="997482"/>
            <a:chOff x="2647612" y="4665346"/>
            <a:chExt cx="9268163" cy="997482"/>
          </a:xfrm>
        </p:grpSpPr>
        <p:pic>
          <p:nvPicPr>
            <p:cNvPr id="6" name="Image 5">
              <a:extLst>
                <a:ext uri="{FF2B5EF4-FFF2-40B4-BE49-F238E27FC236}">
                  <a16:creationId xmlns:a16="http://schemas.microsoft.com/office/drawing/2014/main" id="{BBD3118D-9928-A749-B573-AEA9146211D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47612" y="4665346"/>
              <a:ext cx="1924388" cy="997482"/>
            </a:xfrm>
            <a:prstGeom prst="rect">
              <a:avLst/>
            </a:prstGeom>
          </p:spPr>
        </p:pic>
        <p:sp>
          <p:nvSpPr>
            <p:cNvPr id="41" name="Rectangle 3">
              <a:extLst>
                <a:ext uri="{FF2B5EF4-FFF2-40B4-BE49-F238E27FC236}">
                  <a16:creationId xmlns:a16="http://schemas.microsoft.com/office/drawing/2014/main" id="{B79A9963-9DFD-6E4F-9A5E-BD4D6DAEC0B8}"/>
                </a:ext>
              </a:extLst>
            </p:cNvPr>
            <p:cNvSpPr/>
            <p:nvPr/>
          </p:nvSpPr>
          <p:spPr>
            <a:xfrm>
              <a:off x="4826001" y="4840922"/>
              <a:ext cx="7089774" cy="646331"/>
            </a:xfrm>
            <a:prstGeom prst="rect">
              <a:avLst/>
            </a:prstGeom>
          </p:spPr>
          <p:txBody>
            <a:bodyPr wrap="square">
              <a:spAutoFit/>
            </a:bodyPr>
            <a:lstStyle/>
            <a:p>
              <a:pPr lvl="0" defTabSz="914616">
                <a:spcAft>
                  <a:spcPts val="300"/>
                </a:spcAft>
                <a:buClr>
                  <a:srgbClr val="0098CC"/>
                </a:buClr>
                <a:defRPr/>
              </a:pPr>
              <a:r>
                <a:rPr lang="en-US" sz="1200" dirty="0">
                  <a:cs typeface="Arial" panose="020B0604020202020204" pitchFamily="34" charset="0"/>
                </a:rPr>
                <a:t>Sogeti works closely with its clients at a local level and mobilizes expert teams that create custom solutions from existing and emerging technologies to deliver viable outcomes at speed.</a:t>
              </a:r>
            </a:p>
          </p:txBody>
        </p:sp>
      </p:grpSp>
      <p:grpSp>
        <p:nvGrpSpPr>
          <p:cNvPr id="10" name="Group 9">
            <a:extLst>
              <a:ext uri="{FF2B5EF4-FFF2-40B4-BE49-F238E27FC236}">
                <a16:creationId xmlns:a16="http://schemas.microsoft.com/office/drawing/2014/main" id="{509147A7-25FF-4FA2-8384-820A72881AF3}"/>
              </a:ext>
            </a:extLst>
          </p:cNvPr>
          <p:cNvGrpSpPr/>
          <p:nvPr/>
        </p:nvGrpSpPr>
        <p:grpSpPr>
          <a:xfrm>
            <a:off x="159111" y="2820022"/>
            <a:ext cx="11756663" cy="783327"/>
            <a:chOff x="159112" y="2877502"/>
            <a:chExt cx="11756663" cy="783327"/>
          </a:xfrm>
        </p:grpSpPr>
        <p:pic>
          <p:nvPicPr>
            <p:cNvPr id="25" name="Picture 24">
              <a:extLst>
                <a:ext uri="{FF2B5EF4-FFF2-40B4-BE49-F238E27FC236}">
                  <a16:creationId xmlns:a16="http://schemas.microsoft.com/office/drawing/2014/main" id="{2648DFA6-6B56-4E39-A479-07B4581FD5C2}"/>
                </a:ext>
              </a:extLst>
            </p:cNvPr>
            <p:cNvPicPr>
              <a:picLocks noChangeAspect="1"/>
            </p:cNvPicPr>
            <p:nvPr/>
          </p:nvPicPr>
          <p:blipFill>
            <a:blip r:embed="rId7" cstate="print">
              <a:extLst>
                <a:ext uri="{28A0092B-C50C-407E-A947-70E740481C1C}">
                  <a14:useLocalDpi xmlns:a14="http://schemas.microsoft.com/office/drawing/2010/main" val="0"/>
                </a:ext>
              </a:extLst>
            </a:blip>
            <a:srcRect l="8276" t="25493" r="8278" b="26693"/>
            <a:stretch>
              <a:fillRect/>
            </a:stretch>
          </p:blipFill>
          <p:spPr>
            <a:xfrm>
              <a:off x="159112" y="2900898"/>
              <a:ext cx="4412888" cy="759931"/>
            </a:xfrm>
            <a:custGeom>
              <a:avLst/>
              <a:gdLst>
                <a:gd name="connsiteX0" fmla="*/ 0 w 4331608"/>
                <a:gd name="connsiteY0" fmla="*/ 0 h 745934"/>
                <a:gd name="connsiteX1" fmla="*/ 4331608 w 4331608"/>
                <a:gd name="connsiteY1" fmla="*/ 0 h 745934"/>
                <a:gd name="connsiteX2" fmla="*/ 4331608 w 4331608"/>
                <a:gd name="connsiteY2" fmla="*/ 745934 h 745934"/>
                <a:gd name="connsiteX3" fmla="*/ 0 w 4331608"/>
                <a:gd name="connsiteY3" fmla="*/ 745934 h 745934"/>
              </a:gdLst>
              <a:ahLst/>
              <a:cxnLst>
                <a:cxn ang="0">
                  <a:pos x="connsiteX0" y="connsiteY0"/>
                </a:cxn>
                <a:cxn ang="0">
                  <a:pos x="connsiteX1" y="connsiteY1"/>
                </a:cxn>
                <a:cxn ang="0">
                  <a:pos x="connsiteX2" y="connsiteY2"/>
                </a:cxn>
                <a:cxn ang="0">
                  <a:pos x="connsiteX3" y="connsiteY3"/>
                </a:cxn>
              </a:cxnLst>
              <a:rect l="l" t="t" r="r" b="b"/>
              <a:pathLst>
                <a:path w="4331608" h="745934">
                  <a:moveTo>
                    <a:pt x="0" y="0"/>
                  </a:moveTo>
                  <a:lnTo>
                    <a:pt x="4331608" y="0"/>
                  </a:lnTo>
                  <a:lnTo>
                    <a:pt x="4331608" y="745934"/>
                  </a:lnTo>
                  <a:lnTo>
                    <a:pt x="0" y="745934"/>
                  </a:lnTo>
                  <a:close/>
                </a:path>
              </a:pathLst>
            </a:custGeom>
          </p:spPr>
        </p:pic>
        <p:sp>
          <p:nvSpPr>
            <p:cNvPr id="15" name="Rectangle 14">
              <a:extLst>
                <a:ext uri="{FF2B5EF4-FFF2-40B4-BE49-F238E27FC236}">
                  <a16:creationId xmlns:a16="http://schemas.microsoft.com/office/drawing/2014/main" id="{41E03437-6059-484E-92B9-59608FA48094}"/>
                </a:ext>
              </a:extLst>
            </p:cNvPr>
            <p:cNvSpPr/>
            <p:nvPr/>
          </p:nvSpPr>
          <p:spPr>
            <a:xfrm>
              <a:off x="4826000" y="2877502"/>
              <a:ext cx="7089775" cy="684803"/>
            </a:xfrm>
            <a:prstGeom prst="rect">
              <a:avLst/>
            </a:prstGeom>
          </p:spPr>
          <p:txBody>
            <a:bodyPr wrap="square">
              <a:spAutoFit/>
            </a:bodyPr>
            <a:lstStyle/>
            <a:p>
              <a:pPr defTabSz="957756">
                <a:spcAft>
                  <a:spcPts val="300"/>
                </a:spcAft>
                <a:defRPr/>
              </a:pPr>
              <a:r>
                <a:rPr lang="en-US" sz="1200" dirty="0">
                  <a:cs typeface="Arial" panose="020B0604020202020204" pitchFamily="34" charset="0"/>
                </a:rPr>
                <a:t>Capgemini Invent is the Group’s digital innovation, consulting and transformation brand.</a:t>
              </a:r>
            </a:p>
            <a:p>
              <a:pPr defTabSz="957756">
                <a:spcAft>
                  <a:spcPts val="300"/>
                </a:spcAft>
                <a:defRPr/>
              </a:pPr>
              <a:r>
                <a:rPr lang="en-US" sz="1200" dirty="0">
                  <a:cs typeface="Arial" panose="020B0604020202020204" pitchFamily="34" charset="0"/>
                </a:rPr>
                <a:t>They bring to life what’s next for their clients by combining strategy, technology, data science and creative design.</a:t>
              </a:r>
            </a:p>
          </p:txBody>
        </p:sp>
      </p:grpSp>
      <p:cxnSp>
        <p:nvCxnSpPr>
          <p:cNvPr id="13" name="Straight Connector 12">
            <a:extLst>
              <a:ext uri="{FF2B5EF4-FFF2-40B4-BE49-F238E27FC236}">
                <a16:creationId xmlns:a16="http://schemas.microsoft.com/office/drawing/2014/main" id="{82D51FDD-8D2F-4912-A957-4FD741707F27}"/>
              </a:ext>
            </a:extLst>
          </p:cNvPr>
          <p:cNvCxnSpPr/>
          <p:nvPr/>
        </p:nvCxnSpPr>
        <p:spPr>
          <a:xfrm>
            <a:off x="241311" y="2570379"/>
            <a:ext cx="116744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A631D7F-E8B0-4E2A-8398-4A252F2BBC50}"/>
              </a:ext>
            </a:extLst>
          </p:cNvPr>
          <p:cNvCxnSpPr/>
          <p:nvPr/>
        </p:nvCxnSpPr>
        <p:spPr>
          <a:xfrm>
            <a:off x="241311" y="3787684"/>
            <a:ext cx="116744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9">
            <a:extLst>
              <a:ext uri="{FF2B5EF4-FFF2-40B4-BE49-F238E27FC236}">
                <a16:creationId xmlns:a16="http://schemas.microsoft.com/office/drawing/2014/main" id="{0A3DD3A0-12EB-4504-A2FB-CD69B43E55B7}"/>
              </a:ext>
            </a:extLst>
          </p:cNvPr>
          <p:cNvCxnSpPr/>
          <p:nvPr/>
        </p:nvCxnSpPr>
        <p:spPr>
          <a:xfrm>
            <a:off x="241311" y="5189810"/>
            <a:ext cx="116744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e 11">
            <a:extLst>
              <a:ext uri="{FF2B5EF4-FFF2-40B4-BE49-F238E27FC236}">
                <a16:creationId xmlns:a16="http://schemas.microsoft.com/office/drawing/2014/main" id="{548EC094-7552-46FC-B6A2-6A1039A4D994}"/>
              </a:ext>
            </a:extLst>
          </p:cNvPr>
          <p:cNvGrpSpPr/>
          <p:nvPr/>
        </p:nvGrpSpPr>
        <p:grpSpPr>
          <a:xfrm>
            <a:off x="1869904" y="5252967"/>
            <a:ext cx="9837129" cy="1209199"/>
            <a:chOff x="1869904" y="5196897"/>
            <a:chExt cx="9837129" cy="1209199"/>
          </a:xfrm>
        </p:grpSpPr>
        <p:sp>
          <p:nvSpPr>
            <p:cNvPr id="22" name="Rectangle 3">
              <a:extLst>
                <a:ext uri="{FF2B5EF4-FFF2-40B4-BE49-F238E27FC236}">
                  <a16:creationId xmlns:a16="http://schemas.microsoft.com/office/drawing/2014/main" id="{A93B0D1D-1875-413F-BBBD-A11D3A44AD18}"/>
                </a:ext>
              </a:extLst>
            </p:cNvPr>
            <p:cNvSpPr/>
            <p:nvPr/>
          </p:nvSpPr>
          <p:spPr>
            <a:xfrm>
              <a:off x="4820410" y="5478331"/>
              <a:ext cx="6886623" cy="646331"/>
            </a:xfrm>
            <a:prstGeom prst="rect">
              <a:avLst/>
            </a:prstGeom>
          </p:spPr>
          <p:txBody>
            <a:bodyPr wrap="square">
              <a:spAutoFit/>
            </a:bodyPr>
            <a:lstStyle/>
            <a:p>
              <a:pPr lvl="0" defTabSz="914616">
                <a:spcAft>
                  <a:spcPts val="300"/>
                </a:spcAft>
                <a:buClr>
                  <a:srgbClr val="0098CC"/>
                </a:buClr>
                <a:defRPr/>
              </a:pPr>
              <a:r>
                <a:rPr lang="en-US" sz="1200" dirty="0"/>
                <a:t>Altran is Capgemini Group's world leading provider of Engineering and R&amp;D services, with a portfolio of high-profile clients, extensive sector expertise and in-depth understanding of industrial business processes and operational technologies.</a:t>
              </a:r>
              <a:endParaRPr lang="en-US" sz="1200" dirty="0">
                <a:cs typeface="Arial" panose="020B0604020202020204" pitchFamily="34" charset="0"/>
              </a:endParaRPr>
            </a:p>
          </p:txBody>
        </p:sp>
        <p:pic>
          <p:nvPicPr>
            <p:cNvPr id="7" name="Image 6" descr="Une image contenant horloge&#10;&#10;Description générée automatiquement">
              <a:extLst>
                <a:ext uri="{FF2B5EF4-FFF2-40B4-BE49-F238E27FC236}">
                  <a16:creationId xmlns:a16="http://schemas.microsoft.com/office/drawing/2014/main" id="{7CF7FB28-7478-45F0-B2F0-B581708EB28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69904" y="5196897"/>
              <a:ext cx="2840400" cy="1209199"/>
            </a:xfrm>
            <a:prstGeom prst="rect">
              <a:avLst/>
            </a:prstGeom>
          </p:spPr>
        </p:pic>
      </p:grpSp>
    </p:spTree>
    <p:extLst>
      <p:ext uri="{BB962C8B-B14F-4D97-AF65-F5344CB8AC3E}">
        <p14:creationId xmlns:p14="http://schemas.microsoft.com/office/powerpoint/2010/main" val="40970769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EB4E693-2FF5-4243-A74D-607474C780CE}"/>
              </a:ext>
            </a:extLst>
          </p:cNvPr>
          <p:cNvSpPr txBox="1">
            <a:spLocks/>
          </p:cNvSpPr>
          <p:nvPr/>
        </p:nvSpPr>
        <p:spPr>
          <a:xfrm>
            <a:off x="6261905" y="1"/>
            <a:ext cx="5930096" cy="25001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nl-BE" sz="2400" dirty="0"/>
          </a:p>
          <a:p>
            <a:pPr>
              <a:lnSpc>
                <a:spcPct val="100000"/>
              </a:lnSpc>
              <a:spcBef>
                <a:spcPts val="0"/>
              </a:spcBef>
            </a:pPr>
            <a:endParaRPr lang="nl-BE" sz="2400" dirty="0"/>
          </a:p>
          <a:p>
            <a:pPr>
              <a:lnSpc>
                <a:spcPct val="100000"/>
              </a:lnSpc>
              <a:spcBef>
                <a:spcPts val="0"/>
              </a:spcBef>
            </a:pPr>
            <a:r>
              <a:rPr lang="nl-BE" sz="2400" dirty="0"/>
              <a:t>Thank You</a:t>
            </a:r>
          </a:p>
        </p:txBody>
      </p:sp>
    </p:spTree>
    <p:extLst>
      <p:ext uri="{BB962C8B-B14F-4D97-AF65-F5344CB8AC3E}">
        <p14:creationId xmlns:p14="http://schemas.microsoft.com/office/powerpoint/2010/main" val="298590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3280464" y="1754329"/>
            <a:ext cx="8732877" cy="4050193"/>
            <a:chOff x="3280464" y="1754329"/>
            <a:chExt cx="8732877" cy="4050193"/>
          </a:xfrm>
        </p:grpSpPr>
        <p:sp>
          <p:nvSpPr>
            <p:cNvPr id="54" name="Freeform 21">
              <a:extLst>
                <a:ext uri="{FF2B5EF4-FFF2-40B4-BE49-F238E27FC236}">
                  <a16:creationId xmlns:a16="http://schemas.microsoft.com/office/drawing/2014/main" id="{C5E6023A-519A-4935-9534-12542FE5FA3C}"/>
                </a:ext>
              </a:extLst>
            </p:cNvPr>
            <p:cNvSpPr>
              <a:spLocks/>
            </p:cNvSpPr>
            <p:nvPr/>
          </p:nvSpPr>
          <p:spPr bwMode="auto">
            <a:xfrm rot="20849031">
              <a:off x="3280464" y="3210357"/>
              <a:ext cx="8082341" cy="2594165"/>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bg1">
                  <a:lumMod val="75000"/>
                </a:schemeClr>
              </a:solidFill>
              <a:prstDash val="dash"/>
              <a:miter lim="800000"/>
              <a:headEnd/>
              <a:tailEnd/>
            </a:ln>
          </p:spPr>
          <p:txBody>
            <a:bodyPr vert="horz" wrap="square" lIns="137168" tIns="68584" rIns="137168" bIns="6858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grpSp>
          <p:nvGrpSpPr>
            <p:cNvPr id="59" name="Group 58">
              <a:extLst>
                <a:ext uri="{FF2B5EF4-FFF2-40B4-BE49-F238E27FC236}">
                  <a16:creationId xmlns:a16="http://schemas.microsoft.com/office/drawing/2014/main" id="{429242A4-4985-4E52-9448-FA11C2328EE9}"/>
                </a:ext>
              </a:extLst>
            </p:cNvPr>
            <p:cNvGrpSpPr/>
            <p:nvPr/>
          </p:nvGrpSpPr>
          <p:grpSpPr>
            <a:xfrm rot="20849031">
              <a:off x="10896319" y="1754329"/>
              <a:ext cx="1117022" cy="587841"/>
              <a:chOff x="10452101" y="1779589"/>
              <a:chExt cx="365125" cy="219075"/>
            </a:xfrm>
          </p:grpSpPr>
          <p:sp>
            <p:nvSpPr>
              <p:cNvPr id="72" name="Freeform 22">
                <a:extLst>
                  <a:ext uri="{FF2B5EF4-FFF2-40B4-BE49-F238E27FC236}">
                    <a16:creationId xmlns:a16="http://schemas.microsoft.com/office/drawing/2014/main" id="{1996D46C-C469-4D9A-937D-C5E3B7401515}"/>
                  </a:ext>
                </a:extLst>
              </p:cNvPr>
              <p:cNvSpPr>
                <a:spLocks/>
              </p:cNvSpPr>
              <p:nvPr/>
            </p:nvSpPr>
            <p:spPr bwMode="auto">
              <a:xfrm>
                <a:off x="10550526" y="1900239"/>
                <a:ext cx="112713" cy="98425"/>
              </a:xfrm>
              <a:custGeom>
                <a:avLst/>
                <a:gdLst>
                  <a:gd name="T0" fmla="*/ 71 w 71"/>
                  <a:gd name="T1" fmla="*/ 3 h 62"/>
                  <a:gd name="T2" fmla="*/ 0 w 71"/>
                  <a:gd name="T3" fmla="*/ 62 h 62"/>
                  <a:gd name="T4" fmla="*/ 14 w 71"/>
                  <a:gd name="T5" fmla="*/ 0 h 62"/>
                  <a:gd name="T6" fmla="*/ 71 w 71"/>
                  <a:gd name="T7" fmla="*/ 3 h 62"/>
                </a:gdLst>
                <a:ahLst/>
                <a:cxnLst>
                  <a:cxn ang="0">
                    <a:pos x="T0" y="T1"/>
                  </a:cxn>
                  <a:cxn ang="0">
                    <a:pos x="T2" y="T3"/>
                  </a:cxn>
                  <a:cxn ang="0">
                    <a:pos x="T4" y="T5"/>
                  </a:cxn>
                  <a:cxn ang="0">
                    <a:pos x="T6" y="T7"/>
                  </a:cxn>
                </a:cxnLst>
                <a:rect l="0" t="0" r="r" b="b"/>
                <a:pathLst>
                  <a:path w="71" h="62">
                    <a:moveTo>
                      <a:pt x="71" y="3"/>
                    </a:moveTo>
                    <a:lnTo>
                      <a:pt x="0" y="62"/>
                    </a:lnTo>
                    <a:lnTo>
                      <a:pt x="14" y="0"/>
                    </a:lnTo>
                    <a:lnTo>
                      <a:pt x="71" y="3"/>
                    </a:lnTo>
                    <a:close/>
                  </a:path>
                </a:pathLst>
              </a:custGeom>
              <a:solidFill>
                <a:schemeClr val="bg1">
                  <a:lumMod val="6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sp>
            <p:nvSpPr>
              <p:cNvPr id="73" name="Freeform 23">
                <a:extLst>
                  <a:ext uri="{FF2B5EF4-FFF2-40B4-BE49-F238E27FC236}">
                    <a16:creationId xmlns:a16="http://schemas.microsoft.com/office/drawing/2014/main" id="{B545ECF7-6C70-4598-B032-A0C635BFA6B3}"/>
                  </a:ext>
                </a:extLst>
              </p:cNvPr>
              <p:cNvSpPr>
                <a:spLocks/>
              </p:cNvSpPr>
              <p:nvPr/>
            </p:nvSpPr>
            <p:spPr bwMode="auto">
              <a:xfrm>
                <a:off x="10452101" y="1779589"/>
                <a:ext cx="365125" cy="188913"/>
              </a:xfrm>
              <a:custGeom>
                <a:avLst/>
                <a:gdLst>
                  <a:gd name="T0" fmla="*/ 230 w 230"/>
                  <a:gd name="T1" fmla="*/ 0 h 119"/>
                  <a:gd name="T2" fmla="*/ 0 w 230"/>
                  <a:gd name="T3" fmla="*/ 26 h 119"/>
                  <a:gd name="T4" fmla="*/ 140 w 230"/>
                  <a:gd name="T5" fmla="*/ 119 h 119"/>
                  <a:gd name="T6" fmla="*/ 230 w 230"/>
                  <a:gd name="T7" fmla="*/ 0 h 119"/>
                </a:gdLst>
                <a:ahLst/>
                <a:cxnLst>
                  <a:cxn ang="0">
                    <a:pos x="T0" y="T1"/>
                  </a:cxn>
                  <a:cxn ang="0">
                    <a:pos x="T2" y="T3"/>
                  </a:cxn>
                  <a:cxn ang="0">
                    <a:pos x="T4" y="T5"/>
                  </a:cxn>
                  <a:cxn ang="0">
                    <a:pos x="T6" y="T7"/>
                  </a:cxn>
                </a:cxnLst>
                <a:rect l="0" t="0" r="r" b="b"/>
                <a:pathLst>
                  <a:path w="230" h="119">
                    <a:moveTo>
                      <a:pt x="230" y="0"/>
                    </a:moveTo>
                    <a:lnTo>
                      <a:pt x="0" y="26"/>
                    </a:lnTo>
                    <a:lnTo>
                      <a:pt x="140" y="119"/>
                    </a:lnTo>
                    <a:lnTo>
                      <a:pt x="230" y="0"/>
                    </a:lnTo>
                    <a:close/>
                  </a:path>
                </a:pathLst>
              </a:custGeom>
              <a:solidFill>
                <a:schemeClr val="bg1">
                  <a:lumMod val="8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sp>
            <p:nvSpPr>
              <p:cNvPr id="74" name="Freeform 24">
                <a:extLst>
                  <a:ext uri="{FF2B5EF4-FFF2-40B4-BE49-F238E27FC236}">
                    <a16:creationId xmlns:a16="http://schemas.microsoft.com/office/drawing/2014/main" id="{1946F879-7AA2-4EAC-A506-02CCCD754638}"/>
                  </a:ext>
                </a:extLst>
              </p:cNvPr>
              <p:cNvSpPr>
                <a:spLocks/>
              </p:cNvSpPr>
              <p:nvPr/>
            </p:nvSpPr>
            <p:spPr bwMode="auto">
              <a:xfrm>
                <a:off x="10531476" y="1792289"/>
                <a:ext cx="258763" cy="206375"/>
              </a:xfrm>
              <a:custGeom>
                <a:avLst/>
                <a:gdLst>
                  <a:gd name="T0" fmla="*/ 163 w 163"/>
                  <a:gd name="T1" fmla="*/ 0 h 130"/>
                  <a:gd name="T2" fmla="*/ 0 w 163"/>
                  <a:gd name="T3" fmla="*/ 52 h 130"/>
                  <a:gd name="T4" fmla="*/ 12 w 163"/>
                  <a:gd name="T5" fmla="*/ 130 h 130"/>
                  <a:gd name="T6" fmla="*/ 26 w 163"/>
                  <a:gd name="T7" fmla="*/ 68 h 130"/>
                  <a:gd name="T8" fmla="*/ 163 w 163"/>
                  <a:gd name="T9" fmla="*/ 0 h 130"/>
                </a:gdLst>
                <a:ahLst/>
                <a:cxnLst>
                  <a:cxn ang="0">
                    <a:pos x="T0" y="T1"/>
                  </a:cxn>
                  <a:cxn ang="0">
                    <a:pos x="T2" y="T3"/>
                  </a:cxn>
                  <a:cxn ang="0">
                    <a:pos x="T4" y="T5"/>
                  </a:cxn>
                  <a:cxn ang="0">
                    <a:pos x="T6" y="T7"/>
                  </a:cxn>
                  <a:cxn ang="0">
                    <a:pos x="T8" y="T9"/>
                  </a:cxn>
                </a:cxnLst>
                <a:rect l="0" t="0" r="r" b="b"/>
                <a:pathLst>
                  <a:path w="163" h="130">
                    <a:moveTo>
                      <a:pt x="163" y="0"/>
                    </a:moveTo>
                    <a:lnTo>
                      <a:pt x="0" y="52"/>
                    </a:lnTo>
                    <a:lnTo>
                      <a:pt x="12" y="130"/>
                    </a:lnTo>
                    <a:lnTo>
                      <a:pt x="26" y="68"/>
                    </a:lnTo>
                    <a:lnTo>
                      <a:pt x="163" y="0"/>
                    </a:ln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grpSp>
      </p:grpSp>
      <p:sp>
        <p:nvSpPr>
          <p:cNvPr id="3" name="Title 2">
            <a:extLst>
              <a:ext uri="{FF2B5EF4-FFF2-40B4-BE49-F238E27FC236}">
                <a16:creationId xmlns:a16="http://schemas.microsoft.com/office/drawing/2014/main" id="{942AB1D5-F375-43AA-9806-1047DCA0D4F8}"/>
              </a:ext>
            </a:extLst>
          </p:cNvPr>
          <p:cNvSpPr>
            <a:spLocks noGrp="1"/>
          </p:cNvSpPr>
          <p:nvPr>
            <p:ph type="title"/>
          </p:nvPr>
        </p:nvSpPr>
        <p:spPr>
          <a:xfrm>
            <a:off x="288366" y="162755"/>
            <a:ext cx="11118573" cy="844589"/>
          </a:xfrm>
        </p:spPr>
        <p:txBody>
          <a:bodyPr/>
          <a:lstStyle/>
          <a:p>
            <a:r>
              <a:rPr lang="en-IN" sz="2200" dirty="0"/>
              <a:t>Leading insights on global wealth management industry</a:t>
            </a:r>
          </a:p>
        </p:txBody>
      </p:sp>
      <p:grpSp>
        <p:nvGrpSpPr>
          <p:cNvPr id="87" name="Group 86">
            <a:extLst>
              <a:ext uri="{FF2B5EF4-FFF2-40B4-BE49-F238E27FC236}">
                <a16:creationId xmlns:a16="http://schemas.microsoft.com/office/drawing/2014/main" id="{5204D524-F2B7-4778-9173-5F8DDA1B1232}"/>
              </a:ext>
            </a:extLst>
          </p:cNvPr>
          <p:cNvGrpSpPr/>
          <p:nvPr/>
        </p:nvGrpSpPr>
        <p:grpSpPr>
          <a:xfrm>
            <a:off x="4239763" y="736250"/>
            <a:ext cx="6536971" cy="2161694"/>
            <a:chOff x="4304684" y="1104899"/>
            <a:chExt cx="6536971" cy="2161694"/>
          </a:xfrm>
        </p:grpSpPr>
        <p:pic>
          <p:nvPicPr>
            <p:cNvPr id="12290" name="Picture 2" descr="Free Laurel Wreath Png, Download Free Clip Art, Free Clip Art on ...">
              <a:extLst>
                <a:ext uri="{FF2B5EF4-FFF2-40B4-BE49-F238E27FC236}">
                  <a16:creationId xmlns:a16="http://schemas.microsoft.com/office/drawing/2014/main" id="{52EEE083-D162-41DE-9D35-6DCC1BF370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04684" y="1104899"/>
              <a:ext cx="1772482" cy="1692859"/>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8F75CC4-2092-4AFA-82A6-9F2FF798BB8B}"/>
                </a:ext>
              </a:extLst>
            </p:cNvPr>
            <p:cNvSpPr txBox="1"/>
            <p:nvPr/>
          </p:nvSpPr>
          <p:spPr>
            <a:xfrm>
              <a:off x="4401759" y="1453884"/>
              <a:ext cx="157833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dirty="0">
                  <a:ln>
                    <a:noFill/>
                  </a:ln>
                  <a:solidFill>
                    <a:srgbClr val="95E616"/>
                  </a:solidFill>
                  <a:effectLst/>
                  <a:uLnTx/>
                  <a:uFillTx/>
                  <a:latin typeface="Verdana"/>
                  <a:ea typeface="+mn-ea"/>
                  <a:cs typeface="+mn-cs"/>
                </a:rPr>
                <a:t>24</a:t>
              </a:r>
              <a:r>
                <a:rPr kumimoji="0" lang="en-IN" sz="3600" b="1" i="0" u="none" strike="noStrike" kern="1200" cap="none" spc="0" normalizeH="0" baseline="30000" noProof="0" dirty="0">
                  <a:ln>
                    <a:noFill/>
                  </a:ln>
                  <a:solidFill>
                    <a:srgbClr val="95E616"/>
                  </a:solidFill>
                  <a:effectLst/>
                  <a:uLnTx/>
                  <a:uFillTx/>
                  <a:latin typeface="Verdana"/>
                  <a:ea typeface="+mn-ea"/>
                  <a:cs typeface="+mn-cs"/>
                </a:rPr>
                <a:t>th</a:t>
              </a:r>
              <a:r>
                <a:rPr kumimoji="0" lang="en-IN" sz="1800" b="1" i="0" u="none" strike="noStrike" kern="1200" cap="none" spc="0" normalizeH="0" baseline="0" noProof="0" dirty="0">
                  <a:ln>
                    <a:noFill/>
                  </a:ln>
                  <a:solidFill>
                    <a:srgbClr val="95E616"/>
                  </a:solidFill>
                  <a:effectLst/>
                  <a:uLnTx/>
                  <a:uFillTx/>
                  <a:latin typeface="Verdana"/>
                  <a:ea typeface="+mn-ea"/>
                  <a:cs typeface="+mn-cs"/>
                </a:rPr>
                <a:t> edition</a:t>
              </a:r>
            </a:p>
          </p:txBody>
        </p:sp>
        <p:grpSp>
          <p:nvGrpSpPr>
            <p:cNvPr id="84" name="Group 83">
              <a:extLst>
                <a:ext uri="{FF2B5EF4-FFF2-40B4-BE49-F238E27FC236}">
                  <a16:creationId xmlns:a16="http://schemas.microsoft.com/office/drawing/2014/main" id="{421E920C-D18A-4F52-89A9-9ACAB33544B9}"/>
                </a:ext>
              </a:extLst>
            </p:cNvPr>
            <p:cNvGrpSpPr/>
            <p:nvPr/>
          </p:nvGrpSpPr>
          <p:grpSpPr>
            <a:xfrm>
              <a:off x="5013795" y="2784837"/>
              <a:ext cx="5355526" cy="481756"/>
              <a:chOff x="6368855" y="1460475"/>
              <a:chExt cx="6288683" cy="481756"/>
            </a:xfrm>
          </p:grpSpPr>
          <p:sp>
            <p:nvSpPr>
              <p:cNvPr id="77" name="Oval 76">
                <a:extLst>
                  <a:ext uri="{FF2B5EF4-FFF2-40B4-BE49-F238E27FC236}">
                    <a16:creationId xmlns:a16="http://schemas.microsoft.com/office/drawing/2014/main" id="{477E1D01-1501-4C2E-A6BA-32FDD8073D84}"/>
                  </a:ext>
                </a:extLst>
              </p:cNvPr>
              <p:cNvSpPr/>
              <p:nvPr/>
            </p:nvSpPr>
            <p:spPr>
              <a:xfrm>
                <a:off x="6368855" y="1460475"/>
                <a:ext cx="390407" cy="33247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2" name="Elbow Connector 64">
                <a:extLst>
                  <a:ext uri="{FF2B5EF4-FFF2-40B4-BE49-F238E27FC236}">
                    <a16:creationId xmlns:a16="http://schemas.microsoft.com/office/drawing/2014/main" id="{1351CC98-0FE4-4F01-921A-1A42746B78D5}"/>
                  </a:ext>
                </a:extLst>
              </p:cNvPr>
              <p:cNvCxnSpPr>
                <a:cxnSpLocks/>
                <a:stCxn id="77" idx="4"/>
              </p:cNvCxnSpPr>
              <p:nvPr/>
            </p:nvCxnSpPr>
            <p:spPr>
              <a:xfrm rot="16200000" flipH="1">
                <a:off x="9536158" y="-1179149"/>
                <a:ext cx="149280" cy="6093480"/>
              </a:xfrm>
              <a:prstGeom prst="bentConnector2">
                <a:avLst/>
              </a:prstGeom>
              <a:ln w="19050">
                <a:solidFill>
                  <a:schemeClr val="accent1"/>
                </a:solidFill>
              </a:ln>
            </p:spPr>
            <p:style>
              <a:lnRef idx="1">
                <a:schemeClr val="accent1">
                  <a:hueOff val="0"/>
                  <a:satOff val="0"/>
                  <a:lumOff val="0"/>
                  <a:alphaOff val="0"/>
                </a:schemeClr>
              </a:lnRef>
              <a:fillRef idx="0">
                <a:schemeClr val="accent1">
                  <a:hueOff val="0"/>
                  <a:satOff val="0"/>
                  <a:lumOff val="0"/>
                  <a:alphaOff val="0"/>
                </a:schemeClr>
              </a:fillRef>
              <a:effectRef idx="1">
                <a:schemeClr val="accent1">
                  <a:hueOff val="0"/>
                  <a:satOff val="0"/>
                  <a:lumOff val="0"/>
                  <a:alphaOff val="0"/>
                </a:schemeClr>
              </a:effectRef>
              <a:fontRef idx="minor">
                <a:schemeClr val="tx1">
                  <a:hueOff val="0"/>
                  <a:satOff val="0"/>
                  <a:lumOff val="0"/>
                  <a:alphaOff val="0"/>
                </a:schemeClr>
              </a:fontRef>
            </p:style>
          </p:cxnSp>
        </p:grpSp>
        <p:sp>
          <p:nvSpPr>
            <p:cNvPr id="85" name="TextBox 84">
              <a:extLst>
                <a:ext uri="{FF2B5EF4-FFF2-40B4-BE49-F238E27FC236}">
                  <a16:creationId xmlns:a16="http://schemas.microsoft.com/office/drawing/2014/main" id="{17414DF6-7B60-4BF7-88CC-ED22DCD98554}"/>
                </a:ext>
              </a:extLst>
            </p:cNvPr>
            <p:cNvSpPr txBox="1"/>
            <p:nvPr/>
          </p:nvSpPr>
          <p:spPr>
            <a:xfrm>
              <a:off x="5593920" y="2590252"/>
              <a:ext cx="524773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Maximize impact during uncertainty through sharp focus”</a:t>
              </a:r>
            </a:p>
          </p:txBody>
        </p:sp>
      </p:grpSp>
      <p:sp>
        <p:nvSpPr>
          <p:cNvPr id="88" name="TextBox 87">
            <a:extLst>
              <a:ext uri="{FF2B5EF4-FFF2-40B4-BE49-F238E27FC236}">
                <a16:creationId xmlns:a16="http://schemas.microsoft.com/office/drawing/2014/main" id="{161E66DD-37B2-4BE3-9397-070349B1080D}"/>
              </a:ext>
            </a:extLst>
          </p:cNvPr>
          <p:cNvSpPr txBox="1"/>
          <p:nvPr/>
        </p:nvSpPr>
        <p:spPr>
          <a:xfrm>
            <a:off x="4555016" y="5743359"/>
            <a:ext cx="228620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70+ </a:t>
            </a:r>
            <a:r>
              <a:rPr kumimoji="0" lang="en-IN" sz="1200" b="0" i="0" u="none" strike="noStrike" kern="1200" cap="none" spc="0" normalizeH="0" baseline="0" noProof="0" dirty="0">
                <a:ln>
                  <a:noFill/>
                </a:ln>
                <a:solidFill>
                  <a:prstClr val="black"/>
                </a:solidFill>
                <a:effectLst/>
                <a:uLnTx/>
                <a:uFillTx/>
                <a:latin typeface="Verdana"/>
                <a:ea typeface="+mn-ea"/>
                <a:cs typeface="+mn-cs"/>
              </a:rPr>
              <a:t>wealth management executives participated through surveys and interviews</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TextBox 89">
            <a:extLst>
              <a:ext uri="{FF2B5EF4-FFF2-40B4-BE49-F238E27FC236}">
                <a16:creationId xmlns:a16="http://schemas.microsoft.com/office/drawing/2014/main" id="{09F46E6C-B98A-498B-9AA9-3A8EE502B151}"/>
              </a:ext>
            </a:extLst>
          </p:cNvPr>
          <p:cNvSpPr txBox="1"/>
          <p:nvPr/>
        </p:nvSpPr>
        <p:spPr>
          <a:xfrm>
            <a:off x="6866513" y="5266193"/>
            <a:ext cx="17724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20+ </a:t>
            </a:r>
            <a:r>
              <a:rPr kumimoji="0" lang="en-IN" sz="1200" b="0" i="0" u="none" strike="noStrike" kern="1200" cap="none" spc="0" normalizeH="0" baseline="0" noProof="0" dirty="0">
                <a:ln>
                  <a:noFill/>
                </a:ln>
                <a:solidFill>
                  <a:prstClr val="black"/>
                </a:solidFill>
                <a:effectLst/>
                <a:uLnTx/>
                <a:uFillTx/>
                <a:latin typeface="Verdana"/>
                <a:ea typeface="+mn-ea"/>
                <a:cs typeface="+mn-cs"/>
              </a:rPr>
              <a:t>markets covered across Americas, EU, APAC and Middle East</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TextBox 90">
            <a:extLst>
              <a:ext uri="{FF2B5EF4-FFF2-40B4-BE49-F238E27FC236}">
                <a16:creationId xmlns:a16="http://schemas.microsoft.com/office/drawing/2014/main" id="{A3C44D3C-1724-4E8F-947F-A005A1F19CB0}"/>
              </a:ext>
            </a:extLst>
          </p:cNvPr>
          <p:cNvSpPr txBox="1"/>
          <p:nvPr/>
        </p:nvSpPr>
        <p:spPr>
          <a:xfrm>
            <a:off x="8188617" y="4142391"/>
            <a:ext cx="17724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10+ </a:t>
            </a:r>
            <a:r>
              <a:rPr kumimoji="0" lang="en-IN" sz="1200" b="0" i="0" u="none" strike="noStrike" kern="1200" cap="none" spc="0" normalizeH="0" baseline="0" noProof="0" dirty="0">
                <a:ln>
                  <a:noFill/>
                </a:ln>
                <a:solidFill>
                  <a:prstClr val="black"/>
                </a:solidFill>
                <a:effectLst/>
                <a:uLnTx/>
                <a:uFillTx/>
                <a:latin typeface="Verdana"/>
                <a:ea typeface="+mn-ea"/>
                <a:cs typeface="+mn-cs"/>
              </a:rPr>
              <a:t>quo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Verdana"/>
                <a:ea typeface="+mn-ea"/>
                <a:cs typeface="+mn-cs"/>
              </a:rPr>
              <a:t>from top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solidFill>
                  <a:prstClr val="black"/>
                </a:solidFill>
                <a:latin typeface="Verdana"/>
              </a:rPr>
              <a:t>b</a:t>
            </a:r>
            <a:r>
              <a:rPr kumimoji="0" lang="en-IN" sz="1200" b="0" i="0" u="none" strike="noStrike" kern="1200" cap="none" spc="0" normalizeH="0" baseline="0" noProof="0" dirty="0" err="1">
                <a:ln>
                  <a:noFill/>
                </a:ln>
                <a:solidFill>
                  <a:prstClr val="black"/>
                </a:solidFill>
                <a:effectLst/>
                <a:uLnTx/>
                <a:uFillTx/>
                <a:latin typeface="Verdana"/>
                <a:ea typeface="+mn-ea"/>
                <a:cs typeface="+mn-cs"/>
              </a:rPr>
              <a:t>anks</a:t>
            </a:r>
            <a:r>
              <a:rPr kumimoji="0" lang="en-IN" sz="1200" b="0" i="0" u="none" strike="noStrike" kern="1200" cap="none" spc="0" normalizeH="0" baseline="0" noProof="0" dirty="0">
                <a:ln>
                  <a:noFill/>
                </a:ln>
                <a:solidFill>
                  <a:prstClr val="black"/>
                </a:solidFill>
                <a:effectLst/>
                <a:uLnTx/>
                <a:uFillTx/>
                <a:latin typeface="Verdana"/>
                <a:ea typeface="+mn-ea"/>
                <a:cs typeface="+mn-cs"/>
              </a:rPr>
              <a:t>’ executives</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grpSp>
        <p:nvGrpSpPr>
          <p:cNvPr id="32" name="Group 31"/>
          <p:cNvGrpSpPr/>
          <p:nvPr/>
        </p:nvGrpSpPr>
        <p:grpSpPr>
          <a:xfrm>
            <a:off x="9769154" y="3078431"/>
            <a:ext cx="2392517" cy="2251245"/>
            <a:chOff x="9769154" y="3027222"/>
            <a:chExt cx="2392517" cy="2251245"/>
          </a:xfrm>
        </p:grpSpPr>
        <p:sp>
          <p:nvSpPr>
            <p:cNvPr id="92" name="TextBox 91">
              <a:extLst>
                <a:ext uri="{FF2B5EF4-FFF2-40B4-BE49-F238E27FC236}">
                  <a16:creationId xmlns:a16="http://schemas.microsoft.com/office/drawing/2014/main" id="{D4A80CB8-29CE-40AE-9851-69E83D6FD5AC}"/>
                </a:ext>
              </a:extLst>
            </p:cNvPr>
            <p:cNvSpPr txBox="1"/>
            <p:nvPr/>
          </p:nvSpPr>
          <p:spPr>
            <a:xfrm>
              <a:off x="9797573" y="3985805"/>
              <a:ext cx="2364098"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prstClr val="black"/>
                  </a:solidFill>
                </a:rPr>
                <a:t>Digital Wealth Advisor platform</a:t>
              </a:r>
            </a:p>
            <a:p>
              <a:pPr marL="171450" indent="-171450">
                <a:buFont typeface="Arial" panose="020B0604020202020204" pitchFamily="34" charset="0"/>
                <a:buChar char="•"/>
                <a:defRPr/>
              </a:pPr>
              <a:r>
                <a:rPr lang="en-IN" sz="1200" dirty="0">
                  <a:solidFill>
                    <a:prstClr val="black"/>
                  </a:solidFill>
                </a:rPr>
                <a:t>Innovation as a service with scaleu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6" name="Group 125">
              <a:extLst>
                <a:ext uri="{FF2B5EF4-FFF2-40B4-BE49-F238E27FC236}">
                  <a16:creationId xmlns:a16="http://schemas.microsoft.com/office/drawing/2014/main" id="{466D6F9B-9C50-4FAF-9D36-2A419BB17509}"/>
                </a:ext>
              </a:extLst>
            </p:cNvPr>
            <p:cNvGrpSpPr/>
            <p:nvPr/>
          </p:nvGrpSpPr>
          <p:grpSpPr>
            <a:xfrm>
              <a:off x="9769154" y="3027222"/>
              <a:ext cx="985019" cy="927890"/>
              <a:chOff x="8653955" y="2637000"/>
              <a:chExt cx="767626" cy="720000"/>
            </a:xfrm>
          </p:grpSpPr>
          <p:sp>
            <p:nvSpPr>
              <p:cNvPr id="127" name="Freeform 117">
                <a:extLst>
                  <a:ext uri="{FF2B5EF4-FFF2-40B4-BE49-F238E27FC236}">
                    <a16:creationId xmlns:a16="http://schemas.microsoft.com/office/drawing/2014/main" id="{B580F7A8-AFF1-48B4-A365-151C4F69C4B0}"/>
                  </a:ext>
                </a:extLst>
              </p:cNvPr>
              <p:cNvSpPr>
                <a:spLocks/>
              </p:cNvSpPr>
              <p:nvPr/>
            </p:nvSpPr>
            <p:spPr bwMode="auto">
              <a:xfrm>
                <a:off x="8653955" y="2637000"/>
                <a:ext cx="767626" cy="720000"/>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118">
                <a:extLst>
                  <a:ext uri="{FF2B5EF4-FFF2-40B4-BE49-F238E27FC236}">
                    <a16:creationId xmlns:a16="http://schemas.microsoft.com/office/drawing/2014/main" id="{AE3D5898-FE07-44AF-B0EC-FB669DF25A09}"/>
                  </a:ext>
                </a:extLst>
              </p:cNvPr>
              <p:cNvSpPr>
                <a:spLocks noEditPoints="1"/>
              </p:cNvSpPr>
              <p:nvPr/>
            </p:nvSpPr>
            <p:spPr bwMode="auto">
              <a:xfrm>
                <a:off x="8831853" y="3053030"/>
                <a:ext cx="414630" cy="198911"/>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119">
                <a:extLst>
                  <a:ext uri="{FF2B5EF4-FFF2-40B4-BE49-F238E27FC236}">
                    <a16:creationId xmlns:a16="http://schemas.microsoft.com/office/drawing/2014/main" id="{8C2544C4-9EBC-4AB2-B4ED-EE42D1DD695D}"/>
                  </a:ext>
                </a:extLst>
              </p:cNvPr>
              <p:cNvSpPr>
                <a:spLocks/>
              </p:cNvSpPr>
              <p:nvPr/>
            </p:nvSpPr>
            <p:spPr bwMode="auto">
              <a:xfrm>
                <a:off x="8928507" y="2760268"/>
                <a:ext cx="221323" cy="218522"/>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120">
                <a:extLst>
                  <a:ext uri="{FF2B5EF4-FFF2-40B4-BE49-F238E27FC236}">
                    <a16:creationId xmlns:a16="http://schemas.microsoft.com/office/drawing/2014/main" id="{F3705A56-8A10-463A-83A5-5C9E2D3705A0}"/>
                  </a:ext>
                </a:extLst>
              </p:cNvPr>
              <p:cNvSpPr>
                <a:spLocks/>
              </p:cNvSpPr>
              <p:nvPr/>
            </p:nvSpPr>
            <p:spPr bwMode="auto">
              <a:xfrm>
                <a:off x="8945316" y="2959179"/>
                <a:ext cx="89650" cy="82646"/>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121">
                <a:extLst>
                  <a:ext uri="{FF2B5EF4-FFF2-40B4-BE49-F238E27FC236}">
                    <a16:creationId xmlns:a16="http://schemas.microsoft.com/office/drawing/2014/main" id="{EE2FE703-1D21-4012-839A-48E8061C5EFA}"/>
                  </a:ext>
                </a:extLst>
              </p:cNvPr>
              <p:cNvSpPr>
                <a:spLocks/>
              </p:cNvSpPr>
              <p:nvPr/>
            </p:nvSpPr>
            <p:spPr bwMode="auto">
              <a:xfrm>
                <a:off x="9040569" y="2959179"/>
                <a:ext cx="89650" cy="82646"/>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122">
                <a:extLst>
                  <a:ext uri="{FF2B5EF4-FFF2-40B4-BE49-F238E27FC236}">
                    <a16:creationId xmlns:a16="http://schemas.microsoft.com/office/drawing/2014/main" id="{ECCEADCC-CCD6-452F-9D08-9E6418243DEF}"/>
                  </a:ext>
                </a:extLst>
              </p:cNvPr>
              <p:cNvSpPr>
                <a:spLocks/>
              </p:cNvSpPr>
              <p:nvPr/>
            </p:nvSpPr>
            <p:spPr bwMode="auto">
              <a:xfrm>
                <a:off x="8984538" y="2784081"/>
                <a:ext cx="149884" cy="135875"/>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89" name="Group 88">
            <a:extLst>
              <a:ext uri="{FF2B5EF4-FFF2-40B4-BE49-F238E27FC236}">
                <a16:creationId xmlns:a16="http://schemas.microsoft.com/office/drawing/2014/main" id="{1C3588AB-230E-415E-BEE7-0740B357E783}"/>
              </a:ext>
            </a:extLst>
          </p:cNvPr>
          <p:cNvGrpSpPr/>
          <p:nvPr/>
        </p:nvGrpSpPr>
        <p:grpSpPr>
          <a:xfrm>
            <a:off x="4899285" y="4812683"/>
            <a:ext cx="985019" cy="994321"/>
            <a:chOff x="4691074" y="4688724"/>
            <a:chExt cx="766640" cy="720000"/>
          </a:xfrm>
        </p:grpSpPr>
        <p:sp>
          <p:nvSpPr>
            <p:cNvPr id="93" name="Freeform 21">
              <a:extLst>
                <a:ext uri="{FF2B5EF4-FFF2-40B4-BE49-F238E27FC236}">
                  <a16:creationId xmlns:a16="http://schemas.microsoft.com/office/drawing/2014/main" id="{9DFB7409-ACEF-4718-A1E7-0EE92A56BD3D}"/>
                </a:ext>
              </a:extLst>
            </p:cNvPr>
            <p:cNvSpPr>
              <a:spLocks/>
            </p:cNvSpPr>
            <p:nvPr/>
          </p:nvSpPr>
          <p:spPr bwMode="auto">
            <a:xfrm>
              <a:off x="4691074" y="4688724"/>
              <a:ext cx="766640" cy="720000"/>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94" name="Groupe 404">
              <a:extLst>
                <a:ext uri="{FF2B5EF4-FFF2-40B4-BE49-F238E27FC236}">
                  <a16:creationId xmlns:a16="http://schemas.microsoft.com/office/drawing/2014/main" id="{1E4C233A-8DA1-4D4C-9FD0-92DC8C86FC21}"/>
                </a:ext>
              </a:extLst>
            </p:cNvPr>
            <p:cNvGrpSpPr/>
            <p:nvPr/>
          </p:nvGrpSpPr>
          <p:grpSpPr>
            <a:xfrm>
              <a:off x="4847919" y="4849639"/>
              <a:ext cx="459045" cy="380004"/>
              <a:chOff x="4838050" y="1170254"/>
              <a:chExt cx="540662" cy="447568"/>
            </a:xfrm>
          </p:grpSpPr>
          <p:sp>
            <p:nvSpPr>
              <p:cNvPr id="95" name="Freeform 68">
                <a:extLst>
                  <a:ext uri="{FF2B5EF4-FFF2-40B4-BE49-F238E27FC236}">
                    <a16:creationId xmlns:a16="http://schemas.microsoft.com/office/drawing/2014/main" id="{68096B51-D342-444E-8D25-C8DBDB9E286D}"/>
                  </a:ext>
                </a:extLst>
              </p:cNvPr>
              <p:cNvSpPr>
                <a:spLocks/>
              </p:cNvSpPr>
              <p:nvPr/>
            </p:nvSpPr>
            <p:spPr bwMode="auto">
              <a:xfrm>
                <a:off x="5061834" y="1170254"/>
                <a:ext cx="93094" cy="107416"/>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69">
                <a:extLst>
                  <a:ext uri="{FF2B5EF4-FFF2-40B4-BE49-F238E27FC236}">
                    <a16:creationId xmlns:a16="http://schemas.microsoft.com/office/drawing/2014/main" id="{5C814E3C-78B0-44CE-BDD8-A9AE667A2143}"/>
                  </a:ext>
                </a:extLst>
              </p:cNvPr>
              <p:cNvSpPr>
                <a:spLocks/>
              </p:cNvSpPr>
              <p:nvPr/>
            </p:nvSpPr>
            <p:spPr bwMode="auto">
              <a:xfrm>
                <a:off x="5099430" y="1285727"/>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70">
                <a:extLst>
                  <a:ext uri="{FF2B5EF4-FFF2-40B4-BE49-F238E27FC236}">
                    <a16:creationId xmlns:a16="http://schemas.microsoft.com/office/drawing/2014/main" id="{BE3BD262-2370-4035-B187-8C6B4D0CF5F2}"/>
                  </a:ext>
                </a:extLst>
              </p:cNvPr>
              <p:cNvSpPr>
                <a:spLocks/>
              </p:cNvSpPr>
              <p:nvPr/>
            </p:nvSpPr>
            <p:spPr bwMode="auto">
              <a:xfrm>
                <a:off x="5029609" y="1285727"/>
                <a:ext cx="158439" cy="88619"/>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Oval 71">
                <a:extLst>
                  <a:ext uri="{FF2B5EF4-FFF2-40B4-BE49-F238E27FC236}">
                    <a16:creationId xmlns:a16="http://schemas.microsoft.com/office/drawing/2014/main" id="{D2F9B541-B099-430A-94C4-C02CCD21F3FE}"/>
                  </a:ext>
                </a:extLst>
              </p:cNvPr>
              <p:cNvSpPr>
                <a:spLocks noChangeArrowheads="1"/>
              </p:cNvSpPr>
              <p:nvPr/>
            </p:nvSpPr>
            <p:spPr bwMode="auto">
              <a:xfrm>
                <a:off x="4842525" y="1223962"/>
                <a:ext cx="99360"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72">
                <a:extLst>
                  <a:ext uri="{FF2B5EF4-FFF2-40B4-BE49-F238E27FC236}">
                    <a16:creationId xmlns:a16="http://schemas.microsoft.com/office/drawing/2014/main" id="{02EDBC4F-3961-4F04-9FD2-B896C7719CF6}"/>
                  </a:ext>
                </a:extLst>
              </p:cNvPr>
              <p:cNvSpPr>
                <a:spLocks/>
              </p:cNvSpPr>
              <p:nvPr/>
            </p:nvSpPr>
            <p:spPr bwMode="auto">
              <a:xfrm>
                <a:off x="4838050" y="1343910"/>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0" name="Oval 73">
                <a:extLst>
                  <a:ext uri="{FF2B5EF4-FFF2-40B4-BE49-F238E27FC236}">
                    <a16:creationId xmlns:a16="http://schemas.microsoft.com/office/drawing/2014/main" id="{37401D5D-FD2B-4D52-B823-394FABFA81FE}"/>
                  </a:ext>
                </a:extLst>
              </p:cNvPr>
              <p:cNvSpPr>
                <a:spLocks noChangeArrowheads="1"/>
              </p:cNvSpPr>
              <p:nvPr/>
            </p:nvSpPr>
            <p:spPr bwMode="auto">
              <a:xfrm>
                <a:off x="5276068" y="1223962"/>
                <a:ext cx="100255"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74">
                <a:extLst>
                  <a:ext uri="{FF2B5EF4-FFF2-40B4-BE49-F238E27FC236}">
                    <a16:creationId xmlns:a16="http://schemas.microsoft.com/office/drawing/2014/main" id="{47B3BD26-8B57-4A6C-A915-D7C075160C14}"/>
                  </a:ext>
                </a:extLst>
              </p:cNvPr>
              <p:cNvSpPr>
                <a:spLocks/>
              </p:cNvSpPr>
              <p:nvPr/>
            </p:nvSpPr>
            <p:spPr bwMode="auto">
              <a:xfrm>
                <a:off x="5223853" y="1343910"/>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Rectangle 75">
                <a:extLst>
                  <a:ext uri="{FF2B5EF4-FFF2-40B4-BE49-F238E27FC236}">
                    <a16:creationId xmlns:a16="http://schemas.microsoft.com/office/drawing/2014/main" id="{9FF33ABF-074A-4DCC-87FD-96AE7AC09CD1}"/>
                  </a:ext>
                </a:extLst>
              </p:cNvPr>
              <p:cNvSpPr>
                <a:spLocks noChangeArrowheads="1"/>
              </p:cNvSpPr>
              <p:nvPr/>
            </p:nvSpPr>
            <p:spPr bwMode="auto">
              <a:xfrm>
                <a:off x="5009916" y="1447746"/>
                <a:ext cx="196930" cy="17007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76">
                <a:extLst>
                  <a:ext uri="{FF2B5EF4-FFF2-40B4-BE49-F238E27FC236}">
                    <a16:creationId xmlns:a16="http://schemas.microsoft.com/office/drawing/2014/main" id="{0D508080-7AC2-4302-BE45-8EC89BD49D11}"/>
                  </a:ext>
                </a:extLst>
              </p:cNvPr>
              <p:cNvSpPr>
                <a:spLocks/>
              </p:cNvSpPr>
              <p:nvPr/>
            </p:nvSpPr>
            <p:spPr bwMode="auto">
              <a:xfrm>
                <a:off x="4955313" y="1387772"/>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2" name="Groupe 1041">
            <a:extLst>
              <a:ext uri="{FF2B5EF4-FFF2-40B4-BE49-F238E27FC236}">
                <a16:creationId xmlns:a16="http://schemas.microsoft.com/office/drawing/2014/main" id="{90E68231-7BA2-4B1E-856B-2C8729875486}"/>
              </a:ext>
            </a:extLst>
          </p:cNvPr>
          <p:cNvGrpSpPr>
            <a:grpSpLocks noChangeAspect="1"/>
          </p:cNvGrpSpPr>
          <p:nvPr/>
        </p:nvGrpSpPr>
        <p:grpSpPr>
          <a:xfrm>
            <a:off x="6396831" y="4398753"/>
            <a:ext cx="987749" cy="923330"/>
            <a:chOff x="8591551" y="2027238"/>
            <a:chExt cx="949325" cy="887412"/>
          </a:xfrm>
        </p:grpSpPr>
        <p:sp>
          <p:nvSpPr>
            <p:cNvPr id="113" name="Freeform 159">
              <a:extLst>
                <a:ext uri="{FF2B5EF4-FFF2-40B4-BE49-F238E27FC236}">
                  <a16:creationId xmlns:a16="http://schemas.microsoft.com/office/drawing/2014/main" id="{7EDF29A6-3698-4439-A709-74E5086DBAB7}"/>
                </a:ext>
              </a:extLst>
            </p:cNvPr>
            <p:cNvSpPr>
              <a:spLocks/>
            </p:cNvSpPr>
            <p:nvPr/>
          </p:nvSpPr>
          <p:spPr bwMode="auto">
            <a:xfrm>
              <a:off x="8591551" y="2027238"/>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19"/>
                    <a:pt x="224" y="71"/>
                  </a:cubicBezTo>
                  <a:cubicBezTo>
                    <a:pt x="253" y="122"/>
                    <a:pt x="230" y="180"/>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e 1043">
              <a:extLst>
                <a:ext uri="{FF2B5EF4-FFF2-40B4-BE49-F238E27FC236}">
                  <a16:creationId xmlns:a16="http://schemas.microsoft.com/office/drawing/2014/main" id="{FAE148A8-0B23-4A6A-A90E-1760F3D2FE99}"/>
                </a:ext>
              </a:extLst>
            </p:cNvPr>
            <p:cNvGrpSpPr/>
            <p:nvPr/>
          </p:nvGrpSpPr>
          <p:grpSpPr>
            <a:xfrm>
              <a:off x="8767763" y="2197100"/>
              <a:ext cx="630238" cy="627062"/>
              <a:chOff x="8767763" y="2197100"/>
              <a:chExt cx="630238" cy="627062"/>
            </a:xfrm>
          </p:grpSpPr>
          <p:sp>
            <p:nvSpPr>
              <p:cNvPr id="115" name="Freeform 160">
                <a:extLst>
                  <a:ext uri="{FF2B5EF4-FFF2-40B4-BE49-F238E27FC236}">
                    <a16:creationId xmlns:a16="http://schemas.microsoft.com/office/drawing/2014/main" id="{04254999-1803-4417-B2F5-05D41F29CCA8}"/>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161">
                <a:extLst>
                  <a:ext uri="{FF2B5EF4-FFF2-40B4-BE49-F238E27FC236}">
                    <a16:creationId xmlns:a16="http://schemas.microsoft.com/office/drawing/2014/main" id="{E2DF43D9-93F2-4BEC-A791-781A3A7C9BC4}"/>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162">
                <a:extLst>
                  <a:ext uri="{FF2B5EF4-FFF2-40B4-BE49-F238E27FC236}">
                    <a16:creationId xmlns:a16="http://schemas.microsoft.com/office/drawing/2014/main" id="{13CF177C-098D-4B31-A54A-E97C3022C18B}"/>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63">
                <a:extLst>
                  <a:ext uri="{FF2B5EF4-FFF2-40B4-BE49-F238E27FC236}">
                    <a16:creationId xmlns:a16="http://schemas.microsoft.com/office/drawing/2014/main" id="{CC902881-7E29-4A61-A666-AA11FE1AFF92}"/>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9" name="Groupe 495">
            <a:extLst>
              <a:ext uri="{FF2B5EF4-FFF2-40B4-BE49-F238E27FC236}">
                <a16:creationId xmlns:a16="http://schemas.microsoft.com/office/drawing/2014/main" id="{F5786A45-C1AD-4E62-910B-159C255F3430}"/>
              </a:ext>
            </a:extLst>
          </p:cNvPr>
          <p:cNvGrpSpPr>
            <a:grpSpLocks noChangeAspect="1"/>
          </p:cNvGrpSpPr>
          <p:nvPr/>
        </p:nvGrpSpPr>
        <p:grpSpPr>
          <a:xfrm>
            <a:off x="7756502" y="3230762"/>
            <a:ext cx="985020" cy="919229"/>
            <a:chOff x="10058400" y="4017963"/>
            <a:chExt cx="855663" cy="798512"/>
          </a:xfrm>
        </p:grpSpPr>
        <p:sp>
          <p:nvSpPr>
            <p:cNvPr id="120" name="Freeform 308">
              <a:extLst>
                <a:ext uri="{FF2B5EF4-FFF2-40B4-BE49-F238E27FC236}">
                  <a16:creationId xmlns:a16="http://schemas.microsoft.com/office/drawing/2014/main" id="{B1698241-749C-4508-8F24-4D4632B5BFDF}"/>
                </a:ext>
              </a:extLst>
            </p:cNvPr>
            <p:cNvSpPr>
              <a:spLocks/>
            </p:cNvSpPr>
            <p:nvPr/>
          </p:nvSpPr>
          <p:spPr bwMode="auto">
            <a:xfrm>
              <a:off x="10058400" y="4017963"/>
              <a:ext cx="855663" cy="798512"/>
            </a:xfrm>
            <a:custGeom>
              <a:avLst/>
              <a:gdLst>
                <a:gd name="T0" fmla="*/ 29 w 253"/>
                <a:gd name="T1" fmla="*/ 171 h 235"/>
                <a:gd name="T2" fmla="*/ 74 w 253"/>
                <a:gd name="T3" fmla="*/ 28 h 235"/>
                <a:gd name="T4" fmla="*/ 224 w 253"/>
                <a:gd name="T5" fmla="*/ 70 h 235"/>
                <a:gd name="T6" fmla="*/ 176 w 253"/>
                <a:gd name="T7" fmla="*/ 208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20"/>
                    <a:pt x="20" y="55"/>
                    <a:pt x="74" y="28"/>
                  </a:cubicBezTo>
                  <a:cubicBezTo>
                    <a:pt x="127" y="0"/>
                    <a:pt x="194" y="19"/>
                    <a:pt x="224" y="70"/>
                  </a:cubicBezTo>
                  <a:cubicBezTo>
                    <a:pt x="253" y="122"/>
                    <a:pt x="230" y="180"/>
                    <a:pt x="176" y="208"/>
                  </a:cubicBezTo>
                  <a:cubicBezTo>
                    <a:pt x="123" y="235"/>
                    <a:pt x="59"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1" name="Groupe 544">
              <a:extLst>
                <a:ext uri="{FF2B5EF4-FFF2-40B4-BE49-F238E27FC236}">
                  <a16:creationId xmlns:a16="http://schemas.microsoft.com/office/drawing/2014/main" id="{EAA07315-CFBE-4386-BDF6-D9E7FB97D7B1}"/>
                </a:ext>
              </a:extLst>
            </p:cNvPr>
            <p:cNvGrpSpPr/>
            <p:nvPr/>
          </p:nvGrpSpPr>
          <p:grpSpPr>
            <a:xfrm>
              <a:off x="10255250" y="4219575"/>
              <a:ext cx="454025" cy="390525"/>
              <a:chOff x="10255250" y="4219575"/>
              <a:chExt cx="454025" cy="390525"/>
            </a:xfrm>
          </p:grpSpPr>
          <p:sp>
            <p:nvSpPr>
              <p:cNvPr id="122" name="Freeform 309">
                <a:extLst>
                  <a:ext uri="{FF2B5EF4-FFF2-40B4-BE49-F238E27FC236}">
                    <a16:creationId xmlns:a16="http://schemas.microsoft.com/office/drawing/2014/main" id="{1BA75A2F-107D-4871-8C58-6C9BF69B59CE}"/>
                  </a:ext>
                </a:extLst>
              </p:cNvPr>
              <p:cNvSpPr>
                <a:spLocks/>
              </p:cNvSpPr>
              <p:nvPr/>
            </p:nvSpPr>
            <p:spPr bwMode="auto">
              <a:xfrm>
                <a:off x="10255250" y="4273550"/>
                <a:ext cx="298450" cy="336550"/>
              </a:xfrm>
              <a:custGeom>
                <a:avLst/>
                <a:gdLst>
                  <a:gd name="T0" fmla="*/ 0 w 88"/>
                  <a:gd name="T1" fmla="*/ 44 h 99"/>
                  <a:gd name="T2" fmla="*/ 0 w 88"/>
                  <a:gd name="T3" fmla="*/ 44 h 99"/>
                  <a:gd name="T4" fmla="*/ 48 w 88"/>
                  <a:gd name="T5" fmla="*/ 3 h 99"/>
                  <a:gd name="T6" fmla="*/ 85 w 88"/>
                  <a:gd name="T7" fmla="*/ 40 h 99"/>
                  <a:gd name="T8" fmla="*/ 43 w 88"/>
                  <a:gd name="T9" fmla="*/ 88 h 99"/>
                  <a:gd name="T10" fmla="*/ 43 w 88"/>
                  <a:gd name="T11" fmla="*/ 88 h 99"/>
                  <a:gd name="T12" fmla="*/ 43 w 88"/>
                  <a:gd name="T13" fmla="*/ 97 h 99"/>
                  <a:gd name="T14" fmla="*/ 41 w 88"/>
                  <a:gd name="T15" fmla="*/ 99 h 99"/>
                  <a:gd name="T16" fmla="*/ 3 w 88"/>
                  <a:gd name="T17" fmla="*/ 61 h 99"/>
                  <a:gd name="T18" fmla="*/ 0 w 88"/>
                  <a:gd name="T19" fmla="*/ 45 h 99"/>
                  <a:gd name="T20" fmla="*/ 0 w 88"/>
                  <a:gd name="T21" fmla="*/ 45 h 99"/>
                  <a:gd name="T22" fmla="*/ 0 w 88"/>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99">
                    <a:moveTo>
                      <a:pt x="0" y="44"/>
                    </a:moveTo>
                    <a:cubicBezTo>
                      <a:pt x="0" y="44"/>
                      <a:pt x="0" y="44"/>
                      <a:pt x="0" y="44"/>
                    </a:cubicBezTo>
                    <a:cubicBezTo>
                      <a:pt x="0" y="19"/>
                      <a:pt x="22" y="0"/>
                      <a:pt x="48" y="3"/>
                    </a:cubicBezTo>
                    <a:cubicBezTo>
                      <a:pt x="67" y="5"/>
                      <a:pt x="83" y="21"/>
                      <a:pt x="85" y="40"/>
                    </a:cubicBezTo>
                    <a:cubicBezTo>
                      <a:pt x="88" y="66"/>
                      <a:pt x="68" y="88"/>
                      <a:pt x="43" y="88"/>
                    </a:cubicBezTo>
                    <a:cubicBezTo>
                      <a:pt x="43" y="88"/>
                      <a:pt x="43" y="88"/>
                      <a:pt x="43" y="88"/>
                    </a:cubicBezTo>
                    <a:cubicBezTo>
                      <a:pt x="43" y="97"/>
                      <a:pt x="43" y="97"/>
                      <a:pt x="43" y="97"/>
                    </a:cubicBezTo>
                    <a:cubicBezTo>
                      <a:pt x="43" y="98"/>
                      <a:pt x="42" y="99"/>
                      <a:pt x="41" y="99"/>
                    </a:cubicBezTo>
                    <a:cubicBezTo>
                      <a:pt x="34" y="95"/>
                      <a:pt x="11" y="84"/>
                      <a:pt x="3" y="61"/>
                    </a:cubicBezTo>
                    <a:cubicBezTo>
                      <a:pt x="1" y="56"/>
                      <a:pt x="0" y="51"/>
                      <a:pt x="0" y="45"/>
                    </a:cubicBezTo>
                    <a:cubicBezTo>
                      <a:pt x="0" y="45"/>
                      <a:pt x="0" y="45"/>
                      <a:pt x="0" y="45"/>
                    </a:cubicBezTo>
                    <a:cubicBezTo>
                      <a:pt x="0" y="45"/>
                      <a:pt x="0" y="44"/>
                      <a:pt x="0" y="44"/>
                    </a:cubicBez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310">
                <a:extLst>
                  <a:ext uri="{FF2B5EF4-FFF2-40B4-BE49-F238E27FC236}">
                    <a16:creationId xmlns:a16="http://schemas.microsoft.com/office/drawing/2014/main" id="{57EF5DC7-8AB7-4350-986F-4F21F46731EB}"/>
                  </a:ext>
                </a:extLst>
              </p:cNvPr>
              <p:cNvSpPr>
                <a:spLocks/>
              </p:cNvSpPr>
              <p:nvPr/>
            </p:nvSpPr>
            <p:spPr bwMode="auto">
              <a:xfrm>
                <a:off x="10407650" y="4219575"/>
                <a:ext cx="301625" cy="336550"/>
              </a:xfrm>
              <a:custGeom>
                <a:avLst/>
                <a:gdLst>
                  <a:gd name="T0" fmla="*/ 89 w 89"/>
                  <a:gd name="T1" fmla="*/ 44 h 99"/>
                  <a:gd name="T2" fmla="*/ 89 w 89"/>
                  <a:gd name="T3" fmla="*/ 44 h 99"/>
                  <a:gd name="T4" fmla="*/ 41 w 89"/>
                  <a:gd name="T5" fmla="*/ 3 h 99"/>
                  <a:gd name="T6" fmla="*/ 3 w 89"/>
                  <a:gd name="T7" fmla="*/ 40 h 99"/>
                  <a:gd name="T8" fmla="*/ 46 w 89"/>
                  <a:gd name="T9" fmla="*/ 88 h 99"/>
                  <a:gd name="T10" fmla="*/ 46 w 89"/>
                  <a:gd name="T11" fmla="*/ 88 h 99"/>
                  <a:gd name="T12" fmla="*/ 46 w 89"/>
                  <a:gd name="T13" fmla="*/ 97 h 99"/>
                  <a:gd name="T14" fmla="*/ 48 w 89"/>
                  <a:gd name="T15" fmla="*/ 99 h 99"/>
                  <a:gd name="T16" fmla="*/ 86 w 89"/>
                  <a:gd name="T17" fmla="*/ 61 h 99"/>
                  <a:gd name="T18" fmla="*/ 89 w 89"/>
                  <a:gd name="T19" fmla="*/ 45 h 99"/>
                  <a:gd name="T20" fmla="*/ 89 w 89"/>
                  <a:gd name="T21" fmla="*/ 45 h 99"/>
                  <a:gd name="T22" fmla="*/ 89 w 89"/>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9">
                    <a:moveTo>
                      <a:pt x="89" y="44"/>
                    </a:moveTo>
                    <a:cubicBezTo>
                      <a:pt x="89" y="44"/>
                      <a:pt x="89" y="44"/>
                      <a:pt x="89" y="44"/>
                    </a:cubicBezTo>
                    <a:cubicBezTo>
                      <a:pt x="88" y="19"/>
                      <a:pt x="67" y="0"/>
                      <a:pt x="41" y="3"/>
                    </a:cubicBezTo>
                    <a:cubicBezTo>
                      <a:pt x="21" y="5"/>
                      <a:pt x="5" y="21"/>
                      <a:pt x="3" y="40"/>
                    </a:cubicBezTo>
                    <a:cubicBezTo>
                      <a:pt x="0" y="66"/>
                      <a:pt x="21" y="88"/>
                      <a:pt x="46" y="88"/>
                    </a:cubicBezTo>
                    <a:cubicBezTo>
                      <a:pt x="46" y="88"/>
                      <a:pt x="46" y="88"/>
                      <a:pt x="46" y="88"/>
                    </a:cubicBezTo>
                    <a:cubicBezTo>
                      <a:pt x="46" y="97"/>
                      <a:pt x="46" y="97"/>
                      <a:pt x="46" y="97"/>
                    </a:cubicBezTo>
                    <a:cubicBezTo>
                      <a:pt x="46" y="98"/>
                      <a:pt x="47" y="99"/>
                      <a:pt x="48" y="99"/>
                    </a:cubicBezTo>
                    <a:cubicBezTo>
                      <a:pt x="55" y="95"/>
                      <a:pt x="78" y="84"/>
                      <a:pt x="86" y="61"/>
                    </a:cubicBezTo>
                    <a:cubicBezTo>
                      <a:pt x="88" y="56"/>
                      <a:pt x="89" y="51"/>
                      <a:pt x="89" y="45"/>
                    </a:cubicBezTo>
                    <a:cubicBezTo>
                      <a:pt x="89" y="45"/>
                      <a:pt x="89" y="45"/>
                      <a:pt x="89" y="45"/>
                    </a:cubicBezTo>
                    <a:cubicBezTo>
                      <a:pt x="89" y="45"/>
                      <a:pt x="89" y="44"/>
                      <a:pt x="89" y="44"/>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pic>
        <p:nvPicPr>
          <p:cNvPr id="5" name="Picture 4" descr="A close up of a logo&#10;&#10;Description automatically generated">
            <a:extLst>
              <a:ext uri="{FF2B5EF4-FFF2-40B4-BE49-F238E27FC236}">
                <a16:creationId xmlns:a16="http://schemas.microsoft.com/office/drawing/2014/main" id="{AC5E240F-C169-4B61-81CE-E63A731038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300" y="1261882"/>
            <a:ext cx="3659767" cy="5176800"/>
          </a:xfrm>
          <a:prstGeom prst="rect">
            <a:avLst/>
          </a:prstGeom>
        </p:spPr>
      </p:pic>
    </p:spTree>
    <p:extLst>
      <p:ext uri="{BB962C8B-B14F-4D97-AF65-F5344CB8AC3E}">
        <p14:creationId xmlns:p14="http://schemas.microsoft.com/office/powerpoint/2010/main" val="27295209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1B137-1935-4542-AFB2-BCDB20FF03A8}"/>
              </a:ext>
            </a:extLst>
          </p:cNvPr>
          <p:cNvSpPr>
            <a:spLocks noGrp="1"/>
          </p:cNvSpPr>
          <p:nvPr>
            <p:ph type="title"/>
          </p:nvPr>
        </p:nvSpPr>
        <p:spPr/>
        <p:txBody>
          <a:bodyPr/>
          <a:lstStyle/>
          <a:p>
            <a:r>
              <a:rPr lang="en-IN" sz="2200" dirty="0"/>
              <a:t>Methodology and Key Definitions</a:t>
            </a:r>
            <a:endParaRPr lang="en-US" sz="2200" dirty="0"/>
          </a:p>
        </p:txBody>
      </p:sp>
      <p:sp>
        <p:nvSpPr>
          <p:cNvPr id="3" name="TextBox 2">
            <a:extLst>
              <a:ext uri="{FF2B5EF4-FFF2-40B4-BE49-F238E27FC236}">
                <a16:creationId xmlns:a16="http://schemas.microsoft.com/office/drawing/2014/main" id="{DEAE57A0-FFCD-46F4-8695-22D036B3C546}"/>
              </a:ext>
            </a:extLst>
          </p:cNvPr>
          <p:cNvSpPr txBox="1"/>
          <p:nvPr/>
        </p:nvSpPr>
        <p:spPr>
          <a:xfrm>
            <a:off x="1201956" y="833878"/>
            <a:ext cx="9788089" cy="342476"/>
          </a:xfrm>
          <a:prstGeom prst="rect">
            <a:avLst/>
          </a:prstGeom>
          <a:noFill/>
        </p:spPr>
        <p:txBody>
          <a:bodyPr wrap="square" rtlCol="0">
            <a:noAutofit/>
          </a:bodyPr>
          <a:lstStyle/>
          <a:p>
            <a:pPr algn="ctr"/>
            <a:r>
              <a:rPr lang="en-US" sz="1400" b="1" dirty="0"/>
              <a:t>Methodology</a:t>
            </a:r>
          </a:p>
        </p:txBody>
      </p:sp>
      <p:graphicFrame>
        <p:nvGraphicFramePr>
          <p:cNvPr id="318" name="Table 318">
            <a:extLst>
              <a:ext uri="{FF2B5EF4-FFF2-40B4-BE49-F238E27FC236}">
                <a16:creationId xmlns:a16="http://schemas.microsoft.com/office/drawing/2014/main" id="{DC522BFB-1BC2-4B8F-97D3-8AA25FB68785}"/>
              </a:ext>
            </a:extLst>
          </p:cNvPr>
          <p:cNvGraphicFramePr>
            <a:graphicFrameLocks noGrp="1"/>
          </p:cNvGraphicFramePr>
          <p:nvPr/>
        </p:nvGraphicFramePr>
        <p:xfrm>
          <a:off x="241299" y="3938045"/>
          <a:ext cx="11674475" cy="2410396"/>
        </p:xfrm>
        <a:graphic>
          <a:graphicData uri="http://schemas.openxmlformats.org/drawingml/2006/table">
            <a:tbl>
              <a:tblPr firstRow="1" bandRow="1">
                <a:tableStyleId>{3B4B98B0-60AC-42C2-AFA5-B58CD77FA1E5}</a:tableStyleId>
              </a:tblPr>
              <a:tblGrid>
                <a:gridCol w="2187896">
                  <a:extLst>
                    <a:ext uri="{9D8B030D-6E8A-4147-A177-3AD203B41FA5}">
                      <a16:colId xmlns:a16="http://schemas.microsoft.com/office/drawing/2014/main" val="3738644003"/>
                    </a:ext>
                  </a:extLst>
                </a:gridCol>
                <a:gridCol w="9486579">
                  <a:extLst>
                    <a:ext uri="{9D8B030D-6E8A-4147-A177-3AD203B41FA5}">
                      <a16:colId xmlns:a16="http://schemas.microsoft.com/office/drawing/2014/main" val="2985506123"/>
                    </a:ext>
                  </a:extLst>
                </a:gridCol>
              </a:tblGrid>
              <a:tr h="329292">
                <a:tc>
                  <a:txBody>
                    <a:bodyPr/>
                    <a:lstStyle/>
                    <a:p>
                      <a:r>
                        <a:rPr lang="en-IN" sz="1400" dirty="0">
                          <a:solidFill>
                            <a:schemeClr val="bg1"/>
                          </a:solidFill>
                        </a:rPr>
                        <a:t>Terms</a:t>
                      </a:r>
                      <a:endParaRPr lang="en-US" sz="1400" dirty="0">
                        <a:solidFill>
                          <a:schemeClr val="bg1"/>
                        </a:solidFill>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IN" sz="1400" dirty="0">
                          <a:solidFill>
                            <a:schemeClr val="bg1"/>
                          </a:solidFill>
                        </a:rPr>
                        <a:t>Definition</a:t>
                      </a:r>
                      <a:endParaRPr lang="en-US" sz="1400" dirty="0">
                        <a:solidFill>
                          <a:schemeClr val="bg1"/>
                        </a:solidFill>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33510809"/>
                  </a:ext>
                </a:extLst>
              </a:tr>
              <a:tr h="405976">
                <a:tc>
                  <a:txBody>
                    <a:bodyPr/>
                    <a:lstStyle/>
                    <a:p>
                      <a:r>
                        <a:rPr lang="en-IN" sz="1200" b="1" dirty="0"/>
                        <a:t>HNWI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High net-worth individuals with investable assets of USD 1 million or more, excluding primary residence, collectibles, consumables, and consumer durables</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56656"/>
                  </a:ext>
                </a:extLst>
              </a:tr>
              <a:tr h="405976">
                <a:tc>
                  <a:txBody>
                    <a:bodyPr/>
                    <a:lstStyle/>
                    <a:p>
                      <a:r>
                        <a:rPr lang="en-IN" sz="1200" b="1" dirty="0"/>
                        <a:t>Mass Affluent</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Wealth band with investable assets between USD 100,000 and USD 1 million </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7947653"/>
                  </a:ext>
                </a:extLst>
              </a:tr>
              <a:tr h="405976">
                <a:tc>
                  <a:txBody>
                    <a:bodyPr/>
                    <a:lstStyle/>
                    <a:p>
                      <a:r>
                        <a:rPr lang="en-IN" sz="1200" b="1" dirty="0"/>
                        <a:t>Millionaires Next Door</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Wealth band of HNWIs with investable assets between USD 1 and 5 million</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7639515"/>
                  </a:ext>
                </a:extLst>
              </a:tr>
              <a:tr h="405976">
                <a:tc>
                  <a:txBody>
                    <a:bodyPr/>
                    <a:lstStyle/>
                    <a:p>
                      <a:r>
                        <a:rPr lang="en-IN" sz="1200" b="1" dirty="0"/>
                        <a:t>Mid-Tier Millionaire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IN" sz="1200" dirty="0"/>
                        <a:t>Wealth band of HNWIs with investable assets between USD 5 and 30 million</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752136"/>
                  </a:ext>
                </a:extLst>
              </a:tr>
              <a:tr h="405976">
                <a:tc>
                  <a:txBody>
                    <a:bodyPr/>
                    <a:lstStyle/>
                    <a:p>
                      <a:r>
                        <a:rPr lang="en-IN" sz="1200" b="1" dirty="0"/>
                        <a:t>Ultra-HNWI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IN" sz="1200" dirty="0"/>
                        <a:t>Wealth band of HNWIs with investable assets of USD 30 million or more</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337307"/>
                  </a:ext>
                </a:extLst>
              </a:tr>
            </a:tbl>
          </a:graphicData>
        </a:graphic>
      </p:graphicFrame>
      <p:grpSp>
        <p:nvGrpSpPr>
          <p:cNvPr id="866" name="Group 865"/>
          <p:cNvGrpSpPr/>
          <p:nvPr/>
        </p:nvGrpSpPr>
        <p:grpSpPr>
          <a:xfrm>
            <a:off x="1797990" y="1163207"/>
            <a:ext cx="8596020" cy="2435787"/>
            <a:chOff x="1657374" y="1469463"/>
            <a:chExt cx="8938896" cy="2712955"/>
          </a:xfrm>
        </p:grpSpPr>
        <p:pic>
          <p:nvPicPr>
            <p:cNvPr id="864" name="Picture 863"/>
            <p:cNvPicPr>
              <a:picLocks noChangeAspect="1"/>
            </p:cNvPicPr>
            <p:nvPr/>
          </p:nvPicPr>
          <p:blipFill>
            <a:blip r:embed="rId2"/>
            <a:stretch>
              <a:fillRect/>
            </a:stretch>
          </p:blipFill>
          <p:spPr>
            <a:xfrm>
              <a:off x="2944095" y="1469463"/>
              <a:ext cx="6303810" cy="2712955"/>
            </a:xfrm>
            <a:prstGeom prst="rect">
              <a:avLst/>
            </a:prstGeom>
          </p:spPr>
        </p:pic>
        <p:sp>
          <p:nvSpPr>
            <p:cNvPr id="313" name="TextBox 312">
              <a:extLst>
                <a:ext uri="{FF2B5EF4-FFF2-40B4-BE49-F238E27FC236}">
                  <a16:creationId xmlns:a16="http://schemas.microsoft.com/office/drawing/2014/main" id="{ACDEEA8F-F3DF-4BCD-8A72-9065BAAC89E9}"/>
                </a:ext>
              </a:extLst>
            </p:cNvPr>
            <p:cNvSpPr txBox="1">
              <a:spLocks/>
            </p:cNvSpPr>
            <p:nvPr/>
          </p:nvSpPr>
          <p:spPr>
            <a:xfrm>
              <a:off x="1719019" y="3137019"/>
              <a:ext cx="2603307" cy="959238"/>
            </a:xfrm>
            <a:prstGeom prst="rect">
              <a:avLst/>
            </a:prstGeom>
            <a:solidFill>
              <a:schemeClr val="accent2">
                <a:alpha val="31000"/>
              </a:schemeClr>
            </a:solidFill>
          </p:spPr>
          <p:txBody>
            <a:bodyPr wrap="square" rtlCol="0" anchor="ctr">
              <a:noAutofit/>
            </a:bodyPr>
            <a:lstStyle/>
            <a:p>
              <a:pPr algn="ctr"/>
              <a:r>
                <a:rPr lang="en-IN" sz="1200" dirty="0"/>
                <a:t>Country statistics feeding into the proprietary </a:t>
              </a:r>
            </a:p>
            <a:p>
              <a:pPr algn="ctr"/>
              <a:r>
                <a:rPr lang="en-IN" sz="1200" dirty="0"/>
                <a:t>market sizing model</a:t>
              </a:r>
              <a:endParaRPr lang="en-US" sz="1200" dirty="0"/>
            </a:p>
          </p:txBody>
        </p:sp>
        <p:sp>
          <p:nvSpPr>
            <p:cNvPr id="314" name="TextBox 313">
              <a:extLst>
                <a:ext uri="{FF2B5EF4-FFF2-40B4-BE49-F238E27FC236}">
                  <a16:creationId xmlns:a16="http://schemas.microsoft.com/office/drawing/2014/main" id="{43F80D69-6AE7-4DDC-9EFF-55F56B1AE62C}"/>
                </a:ext>
              </a:extLst>
            </p:cNvPr>
            <p:cNvSpPr txBox="1">
              <a:spLocks/>
            </p:cNvSpPr>
            <p:nvPr/>
          </p:nvSpPr>
          <p:spPr>
            <a:xfrm>
              <a:off x="4855991" y="3137019"/>
              <a:ext cx="2603307" cy="959238"/>
            </a:xfrm>
            <a:prstGeom prst="rect">
              <a:avLst/>
            </a:prstGeom>
            <a:solidFill>
              <a:schemeClr val="accent2">
                <a:alpha val="31000"/>
              </a:schemeClr>
            </a:solidFill>
          </p:spPr>
          <p:txBody>
            <a:bodyPr wrap="square" rtlCol="0" anchor="ctr">
              <a:noAutofit/>
            </a:bodyPr>
            <a:lstStyle/>
            <a:p>
              <a:pPr algn="ctr"/>
              <a:r>
                <a:rPr lang="en-IN" sz="1200" dirty="0"/>
                <a:t>Survey of more than 2,500 high net-worth individuals across 21 countries</a:t>
              </a:r>
              <a:endParaRPr lang="en-US" sz="1200" dirty="0"/>
            </a:p>
          </p:txBody>
        </p:sp>
        <p:sp>
          <p:nvSpPr>
            <p:cNvPr id="315" name="TextBox 314">
              <a:extLst>
                <a:ext uri="{FF2B5EF4-FFF2-40B4-BE49-F238E27FC236}">
                  <a16:creationId xmlns:a16="http://schemas.microsoft.com/office/drawing/2014/main" id="{3CFEB701-5133-4B35-B7D6-3A2E144225CC}"/>
                </a:ext>
              </a:extLst>
            </p:cNvPr>
            <p:cNvSpPr txBox="1">
              <a:spLocks/>
            </p:cNvSpPr>
            <p:nvPr/>
          </p:nvSpPr>
          <p:spPr>
            <a:xfrm>
              <a:off x="7992963" y="3137019"/>
              <a:ext cx="2603307" cy="959238"/>
            </a:xfrm>
            <a:prstGeom prst="rect">
              <a:avLst/>
            </a:prstGeom>
            <a:solidFill>
              <a:schemeClr val="accent2">
                <a:alpha val="31000"/>
              </a:schemeClr>
            </a:solidFill>
          </p:spPr>
          <p:txBody>
            <a:bodyPr wrap="square" rtlCol="0" anchor="ctr">
              <a:noAutofit/>
            </a:bodyPr>
            <a:lstStyle/>
            <a:p>
              <a:pPr algn="ctr"/>
              <a:r>
                <a:rPr lang="en-IN" sz="1200" dirty="0"/>
                <a:t>Survey and interviews of more than 70 executives across more than 10 countries</a:t>
              </a:r>
              <a:endParaRPr lang="en-US" sz="1200" dirty="0"/>
            </a:p>
          </p:txBody>
        </p:sp>
        <p:sp>
          <p:nvSpPr>
            <p:cNvPr id="6" name="Chevron 5"/>
            <p:cNvSpPr/>
            <p:nvPr/>
          </p:nvSpPr>
          <p:spPr>
            <a:xfrm>
              <a:off x="1657374" y="2346298"/>
              <a:ext cx="8877252" cy="601653"/>
            </a:xfrm>
            <a:prstGeom prst="chevron">
              <a:avLst>
                <a:gd name="adj" fmla="val 40000"/>
              </a:avLst>
            </a:prstGeom>
            <a:solidFill>
              <a:srgbClr val="09566D">
                <a:alpha val="34902"/>
              </a:srgbClr>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Freeform 6"/>
            <p:cNvSpPr/>
            <p:nvPr/>
          </p:nvSpPr>
          <p:spPr>
            <a:xfrm>
              <a:off x="1974276"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Market Sizing</a:t>
              </a:r>
              <a:endParaRPr lang="en-US" sz="1200" b="1" kern="1200" dirty="0"/>
            </a:p>
          </p:txBody>
        </p:sp>
        <p:sp>
          <p:nvSpPr>
            <p:cNvPr id="10" name="Freeform 9"/>
            <p:cNvSpPr/>
            <p:nvPr/>
          </p:nvSpPr>
          <p:spPr>
            <a:xfrm>
              <a:off x="5111248"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2534658"/>
                <a:satOff val="-6506"/>
                <a:lumOff val="-1627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High Net-Worth Individual </a:t>
              </a:r>
              <a:r>
                <a:rPr lang="en-IN" sz="1200" b="1" kern="1200" dirty="0" err="1"/>
                <a:t>Behavior</a:t>
              </a:r>
              <a:endParaRPr lang="en-US" sz="1200" b="1" kern="1200" dirty="0"/>
            </a:p>
          </p:txBody>
        </p:sp>
        <p:sp>
          <p:nvSpPr>
            <p:cNvPr id="12" name="Freeform 11"/>
            <p:cNvSpPr/>
            <p:nvPr/>
          </p:nvSpPr>
          <p:spPr>
            <a:xfrm>
              <a:off x="8248220"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5069316"/>
                <a:satOff val="-13013"/>
                <a:lumOff val="-3254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Spotlight</a:t>
              </a:r>
              <a:endParaRPr lang="en-US" sz="1200" b="1" kern="1200" dirty="0"/>
            </a:p>
          </p:txBody>
        </p:sp>
      </p:grpSp>
      <p:sp>
        <p:nvSpPr>
          <p:cNvPr id="14" name="TextBox 13">
            <a:extLst>
              <a:ext uri="{FF2B5EF4-FFF2-40B4-BE49-F238E27FC236}">
                <a16:creationId xmlns:a16="http://schemas.microsoft.com/office/drawing/2014/main" id="{9D3EF5D1-7D3D-4274-B014-60B710277674}"/>
              </a:ext>
            </a:extLst>
          </p:cNvPr>
          <p:cNvSpPr txBox="1"/>
          <p:nvPr/>
        </p:nvSpPr>
        <p:spPr>
          <a:xfrm>
            <a:off x="1173694" y="3635459"/>
            <a:ext cx="9788089" cy="342476"/>
          </a:xfrm>
          <a:prstGeom prst="rect">
            <a:avLst/>
          </a:prstGeom>
          <a:noFill/>
        </p:spPr>
        <p:txBody>
          <a:bodyPr wrap="square" rtlCol="0">
            <a:noAutofit/>
          </a:bodyPr>
          <a:lstStyle/>
          <a:p>
            <a:pPr algn="ctr"/>
            <a:r>
              <a:rPr lang="en-US" sz="1400" b="1" dirty="0"/>
              <a:t>Key Definitions</a:t>
            </a:r>
          </a:p>
        </p:txBody>
      </p:sp>
    </p:spTree>
    <p:extLst>
      <p:ext uri="{BB962C8B-B14F-4D97-AF65-F5344CB8AC3E}">
        <p14:creationId xmlns:p14="http://schemas.microsoft.com/office/powerpoint/2010/main" val="3363588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000" dirty="0"/>
              <a:t>Unusual times call for new ways of working</a:t>
            </a:r>
            <a:br>
              <a:rPr lang="en-US" sz="2400" dirty="0"/>
            </a:br>
            <a:r>
              <a:rPr lang="en-IN" sz="2400" b="1" dirty="0">
                <a:solidFill>
                  <a:prstClr val="black"/>
                </a:solidFill>
              </a:rPr>
              <a:t>Maximize impact during uncertainty through sharp focus</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no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t>Driven by real-time connectivity and economic ambiguity</a:t>
            </a:r>
            <a:r>
              <a:rPr lang="en-US" sz="1600" b="1" dirty="0"/>
              <a:t>, unusual financial trends</a:t>
            </a:r>
            <a:r>
              <a:rPr lang="en-US" sz="1600" dirty="0"/>
              <a:t> </a:t>
            </a:r>
            <a:r>
              <a:rPr lang="en-US" sz="1600" b="1" dirty="0"/>
              <a:t>are emerging</a:t>
            </a:r>
            <a:r>
              <a:rPr lang="en-US" sz="1600" dirty="0"/>
              <a:t> and the strategic case for </a:t>
            </a:r>
            <a:r>
              <a:rPr lang="en-US" sz="1600" b="1" dirty="0"/>
              <a:t>sustainable investment </a:t>
            </a:r>
            <a:r>
              <a:rPr lang="en-US" sz="1600" dirty="0"/>
              <a:t>is advancing</a:t>
            </a:r>
            <a:endParaRPr lang="fr-BE" sz="1600" dirty="0"/>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t>Hyper-personalization will empower wealth management firms </a:t>
            </a:r>
            <a:r>
              <a:rPr lang="en-IN" sz="1600" dirty="0"/>
              <a:t>to address HNWI expectations and capture key transition points, at risk from </a:t>
            </a:r>
            <a:r>
              <a:rPr lang="en-IN" sz="1600" dirty="0" err="1"/>
              <a:t>BigTech</a:t>
            </a:r>
            <a:r>
              <a:rPr lang="en-IN" sz="1600" dirty="0"/>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t>Open platform </a:t>
            </a:r>
          </a:p>
          <a:p>
            <a:pPr algn="ctr"/>
            <a:r>
              <a:rPr lang="en-IN" sz="1600" b="1" dirty="0"/>
              <a:t>is the way forward </a:t>
            </a:r>
            <a:r>
              <a:rPr lang="en-IN" sz="1600" dirty="0"/>
              <a:t>for wealth management firms to </a:t>
            </a:r>
            <a:r>
              <a:rPr lang="en-IN" sz="1600" b="1" dirty="0"/>
              <a:t>optimize</a:t>
            </a:r>
            <a:r>
              <a:rPr lang="en-IN" sz="1600" dirty="0"/>
              <a:t> </a:t>
            </a:r>
          </a:p>
          <a:p>
            <a:pPr algn="ctr"/>
            <a:r>
              <a:rPr lang="en-IN" sz="1600" dirty="0"/>
              <a:t>operating model and </a:t>
            </a:r>
          </a:p>
          <a:p>
            <a:pPr algn="ctr"/>
            <a:r>
              <a:rPr lang="en-IN" sz="1600" dirty="0"/>
              <a:t>cost structures</a:t>
            </a:r>
            <a:endParaRPr lang="en-US" sz="1600" dirty="0"/>
          </a:p>
        </p:txBody>
      </p:sp>
      <p:sp>
        <p:nvSpPr>
          <p:cNvPr id="105" name="Rectangle: Rounded Corners 104">
            <a:extLst>
              <a:ext uri="{FF2B5EF4-FFF2-40B4-BE49-F238E27FC236}">
                <a16:creationId xmlns:a16="http://schemas.microsoft.com/office/drawing/2014/main" id="{FB14EE78-2C03-400F-A3A9-B741F70E92E8}"/>
              </a:ext>
            </a:extLst>
          </p:cNvPr>
          <p:cNvSpPr/>
          <p:nvPr/>
        </p:nvSpPr>
        <p:spPr>
          <a:xfrm>
            <a:off x="9202167" y="1292764"/>
            <a:ext cx="2849298" cy="5123474"/>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6" name="Rectangle 105">
            <a:extLst>
              <a:ext uri="{FF2B5EF4-FFF2-40B4-BE49-F238E27FC236}">
                <a16:creationId xmlns:a16="http://schemas.microsoft.com/office/drawing/2014/main" id="{7CB24B54-BE96-4DA5-9DB0-54314E126567}"/>
              </a:ext>
            </a:extLst>
          </p:cNvPr>
          <p:cNvSpPr/>
          <p:nvPr/>
        </p:nvSpPr>
        <p:spPr>
          <a:xfrm>
            <a:off x="9216209" y="4199113"/>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0000"/>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07" name="Picture 4" descr="Coronavirus | United Nations">
            <a:extLst>
              <a:ext uri="{FF2B5EF4-FFF2-40B4-BE49-F238E27FC236}">
                <a16:creationId xmlns:a16="http://schemas.microsoft.com/office/drawing/2014/main" id="{E3891086-6F1C-4237-BFEC-ADEC99FCC298}"/>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29331" y="1738657"/>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Abort Stop Cancel Terminate Svg Png Icon Free Download (#517382 ...">
            <a:extLst>
              <a:ext uri="{FF2B5EF4-FFF2-40B4-BE49-F238E27FC236}">
                <a16:creationId xmlns:a16="http://schemas.microsoft.com/office/drawing/2014/main" id="{AB108777-A253-4962-BB2C-ACD793C33278}"/>
              </a:ext>
            </a:extLst>
          </p:cNvPr>
          <p:cNvPicPr>
            <a:picLocks noChangeAspect="1" noChangeArrowheads="1"/>
          </p:cNvPicPr>
          <p:nvPr/>
        </p:nvPicPr>
        <p:blipFill>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84541" y="4233890"/>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653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000" dirty="0"/>
              <a:t>Unusual times call for new ways of working</a:t>
            </a:r>
            <a:br>
              <a:rPr lang="en-US" sz="2400" dirty="0"/>
            </a:br>
            <a:r>
              <a:rPr lang="en-IN" sz="2400" b="1" dirty="0">
                <a:solidFill>
                  <a:prstClr val="black"/>
                </a:solidFill>
              </a:rPr>
              <a:t>Maximize impact during uncertainty through sharp focus</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sp>
        <p:nvSpPr>
          <p:cNvPr id="105" name="Rectangle: Rounded Corners 104">
            <a:extLst>
              <a:ext uri="{FF2B5EF4-FFF2-40B4-BE49-F238E27FC236}">
                <a16:creationId xmlns:a16="http://schemas.microsoft.com/office/drawing/2014/main" id="{FB14EE78-2C03-400F-A3A9-B741F70E92E8}"/>
              </a:ext>
            </a:extLst>
          </p:cNvPr>
          <p:cNvSpPr/>
          <p:nvPr/>
        </p:nvSpPr>
        <p:spPr>
          <a:xfrm>
            <a:off x="9202167" y="1292764"/>
            <a:ext cx="2849298" cy="5123474"/>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6" name="Rectangle 105">
            <a:extLst>
              <a:ext uri="{FF2B5EF4-FFF2-40B4-BE49-F238E27FC236}">
                <a16:creationId xmlns:a16="http://schemas.microsoft.com/office/drawing/2014/main" id="{7CB24B54-BE96-4DA5-9DB0-54314E126567}"/>
              </a:ext>
            </a:extLst>
          </p:cNvPr>
          <p:cNvSpPr/>
          <p:nvPr/>
        </p:nvSpPr>
        <p:spPr>
          <a:xfrm>
            <a:off x="9216209" y="4199113"/>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0000"/>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07" name="Picture 4" descr="Coronavirus | United Nations">
            <a:extLst>
              <a:ext uri="{FF2B5EF4-FFF2-40B4-BE49-F238E27FC236}">
                <a16:creationId xmlns:a16="http://schemas.microsoft.com/office/drawing/2014/main" id="{E3891086-6F1C-4237-BFEC-ADEC99FCC298}"/>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29331" y="1738657"/>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Abort Stop Cancel Terminate Svg Png Icon Free Download (#517382 ...">
            <a:extLst>
              <a:ext uri="{FF2B5EF4-FFF2-40B4-BE49-F238E27FC236}">
                <a16:creationId xmlns:a16="http://schemas.microsoft.com/office/drawing/2014/main" id="{AB108777-A253-4962-BB2C-ACD793C33278}"/>
              </a:ext>
            </a:extLst>
          </p:cNvPr>
          <p:cNvPicPr>
            <a:picLocks noChangeAspect="1" noChangeArrowheads="1"/>
          </p:cNvPicPr>
          <p:nvPr/>
        </p:nvPicPr>
        <p:blipFill>
          <a:blip r:embed="rId4">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84541" y="4233890"/>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616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31"/>
        <p:cNvGrpSpPr/>
        <p:nvPr/>
      </p:nvGrpSpPr>
      <p:grpSpPr>
        <a:xfrm>
          <a:off x="0" y="0"/>
          <a:ext cx="0" cy="0"/>
          <a:chOff x="0" y="0"/>
          <a:chExt cx="0" cy="0"/>
        </a:xfrm>
      </p:grpSpPr>
      <p:sp>
        <p:nvSpPr>
          <p:cNvPr id="339" name="Google Shape;339;p37"/>
          <p:cNvSpPr txBox="1"/>
          <p:nvPr/>
        </p:nvSpPr>
        <p:spPr>
          <a:xfrm>
            <a:off x="283440" y="4170493"/>
            <a:ext cx="2196000" cy="2257201"/>
          </a:xfrm>
          <a:prstGeom prst="roundRect">
            <a:avLst>
              <a:gd name="adj" fmla="val 6886"/>
            </a:avLst>
          </a:prstGeom>
          <a:noFill/>
          <a:ln>
            <a:noFill/>
          </a:ln>
        </p:spPr>
        <p:txBody>
          <a:bodyPr spcFirstLastPara="1" wrap="square" lIns="121825" tIns="121825" rIns="121825" bIns="121825" anchor="t" anchorCtr="0">
            <a:noAutofit/>
          </a:bodyPr>
          <a:lstStyle/>
          <a:p>
            <a:r>
              <a:rPr lang="en" sz="1600" dirty="0">
                <a:latin typeface="Salesforce Sans"/>
                <a:ea typeface="Salesforce Sans"/>
                <a:cs typeface="Salesforce Sans"/>
                <a:sym typeface="Salesforce Sans"/>
              </a:rPr>
              <a:t>Potential  hit to margins - Banks will either grow revenue or reduce operating costs</a:t>
            </a:r>
            <a:endParaRPr lang="fr-BE" sz="1600" dirty="0">
              <a:latin typeface="Salesforce Sans"/>
              <a:ea typeface="Salesforce Sans"/>
              <a:cs typeface="Salesforce Sans"/>
              <a:sym typeface="Salesforce Sans"/>
            </a:endParaRPr>
          </a:p>
        </p:txBody>
      </p:sp>
      <p:pic>
        <p:nvPicPr>
          <p:cNvPr id="340" name="Google Shape;340;p37"/>
          <p:cNvPicPr preferRelativeResize="0"/>
          <p:nvPr/>
        </p:nvPicPr>
        <p:blipFill rotWithShape="1">
          <a:blip r:embed="rId3">
            <a:alphaModFix/>
            <a:duotone>
              <a:schemeClr val="accent1">
                <a:shade val="45000"/>
                <a:satMod val="135000"/>
              </a:schemeClr>
              <a:prstClr val="white"/>
            </a:duotone>
          </a:blip>
          <a:srcRect l="20262" t="19138" r="16614" b="21683"/>
          <a:stretch/>
        </p:blipFill>
        <p:spPr>
          <a:xfrm>
            <a:off x="794847" y="2826885"/>
            <a:ext cx="1173186" cy="1185330"/>
          </a:xfrm>
          <a:prstGeom prst="ellipse">
            <a:avLst/>
          </a:prstGeom>
          <a:noFill/>
          <a:ln>
            <a:noFill/>
          </a:ln>
        </p:spPr>
      </p:pic>
      <p:sp>
        <p:nvSpPr>
          <p:cNvPr id="343" name="Google Shape;343;p37"/>
          <p:cNvSpPr txBox="1"/>
          <p:nvPr/>
        </p:nvSpPr>
        <p:spPr>
          <a:xfrm>
            <a:off x="3426480" y="4170493"/>
            <a:ext cx="2196000" cy="2257201"/>
          </a:xfrm>
          <a:prstGeom prst="roundRect">
            <a:avLst>
              <a:gd name="adj" fmla="val 7375"/>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Investment shifts towards ‘safe havens’ and re-shuffling of portfolios</a:t>
            </a:r>
            <a:endParaRPr lang="fr-BE" sz="1600">
              <a:sym typeface="Salesforce Sans"/>
            </a:endParaRPr>
          </a:p>
        </p:txBody>
      </p:sp>
      <p:pic>
        <p:nvPicPr>
          <p:cNvPr id="344" name="Google Shape;344;p37"/>
          <p:cNvPicPr preferRelativeResize="0"/>
          <p:nvPr/>
        </p:nvPicPr>
        <p:blipFill>
          <a:blip r:embed="rId4">
            <a:alphaModFix/>
            <a:duotone>
              <a:schemeClr val="accent1">
                <a:shade val="45000"/>
                <a:satMod val="135000"/>
              </a:schemeClr>
              <a:prstClr val="white"/>
            </a:duotone>
          </a:blip>
          <a:stretch>
            <a:fillRect/>
          </a:stretch>
        </p:blipFill>
        <p:spPr>
          <a:xfrm>
            <a:off x="3977637" y="2925763"/>
            <a:ext cx="986612" cy="987575"/>
          </a:xfrm>
          <a:prstGeom prst="rect">
            <a:avLst/>
          </a:prstGeom>
          <a:noFill/>
          <a:ln>
            <a:noFill/>
          </a:ln>
        </p:spPr>
      </p:pic>
      <p:sp>
        <p:nvSpPr>
          <p:cNvPr id="347" name="Google Shape;347;p37"/>
          <p:cNvSpPr txBox="1"/>
          <p:nvPr/>
        </p:nvSpPr>
        <p:spPr>
          <a:xfrm>
            <a:off x="6569520" y="4170493"/>
            <a:ext cx="2196000" cy="2257201"/>
          </a:xfrm>
          <a:prstGeom prst="roundRect">
            <a:avLst>
              <a:gd name="adj" fmla="val 6555"/>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Protecting customer trust and amplifying advocacy </a:t>
            </a:r>
            <a:endParaRPr lang="fr-BE" sz="1600">
              <a:sym typeface="Salesforce Sans"/>
            </a:endParaRPr>
          </a:p>
        </p:txBody>
      </p:sp>
      <p:pic>
        <p:nvPicPr>
          <p:cNvPr id="348" name="Google Shape;348;p37"/>
          <p:cNvPicPr preferRelativeResize="0"/>
          <p:nvPr/>
        </p:nvPicPr>
        <p:blipFill rotWithShape="1">
          <a:blip r:embed="rId5">
            <a:alphaModFix/>
            <a:duotone>
              <a:schemeClr val="accent1">
                <a:shade val="45000"/>
                <a:satMod val="135000"/>
              </a:schemeClr>
              <a:prstClr val="white"/>
            </a:duotone>
          </a:blip>
          <a:srcRect t="17557" b="17027"/>
          <a:stretch/>
        </p:blipFill>
        <p:spPr>
          <a:xfrm>
            <a:off x="6973853" y="2999031"/>
            <a:ext cx="1284468" cy="841039"/>
          </a:xfrm>
          <a:prstGeom prst="rect">
            <a:avLst/>
          </a:prstGeom>
          <a:noFill/>
          <a:ln>
            <a:noFill/>
          </a:ln>
        </p:spPr>
      </p:pic>
      <p:sp>
        <p:nvSpPr>
          <p:cNvPr id="338" name="Google Shape;338;p37"/>
          <p:cNvSpPr txBox="1"/>
          <p:nvPr/>
        </p:nvSpPr>
        <p:spPr>
          <a:xfrm>
            <a:off x="28344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dirty="0">
                <a:latin typeface="Salesforce Sans"/>
                <a:ea typeface="Salesforce Sans"/>
                <a:cs typeface="Salesforce Sans"/>
                <a:sym typeface="Salesforce Sans"/>
              </a:rPr>
              <a:t>Impact to Margins &amp; Fee Income</a:t>
            </a:r>
          </a:p>
        </p:txBody>
      </p:sp>
      <p:sp>
        <p:nvSpPr>
          <p:cNvPr id="342" name="Google Shape;342;p37"/>
          <p:cNvSpPr txBox="1"/>
          <p:nvPr/>
        </p:nvSpPr>
        <p:spPr>
          <a:xfrm>
            <a:off x="342648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dirty="0">
                <a:latin typeface="Salesforce Sans"/>
                <a:ea typeface="Salesforce Sans"/>
                <a:cs typeface="Salesforce Sans"/>
                <a:sym typeface="Salesforce Sans"/>
              </a:rPr>
              <a:t>Customers Shift In Assets</a:t>
            </a:r>
          </a:p>
        </p:txBody>
      </p:sp>
      <p:sp>
        <p:nvSpPr>
          <p:cNvPr id="346" name="Google Shape;346;p37"/>
          <p:cNvSpPr txBox="1"/>
          <p:nvPr/>
        </p:nvSpPr>
        <p:spPr>
          <a:xfrm>
            <a:off x="656952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a:latin typeface="Salesforce Sans"/>
                <a:ea typeface="Salesforce Sans"/>
                <a:cs typeface="Salesforce Sans"/>
                <a:sym typeface="Salesforce Sans"/>
              </a:rPr>
              <a:t>Manage Customer Trust &amp; Concerns to build Advocacy</a:t>
            </a:r>
          </a:p>
        </p:txBody>
      </p:sp>
      <p:sp>
        <p:nvSpPr>
          <p:cNvPr id="350" name="Google Shape;350;p37"/>
          <p:cNvSpPr txBox="1"/>
          <p:nvPr/>
        </p:nvSpPr>
        <p:spPr>
          <a:xfrm>
            <a:off x="971256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a:latin typeface="Salesforce Sans"/>
                <a:ea typeface="Salesforce Sans"/>
                <a:cs typeface="Salesforce Sans"/>
                <a:sym typeface="Salesforce Sans"/>
              </a:rPr>
              <a:t>Data and Processing - Sense &amp; Respond</a:t>
            </a:r>
          </a:p>
        </p:txBody>
      </p:sp>
      <p:sp>
        <p:nvSpPr>
          <p:cNvPr id="351" name="Google Shape;351;p37"/>
          <p:cNvSpPr txBox="1"/>
          <p:nvPr/>
        </p:nvSpPr>
        <p:spPr>
          <a:xfrm>
            <a:off x="9712560" y="4170493"/>
            <a:ext cx="2196000" cy="2257201"/>
          </a:xfrm>
          <a:prstGeom prst="roundRect">
            <a:avLst>
              <a:gd name="adj" fmla="val 4930"/>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Requirement for agility (Operations, Data, Processes Communications &amp; Regulatory programs) given the speed at which things are changing</a:t>
            </a:r>
            <a:endParaRPr lang="fr-BE" sz="1600">
              <a:sym typeface="Salesforce Sans"/>
            </a:endParaRPr>
          </a:p>
        </p:txBody>
      </p:sp>
      <p:pic>
        <p:nvPicPr>
          <p:cNvPr id="352" name="Google Shape;352;p37"/>
          <p:cNvPicPr preferRelativeResize="0"/>
          <p:nvPr/>
        </p:nvPicPr>
        <p:blipFill>
          <a:blip r:embed="rId6">
            <a:alphaModFix/>
            <a:duotone>
              <a:schemeClr val="accent1">
                <a:shade val="45000"/>
                <a:satMod val="135000"/>
              </a:schemeClr>
              <a:prstClr val="white"/>
            </a:duotone>
          </a:blip>
          <a:stretch>
            <a:fillRect/>
          </a:stretch>
        </p:blipFill>
        <p:spPr>
          <a:xfrm>
            <a:off x="10267924" y="2876384"/>
            <a:ext cx="1085273" cy="1086333"/>
          </a:xfrm>
          <a:prstGeom prst="rect">
            <a:avLst/>
          </a:prstGeom>
          <a:noFill/>
          <a:ln>
            <a:noFill/>
          </a:ln>
        </p:spPr>
      </p:pic>
      <p:grpSp>
        <p:nvGrpSpPr>
          <p:cNvPr id="193" name="Group 192">
            <a:extLst>
              <a:ext uri="{FF2B5EF4-FFF2-40B4-BE49-F238E27FC236}">
                <a16:creationId xmlns:a16="http://schemas.microsoft.com/office/drawing/2014/main" id="{2EF0319D-9330-495C-AC3C-A1CD6110D7E0}"/>
              </a:ext>
            </a:extLst>
          </p:cNvPr>
          <p:cNvGrpSpPr/>
          <p:nvPr/>
        </p:nvGrpSpPr>
        <p:grpSpPr>
          <a:xfrm>
            <a:off x="9034432" y="122400"/>
            <a:ext cx="537780" cy="533532"/>
            <a:chOff x="411163" y="2006600"/>
            <a:chExt cx="3617913" cy="3589337"/>
          </a:xfrm>
          <a:solidFill>
            <a:schemeClr val="bg1">
              <a:lumMod val="75000"/>
            </a:schemeClr>
          </a:solidFill>
        </p:grpSpPr>
        <p:sp>
          <p:nvSpPr>
            <p:cNvPr id="272" name="Freeform 5">
              <a:extLst>
                <a:ext uri="{FF2B5EF4-FFF2-40B4-BE49-F238E27FC236}">
                  <a16:creationId xmlns:a16="http://schemas.microsoft.com/office/drawing/2014/main" id="{03EB3498-D84C-4B4D-8940-D7879AAA4BED}"/>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3" name="Oval 6">
              <a:extLst>
                <a:ext uri="{FF2B5EF4-FFF2-40B4-BE49-F238E27FC236}">
                  <a16:creationId xmlns:a16="http://schemas.microsoft.com/office/drawing/2014/main" id="{AFA3B71C-604E-4942-A0D3-8AF9F9D235CB}"/>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4" name="Freeform 7">
              <a:extLst>
                <a:ext uri="{FF2B5EF4-FFF2-40B4-BE49-F238E27FC236}">
                  <a16:creationId xmlns:a16="http://schemas.microsoft.com/office/drawing/2014/main" id="{6DB8BCF2-4F93-417D-A91E-10E55BE5C26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5" name="Freeform 8">
              <a:extLst>
                <a:ext uri="{FF2B5EF4-FFF2-40B4-BE49-F238E27FC236}">
                  <a16:creationId xmlns:a16="http://schemas.microsoft.com/office/drawing/2014/main" id="{2F6B5812-CB1A-48E9-8A47-FD755805A07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6" name="Freeform 9">
              <a:extLst>
                <a:ext uri="{FF2B5EF4-FFF2-40B4-BE49-F238E27FC236}">
                  <a16:creationId xmlns:a16="http://schemas.microsoft.com/office/drawing/2014/main" id="{C6AF10FC-49B1-45B0-AF22-BAF777248C59}"/>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4" name="Groupe 825">
            <a:extLst>
              <a:ext uri="{FF2B5EF4-FFF2-40B4-BE49-F238E27FC236}">
                <a16:creationId xmlns:a16="http://schemas.microsoft.com/office/drawing/2014/main" id="{DC1406F6-FEB3-47A3-BFC3-D069F667BE38}"/>
              </a:ext>
            </a:extLst>
          </p:cNvPr>
          <p:cNvGrpSpPr/>
          <p:nvPr/>
        </p:nvGrpSpPr>
        <p:grpSpPr>
          <a:xfrm>
            <a:off x="9138494" y="248487"/>
            <a:ext cx="337206" cy="317707"/>
            <a:chOff x="6500813" y="736601"/>
            <a:chExt cx="538163" cy="581025"/>
          </a:xfrm>
          <a:solidFill>
            <a:schemeClr val="bg1">
              <a:lumMod val="50000"/>
            </a:schemeClr>
          </a:solidFill>
        </p:grpSpPr>
        <p:sp>
          <p:nvSpPr>
            <p:cNvPr id="223" name="Freeform 37">
              <a:extLst>
                <a:ext uri="{FF2B5EF4-FFF2-40B4-BE49-F238E27FC236}">
                  <a16:creationId xmlns:a16="http://schemas.microsoft.com/office/drawing/2014/main" id="{D3F0154A-A926-4279-9112-32D3EBF4B7B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38">
              <a:extLst>
                <a:ext uri="{FF2B5EF4-FFF2-40B4-BE49-F238E27FC236}">
                  <a16:creationId xmlns:a16="http://schemas.microsoft.com/office/drawing/2014/main" id="{16FF8AB9-7F8D-42C0-8188-604E76D66457}"/>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39">
              <a:extLst>
                <a:ext uri="{FF2B5EF4-FFF2-40B4-BE49-F238E27FC236}">
                  <a16:creationId xmlns:a16="http://schemas.microsoft.com/office/drawing/2014/main" id="{D7D1D6C0-B437-42ED-B7C4-F82F8081C63A}"/>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40">
              <a:extLst>
                <a:ext uri="{FF2B5EF4-FFF2-40B4-BE49-F238E27FC236}">
                  <a16:creationId xmlns:a16="http://schemas.microsoft.com/office/drawing/2014/main" id="{4EF17EA3-ADC9-47D2-B5D5-3AB9D6EF6059}"/>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41">
              <a:extLst>
                <a:ext uri="{FF2B5EF4-FFF2-40B4-BE49-F238E27FC236}">
                  <a16:creationId xmlns:a16="http://schemas.microsoft.com/office/drawing/2014/main" id="{C440864C-4117-4FCE-BB3C-C35CC071857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8" name="Freeform 42">
              <a:extLst>
                <a:ext uri="{FF2B5EF4-FFF2-40B4-BE49-F238E27FC236}">
                  <a16:creationId xmlns:a16="http://schemas.microsoft.com/office/drawing/2014/main" id="{8257D5C1-F205-4FF4-B300-18C21F70786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9" name="Freeform 43">
              <a:extLst>
                <a:ext uri="{FF2B5EF4-FFF2-40B4-BE49-F238E27FC236}">
                  <a16:creationId xmlns:a16="http://schemas.microsoft.com/office/drawing/2014/main" id="{81D69890-06C9-485E-9144-A4F391308D54}"/>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0" name="Freeform 44">
              <a:extLst>
                <a:ext uri="{FF2B5EF4-FFF2-40B4-BE49-F238E27FC236}">
                  <a16:creationId xmlns:a16="http://schemas.microsoft.com/office/drawing/2014/main" id="{7A7DB7A1-6622-4AD6-AABE-7743A43F5598}"/>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1" name="Freeform 45">
              <a:extLst>
                <a:ext uri="{FF2B5EF4-FFF2-40B4-BE49-F238E27FC236}">
                  <a16:creationId xmlns:a16="http://schemas.microsoft.com/office/drawing/2014/main" id="{09D0F4C0-6A26-423F-A52D-E98979E7838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2" name="Freeform 46">
              <a:extLst>
                <a:ext uri="{FF2B5EF4-FFF2-40B4-BE49-F238E27FC236}">
                  <a16:creationId xmlns:a16="http://schemas.microsoft.com/office/drawing/2014/main" id="{00815487-A918-4783-BF18-09275DEB81B3}"/>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3" name="Freeform 47">
              <a:extLst>
                <a:ext uri="{FF2B5EF4-FFF2-40B4-BE49-F238E27FC236}">
                  <a16:creationId xmlns:a16="http://schemas.microsoft.com/office/drawing/2014/main" id="{1C0E64F6-98C3-46B3-9AFE-29CC00798F98}"/>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4" name="Freeform 48">
              <a:extLst>
                <a:ext uri="{FF2B5EF4-FFF2-40B4-BE49-F238E27FC236}">
                  <a16:creationId xmlns:a16="http://schemas.microsoft.com/office/drawing/2014/main" id="{F0FAA509-B0C1-4B2B-BF24-46C9B9362088}"/>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5" name="Freeform 49">
              <a:extLst>
                <a:ext uri="{FF2B5EF4-FFF2-40B4-BE49-F238E27FC236}">
                  <a16:creationId xmlns:a16="http://schemas.microsoft.com/office/drawing/2014/main" id="{9752CD2B-7C72-43D2-AC99-E274127A1298}"/>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6" name="Freeform 50">
              <a:extLst>
                <a:ext uri="{FF2B5EF4-FFF2-40B4-BE49-F238E27FC236}">
                  <a16:creationId xmlns:a16="http://schemas.microsoft.com/office/drawing/2014/main" id="{95AEB9DE-E178-4799-B7E9-C2A02D6B5053}"/>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7" name="Freeform 51">
              <a:extLst>
                <a:ext uri="{FF2B5EF4-FFF2-40B4-BE49-F238E27FC236}">
                  <a16:creationId xmlns:a16="http://schemas.microsoft.com/office/drawing/2014/main" id="{DF17A32D-2E24-4002-A114-FFBBCE56AC3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8" name="Freeform 52">
              <a:extLst>
                <a:ext uri="{FF2B5EF4-FFF2-40B4-BE49-F238E27FC236}">
                  <a16:creationId xmlns:a16="http://schemas.microsoft.com/office/drawing/2014/main" id="{75DA3AC1-AA97-4F65-8963-88AD88FDAF00}"/>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9" name="Freeform 53">
              <a:extLst>
                <a:ext uri="{FF2B5EF4-FFF2-40B4-BE49-F238E27FC236}">
                  <a16:creationId xmlns:a16="http://schemas.microsoft.com/office/drawing/2014/main" id="{F06A47C0-0DBF-4274-9F4B-BEFDB935E5F3}"/>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0" name="Freeform 54">
              <a:extLst>
                <a:ext uri="{FF2B5EF4-FFF2-40B4-BE49-F238E27FC236}">
                  <a16:creationId xmlns:a16="http://schemas.microsoft.com/office/drawing/2014/main" id="{B7CEDEF3-36C7-462D-B009-FA3D0D1F30E5}"/>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1" name="Freeform 55">
              <a:extLst>
                <a:ext uri="{FF2B5EF4-FFF2-40B4-BE49-F238E27FC236}">
                  <a16:creationId xmlns:a16="http://schemas.microsoft.com/office/drawing/2014/main" id="{BA84EF37-BA52-474C-BDF3-8E11A7811DED}"/>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2" name="Freeform 56">
              <a:extLst>
                <a:ext uri="{FF2B5EF4-FFF2-40B4-BE49-F238E27FC236}">
                  <a16:creationId xmlns:a16="http://schemas.microsoft.com/office/drawing/2014/main" id="{21C2999B-E2AC-4C53-9AC6-8918CCD297A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3" name="Freeform 57">
              <a:extLst>
                <a:ext uri="{FF2B5EF4-FFF2-40B4-BE49-F238E27FC236}">
                  <a16:creationId xmlns:a16="http://schemas.microsoft.com/office/drawing/2014/main" id="{478B2E73-10A6-4FC7-80DB-B0E7532EDAA9}"/>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4" name="Freeform 58">
              <a:extLst>
                <a:ext uri="{FF2B5EF4-FFF2-40B4-BE49-F238E27FC236}">
                  <a16:creationId xmlns:a16="http://schemas.microsoft.com/office/drawing/2014/main" id="{D6C25301-BB06-4F63-9287-8A23BE81BBB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5" name="Freeform 59">
              <a:extLst>
                <a:ext uri="{FF2B5EF4-FFF2-40B4-BE49-F238E27FC236}">
                  <a16:creationId xmlns:a16="http://schemas.microsoft.com/office/drawing/2014/main" id="{F9EAA583-AFA5-4BF8-B103-002345EE42AD}"/>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6" name="Freeform 60">
              <a:extLst>
                <a:ext uri="{FF2B5EF4-FFF2-40B4-BE49-F238E27FC236}">
                  <a16:creationId xmlns:a16="http://schemas.microsoft.com/office/drawing/2014/main" id="{893D3EC7-1F41-4A81-8C85-9A07688EE113}"/>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7" name="Freeform 61">
              <a:extLst>
                <a:ext uri="{FF2B5EF4-FFF2-40B4-BE49-F238E27FC236}">
                  <a16:creationId xmlns:a16="http://schemas.microsoft.com/office/drawing/2014/main" id="{297F2ABF-57E0-4B05-91E4-357F59DB574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8" name="Freeform 62">
              <a:extLst>
                <a:ext uri="{FF2B5EF4-FFF2-40B4-BE49-F238E27FC236}">
                  <a16:creationId xmlns:a16="http://schemas.microsoft.com/office/drawing/2014/main" id="{D7100CF3-F84C-4BF4-998F-2D5779A52C1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9" name="Freeform 63">
              <a:extLst>
                <a:ext uri="{FF2B5EF4-FFF2-40B4-BE49-F238E27FC236}">
                  <a16:creationId xmlns:a16="http://schemas.microsoft.com/office/drawing/2014/main" id="{1B52DC96-924A-4103-A344-01187B5CF4C5}"/>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0" name="Freeform 64">
              <a:extLst>
                <a:ext uri="{FF2B5EF4-FFF2-40B4-BE49-F238E27FC236}">
                  <a16:creationId xmlns:a16="http://schemas.microsoft.com/office/drawing/2014/main" id="{D04F964B-040D-4118-A48D-CEB7613261B2}"/>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1" name="Freeform 65">
              <a:extLst>
                <a:ext uri="{FF2B5EF4-FFF2-40B4-BE49-F238E27FC236}">
                  <a16:creationId xmlns:a16="http://schemas.microsoft.com/office/drawing/2014/main" id="{53E9A7F4-7A89-45EC-B01D-D870CFAD04C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2" name="Freeform 66">
              <a:extLst>
                <a:ext uri="{FF2B5EF4-FFF2-40B4-BE49-F238E27FC236}">
                  <a16:creationId xmlns:a16="http://schemas.microsoft.com/office/drawing/2014/main" id="{A884E960-4D72-4F10-A5CC-F04B62C39D35}"/>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3" name="Freeform 67">
              <a:extLst>
                <a:ext uri="{FF2B5EF4-FFF2-40B4-BE49-F238E27FC236}">
                  <a16:creationId xmlns:a16="http://schemas.microsoft.com/office/drawing/2014/main" id="{C9A177DF-D9BA-400C-9B6B-3FB30C329A6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4" name="Freeform 68">
              <a:extLst>
                <a:ext uri="{FF2B5EF4-FFF2-40B4-BE49-F238E27FC236}">
                  <a16:creationId xmlns:a16="http://schemas.microsoft.com/office/drawing/2014/main" id="{EA7087AE-C0CB-4308-AB36-4BF21CDA28A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5" name="Freeform 69">
              <a:extLst>
                <a:ext uri="{FF2B5EF4-FFF2-40B4-BE49-F238E27FC236}">
                  <a16:creationId xmlns:a16="http://schemas.microsoft.com/office/drawing/2014/main" id="{4A3FDFDD-8FF9-467C-8C19-6AC78A73C86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6" name="Freeform 70">
              <a:extLst>
                <a:ext uri="{FF2B5EF4-FFF2-40B4-BE49-F238E27FC236}">
                  <a16:creationId xmlns:a16="http://schemas.microsoft.com/office/drawing/2014/main" id="{BADEDD2D-1DB5-4AAB-BAF5-63D505CF59F9}"/>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7" name="Freeform 71">
              <a:extLst>
                <a:ext uri="{FF2B5EF4-FFF2-40B4-BE49-F238E27FC236}">
                  <a16:creationId xmlns:a16="http://schemas.microsoft.com/office/drawing/2014/main" id="{A5F8C983-7664-44A3-B30C-66ED063F1BA3}"/>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8" name="Freeform 72">
              <a:extLst>
                <a:ext uri="{FF2B5EF4-FFF2-40B4-BE49-F238E27FC236}">
                  <a16:creationId xmlns:a16="http://schemas.microsoft.com/office/drawing/2014/main" id="{4A68BC3F-0378-473C-8A6C-97455D2D1A00}"/>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9" name="Freeform 73">
              <a:extLst>
                <a:ext uri="{FF2B5EF4-FFF2-40B4-BE49-F238E27FC236}">
                  <a16:creationId xmlns:a16="http://schemas.microsoft.com/office/drawing/2014/main" id="{AC440439-AB69-48E5-8C83-BA88EDC86CDA}"/>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0" name="Freeform 74">
              <a:extLst>
                <a:ext uri="{FF2B5EF4-FFF2-40B4-BE49-F238E27FC236}">
                  <a16:creationId xmlns:a16="http://schemas.microsoft.com/office/drawing/2014/main" id="{6AAC3D5B-0AF2-4A54-9D12-32D8861DCF10}"/>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1" name="Freeform 75">
              <a:extLst>
                <a:ext uri="{FF2B5EF4-FFF2-40B4-BE49-F238E27FC236}">
                  <a16:creationId xmlns:a16="http://schemas.microsoft.com/office/drawing/2014/main" id="{387403F9-8AB4-4028-8056-8B268C7F7A97}"/>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2" name="Freeform 76">
              <a:extLst>
                <a:ext uri="{FF2B5EF4-FFF2-40B4-BE49-F238E27FC236}">
                  <a16:creationId xmlns:a16="http://schemas.microsoft.com/office/drawing/2014/main" id="{7C770E61-F53E-4916-84D1-402AD99E02D9}"/>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3" name="Freeform 77">
              <a:extLst>
                <a:ext uri="{FF2B5EF4-FFF2-40B4-BE49-F238E27FC236}">
                  <a16:creationId xmlns:a16="http://schemas.microsoft.com/office/drawing/2014/main" id="{D41A9618-2B2F-4D50-A431-C48A2D67E3B0}"/>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4" name="Freeform 78">
              <a:extLst>
                <a:ext uri="{FF2B5EF4-FFF2-40B4-BE49-F238E27FC236}">
                  <a16:creationId xmlns:a16="http://schemas.microsoft.com/office/drawing/2014/main" id="{EE1BB687-5EC0-46CA-A0E8-8C6CBBB0ECC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5" name="Freeform 79">
              <a:extLst>
                <a:ext uri="{FF2B5EF4-FFF2-40B4-BE49-F238E27FC236}">
                  <a16:creationId xmlns:a16="http://schemas.microsoft.com/office/drawing/2014/main" id="{20B9E0A4-3681-4A5E-B6CC-C524F6B7D6E7}"/>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6" name="Freeform 80">
              <a:extLst>
                <a:ext uri="{FF2B5EF4-FFF2-40B4-BE49-F238E27FC236}">
                  <a16:creationId xmlns:a16="http://schemas.microsoft.com/office/drawing/2014/main" id="{E919EB5F-EAE4-47FC-9F3B-D0F8DF2053F9}"/>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7" name="Freeform 81">
              <a:extLst>
                <a:ext uri="{FF2B5EF4-FFF2-40B4-BE49-F238E27FC236}">
                  <a16:creationId xmlns:a16="http://schemas.microsoft.com/office/drawing/2014/main" id="{CEEFA532-2465-40AB-8F70-814E12FC6C8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8" name="Freeform 82">
              <a:extLst>
                <a:ext uri="{FF2B5EF4-FFF2-40B4-BE49-F238E27FC236}">
                  <a16:creationId xmlns:a16="http://schemas.microsoft.com/office/drawing/2014/main" id="{C00DA2D0-153C-4ECD-AEBA-C36824C1AFB7}"/>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9" name="Freeform 83">
              <a:extLst>
                <a:ext uri="{FF2B5EF4-FFF2-40B4-BE49-F238E27FC236}">
                  <a16:creationId xmlns:a16="http://schemas.microsoft.com/office/drawing/2014/main" id="{0B5A492C-CC22-47C7-AA29-708732D1BCF7}"/>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0" name="Freeform 84">
              <a:extLst>
                <a:ext uri="{FF2B5EF4-FFF2-40B4-BE49-F238E27FC236}">
                  <a16:creationId xmlns:a16="http://schemas.microsoft.com/office/drawing/2014/main" id="{A125EF2B-2931-4906-B2FB-DED8E7EEE79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1" name="Freeform 85">
              <a:extLst>
                <a:ext uri="{FF2B5EF4-FFF2-40B4-BE49-F238E27FC236}">
                  <a16:creationId xmlns:a16="http://schemas.microsoft.com/office/drawing/2014/main" id="{0B19C29E-F486-452E-9CD7-5BC490FCEB7E}"/>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95" name="Group 194">
            <a:extLst>
              <a:ext uri="{FF2B5EF4-FFF2-40B4-BE49-F238E27FC236}">
                <a16:creationId xmlns:a16="http://schemas.microsoft.com/office/drawing/2014/main" id="{42E2251E-BEA4-4142-BBB3-9A5B3B549C35}"/>
              </a:ext>
            </a:extLst>
          </p:cNvPr>
          <p:cNvGrpSpPr/>
          <p:nvPr/>
        </p:nvGrpSpPr>
        <p:grpSpPr>
          <a:xfrm>
            <a:off x="9622537" y="85117"/>
            <a:ext cx="559961" cy="608099"/>
            <a:chOff x="9622537" y="85117"/>
            <a:chExt cx="559961" cy="608099"/>
          </a:xfrm>
        </p:grpSpPr>
        <p:sp>
          <p:nvSpPr>
            <p:cNvPr id="213" name="Freeform 10">
              <a:extLst>
                <a:ext uri="{FF2B5EF4-FFF2-40B4-BE49-F238E27FC236}">
                  <a16:creationId xmlns:a16="http://schemas.microsoft.com/office/drawing/2014/main" id="{D4F8F44F-2BB8-42EF-98AA-2E600CEE36D2}"/>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4" name="Freeform 11">
              <a:extLst>
                <a:ext uri="{FF2B5EF4-FFF2-40B4-BE49-F238E27FC236}">
                  <a16:creationId xmlns:a16="http://schemas.microsoft.com/office/drawing/2014/main" id="{B87C42A1-A59F-457B-9226-9E85D12B1647}"/>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5" name="Freeform 12">
              <a:extLst>
                <a:ext uri="{FF2B5EF4-FFF2-40B4-BE49-F238E27FC236}">
                  <a16:creationId xmlns:a16="http://schemas.microsoft.com/office/drawing/2014/main" id="{72047E91-A87A-47FB-9F6F-DDEC7174DFF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6" name="Freeform 13">
              <a:extLst>
                <a:ext uri="{FF2B5EF4-FFF2-40B4-BE49-F238E27FC236}">
                  <a16:creationId xmlns:a16="http://schemas.microsoft.com/office/drawing/2014/main" id="{C66CDECC-B226-4775-9EBC-0525833156FF}"/>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7" name="Freeform 14">
              <a:extLst>
                <a:ext uri="{FF2B5EF4-FFF2-40B4-BE49-F238E27FC236}">
                  <a16:creationId xmlns:a16="http://schemas.microsoft.com/office/drawing/2014/main" id="{0ED4B87A-E803-4F93-AC31-5F8077676965}"/>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6" name="Group 195">
            <a:extLst>
              <a:ext uri="{FF2B5EF4-FFF2-40B4-BE49-F238E27FC236}">
                <a16:creationId xmlns:a16="http://schemas.microsoft.com/office/drawing/2014/main" id="{730ACF83-E62F-4A0E-8B4A-81531B523866}"/>
              </a:ext>
            </a:extLst>
          </p:cNvPr>
          <p:cNvGrpSpPr/>
          <p:nvPr/>
        </p:nvGrpSpPr>
        <p:grpSpPr>
          <a:xfrm>
            <a:off x="10232823" y="122400"/>
            <a:ext cx="537308" cy="533532"/>
            <a:chOff x="8169276" y="2006600"/>
            <a:chExt cx="3614737" cy="3589337"/>
          </a:xfrm>
          <a:solidFill>
            <a:schemeClr val="bg1">
              <a:lumMod val="75000"/>
            </a:schemeClr>
          </a:solidFill>
        </p:grpSpPr>
        <p:sp>
          <p:nvSpPr>
            <p:cNvPr id="208" name="Freeform 18">
              <a:extLst>
                <a:ext uri="{FF2B5EF4-FFF2-40B4-BE49-F238E27FC236}">
                  <a16:creationId xmlns:a16="http://schemas.microsoft.com/office/drawing/2014/main" id="{A7A868BF-95AD-48B3-8C9B-D79C6CE6784A}"/>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9" name="Freeform 15">
              <a:extLst>
                <a:ext uri="{FF2B5EF4-FFF2-40B4-BE49-F238E27FC236}">
                  <a16:creationId xmlns:a16="http://schemas.microsoft.com/office/drawing/2014/main" id="{7D010D35-625A-49A8-94BE-9B16E3F207D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0" name="Oval 16">
              <a:extLst>
                <a:ext uri="{FF2B5EF4-FFF2-40B4-BE49-F238E27FC236}">
                  <a16:creationId xmlns:a16="http://schemas.microsoft.com/office/drawing/2014/main" id="{3B273D79-B176-465B-9F23-47C7C89ACDA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1" name="Freeform 17">
              <a:extLst>
                <a:ext uri="{FF2B5EF4-FFF2-40B4-BE49-F238E27FC236}">
                  <a16:creationId xmlns:a16="http://schemas.microsoft.com/office/drawing/2014/main" id="{8DE3D035-9BF0-435C-B7EF-4CABB2DD25B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2" name="Freeform 19">
              <a:extLst>
                <a:ext uri="{FF2B5EF4-FFF2-40B4-BE49-F238E27FC236}">
                  <a16:creationId xmlns:a16="http://schemas.microsoft.com/office/drawing/2014/main" id="{0931CC81-46AC-4E4D-BD9C-16ECF76B8BA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8" name="Group 197">
            <a:extLst>
              <a:ext uri="{FF2B5EF4-FFF2-40B4-BE49-F238E27FC236}">
                <a16:creationId xmlns:a16="http://schemas.microsoft.com/office/drawing/2014/main" id="{CCA2E177-9BBF-4D84-8B36-BC64A97DB2DD}"/>
              </a:ext>
            </a:extLst>
          </p:cNvPr>
          <p:cNvGrpSpPr/>
          <p:nvPr/>
        </p:nvGrpSpPr>
        <p:grpSpPr>
          <a:xfrm rot="16938775">
            <a:off x="10818568" y="122400"/>
            <a:ext cx="537307" cy="533532"/>
            <a:chOff x="8169276" y="2006600"/>
            <a:chExt cx="3614737" cy="3589337"/>
          </a:xfrm>
        </p:grpSpPr>
        <p:sp>
          <p:nvSpPr>
            <p:cNvPr id="200" name="Freeform 18">
              <a:extLst>
                <a:ext uri="{FF2B5EF4-FFF2-40B4-BE49-F238E27FC236}">
                  <a16:creationId xmlns:a16="http://schemas.microsoft.com/office/drawing/2014/main" id="{388514F5-8819-4970-8B64-0DD34BCFF68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1" name="Freeform 15">
              <a:extLst>
                <a:ext uri="{FF2B5EF4-FFF2-40B4-BE49-F238E27FC236}">
                  <a16:creationId xmlns:a16="http://schemas.microsoft.com/office/drawing/2014/main" id="{07F4F403-E7CA-4DCA-8CBC-585CCEA4CAB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2" name="Oval 16">
              <a:extLst>
                <a:ext uri="{FF2B5EF4-FFF2-40B4-BE49-F238E27FC236}">
                  <a16:creationId xmlns:a16="http://schemas.microsoft.com/office/drawing/2014/main" id="{D217F85A-3E0F-4FE0-8A55-C45D06A0E96D}"/>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3" name="Freeform 17">
              <a:extLst>
                <a:ext uri="{FF2B5EF4-FFF2-40B4-BE49-F238E27FC236}">
                  <a16:creationId xmlns:a16="http://schemas.microsoft.com/office/drawing/2014/main" id="{03A2D857-32C7-420D-9410-FD4B6380F83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4" name="Freeform 19">
              <a:extLst>
                <a:ext uri="{FF2B5EF4-FFF2-40B4-BE49-F238E27FC236}">
                  <a16:creationId xmlns:a16="http://schemas.microsoft.com/office/drawing/2014/main" id="{E04D08A6-8F8E-4248-97D5-882C61E0626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99" name="Picture 4" descr="Coronavirus | United Nations">
            <a:extLst>
              <a:ext uri="{FF2B5EF4-FFF2-40B4-BE49-F238E27FC236}">
                <a16:creationId xmlns:a16="http://schemas.microsoft.com/office/drawing/2014/main" id="{73C0DF7C-44C5-452B-824F-F41A12E1DF07}"/>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63107EFF-010D-4CAF-BE90-70A196387078}"/>
              </a:ext>
            </a:extLst>
          </p:cNvPr>
          <p:cNvSpPr>
            <a:spLocks noGrp="1"/>
          </p:cNvSpPr>
          <p:nvPr>
            <p:ph type="title"/>
          </p:nvPr>
        </p:nvSpPr>
        <p:spPr/>
        <p:txBody>
          <a:bodyPr>
            <a:normAutofit/>
          </a:bodyPr>
          <a:lstStyle/>
          <a:p>
            <a:r>
              <a:rPr lang="en-US" dirty="0"/>
              <a:t>The post CoVID-19 impacts all aspects</a:t>
            </a:r>
          </a:p>
        </p:txBody>
      </p:sp>
      <p:sp>
        <p:nvSpPr>
          <p:cNvPr id="107" name="Freeform 332">
            <a:extLst>
              <a:ext uri="{FF2B5EF4-FFF2-40B4-BE49-F238E27FC236}">
                <a16:creationId xmlns:a16="http://schemas.microsoft.com/office/drawing/2014/main" id="{1DE5A947-C85D-4E23-8887-812108A37F0C}"/>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8" name="Group 107">
            <a:extLst>
              <a:ext uri="{FF2B5EF4-FFF2-40B4-BE49-F238E27FC236}">
                <a16:creationId xmlns:a16="http://schemas.microsoft.com/office/drawing/2014/main" id="{A0F4D431-9E2B-4EF4-ABF7-E6FDE02329D5}"/>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09" name="Freeform 46">
              <a:extLst>
                <a:ext uri="{FF2B5EF4-FFF2-40B4-BE49-F238E27FC236}">
                  <a16:creationId xmlns:a16="http://schemas.microsoft.com/office/drawing/2014/main" id="{02A53E7F-B130-4B2C-81DE-719C3B5192CD}"/>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7">
              <a:extLst>
                <a:ext uri="{FF2B5EF4-FFF2-40B4-BE49-F238E27FC236}">
                  <a16:creationId xmlns:a16="http://schemas.microsoft.com/office/drawing/2014/main" id="{13F6D85D-E3FB-44D1-8053-7C52E3EDE14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8">
              <a:extLst>
                <a:ext uri="{FF2B5EF4-FFF2-40B4-BE49-F238E27FC236}">
                  <a16:creationId xmlns:a16="http://schemas.microsoft.com/office/drawing/2014/main" id="{1DD68587-4862-4814-B0CD-442E963FC24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9">
              <a:extLst>
                <a:ext uri="{FF2B5EF4-FFF2-40B4-BE49-F238E27FC236}">
                  <a16:creationId xmlns:a16="http://schemas.microsoft.com/office/drawing/2014/main" id="{19196A75-158B-49F3-9C38-333D554AA9C0}"/>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0">
              <a:extLst>
                <a:ext uri="{FF2B5EF4-FFF2-40B4-BE49-F238E27FC236}">
                  <a16:creationId xmlns:a16="http://schemas.microsoft.com/office/drawing/2014/main" id="{A3FEC21B-004E-41EE-9987-839404942D97}"/>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1">
              <a:extLst>
                <a:ext uri="{FF2B5EF4-FFF2-40B4-BE49-F238E27FC236}">
                  <a16:creationId xmlns:a16="http://schemas.microsoft.com/office/drawing/2014/main" id="{2F568501-322B-40EF-B1B6-4462E6773DF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84232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 name="Object 192" hidden="1">
            <a:extLst>
              <a:ext uri="{FF2B5EF4-FFF2-40B4-BE49-F238E27FC236}">
                <a16:creationId xmlns:a16="http://schemas.microsoft.com/office/drawing/2014/main" id="{6D2188A0-0220-4A40-BE10-F2F89A9B30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4" name="think-cell Slide" r:id="rId5" imgW="473" imgH="473" progId="TCLayout.ActiveDocument.1">
                  <p:embed/>
                </p:oleObj>
              </mc:Choice>
              <mc:Fallback>
                <p:oleObj name="think-cell Slide" r:id="rId5" imgW="473" imgH="473" progId="TCLayout.ActiveDocument.1">
                  <p:embed/>
                  <p:pic>
                    <p:nvPicPr>
                      <p:cNvPr id="193" name="Object 192" hidden="1">
                        <a:extLst>
                          <a:ext uri="{FF2B5EF4-FFF2-40B4-BE49-F238E27FC236}">
                            <a16:creationId xmlns:a16="http://schemas.microsoft.com/office/drawing/2014/main" id="{6D2188A0-0220-4A40-BE10-F2F89A9B3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2" name="Rectangle 191" hidden="1">
            <a:extLst>
              <a:ext uri="{FF2B5EF4-FFF2-40B4-BE49-F238E27FC236}">
                <a16:creationId xmlns:a16="http://schemas.microsoft.com/office/drawing/2014/main" id="{2A08A4C2-5F3C-47DE-96E6-C0D4C04021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normAutofit/>
          </a:bodyPr>
          <a:lstStyle/>
          <a:p>
            <a:r>
              <a:rPr lang="en-US"/>
              <a:t>Unprecedented times act as catalyst for change</a:t>
            </a:r>
          </a:p>
        </p:txBody>
      </p:sp>
      <p:grpSp>
        <p:nvGrpSpPr>
          <p:cNvPr id="522" name="Group 521"/>
          <p:cNvGrpSpPr/>
          <p:nvPr/>
        </p:nvGrpSpPr>
        <p:grpSpPr>
          <a:xfrm>
            <a:off x="1658023" y="2376903"/>
            <a:ext cx="1017499" cy="951475"/>
            <a:chOff x="3241295" y="2141969"/>
            <a:chExt cx="1017499" cy="970600"/>
          </a:xfrm>
        </p:grpSpPr>
        <p:sp>
          <p:nvSpPr>
            <p:cNvPr id="306" name="Rectangle 38"/>
            <p:cNvSpPr>
              <a:spLocks noChangeArrowheads="1"/>
            </p:cNvSpPr>
            <p:nvPr/>
          </p:nvSpPr>
          <p:spPr bwMode="auto">
            <a:xfrm>
              <a:off x="3410537" y="2513080"/>
              <a:ext cx="85641"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39"/>
            <p:cNvSpPr>
              <a:spLocks noChangeArrowheads="1"/>
            </p:cNvSpPr>
            <p:nvPr/>
          </p:nvSpPr>
          <p:spPr bwMode="auto">
            <a:xfrm>
              <a:off x="3612406" y="2513080"/>
              <a:ext cx="73407"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40"/>
            <p:cNvSpPr>
              <a:spLocks noChangeArrowheads="1"/>
            </p:cNvSpPr>
            <p:nvPr/>
          </p:nvSpPr>
          <p:spPr bwMode="auto">
            <a:xfrm>
              <a:off x="3810196" y="2513080"/>
              <a:ext cx="67290"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Rectangle 41"/>
            <p:cNvSpPr>
              <a:spLocks noChangeArrowheads="1"/>
            </p:cNvSpPr>
            <p:nvPr/>
          </p:nvSpPr>
          <p:spPr bwMode="auto">
            <a:xfrm>
              <a:off x="3999831" y="2513080"/>
              <a:ext cx="75446"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42"/>
            <p:cNvSpPr>
              <a:spLocks noChangeArrowheads="1"/>
            </p:cNvSpPr>
            <p:nvPr/>
          </p:nvSpPr>
          <p:spPr bwMode="auto">
            <a:xfrm>
              <a:off x="3375874" y="2445790"/>
              <a:ext cx="734067" cy="5709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43"/>
            <p:cNvSpPr>
              <a:spLocks noChangeArrowheads="1"/>
            </p:cNvSpPr>
            <p:nvPr/>
          </p:nvSpPr>
          <p:spPr bwMode="auto">
            <a:xfrm>
              <a:off x="3333052" y="2947403"/>
              <a:ext cx="829904" cy="42821"/>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44"/>
            <p:cNvSpPr>
              <a:spLocks noChangeArrowheads="1"/>
            </p:cNvSpPr>
            <p:nvPr/>
          </p:nvSpPr>
          <p:spPr bwMode="auto">
            <a:xfrm>
              <a:off x="3241295" y="3063631"/>
              <a:ext cx="1017499" cy="4893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45"/>
            <p:cNvSpPr>
              <a:spLocks noChangeArrowheads="1"/>
            </p:cNvSpPr>
            <p:nvPr/>
          </p:nvSpPr>
          <p:spPr bwMode="auto">
            <a:xfrm>
              <a:off x="3284115" y="3004497"/>
              <a:ext cx="921662" cy="4893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6"/>
            <p:cNvSpPr>
              <a:spLocks/>
            </p:cNvSpPr>
            <p:nvPr/>
          </p:nvSpPr>
          <p:spPr bwMode="auto">
            <a:xfrm>
              <a:off x="3284115" y="2141969"/>
              <a:ext cx="921662" cy="314018"/>
            </a:xfrm>
            <a:custGeom>
              <a:avLst/>
              <a:gdLst>
                <a:gd name="T0" fmla="*/ 189 w 191"/>
                <a:gd name="T1" fmla="*/ 59 h 65"/>
                <a:gd name="T2" fmla="*/ 189 w 191"/>
                <a:gd name="T3" fmla="*/ 59 h 65"/>
                <a:gd name="T4" fmla="*/ 96 w 191"/>
                <a:gd name="T5" fmla="*/ 0 h 65"/>
                <a:gd name="T6" fmla="*/ 1 w 191"/>
                <a:gd name="T7" fmla="*/ 59 h 65"/>
                <a:gd name="T8" fmla="*/ 0 w 191"/>
                <a:gd name="T9" fmla="*/ 61 h 65"/>
                <a:gd name="T10" fmla="*/ 5 w 191"/>
                <a:gd name="T11" fmla="*/ 65 h 65"/>
                <a:gd name="T12" fmla="*/ 187 w 191"/>
                <a:gd name="T13" fmla="*/ 65 h 65"/>
                <a:gd name="T14" fmla="*/ 191 w 191"/>
                <a:gd name="T15" fmla="*/ 61 h 65"/>
                <a:gd name="T16" fmla="*/ 189 w 191"/>
                <a:gd name="T1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65">
                  <a:moveTo>
                    <a:pt x="189" y="59"/>
                  </a:moveTo>
                  <a:cubicBezTo>
                    <a:pt x="189" y="59"/>
                    <a:pt x="189" y="59"/>
                    <a:pt x="189" y="59"/>
                  </a:cubicBezTo>
                  <a:cubicBezTo>
                    <a:pt x="96" y="0"/>
                    <a:pt x="96" y="0"/>
                    <a:pt x="96" y="0"/>
                  </a:cubicBezTo>
                  <a:cubicBezTo>
                    <a:pt x="1" y="59"/>
                    <a:pt x="1" y="59"/>
                    <a:pt x="1" y="59"/>
                  </a:cubicBezTo>
                  <a:cubicBezTo>
                    <a:pt x="0" y="61"/>
                    <a:pt x="0" y="61"/>
                    <a:pt x="0" y="61"/>
                  </a:cubicBezTo>
                  <a:cubicBezTo>
                    <a:pt x="0" y="65"/>
                    <a:pt x="1" y="65"/>
                    <a:pt x="5" y="65"/>
                  </a:cubicBezTo>
                  <a:cubicBezTo>
                    <a:pt x="187" y="65"/>
                    <a:pt x="187" y="65"/>
                    <a:pt x="187" y="65"/>
                  </a:cubicBezTo>
                  <a:cubicBezTo>
                    <a:pt x="189" y="65"/>
                    <a:pt x="191" y="65"/>
                    <a:pt x="191" y="61"/>
                  </a:cubicBezTo>
                  <a:cubicBezTo>
                    <a:pt x="191" y="61"/>
                    <a:pt x="191" y="59"/>
                    <a:pt x="189" y="5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47"/>
            <p:cNvSpPr>
              <a:spLocks noChangeArrowheads="1"/>
            </p:cNvSpPr>
            <p:nvPr/>
          </p:nvSpPr>
          <p:spPr bwMode="auto">
            <a:xfrm>
              <a:off x="3657266" y="2223532"/>
              <a:ext cx="173322" cy="15904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48"/>
            <p:cNvSpPr>
              <a:spLocks noChangeArrowheads="1"/>
            </p:cNvSpPr>
            <p:nvPr/>
          </p:nvSpPr>
          <p:spPr bwMode="auto">
            <a:xfrm>
              <a:off x="3693969" y="2223532"/>
              <a:ext cx="183517" cy="20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Verdana" panose="020B060403050404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382" name="Rectangle 114"/>
          <p:cNvSpPr>
            <a:spLocks noChangeArrowheads="1"/>
          </p:cNvSpPr>
          <p:nvPr/>
        </p:nvSpPr>
        <p:spPr bwMode="auto">
          <a:xfrm>
            <a:off x="5561762" y="4074099"/>
            <a:ext cx="1076632" cy="20388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5"/>
          <p:cNvSpPr>
            <a:spLocks/>
          </p:cNvSpPr>
          <p:nvPr/>
        </p:nvSpPr>
        <p:spPr bwMode="auto">
          <a:xfrm>
            <a:off x="6348845" y="4112078"/>
            <a:ext cx="236533" cy="123932"/>
          </a:xfrm>
          <a:custGeom>
            <a:avLst/>
            <a:gdLst>
              <a:gd name="T0" fmla="*/ 0 w 116"/>
              <a:gd name="T1" fmla="*/ 17 h 62"/>
              <a:gd name="T2" fmla="*/ 88 w 116"/>
              <a:gd name="T3" fmla="*/ 17 h 62"/>
              <a:gd name="T4" fmla="*/ 88 w 116"/>
              <a:gd name="T5" fmla="*/ 0 h 62"/>
              <a:gd name="T6" fmla="*/ 116 w 116"/>
              <a:gd name="T7" fmla="*/ 31 h 62"/>
              <a:gd name="T8" fmla="*/ 88 w 116"/>
              <a:gd name="T9" fmla="*/ 62 h 62"/>
              <a:gd name="T10" fmla="*/ 88 w 116"/>
              <a:gd name="T11" fmla="*/ 47 h 62"/>
              <a:gd name="T12" fmla="*/ 0 w 116"/>
              <a:gd name="T13" fmla="*/ 47 h 62"/>
              <a:gd name="T14" fmla="*/ 0 w 116"/>
              <a:gd name="T15" fmla="*/ 17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0" y="17"/>
                </a:moveTo>
                <a:lnTo>
                  <a:pt x="88" y="17"/>
                </a:lnTo>
                <a:lnTo>
                  <a:pt x="88" y="0"/>
                </a:lnTo>
                <a:lnTo>
                  <a:pt x="116" y="31"/>
                </a:lnTo>
                <a:lnTo>
                  <a:pt x="88" y="62"/>
                </a:lnTo>
                <a:lnTo>
                  <a:pt x="88" y="47"/>
                </a:lnTo>
                <a:lnTo>
                  <a:pt x="0" y="47"/>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16"/>
          <p:cNvSpPr>
            <a:spLocks/>
          </p:cNvSpPr>
          <p:nvPr/>
        </p:nvSpPr>
        <p:spPr bwMode="auto">
          <a:xfrm>
            <a:off x="5620895" y="4112078"/>
            <a:ext cx="236533" cy="123932"/>
          </a:xfrm>
          <a:custGeom>
            <a:avLst/>
            <a:gdLst>
              <a:gd name="T0" fmla="*/ 116 w 116"/>
              <a:gd name="T1" fmla="*/ 17 h 62"/>
              <a:gd name="T2" fmla="*/ 28 w 116"/>
              <a:gd name="T3" fmla="*/ 17 h 62"/>
              <a:gd name="T4" fmla="*/ 28 w 116"/>
              <a:gd name="T5" fmla="*/ 0 h 62"/>
              <a:gd name="T6" fmla="*/ 0 w 116"/>
              <a:gd name="T7" fmla="*/ 31 h 62"/>
              <a:gd name="T8" fmla="*/ 28 w 116"/>
              <a:gd name="T9" fmla="*/ 62 h 62"/>
              <a:gd name="T10" fmla="*/ 28 w 116"/>
              <a:gd name="T11" fmla="*/ 47 h 62"/>
              <a:gd name="T12" fmla="*/ 116 w 116"/>
              <a:gd name="T13" fmla="*/ 47 h 62"/>
              <a:gd name="T14" fmla="*/ 116 w 116"/>
              <a:gd name="T15" fmla="*/ 17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116" y="17"/>
                </a:moveTo>
                <a:lnTo>
                  <a:pt x="28" y="17"/>
                </a:lnTo>
                <a:lnTo>
                  <a:pt x="28" y="0"/>
                </a:lnTo>
                <a:lnTo>
                  <a:pt x="0" y="31"/>
                </a:lnTo>
                <a:lnTo>
                  <a:pt x="28" y="62"/>
                </a:lnTo>
                <a:lnTo>
                  <a:pt x="28" y="47"/>
                </a:lnTo>
                <a:lnTo>
                  <a:pt x="116" y="47"/>
                </a:lnTo>
                <a:lnTo>
                  <a:pt x="116"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17"/>
          <p:cNvSpPr>
            <a:spLocks/>
          </p:cNvSpPr>
          <p:nvPr/>
        </p:nvSpPr>
        <p:spPr bwMode="auto">
          <a:xfrm>
            <a:off x="5879858" y="3970156"/>
            <a:ext cx="450636" cy="421769"/>
          </a:xfrm>
          <a:custGeom>
            <a:avLst/>
            <a:gdLst>
              <a:gd name="T0" fmla="*/ 5 w 93"/>
              <a:gd name="T1" fmla="*/ 54 h 89"/>
              <a:gd name="T2" fmla="*/ 37 w 93"/>
              <a:gd name="T3" fmla="*/ 5 h 89"/>
              <a:gd name="T4" fmla="*/ 88 w 93"/>
              <a:gd name="T5" fmla="*/ 38 h 89"/>
              <a:gd name="T6" fmla="*/ 55 w 93"/>
              <a:gd name="T7" fmla="*/ 84 h 89"/>
              <a:gd name="T8" fmla="*/ 5 w 93"/>
              <a:gd name="T9" fmla="*/ 54 h 89"/>
            </a:gdLst>
            <a:ahLst/>
            <a:cxnLst>
              <a:cxn ang="0">
                <a:pos x="T0" y="T1"/>
              </a:cxn>
              <a:cxn ang="0">
                <a:pos x="T2" y="T3"/>
              </a:cxn>
              <a:cxn ang="0">
                <a:pos x="T4" y="T5"/>
              </a:cxn>
              <a:cxn ang="0">
                <a:pos x="T6" y="T7"/>
              </a:cxn>
              <a:cxn ang="0">
                <a:pos x="T8" y="T9"/>
              </a:cxn>
            </a:cxnLst>
            <a:rect l="0" t="0" r="r" b="b"/>
            <a:pathLst>
              <a:path w="93" h="89">
                <a:moveTo>
                  <a:pt x="5" y="54"/>
                </a:moveTo>
                <a:cubicBezTo>
                  <a:pt x="0" y="32"/>
                  <a:pt x="14" y="10"/>
                  <a:pt x="37" y="5"/>
                </a:cubicBezTo>
                <a:cubicBezTo>
                  <a:pt x="60" y="0"/>
                  <a:pt x="83" y="15"/>
                  <a:pt x="88" y="38"/>
                </a:cubicBezTo>
                <a:cubicBezTo>
                  <a:pt x="93" y="60"/>
                  <a:pt x="78" y="80"/>
                  <a:pt x="55" y="84"/>
                </a:cubicBezTo>
                <a:cubicBezTo>
                  <a:pt x="32" y="89"/>
                  <a:pt x="10" y="77"/>
                  <a:pt x="5" y="5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Rectangle 136"/>
          <p:cNvSpPr>
            <a:spLocks noChangeArrowheads="1"/>
          </p:cNvSpPr>
          <p:nvPr/>
        </p:nvSpPr>
        <p:spPr bwMode="auto">
          <a:xfrm>
            <a:off x="5561762" y="5029572"/>
            <a:ext cx="1076632" cy="20988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37"/>
          <p:cNvSpPr>
            <a:spLocks/>
          </p:cNvSpPr>
          <p:nvPr/>
        </p:nvSpPr>
        <p:spPr bwMode="auto">
          <a:xfrm>
            <a:off x="6348845" y="5073547"/>
            <a:ext cx="236533" cy="121933"/>
          </a:xfrm>
          <a:custGeom>
            <a:avLst/>
            <a:gdLst>
              <a:gd name="T0" fmla="*/ 0 w 116"/>
              <a:gd name="T1" fmla="*/ 16 h 61"/>
              <a:gd name="T2" fmla="*/ 88 w 116"/>
              <a:gd name="T3" fmla="*/ 16 h 61"/>
              <a:gd name="T4" fmla="*/ 88 w 116"/>
              <a:gd name="T5" fmla="*/ 0 h 61"/>
              <a:gd name="T6" fmla="*/ 116 w 116"/>
              <a:gd name="T7" fmla="*/ 31 h 61"/>
              <a:gd name="T8" fmla="*/ 88 w 116"/>
              <a:gd name="T9" fmla="*/ 61 h 61"/>
              <a:gd name="T10" fmla="*/ 88 w 116"/>
              <a:gd name="T11" fmla="*/ 45 h 61"/>
              <a:gd name="T12" fmla="*/ 0 w 116"/>
              <a:gd name="T13" fmla="*/ 45 h 61"/>
              <a:gd name="T14" fmla="*/ 0 w 116"/>
              <a:gd name="T15" fmla="*/ 16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1">
                <a:moveTo>
                  <a:pt x="0" y="16"/>
                </a:moveTo>
                <a:lnTo>
                  <a:pt x="88" y="16"/>
                </a:lnTo>
                <a:lnTo>
                  <a:pt x="88" y="0"/>
                </a:lnTo>
                <a:lnTo>
                  <a:pt x="116" y="31"/>
                </a:lnTo>
                <a:lnTo>
                  <a:pt x="88" y="61"/>
                </a:lnTo>
                <a:lnTo>
                  <a:pt x="88" y="45"/>
                </a:lnTo>
                <a:lnTo>
                  <a:pt x="0" y="45"/>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38"/>
          <p:cNvSpPr>
            <a:spLocks/>
          </p:cNvSpPr>
          <p:nvPr/>
        </p:nvSpPr>
        <p:spPr bwMode="auto">
          <a:xfrm>
            <a:off x="5620895" y="5073547"/>
            <a:ext cx="236533" cy="121933"/>
          </a:xfrm>
          <a:custGeom>
            <a:avLst/>
            <a:gdLst>
              <a:gd name="T0" fmla="*/ 116 w 116"/>
              <a:gd name="T1" fmla="*/ 16 h 61"/>
              <a:gd name="T2" fmla="*/ 28 w 116"/>
              <a:gd name="T3" fmla="*/ 16 h 61"/>
              <a:gd name="T4" fmla="*/ 28 w 116"/>
              <a:gd name="T5" fmla="*/ 0 h 61"/>
              <a:gd name="T6" fmla="*/ 0 w 116"/>
              <a:gd name="T7" fmla="*/ 31 h 61"/>
              <a:gd name="T8" fmla="*/ 28 w 116"/>
              <a:gd name="T9" fmla="*/ 61 h 61"/>
              <a:gd name="T10" fmla="*/ 28 w 116"/>
              <a:gd name="T11" fmla="*/ 45 h 61"/>
              <a:gd name="T12" fmla="*/ 116 w 116"/>
              <a:gd name="T13" fmla="*/ 45 h 61"/>
              <a:gd name="T14" fmla="*/ 116 w 116"/>
              <a:gd name="T15" fmla="*/ 16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1">
                <a:moveTo>
                  <a:pt x="116" y="16"/>
                </a:moveTo>
                <a:lnTo>
                  <a:pt x="28" y="16"/>
                </a:lnTo>
                <a:lnTo>
                  <a:pt x="28" y="0"/>
                </a:lnTo>
                <a:lnTo>
                  <a:pt x="0" y="31"/>
                </a:lnTo>
                <a:lnTo>
                  <a:pt x="28" y="61"/>
                </a:lnTo>
                <a:lnTo>
                  <a:pt x="28" y="45"/>
                </a:lnTo>
                <a:lnTo>
                  <a:pt x="116" y="45"/>
                </a:lnTo>
                <a:lnTo>
                  <a:pt x="1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39"/>
          <p:cNvSpPr>
            <a:spLocks/>
          </p:cNvSpPr>
          <p:nvPr/>
        </p:nvSpPr>
        <p:spPr bwMode="auto">
          <a:xfrm>
            <a:off x="5879858" y="4935624"/>
            <a:ext cx="450636" cy="421769"/>
          </a:xfrm>
          <a:custGeom>
            <a:avLst/>
            <a:gdLst>
              <a:gd name="T0" fmla="*/ 13 w 93"/>
              <a:gd name="T1" fmla="*/ 69 h 89"/>
              <a:gd name="T2" fmla="*/ 22 w 93"/>
              <a:gd name="T3" fmla="*/ 14 h 89"/>
              <a:gd name="T4" fmla="*/ 80 w 93"/>
              <a:gd name="T5" fmla="*/ 22 h 89"/>
              <a:gd name="T6" fmla="*/ 69 w 93"/>
              <a:gd name="T7" fmla="*/ 75 h 89"/>
              <a:gd name="T8" fmla="*/ 13 w 93"/>
              <a:gd name="T9" fmla="*/ 69 h 89"/>
            </a:gdLst>
            <a:ahLst/>
            <a:cxnLst>
              <a:cxn ang="0">
                <a:pos x="T0" y="T1"/>
              </a:cxn>
              <a:cxn ang="0">
                <a:pos x="T2" y="T3"/>
              </a:cxn>
              <a:cxn ang="0">
                <a:pos x="T4" y="T5"/>
              </a:cxn>
              <a:cxn ang="0">
                <a:pos x="T6" y="T7"/>
              </a:cxn>
              <a:cxn ang="0">
                <a:pos x="T8" y="T9"/>
              </a:cxn>
            </a:cxnLst>
            <a:rect l="0" t="0" r="r" b="b"/>
            <a:pathLst>
              <a:path w="93" h="89">
                <a:moveTo>
                  <a:pt x="13" y="69"/>
                </a:moveTo>
                <a:cubicBezTo>
                  <a:pt x="0" y="52"/>
                  <a:pt x="3" y="27"/>
                  <a:pt x="22" y="14"/>
                </a:cubicBezTo>
                <a:cubicBezTo>
                  <a:pt x="40" y="0"/>
                  <a:pt x="66" y="4"/>
                  <a:pt x="80" y="22"/>
                </a:cubicBezTo>
                <a:cubicBezTo>
                  <a:pt x="93" y="39"/>
                  <a:pt x="88" y="62"/>
                  <a:pt x="69" y="75"/>
                </a:cubicBezTo>
                <a:cubicBezTo>
                  <a:pt x="51" y="89"/>
                  <a:pt x="26" y="87"/>
                  <a:pt x="13" y="69"/>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Rectangle 143"/>
          <p:cNvSpPr>
            <a:spLocks noChangeArrowheads="1"/>
          </p:cNvSpPr>
          <p:nvPr/>
        </p:nvSpPr>
        <p:spPr bwMode="auto">
          <a:xfrm>
            <a:off x="5561762" y="6011032"/>
            <a:ext cx="1076632" cy="201889"/>
          </a:xfrm>
          <a:prstGeom prst="rect">
            <a:avLst/>
          </a:prstGeom>
          <a:solidFill>
            <a:srgbClr val="EF4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4"/>
          <p:cNvSpPr>
            <a:spLocks/>
          </p:cNvSpPr>
          <p:nvPr/>
        </p:nvSpPr>
        <p:spPr bwMode="auto">
          <a:xfrm>
            <a:off x="6348845" y="6053007"/>
            <a:ext cx="236533" cy="117936"/>
          </a:xfrm>
          <a:custGeom>
            <a:avLst/>
            <a:gdLst>
              <a:gd name="T0" fmla="*/ 0 w 116"/>
              <a:gd name="T1" fmla="*/ 14 h 59"/>
              <a:gd name="T2" fmla="*/ 88 w 116"/>
              <a:gd name="T3" fmla="*/ 14 h 59"/>
              <a:gd name="T4" fmla="*/ 88 w 116"/>
              <a:gd name="T5" fmla="*/ 0 h 59"/>
              <a:gd name="T6" fmla="*/ 116 w 116"/>
              <a:gd name="T7" fmla="*/ 31 h 59"/>
              <a:gd name="T8" fmla="*/ 88 w 116"/>
              <a:gd name="T9" fmla="*/ 59 h 59"/>
              <a:gd name="T10" fmla="*/ 88 w 116"/>
              <a:gd name="T11" fmla="*/ 45 h 59"/>
              <a:gd name="T12" fmla="*/ 0 w 116"/>
              <a:gd name="T13" fmla="*/ 45 h 59"/>
              <a:gd name="T14" fmla="*/ 0 w 116"/>
              <a:gd name="T15" fmla="*/ 14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9">
                <a:moveTo>
                  <a:pt x="0" y="14"/>
                </a:moveTo>
                <a:lnTo>
                  <a:pt x="88" y="14"/>
                </a:lnTo>
                <a:lnTo>
                  <a:pt x="88" y="0"/>
                </a:lnTo>
                <a:lnTo>
                  <a:pt x="116" y="31"/>
                </a:lnTo>
                <a:lnTo>
                  <a:pt x="88" y="59"/>
                </a:lnTo>
                <a:lnTo>
                  <a:pt x="88" y="45"/>
                </a:lnTo>
                <a:lnTo>
                  <a:pt x="0" y="45"/>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45"/>
          <p:cNvSpPr>
            <a:spLocks/>
          </p:cNvSpPr>
          <p:nvPr/>
        </p:nvSpPr>
        <p:spPr bwMode="auto">
          <a:xfrm>
            <a:off x="5620895" y="6053007"/>
            <a:ext cx="236533" cy="117936"/>
          </a:xfrm>
          <a:custGeom>
            <a:avLst/>
            <a:gdLst>
              <a:gd name="T0" fmla="*/ 116 w 116"/>
              <a:gd name="T1" fmla="*/ 14 h 59"/>
              <a:gd name="T2" fmla="*/ 28 w 116"/>
              <a:gd name="T3" fmla="*/ 14 h 59"/>
              <a:gd name="T4" fmla="*/ 28 w 116"/>
              <a:gd name="T5" fmla="*/ 0 h 59"/>
              <a:gd name="T6" fmla="*/ 0 w 116"/>
              <a:gd name="T7" fmla="*/ 31 h 59"/>
              <a:gd name="T8" fmla="*/ 28 w 116"/>
              <a:gd name="T9" fmla="*/ 59 h 59"/>
              <a:gd name="T10" fmla="*/ 28 w 116"/>
              <a:gd name="T11" fmla="*/ 45 h 59"/>
              <a:gd name="T12" fmla="*/ 116 w 116"/>
              <a:gd name="T13" fmla="*/ 45 h 59"/>
              <a:gd name="T14" fmla="*/ 116 w 116"/>
              <a:gd name="T15" fmla="*/ 14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9">
                <a:moveTo>
                  <a:pt x="116" y="14"/>
                </a:moveTo>
                <a:lnTo>
                  <a:pt x="28" y="14"/>
                </a:lnTo>
                <a:lnTo>
                  <a:pt x="28" y="0"/>
                </a:lnTo>
                <a:lnTo>
                  <a:pt x="0" y="31"/>
                </a:lnTo>
                <a:lnTo>
                  <a:pt x="28" y="59"/>
                </a:lnTo>
                <a:lnTo>
                  <a:pt x="28" y="45"/>
                </a:lnTo>
                <a:lnTo>
                  <a:pt x="116" y="45"/>
                </a:lnTo>
                <a:lnTo>
                  <a:pt x="11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46"/>
          <p:cNvSpPr>
            <a:spLocks/>
          </p:cNvSpPr>
          <p:nvPr/>
        </p:nvSpPr>
        <p:spPr bwMode="auto">
          <a:xfrm>
            <a:off x="5879858" y="5905089"/>
            <a:ext cx="450636" cy="417770"/>
          </a:xfrm>
          <a:custGeom>
            <a:avLst/>
            <a:gdLst>
              <a:gd name="T0" fmla="*/ 13 w 93"/>
              <a:gd name="T1" fmla="*/ 69 h 88"/>
              <a:gd name="T2" fmla="*/ 22 w 93"/>
              <a:gd name="T3" fmla="*/ 13 h 88"/>
              <a:gd name="T4" fmla="*/ 80 w 93"/>
              <a:gd name="T5" fmla="*/ 21 h 88"/>
              <a:gd name="T6" fmla="*/ 69 w 93"/>
              <a:gd name="T7" fmla="*/ 75 h 88"/>
              <a:gd name="T8" fmla="*/ 13 w 93"/>
              <a:gd name="T9" fmla="*/ 69 h 88"/>
            </a:gdLst>
            <a:ahLst/>
            <a:cxnLst>
              <a:cxn ang="0">
                <a:pos x="T0" y="T1"/>
              </a:cxn>
              <a:cxn ang="0">
                <a:pos x="T2" y="T3"/>
              </a:cxn>
              <a:cxn ang="0">
                <a:pos x="T4" y="T5"/>
              </a:cxn>
              <a:cxn ang="0">
                <a:pos x="T6" y="T7"/>
              </a:cxn>
              <a:cxn ang="0">
                <a:pos x="T8" y="T9"/>
              </a:cxn>
            </a:cxnLst>
            <a:rect l="0" t="0" r="r" b="b"/>
            <a:pathLst>
              <a:path w="93" h="88">
                <a:moveTo>
                  <a:pt x="13" y="69"/>
                </a:moveTo>
                <a:cubicBezTo>
                  <a:pt x="0" y="51"/>
                  <a:pt x="4" y="26"/>
                  <a:pt x="22" y="13"/>
                </a:cubicBezTo>
                <a:cubicBezTo>
                  <a:pt x="40" y="0"/>
                  <a:pt x="66" y="3"/>
                  <a:pt x="80" y="21"/>
                </a:cubicBezTo>
                <a:cubicBezTo>
                  <a:pt x="93" y="39"/>
                  <a:pt x="87" y="62"/>
                  <a:pt x="69" y="75"/>
                </a:cubicBezTo>
                <a:cubicBezTo>
                  <a:pt x="51" y="88"/>
                  <a:pt x="26" y="86"/>
                  <a:pt x="13" y="69"/>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4" name="Group 513"/>
          <p:cNvGrpSpPr/>
          <p:nvPr/>
        </p:nvGrpSpPr>
        <p:grpSpPr>
          <a:xfrm>
            <a:off x="239713" y="3354496"/>
            <a:ext cx="1378585" cy="3190241"/>
            <a:chOff x="1791342" y="3265499"/>
            <a:chExt cx="1378585" cy="3254364"/>
          </a:xfrm>
          <a:solidFill>
            <a:schemeClr val="bg1">
              <a:lumMod val="85000"/>
            </a:schemeClr>
          </a:solidFill>
        </p:grpSpPr>
        <p:sp>
          <p:nvSpPr>
            <p:cNvPr id="416" name="Rectangle 148"/>
            <p:cNvSpPr>
              <a:spLocks noChangeArrowheads="1"/>
            </p:cNvSpPr>
            <p:nvPr/>
          </p:nvSpPr>
          <p:spPr bwMode="auto">
            <a:xfrm>
              <a:off x="1797629" y="3265499"/>
              <a:ext cx="1372298" cy="32543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473"/>
            <p:cNvSpPr/>
            <p:nvPr/>
          </p:nvSpPr>
          <p:spPr>
            <a:xfrm>
              <a:off x="1791342" y="3644482"/>
              <a:ext cx="1365159" cy="2103551"/>
            </a:xfrm>
            <a:prstGeom prst="rect">
              <a:avLst/>
            </a:prstGeom>
            <a:grpFill/>
          </p:spPr>
          <p:txBody>
            <a:bodyPr wrap="square">
              <a:spAutoFit/>
            </a:bodyPr>
            <a:lstStyle/>
            <a:p>
              <a:r>
                <a:rPr lang="en-US" sz="1200"/>
                <a:t>Only</a:t>
              </a:r>
            </a:p>
            <a:p>
              <a:r>
                <a:rPr lang="en-US" sz="2000" b="1"/>
                <a:t>50% </a:t>
              </a:r>
              <a:r>
                <a:rPr lang="en-US" sz="1200"/>
                <a:t>of customers said that their </a:t>
              </a:r>
              <a:r>
                <a:rPr lang="en-US" sz="1200" b="1"/>
                <a:t>primary banks are well connected</a:t>
              </a:r>
              <a:r>
                <a:rPr lang="en-US" sz="1200"/>
                <a:t> to other platforms</a:t>
              </a:r>
              <a:endParaRPr lang="en-US" sz="1400"/>
            </a:p>
          </p:txBody>
        </p:sp>
      </p:grpSp>
      <p:sp>
        <p:nvSpPr>
          <p:cNvPr id="276" name="Rectangle 8"/>
          <p:cNvSpPr>
            <a:spLocks noChangeArrowheads="1"/>
          </p:cNvSpPr>
          <p:nvPr/>
        </p:nvSpPr>
        <p:spPr bwMode="auto">
          <a:xfrm>
            <a:off x="5537293" y="1351566"/>
            <a:ext cx="1119453" cy="321824"/>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9"/>
          <p:cNvSpPr>
            <a:spLocks/>
          </p:cNvSpPr>
          <p:nvPr/>
        </p:nvSpPr>
        <p:spPr bwMode="auto">
          <a:xfrm>
            <a:off x="5943069" y="1398541"/>
            <a:ext cx="309939" cy="227875"/>
          </a:xfrm>
          <a:custGeom>
            <a:avLst/>
            <a:gdLst>
              <a:gd name="T0" fmla="*/ 0 w 152"/>
              <a:gd name="T1" fmla="*/ 28 h 114"/>
              <a:gd name="T2" fmla="*/ 95 w 152"/>
              <a:gd name="T3" fmla="*/ 28 h 114"/>
              <a:gd name="T4" fmla="*/ 95 w 152"/>
              <a:gd name="T5" fmla="*/ 0 h 114"/>
              <a:gd name="T6" fmla="*/ 152 w 152"/>
              <a:gd name="T7" fmla="*/ 57 h 114"/>
              <a:gd name="T8" fmla="*/ 95 w 152"/>
              <a:gd name="T9" fmla="*/ 114 h 114"/>
              <a:gd name="T10" fmla="*/ 95 w 152"/>
              <a:gd name="T11" fmla="*/ 85 h 114"/>
              <a:gd name="T12" fmla="*/ 0 w 152"/>
              <a:gd name="T13" fmla="*/ 85 h 114"/>
              <a:gd name="T14" fmla="*/ 0 w 152"/>
              <a:gd name="T15" fmla="*/ 28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4">
                <a:moveTo>
                  <a:pt x="0" y="28"/>
                </a:moveTo>
                <a:lnTo>
                  <a:pt x="95" y="28"/>
                </a:lnTo>
                <a:lnTo>
                  <a:pt x="95" y="0"/>
                </a:lnTo>
                <a:lnTo>
                  <a:pt x="152" y="57"/>
                </a:lnTo>
                <a:lnTo>
                  <a:pt x="95" y="114"/>
                </a:lnTo>
                <a:lnTo>
                  <a:pt x="95" y="85"/>
                </a:lnTo>
                <a:lnTo>
                  <a:pt x="0" y="85"/>
                </a:lnTo>
                <a:lnTo>
                  <a:pt x="0" y="28"/>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80"/>
          <p:cNvSpPr>
            <a:spLocks/>
          </p:cNvSpPr>
          <p:nvPr/>
        </p:nvSpPr>
        <p:spPr bwMode="auto">
          <a:xfrm>
            <a:off x="239713" y="1152478"/>
            <a:ext cx="5322049" cy="720000"/>
          </a:xfrm>
          <a:custGeom>
            <a:avLst/>
            <a:gdLst>
              <a:gd name="T0" fmla="*/ 787 w 816"/>
              <a:gd name="T1" fmla="*/ 108 h 108"/>
              <a:gd name="T2" fmla="*/ 30 w 816"/>
              <a:gd name="T3" fmla="*/ 108 h 108"/>
              <a:gd name="T4" fmla="*/ 0 w 816"/>
              <a:gd name="T5" fmla="*/ 78 h 108"/>
              <a:gd name="T6" fmla="*/ 0 w 816"/>
              <a:gd name="T7" fmla="*/ 29 h 108"/>
              <a:gd name="T8" fmla="*/ 30 w 816"/>
              <a:gd name="T9" fmla="*/ 0 h 108"/>
              <a:gd name="T10" fmla="*/ 787 w 816"/>
              <a:gd name="T11" fmla="*/ 0 h 108"/>
              <a:gd name="T12" fmla="*/ 816 w 816"/>
              <a:gd name="T13" fmla="*/ 29 h 108"/>
              <a:gd name="T14" fmla="*/ 816 w 816"/>
              <a:gd name="T15" fmla="*/ 78 h 108"/>
              <a:gd name="T16" fmla="*/ 787 w 8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6" h="108">
                <a:moveTo>
                  <a:pt x="787" y="108"/>
                </a:moveTo>
                <a:cubicBezTo>
                  <a:pt x="30" y="108"/>
                  <a:pt x="30" y="108"/>
                  <a:pt x="30" y="108"/>
                </a:cubicBezTo>
                <a:cubicBezTo>
                  <a:pt x="13" y="108"/>
                  <a:pt x="0" y="95"/>
                  <a:pt x="0" y="78"/>
                </a:cubicBezTo>
                <a:cubicBezTo>
                  <a:pt x="0" y="29"/>
                  <a:pt x="0" y="29"/>
                  <a:pt x="0" y="29"/>
                </a:cubicBezTo>
                <a:cubicBezTo>
                  <a:pt x="0" y="13"/>
                  <a:pt x="13" y="0"/>
                  <a:pt x="30" y="0"/>
                </a:cubicBezTo>
                <a:cubicBezTo>
                  <a:pt x="787" y="0"/>
                  <a:pt x="787" y="0"/>
                  <a:pt x="787" y="0"/>
                </a:cubicBezTo>
                <a:cubicBezTo>
                  <a:pt x="803" y="0"/>
                  <a:pt x="816" y="13"/>
                  <a:pt x="816" y="29"/>
                </a:cubicBezTo>
                <a:cubicBezTo>
                  <a:pt x="816" y="78"/>
                  <a:pt x="816" y="78"/>
                  <a:pt x="816" y="78"/>
                </a:cubicBezTo>
                <a:cubicBezTo>
                  <a:pt x="816" y="95"/>
                  <a:pt x="803" y="108"/>
                  <a:pt x="787" y="108"/>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381"/>
          <p:cNvSpPr>
            <a:spLocks/>
          </p:cNvSpPr>
          <p:nvPr/>
        </p:nvSpPr>
        <p:spPr bwMode="auto">
          <a:xfrm>
            <a:off x="6634315" y="1152478"/>
            <a:ext cx="5281460" cy="720000"/>
          </a:xfrm>
          <a:custGeom>
            <a:avLst/>
            <a:gdLst>
              <a:gd name="T0" fmla="*/ 786 w 816"/>
              <a:gd name="T1" fmla="*/ 108 h 108"/>
              <a:gd name="T2" fmla="*/ 29 w 816"/>
              <a:gd name="T3" fmla="*/ 108 h 108"/>
              <a:gd name="T4" fmla="*/ 0 w 816"/>
              <a:gd name="T5" fmla="*/ 78 h 108"/>
              <a:gd name="T6" fmla="*/ 0 w 816"/>
              <a:gd name="T7" fmla="*/ 29 h 108"/>
              <a:gd name="T8" fmla="*/ 29 w 816"/>
              <a:gd name="T9" fmla="*/ 0 h 108"/>
              <a:gd name="T10" fmla="*/ 786 w 816"/>
              <a:gd name="T11" fmla="*/ 0 h 108"/>
              <a:gd name="T12" fmla="*/ 816 w 816"/>
              <a:gd name="T13" fmla="*/ 29 h 108"/>
              <a:gd name="T14" fmla="*/ 816 w 816"/>
              <a:gd name="T15" fmla="*/ 78 h 108"/>
              <a:gd name="T16" fmla="*/ 786 w 8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6" h="108">
                <a:moveTo>
                  <a:pt x="786" y="108"/>
                </a:moveTo>
                <a:cubicBezTo>
                  <a:pt x="29" y="108"/>
                  <a:pt x="29" y="108"/>
                  <a:pt x="29" y="108"/>
                </a:cubicBezTo>
                <a:cubicBezTo>
                  <a:pt x="13" y="108"/>
                  <a:pt x="0" y="95"/>
                  <a:pt x="0" y="78"/>
                </a:cubicBezTo>
                <a:cubicBezTo>
                  <a:pt x="0" y="29"/>
                  <a:pt x="0" y="29"/>
                  <a:pt x="0" y="29"/>
                </a:cubicBezTo>
                <a:cubicBezTo>
                  <a:pt x="0" y="13"/>
                  <a:pt x="13" y="0"/>
                  <a:pt x="29" y="0"/>
                </a:cubicBezTo>
                <a:cubicBezTo>
                  <a:pt x="786" y="0"/>
                  <a:pt x="786" y="0"/>
                  <a:pt x="786" y="0"/>
                </a:cubicBezTo>
                <a:cubicBezTo>
                  <a:pt x="803" y="0"/>
                  <a:pt x="816" y="13"/>
                  <a:pt x="816" y="29"/>
                </a:cubicBezTo>
                <a:cubicBezTo>
                  <a:pt x="816" y="78"/>
                  <a:pt x="816" y="78"/>
                  <a:pt x="816" y="78"/>
                </a:cubicBezTo>
                <a:cubicBezTo>
                  <a:pt x="816" y="95"/>
                  <a:pt x="803" y="108"/>
                  <a:pt x="786" y="108"/>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b="1"/>
          </a:p>
        </p:txBody>
      </p:sp>
      <p:grpSp>
        <p:nvGrpSpPr>
          <p:cNvPr id="513" name="Group 512"/>
          <p:cNvGrpSpPr/>
          <p:nvPr/>
        </p:nvGrpSpPr>
        <p:grpSpPr>
          <a:xfrm>
            <a:off x="10556939" y="3360492"/>
            <a:ext cx="1370259" cy="3170254"/>
            <a:chOff x="9042463" y="3271616"/>
            <a:chExt cx="1370259" cy="3233974"/>
          </a:xfrm>
          <a:solidFill>
            <a:schemeClr val="bg1">
              <a:lumMod val="85000"/>
            </a:schemeClr>
          </a:solidFill>
        </p:grpSpPr>
        <p:sp>
          <p:nvSpPr>
            <p:cNvPr id="417" name="Rectangle 149"/>
            <p:cNvSpPr>
              <a:spLocks noChangeArrowheads="1"/>
            </p:cNvSpPr>
            <p:nvPr/>
          </p:nvSpPr>
          <p:spPr bwMode="auto">
            <a:xfrm>
              <a:off x="9042463" y="3271616"/>
              <a:ext cx="1370259" cy="323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Rectangle 474"/>
            <p:cNvSpPr/>
            <p:nvPr/>
          </p:nvSpPr>
          <p:spPr>
            <a:xfrm>
              <a:off x="9047563" y="3582993"/>
              <a:ext cx="1365159" cy="2605891"/>
            </a:xfrm>
            <a:prstGeom prst="rect">
              <a:avLst/>
            </a:prstGeom>
            <a:grpFill/>
          </p:spPr>
          <p:txBody>
            <a:bodyPr wrap="square">
              <a:spAutoFit/>
            </a:bodyPr>
            <a:lstStyle/>
            <a:p>
              <a:r>
                <a:rPr lang="en-US" sz="1200"/>
                <a:t>Up to</a:t>
              </a:r>
              <a:r>
                <a:rPr lang="en-US" sz="2000" b="1"/>
                <a:t> 30% </a:t>
              </a:r>
              <a:r>
                <a:rPr lang="en-US" sz="1200"/>
                <a:t>of customers are </a:t>
              </a:r>
              <a:r>
                <a:rPr lang="en-US" sz="1200" b="1"/>
                <a:t>willing to shift to BigTechs/ FinTechs </a:t>
              </a:r>
              <a:r>
                <a:rPr lang="en-US" sz="1200"/>
                <a:t>because of </a:t>
              </a:r>
              <a:r>
                <a:rPr lang="en-US" sz="1150" b="1"/>
                <a:t>unsatisfactory </a:t>
              </a:r>
              <a:r>
                <a:rPr lang="en-US" sz="1200" b="1"/>
                <a:t>experiences </a:t>
              </a:r>
              <a:r>
                <a:rPr lang="en-US" sz="1200"/>
                <a:t>with their primary bank </a:t>
              </a:r>
            </a:p>
          </p:txBody>
        </p:sp>
      </p:grpSp>
      <p:sp>
        <p:nvSpPr>
          <p:cNvPr id="478" name="Freeform 47">
            <a:extLst>
              <a:ext uri="{FF2B5EF4-FFF2-40B4-BE49-F238E27FC236}">
                <a16:creationId xmlns:a16="http://schemas.microsoft.com/office/drawing/2014/main" id="{D8BDF856-9D36-43BA-AADD-EDC06E2A0E96}"/>
              </a:ext>
            </a:extLst>
          </p:cNvPr>
          <p:cNvSpPr>
            <a:spLocks noEditPoints="1"/>
          </p:cNvSpPr>
          <p:nvPr/>
        </p:nvSpPr>
        <p:spPr bwMode="auto">
          <a:xfrm>
            <a:off x="5958366" y="5949286"/>
            <a:ext cx="280370" cy="319384"/>
          </a:xfrm>
          <a:custGeom>
            <a:avLst/>
            <a:gdLst>
              <a:gd name="T0" fmla="*/ 19 w 563"/>
              <a:gd name="T1" fmla="*/ 368 h 672"/>
              <a:gd name="T2" fmla="*/ 4 w 563"/>
              <a:gd name="T3" fmla="*/ 380 h 672"/>
              <a:gd name="T4" fmla="*/ 0 w 563"/>
              <a:gd name="T5" fmla="*/ 425 h 672"/>
              <a:gd name="T6" fmla="*/ 8 w 563"/>
              <a:gd name="T7" fmla="*/ 443 h 672"/>
              <a:gd name="T8" fmla="*/ 26 w 563"/>
              <a:gd name="T9" fmla="*/ 451 h 672"/>
              <a:gd name="T10" fmla="*/ 70 w 563"/>
              <a:gd name="T11" fmla="*/ 468 h 672"/>
              <a:gd name="T12" fmla="*/ 104 w 563"/>
              <a:gd name="T13" fmla="*/ 490 h 672"/>
              <a:gd name="T14" fmla="*/ 125 w 563"/>
              <a:gd name="T15" fmla="*/ 324 h 672"/>
              <a:gd name="T16" fmla="*/ 95 w 563"/>
              <a:gd name="T17" fmla="*/ 333 h 672"/>
              <a:gd name="T18" fmla="*/ 64 w 563"/>
              <a:gd name="T19" fmla="*/ 359 h 672"/>
              <a:gd name="T20" fmla="*/ 510 w 563"/>
              <a:gd name="T21" fmla="*/ 283 h 672"/>
              <a:gd name="T22" fmla="*/ 538 w 563"/>
              <a:gd name="T23" fmla="*/ 248 h 672"/>
              <a:gd name="T24" fmla="*/ 528 w 563"/>
              <a:gd name="T25" fmla="*/ 175 h 672"/>
              <a:gd name="T26" fmla="*/ 482 w 563"/>
              <a:gd name="T27" fmla="*/ 91 h 672"/>
              <a:gd name="T28" fmla="*/ 408 w 563"/>
              <a:gd name="T29" fmla="*/ 31 h 672"/>
              <a:gd name="T30" fmla="*/ 316 w 563"/>
              <a:gd name="T31" fmla="*/ 1 h 672"/>
              <a:gd name="T32" fmla="*/ 248 w 563"/>
              <a:gd name="T33" fmla="*/ 1 h 672"/>
              <a:gd name="T34" fmla="*/ 156 w 563"/>
              <a:gd name="T35" fmla="*/ 31 h 672"/>
              <a:gd name="T36" fmla="*/ 82 w 563"/>
              <a:gd name="T37" fmla="*/ 91 h 672"/>
              <a:gd name="T38" fmla="*/ 36 w 563"/>
              <a:gd name="T39" fmla="*/ 175 h 672"/>
              <a:gd name="T40" fmla="*/ 26 w 563"/>
              <a:gd name="T41" fmla="*/ 352 h 672"/>
              <a:gd name="T42" fmla="*/ 56 w 563"/>
              <a:gd name="T43" fmla="*/ 227 h 672"/>
              <a:gd name="T44" fmla="*/ 82 w 563"/>
              <a:gd name="T45" fmla="*/ 152 h 672"/>
              <a:gd name="T46" fmla="*/ 135 w 563"/>
              <a:gd name="T47" fmla="*/ 99 h 672"/>
              <a:gd name="T48" fmla="*/ 209 w 563"/>
              <a:gd name="T49" fmla="*/ 69 h 672"/>
              <a:gd name="T50" fmla="*/ 290 w 563"/>
              <a:gd name="T51" fmla="*/ 62 h 672"/>
              <a:gd name="T52" fmla="*/ 355 w 563"/>
              <a:gd name="T53" fmla="*/ 69 h 672"/>
              <a:gd name="T54" fmla="*/ 429 w 563"/>
              <a:gd name="T55" fmla="*/ 99 h 672"/>
              <a:gd name="T56" fmla="*/ 482 w 563"/>
              <a:gd name="T57" fmla="*/ 152 h 672"/>
              <a:gd name="T58" fmla="*/ 508 w 563"/>
              <a:gd name="T59" fmla="*/ 227 h 672"/>
              <a:gd name="T60" fmla="*/ 506 w 563"/>
              <a:gd name="T61" fmla="*/ 368 h 672"/>
              <a:gd name="T62" fmla="*/ 486 w 563"/>
              <a:gd name="T63" fmla="*/ 343 h 672"/>
              <a:gd name="T64" fmla="*/ 448 w 563"/>
              <a:gd name="T65" fmla="*/ 326 h 672"/>
              <a:gd name="T66" fmla="*/ 448 w 563"/>
              <a:gd name="T67" fmla="*/ 493 h 672"/>
              <a:gd name="T68" fmla="*/ 486 w 563"/>
              <a:gd name="T69" fmla="*/ 474 h 672"/>
              <a:gd name="T70" fmla="*/ 516 w 563"/>
              <a:gd name="T71" fmla="*/ 451 h 672"/>
              <a:gd name="T72" fmla="*/ 514 w 563"/>
              <a:gd name="T73" fmla="*/ 486 h 672"/>
              <a:gd name="T74" fmla="*/ 490 w 563"/>
              <a:gd name="T75" fmla="*/ 545 h 672"/>
              <a:gd name="T76" fmla="*/ 447 w 563"/>
              <a:gd name="T77" fmla="*/ 590 h 672"/>
              <a:gd name="T78" fmla="*/ 391 w 563"/>
              <a:gd name="T79" fmla="*/ 619 h 672"/>
              <a:gd name="T80" fmla="*/ 356 w 563"/>
              <a:gd name="T81" fmla="*/ 620 h 672"/>
              <a:gd name="T82" fmla="*/ 341 w 563"/>
              <a:gd name="T83" fmla="*/ 603 h 672"/>
              <a:gd name="T84" fmla="*/ 324 w 563"/>
              <a:gd name="T85" fmla="*/ 599 h 672"/>
              <a:gd name="T86" fmla="*/ 299 w 563"/>
              <a:gd name="T87" fmla="*/ 610 h 672"/>
              <a:gd name="T88" fmla="*/ 289 w 563"/>
              <a:gd name="T89" fmla="*/ 636 h 672"/>
              <a:gd name="T90" fmla="*/ 294 w 563"/>
              <a:gd name="T91" fmla="*/ 655 h 672"/>
              <a:gd name="T92" fmla="*/ 317 w 563"/>
              <a:gd name="T93" fmla="*/ 671 h 672"/>
              <a:gd name="T94" fmla="*/ 337 w 563"/>
              <a:gd name="T95" fmla="*/ 669 h 672"/>
              <a:gd name="T96" fmla="*/ 355 w 563"/>
              <a:gd name="T97" fmla="*/ 655 h 672"/>
              <a:gd name="T98" fmla="*/ 377 w 563"/>
              <a:gd name="T99" fmla="*/ 642 h 672"/>
              <a:gd name="T100" fmla="*/ 443 w 563"/>
              <a:gd name="T101" fmla="*/ 616 h 672"/>
              <a:gd name="T102" fmla="*/ 495 w 563"/>
              <a:gd name="T103" fmla="*/ 569 h 672"/>
              <a:gd name="T104" fmla="*/ 528 w 563"/>
              <a:gd name="T105" fmla="*/ 507 h 672"/>
              <a:gd name="T106" fmla="*/ 536 w 563"/>
              <a:gd name="T107" fmla="*/ 451 h 672"/>
              <a:gd name="T108" fmla="*/ 549 w 563"/>
              <a:gd name="T109" fmla="*/ 450 h 672"/>
              <a:gd name="T110" fmla="*/ 562 w 563"/>
              <a:gd name="T111" fmla="*/ 435 h 672"/>
              <a:gd name="T112" fmla="*/ 563 w 563"/>
              <a:gd name="T113" fmla="*/ 394 h 672"/>
              <a:gd name="T114" fmla="*/ 556 w 563"/>
              <a:gd name="T115" fmla="*/ 374 h 672"/>
              <a:gd name="T116" fmla="*/ 538 w 563"/>
              <a:gd name="T117" fmla="*/ 36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3" h="672">
                <a:moveTo>
                  <a:pt x="57" y="368"/>
                </a:moveTo>
                <a:lnTo>
                  <a:pt x="26" y="368"/>
                </a:lnTo>
                <a:lnTo>
                  <a:pt x="26" y="368"/>
                </a:lnTo>
                <a:lnTo>
                  <a:pt x="19" y="368"/>
                </a:lnTo>
                <a:lnTo>
                  <a:pt x="13" y="370"/>
                </a:lnTo>
                <a:lnTo>
                  <a:pt x="8" y="374"/>
                </a:lnTo>
                <a:lnTo>
                  <a:pt x="4" y="380"/>
                </a:lnTo>
                <a:lnTo>
                  <a:pt x="4" y="380"/>
                </a:lnTo>
                <a:lnTo>
                  <a:pt x="1" y="386"/>
                </a:lnTo>
                <a:lnTo>
                  <a:pt x="0" y="394"/>
                </a:lnTo>
                <a:lnTo>
                  <a:pt x="0" y="425"/>
                </a:lnTo>
                <a:lnTo>
                  <a:pt x="0" y="425"/>
                </a:lnTo>
                <a:lnTo>
                  <a:pt x="1" y="430"/>
                </a:lnTo>
                <a:lnTo>
                  <a:pt x="2" y="435"/>
                </a:lnTo>
                <a:lnTo>
                  <a:pt x="5" y="439"/>
                </a:lnTo>
                <a:lnTo>
                  <a:pt x="8" y="443"/>
                </a:lnTo>
                <a:lnTo>
                  <a:pt x="12" y="447"/>
                </a:lnTo>
                <a:lnTo>
                  <a:pt x="15" y="450"/>
                </a:lnTo>
                <a:lnTo>
                  <a:pt x="21" y="451"/>
                </a:lnTo>
                <a:lnTo>
                  <a:pt x="26" y="451"/>
                </a:lnTo>
                <a:lnTo>
                  <a:pt x="57" y="451"/>
                </a:lnTo>
                <a:lnTo>
                  <a:pt x="57" y="451"/>
                </a:lnTo>
                <a:lnTo>
                  <a:pt x="64" y="460"/>
                </a:lnTo>
                <a:lnTo>
                  <a:pt x="70" y="468"/>
                </a:lnTo>
                <a:lnTo>
                  <a:pt x="78" y="474"/>
                </a:lnTo>
                <a:lnTo>
                  <a:pt x="86" y="481"/>
                </a:lnTo>
                <a:lnTo>
                  <a:pt x="95" y="486"/>
                </a:lnTo>
                <a:lnTo>
                  <a:pt x="104" y="490"/>
                </a:lnTo>
                <a:lnTo>
                  <a:pt x="114" y="493"/>
                </a:lnTo>
                <a:lnTo>
                  <a:pt x="125" y="495"/>
                </a:lnTo>
                <a:lnTo>
                  <a:pt x="125" y="381"/>
                </a:lnTo>
                <a:lnTo>
                  <a:pt x="125" y="324"/>
                </a:lnTo>
                <a:lnTo>
                  <a:pt x="125" y="324"/>
                </a:lnTo>
                <a:lnTo>
                  <a:pt x="114" y="326"/>
                </a:lnTo>
                <a:lnTo>
                  <a:pt x="104" y="329"/>
                </a:lnTo>
                <a:lnTo>
                  <a:pt x="95" y="333"/>
                </a:lnTo>
                <a:lnTo>
                  <a:pt x="86" y="338"/>
                </a:lnTo>
                <a:lnTo>
                  <a:pt x="78" y="343"/>
                </a:lnTo>
                <a:lnTo>
                  <a:pt x="70" y="351"/>
                </a:lnTo>
                <a:lnTo>
                  <a:pt x="64" y="359"/>
                </a:lnTo>
                <a:lnTo>
                  <a:pt x="57" y="368"/>
                </a:lnTo>
                <a:lnTo>
                  <a:pt x="57" y="368"/>
                </a:lnTo>
                <a:close/>
                <a:moveTo>
                  <a:pt x="510" y="248"/>
                </a:moveTo>
                <a:lnTo>
                  <a:pt x="510" y="283"/>
                </a:lnTo>
                <a:lnTo>
                  <a:pt x="510" y="352"/>
                </a:lnTo>
                <a:lnTo>
                  <a:pt x="538" y="352"/>
                </a:lnTo>
                <a:lnTo>
                  <a:pt x="538" y="286"/>
                </a:lnTo>
                <a:lnTo>
                  <a:pt x="538" y="248"/>
                </a:lnTo>
                <a:lnTo>
                  <a:pt x="538" y="248"/>
                </a:lnTo>
                <a:lnTo>
                  <a:pt x="537" y="224"/>
                </a:lnTo>
                <a:lnTo>
                  <a:pt x="533" y="199"/>
                </a:lnTo>
                <a:lnTo>
                  <a:pt x="528" y="175"/>
                </a:lnTo>
                <a:lnTo>
                  <a:pt x="519" y="152"/>
                </a:lnTo>
                <a:lnTo>
                  <a:pt x="508" y="130"/>
                </a:lnTo>
                <a:lnTo>
                  <a:pt x="497" y="110"/>
                </a:lnTo>
                <a:lnTo>
                  <a:pt x="482" y="91"/>
                </a:lnTo>
                <a:lnTo>
                  <a:pt x="465" y="73"/>
                </a:lnTo>
                <a:lnTo>
                  <a:pt x="448" y="57"/>
                </a:lnTo>
                <a:lnTo>
                  <a:pt x="429" y="43"/>
                </a:lnTo>
                <a:lnTo>
                  <a:pt x="408" y="31"/>
                </a:lnTo>
                <a:lnTo>
                  <a:pt x="387" y="19"/>
                </a:lnTo>
                <a:lnTo>
                  <a:pt x="364" y="12"/>
                </a:lnTo>
                <a:lnTo>
                  <a:pt x="341" y="5"/>
                </a:lnTo>
                <a:lnTo>
                  <a:pt x="316" y="1"/>
                </a:lnTo>
                <a:lnTo>
                  <a:pt x="290" y="0"/>
                </a:lnTo>
                <a:lnTo>
                  <a:pt x="274" y="0"/>
                </a:lnTo>
                <a:lnTo>
                  <a:pt x="274" y="0"/>
                </a:lnTo>
                <a:lnTo>
                  <a:pt x="248" y="1"/>
                </a:lnTo>
                <a:lnTo>
                  <a:pt x="224" y="5"/>
                </a:lnTo>
                <a:lnTo>
                  <a:pt x="200" y="12"/>
                </a:lnTo>
                <a:lnTo>
                  <a:pt x="177" y="19"/>
                </a:lnTo>
                <a:lnTo>
                  <a:pt x="156" y="31"/>
                </a:lnTo>
                <a:lnTo>
                  <a:pt x="135" y="43"/>
                </a:lnTo>
                <a:lnTo>
                  <a:pt x="116" y="57"/>
                </a:lnTo>
                <a:lnTo>
                  <a:pt x="99" y="73"/>
                </a:lnTo>
                <a:lnTo>
                  <a:pt x="82" y="91"/>
                </a:lnTo>
                <a:lnTo>
                  <a:pt x="67" y="110"/>
                </a:lnTo>
                <a:lnTo>
                  <a:pt x="56" y="130"/>
                </a:lnTo>
                <a:lnTo>
                  <a:pt x="45" y="152"/>
                </a:lnTo>
                <a:lnTo>
                  <a:pt x="36" y="175"/>
                </a:lnTo>
                <a:lnTo>
                  <a:pt x="31" y="199"/>
                </a:lnTo>
                <a:lnTo>
                  <a:pt x="27" y="224"/>
                </a:lnTo>
                <a:lnTo>
                  <a:pt x="26" y="248"/>
                </a:lnTo>
                <a:lnTo>
                  <a:pt x="26" y="352"/>
                </a:lnTo>
                <a:lnTo>
                  <a:pt x="54" y="352"/>
                </a:lnTo>
                <a:lnTo>
                  <a:pt x="54" y="248"/>
                </a:lnTo>
                <a:lnTo>
                  <a:pt x="54" y="248"/>
                </a:lnTo>
                <a:lnTo>
                  <a:pt x="56" y="227"/>
                </a:lnTo>
                <a:lnTo>
                  <a:pt x="60" y="207"/>
                </a:lnTo>
                <a:lnTo>
                  <a:pt x="65" y="187"/>
                </a:lnTo>
                <a:lnTo>
                  <a:pt x="73" y="169"/>
                </a:lnTo>
                <a:lnTo>
                  <a:pt x="82" y="152"/>
                </a:lnTo>
                <a:lnTo>
                  <a:pt x="92" y="136"/>
                </a:lnTo>
                <a:lnTo>
                  <a:pt x="105" y="122"/>
                </a:lnTo>
                <a:lnTo>
                  <a:pt x="119" y="110"/>
                </a:lnTo>
                <a:lnTo>
                  <a:pt x="135" y="99"/>
                </a:lnTo>
                <a:lnTo>
                  <a:pt x="152" y="90"/>
                </a:lnTo>
                <a:lnTo>
                  <a:pt x="169" y="81"/>
                </a:lnTo>
                <a:lnTo>
                  <a:pt x="188" y="74"/>
                </a:lnTo>
                <a:lnTo>
                  <a:pt x="209" y="69"/>
                </a:lnTo>
                <a:lnTo>
                  <a:pt x="230" y="65"/>
                </a:lnTo>
                <a:lnTo>
                  <a:pt x="252" y="62"/>
                </a:lnTo>
                <a:lnTo>
                  <a:pt x="274" y="62"/>
                </a:lnTo>
                <a:lnTo>
                  <a:pt x="290" y="62"/>
                </a:lnTo>
                <a:lnTo>
                  <a:pt x="290" y="62"/>
                </a:lnTo>
                <a:lnTo>
                  <a:pt x="312" y="62"/>
                </a:lnTo>
                <a:lnTo>
                  <a:pt x="334" y="65"/>
                </a:lnTo>
                <a:lnTo>
                  <a:pt x="355" y="69"/>
                </a:lnTo>
                <a:lnTo>
                  <a:pt x="376" y="74"/>
                </a:lnTo>
                <a:lnTo>
                  <a:pt x="395" y="81"/>
                </a:lnTo>
                <a:lnTo>
                  <a:pt x="412" y="90"/>
                </a:lnTo>
                <a:lnTo>
                  <a:pt x="429" y="99"/>
                </a:lnTo>
                <a:lnTo>
                  <a:pt x="445" y="110"/>
                </a:lnTo>
                <a:lnTo>
                  <a:pt x="459" y="122"/>
                </a:lnTo>
                <a:lnTo>
                  <a:pt x="472" y="136"/>
                </a:lnTo>
                <a:lnTo>
                  <a:pt x="482" y="152"/>
                </a:lnTo>
                <a:lnTo>
                  <a:pt x="491" y="169"/>
                </a:lnTo>
                <a:lnTo>
                  <a:pt x="499" y="187"/>
                </a:lnTo>
                <a:lnTo>
                  <a:pt x="504" y="207"/>
                </a:lnTo>
                <a:lnTo>
                  <a:pt x="508" y="227"/>
                </a:lnTo>
                <a:lnTo>
                  <a:pt x="510" y="248"/>
                </a:lnTo>
                <a:lnTo>
                  <a:pt x="510" y="248"/>
                </a:lnTo>
                <a:close/>
                <a:moveTo>
                  <a:pt x="538" y="368"/>
                </a:moveTo>
                <a:lnTo>
                  <a:pt x="506" y="368"/>
                </a:lnTo>
                <a:lnTo>
                  <a:pt x="506" y="368"/>
                </a:lnTo>
                <a:lnTo>
                  <a:pt x="501" y="359"/>
                </a:lnTo>
                <a:lnTo>
                  <a:pt x="493" y="351"/>
                </a:lnTo>
                <a:lnTo>
                  <a:pt x="486" y="343"/>
                </a:lnTo>
                <a:lnTo>
                  <a:pt x="477" y="338"/>
                </a:lnTo>
                <a:lnTo>
                  <a:pt x="469" y="333"/>
                </a:lnTo>
                <a:lnTo>
                  <a:pt x="459" y="329"/>
                </a:lnTo>
                <a:lnTo>
                  <a:pt x="448" y="326"/>
                </a:lnTo>
                <a:lnTo>
                  <a:pt x="438" y="324"/>
                </a:lnTo>
                <a:lnTo>
                  <a:pt x="438" y="495"/>
                </a:lnTo>
                <a:lnTo>
                  <a:pt x="438" y="495"/>
                </a:lnTo>
                <a:lnTo>
                  <a:pt x="448" y="493"/>
                </a:lnTo>
                <a:lnTo>
                  <a:pt x="459" y="490"/>
                </a:lnTo>
                <a:lnTo>
                  <a:pt x="469" y="486"/>
                </a:lnTo>
                <a:lnTo>
                  <a:pt x="477" y="481"/>
                </a:lnTo>
                <a:lnTo>
                  <a:pt x="486" y="474"/>
                </a:lnTo>
                <a:lnTo>
                  <a:pt x="493" y="468"/>
                </a:lnTo>
                <a:lnTo>
                  <a:pt x="501" y="460"/>
                </a:lnTo>
                <a:lnTo>
                  <a:pt x="506" y="451"/>
                </a:lnTo>
                <a:lnTo>
                  <a:pt x="516" y="451"/>
                </a:lnTo>
                <a:lnTo>
                  <a:pt x="516" y="452"/>
                </a:lnTo>
                <a:lnTo>
                  <a:pt x="516" y="452"/>
                </a:lnTo>
                <a:lnTo>
                  <a:pt x="516" y="469"/>
                </a:lnTo>
                <a:lnTo>
                  <a:pt x="514" y="486"/>
                </a:lnTo>
                <a:lnTo>
                  <a:pt x="510" y="502"/>
                </a:lnTo>
                <a:lnTo>
                  <a:pt x="504" y="516"/>
                </a:lnTo>
                <a:lnTo>
                  <a:pt x="498" y="532"/>
                </a:lnTo>
                <a:lnTo>
                  <a:pt x="490" y="545"/>
                </a:lnTo>
                <a:lnTo>
                  <a:pt x="481" y="558"/>
                </a:lnTo>
                <a:lnTo>
                  <a:pt x="471" y="569"/>
                </a:lnTo>
                <a:lnTo>
                  <a:pt x="459" y="581"/>
                </a:lnTo>
                <a:lnTo>
                  <a:pt x="447" y="590"/>
                </a:lnTo>
                <a:lnTo>
                  <a:pt x="434" y="599"/>
                </a:lnTo>
                <a:lnTo>
                  <a:pt x="420" y="607"/>
                </a:lnTo>
                <a:lnTo>
                  <a:pt x="406" y="614"/>
                </a:lnTo>
                <a:lnTo>
                  <a:pt x="391" y="619"/>
                </a:lnTo>
                <a:lnTo>
                  <a:pt x="374" y="623"/>
                </a:lnTo>
                <a:lnTo>
                  <a:pt x="359" y="625"/>
                </a:lnTo>
                <a:lnTo>
                  <a:pt x="359" y="625"/>
                </a:lnTo>
                <a:lnTo>
                  <a:pt x="356" y="620"/>
                </a:lnTo>
                <a:lnTo>
                  <a:pt x="354" y="615"/>
                </a:lnTo>
                <a:lnTo>
                  <a:pt x="350" y="611"/>
                </a:lnTo>
                <a:lnTo>
                  <a:pt x="346" y="607"/>
                </a:lnTo>
                <a:lnTo>
                  <a:pt x="341" y="603"/>
                </a:lnTo>
                <a:lnTo>
                  <a:pt x="335" y="602"/>
                </a:lnTo>
                <a:lnTo>
                  <a:pt x="330" y="599"/>
                </a:lnTo>
                <a:lnTo>
                  <a:pt x="324" y="599"/>
                </a:lnTo>
                <a:lnTo>
                  <a:pt x="324" y="599"/>
                </a:lnTo>
                <a:lnTo>
                  <a:pt x="317" y="601"/>
                </a:lnTo>
                <a:lnTo>
                  <a:pt x="311" y="602"/>
                </a:lnTo>
                <a:lnTo>
                  <a:pt x="304" y="606"/>
                </a:lnTo>
                <a:lnTo>
                  <a:pt x="299" y="610"/>
                </a:lnTo>
                <a:lnTo>
                  <a:pt x="294" y="615"/>
                </a:lnTo>
                <a:lnTo>
                  <a:pt x="291" y="621"/>
                </a:lnTo>
                <a:lnTo>
                  <a:pt x="289" y="628"/>
                </a:lnTo>
                <a:lnTo>
                  <a:pt x="289" y="636"/>
                </a:lnTo>
                <a:lnTo>
                  <a:pt x="289" y="636"/>
                </a:lnTo>
                <a:lnTo>
                  <a:pt x="289" y="642"/>
                </a:lnTo>
                <a:lnTo>
                  <a:pt x="291" y="650"/>
                </a:lnTo>
                <a:lnTo>
                  <a:pt x="294" y="655"/>
                </a:lnTo>
                <a:lnTo>
                  <a:pt x="299" y="660"/>
                </a:lnTo>
                <a:lnTo>
                  <a:pt x="304" y="666"/>
                </a:lnTo>
                <a:lnTo>
                  <a:pt x="311" y="668"/>
                </a:lnTo>
                <a:lnTo>
                  <a:pt x="317" y="671"/>
                </a:lnTo>
                <a:lnTo>
                  <a:pt x="324" y="672"/>
                </a:lnTo>
                <a:lnTo>
                  <a:pt x="324" y="672"/>
                </a:lnTo>
                <a:lnTo>
                  <a:pt x="330" y="671"/>
                </a:lnTo>
                <a:lnTo>
                  <a:pt x="337" y="669"/>
                </a:lnTo>
                <a:lnTo>
                  <a:pt x="342" y="667"/>
                </a:lnTo>
                <a:lnTo>
                  <a:pt x="347" y="664"/>
                </a:lnTo>
                <a:lnTo>
                  <a:pt x="351" y="659"/>
                </a:lnTo>
                <a:lnTo>
                  <a:pt x="355" y="655"/>
                </a:lnTo>
                <a:lnTo>
                  <a:pt x="357" y="650"/>
                </a:lnTo>
                <a:lnTo>
                  <a:pt x="359" y="645"/>
                </a:lnTo>
                <a:lnTo>
                  <a:pt x="359" y="645"/>
                </a:lnTo>
                <a:lnTo>
                  <a:pt x="377" y="642"/>
                </a:lnTo>
                <a:lnTo>
                  <a:pt x="395" y="638"/>
                </a:lnTo>
                <a:lnTo>
                  <a:pt x="412" y="632"/>
                </a:lnTo>
                <a:lnTo>
                  <a:pt x="428" y="625"/>
                </a:lnTo>
                <a:lnTo>
                  <a:pt x="443" y="616"/>
                </a:lnTo>
                <a:lnTo>
                  <a:pt x="459" y="607"/>
                </a:lnTo>
                <a:lnTo>
                  <a:pt x="472" y="595"/>
                </a:lnTo>
                <a:lnTo>
                  <a:pt x="485" y="584"/>
                </a:lnTo>
                <a:lnTo>
                  <a:pt x="495" y="569"/>
                </a:lnTo>
                <a:lnTo>
                  <a:pt x="506" y="555"/>
                </a:lnTo>
                <a:lnTo>
                  <a:pt x="515" y="539"/>
                </a:lnTo>
                <a:lnTo>
                  <a:pt x="521" y="524"/>
                </a:lnTo>
                <a:lnTo>
                  <a:pt x="528" y="507"/>
                </a:lnTo>
                <a:lnTo>
                  <a:pt x="532" y="490"/>
                </a:lnTo>
                <a:lnTo>
                  <a:pt x="534" y="472"/>
                </a:lnTo>
                <a:lnTo>
                  <a:pt x="536" y="452"/>
                </a:lnTo>
                <a:lnTo>
                  <a:pt x="536" y="451"/>
                </a:lnTo>
                <a:lnTo>
                  <a:pt x="538" y="451"/>
                </a:lnTo>
                <a:lnTo>
                  <a:pt x="538" y="451"/>
                </a:lnTo>
                <a:lnTo>
                  <a:pt x="543" y="451"/>
                </a:lnTo>
                <a:lnTo>
                  <a:pt x="549" y="450"/>
                </a:lnTo>
                <a:lnTo>
                  <a:pt x="553" y="447"/>
                </a:lnTo>
                <a:lnTo>
                  <a:pt x="556" y="443"/>
                </a:lnTo>
                <a:lnTo>
                  <a:pt x="559" y="439"/>
                </a:lnTo>
                <a:lnTo>
                  <a:pt x="562" y="435"/>
                </a:lnTo>
                <a:lnTo>
                  <a:pt x="563" y="430"/>
                </a:lnTo>
                <a:lnTo>
                  <a:pt x="563" y="425"/>
                </a:lnTo>
                <a:lnTo>
                  <a:pt x="563" y="394"/>
                </a:lnTo>
                <a:lnTo>
                  <a:pt x="563" y="394"/>
                </a:lnTo>
                <a:lnTo>
                  <a:pt x="563" y="389"/>
                </a:lnTo>
                <a:lnTo>
                  <a:pt x="562" y="383"/>
                </a:lnTo>
                <a:lnTo>
                  <a:pt x="559" y="378"/>
                </a:lnTo>
                <a:lnTo>
                  <a:pt x="556" y="374"/>
                </a:lnTo>
                <a:lnTo>
                  <a:pt x="553" y="372"/>
                </a:lnTo>
                <a:lnTo>
                  <a:pt x="549" y="369"/>
                </a:lnTo>
                <a:lnTo>
                  <a:pt x="543" y="368"/>
                </a:lnTo>
                <a:lnTo>
                  <a:pt x="538" y="368"/>
                </a:lnTo>
                <a:lnTo>
                  <a:pt x="538" y="3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484" name="Group 483"/>
          <p:cNvGrpSpPr/>
          <p:nvPr/>
        </p:nvGrpSpPr>
        <p:grpSpPr>
          <a:xfrm>
            <a:off x="6015954" y="5017444"/>
            <a:ext cx="188678" cy="292110"/>
            <a:chOff x="5984001" y="4979124"/>
            <a:chExt cx="244388" cy="389822"/>
          </a:xfrm>
        </p:grpSpPr>
        <p:sp>
          <p:nvSpPr>
            <p:cNvPr id="480" name="Freeform 326">
              <a:extLst>
                <a:ext uri="{FF2B5EF4-FFF2-40B4-BE49-F238E27FC236}">
                  <a16:creationId xmlns:a16="http://schemas.microsoft.com/office/drawing/2014/main" id="{CE93A8D3-9DB7-4639-89BF-193AC05DB2FF}"/>
                </a:ext>
              </a:extLst>
            </p:cNvPr>
            <p:cNvSpPr>
              <a:spLocks/>
            </p:cNvSpPr>
            <p:nvPr/>
          </p:nvSpPr>
          <p:spPr bwMode="auto">
            <a:xfrm>
              <a:off x="5984001" y="4979124"/>
              <a:ext cx="183291" cy="310218"/>
            </a:xfrm>
            <a:custGeom>
              <a:avLst/>
              <a:gdLst>
                <a:gd name="T0" fmla="*/ 72 w 72"/>
                <a:gd name="T1" fmla="*/ 115 h 124"/>
                <a:gd name="T2" fmla="*/ 36 w 72"/>
                <a:gd name="T3" fmla="*/ 124 h 124"/>
                <a:gd name="T4" fmla="*/ 0 w 72"/>
                <a:gd name="T5" fmla="*/ 115 h 124"/>
                <a:gd name="T6" fmla="*/ 0 w 72"/>
                <a:gd name="T7" fmla="*/ 3 h 124"/>
                <a:gd name="T8" fmla="*/ 3 w 72"/>
                <a:gd name="T9" fmla="*/ 0 h 124"/>
                <a:gd name="T10" fmla="*/ 69 w 72"/>
                <a:gd name="T11" fmla="*/ 0 h 124"/>
                <a:gd name="T12" fmla="*/ 72 w 72"/>
                <a:gd name="T13" fmla="*/ 3 h 124"/>
                <a:gd name="T14" fmla="*/ 72 w 72"/>
                <a:gd name="T15" fmla="*/ 115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4">
                  <a:moveTo>
                    <a:pt x="72" y="115"/>
                  </a:moveTo>
                  <a:cubicBezTo>
                    <a:pt x="72" y="124"/>
                    <a:pt x="45" y="124"/>
                    <a:pt x="36" y="124"/>
                  </a:cubicBezTo>
                  <a:cubicBezTo>
                    <a:pt x="28" y="124"/>
                    <a:pt x="0" y="124"/>
                    <a:pt x="0" y="115"/>
                  </a:cubicBezTo>
                  <a:cubicBezTo>
                    <a:pt x="0" y="3"/>
                    <a:pt x="0" y="3"/>
                    <a:pt x="0" y="3"/>
                  </a:cubicBezTo>
                  <a:cubicBezTo>
                    <a:pt x="0" y="2"/>
                    <a:pt x="2" y="0"/>
                    <a:pt x="3" y="0"/>
                  </a:cubicBezTo>
                  <a:cubicBezTo>
                    <a:pt x="69" y="0"/>
                    <a:pt x="69" y="0"/>
                    <a:pt x="69" y="0"/>
                  </a:cubicBezTo>
                  <a:cubicBezTo>
                    <a:pt x="71" y="0"/>
                    <a:pt x="72" y="2"/>
                    <a:pt x="72" y="3"/>
                  </a:cubicBezTo>
                  <a:lnTo>
                    <a:pt x="72" y="11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1" name="Rectangle 327">
              <a:extLst>
                <a:ext uri="{FF2B5EF4-FFF2-40B4-BE49-F238E27FC236}">
                  <a16:creationId xmlns:a16="http://schemas.microsoft.com/office/drawing/2014/main" id="{B208D577-0D23-4B86-8407-4F65C31DF8D1}"/>
                </a:ext>
              </a:extLst>
            </p:cNvPr>
            <p:cNvSpPr>
              <a:spLocks noChangeArrowheads="1"/>
            </p:cNvSpPr>
            <p:nvPr/>
          </p:nvSpPr>
          <p:spPr bwMode="auto">
            <a:xfrm>
              <a:off x="5999574" y="5001366"/>
              <a:ext cx="154541" cy="2282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2" name="Oval 328">
              <a:extLst>
                <a:ext uri="{FF2B5EF4-FFF2-40B4-BE49-F238E27FC236}">
                  <a16:creationId xmlns:a16="http://schemas.microsoft.com/office/drawing/2014/main" id="{C0DFCE7D-2496-4476-891F-A00BC5A9E946}"/>
                </a:ext>
              </a:extLst>
            </p:cNvPr>
            <p:cNvSpPr>
              <a:spLocks noChangeArrowheads="1"/>
            </p:cNvSpPr>
            <p:nvPr/>
          </p:nvSpPr>
          <p:spPr bwMode="auto">
            <a:xfrm>
              <a:off x="6059678" y="5244989"/>
              <a:ext cx="22762" cy="245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3" name="Freeform 329">
              <a:extLst>
                <a:ext uri="{FF2B5EF4-FFF2-40B4-BE49-F238E27FC236}">
                  <a16:creationId xmlns:a16="http://schemas.microsoft.com/office/drawing/2014/main" id="{D7D76147-3A68-4474-9683-841673973DF1}"/>
                </a:ext>
              </a:extLst>
            </p:cNvPr>
            <p:cNvSpPr>
              <a:spLocks/>
            </p:cNvSpPr>
            <p:nvPr/>
          </p:nvSpPr>
          <p:spPr bwMode="auto">
            <a:xfrm>
              <a:off x="6078641" y="5104382"/>
              <a:ext cx="149748" cy="264564"/>
            </a:xfrm>
            <a:custGeom>
              <a:avLst/>
              <a:gdLst>
                <a:gd name="T0" fmla="*/ 51 w 59"/>
                <a:gd name="T1" fmla="*/ 97 h 106"/>
                <a:gd name="T2" fmla="*/ 51 w 59"/>
                <a:gd name="T3" fmla="*/ 85 h 106"/>
                <a:gd name="T4" fmla="*/ 57 w 59"/>
                <a:gd name="T5" fmla="*/ 72 h 106"/>
                <a:gd name="T6" fmla="*/ 57 w 59"/>
                <a:gd name="T7" fmla="*/ 50 h 106"/>
                <a:gd name="T8" fmla="*/ 49 w 59"/>
                <a:gd name="T9" fmla="*/ 43 h 106"/>
                <a:gd name="T10" fmla="*/ 38 w 59"/>
                <a:gd name="T11" fmla="*/ 38 h 106"/>
                <a:gd name="T12" fmla="*/ 27 w 59"/>
                <a:gd name="T13" fmla="*/ 36 h 106"/>
                <a:gd name="T14" fmla="*/ 26 w 59"/>
                <a:gd name="T15" fmla="*/ 25 h 106"/>
                <a:gd name="T16" fmla="*/ 25 w 59"/>
                <a:gd name="T17" fmla="*/ 8 h 106"/>
                <a:gd name="T18" fmla="*/ 15 w 59"/>
                <a:gd name="T19" fmla="*/ 9 h 106"/>
                <a:gd name="T20" fmla="*/ 15 w 59"/>
                <a:gd name="T21" fmla="*/ 23 h 106"/>
                <a:gd name="T22" fmla="*/ 13 w 59"/>
                <a:gd name="T23" fmla="*/ 46 h 106"/>
                <a:gd name="T24" fmla="*/ 7 w 59"/>
                <a:gd name="T25" fmla="*/ 43 h 106"/>
                <a:gd name="T26" fmla="*/ 0 w 59"/>
                <a:gd name="T27" fmla="*/ 46 h 106"/>
                <a:gd name="T28" fmla="*/ 7 w 59"/>
                <a:gd name="T29" fmla="*/ 58 h 106"/>
                <a:gd name="T30" fmla="*/ 13 w 59"/>
                <a:gd name="T31" fmla="*/ 73 h 106"/>
                <a:gd name="T32" fmla="*/ 20 w 59"/>
                <a:gd name="T33" fmla="*/ 89 h 106"/>
                <a:gd name="T34" fmla="*/ 51 w 59"/>
                <a:gd name="T3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06">
                  <a:moveTo>
                    <a:pt x="51" y="97"/>
                  </a:moveTo>
                  <a:cubicBezTo>
                    <a:pt x="51" y="97"/>
                    <a:pt x="50" y="86"/>
                    <a:pt x="51" y="85"/>
                  </a:cubicBezTo>
                  <a:cubicBezTo>
                    <a:pt x="52" y="84"/>
                    <a:pt x="55" y="75"/>
                    <a:pt x="57" y="72"/>
                  </a:cubicBezTo>
                  <a:cubicBezTo>
                    <a:pt x="59" y="68"/>
                    <a:pt x="58" y="55"/>
                    <a:pt x="57" y="50"/>
                  </a:cubicBezTo>
                  <a:cubicBezTo>
                    <a:pt x="57" y="44"/>
                    <a:pt x="50" y="42"/>
                    <a:pt x="49" y="43"/>
                  </a:cubicBezTo>
                  <a:cubicBezTo>
                    <a:pt x="48" y="38"/>
                    <a:pt x="41" y="34"/>
                    <a:pt x="38" y="38"/>
                  </a:cubicBezTo>
                  <a:cubicBezTo>
                    <a:pt x="35" y="32"/>
                    <a:pt x="28" y="33"/>
                    <a:pt x="27" y="36"/>
                  </a:cubicBezTo>
                  <a:cubicBezTo>
                    <a:pt x="27" y="38"/>
                    <a:pt x="26" y="27"/>
                    <a:pt x="26" y="25"/>
                  </a:cubicBezTo>
                  <a:cubicBezTo>
                    <a:pt x="26" y="23"/>
                    <a:pt x="25" y="11"/>
                    <a:pt x="25" y="8"/>
                  </a:cubicBezTo>
                  <a:cubicBezTo>
                    <a:pt x="25" y="2"/>
                    <a:pt x="15" y="0"/>
                    <a:pt x="15" y="9"/>
                  </a:cubicBezTo>
                  <a:cubicBezTo>
                    <a:pt x="15" y="13"/>
                    <a:pt x="15" y="21"/>
                    <a:pt x="15" y="23"/>
                  </a:cubicBezTo>
                  <a:cubicBezTo>
                    <a:pt x="15" y="25"/>
                    <a:pt x="13" y="44"/>
                    <a:pt x="13" y="46"/>
                  </a:cubicBezTo>
                  <a:cubicBezTo>
                    <a:pt x="13" y="49"/>
                    <a:pt x="10" y="44"/>
                    <a:pt x="7" y="43"/>
                  </a:cubicBezTo>
                  <a:cubicBezTo>
                    <a:pt x="4" y="42"/>
                    <a:pt x="0" y="43"/>
                    <a:pt x="0" y="46"/>
                  </a:cubicBezTo>
                  <a:cubicBezTo>
                    <a:pt x="0" y="48"/>
                    <a:pt x="5" y="54"/>
                    <a:pt x="7" y="58"/>
                  </a:cubicBezTo>
                  <a:cubicBezTo>
                    <a:pt x="8" y="62"/>
                    <a:pt x="11" y="65"/>
                    <a:pt x="13" y="73"/>
                  </a:cubicBezTo>
                  <a:cubicBezTo>
                    <a:pt x="14" y="80"/>
                    <a:pt x="19" y="84"/>
                    <a:pt x="20" y="89"/>
                  </a:cubicBezTo>
                  <a:cubicBezTo>
                    <a:pt x="21" y="106"/>
                    <a:pt x="41" y="94"/>
                    <a:pt x="51" y="97"/>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85" name="Group 484"/>
          <p:cNvGrpSpPr/>
          <p:nvPr/>
        </p:nvGrpSpPr>
        <p:grpSpPr>
          <a:xfrm>
            <a:off x="5957415" y="4060424"/>
            <a:ext cx="295521" cy="220862"/>
            <a:chOff x="7104279" y="1337918"/>
            <a:chExt cx="381012" cy="298366"/>
          </a:xfrm>
        </p:grpSpPr>
        <p:sp>
          <p:nvSpPr>
            <p:cNvPr id="486" name="Freeform 150">
              <a:extLst>
                <a:ext uri="{FF2B5EF4-FFF2-40B4-BE49-F238E27FC236}">
                  <a16:creationId xmlns:a16="http://schemas.microsoft.com/office/drawing/2014/main" id="{17F058D0-0DDA-4FCA-A686-9576B2AC2D52}"/>
                </a:ext>
              </a:extLst>
            </p:cNvPr>
            <p:cNvSpPr>
              <a:spLocks/>
            </p:cNvSpPr>
            <p:nvPr/>
          </p:nvSpPr>
          <p:spPr bwMode="auto">
            <a:xfrm>
              <a:off x="7276575" y="1377140"/>
              <a:ext cx="58833" cy="70039"/>
            </a:xfrm>
            <a:custGeom>
              <a:avLst/>
              <a:gdLst>
                <a:gd name="T0" fmla="*/ 18 w 18"/>
                <a:gd name="T1" fmla="*/ 21 h 21"/>
                <a:gd name="T2" fmla="*/ 2 w 18"/>
                <a:gd name="T3" fmla="*/ 21 h 21"/>
                <a:gd name="T4" fmla="*/ 0 w 18"/>
                <a:gd name="T5" fmla="*/ 5 h 21"/>
                <a:gd name="T6" fmla="*/ 2 w 18"/>
                <a:gd name="T7" fmla="*/ 4 h 21"/>
                <a:gd name="T8" fmla="*/ 9 w 18"/>
                <a:gd name="T9" fmla="*/ 1 h 21"/>
                <a:gd name="T10" fmla="*/ 11 w 18"/>
                <a:gd name="T11" fmla="*/ 1 h 21"/>
                <a:gd name="T12" fmla="*/ 18 w 18"/>
                <a:gd name="T13" fmla="*/ 21 h 21"/>
                <a:gd name="T14" fmla="*/ 18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8" y="21"/>
                  </a:moveTo>
                  <a:cubicBezTo>
                    <a:pt x="12" y="21"/>
                    <a:pt x="7" y="21"/>
                    <a:pt x="2" y="21"/>
                  </a:cubicBezTo>
                  <a:cubicBezTo>
                    <a:pt x="1" y="16"/>
                    <a:pt x="0" y="10"/>
                    <a:pt x="0" y="5"/>
                  </a:cubicBezTo>
                  <a:cubicBezTo>
                    <a:pt x="0" y="5"/>
                    <a:pt x="1" y="4"/>
                    <a:pt x="2" y="4"/>
                  </a:cubicBezTo>
                  <a:cubicBezTo>
                    <a:pt x="5" y="3"/>
                    <a:pt x="7" y="2"/>
                    <a:pt x="9" y="1"/>
                  </a:cubicBezTo>
                  <a:cubicBezTo>
                    <a:pt x="10" y="1"/>
                    <a:pt x="10" y="0"/>
                    <a:pt x="11" y="1"/>
                  </a:cubicBezTo>
                  <a:cubicBezTo>
                    <a:pt x="15" y="7"/>
                    <a:pt x="18" y="13"/>
                    <a:pt x="18" y="21"/>
                  </a:cubicBezTo>
                  <a:cubicBezTo>
                    <a:pt x="18" y="21"/>
                    <a:pt x="18" y="21"/>
                    <a:pt x="18"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7" name="Freeform 151">
              <a:extLst>
                <a:ext uri="{FF2B5EF4-FFF2-40B4-BE49-F238E27FC236}">
                  <a16:creationId xmlns:a16="http://schemas.microsoft.com/office/drawing/2014/main" id="{AA6EEAA0-FFC4-415D-9E2E-B3F80C77B1EA}"/>
                </a:ext>
              </a:extLst>
            </p:cNvPr>
            <p:cNvSpPr>
              <a:spLocks/>
            </p:cNvSpPr>
            <p:nvPr/>
          </p:nvSpPr>
          <p:spPr bwMode="auto">
            <a:xfrm>
              <a:off x="7276575" y="1456985"/>
              <a:ext cx="58833" cy="70039"/>
            </a:xfrm>
            <a:custGeom>
              <a:avLst/>
              <a:gdLst>
                <a:gd name="T0" fmla="*/ 18 w 18"/>
                <a:gd name="T1" fmla="*/ 0 h 21"/>
                <a:gd name="T2" fmla="*/ 10 w 18"/>
                <a:gd name="T3" fmla="*/ 21 h 21"/>
                <a:gd name="T4" fmla="*/ 0 w 18"/>
                <a:gd name="T5" fmla="*/ 16 h 21"/>
                <a:gd name="T6" fmla="*/ 2 w 18"/>
                <a:gd name="T7" fmla="*/ 0 h 21"/>
                <a:gd name="T8" fmla="*/ 18 w 18"/>
                <a:gd name="T9" fmla="*/ 0 h 21"/>
              </a:gdLst>
              <a:ahLst/>
              <a:cxnLst>
                <a:cxn ang="0">
                  <a:pos x="T0" y="T1"/>
                </a:cxn>
                <a:cxn ang="0">
                  <a:pos x="T2" y="T3"/>
                </a:cxn>
                <a:cxn ang="0">
                  <a:pos x="T4" y="T5"/>
                </a:cxn>
                <a:cxn ang="0">
                  <a:pos x="T6" y="T7"/>
                </a:cxn>
                <a:cxn ang="0">
                  <a:pos x="T8" y="T9"/>
                </a:cxn>
              </a:cxnLst>
              <a:rect l="0" t="0" r="r" b="b"/>
              <a:pathLst>
                <a:path w="18" h="21">
                  <a:moveTo>
                    <a:pt x="18" y="0"/>
                  </a:moveTo>
                  <a:cubicBezTo>
                    <a:pt x="18" y="8"/>
                    <a:pt x="15" y="15"/>
                    <a:pt x="10" y="21"/>
                  </a:cubicBezTo>
                  <a:cubicBezTo>
                    <a:pt x="7" y="19"/>
                    <a:pt x="3" y="18"/>
                    <a:pt x="0" y="16"/>
                  </a:cubicBezTo>
                  <a:cubicBezTo>
                    <a:pt x="0" y="11"/>
                    <a:pt x="1" y="6"/>
                    <a:pt x="2" y="0"/>
                  </a:cubicBezTo>
                  <a:cubicBezTo>
                    <a:pt x="7" y="0"/>
                    <a:pt x="12" y="0"/>
                    <a:pt x="18"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8" name="Freeform 152">
              <a:extLst>
                <a:ext uri="{FF2B5EF4-FFF2-40B4-BE49-F238E27FC236}">
                  <a16:creationId xmlns:a16="http://schemas.microsoft.com/office/drawing/2014/main" id="{FDB6AB95-048F-448A-8064-D0DB5510F00B}"/>
                </a:ext>
              </a:extLst>
            </p:cNvPr>
            <p:cNvSpPr>
              <a:spLocks/>
            </p:cNvSpPr>
            <p:nvPr/>
          </p:nvSpPr>
          <p:spPr bwMode="auto">
            <a:xfrm>
              <a:off x="7104279" y="1377140"/>
              <a:ext cx="58833" cy="70039"/>
            </a:xfrm>
            <a:custGeom>
              <a:avLst/>
              <a:gdLst>
                <a:gd name="T0" fmla="*/ 16 w 18"/>
                <a:gd name="T1" fmla="*/ 21 h 21"/>
                <a:gd name="T2" fmla="*/ 0 w 18"/>
                <a:gd name="T3" fmla="*/ 21 h 21"/>
                <a:gd name="T4" fmla="*/ 8 w 18"/>
                <a:gd name="T5" fmla="*/ 0 h 21"/>
                <a:gd name="T6" fmla="*/ 15 w 18"/>
                <a:gd name="T7" fmla="*/ 4 h 21"/>
                <a:gd name="T8" fmla="*/ 17 w 18"/>
                <a:gd name="T9" fmla="*/ 4 h 21"/>
                <a:gd name="T10" fmla="*/ 18 w 18"/>
                <a:gd name="T11" fmla="*/ 6 h 21"/>
                <a:gd name="T12" fmla="*/ 16 w 18"/>
                <a:gd name="T13" fmla="*/ 19 h 21"/>
                <a:gd name="T14" fmla="*/ 16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6" y="21"/>
                  </a:moveTo>
                  <a:cubicBezTo>
                    <a:pt x="11" y="21"/>
                    <a:pt x="5" y="21"/>
                    <a:pt x="0" y="21"/>
                  </a:cubicBezTo>
                  <a:cubicBezTo>
                    <a:pt x="0" y="13"/>
                    <a:pt x="3" y="6"/>
                    <a:pt x="8" y="0"/>
                  </a:cubicBezTo>
                  <a:cubicBezTo>
                    <a:pt x="10" y="2"/>
                    <a:pt x="13" y="3"/>
                    <a:pt x="15" y="4"/>
                  </a:cubicBezTo>
                  <a:cubicBezTo>
                    <a:pt x="16" y="4"/>
                    <a:pt x="16" y="4"/>
                    <a:pt x="17" y="4"/>
                  </a:cubicBezTo>
                  <a:cubicBezTo>
                    <a:pt x="18" y="5"/>
                    <a:pt x="18" y="5"/>
                    <a:pt x="18" y="6"/>
                  </a:cubicBezTo>
                  <a:cubicBezTo>
                    <a:pt x="17" y="11"/>
                    <a:pt x="17" y="15"/>
                    <a:pt x="16" y="19"/>
                  </a:cubicBezTo>
                  <a:cubicBezTo>
                    <a:pt x="16" y="20"/>
                    <a:pt x="16" y="20"/>
                    <a:pt x="16"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9" name="Freeform 153">
              <a:extLst>
                <a:ext uri="{FF2B5EF4-FFF2-40B4-BE49-F238E27FC236}">
                  <a16:creationId xmlns:a16="http://schemas.microsoft.com/office/drawing/2014/main" id="{58E7C69C-9F86-4001-B002-DE509403971B}"/>
                </a:ext>
              </a:extLst>
            </p:cNvPr>
            <p:cNvSpPr>
              <a:spLocks/>
            </p:cNvSpPr>
            <p:nvPr/>
          </p:nvSpPr>
          <p:spPr bwMode="auto">
            <a:xfrm>
              <a:off x="7104279" y="1456985"/>
              <a:ext cx="58833" cy="70039"/>
            </a:xfrm>
            <a:custGeom>
              <a:avLst/>
              <a:gdLst>
                <a:gd name="T0" fmla="*/ 7 w 18"/>
                <a:gd name="T1" fmla="*/ 21 h 21"/>
                <a:gd name="T2" fmla="*/ 0 w 18"/>
                <a:gd name="T3" fmla="*/ 0 h 21"/>
                <a:gd name="T4" fmla="*/ 16 w 18"/>
                <a:gd name="T5" fmla="*/ 0 h 21"/>
                <a:gd name="T6" fmla="*/ 17 w 18"/>
                <a:gd name="T7" fmla="*/ 6 h 21"/>
                <a:gd name="T8" fmla="*/ 18 w 18"/>
                <a:gd name="T9" fmla="*/ 16 h 21"/>
                <a:gd name="T10" fmla="*/ 18 w 18"/>
                <a:gd name="T11" fmla="*/ 17 h 21"/>
                <a:gd name="T12" fmla="*/ 7 w 1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8" h="21">
                  <a:moveTo>
                    <a:pt x="7" y="21"/>
                  </a:moveTo>
                  <a:cubicBezTo>
                    <a:pt x="3" y="15"/>
                    <a:pt x="0" y="8"/>
                    <a:pt x="0" y="0"/>
                  </a:cubicBezTo>
                  <a:cubicBezTo>
                    <a:pt x="5" y="0"/>
                    <a:pt x="11" y="0"/>
                    <a:pt x="16" y="0"/>
                  </a:cubicBezTo>
                  <a:cubicBezTo>
                    <a:pt x="16" y="2"/>
                    <a:pt x="16" y="4"/>
                    <a:pt x="17" y="6"/>
                  </a:cubicBezTo>
                  <a:cubicBezTo>
                    <a:pt x="17" y="9"/>
                    <a:pt x="18" y="12"/>
                    <a:pt x="18" y="16"/>
                  </a:cubicBezTo>
                  <a:cubicBezTo>
                    <a:pt x="18" y="16"/>
                    <a:pt x="18" y="17"/>
                    <a:pt x="18" y="17"/>
                  </a:cubicBezTo>
                  <a:cubicBezTo>
                    <a:pt x="14" y="18"/>
                    <a:pt x="11" y="19"/>
                    <a:pt x="7"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0" name="Freeform 154">
              <a:extLst>
                <a:ext uri="{FF2B5EF4-FFF2-40B4-BE49-F238E27FC236}">
                  <a16:creationId xmlns:a16="http://schemas.microsoft.com/office/drawing/2014/main" id="{F2895DC0-19F4-49E7-8591-9405D6224994}"/>
                </a:ext>
              </a:extLst>
            </p:cNvPr>
            <p:cNvSpPr>
              <a:spLocks/>
            </p:cNvSpPr>
            <p:nvPr/>
          </p:nvSpPr>
          <p:spPr bwMode="auto">
            <a:xfrm>
              <a:off x="7170116" y="1396751"/>
              <a:ext cx="43425" cy="50428"/>
            </a:xfrm>
            <a:custGeom>
              <a:avLst/>
              <a:gdLst>
                <a:gd name="T0" fmla="*/ 13 w 13"/>
                <a:gd name="T1" fmla="*/ 2 h 15"/>
                <a:gd name="T2" fmla="*/ 13 w 13"/>
                <a:gd name="T3" fmla="*/ 15 h 15"/>
                <a:gd name="T4" fmla="*/ 0 w 13"/>
                <a:gd name="T5" fmla="*/ 15 h 15"/>
                <a:gd name="T6" fmla="*/ 1 w 13"/>
                <a:gd name="T7" fmla="*/ 0 h 15"/>
                <a:gd name="T8" fmla="*/ 13 w 13"/>
                <a:gd name="T9" fmla="*/ 2 h 15"/>
              </a:gdLst>
              <a:ahLst/>
              <a:cxnLst>
                <a:cxn ang="0">
                  <a:pos x="T0" y="T1"/>
                </a:cxn>
                <a:cxn ang="0">
                  <a:pos x="T2" y="T3"/>
                </a:cxn>
                <a:cxn ang="0">
                  <a:pos x="T4" y="T5"/>
                </a:cxn>
                <a:cxn ang="0">
                  <a:pos x="T6" y="T7"/>
                </a:cxn>
                <a:cxn ang="0">
                  <a:pos x="T8" y="T9"/>
                </a:cxn>
              </a:cxnLst>
              <a:rect l="0" t="0" r="r" b="b"/>
              <a:pathLst>
                <a:path w="13" h="15">
                  <a:moveTo>
                    <a:pt x="13" y="2"/>
                  </a:moveTo>
                  <a:cubicBezTo>
                    <a:pt x="13" y="6"/>
                    <a:pt x="13" y="10"/>
                    <a:pt x="13" y="15"/>
                  </a:cubicBezTo>
                  <a:cubicBezTo>
                    <a:pt x="9" y="15"/>
                    <a:pt x="4" y="15"/>
                    <a:pt x="0" y="15"/>
                  </a:cubicBezTo>
                  <a:cubicBezTo>
                    <a:pt x="0" y="10"/>
                    <a:pt x="0" y="5"/>
                    <a:pt x="1" y="0"/>
                  </a:cubicBezTo>
                  <a:cubicBezTo>
                    <a:pt x="5" y="0"/>
                    <a:pt x="9" y="1"/>
                    <a:pt x="13"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1" name="Freeform 155">
              <a:extLst>
                <a:ext uri="{FF2B5EF4-FFF2-40B4-BE49-F238E27FC236}">
                  <a16:creationId xmlns:a16="http://schemas.microsoft.com/office/drawing/2014/main" id="{E9841B39-44F5-4B6E-AC7B-0C229F7B7448}"/>
                </a:ext>
              </a:extLst>
            </p:cNvPr>
            <p:cNvSpPr>
              <a:spLocks/>
            </p:cNvSpPr>
            <p:nvPr/>
          </p:nvSpPr>
          <p:spPr bwMode="auto">
            <a:xfrm>
              <a:off x="7170116" y="1456985"/>
              <a:ext cx="43425" cy="49028"/>
            </a:xfrm>
            <a:custGeom>
              <a:avLst/>
              <a:gdLst>
                <a:gd name="T0" fmla="*/ 0 w 13"/>
                <a:gd name="T1" fmla="*/ 0 h 15"/>
                <a:gd name="T2" fmla="*/ 13 w 13"/>
                <a:gd name="T3" fmla="*/ 0 h 15"/>
                <a:gd name="T4" fmla="*/ 13 w 13"/>
                <a:gd name="T5" fmla="*/ 14 h 15"/>
                <a:gd name="T6" fmla="*/ 1 w 13"/>
                <a:gd name="T7" fmla="*/ 15 h 15"/>
                <a:gd name="T8" fmla="*/ 0 w 13"/>
                <a:gd name="T9" fmla="*/ 0 h 15"/>
              </a:gdLst>
              <a:ahLst/>
              <a:cxnLst>
                <a:cxn ang="0">
                  <a:pos x="T0" y="T1"/>
                </a:cxn>
                <a:cxn ang="0">
                  <a:pos x="T2" y="T3"/>
                </a:cxn>
                <a:cxn ang="0">
                  <a:pos x="T4" y="T5"/>
                </a:cxn>
                <a:cxn ang="0">
                  <a:pos x="T6" y="T7"/>
                </a:cxn>
                <a:cxn ang="0">
                  <a:pos x="T8" y="T9"/>
                </a:cxn>
              </a:cxnLst>
              <a:rect l="0" t="0" r="r" b="b"/>
              <a:pathLst>
                <a:path w="13" h="15">
                  <a:moveTo>
                    <a:pt x="0" y="0"/>
                  </a:moveTo>
                  <a:cubicBezTo>
                    <a:pt x="4" y="0"/>
                    <a:pt x="9" y="0"/>
                    <a:pt x="13" y="0"/>
                  </a:cubicBezTo>
                  <a:cubicBezTo>
                    <a:pt x="13" y="5"/>
                    <a:pt x="13" y="9"/>
                    <a:pt x="13" y="14"/>
                  </a:cubicBezTo>
                  <a:cubicBezTo>
                    <a:pt x="9" y="14"/>
                    <a:pt x="5" y="15"/>
                    <a:pt x="1" y="15"/>
                  </a:cubicBezTo>
                  <a:cubicBezTo>
                    <a:pt x="0" y="11"/>
                    <a:pt x="0" y="6"/>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2" name="Freeform 156">
              <a:extLst>
                <a:ext uri="{FF2B5EF4-FFF2-40B4-BE49-F238E27FC236}">
                  <a16:creationId xmlns:a16="http://schemas.microsoft.com/office/drawing/2014/main" id="{615E3FA6-955A-4758-B409-88899140C016}"/>
                </a:ext>
              </a:extLst>
            </p:cNvPr>
            <p:cNvSpPr>
              <a:spLocks/>
            </p:cNvSpPr>
            <p:nvPr/>
          </p:nvSpPr>
          <p:spPr bwMode="auto">
            <a:xfrm>
              <a:off x="7226147" y="1396751"/>
              <a:ext cx="43425" cy="50428"/>
            </a:xfrm>
            <a:custGeom>
              <a:avLst/>
              <a:gdLst>
                <a:gd name="T0" fmla="*/ 13 w 13"/>
                <a:gd name="T1" fmla="*/ 15 h 15"/>
                <a:gd name="T2" fmla="*/ 0 w 13"/>
                <a:gd name="T3" fmla="*/ 15 h 15"/>
                <a:gd name="T4" fmla="*/ 0 w 13"/>
                <a:gd name="T5" fmla="*/ 2 h 15"/>
                <a:gd name="T6" fmla="*/ 11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cubicBezTo>
                    <a:pt x="9" y="15"/>
                    <a:pt x="4" y="15"/>
                    <a:pt x="0" y="15"/>
                  </a:cubicBezTo>
                  <a:cubicBezTo>
                    <a:pt x="0" y="10"/>
                    <a:pt x="0" y="6"/>
                    <a:pt x="0" y="2"/>
                  </a:cubicBezTo>
                  <a:cubicBezTo>
                    <a:pt x="4" y="1"/>
                    <a:pt x="7" y="0"/>
                    <a:pt x="11" y="0"/>
                  </a:cubicBezTo>
                  <a:cubicBezTo>
                    <a:pt x="13" y="5"/>
                    <a:pt x="13" y="10"/>
                    <a:pt x="13"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3" name="Freeform 157">
              <a:extLst>
                <a:ext uri="{FF2B5EF4-FFF2-40B4-BE49-F238E27FC236}">
                  <a16:creationId xmlns:a16="http://schemas.microsoft.com/office/drawing/2014/main" id="{0FF427E7-4F11-4BC1-B171-E807FA4828A8}"/>
                </a:ext>
              </a:extLst>
            </p:cNvPr>
            <p:cNvSpPr>
              <a:spLocks/>
            </p:cNvSpPr>
            <p:nvPr/>
          </p:nvSpPr>
          <p:spPr bwMode="auto">
            <a:xfrm>
              <a:off x="7177120" y="1513016"/>
              <a:ext cx="36420" cy="56031"/>
            </a:xfrm>
            <a:custGeom>
              <a:avLst/>
              <a:gdLst>
                <a:gd name="T0" fmla="*/ 0 w 11"/>
                <a:gd name="T1" fmla="*/ 1 h 17"/>
                <a:gd name="T2" fmla="*/ 11 w 11"/>
                <a:gd name="T3" fmla="*/ 0 h 17"/>
                <a:gd name="T4" fmla="*/ 11 w 11"/>
                <a:gd name="T5" fmla="*/ 17 h 17"/>
                <a:gd name="T6" fmla="*/ 9 w 11"/>
                <a:gd name="T7" fmla="*/ 16 h 17"/>
                <a:gd name="T8" fmla="*/ 4 w 11"/>
                <a:gd name="T9" fmla="*/ 10 h 17"/>
                <a:gd name="T10" fmla="*/ 1 w 11"/>
                <a:gd name="T11" fmla="*/ 4 h 17"/>
                <a:gd name="T12" fmla="*/ 0 w 1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0" y="1"/>
                  </a:moveTo>
                  <a:cubicBezTo>
                    <a:pt x="4" y="1"/>
                    <a:pt x="8" y="0"/>
                    <a:pt x="11" y="0"/>
                  </a:cubicBezTo>
                  <a:cubicBezTo>
                    <a:pt x="11" y="6"/>
                    <a:pt x="11" y="11"/>
                    <a:pt x="11" y="17"/>
                  </a:cubicBezTo>
                  <a:cubicBezTo>
                    <a:pt x="10" y="16"/>
                    <a:pt x="10" y="16"/>
                    <a:pt x="9" y="16"/>
                  </a:cubicBezTo>
                  <a:cubicBezTo>
                    <a:pt x="7" y="14"/>
                    <a:pt x="5" y="12"/>
                    <a:pt x="4" y="10"/>
                  </a:cubicBezTo>
                  <a:cubicBezTo>
                    <a:pt x="3" y="8"/>
                    <a:pt x="2" y="6"/>
                    <a:pt x="1" y="4"/>
                  </a:cubicBezTo>
                  <a:cubicBezTo>
                    <a:pt x="1" y="4"/>
                    <a:pt x="1" y="3"/>
                    <a:pt x="0"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4" name="Freeform 158">
              <a:extLst>
                <a:ext uri="{FF2B5EF4-FFF2-40B4-BE49-F238E27FC236}">
                  <a16:creationId xmlns:a16="http://schemas.microsoft.com/office/drawing/2014/main" id="{CB691875-1FD7-4774-85F3-7C43ADCC9312}"/>
                </a:ext>
              </a:extLst>
            </p:cNvPr>
            <p:cNvSpPr>
              <a:spLocks/>
            </p:cNvSpPr>
            <p:nvPr/>
          </p:nvSpPr>
          <p:spPr bwMode="auto">
            <a:xfrm>
              <a:off x="7177120" y="1337918"/>
              <a:ext cx="36420" cy="53230"/>
            </a:xfrm>
            <a:custGeom>
              <a:avLst/>
              <a:gdLst>
                <a:gd name="T0" fmla="*/ 11 w 11"/>
                <a:gd name="T1" fmla="*/ 0 h 16"/>
                <a:gd name="T2" fmla="*/ 11 w 11"/>
                <a:gd name="T3" fmla="*/ 16 h 16"/>
                <a:gd name="T4" fmla="*/ 0 w 11"/>
                <a:gd name="T5" fmla="*/ 15 h 16"/>
                <a:gd name="T6" fmla="*/ 11 w 11"/>
                <a:gd name="T7" fmla="*/ 0 h 16"/>
              </a:gdLst>
              <a:ahLst/>
              <a:cxnLst>
                <a:cxn ang="0">
                  <a:pos x="T0" y="T1"/>
                </a:cxn>
                <a:cxn ang="0">
                  <a:pos x="T2" y="T3"/>
                </a:cxn>
                <a:cxn ang="0">
                  <a:pos x="T4" y="T5"/>
                </a:cxn>
                <a:cxn ang="0">
                  <a:pos x="T6" y="T7"/>
                </a:cxn>
              </a:cxnLst>
              <a:rect l="0" t="0" r="r" b="b"/>
              <a:pathLst>
                <a:path w="11" h="16">
                  <a:moveTo>
                    <a:pt x="11" y="0"/>
                  </a:moveTo>
                  <a:cubicBezTo>
                    <a:pt x="11" y="5"/>
                    <a:pt x="11" y="11"/>
                    <a:pt x="11" y="16"/>
                  </a:cubicBezTo>
                  <a:cubicBezTo>
                    <a:pt x="7" y="16"/>
                    <a:pt x="4" y="15"/>
                    <a:pt x="0" y="15"/>
                  </a:cubicBezTo>
                  <a:cubicBezTo>
                    <a:pt x="2" y="8"/>
                    <a:pt x="7" y="0"/>
                    <a:pt x="1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5" name="Freeform 159">
              <a:extLst>
                <a:ext uri="{FF2B5EF4-FFF2-40B4-BE49-F238E27FC236}">
                  <a16:creationId xmlns:a16="http://schemas.microsoft.com/office/drawing/2014/main" id="{0208ACCC-57CF-46F5-B12B-5B26145944A6}"/>
                </a:ext>
              </a:extLst>
            </p:cNvPr>
            <p:cNvSpPr>
              <a:spLocks/>
            </p:cNvSpPr>
            <p:nvPr/>
          </p:nvSpPr>
          <p:spPr bwMode="auto">
            <a:xfrm>
              <a:off x="7226147" y="1337918"/>
              <a:ext cx="33619" cy="53230"/>
            </a:xfrm>
            <a:custGeom>
              <a:avLst/>
              <a:gdLst>
                <a:gd name="T0" fmla="*/ 0 w 10"/>
                <a:gd name="T1" fmla="*/ 16 h 16"/>
                <a:gd name="T2" fmla="*/ 0 w 10"/>
                <a:gd name="T3" fmla="*/ 0 h 16"/>
                <a:gd name="T4" fmla="*/ 2 w 10"/>
                <a:gd name="T5" fmla="*/ 1 h 16"/>
                <a:gd name="T6" fmla="*/ 6 w 10"/>
                <a:gd name="T7" fmla="*/ 5 h 16"/>
                <a:gd name="T8" fmla="*/ 10 w 10"/>
                <a:gd name="T9" fmla="*/ 15 h 16"/>
                <a:gd name="T10" fmla="*/ 0 w 10"/>
                <a:gd name="T11" fmla="*/ 16 h 16"/>
              </a:gdLst>
              <a:ahLst/>
              <a:cxnLst>
                <a:cxn ang="0">
                  <a:pos x="T0" y="T1"/>
                </a:cxn>
                <a:cxn ang="0">
                  <a:pos x="T2" y="T3"/>
                </a:cxn>
                <a:cxn ang="0">
                  <a:pos x="T4" y="T5"/>
                </a:cxn>
                <a:cxn ang="0">
                  <a:pos x="T6" y="T7"/>
                </a:cxn>
                <a:cxn ang="0">
                  <a:pos x="T8" y="T9"/>
                </a:cxn>
                <a:cxn ang="0">
                  <a:pos x="T10" y="T11"/>
                </a:cxn>
              </a:cxnLst>
              <a:rect l="0" t="0" r="r" b="b"/>
              <a:pathLst>
                <a:path w="10" h="16">
                  <a:moveTo>
                    <a:pt x="0" y="16"/>
                  </a:moveTo>
                  <a:cubicBezTo>
                    <a:pt x="0" y="11"/>
                    <a:pt x="0" y="5"/>
                    <a:pt x="0" y="0"/>
                  </a:cubicBezTo>
                  <a:cubicBezTo>
                    <a:pt x="0" y="0"/>
                    <a:pt x="1" y="0"/>
                    <a:pt x="2" y="1"/>
                  </a:cubicBezTo>
                  <a:cubicBezTo>
                    <a:pt x="3" y="2"/>
                    <a:pt x="5" y="4"/>
                    <a:pt x="6" y="5"/>
                  </a:cubicBezTo>
                  <a:cubicBezTo>
                    <a:pt x="8" y="8"/>
                    <a:pt x="9" y="11"/>
                    <a:pt x="10" y="15"/>
                  </a:cubicBezTo>
                  <a:cubicBezTo>
                    <a:pt x="7" y="16"/>
                    <a:pt x="3" y="16"/>
                    <a:pt x="0" y="1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6" name="Freeform 160">
              <a:extLst>
                <a:ext uri="{FF2B5EF4-FFF2-40B4-BE49-F238E27FC236}">
                  <a16:creationId xmlns:a16="http://schemas.microsoft.com/office/drawing/2014/main" id="{DC7C062D-160F-45C6-AE4E-91C9846D41ED}"/>
                </a:ext>
              </a:extLst>
            </p:cNvPr>
            <p:cNvSpPr>
              <a:spLocks/>
            </p:cNvSpPr>
            <p:nvPr/>
          </p:nvSpPr>
          <p:spPr bwMode="auto">
            <a:xfrm>
              <a:off x="7226147" y="1513016"/>
              <a:ext cx="33619" cy="56031"/>
            </a:xfrm>
            <a:custGeom>
              <a:avLst/>
              <a:gdLst>
                <a:gd name="T0" fmla="*/ 10 w 10"/>
                <a:gd name="T1" fmla="*/ 2 h 17"/>
                <a:gd name="T2" fmla="*/ 0 w 10"/>
                <a:gd name="T3" fmla="*/ 17 h 17"/>
                <a:gd name="T4" fmla="*/ 0 w 10"/>
                <a:gd name="T5" fmla="*/ 0 h 17"/>
                <a:gd name="T6" fmla="*/ 10 w 10"/>
                <a:gd name="T7" fmla="*/ 2 h 17"/>
              </a:gdLst>
              <a:ahLst/>
              <a:cxnLst>
                <a:cxn ang="0">
                  <a:pos x="T0" y="T1"/>
                </a:cxn>
                <a:cxn ang="0">
                  <a:pos x="T2" y="T3"/>
                </a:cxn>
                <a:cxn ang="0">
                  <a:pos x="T4" y="T5"/>
                </a:cxn>
                <a:cxn ang="0">
                  <a:pos x="T6" y="T7"/>
                </a:cxn>
              </a:cxnLst>
              <a:rect l="0" t="0" r="r" b="b"/>
              <a:pathLst>
                <a:path w="10" h="17">
                  <a:moveTo>
                    <a:pt x="10" y="2"/>
                  </a:moveTo>
                  <a:cubicBezTo>
                    <a:pt x="8" y="8"/>
                    <a:pt x="6" y="14"/>
                    <a:pt x="0" y="17"/>
                  </a:cubicBezTo>
                  <a:cubicBezTo>
                    <a:pt x="0" y="11"/>
                    <a:pt x="0" y="6"/>
                    <a:pt x="0" y="0"/>
                  </a:cubicBezTo>
                  <a:cubicBezTo>
                    <a:pt x="3" y="0"/>
                    <a:pt x="7" y="1"/>
                    <a:pt x="10"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7" name="Freeform 161">
              <a:extLst>
                <a:ext uri="{FF2B5EF4-FFF2-40B4-BE49-F238E27FC236}">
                  <a16:creationId xmlns:a16="http://schemas.microsoft.com/office/drawing/2014/main" id="{71E738C9-4164-4C2A-B141-F71602F1C1ED}"/>
                </a:ext>
              </a:extLst>
            </p:cNvPr>
            <p:cNvSpPr>
              <a:spLocks/>
            </p:cNvSpPr>
            <p:nvPr/>
          </p:nvSpPr>
          <p:spPr bwMode="auto">
            <a:xfrm>
              <a:off x="7245758" y="1520019"/>
              <a:ext cx="56031" cy="46226"/>
            </a:xfrm>
            <a:custGeom>
              <a:avLst/>
              <a:gdLst>
                <a:gd name="T0" fmla="*/ 7 w 17"/>
                <a:gd name="T1" fmla="*/ 0 h 14"/>
                <a:gd name="T2" fmla="*/ 17 w 17"/>
                <a:gd name="T3" fmla="*/ 4 h 14"/>
                <a:gd name="T4" fmla="*/ 0 w 17"/>
                <a:gd name="T5" fmla="*/ 14 h 14"/>
                <a:gd name="T6" fmla="*/ 7 w 17"/>
                <a:gd name="T7" fmla="*/ 0 h 14"/>
              </a:gdLst>
              <a:ahLst/>
              <a:cxnLst>
                <a:cxn ang="0">
                  <a:pos x="T0" y="T1"/>
                </a:cxn>
                <a:cxn ang="0">
                  <a:pos x="T2" y="T3"/>
                </a:cxn>
                <a:cxn ang="0">
                  <a:pos x="T4" y="T5"/>
                </a:cxn>
                <a:cxn ang="0">
                  <a:pos x="T6" y="T7"/>
                </a:cxn>
              </a:cxnLst>
              <a:rect l="0" t="0" r="r" b="b"/>
              <a:pathLst>
                <a:path w="17" h="14">
                  <a:moveTo>
                    <a:pt x="7" y="0"/>
                  </a:moveTo>
                  <a:cubicBezTo>
                    <a:pt x="11" y="2"/>
                    <a:pt x="14" y="3"/>
                    <a:pt x="17" y="4"/>
                  </a:cubicBezTo>
                  <a:cubicBezTo>
                    <a:pt x="12" y="9"/>
                    <a:pt x="7" y="12"/>
                    <a:pt x="0" y="14"/>
                  </a:cubicBezTo>
                  <a:cubicBezTo>
                    <a:pt x="4" y="10"/>
                    <a:pt x="6" y="5"/>
                    <a:pt x="7"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8" name="Freeform 162">
              <a:extLst>
                <a:ext uri="{FF2B5EF4-FFF2-40B4-BE49-F238E27FC236}">
                  <a16:creationId xmlns:a16="http://schemas.microsoft.com/office/drawing/2014/main" id="{27B7AAFB-DE46-435F-94CD-B99750FE0D2C}"/>
                </a:ext>
              </a:extLst>
            </p:cNvPr>
            <p:cNvSpPr>
              <a:spLocks/>
            </p:cNvSpPr>
            <p:nvPr/>
          </p:nvSpPr>
          <p:spPr bwMode="auto">
            <a:xfrm>
              <a:off x="7245758" y="1337918"/>
              <a:ext cx="56031" cy="46226"/>
            </a:xfrm>
            <a:custGeom>
              <a:avLst/>
              <a:gdLst>
                <a:gd name="T0" fmla="*/ 0 w 17"/>
                <a:gd name="T1" fmla="*/ 0 h 14"/>
                <a:gd name="T2" fmla="*/ 17 w 17"/>
                <a:gd name="T3" fmla="*/ 10 h 14"/>
                <a:gd name="T4" fmla="*/ 7 w 17"/>
                <a:gd name="T5" fmla="*/ 14 h 14"/>
                <a:gd name="T6" fmla="*/ 0 w 17"/>
                <a:gd name="T7" fmla="*/ 0 h 14"/>
              </a:gdLst>
              <a:ahLst/>
              <a:cxnLst>
                <a:cxn ang="0">
                  <a:pos x="T0" y="T1"/>
                </a:cxn>
                <a:cxn ang="0">
                  <a:pos x="T2" y="T3"/>
                </a:cxn>
                <a:cxn ang="0">
                  <a:pos x="T4" y="T5"/>
                </a:cxn>
                <a:cxn ang="0">
                  <a:pos x="T6" y="T7"/>
                </a:cxn>
              </a:cxnLst>
              <a:rect l="0" t="0" r="r" b="b"/>
              <a:pathLst>
                <a:path w="17" h="14">
                  <a:moveTo>
                    <a:pt x="0" y="0"/>
                  </a:moveTo>
                  <a:cubicBezTo>
                    <a:pt x="7" y="2"/>
                    <a:pt x="12" y="5"/>
                    <a:pt x="17" y="10"/>
                  </a:cubicBezTo>
                  <a:cubicBezTo>
                    <a:pt x="14" y="11"/>
                    <a:pt x="11" y="13"/>
                    <a:pt x="7" y="14"/>
                  </a:cubicBezTo>
                  <a:cubicBezTo>
                    <a:pt x="6" y="9"/>
                    <a:pt x="4" y="4"/>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9" name="Freeform 163">
              <a:extLst>
                <a:ext uri="{FF2B5EF4-FFF2-40B4-BE49-F238E27FC236}">
                  <a16:creationId xmlns:a16="http://schemas.microsoft.com/office/drawing/2014/main" id="{A8E3A0C5-E41D-45E5-ABA0-D1BFE8B8A5FC}"/>
                </a:ext>
              </a:extLst>
            </p:cNvPr>
            <p:cNvSpPr>
              <a:spLocks/>
            </p:cNvSpPr>
            <p:nvPr/>
          </p:nvSpPr>
          <p:spPr bwMode="auto">
            <a:xfrm>
              <a:off x="7136497" y="1520019"/>
              <a:ext cx="53230" cy="46226"/>
            </a:xfrm>
            <a:custGeom>
              <a:avLst/>
              <a:gdLst>
                <a:gd name="T0" fmla="*/ 9 w 16"/>
                <a:gd name="T1" fmla="*/ 0 h 14"/>
                <a:gd name="T2" fmla="*/ 16 w 16"/>
                <a:gd name="T3" fmla="*/ 14 h 14"/>
                <a:gd name="T4" fmla="*/ 0 w 16"/>
                <a:gd name="T5" fmla="*/ 4 h 14"/>
                <a:gd name="T6" fmla="*/ 9 w 16"/>
                <a:gd name="T7" fmla="*/ 0 h 14"/>
              </a:gdLst>
              <a:ahLst/>
              <a:cxnLst>
                <a:cxn ang="0">
                  <a:pos x="T0" y="T1"/>
                </a:cxn>
                <a:cxn ang="0">
                  <a:pos x="T2" y="T3"/>
                </a:cxn>
                <a:cxn ang="0">
                  <a:pos x="T4" y="T5"/>
                </a:cxn>
                <a:cxn ang="0">
                  <a:pos x="T6" y="T7"/>
                </a:cxn>
              </a:cxnLst>
              <a:rect l="0" t="0" r="r" b="b"/>
              <a:pathLst>
                <a:path w="16" h="14">
                  <a:moveTo>
                    <a:pt x="9" y="0"/>
                  </a:moveTo>
                  <a:cubicBezTo>
                    <a:pt x="11" y="5"/>
                    <a:pt x="13" y="10"/>
                    <a:pt x="16" y="14"/>
                  </a:cubicBezTo>
                  <a:cubicBezTo>
                    <a:pt x="10" y="12"/>
                    <a:pt x="4" y="9"/>
                    <a:pt x="0" y="4"/>
                  </a:cubicBezTo>
                  <a:cubicBezTo>
                    <a:pt x="3" y="3"/>
                    <a:pt x="6" y="2"/>
                    <a:pt x="9"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0" name="Freeform 164">
              <a:extLst>
                <a:ext uri="{FF2B5EF4-FFF2-40B4-BE49-F238E27FC236}">
                  <a16:creationId xmlns:a16="http://schemas.microsoft.com/office/drawing/2014/main" id="{A9520E2C-78BE-494A-B781-4B1F940238CA}"/>
                </a:ext>
              </a:extLst>
            </p:cNvPr>
            <p:cNvSpPr>
              <a:spLocks/>
            </p:cNvSpPr>
            <p:nvPr/>
          </p:nvSpPr>
          <p:spPr bwMode="auto">
            <a:xfrm>
              <a:off x="7136497" y="1340720"/>
              <a:ext cx="53230" cy="43425"/>
            </a:xfrm>
            <a:custGeom>
              <a:avLst/>
              <a:gdLst>
                <a:gd name="T0" fmla="*/ 0 w 16"/>
                <a:gd name="T1" fmla="*/ 9 h 13"/>
                <a:gd name="T2" fmla="*/ 16 w 16"/>
                <a:gd name="T3" fmla="*/ 0 h 13"/>
                <a:gd name="T4" fmla="*/ 12 w 16"/>
                <a:gd name="T5" fmla="*/ 6 h 13"/>
                <a:gd name="T6" fmla="*/ 9 w 16"/>
                <a:gd name="T7" fmla="*/ 13 h 13"/>
                <a:gd name="T8" fmla="*/ 0 w 16"/>
                <a:gd name="T9" fmla="*/ 9 h 13"/>
              </a:gdLst>
              <a:ahLst/>
              <a:cxnLst>
                <a:cxn ang="0">
                  <a:pos x="T0" y="T1"/>
                </a:cxn>
                <a:cxn ang="0">
                  <a:pos x="T2" y="T3"/>
                </a:cxn>
                <a:cxn ang="0">
                  <a:pos x="T4" y="T5"/>
                </a:cxn>
                <a:cxn ang="0">
                  <a:pos x="T6" y="T7"/>
                </a:cxn>
                <a:cxn ang="0">
                  <a:pos x="T8" y="T9"/>
                </a:cxn>
              </a:cxnLst>
              <a:rect l="0" t="0" r="r" b="b"/>
              <a:pathLst>
                <a:path w="16" h="13">
                  <a:moveTo>
                    <a:pt x="0" y="9"/>
                  </a:moveTo>
                  <a:cubicBezTo>
                    <a:pt x="4" y="4"/>
                    <a:pt x="10" y="1"/>
                    <a:pt x="16" y="0"/>
                  </a:cubicBezTo>
                  <a:cubicBezTo>
                    <a:pt x="15" y="2"/>
                    <a:pt x="13" y="4"/>
                    <a:pt x="12" y="6"/>
                  </a:cubicBezTo>
                  <a:cubicBezTo>
                    <a:pt x="11" y="8"/>
                    <a:pt x="10" y="11"/>
                    <a:pt x="9" y="13"/>
                  </a:cubicBezTo>
                  <a:cubicBezTo>
                    <a:pt x="6" y="12"/>
                    <a:pt x="3" y="11"/>
                    <a:pt x="0"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1" name="Freeform 165">
              <a:extLst>
                <a:ext uri="{FF2B5EF4-FFF2-40B4-BE49-F238E27FC236}">
                  <a16:creationId xmlns:a16="http://schemas.microsoft.com/office/drawing/2014/main" id="{1138E61B-1E50-438E-8972-38EDC91F9180}"/>
                </a:ext>
              </a:extLst>
            </p:cNvPr>
            <p:cNvSpPr>
              <a:spLocks/>
            </p:cNvSpPr>
            <p:nvPr/>
          </p:nvSpPr>
          <p:spPr bwMode="auto">
            <a:xfrm>
              <a:off x="7219143" y="1452782"/>
              <a:ext cx="242335" cy="156887"/>
            </a:xfrm>
            <a:custGeom>
              <a:avLst/>
              <a:gdLst>
                <a:gd name="T0" fmla="*/ 66 w 73"/>
                <a:gd name="T1" fmla="*/ 0 h 47"/>
                <a:gd name="T2" fmla="*/ 7 w 73"/>
                <a:gd name="T3" fmla="*/ 0 h 47"/>
                <a:gd name="T4" fmla="*/ 0 w 73"/>
                <a:gd name="T5" fmla="*/ 9 h 47"/>
                <a:gd name="T6" fmla="*/ 0 w 73"/>
                <a:gd name="T7" fmla="*/ 12 h 47"/>
                <a:gd name="T8" fmla="*/ 1 w 73"/>
                <a:gd name="T9" fmla="*/ 45 h 47"/>
                <a:gd name="T10" fmla="*/ 66 w 73"/>
                <a:gd name="T11" fmla="*/ 46 h 47"/>
                <a:gd name="T12" fmla="*/ 73 w 73"/>
                <a:gd name="T13" fmla="*/ 38 h 47"/>
                <a:gd name="T14" fmla="*/ 73 w 73"/>
                <a:gd name="T15" fmla="*/ 7 h 47"/>
                <a:gd name="T16" fmla="*/ 66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66" y="0"/>
                  </a:moveTo>
                  <a:cubicBezTo>
                    <a:pt x="61" y="0"/>
                    <a:pt x="11" y="0"/>
                    <a:pt x="7" y="0"/>
                  </a:cubicBezTo>
                  <a:cubicBezTo>
                    <a:pt x="2" y="1"/>
                    <a:pt x="0" y="3"/>
                    <a:pt x="0" y="9"/>
                  </a:cubicBezTo>
                  <a:cubicBezTo>
                    <a:pt x="0" y="12"/>
                    <a:pt x="0" y="12"/>
                    <a:pt x="0" y="12"/>
                  </a:cubicBezTo>
                  <a:cubicBezTo>
                    <a:pt x="0" y="18"/>
                    <a:pt x="1" y="39"/>
                    <a:pt x="1" y="45"/>
                  </a:cubicBezTo>
                  <a:cubicBezTo>
                    <a:pt x="2" y="46"/>
                    <a:pt x="60" y="47"/>
                    <a:pt x="66" y="46"/>
                  </a:cubicBezTo>
                  <a:cubicBezTo>
                    <a:pt x="71" y="46"/>
                    <a:pt x="73" y="45"/>
                    <a:pt x="73" y="38"/>
                  </a:cubicBezTo>
                  <a:cubicBezTo>
                    <a:pt x="73" y="7"/>
                    <a:pt x="73" y="7"/>
                    <a:pt x="73" y="7"/>
                  </a:cubicBezTo>
                  <a:cubicBezTo>
                    <a:pt x="73" y="1"/>
                    <a:pt x="72" y="0"/>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2" name="Freeform 166">
              <a:extLst>
                <a:ext uri="{FF2B5EF4-FFF2-40B4-BE49-F238E27FC236}">
                  <a16:creationId xmlns:a16="http://schemas.microsoft.com/office/drawing/2014/main" id="{9864C68B-1B88-49E0-8B4F-C7353D9227EF}"/>
                </a:ext>
              </a:extLst>
            </p:cNvPr>
            <p:cNvSpPr>
              <a:spLocks/>
            </p:cNvSpPr>
            <p:nvPr/>
          </p:nvSpPr>
          <p:spPr bwMode="auto">
            <a:xfrm>
              <a:off x="7233151" y="1463988"/>
              <a:ext cx="215720" cy="128872"/>
            </a:xfrm>
            <a:custGeom>
              <a:avLst/>
              <a:gdLst>
                <a:gd name="T0" fmla="*/ 65 w 65"/>
                <a:gd name="T1" fmla="*/ 39 h 39"/>
                <a:gd name="T2" fmla="*/ 1 w 65"/>
                <a:gd name="T3" fmla="*/ 39 h 39"/>
                <a:gd name="T4" fmla="*/ 1 w 65"/>
                <a:gd name="T5" fmla="*/ 1 h 39"/>
                <a:gd name="T6" fmla="*/ 65 w 65"/>
                <a:gd name="T7" fmla="*/ 1 h 39"/>
                <a:gd name="T8" fmla="*/ 65 w 65"/>
                <a:gd name="T9" fmla="*/ 39 h 39"/>
              </a:gdLst>
              <a:ahLst/>
              <a:cxnLst>
                <a:cxn ang="0">
                  <a:pos x="T0" y="T1"/>
                </a:cxn>
                <a:cxn ang="0">
                  <a:pos x="T2" y="T3"/>
                </a:cxn>
                <a:cxn ang="0">
                  <a:pos x="T4" y="T5"/>
                </a:cxn>
                <a:cxn ang="0">
                  <a:pos x="T6" y="T7"/>
                </a:cxn>
                <a:cxn ang="0">
                  <a:pos x="T8" y="T9"/>
                </a:cxn>
              </a:cxnLst>
              <a:rect l="0" t="0" r="r" b="b"/>
              <a:pathLst>
                <a:path w="65" h="39">
                  <a:moveTo>
                    <a:pt x="65" y="39"/>
                  </a:moveTo>
                  <a:cubicBezTo>
                    <a:pt x="1" y="39"/>
                    <a:pt x="1" y="39"/>
                    <a:pt x="1" y="39"/>
                  </a:cubicBezTo>
                  <a:cubicBezTo>
                    <a:pt x="1" y="39"/>
                    <a:pt x="0" y="14"/>
                    <a:pt x="1" y="1"/>
                  </a:cubicBezTo>
                  <a:cubicBezTo>
                    <a:pt x="8" y="0"/>
                    <a:pt x="57" y="0"/>
                    <a:pt x="65" y="1"/>
                  </a:cubicBezTo>
                  <a:cubicBezTo>
                    <a:pt x="65" y="19"/>
                    <a:pt x="65" y="39"/>
                    <a:pt x="65" y="39"/>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3" name="Freeform 167">
              <a:extLst>
                <a:ext uri="{FF2B5EF4-FFF2-40B4-BE49-F238E27FC236}">
                  <a16:creationId xmlns:a16="http://schemas.microsoft.com/office/drawing/2014/main" id="{7B70F757-7B51-48A1-B98E-7568D80C6772}"/>
                </a:ext>
              </a:extLst>
            </p:cNvPr>
            <p:cNvSpPr>
              <a:spLocks/>
            </p:cNvSpPr>
            <p:nvPr/>
          </p:nvSpPr>
          <p:spPr bwMode="auto">
            <a:xfrm>
              <a:off x="7196730" y="1616673"/>
              <a:ext cx="288561" cy="19611"/>
            </a:xfrm>
            <a:custGeom>
              <a:avLst/>
              <a:gdLst>
                <a:gd name="T0" fmla="*/ 81 w 87"/>
                <a:gd name="T1" fmla="*/ 6 h 6"/>
                <a:gd name="T2" fmla="*/ 7 w 87"/>
                <a:gd name="T3" fmla="*/ 6 h 6"/>
                <a:gd name="T4" fmla="*/ 0 w 87"/>
                <a:gd name="T5" fmla="*/ 0 h 6"/>
                <a:gd name="T6" fmla="*/ 0 w 87"/>
                <a:gd name="T7" fmla="*/ 0 h 6"/>
                <a:gd name="T8" fmla="*/ 87 w 87"/>
                <a:gd name="T9" fmla="*/ 0 h 6"/>
                <a:gd name="T10" fmla="*/ 87 w 87"/>
                <a:gd name="T11" fmla="*/ 0 h 6"/>
                <a:gd name="T12" fmla="*/ 81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1" y="6"/>
                  </a:moveTo>
                  <a:cubicBezTo>
                    <a:pt x="7" y="6"/>
                    <a:pt x="7" y="6"/>
                    <a:pt x="7" y="6"/>
                  </a:cubicBezTo>
                  <a:cubicBezTo>
                    <a:pt x="3" y="6"/>
                    <a:pt x="0" y="4"/>
                    <a:pt x="0" y="0"/>
                  </a:cubicBezTo>
                  <a:cubicBezTo>
                    <a:pt x="0" y="0"/>
                    <a:pt x="0" y="0"/>
                    <a:pt x="0" y="0"/>
                  </a:cubicBezTo>
                  <a:cubicBezTo>
                    <a:pt x="87" y="0"/>
                    <a:pt x="87" y="0"/>
                    <a:pt x="87" y="0"/>
                  </a:cubicBezTo>
                  <a:cubicBezTo>
                    <a:pt x="87" y="0"/>
                    <a:pt x="87" y="0"/>
                    <a:pt x="87" y="0"/>
                  </a:cubicBezTo>
                  <a:cubicBezTo>
                    <a:pt x="87" y="4"/>
                    <a:pt x="84" y="6"/>
                    <a:pt x="8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15" name="Group 514"/>
          <p:cNvGrpSpPr/>
          <p:nvPr/>
        </p:nvGrpSpPr>
        <p:grpSpPr>
          <a:xfrm>
            <a:off x="1534027" y="3354496"/>
            <a:ext cx="4138498" cy="3176249"/>
            <a:chOff x="3157029" y="3265499"/>
            <a:chExt cx="2474724" cy="3240091"/>
          </a:xfrm>
        </p:grpSpPr>
        <p:sp>
          <p:nvSpPr>
            <p:cNvPr id="273" name="Rectangle 5"/>
            <p:cNvSpPr>
              <a:spLocks noChangeArrowheads="1"/>
            </p:cNvSpPr>
            <p:nvPr/>
          </p:nvSpPr>
          <p:spPr bwMode="auto">
            <a:xfrm>
              <a:off x="3227020" y="5655295"/>
              <a:ext cx="2334742" cy="850295"/>
            </a:xfrm>
            <a:prstGeom prst="rect">
              <a:avLst/>
            </a:prstGeom>
            <a:noFill/>
            <a:ln w="7938" cap="flat">
              <a:solidFill>
                <a:srgbClr val="EF4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Rectangle 6"/>
            <p:cNvSpPr>
              <a:spLocks noChangeArrowheads="1"/>
            </p:cNvSpPr>
            <p:nvPr/>
          </p:nvSpPr>
          <p:spPr bwMode="auto">
            <a:xfrm>
              <a:off x="3227020" y="3685548"/>
              <a:ext cx="2334742" cy="850295"/>
            </a:xfrm>
            <a:prstGeom prst="rect">
              <a:avLst/>
            </a:prstGeom>
            <a:noFill/>
            <a:ln w="7938" cap="flat">
              <a:solidFill>
                <a:srgbClr val="2C00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Rectangle 7"/>
            <p:cNvSpPr>
              <a:spLocks noChangeArrowheads="1"/>
            </p:cNvSpPr>
            <p:nvPr/>
          </p:nvSpPr>
          <p:spPr bwMode="auto">
            <a:xfrm>
              <a:off x="3227020" y="4670422"/>
              <a:ext cx="2334742" cy="850295"/>
            </a:xfrm>
            <a:prstGeom prst="rect">
              <a:avLst/>
            </a:prstGeom>
            <a:noFill/>
            <a:ln w="7938" cap="flat">
              <a:solidFill>
                <a:srgbClr val="8DC6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8" name="Rectangle 150"/>
            <p:cNvSpPr>
              <a:spLocks noChangeArrowheads="1"/>
            </p:cNvSpPr>
            <p:nvPr/>
          </p:nvSpPr>
          <p:spPr bwMode="auto">
            <a:xfrm>
              <a:off x="3227020" y="3265499"/>
              <a:ext cx="2338500" cy="352761"/>
            </a:xfrm>
            <a:prstGeom prst="rect">
              <a:avLst/>
            </a:prstGeom>
            <a:solidFill>
              <a:schemeClr val="accent3"/>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Rectangle 506"/>
            <p:cNvSpPr/>
            <p:nvPr/>
          </p:nvSpPr>
          <p:spPr>
            <a:xfrm>
              <a:off x="3376274" y="3816361"/>
              <a:ext cx="1968500" cy="584775"/>
            </a:xfrm>
            <a:prstGeom prst="rect">
              <a:avLst/>
            </a:prstGeom>
          </p:spPr>
          <p:txBody>
            <a:bodyPr wrap="square">
              <a:spAutoFit/>
            </a:bodyPr>
            <a:lstStyle/>
            <a:p>
              <a:pPr lvl="0" algn="ctr">
                <a:defRPr/>
              </a:pPr>
              <a:r>
                <a:rPr lang="en-US" sz="2000" b="1">
                  <a:solidFill>
                    <a:schemeClr val="tx2"/>
                  </a:solidFill>
                </a:rPr>
                <a:t>49%</a:t>
              </a:r>
              <a:r>
                <a:rPr lang="en-US" sz="1400" b="1">
                  <a:solidFill>
                    <a:schemeClr val="tx2"/>
                  </a:solidFill>
                </a:rPr>
                <a:t> </a:t>
              </a:r>
              <a:r>
                <a:rPr lang="en-US" sz="1200">
                  <a:solidFill>
                    <a:srgbClr val="2B143D"/>
                  </a:solidFill>
                </a:rPr>
                <a:t>of customers used</a:t>
              </a:r>
              <a:br>
                <a:rPr lang="en-US" sz="1200">
                  <a:solidFill>
                    <a:srgbClr val="2B143D"/>
                  </a:solidFill>
                </a:rPr>
              </a:br>
              <a:r>
                <a:rPr lang="en-US" sz="1200">
                  <a:solidFill>
                    <a:srgbClr val="2B143D"/>
                  </a:solidFill>
                </a:rPr>
                <a:t>internet banking</a:t>
              </a:r>
            </a:p>
          </p:txBody>
        </p:sp>
        <p:sp>
          <p:nvSpPr>
            <p:cNvPr id="508" name="Rectangle 507"/>
            <p:cNvSpPr/>
            <p:nvPr/>
          </p:nvSpPr>
          <p:spPr>
            <a:xfrm>
              <a:off x="3157029" y="4805532"/>
              <a:ext cx="2474724" cy="599985"/>
            </a:xfrm>
            <a:prstGeom prst="rect">
              <a:avLst/>
            </a:prstGeom>
          </p:spPr>
          <p:txBody>
            <a:bodyPr wrap="square">
              <a:spAutoFit/>
            </a:bodyPr>
            <a:lstStyle/>
            <a:p>
              <a:pPr lvl="0" algn="ctr">
                <a:defRPr/>
              </a:pPr>
              <a:r>
                <a:rPr lang="en-US" sz="2000" b="1">
                  <a:solidFill>
                    <a:srgbClr val="8DC63F"/>
                  </a:solidFill>
                </a:rPr>
                <a:t>47%</a:t>
              </a:r>
              <a:r>
                <a:rPr lang="en-US" sz="1000">
                  <a:solidFill>
                    <a:srgbClr val="8DC63F"/>
                  </a:solidFill>
                </a:rPr>
                <a:t> </a:t>
              </a:r>
              <a:r>
                <a:rPr lang="en-US" sz="1200">
                  <a:solidFill>
                    <a:srgbClr val="2B143D"/>
                  </a:solidFill>
                </a:rPr>
                <a:t>of customers used mobile apps</a:t>
              </a:r>
              <a:br>
                <a:rPr lang="en-US" sz="1200">
                  <a:solidFill>
                    <a:srgbClr val="2B143D"/>
                  </a:solidFill>
                </a:rPr>
              </a:br>
              <a:r>
                <a:rPr lang="en-US" sz="1200">
                  <a:solidFill>
                    <a:srgbClr val="2B143D"/>
                  </a:solidFill>
                </a:rPr>
                <a:t>for banking</a:t>
              </a:r>
              <a:endParaRPr lang="en-US" sz="1200" strike="sngStrike">
                <a:solidFill>
                  <a:srgbClr val="FF304C"/>
                </a:solidFill>
              </a:endParaRPr>
            </a:p>
          </p:txBody>
        </p:sp>
        <p:sp>
          <p:nvSpPr>
            <p:cNvPr id="509" name="Rectangle 508"/>
            <p:cNvSpPr/>
            <p:nvPr/>
          </p:nvSpPr>
          <p:spPr>
            <a:xfrm>
              <a:off x="3228740" y="5752239"/>
              <a:ext cx="2331302" cy="584775"/>
            </a:xfrm>
            <a:prstGeom prst="rect">
              <a:avLst/>
            </a:prstGeom>
          </p:spPr>
          <p:txBody>
            <a:bodyPr wrap="square">
              <a:spAutoFit/>
            </a:bodyPr>
            <a:lstStyle/>
            <a:p>
              <a:pPr lvl="0" algn="ctr">
                <a:defRPr/>
              </a:pPr>
              <a:r>
                <a:rPr lang="en-US" sz="2000" b="1">
                  <a:solidFill>
                    <a:srgbClr val="EF4060"/>
                  </a:solidFill>
                </a:rPr>
                <a:t>15%</a:t>
              </a:r>
              <a:r>
                <a:rPr lang="en-US" sz="1000">
                  <a:solidFill>
                    <a:srgbClr val="EF4060"/>
                  </a:solidFill>
                </a:rPr>
                <a:t> </a:t>
              </a:r>
              <a:r>
                <a:rPr lang="en-US" sz="1200">
                  <a:solidFill>
                    <a:srgbClr val="2B143D"/>
                  </a:solidFill>
                </a:rPr>
                <a:t>of customers </a:t>
              </a:r>
              <a:r>
                <a:rPr lang="en-US" sz="1200">
                  <a:solidFill>
                    <a:prstClr val="black"/>
                  </a:solidFill>
                </a:rPr>
                <a:t>interacted with banks</a:t>
              </a:r>
              <a:br>
                <a:rPr lang="en-US" sz="1200">
                  <a:solidFill>
                    <a:prstClr val="black"/>
                  </a:solidFill>
                </a:rPr>
              </a:br>
              <a:r>
                <a:rPr lang="en-US" sz="1200">
                  <a:solidFill>
                    <a:prstClr val="black"/>
                  </a:solidFill>
                </a:rPr>
                <a:t>via </a:t>
              </a:r>
              <a:r>
                <a:rPr lang="en-US" sz="1200" err="1">
                  <a:solidFill>
                    <a:prstClr val="black"/>
                  </a:solidFill>
                </a:rPr>
                <a:t>chatbots</a:t>
              </a:r>
              <a:endParaRPr lang="en-US" sz="1200">
                <a:solidFill>
                  <a:prstClr val="black"/>
                </a:solidFill>
              </a:endParaRPr>
            </a:p>
          </p:txBody>
        </p:sp>
      </p:grpSp>
      <p:sp>
        <p:nvSpPr>
          <p:cNvPr id="419" name="Rectangle 151"/>
          <p:cNvSpPr>
            <a:spLocks noChangeArrowheads="1"/>
          </p:cNvSpPr>
          <p:nvPr/>
        </p:nvSpPr>
        <p:spPr bwMode="auto">
          <a:xfrm>
            <a:off x="6644743" y="3354496"/>
            <a:ext cx="3855453" cy="345810"/>
          </a:xfrm>
          <a:prstGeom prst="rect">
            <a:avLst/>
          </a:prstGeom>
          <a:solidFill>
            <a:schemeClr val="accent3"/>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Rectangle 264"/>
          <p:cNvSpPr>
            <a:spLocks noChangeArrowheads="1"/>
          </p:cNvSpPr>
          <p:nvPr/>
        </p:nvSpPr>
        <p:spPr bwMode="auto">
          <a:xfrm>
            <a:off x="6634480" y="3766268"/>
            <a:ext cx="3869433" cy="833541"/>
          </a:xfrm>
          <a:prstGeom prst="rect">
            <a:avLst/>
          </a:prstGeom>
          <a:noFill/>
          <a:ln w="7938" cap="flat">
            <a:solidFill>
              <a:srgbClr val="2C00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 name="Rectangle 265"/>
          <p:cNvSpPr>
            <a:spLocks noChangeArrowheads="1"/>
          </p:cNvSpPr>
          <p:nvPr/>
        </p:nvSpPr>
        <p:spPr bwMode="auto">
          <a:xfrm>
            <a:off x="6634480" y="4731736"/>
            <a:ext cx="3869433" cy="833541"/>
          </a:xfrm>
          <a:prstGeom prst="rect">
            <a:avLst/>
          </a:prstGeom>
          <a:noFill/>
          <a:ln w="7938" cap="flat">
            <a:solidFill>
              <a:srgbClr val="8DC6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66"/>
          <p:cNvSpPr>
            <a:spLocks noChangeArrowheads="1"/>
          </p:cNvSpPr>
          <p:nvPr/>
        </p:nvSpPr>
        <p:spPr bwMode="auto">
          <a:xfrm>
            <a:off x="6634480" y="5697204"/>
            <a:ext cx="3869433" cy="833541"/>
          </a:xfrm>
          <a:prstGeom prst="rect">
            <a:avLst/>
          </a:prstGeom>
          <a:noFill/>
          <a:ln w="7938" cap="flat">
            <a:solidFill>
              <a:srgbClr val="EF4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23" name="Group 522"/>
          <p:cNvGrpSpPr/>
          <p:nvPr/>
        </p:nvGrpSpPr>
        <p:grpSpPr>
          <a:xfrm>
            <a:off x="9479153" y="2376901"/>
            <a:ext cx="1014693" cy="951477"/>
            <a:chOff x="7964450" y="2141967"/>
            <a:chExt cx="1014693" cy="970602"/>
          </a:xfrm>
        </p:grpSpPr>
        <p:sp>
          <p:nvSpPr>
            <p:cNvPr id="18" name="Rectangle 417"/>
            <p:cNvSpPr>
              <a:spLocks noChangeArrowheads="1"/>
            </p:cNvSpPr>
            <p:nvPr/>
          </p:nvSpPr>
          <p:spPr bwMode="auto">
            <a:xfrm>
              <a:off x="8082059" y="2445790"/>
              <a:ext cx="723872" cy="63212"/>
            </a:xfrm>
            <a:prstGeom prst="rect">
              <a:avLst/>
            </a:prstGeom>
            <a:solidFill>
              <a:srgbClr val="9CCB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20"/>
            <p:cNvSpPr>
              <a:spLocks/>
            </p:cNvSpPr>
            <p:nvPr/>
          </p:nvSpPr>
          <p:spPr bwMode="auto">
            <a:xfrm>
              <a:off x="7984184" y="2141967"/>
              <a:ext cx="917584" cy="283432"/>
            </a:xfrm>
            <a:custGeom>
              <a:avLst/>
              <a:gdLst>
                <a:gd name="T0" fmla="*/ 189 w 190"/>
                <a:gd name="T1" fmla="*/ 54 h 59"/>
                <a:gd name="T2" fmla="*/ 189 w 190"/>
                <a:gd name="T3" fmla="*/ 54 h 59"/>
                <a:gd name="T4" fmla="*/ 95 w 190"/>
                <a:gd name="T5" fmla="*/ 0 h 59"/>
                <a:gd name="T6" fmla="*/ 1 w 190"/>
                <a:gd name="T7" fmla="*/ 54 h 59"/>
                <a:gd name="T8" fmla="*/ 0 w 190"/>
                <a:gd name="T9" fmla="*/ 56 h 59"/>
                <a:gd name="T10" fmla="*/ 5 w 190"/>
                <a:gd name="T11" fmla="*/ 59 h 59"/>
                <a:gd name="T12" fmla="*/ 187 w 190"/>
                <a:gd name="T13" fmla="*/ 59 h 59"/>
                <a:gd name="T14" fmla="*/ 190 w 190"/>
                <a:gd name="T15" fmla="*/ 56 h 59"/>
                <a:gd name="T16" fmla="*/ 189 w 190"/>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9">
                  <a:moveTo>
                    <a:pt x="189" y="54"/>
                  </a:moveTo>
                  <a:cubicBezTo>
                    <a:pt x="189" y="54"/>
                    <a:pt x="189" y="54"/>
                    <a:pt x="189" y="54"/>
                  </a:cubicBezTo>
                  <a:cubicBezTo>
                    <a:pt x="95" y="0"/>
                    <a:pt x="95" y="0"/>
                    <a:pt x="95" y="0"/>
                  </a:cubicBezTo>
                  <a:cubicBezTo>
                    <a:pt x="0" y="54"/>
                    <a:pt x="1" y="54"/>
                    <a:pt x="1" y="54"/>
                  </a:cubicBezTo>
                  <a:cubicBezTo>
                    <a:pt x="0" y="56"/>
                    <a:pt x="0" y="56"/>
                    <a:pt x="0" y="56"/>
                  </a:cubicBezTo>
                  <a:cubicBezTo>
                    <a:pt x="0" y="59"/>
                    <a:pt x="1" y="59"/>
                    <a:pt x="5" y="59"/>
                  </a:cubicBezTo>
                  <a:cubicBezTo>
                    <a:pt x="187" y="59"/>
                    <a:pt x="187" y="59"/>
                    <a:pt x="187" y="59"/>
                  </a:cubicBezTo>
                  <a:cubicBezTo>
                    <a:pt x="189" y="59"/>
                    <a:pt x="190" y="59"/>
                    <a:pt x="190" y="56"/>
                  </a:cubicBezTo>
                  <a:cubicBezTo>
                    <a:pt x="190" y="56"/>
                    <a:pt x="190" y="54"/>
                    <a:pt x="189" y="5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21"/>
            <p:cNvSpPr>
              <a:spLocks noEditPoints="1"/>
            </p:cNvSpPr>
            <p:nvPr/>
          </p:nvSpPr>
          <p:spPr bwMode="auto">
            <a:xfrm>
              <a:off x="8167700" y="2517157"/>
              <a:ext cx="540356" cy="362955"/>
            </a:xfrm>
            <a:custGeom>
              <a:avLst/>
              <a:gdLst>
                <a:gd name="T0" fmla="*/ 5 w 112"/>
                <a:gd name="T1" fmla="*/ 75 h 75"/>
                <a:gd name="T2" fmla="*/ 108 w 112"/>
                <a:gd name="T3" fmla="*/ 75 h 75"/>
                <a:gd name="T4" fmla="*/ 112 w 112"/>
                <a:gd name="T5" fmla="*/ 70 h 75"/>
                <a:gd name="T6" fmla="*/ 112 w 112"/>
                <a:gd name="T7" fmla="*/ 4 h 75"/>
                <a:gd name="T8" fmla="*/ 108 w 112"/>
                <a:gd name="T9" fmla="*/ 0 h 75"/>
                <a:gd name="T10" fmla="*/ 5 w 112"/>
                <a:gd name="T11" fmla="*/ 0 h 75"/>
                <a:gd name="T12" fmla="*/ 0 w 112"/>
                <a:gd name="T13" fmla="*/ 4 h 75"/>
                <a:gd name="T14" fmla="*/ 0 w 112"/>
                <a:gd name="T15" fmla="*/ 70 h 75"/>
                <a:gd name="T16" fmla="*/ 5 w 112"/>
                <a:gd name="T17" fmla="*/ 75 h 75"/>
                <a:gd name="T18" fmla="*/ 7 w 112"/>
                <a:gd name="T19" fmla="*/ 8 h 75"/>
                <a:gd name="T20" fmla="*/ 106 w 112"/>
                <a:gd name="T21" fmla="*/ 8 h 75"/>
                <a:gd name="T22" fmla="*/ 105 w 112"/>
                <a:gd name="T23" fmla="*/ 68 h 75"/>
                <a:gd name="T24" fmla="*/ 8 w 112"/>
                <a:gd name="T25" fmla="*/ 67 h 75"/>
                <a:gd name="T26" fmla="*/ 7 w 112"/>
                <a:gd name="T27"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75">
                  <a:moveTo>
                    <a:pt x="5" y="75"/>
                  </a:moveTo>
                  <a:cubicBezTo>
                    <a:pt x="108" y="75"/>
                    <a:pt x="108" y="75"/>
                    <a:pt x="108" y="75"/>
                  </a:cubicBezTo>
                  <a:cubicBezTo>
                    <a:pt x="110" y="75"/>
                    <a:pt x="112" y="73"/>
                    <a:pt x="112" y="70"/>
                  </a:cubicBezTo>
                  <a:cubicBezTo>
                    <a:pt x="112" y="4"/>
                    <a:pt x="112" y="4"/>
                    <a:pt x="112" y="4"/>
                  </a:cubicBezTo>
                  <a:cubicBezTo>
                    <a:pt x="112" y="1"/>
                    <a:pt x="110" y="0"/>
                    <a:pt x="108" y="0"/>
                  </a:cubicBezTo>
                  <a:cubicBezTo>
                    <a:pt x="5" y="0"/>
                    <a:pt x="5" y="0"/>
                    <a:pt x="5" y="0"/>
                  </a:cubicBezTo>
                  <a:cubicBezTo>
                    <a:pt x="2" y="0"/>
                    <a:pt x="0" y="1"/>
                    <a:pt x="0" y="4"/>
                  </a:cubicBezTo>
                  <a:cubicBezTo>
                    <a:pt x="0" y="70"/>
                    <a:pt x="0" y="70"/>
                    <a:pt x="0" y="70"/>
                  </a:cubicBezTo>
                  <a:cubicBezTo>
                    <a:pt x="0" y="73"/>
                    <a:pt x="2" y="75"/>
                    <a:pt x="5" y="75"/>
                  </a:cubicBezTo>
                  <a:moveTo>
                    <a:pt x="7" y="8"/>
                  </a:moveTo>
                  <a:cubicBezTo>
                    <a:pt x="106" y="8"/>
                    <a:pt x="106" y="8"/>
                    <a:pt x="106" y="8"/>
                  </a:cubicBezTo>
                  <a:cubicBezTo>
                    <a:pt x="105" y="68"/>
                    <a:pt x="105" y="68"/>
                    <a:pt x="105" y="68"/>
                  </a:cubicBezTo>
                  <a:cubicBezTo>
                    <a:pt x="8" y="67"/>
                    <a:pt x="8" y="67"/>
                    <a:pt x="8" y="67"/>
                  </a:cubicBezTo>
                  <a:lnTo>
                    <a:pt x="7" y="8"/>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22"/>
            <p:cNvSpPr>
              <a:spLocks/>
            </p:cNvSpPr>
            <p:nvPr/>
          </p:nvSpPr>
          <p:spPr bwMode="auto">
            <a:xfrm>
              <a:off x="8090216" y="2961676"/>
              <a:ext cx="705520" cy="34665"/>
            </a:xfrm>
            <a:custGeom>
              <a:avLst/>
              <a:gdLst>
                <a:gd name="T0" fmla="*/ 0 w 146"/>
                <a:gd name="T1" fmla="*/ 0 h 7"/>
                <a:gd name="T2" fmla="*/ 6 w 146"/>
                <a:gd name="T3" fmla="*/ 7 h 7"/>
                <a:gd name="T4" fmla="*/ 139 w 146"/>
                <a:gd name="T5" fmla="*/ 7 h 7"/>
                <a:gd name="T6" fmla="*/ 146 w 146"/>
                <a:gd name="T7" fmla="*/ 0 h 7"/>
                <a:gd name="T8" fmla="*/ 0 w 146"/>
                <a:gd name="T9" fmla="*/ 0 h 7"/>
              </a:gdLst>
              <a:ahLst/>
              <a:cxnLst>
                <a:cxn ang="0">
                  <a:pos x="T0" y="T1"/>
                </a:cxn>
                <a:cxn ang="0">
                  <a:pos x="T2" y="T3"/>
                </a:cxn>
                <a:cxn ang="0">
                  <a:pos x="T4" y="T5"/>
                </a:cxn>
                <a:cxn ang="0">
                  <a:pos x="T6" y="T7"/>
                </a:cxn>
                <a:cxn ang="0">
                  <a:pos x="T8" y="T9"/>
                </a:cxn>
              </a:cxnLst>
              <a:rect l="0" t="0" r="r" b="b"/>
              <a:pathLst>
                <a:path w="146" h="7">
                  <a:moveTo>
                    <a:pt x="0" y="0"/>
                  </a:moveTo>
                  <a:cubicBezTo>
                    <a:pt x="1" y="4"/>
                    <a:pt x="3" y="7"/>
                    <a:pt x="6" y="7"/>
                  </a:cubicBezTo>
                  <a:cubicBezTo>
                    <a:pt x="139" y="7"/>
                    <a:pt x="139" y="7"/>
                    <a:pt x="139" y="7"/>
                  </a:cubicBezTo>
                  <a:cubicBezTo>
                    <a:pt x="142" y="7"/>
                    <a:pt x="145" y="4"/>
                    <a:pt x="146" y="0"/>
                  </a:cubicBezTo>
                  <a:lnTo>
                    <a:pt x="0" y="0"/>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23"/>
            <p:cNvSpPr>
              <a:spLocks/>
            </p:cNvSpPr>
            <p:nvPr/>
          </p:nvSpPr>
          <p:spPr bwMode="auto">
            <a:xfrm>
              <a:off x="8090216" y="2890309"/>
              <a:ext cx="705520" cy="71368"/>
            </a:xfrm>
            <a:custGeom>
              <a:avLst/>
              <a:gdLst>
                <a:gd name="T0" fmla="*/ 308 w 346"/>
                <a:gd name="T1" fmla="*/ 0 h 35"/>
                <a:gd name="T2" fmla="*/ 41 w 346"/>
                <a:gd name="T3" fmla="*/ 0 h 35"/>
                <a:gd name="T4" fmla="*/ 0 w 346"/>
                <a:gd name="T5" fmla="*/ 35 h 35"/>
                <a:gd name="T6" fmla="*/ 346 w 346"/>
                <a:gd name="T7" fmla="*/ 35 h 35"/>
                <a:gd name="T8" fmla="*/ 308 w 346"/>
                <a:gd name="T9" fmla="*/ 0 h 35"/>
              </a:gdLst>
              <a:ahLst/>
              <a:cxnLst>
                <a:cxn ang="0">
                  <a:pos x="T0" y="T1"/>
                </a:cxn>
                <a:cxn ang="0">
                  <a:pos x="T2" y="T3"/>
                </a:cxn>
                <a:cxn ang="0">
                  <a:pos x="T4" y="T5"/>
                </a:cxn>
                <a:cxn ang="0">
                  <a:pos x="T6" y="T7"/>
                </a:cxn>
                <a:cxn ang="0">
                  <a:pos x="T8" y="T9"/>
                </a:cxn>
              </a:cxnLst>
              <a:rect l="0" t="0" r="r" b="b"/>
              <a:pathLst>
                <a:path w="346" h="35">
                  <a:moveTo>
                    <a:pt x="308" y="0"/>
                  </a:moveTo>
                  <a:lnTo>
                    <a:pt x="41" y="0"/>
                  </a:lnTo>
                  <a:lnTo>
                    <a:pt x="0" y="35"/>
                  </a:lnTo>
                  <a:lnTo>
                    <a:pt x="346" y="35"/>
                  </a:lnTo>
                  <a:lnTo>
                    <a:pt x="308"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24"/>
            <p:cNvSpPr>
              <a:spLocks/>
            </p:cNvSpPr>
            <p:nvPr/>
          </p:nvSpPr>
          <p:spPr bwMode="auto">
            <a:xfrm>
              <a:off x="8355295" y="2943325"/>
              <a:ext cx="175360" cy="18352"/>
            </a:xfrm>
            <a:custGeom>
              <a:avLst/>
              <a:gdLst>
                <a:gd name="T0" fmla="*/ 0 w 86"/>
                <a:gd name="T1" fmla="*/ 9 h 9"/>
                <a:gd name="T2" fmla="*/ 12 w 86"/>
                <a:gd name="T3" fmla="*/ 0 h 9"/>
                <a:gd name="T4" fmla="*/ 76 w 86"/>
                <a:gd name="T5" fmla="*/ 0 h 9"/>
                <a:gd name="T6" fmla="*/ 86 w 86"/>
                <a:gd name="T7" fmla="*/ 9 h 9"/>
                <a:gd name="T8" fmla="*/ 0 w 86"/>
                <a:gd name="T9" fmla="*/ 9 h 9"/>
              </a:gdLst>
              <a:ahLst/>
              <a:cxnLst>
                <a:cxn ang="0">
                  <a:pos x="T0" y="T1"/>
                </a:cxn>
                <a:cxn ang="0">
                  <a:pos x="T2" y="T3"/>
                </a:cxn>
                <a:cxn ang="0">
                  <a:pos x="T4" y="T5"/>
                </a:cxn>
                <a:cxn ang="0">
                  <a:pos x="T6" y="T7"/>
                </a:cxn>
                <a:cxn ang="0">
                  <a:pos x="T8" y="T9"/>
                </a:cxn>
              </a:cxnLst>
              <a:rect l="0" t="0" r="r" b="b"/>
              <a:pathLst>
                <a:path w="86" h="9">
                  <a:moveTo>
                    <a:pt x="0" y="9"/>
                  </a:moveTo>
                  <a:lnTo>
                    <a:pt x="12" y="0"/>
                  </a:lnTo>
                  <a:lnTo>
                    <a:pt x="76" y="0"/>
                  </a:lnTo>
                  <a:lnTo>
                    <a:pt x="86" y="9"/>
                  </a:lnTo>
                  <a:lnTo>
                    <a:pt x="0" y="9"/>
                  </a:lnTo>
                  <a:close/>
                </a:path>
              </a:pathLst>
            </a:custGeom>
            <a:solidFill>
              <a:srgbClr val="E42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25"/>
            <p:cNvSpPr>
              <a:spLocks noChangeArrowheads="1"/>
            </p:cNvSpPr>
            <p:nvPr/>
          </p:nvSpPr>
          <p:spPr bwMode="auto">
            <a:xfrm>
              <a:off x="8206442" y="2551822"/>
              <a:ext cx="473065" cy="285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426"/>
            <p:cNvSpPr>
              <a:spLocks noChangeArrowheads="1"/>
            </p:cNvSpPr>
            <p:nvPr/>
          </p:nvSpPr>
          <p:spPr bwMode="auto">
            <a:xfrm>
              <a:off x="8355295" y="2615033"/>
              <a:ext cx="175360" cy="159048"/>
            </a:xfrm>
            <a:prstGeom prst="ellipse">
              <a:avLst/>
            </a:prstGeom>
            <a:solidFill>
              <a:srgbClr val="2B1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27"/>
            <p:cNvSpPr>
              <a:spLocks noEditPoints="1"/>
            </p:cNvSpPr>
            <p:nvPr/>
          </p:nvSpPr>
          <p:spPr bwMode="auto">
            <a:xfrm>
              <a:off x="8400155" y="2639502"/>
              <a:ext cx="91759" cy="144775"/>
            </a:xfrm>
            <a:custGeom>
              <a:avLst/>
              <a:gdLst>
                <a:gd name="T0" fmla="*/ 18 w 19"/>
                <a:gd name="T1" fmla="*/ 14 h 30"/>
                <a:gd name="T2" fmla="*/ 12 w 19"/>
                <a:gd name="T3" fmla="*/ 12 h 30"/>
                <a:gd name="T4" fmla="*/ 11 w 19"/>
                <a:gd name="T5" fmla="*/ 11 h 30"/>
                <a:gd name="T6" fmla="*/ 11 w 19"/>
                <a:gd name="T7" fmla="*/ 7 h 30"/>
                <a:gd name="T8" fmla="*/ 14 w 19"/>
                <a:gd name="T9" fmla="*/ 8 h 30"/>
                <a:gd name="T10" fmla="*/ 17 w 19"/>
                <a:gd name="T11" fmla="*/ 9 h 30"/>
                <a:gd name="T12" fmla="*/ 18 w 19"/>
                <a:gd name="T13" fmla="*/ 9 h 30"/>
                <a:gd name="T14" fmla="*/ 18 w 19"/>
                <a:gd name="T15" fmla="*/ 5 h 30"/>
                <a:gd name="T16" fmla="*/ 15 w 19"/>
                <a:gd name="T17" fmla="*/ 4 h 30"/>
                <a:gd name="T18" fmla="*/ 11 w 19"/>
                <a:gd name="T19" fmla="*/ 3 h 30"/>
                <a:gd name="T20" fmla="*/ 11 w 19"/>
                <a:gd name="T21" fmla="*/ 0 h 30"/>
                <a:gd name="T22" fmla="*/ 8 w 19"/>
                <a:gd name="T23" fmla="*/ 0 h 30"/>
                <a:gd name="T24" fmla="*/ 8 w 19"/>
                <a:gd name="T25" fmla="*/ 3 h 30"/>
                <a:gd name="T26" fmla="*/ 3 w 19"/>
                <a:gd name="T27" fmla="*/ 5 h 30"/>
                <a:gd name="T28" fmla="*/ 0 w 19"/>
                <a:gd name="T29" fmla="*/ 9 h 30"/>
                <a:gd name="T30" fmla="*/ 1 w 19"/>
                <a:gd name="T31" fmla="*/ 12 h 30"/>
                <a:gd name="T32" fmla="*/ 2 w 19"/>
                <a:gd name="T33" fmla="*/ 14 h 30"/>
                <a:gd name="T34" fmla="*/ 4 w 19"/>
                <a:gd name="T35" fmla="*/ 15 h 30"/>
                <a:gd name="T36" fmla="*/ 7 w 19"/>
                <a:gd name="T37" fmla="*/ 16 h 30"/>
                <a:gd name="T38" fmla="*/ 9 w 19"/>
                <a:gd name="T39" fmla="*/ 16 h 30"/>
                <a:gd name="T40" fmla="*/ 9 w 19"/>
                <a:gd name="T41" fmla="*/ 20 h 30"/>
                <a:gd name="T42" fmla="*/ 5 w 19"/>
                <a:gd name="T43" fmla="*/ 20 h 30"/>
                <a:gd name="T44" fmla="*/ 2 w 19"/>
                <a:gd name="T45" fmla="*/ 18 h 30"/>
                <a:gd name="T46" fmla="*/ 1 w 19"/>
                <a:gd name="T47" fmla="*/ 18 h 30"/>
                <a:gd name="T48" fmla="*/ 1 w 19"/>
                <a:gd name="T49" fmla="*/ 23 h 30"/>
                <a:gd name="T50" fmla="*/ 4 w 19"/>
                <a:gd name="T51" fmla="*/ 24 h 30"/>
                <a:gd name="T52" fmla="*/ 8 w 19"/>
                <a:gd name="T53" fmla="*/ 24 h 30"/>
                <a:gd name="T54" fmla="*/ 8 w 19"/>
                <a:gd name="T55" fmla="*/ 30 h 30"/>
                <a:gd name="T56" fmla="*/ 11 w 19"/>
                <a:gd name="T57" fmla="*/ 30 h 30"/>
                <a:gd name="T58" fmla="*/ 11 w 19"/>
                <a:gd name="T59" fmla="*/ 24 h 30"/>
                <a:gd name="T60" fmla="*/ 17 w 19"/>
                <a:gd name="T61" fmla="*/ 22 h 30"/>
                <a:gd name="T62" fmla="*/ 19 w 19"/>
                <a:gd name="T63" fmla="*/ 18 h 30"/>
                <a:gd name="T64" fmla="*/ 18 w 19"/>
                <a:gd name="T65" fmla="*/ 14 h 30"/>
                <a:gd name="T66" fmla="*/ 7 w 19"/>
                <a:gd name="T67" fmla="*/ 10 h 30"/>
                <a:gd name="T68" fmla="*/ 6 w 19"/>
                <a:gd name="T69" fmla="*/ 9 h 30"/>
                <a:gd name="T70" fmla="*/ 7 w 19"/>
                <a:gd name="T71" fmla="*/ 8 h 30"/>
                <a:gd name="T72" fmla="*/ 9 w 19"/>
                <a:gd name="T73" fmla="*/ 7 h 30"/>
                <a:gd name="T74" fmla="*/ 9 w 19"/>
                <a:gd name="T75" fmla="*/ 11 h 30"/>
                <a:gd name="T76" fmla="*/ 7 w 19"/>
                <a:gd name="T77" fmla="*/ 10 h 30"/>
                <a:gd name="T78" fmla="*/ 13 w 19"/>
                <a:gd name="T79" fmla="*/ 20 h 30"/>
                <a:gd name="T80" fmla="*/ 11 w 19"/>
                <a:gd name="T81" fmla="*/ 20 h 30"/>
                <a:gd name="T82" fmla="*/ 11 w 19"/>
                <a:gd name="T83" fmla="*/ 16 h 30"/>
                <a:gd name="T84" fmla="*/ 13 w 19"/>
                <a:gd name="T85" fmla="*/ 17 h 30"/>
                <a:gd name="T86" fmla="*/ 14 w 19"/>
                <a:gd name="T87" fmla="*/ 18 h 30"/>
                <a:gd name="T88" fmla="*/ 13 w 19"/>
                <a:gd name="T8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30">
                  <a:moveTo>
                    <a:pt x="18" y="14"/>
                  </a:moveTo>
                  <a:cubicBezTo>
                    <a:pt x="17" y="13"/>
                    <a:pt x="15" y="12"/>
                    <a:pt x="12" y="12"/>
                  </a:cubicBezTo>
                  <a:cubicBezTo>
                    <a:pt x="11" y="11"/>
                    <a:pt x="11" y="11"/>
                    <a:pt x="11" y="11"/>
                  </a:cubicBezTo>
                  <a:cubicBezTo>
                    <a:pt x="11" y="7"/>
                    <a:pt x="11" y="7"/>
                    <a:pt x="11" y="7"/>
                  </a:cubicBezTo>
                  <a:cubicBezTo>
                    <a:pt x="12" y="8"/>
                    <a:pt x="13" y="8"/>
                    <a:pt x="14" y="8"/>
                  </a:cubicBezTo>
                  <a:cubicBezTo>
                    <a:pt x="15" y="8"/>
                    <a:pt x="16" y="9"/>
                    <a:pt x="17" y="9"/>
                  </a:cubicBezTo>
                  <a:cubicBezTo>
                    <a:pt x="18" y="9"/>
                    <a:pt x="18" y="9"/>
                    <a:pt x="18" y="9"/>
                  </a:cubicBezTo>
                  <a:cubicBezTo>
                    <a:pt x="18" y="5"/>
                    <a:pt x="18" y="5"/>
                    <a:pt x="18" y="5"/>
                  </a:cubicBezTo>
                  <a:cubicBezTo>
                    <a:pt x="17" y="4"/>
                    <a:pt x="16" y="4"/>
                    <a:pt x="15" y="4"/>
                  </a:cubicBezTo>
                  <a:cubicBezTo>
                    <a:pt x="13" y="4"/>
                    <a:pt x="12" y="3"/>
                    <a:pt x="11" y="3"/>
                  </a:cubicBezTo>
                  <a:cubicBezTo>
                    <a:pt x="11" y="0"/>
                    <a:pt x="11" y="0"/>
                    <a:pt x="11" y="0"/>
                  </a:cubicBezTo>
                  <a:cubicBezTo>
                    <a:pt x="8" y="0"/>
                    <a:pt x="8" y="0"/>
                    <a:pt x="8" y="0"/>
                  </a:cubicBezTo>
                  <a:cubicBezTo>
                    <a:pt x="8" y="3"/>
                    <a:pt x="8" y="3"/>
                    <a:pt x="8" y="3"/>
                  </a:cubicBezTo>
                  <a:cubicBezTo>
                    <a:pt x="6" y="4"/>
                    <a:pt x="4" y="4"/>
                    <a:pt x="3" y="5"/>
                  </a:cubicBezTo>
                  <a:cubicBezTo>
                    <a:pt x="1" y="6"/>
                    <a:pt x="0" y="8"/>
                    <a:pt x="0" y="9"/>
                  </a:cubicBezTo>
                  <a:cubicBezTo>
                    <a:pt x="0" y="10"/>
                    <a:pt x="1" y="11"/>
                    <a:pt x="1" y="12"/>
                  </a:cubicBezTo>
                  <a:cubicBezTo>
                    <a:pt x="1" y="13"/>
                    <a:pt x="2" y="13"/>
                    <a:pt x="2" y="14"/>
                  </a:cubicBezTo>
                  <a:cubicBezTo>
                    <a:pt x="3" y="14"/>
                    <a:pt x="4" y="15"/>
                    <a:pt x="4" y="15"/>
                  </a:cubicBezTo>
                  <a:cubicBezTo>
                    <a:pt x="5" y="15"/>
                    <a:pt x="6" y="15"/>
                    <a:pt x="7" y="16"/>
                  </a:cubicBezTo>
                  <a:cubicBezTo>
                    <a:pt x="9" y="16"/>
                    <a:pt x="9" y="16"/>
                    <a:pt x="9" y="16"/>
                  </a:cubicBezTo>
                  <a:cubicBezTo>
                    <a:pt x="9" y="20"/>
                    <a:pt x="9" y="20"/>
                    <a:pt x="9" y="20"/>
                  </a:cubicBezTo>
                  <a:cubicBezTo>
                    <a:pt x="7" y="20"/>
                    <a:pt x="6" y="20"/>
                    <a:pt x="5" y="20"/>
                  </a:cubicBezTo>
                  <a:cubicBezTo>
                    <a:pt x="4" y="19"/>
                    <a:pt x="2" y="19"/>
                    <a:pt x="2" y="18"/>
                  </a:cubicBezTo>
                  <a:cubicBezTo>
                    <a:pt x="1" y="18"/>
                    <a:pt x="1" y="18"/>
                    <a:pt x="1" y="18"/>
                  </a:cubicBezTo>
                  <a:cubicBezTo>
                    <a:pt x="1" y="23"/>
                    <a:pt x="1" y="23"/>
                    <a:pt x="1" y="23"/>
                  </a:cubicBezTo>
                  <a:cubicBezTo>
                    <a:pt x="2" y="23"/>
                    <a:pt x="3" y="24"/>
                    <a:pt x="4" y="24"/>
                  </a:cubicBezTo>
                  <a:cubicBezTo>
                    <a:pt x="6" y="24"/>
                    <a:pt x="7" y="24"/>
                    <a:pt x="8" y="24"/>
                  </a:cubicBezTo>
                  <a:cubicBezTo>
                    <a:pt x="8" y="30"/>
                    <a:pt x="8" y="30"/>
                    <a:pt x="8" y="30"/>
                  </a:cubicBezTo>
                  <a:cubicBezTo>
                    <a:pt x="11" y="30"/>
                    <a:pt x="11" y="30"/>
                    <a:pt x="11" y="30"/>
                  </a:cubicBezTo>
                  <a:cubicBezTo>
                    <a:pt x="11" y="24"/>
                    <a:pt x="11" y="24"/>
                    <a:pt x="11" y="24"/>
                  </a:cubicBezTo>
                  <a:cubicBezTo>
                    <a:pt x="14" y="24"/>
                    <a:pt x="16" y="23"/>
                    <a:pt x="17" y="22"/>
                  </a:cubicBezTo>
                  <a:cubicBezTo>
                    <a:pt x="19" y="21"/>
                    <a:pt x="19" y="19"/>
                    <a:pt x="19" y="18"/>
                  </a:cubicBezTo>
                  <a:cubicBezTo>
                    <a:pt x="19" y="16"/>
                    <a:pt x="19" y="15"/>
                    <a:pt x="18" y="14"/>
                  </a:cubicBezTo>
                  <a:close/>
                  <a:moveTo>
                    <a:pt x="7" y="10"/>
                  </a:moveTo>
                  <a:cubicBezTo>
                    <a:pt x="6" y="10"/>
                    <a:pt x="6" y="10"/>
                    <a:pt x="6" y="9"/>
                  </a:cubicBezTo>
                  <a:cubicBezTo>
                    <a:pt x="6" y="9"/>
                    <a:pt x="6" y="8"/>
                    <a:pt x="7" y="8"/>
                  </a:cubicBezTo>
                  <a:cubicBezTo>
                    <a:pt x="7" y="8"/>
                    <a:pt x="8" y="7"/>
                    <a:pt x="9" y="7"/>
                  </a:cubicBezTo>
                  <a:cubicBezTo>
                    <a:pt x="9" y="11"/>
                    <a:pt x="9" y="11"/>
                    <a:pt x="9" y="11"/>
                  </a:cubicBezTo>
                  <a:cubicBezTo>
                    <a:pt x="8" y="11"/>
                    <a:pt x="7" y="11"/>
                    <a:pt x="7" y="10"/>
                  </a:cubicBezTo>
                  <a:close/>
                  <a:moveTo>
                    <a:pt x="13" y="20"/>
                  </a:moveTo>
                  <a:cubicBezTo>
                    <a:pt x="12" y="20"/>
                    <a:pt x="12" y="20"/>
                    <a:pt x="11" y="20"/>
                  </a:cubicBezTo>
                  <a:cubicBezTo>
                    <a:pt x="11" y="16"/>
                    <a:pt x="11" y="16"/>
                    <a:pt x="11" y="16"/>
                  </a:cubicBezTo>
                  <a:cubicBezTo>
                    <a:pt x="12" y="16"/>
                    <a:pt x="12" y="17"/>
                    <a:pt x="13" y="17"/>
                  </a:cubicBezTo>
                  <a:cubicBezTo>
                    <a:pt x="13" y="17"/>
                    <a:pt x="14" y="18"/>
                    <a:pt x="14" y="18"/>
                  </a:cubicBezTo>
                  <a:cubicBezTo>
                    <a:pt x="14" y="19"/>
                    <a:pt x="13" y="19"/>
                    <a:pt x="1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7" name="Group 516"/>
            <p:cNvGrpSpPr/>
            <p:nvPr/>
          </p:nvGrpSpPr>
          <p:grpSpPr>
            <a:xfrm>
              <a:off x="7964450" y="3004497"/>
              <a:ext cx="1014693" cy="108072"/>
              <a:chOff x="8793098" y="3004497"/>
              <a:chExt cx="1668797" cy="108072"/>
            </a:xfrm>
          </p:grpSpPr>
          <p:sp>
            <p:nvSpPr>
              <p:cNvPr id="19" name="Rectangle 418"/>
              <p:cNvSpPr>
                <a:spLocks noChangeArrowheads="1"/>
              </p:cNvSpPr>
              <p:nvPr/>
            </p:nvSpPr>
            <p:spPr bwMode="auto">
              <a:xfrm>
                <a:off x="8793098" y="3057513"/>
                <a:ext cx="1668797" cy="5505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419"/>
              <p:cNvSpPr>
                <a:spLocks noChangeArrowheads="1"/>
              </p:cNvSpPr>
              <p:nvPr/>
            </p:nvSpPr>
            <p:spPr bwMode="auto">
              <a:xfrm>
                <a:off x="8870328" y="3004497"/>
                <a:ext cx="1510983" cy="44860"/>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10" name="Rectangle 509"/>
          <p:cNvSpPr/>
          <p:nvPr/>
        </p:nvSpPr>
        <p:spPr>
          <a:xfrm>
            <a:off x="6989097" y="3849802"/>
            <a:ext cx="3241526" cy="573253"/>
          </a:xfrm>
          <a:prstGeom prst="rect">
            <a:avLst/>
          </a:prstGeom>
        </p:spPr>
        <p:txBody>
          <a:bodyPr wrap="square">
            <a:spAutoFit/>
          </a:bodyPr>
          <a:lstStyle/>
          <a:p>
            <a:pPr lvl="0" algn="ctr">
              <a:defRPr/>
            </a:pPr>
            <a:r>
              <a:rPr lang="en-US" sz="2000" b="1">
                <a:solidFill>
                  <a:schemeClr val="tx2"/>
                </a:solidFill>
              </a:rPr>
              <a:t>57% </a:t>
            </a:r>
            <a:r>
              <a:rPr lang="en-US" sz="1200">
                <a:solidFill>
                  <a:srgbClr val="2B143D"/>
                </a:solidFill>
              </a:rPr>
              <a:t>of consumers would prefer internet banking</a:t>
            </a:r>
          </a:p>
        </p:txBody>
      </p:sp>
      <p:sp>
        <p:nvSpPr>
          <p:cNvPr id="511" name="Rectangle 510"/>
          <p:cNvSpPr/>
          <p:nvPr/>
        </p:nvSpPr>
        <p:spPr>
          <a:xfrm>
            <a:off x="6718958" y="4847697"/>
            <a:ext cx="3726046" cy="573253"/>
          </a:xfrm>
          <a:prstGeom prst="rect">
            <a:avLst/>
          </a:prstGeom>
        </p:spPr>
        <p:txBody>
          <a:bodyPr wrap="square">
            <a:spAutoFit/>
          </a:bodyPr>
          <a:lstStyle/>
          <a:p>
            <a:pPr lvl="0" algn="ctr">
              <a:defRPr/>
            </a:pPr>
            <a:r>
              <a:rPr lang="en-US" sz="2000" b="1">
                <a:solidFill>
                  <a:srgbClr val="8DC63F"/>
                </a:solidFill>
              </a:rPr>
              <a:t>55% </a:t>
            </a:r>
            <a:r>
              <a:rPr lang="en-US" sz="1200">
                <a:solidFill>
                  <a:srgbClr val="2B143D"/>
                </a:solidFill>
              </a:rPr>
              <a:t>of customers would prefer mobile apps for banking</a:t>
            </a:r>
            <a:endParaRPr lang="en-US" sz="1200" strike="sngStrike">
              <a:solidFill>
                <a:srgbClr val="FF304C"/>
              </a:solidFill>
            </a:endParaRPr>
          </a:p>
        </p:txBody>
      </p:sp>
      <p:sp>
        <p:nvSpPr>
          <p:cNvPr id="512" name="Rectangle 511"/>
          <p:cNvSpPr/>
          <p:nvPr/>
        </p:nvSpPr>
        <p:spPr>
          <a:xfrm>
            <a:off x="6688338" y="5729990"/>
            <a:ext cx="3805508" cy="935307"/>
          </a:xfrm>
          <a:prstGeom prst="rect">
            <a:avLst/>
          </a:prstGeom>
        </p:spPr>
        <p:txBody>
          <a:bodyPr wrap="square">
            <a:spAutoFit/>
          </a:bodyPr>
          <a:lstStyle/>
          <a:p>
            <a:pPr lvl="0" algn="ctr">
              <a:defRPr/>
            </a:pPr>
            <a:r>
              <a:rPr lang="en-US" sz="2000" b="1">
                <a:solidFill>
                  <a:srgbClr val="EF4060"/>
                </a:solidFill>
              </a:rPr>
              <a:t>21% </a:t>
            </a:r>
            <a:r>
              <a:rPr lang="en-US" sz="1200">
                <a:solidFill>
                  <a:srgbClr val="2B143D"/>
                </a:solidFill>
              </a:rPr>
              <a:t>of customers would prefer </a:t>
            </a:r>
            <a:r>
              <a:rPr lang="en-US" sz="1200" err="1">
                <a:solidFill>
                  <a:srgbClr val="2B143D"/>
                </a:solidFill>
              </a:rPr>
              <a:t>chatbots</a:t>
            </a:r>
            <a:r>
              <a:rPr lang="en-US" sz="1200">
                <a:solidFill>
                  <a:srgbClr val="2B143D"/>
                </a:solidFill>
              </a:rPr>
              <a:t> and automated voice help when interacting</a:t>
            </a:r>
            <a:br>
              <a:rPr lang="en-US" sz="1200">
                <a:solidFill>
                  <a:srgbClr val="2B143D"/>
                </a:solidFill>
              </a:rPr>
            </a:br>
            <a:r>
              <a:rPr lang="en-US" sz="1200">
                <a:solidFill>
                  <a:srgbClr val="2B143D"/>
                </a:solidFill>
              </a:rPr>
              <a:t>with banks</a:t>
            </a:r>
            <a:endParaRPr lang="en-US" sz="1200">
              <a:solidFill>
                <a:prstClr val="black"/>
              </a:solidFill>
            </a:endParaRPr>
          </a:p>
        </p:txBody>
      </p:sp>
      <p:sp>
        <p:nvSpPr>
          <p:cNvPr id="518" name="Rectangle 517"/>
          <p:cNvSpPr/>
          <p:nvPr/>
        </p:nvSpPr>
        <p:spPr>
          <a:xfrm>
            <a:off x="2519486" y="3383329"/>
            <a:ext cx="2167581" cy="338554"/>
          </a:xfrm>
          <a:prstGeom prst="rect">
            <a:avLst/>
          </a:prstGeom>
        </p:spPr>
        <p:txBody>
          <a:bodyPr wrap="none">
            <a:spAutoFit/>
          </a:bodyPr>
          <a:lstStyle/>
          <a:p>
            <a:pPr lvl="0" algn="ctr">
              <a:defRPr/>
            </a:pPr>
            <a:r>
              <a:rPr lang="en-US" sz="1600" b="1">
                <a:solidFill>
                  <a:srgbClr val="FFFFFF"/>
                </a:solidFill>
              </a:rPr>
              <a:t>Before COVID-19</a:t>
            </a:r>
          </a:p>
        </p:txBody>
      </p:sp>
      <p:sp>
        <p:nvSpPr>
          <p:cNvPr id="519" name="Rectangle 518"/>
          <p:cNvSpPr/>
          <p:nvPr/>
        </p:nvSpPr>
        <p:spPr>
          <a:xfrm>
            <a:off x="7042944" y="3376723"/>
            <a:ext cx="3060453" cy="338554"/>
          </a:xfrm>
          <a:prstGeom prst="rect">
            <a:avLst/>
          </a:prstGeom>
        </p:spPr>
        <p:txBody>
          <a:bodyPr wrap="none">
            <a:spAutoFit/>
          </a:bodyPr>
          <a:lstStyle/>
          <a:p>
            <a:pPr lvl="0" algn="ctr">
              <a:defRPr/>
            </a:pPr>
            <a:r>
              <a:rPr lang="en-US" sz="1600" b="1">
                <a:solidFill>
                  <a:srgbClr val="FFFFFF"/>
                </a:solidFill>
              </a:rPr>
              <a:t>During &amp; after COVID-19</a:t>
            </a:r>
          </a:p>
        </p:txBody>
      </p:sp>
      <p:sp>
        <p:nvSpPr>
          <p:cNvPr id="521" name="Rectangle 520"/>
          <p:cNvSpPr/>
          <p:nvPr/>
        </p:nvSpPr>
        <p:spPr>
          <a:xfrm>
            <a:off x="239713" y="1850598"/>
            <a:ext cx="5297580" cy="523220"/>
          </a:xfrm>
          <a:prstGeom prst="rect">
            <a:avLst/>
          </a:prstGeom>
        </p:spPr>
        <p:txBody>
          <a:bodyPr wrap="square">
            <a:spAutoFit/>
          </a:bodyPr>
          <a:lstStyle/>
          <a:p>
            <a:pPr lvl="0" algn="ctr">
              <a:defRPr/>
            </a:pPr>
            <a:r>
              <a:rPr lang="en-US" sz="1400" b="1">
                <a:solidFill>
                  <a:prstClr val="black"/>
                </a:solidFill>
              </a:rPr>
              <a:t>Traditional players have been slow to react to the evolving digital demands of the customer</a:t>
            </a:r>
          </a:p>
        </p:txBody>
      </p:sp>
      <p:sp>
        <p:nvSpPr>
          <p:cNvPr id="524" name="Rectangle 523"/>
          <p:cNvSpPr/>
          <p:nvPr/>
        </p:nvSpPr>
        <p:spPr>
          <a:xfrm>
            <a:off x="6618195" y="1850598"/>
            <a:ext cx="5297580" cy="523220"/>
          </a:xfrm>
          <a:prstGeom prst="rect">
            <a:avLst/>
          </a:prstGeom>
        </p:spPr>
        <p:txBody>
          <a:bodyPr wrap="square">
            <a:spAutoFit/>
          </a:bodyPr>
          <a:lstStyle/>
          <a:p>
            <a:pPr lvl="0" algn="ctr">
              <a:defRPr/>
            </a:pPr>
            <a:r>
              <a:rPr lang="en-US" sz="1400" b="1">
                <a:solidFill>
                  <a:prstClr val="black"/>
                </a:solidFill>
              </a:rPr>
              <a:t>During uncertain times, digital agility helps banks respond quickly to customer needs and requests</a:t>
            </a:r>
          </a:p>
        </p:txBody>
      </p:sp>
      <p:sp>
        <p:nvSpPr>
          <p:cNvPr id="525" name="Rectangle 524"/>
          <p:cNvSpPr/>
          <p:nvPr/>
        </p:nvSpPr>
        <p:spPr>
          <a:xfrm>
            <a:off x="354563" y="1327812"/>
            <a:ext cx="5182730" cy="369332"/>
          </a:xfrm>
          <a:prstGeom prst="rect">
            <a:avLst/>
          </a:prstGeom>
        </p:spPr>
        <p:txBody>
          <a:bodyPr wrap="square">
            <a:spAutoFit/>
          </a:bodyPr>
          <a:lstStyle/>
          <a:p>
            <a:pPr lvl="0" algn="ctr">
              <a:defRPr/>
            </a:pPr>
            <a:r>
              <a:rPr lang="en-US" b="1"/>
              <a:t>Customer behavior is evolving fast</a:t>
            </a:r>
          </a:p>
        </p:txBody>
      </p:sp>
      <p:sp>
        <p:nvSpPr>
          <p:cNvPr id="532" name="Rectangle 531"/>
          <p:cNvSpPr/>
          <p:nvPr/>
        </p:nvSpPr>
        <p:spPr>
          <a:xfrm>
            <a:off x="6656747" y="1189313"/>
            <a:ext cx="5259028" cy="646331"/>
          </a:xfrm>
          <a:prstGeom prst="rect">
            <a:avLst/>
          </a:prstGeom>
        </p:spPr>
        <p:txBody>
          <a:bodyPr wrap="square" lIns="36000" rIns="36000">
            <a:spAutoFit/>
          </a:bodyPr>
          <a:lstStyle/>
          <a:p>
            <a:pPr lvl="0" algn="ctr">
              <a:defRPr/>
            </a:pPr>
            <a:r>
              <a:rPr lang="en-US" b="1"/>
              <a:t>Uncertain times are accelerating this change</a:t>
            </a:r>
          </a:p>
        </p:txBody>
      </p:sp>
      <p:grpSp>
        <p:nvGrpSpPr>
          <p:cNvPr id="187" name="Group 186">
            <a:extLst>
              <a:ext uri="{FF2B5EF4-FFF2-40B4-BE49-F238E27FC236}">
                <a16:creationId xmlns:a16="http://schemas.microsoft.com/office/drawing/2014/main" id="{A5A4A76E-7B81-4461-B755-EE08B8FE9FC3}"/>
              </a:ext>
            </a:extLst>
          </p:cNvPr>
          <p:cNvGrpSpPr/>
          <p:nvPr/>
        </p:nvGrpSpPr>
        <p:grpSpPr>
          <a:xfrm>
            <a:off x="9034432" y="85117"/>
            <a:ext cx="2319556" cy="608099"/>
            <a:chOff x="9034432" y="85117"/>
            <a:chExt cx="2319556" cy="608099"/>
          </a:xfrm>
        </p:grpSpPr>
        <p:grpSp>
          <p:nvGrpSpPr>
            <p:cNvPr id="188" name="Group 187">
              <a:extLst>
                <a:ext uri="{FF2B5EF4-FFF2-40B4-BE49-F238E27FC236}">
                  <a16:creationId xmlns:a16="http://schemas.microsoft.com/office/drawing/2014/main" id="{73FAFE34-DB9C-46D0-80DB-E6277EE65F18}"/>
                </a:ext>
              </a:extLst>
            </p:cNvPr>
            <p:cNvGrpSpPr/>
            <p:nvPr/>
          </p:nvGrpSpPr>
          <p:grpSpPr>
            <a:xfrm>
              <a:off x="9034432" y="122400"/>
              <a:ext cx="537780" cy="533532"/>
              <a:chOff x="411163" y="2006600"/>
              <a:chExt cx="3617913" cy="3589337"/>
            </a:xfrm>
            <a:solidFill>
              <a:schemeClr val="bg1">
                <a:lumMod val="75000"/>
              </a:schemeClr>
            </a:solidFill>
          </p:grpSpPr>
          <p:sp>
            <p:nvSpPr>
              <p:cNvPr id="263" name="Freeform 5">
                <a:extLst>
                  <a:ext uri="{FF2B5EF4-FFF2-40B4-BE49-F238E27FC236}">
                    <a16:creationId xmlns:a16="http://schemas.microsoft.com/office/drawing/2014/main" id="{7E8CF52B-C658-42E5-8B7C-08413AC2E420}"/>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4" name="Oval 6">
                <a:extLst>
                  <a:ext uri="{FF2B5EF4-FFF2-40B4-BE49-F238E27FC236}">
                    <a16:creationId xmlns:a16="http://schemas.microsoft.com/office/drawing/2014/main" id="{B9D3D1C6-AB88-4211-A8A4-8008EEF1E966}"/>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5" name="Freeform 7">
                <a:extLst>
                  <a:ext uri="{FF2B5EF4-FFF2-40B4-BE49-F238E27FC236}">
                    <a16:creationId xmlns:a16="http://schemas.microsoft.com/office/drawing/2014/main" id="{D491C294-403B-4A7D-8E92-F432712849B2}"/>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6" name="Freeform 8">
                <a:extLst>
                  <a:ext uri="{FF2B5EF4-FFF2-40B4-BE49-F238E27FC236}">
                    <a16:creationId xmlns:a16="http://schemas.microsoft.com/office/drawing/2014/main" id="{A967CA01-1E03-4319-BC3C-C99AE1C51C4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7" name="Freeform 9">
                <a:extLst>
                  <a:ext uri="{FF2B5EF4-FFF2-40B4-BE49-F238E27FC236}">
                    <a16:creationId xmlns:a16="http://schemas.microsoft.com/office/drawing/2014/main" id="{1195003F-AC0C-4901-8A46-9CC55BA78CFD}"/>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89" name="Groupe 825">
              <a:extLst>
                <a:ext uri="{FF2B5EF4-FFF2-40B4-BE49-F238E27FC236}">
                  <a16:creationId xmlns:a16="http://schemas.microsoft.com/office/drawing/2014/main" id="{5089AD73-C8A6-4FAB-A33A-2A443A5ED75E}"/>
                </a:ext>
              </a:extLst>
            </p:cNvPr>
            <p:cNvGrpSpPr/>
            <p:nvPr/>
          </p:nvGrpSpPr>
          <p:grpSpPr>
            <a:xfrm>
              <a:off x="9138494" y="248487"/>
              <a:ext cx="337206" cy="317707"/>
              <a:chOff x="6500813" y="736601"/>
              <a:chExt cx="538163" cy="581025"/>
            </a:xfrm>
            <a:solidFill>
              <a:schemeClr val="bg1">
                <a:lumMod val="50000"/>
              </a:schemeClr>
            </a:solidFill>
          </p:grpSpPr>
          <p:sp>
            <p:nvSpPr>
              <p:cNvPr id="212" name="Freeform 37">
                <a:extLst>
                  <a:ext uri="{FF2B5EF4-FFF2-40B4-BE49-F238E27FC236}">
                    <a16:creationId xmlns:a16="http://schemas.microsoft.com/office/drawing/2014/main" id="{6D2492FF-7654-4715-ADB5-4A6B7F0B5CBC}"/>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3" name="Freeform 38">
                <a:extLst>
                  <a:ext uri="{FF2B5EF4-FFF2-40B4-BE49-F238E27FC236}">
                    <a16:creationId xmlns:a16="http://schemas.microsoft.com/office/drawing/2014/main" id="{8060B4A4-70E7-4AD3-AFCA-8EE61A67BA5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4" name="Freeform 39">
                <a:extLst>
                  <a:ext uri="{FF2B5EF4-FFF2-40B4-BE49-F238E27FC236}">
                    <a16:creationId xmlns:a16="http://schemas.microsoft.com/office/drawing/2014/main" id="{30D1D766-AA3C-49FD-8CE0-016482290FA7}"/>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5" name="Freeform 40">
                <a:extLst>
                  <a:ext uri="{FF2B5EF4-FFF2-40B4-BE49-F238E27FC236}">
                    <a16:creationId xmlns:a16="http://schemas.microsoft.com/office/drawing/2014/main" id="{F32531E0-7303-46AF-9348-FECC8AE97D1E}"/>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6" name="Freeform 41">
                <a:extLst>
                  <a:ext uri="{FF2B5EF4-FFF2-40B4-BE49-F238E27FC236}">
                    <a16:creationId xmlns:a16="http://schemas.microsoft.com/office/drawing/2014/main" id="{1ECA7B2C-F017-4EF0-9713-8932BD3E76FA}"/>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7" name="Freeform 42">
                <a:extLst>
                  <a:ext uri="{FF2B5EF4-FFF2-40B4-BE49-F238E27FC236}">
                    <a16:creationId xmlns:a16="http://schemas.microsoft.com/office/drawing/2014/main" id="{B6E9FEAB-1E36-41F9-8C02-1895A287CCF8}"/>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8" name="Freeform 43">
                <a:extLst>
                  <a:ext uri="{FF2B5EF4-FFF2-40B4-BE49-F238E27FC236}">
                    <a16:creationId xmlns:a16="http://schemas.microsoft.com/office/drawing/2014/main" id="{7EA8D39B-9F77-4200-AF53-677512022642}"/>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9" name="Freeform 44">
                <a:extLst>
                  <a:ext uri="{FF2B5EF4-FFF2-40B4-BE49-F238E27FC236}">
                    <a16:creationId xmlns:a16="http://schemas.microsoft.com/office/drawing/2014/main" id="{96901FDF-BD93-4BF2-8663-8448316D1C4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0" name="Freeform 45">
                <a:extLst>
                  <a:ext uri="{FF2B5EF4-FFF2-40B4-BE49-F238E27FC236}">
                    <a16:creationId xmlns:a16="http://schemas.microsoft.com/office/drawing/2014/main" id="{FD2E7B48-8B2F-43DD-B6EA-4D1E627CAF3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1" name="Freeform 46">
                <a:extLst>
                  <a:ext uri="{FF2B5EF4-FFF2-40B4-BE49-F238E27FC236}">
                    <a16:creationId xmlns:a16="http://schemas.microsoft.com/office/drawing/2014/main" id="{54B33567-51A1-4FFE-A248-3DCF7F16CB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2" name="Freeform 47">
                <a:extLst>
                  <a:ext uri="{FF2B5EF4-FFF2-40B4-BE49-F238E27FC236}">
                    <a16:creationId xmlns:a16="http://schemas.microsoft.com/office/drawing/2014/main" id="{4A9A2ED5-F246-4CE9-8C5E-F75AF443EDAC}"/>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3" name="Freeform 48">
                <a:extLst>
                  <a:ext uri="{FF2B5EF4-FFF2-40B4-BE49-F238E27FC236}">
                    <a16:creationId xmlns:a16="http://schemas.microsoft.com/office/drawing/2014/main" id="{E1BCA113-8F6A-4B09-B28F-0CFF892E5879}"/>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49">
                <a:extLst>
                  <a:ext uri="{FF2B5EF4-FFF2-40B4-BE49-F238E27FC236}">
                    <a16:creationId xmlns:a16="http://schemas.microsoft.com/office/drawing/2014/main" id="{78985FF4-C8BE-4754-8B64-8D736E3CD1E5}"/>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50">
                <a:extLst>
                  <a:ext uri="{FF2B5EF4-FFF2-40B4-BE49-F238E27FC236}">
                    <a16:creationId xmlns:a16="http://schemas.microsoft.com/office/drawing/2014/main" id="{7E5F8475-6B9B-49BB-9E19-DC266B58E33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51">
                <a:extLst>
                  <a:ext uri="{FF2B5EF4-FFF2-40B4-BE49-F238E27FC236}">
                    <a16:creationId xmlns:a16="http://schemas.microsoft.com/office/drawing/2014/main" id="{F593C268-D837-4C96-82D7-794A84E56EB2}"/>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52">
                <a:extLst>
                  <a:ext uri="{FF2B5EF4-FFF2-40B4-BE49-F238E27FC236}">
                    <a16:creationId xmlns:a16="http://schemas.microsoft.com/office/drawing/2014/main" id="{A87DA4B1-A1B1-46C5-ACE9-BBFF01E9DED2}"/>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8" name="Freeform 53">
                <a:extLst>
                  <a:ext uri="{FF2B5EF4-FFF2-40B4-BE49-F238E27FC236}">
                    <a16:creationId xmlns:a16="http://schemas.microsoft.com/office/drawing/2014/main" id="{E09DCDA5-F32A-4DC2-A62D-E1B678FC48B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9" name="Freeform 54">
                <a:extLst>
                  <a:ext uri="{FF2B5EF4-FFF2-40B4-BE49-F238E27FC236}">
                    <a16:creationId xmlns:a16="http://schemas.microsoft.com/office/drawing/2014/main" id="{033E668F-6262-42F9-8EB5-7A85189535BC}"/>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0" name="Freeform 55">
                <a:extLst>
                  <a:ext uri="{FF2B5EF4-FFF2-40B4-BE49-F238E27FC236}">
                    <a16:creationId xmlns:a16="http://schemas.microsoft.com/office/drawing/2014/main" id="{CA86F3D8-423C-413F-8D39-8A51E0378D5D}"/>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1" name="Freeform 56">
                <a:extLst>
                  <a:ext uri="{FF2B5EF4-FFF2-40B4-BE49-F238E27FC236}">
                    <a16:creationId xmlns:a16="http://schemas.microsoft.com/office/drawing/2014/main" id="{9719CCE8-80CC-4918-B7CD-A29A09BB6446}"/>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2" name="Freeform 57">
                <a:extLst>
                  <a:ext uri="{FF2B5EF4-FFF2-40B4-BE49-F238E27FC236}">
                    <a16:creationId xmlns:a16="http://schemas.microsoft.com/office/drawing/2014/main" id="{27302210-796D-4841-8950-FAD2FFF621F5}"/>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3" name="Freeform 58">
                <a:extLst>
                  <a:ext uri="{FF2B5EF4-FFF2-40B4-BE49-F238E27FC236}">
                    <a16:creationId xmlns:a16="http://schemas.microsoft.com/office/drawing/2014/main" id="{CB292F58-62A6-4A40-AD46-7720780ED304}"/>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4" name="Freeform 59">
                <a:extLst>
                  <a:ext uri="{FF2B5EF4-FFF2-40B4-BE49-F238E27FC236}">
                    <a16:creationId xmlns:a16="http://schemas.microsoft.com/office/drawing/2014/main" id="{0333B493-35A6-4BE6-AD03-5A32997EA7F3}"/>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5" name="Freeform 60">
                <a:extLst>
                  <a:ext uri="{FF2B5EF4-FFF2-40B4-BE49-F238E27FC236}">
                    <a16:creationId xmlns:a16="http://schemas.microsoft.com/office/drawing/2014/main" id="{49CA6277-3262-4D8F-8473-1D932ADA8EC6}"/>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6" name="Freeform 61">
                <a:extLst>
                  <a:ext uri="{FF2B5EF4-FFF2-40B4-BE49-F238E27FC236}">
                    <a16:creationId xmlns:a16="http://schemas.microsoft.com/office/drawing/2014/main" id="{5382EF55-ED09-47ED-A693-47BC1B14BCA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7" name="Freeform 62">
                <a:extLst>
                  <a:ext uri="{FF2B5EF4-FFF2-40B4-BE49-F238E27FC236}">
                    <a16:creationId xmlns:a16="http://schemas.microsoft.com/office/drawing/2014/main" id="{3944BC57-DAB5-45B2-909E-AF8458711684}"/>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8" name="Freeform 63">
                <a:extLst>
                  <a:ext uri="{FF2B5EF4-FFF2-40B4-BE49-F238E27FC236}">
                    <a16:creationId xmlns:a16="http://schemas.microsoft.com/office/drawing/2014/main" id="{B2F2C79F-D56A-42AF-824A-87E56EA8C02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9" name="Freeform 64">
                <a:extLst>
                  <a:ext uri="{FF2B5EF4-FFF2-40B4-BE49-F238E27FC236}">
                    <a16:creationId xmlns:a16="http://schemas.microsoft.com/office/drawing/2014/main" id="{ACA2438C-B977-4530-B584-752919D8AA4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0" name="Freeform 65">
                <a:extLst>
                  <a:ext uri="{FF2B5EF4-FFF2-40B4-BE49-F238E27FC236}">
                    <a16:creationId xmlns:a16="http://schemas.microsoft.com/office/drawing/2014/main" id="{2AEC60F2-0E25-4C3A-8F0D-331BC493D664}"/>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1" name="Freeform 66">
                <a:extLst>
                  <a:ext uri="{FF2B5EF4-FFF2-40B4-BE49-F238E27FC236}">
                    <a16:creationId xmlns:a16="http://schemas.microsoft.com/office/drawing/2014/main" id="{33401A4E-28F1-4F12-B633-F825B14CEF83}"/>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2" name="Freeform 67">
                <a:extLst>
                  <a:ext uri="{FF2B5EF4-FFF2-40B4-BE49-F238E27FC236}">
                    <a16:creationId xmlns:a16="http://schemas.microsoft.com/office/drawing/2014/main" id="{6DDFD536-7872-40AE-A0C0-961DE6E1D4A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3" name="Freeform 68">
                <a:extLst>
                  <a:ext uri="{FF2B5EF4-FFF2-40B4-BE49-F238E27FC236}">
                    <a16:creationId xmlns:a16="http://schemas.microsoft.com/office/drawing/2014/main" id="{AB1562CC-8FE5-4B85-B391-3772068771C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4" name="Freeform 69">
                <a:extLst>
                  <a:ext uri="{FF2B5EF4-FFF2-40B4-BE49-F238E27FC236}">
                    <a16:creationId xmlns:a16="http://schemas.microsoft.com/office/drawing/2014/main" id="{58FD4541-711E-4590-A970-8FE03A4DB07F}"/>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5" name="Freeform 70">
                <a:extLst>
                  <a:ext uri="{FF2B5EF4-FFF2-40B4-BE49-F238E27FC236}">
                    <a16:creationId xmlns:a16="http://schemas.microsoft.com/office/drawing/2014/main" id="{A15981F5-D2F9-4E22-AA47-669D6D8BF00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6" name="Freeform 71">
                <a:extLst>
                  <a:ext uri="{FF2B5EF4-FFF2-40B4-BE49-F238E27FC236}">
                    <a16:creationId xmlns:a16="http://schemas.microsoft.com/office/drawing/2014/main" id="{53DCC368-401C-476E-9FDD-7BCE06486004}"/>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9" name="Freeform 72">
                <a:extLst>
                  <a:ext uri="{FF2B5EF4-FFF2-40B4-BE49-F238E27FC236}">
                    <a16:creationId xmlns:a16="http://schemas.microsoft.com/office/drawing/2014/main" id="{1E44F690-6B65-4495-B85F-CF3D4FEEF86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0" name="Freeform 73">
                <a:extLst>
                  <a:ext uri="{FF2B5EF4-FFF2-40B4-BE49-F238E27FC236}">
                    <a16:creationId xmlns:a16="http://schemas.microsoft.com/office/drawing/2014/main" id="{3761EE05-F247-4BC9-870F-573E9F45B591}"/>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1" name="Freeform 74">
                <a:extLst>
                  <a:ext uri="{FF2B5EF4-FFF2-40B4-BE49-F238E27FC236}">
                    <a16:creationId xmlns:a16="http://schemas.microsoft.com/office/drawing/2014/main" id="{0FFD29B8-A1CF-45A8-9EB5-B8DCB4E3CCB2}"/>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2" name="Freeform 75">
                <a:extLst>
                  <a:ext uri="{FF2B5EF4-FFF2-40B4-BE49-F238E27FC236}">
                    <a16:creationId xmlns:a16="http://schemas.microsoft.com/office/drawing/2014/main" id="{330C5BDE-F3B8-48AB-B051-99A024FF35E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3" name="Freeform 76">
                <a:extLst>
                  <a:ext uri="{FF2B5EF4-FFF2-40B4-BE49-F238E27FC236}">
                    <a16:creationId xmlns:a16="http://schemas.microsoft.com/office/drawing/2014/main" id="{F893F1F6-FD5A-48EA-9B4F-0F9BF001DC40}"/>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4" name="Freeform 77">
                <a:extLst>
                  <a:ext uri="{FF2B5EF4-FFF2-40B4-BE49-F238E27FC236}">
                    <a16:creationId xmlns:a16="http://schemas.microsoft.com/office/drawing/2014/main" id="{4E52BB5B-13BD-4255-A9F7-115C8804E6F3}"/>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5" name="Freeform 78">
                <a:extLst>
                  <a:ext uri="{FF2B5EF4-FFF2-40B4-BE49-F238E27FC236}">
                    <a16:creationId xmlns:a16="http://schemas.microsoft.com/office/drawing/2014/main" id="{E85CAFA9-69AB-4399-8A5F-1D05B2AA2201}"/>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6" name="Freeform 79">
                <a:extLst>
                  <a:ext uri="{FF2B5EF4-FFF2-40B4-BE49-F238E27FC236}">
                    <a16:creationId xmlns:a16="http://schemas.microsoft.com/office/drawing/2014/main" id="{E7C78B53-71BF-49B1-A694-5917F684D9E1}"/>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7" name="Freeform 80">
                <a:extLst>
                  <a:ext uri="{FF2B5EF4-FFF2-40B4-BE49-F238E27FC236}">
                    <a16:creationId xmlns:a16="http://schemas.microsoft.com/office/drawing/2014/main" id="{515C8A09-0BCD-4D3F-8680-25B8905C1A12}"/>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8" name="Freeform 81">
                <a:extLst>
                  <a:ext uri="{FF2B5EF4-FFF2-40B4-BE49-F238E27FC236}">
                    <a16:creationId xmlns:a16="http://schemas.microsoft.com/office/drawing/2014/main" id="{72DE5A86-090B-49C1-8937-420E3575068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9" name="Freeform 82">
                <a:extLst>
                  <a:ext uri="{FF2B5EF4-FFF2-40B4-BE49-F238E27FC236}">
                    <a16:creationId xmlns:a16="http://schemas.microsoft.com/office/drawing/2014/main" id="{6394CBB9-6668-4E35-A791-4CB36332C60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0" name="Freeform 83">
                <a:extLst>
                  <a:ext uri="{FF2B5EF4-FFF2-40B4-BE49-F238E27FC236}">
                    <a16:creationId xmlns:a16="http://schemas.microsoft.com/office/drawing/2014/main" id="{CCE034FC-AE2E-4E81-A3CA-7D2274869AFA}"/>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1" name="Freeform 84">
                <a:extLst>
                  <a:ext uri="{FF2B5EF4-FFF2-40B4-BE49-F238E27FC236}">
                    <a16:creationId xmlns:a16="http://schemas.microsoft.com/office/drawing/2014/main" id="{E4163AC1-78AA-4EAB-A6F8-2384E550483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2" name="Freeform 85">
                <a:extLst>
                  <a:ext uri="{FF2B5EF4-FFF2-40B4-BE49-F238E27FC236}">
                    <a16:creationId xmlns:a16="http://schemas.microsoft.com/office/drawing/2014/main" id="{522415A1-BB4F-4A2F-B115-08E9564CE05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90" name="Group 189">
              <a:extLst>
                <a:ext uri="{FF2B5EF4-FFF2-40B4-BE49-F238E27FC236}">
                  <a16:creationId xmlns:a16="http://schemas.microsoft.com/office/drawing/2014/main" id="{732937AC-7837-43DF-8183-1F2D7C8DF548}"/>
                </a:ext>
              </a:extLst>
            </p:cNvPr>
            <p:cNvGrpSpPr/>
            <p:nvPr/>
          </p:nvGrpSpPr>
          <p:grpSpPr>
            <a:xfrm>
              <a:off x="9622537" y="85117"/>
              <a:ext cx="559961" cy="608099"/>
              <a:chOff x="9622537" y="85117"/>
              <a:chExt cx="559961" cy="608099"/>
            </a:xfrm>
          </p:grpSpPr>
          <p:sp>
            <p:nvSpPr>
              <p:cNvPr id="207" name="Freeform 10">
                <a:extLst>
                  <a:ext uri="{FF2B5EF4-FFF2-40B4-BE49-F238E27FC236}">
                    <a16:creationId xmlns:a16="http://schemas.microsoft.com/office/drawing/2014/main" id="{09107E98-DD48-47F0-B1CD-D670D041B62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8" name="Freeform 11">
                <a:extLst>
                  <a:ext uri="{FF2B5EF4-FFF2-40B4-BE49-F238E27FC236}">
                    <a16:creationId xmlns:a16="http://schemas.microsoft.com/office/drawing/2014/main" id="{CD2D5A28-E704-4EC2-89E9-5B06CFAC6AE7}"/>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9" name="Freeform 12">
                <a:extLst>
                  <a:ext uri="{FF2B5EF4-FFF2-40B4-BE49-F238E27FC236}">
                    <a16:creationId xmlns:a16="http://schemas.microsoft.com/office/drawing/2014/main" id="{5A854220-40B7-4C16-9614-27CD86774CE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0" name="Freeform 13">
                <a:extLst>
                  <a:ext uri="{FF2B5EF4-FFF2-40B4-BE49-F238E27FC236}">
                    <a16:creationId xmlns:a16="http://schemas.microsoft.com/office/drawing/2014/main" id="{7A09C76A-2796-4ADF-AC83-33C3B08B3BB2}"/>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1" name="Freeform 14">
                <a:extLst>
                  <a:ext uri="{FF2B5EF4-FFF2-40B4-BE49-F238E27FC236}">
                    <a16:creationId xmlns:a16="http://schemas.microsoft.com/office/drawing/2014/main" id="{55318BF5-1DE6-42EF-A84C-3D2D55CE5E81}"/>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1" name="Group 190">
              <a:extLst>
                <a:ext uri="{FF2B5EF4-FFF2-40B4-BE49-F238E27FC236}">
                  <a16:creationId xmlns:a16="http://schemas.microsoft.com/office/drawing/2014/main" id="{28B3D539-9D3A-40E7-831C-93F47B4E8B35}"/>
                </a:ext>
              </a:extLst>
            </p:cNvPr>
            <p:cNvGrpSpPr/>
            <p:nvPr/>
          </p:nvGrpSpPr>
          <p:grpSpPr>
            <a:xfrm>
              <a:off x="10232823" y="122400"/>
              <a:ext cx="537308" cy="533532"/>
              <a:chOff x="8169276" y="2006600"/>
              <a:chExt cx="3614737" cy="3589337"/>
            </a:xfrm>
            <a:solidFill>
              <a:schemeClr val="bg1">
                <a:lumMod val="75000"/>
              </a:schemeClr>
            </a:solidFill>
          </p:grpSpPr>
          <p:sp>
            <p:nvSpPr>
              <p:cNvPr id="202" name="Freeform 18">
                <a:extLst>
                  <a:ext uri="{FF2B5EF4-FFF2-40B4-BE49-F238E27FC236}">
                    <a16:creationId xmlns:a16="http://schemas.microsoft.com/office/drawing/2014/main" id="{2605A0A5-CCB5-4AFF-861E-61100E284A6F}"/>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3" name="Freeform 15">
                <a:extLst>
                  <a:ext uri="{FF2B5EF4-FFF2-40B4-BE49-F238E27FC236}">
                    <a16:creationId xmlns:a16="http://schemas.microsoft.com/office/drawing/2014/main" id="{9BB30122-0D29-434A-B09A-629941CFD383}"/>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4" name="Oval 16">
                <a:extLst>
                  <a:ext uri="{FF2B5EF4-FFF2-40B4-BE49-F238E27FC236}">
                    <a16:creationId xmlns:a16="http://schemas.microsoft.com/office/drawing/2014/main" id="{113FFCB3-4B96-40E5-AB20-E40D19106CB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5" name="Freeform 17">
                <a:extLst>
                  <a:ext uri="{FF2B5EF4-FFF2-40B4-BE49-F238E27FC236}">
                    <a16:creationId xmlns:a16="http://schemas.microsoft.com/office/drawing/2014/main" id="{F04EBF6E-A200-4F1A-B54B-816133802C64}"/>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6" name="Freeform 19">
                <a:extLst>
                  <a:ext uri="{FF2B5EF4-FFF2-40B4-BE49-F238E27FC236}">
                    <a16:creationId xmlns:a16="http://schemas.microsoft.com/office/drawing/2014/main" id="{62616C88-E771-4BF4-9F60-4BCD3D32616E}"/>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5" name="Group 194">
              <a:extLst>
                <a:ext uri="{FF2B5EF4-FFF2-40B4-BE49-F238E27FC236}">
                  <a16:creationId xmlns:a16="http://schemas.microsoft.com/office/drawing/2014/main" id="{0D4C92F7-4DB4-4FDF-B3F0-97ECB04D7564}"/>
                </a:ext>
              </a:extLst>
            </p:cNvPr>
            <p:cNvGrpSpPr/>
            <p:nvPr/>
          </p:nvGrpSpPr>
          <p:grpSpPr>
            <a:xfrm rot="16938775">
              <a:off x="10818568" y="122400"/>
              <a:ext cx="537307" cy="533532"/>
              <a:chOff x="8169276" y="2006600"/>
              <a:chExt cx="3614737" cy="3589337"/>
            </a:xfrm>
          </p:grpSpPr>
          <p:sp>
            <p:nvSpPr>
              <p:cNvPr id="197" name="Freeform 18">
                <a:extLst>
                  <a:ext uri="{FF2B5EF4-FFF2-40B4-BE49-F238E27FC236}">
                    <a16:creationId xmlns:a16="http://schemas.microsoft.com/office/drawing/2014/main" id="{E32E0A5F-FFA9-4882-8E22-0D7AA5662B8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8" name="Freeform 15">
                <a:extLst>
                  <a:ext uri="{FF2B5EF4-FFF2-40B4-BE49-F238E27FC236}">
                    <a16:creationId xmlns:a16="http://schemas.microsoft.com/office/drawing/2014/main" id="{D6DD25DB-0A6C-4BEF-AD1D-44B9C290FD0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9" name="Oval 16">
                <a:extLst>
                  <a:ext uri="{FF2B5EF4-FFF2-40B4-BE49-F238E27FC236}">
                    <a16:creationId xmlns:a16="http://schemas.microsoft.com/office/drawing/2014/main" id="{54ACBA15-FEAC-4925-85EF-2ED80E6D26B0}"/>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0" name="Freeform 17">
                <a:extLst>
                  <a:ext uri="{FF2B5EF4-FFF2-40B4-BE49-F238E27FC236}">
                    <a16:creationId xmlns:a16="http://schemas.microsoft.com/office/drawing/2014/main" id="{DA658A89-381A-483C-A63D-F8580CF9136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1" name="Freeform 19">
                <a:extLst>
                  <a:ext uri="{FF2B5EF4-FFF2-40B4-BE49-F238E27FC236}">
                    <a16:creationId xmlns:a16="http://schemas.microsoft.com/office/drawing/2014/main" id="{7E6BB5DB-27DE-40A6-A3B4-16B983725A2B}"/>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96" name="Picture 4" descr="Coronavirus | United Nations">
              <a:extLst>
                <a:ext uri="{FF2B5EF4-FFF2-40B4-BE49-F238E27FC236}">
                  <a16:creationId xmlns:a16="http://schemas.microsoft.com/office/drawing/2014/main" id="{91A7602B-A83E-4352-80FA-2EB99C61C738}"/>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sp>
        <p:nvSpPr>
          <p:cNvPr id="272" name="Freeform 332">
            <a:extLst>
              <a:ext uri="{FF2B5EF4-FFF2-40B4-BE49-F238E27FC236}">
                <a16:creationId xmlns:a16="http://schemas.microsoft.com/office/drawing/2014/main" id="{A9411895-AF0F-4398-8A59-7A91E9F649E4}"/>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8" name="Group 277">
            <a:extLst>
              <a:ext uri="{FF2B5EF4-FFF2-40B4-BE49-F238E27FC236}">
                <a16:creationId xmlns:a16="http://schemas.microsoft.com/office/drawing/2014/main" id="{50E129CD-FBEB-4553-9526-91BE58B6F0FF}"/>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79" name="Freeform 46">
              <a:extLst>
                <a:ext uri="{FF2B5EF4-FFF2-40B4-BE49-F238E27FC236}">
                  <a16:creationId xmlns:a16="http://schemas.microsoft.com/office/drawing/2014/main" id="{46FBCAED-646A-40C5-8384-6815E071F0AC}"/>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47">
              <a:extLst>
                <a:ext uri="{FF2B5EF4-FFF2-40B4-BE49-F238E27FC236}">
                  <a16:creationId xmlns:a16="http://schemas.microsoft.com/office/drawing/2014/main" id="{EE88292C-19DE-4F4B-9280-E622A15CF367}"/>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48">
              <a:extLst>
                <a:ext uri="{FF2B5EF4-FFF2-40B4-BE49-F238E27FC236}">
                  <a16:creationId xmlns:a16="http://schemas.microsoft.com/office/drawing/2014/main" id="{CE284C5A-2DCB-4CAC-BB6E-FB200437164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49">
              <a:extLst>
                <a:ext uri="{FF2B5EF4-FFF2-40B4-BE49-F238E27FC236}">
                  <a16:creationId xmlns:a16="http://schemas.microsoft.com/office/drawing/2014/main" id="{89E33B7B-6CF1-41B0-865D-9FA5259474D8}"/>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50">
              <a:extLst>
                <a:ext uri="{FF2B5EF4-FFF2-40B4-BE49-F238E27FC236}">
                  <a16:creationId xmlns:a16="http://schemas.microsoft.com/office/drawing/2014/main" id="{B141EC84-861A-4700-9F2F-BD5A31B8C9B4}"/>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51">
              <a:extLst>
                <a:ext uri="{FF2B5EF4-FFF2-40B4-BE49-F238E27FC236}">
                  <a16:creationId xmlns:a16="http://schemas.microsoft.com/office/drawing/2014/main" id="{285C9DA2-01EC-4B2E-87AC-45F686EDA03E}"/>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3165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True"/>
  <p:tag name="PREVIOUSNAME" val="C:\Users\pranavm\Desktop\Project files\images presentation layout.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th4QGeJ5DSDGJk0Ux0R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5Ko5fK4RtCWgfiHi9RL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2jDPRtFTc664HS84i.2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1asoHlZ7n774B4UACSV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EKJjfcFGbmBxJdunPtw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wNHIcZIO.PsjeMh1lqe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Qt84nZx36WXrMbmUD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bCeiRWhnGCjczTYzj4k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MA4KuuyGe0mlGN9BRrnS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8fKPmN_57KKZCS_GjVC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C4Hri0tCNhxASdL5bra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v4ZEMq5Kub3WMRZ6qi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2czX8eT8bycYGpGC.9t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e9upCUzL9nSOubGZvnQ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HzkVyETFrOI_4nx7qsxS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_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B0CCECB-8C15-4E2E-A61F-E3A713F3C247}" vid="{6D5635A5-12C0-4B26-AE2C-E76F85D7893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B0CCECB-8C15-4E2E-A61F-E3A713F3C247}" vid="{C9DB2ADC-DEC6-4CBD-9471-141298BACD83}"/>
    </a:ext>
  </a:extLst>
</a:theme>
</file>

<file path=ppt/theme/theme3.xml><?xml version="1.0" encoding="utf-8"?>
<a:theme xmlns:a="http://schemas.openxmlformats.org/drawingml/2006/main" name="Capgemini Invent Master">
  <a:themeElements>
    <a:clrScheme name="Capgemini Invent D">
      <a:dk1>
        <a:sysClr val="windowText" lastClr="000000"/>
      </a:dk1>
      <a:lt1>
        <a:srgbClr val="FFFFFF"/>
      </a:lt1>
      <a:dk2>
        <a:srgbClr val="2B143D"/>
      </a:dk2>
      <a:lt2>
        <a:srgbClr val="ECECEC"/>
      </a:lt2>
      <a:accent1>
        <a:srgbClr val="0070AD"/>
      </a:accent1>
      <a:accent2>
        <a:srgbClr val="12ABDB"/>
      </a:accent2>
      <a:accent3>
        <a:srgbClr val="7F7F7F"/>
      </a:accent3>
      <a:accent4>
        <a:srgbClr val="FF304C"/>
      </a:accent4>
      <a:accent5>
        <a:srgbClr val="95E616"/>
      </a:accent5>
      <a:accent6>
        <a:srgbClr val="00C37B"/>
      </a:accent6>
      <a:hlink>
        <a:srgbClr val="12ABDB"/>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noFill/>
        </a:ln>
      </a:spPr>
      <a:bodyPr rtlCol="0" anchor="ct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400" dirty="0" smtClean="0"/>
        </a:defPPr>
      </a:lstStyle>
    </a:txDef>
  </a:objectDefaults>
  <a:extraClrSchemeLst/>
  <a:extLst>
    <a:ext uri="{05A4C25C-085E-4340-85A3-A5531E510DB2}">
      <thm15:themeFamily xmlns:thm15="http://schemas.microsoft.com/office/thememl/2012/main" name="Capgemini_Invent_Template_2018.potx" id="{FDD203E2-44DC-49D2-93C4-3C323F48F790}" vid="{1B93B7FE-243F-4C57-9DA1-671587C24862}"/>
    </a:ext>
  </a:extLst>
</a:theme>
</file>

<file path=ppt/theme/theme4.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D68EE2266BC4746A3176B50476FEC35" ma:contentTypeVersion="9" ma:contentTypeDescription="Create a new document." ma:contentTypeScope="" ma:versionID="2218df3488c03289f941ba31080a1049">
  <xsd:schema xmlns:xsd="http://www.w3.org/2001/XMLSchema" xmlns:xs="http://www.w3.org/2001/XMLSchema" xmlns:p="http://schemas.microsoft.com/office/2006/metadata/properties" xmlns:ns3="067f8ebf-9f5b-48c6-b4a5-b0a222693aee" targetNamespace="http://schemas.microsoft.com/office/2006/metadata/properties" ma:root="true" ma:fieldsID="707809896e1bdf3770ca9c2e4134b02f" ns3:_="">
    <xsd:import namespace="067f8ebf-9f5b-48c6-b4a5-b0a222693ae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7f8ebf-9f5b-48c6-b4a5-b0a222693a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985B0F-9160-4258-B25E-8749060C3E86}">
  <ds:schemaRefs>
    <ds:schemaRef ds:uri="http://schemas.microsoft.com/sharepoint/v3/contenttype/forms"/>
  </ds:schemaRefs>
</ds:datastoreItem>
</file>

<file path=customXml/itemProps2.xml><?xml version="1.0" encoding="utf-8"?>
<ds:datastoreItem xmlns:ds="http://schemas.openxmlformats.org/officeDocument/2006/customXml" ds:itemID="{2887974C-933B-4BBB-9B07-4F772053F1F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67f8ebf-9f5b-48c6-b4a5-b0a222693aee"/>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69972AE0-CE68-47DC-A1E4-348F2A664C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7f8ebf-9f5b-48c6-b4a5-b0a222693a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238</TotalTime>
  <Words>4564</Words>
  <Application>Microsoft Macintosh PowerPoint</Application>
  <PresentationFormat>Widescreen</PresentationFormat>
  <Paragraphs>593</Paragraphs>
  <Slides>30</Slides>
  <Notes>1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9" baseType="lpstr">
      <vt:lpstr>Arial</vt:lpstr>
      <vt:lpstr>Roboto Light</vt:lpstr>
      <vt:lpstr>Salesforce Sans</vt:lpstr>
      <vt:lpstr>Verdana</vt:lpstr>
      <vt:lpstr>Wingdings</vt:lpstr>
      <vt:lpstr>Content_Master</vt:lpstr>
      <vt:lpstr>Final slides</vt:lpstr>
      <vt:lpstr>Capgemini Invent Master</vt:lpstr>
      <vt:lpstr>think-cell Slide</vt:lpstr>
      <vt:lpstr>World Wealth Report 2020 Key Findings</vt:lpstr>
      <vt:lpstr>WELCOME</vt:lpstr>
      <vt:lpstr>A complete range of businesses </vt:lpstr>
      <vt:lpstr>Leading insights on global wealth management industry</vt:lpstr>
      <vt:lpstr>Methodology and Key Definitions</vt:lpstr>
      <vt:lpstr>Unusual times call for new ways of working Maximize impact during uncertainty through sharp focus</vt:lpstr>
      <vt:lpstr>Unusual times call for new ways of working Maximize impact during uncertainty through sharp focus</vt:lpstr>
      <vt:lpstr>The post CoVID-19 impacts all aspects</vt:lpstr>
      <vt:lpstr>Unprecedented times act as catalyst for change</vt:lpstr>
      <vt:lpstr>We believe Responsive Working Paradigm should be designed to benefit Corporates, Employees and Society</vt:lpstr>
      <vt:lpstr>Real-time information and complex global interdependencies spark unusual market trends</vt:lpstr>
      <vt:lpstr>Stock markets shine in a slowing economy to drive up HNWI population</vt:lpstr>
      <vt:lpstr>Bucking a decade-old trend, developed markets lead global wealth growth</vt:lpstr>
      <vt:lpstr>COVID-19 makes a huge dent but markets slowly revive</vt:lpstr>
      <vt:lpstr>Luxembourg</vt:lpstr>
      <vt:lpstr>Luxembourg – 2019 Economic Review</vt:lpstr>
      <vt:lpstr>Luxembourg – 2019 Economic Review</vt:lpstr>
      <vt:lpstr>Hyper-personalize to safeguard traditional as well as new wealth amid volatility</vt:lpstr>
      <vt:lpstr>Equity regains the top spot in 2019</vt:lpstr>
      <vt:lpstr>Breakdown of HNWI financial assets, Jan-Feb 2020 (global and regions)</vt:lpstr>
      <vt:lpstr>Fee structures are coming under greater scrutiny</vt:lpstr>
      <vt:lpstr>Fee structures are coming under greater scrutiny</vt:lpstr>
      <vt:lpstr>Value-added services can positively influence client experience</vt:lpstr>
      <vt:lpstr>Sustainable investing gains prominence….and more relevance than ever</vt:lpstr>
      <vt:lpstr>HNWIs see financial value in sustainable investing</vt:lpstr>
      <vt:lpstr>Hyper-personalize through digital</vt:lpstr>
      <vt:lpstr>Manage uncertainty through sharp focus on the critical 20% of the value chain</vt:lpstr>
      <vt:lpstr>Danger – perfect storm is building up</vt:lpstr>
      <vt:lpstr>Wealth management Achilles’ heel: lack of personalized interac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Patel, Chetali</dc:creator>
  <cp:lastModifiedBy>Gert Asselman</cp:lastModifiedBy>
  <cp:revision>155</cp:revision>
  <cp:lastPrinted>2020-07-08T18:43:07Z</cp:lastPrinted>
  <dcterms:created xsi:type="dcterms:W3CDTF">2019-02-15T06:04:23Z</dcterms:created>
  <dcterms:modified xsi:type="dcterms:W3CDTF">2020-07-10T08: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68EE2266BC4746A3176B50476FEC35</vt:lpwstr>
  </property>
</Properties>
</file>